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 id="2147483891" r:id="rId5"/>
    <p:sldMasterId id="2147483671" r:id="rId6"/>
    <p:sldMasterId id="2147483736" r:id="rId7"/>
  </p:sldMasterIdLst>
  <p:notesMasterIdLst>
    <p:notesMasterId r:id="rId18"/>
  </p:notesMasterIdLst>
  <p:sldIdLst>
    <p:sldId id="4423" r:id="rId8"/>
    <p:sldId id="4505" r:id="rId9"/>
    <p:sldId id="4552" r:id="rId10"/>
    <p:sldId id="4551" r:id="rId11"/>
    <p:sldId id="4553" r:id="rId12"/>
    <p:sldId id="4556" r:id="rId13"/>
    <p:sldId id="4557" r:id="rId14"/>
    <p:sldId id="4558" r:id="rId15"/>
    <p:sldId id="4555" r:id="rId16"/>
    <p:sldId id="4474"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0B3A29-4D0D-6187-2438-925BAC33C1E4}" name="Temitola  Ajekiigbe" initials="TA" userId="S::temitola@datasciencenigeria.ai::b11dfbfe-7345-4695-9b24-700a9a83d635" providerId="AD"/>
  <p188:author id="{96A85A54-B7F9-5BC0-5894-8F3BA168BB92}" name="Chinazo Anebelundu" initials="CA" userId="S::chinazo@datasciencenigeria.ai::cd9b2456-7c32-4a02-b389-0d4195cca9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7A0A"/>
    <a:srgbClr val="2B30F3"/>
    <a:srgbClr val="3EA2E0"/>
    <a:srgbClr val="FF0000"/>
    <a:srgbClr val="0F7A73"/>
    <a:srgbClr val="20403E"/>
    <a:srgbClr val="393185"/>
    <a:srgbClr val="3B32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97063C-8F9A-43B3-8A3A-09A9131BF389}" v="2" dt="2024-06-05T15:45:24.826"/>
    <p1510:client id="{A0F2737D-C39F-79DF-3AAA-ECE9586A6DD2}" v="98" dt="2024-06-06T08:38:50.357"/>
    <p1510:client id="{A2352775-FB3D-448B-9C72-FEC10BEB0FC2}" v="1" dt="2024-06-04T14:30:28.769"/>
    <p1510:client id="{AE550A1A-F77D-8FAB-1A09-13320EDC45FC}" v="984" dt="2024-06-04T13:34:00.958"/>
    <p1510:client id="{E150080C-FABD-4044-B705-7E24DF86E602}" v="91" dt="2024-06-06T08:31:59.5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876"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rah Peter-Adeoye" userId="S::serah@datasciencenigeria.ai::07cd8402-3259-4935-a6d7-b00f53221955" providerId="AD" clId="Web-{A2352775-FB3D-448B-9C72-FEC10BEB0FC2}"/>
    <pc:docChg chg="modSld">
      <pc:chgData name="Serah Peter-Adeoye" userId="S::serah@datasciencenigeria.ai::07cd8402-3259-4935-a6d7-b00f53221955" providerId="AD" clId="Web-{A2352775-FB3D-448B-9C72-FEC10BEB0FC2}" dt="2024-06-04T14:30:28.769" v="0" actId="1076"/>
      <pc:docMkLst>
        <pc:docMk/>
      </pc:docMkLst>
      <pc:sldChg chg="modSp">
        <pc:chgData name="Serah Peter-Adeoye" userId="S::serah@datasciencenigeria.ai::07cd8402-3259-4935-a6d7-b00f53221955" providerId="AD" clId="Web-{A2352775-FB3D-448B-9C72-FEC10BEB0FC2}" dt="2024-06-04T14:30:28.769" v="0" actId="1076"/>
        <pc:sldMkLst>
          <pc:docMk/>
          <pc:sldMk cId="4036741711" sldId="4552"/>
        </pc:sldMkLst>
        <pc:spChg chg="mod">
          <ac:chgData name="Serah Peter-Adeoye" userId="S::serah@datasciencenigeria.ai::07cd8402-3259-4935-a6d7-b00f53221955" providerId="AD" clId="Web-{A2352775-FB3D-448B-9C72-FEC10BEB0FC2}" dt="2024-06-04T14:30:28.769" v="0" actId="1076"/>
          <ac:spMkLst>
            <pc:docMk/>
            <pc:sldMk cId="4036741711" sldId="4552"/>
            <ac:spMk id="4" creationId="{6EDCC8E5-1C2B-5385-9DF3-240265BAED1D}"/>
          </ac:spMkLst>
        </pc:spChg>
      </pc:sldChg>
    </pc:docChg>
  </pc:docChgLst>
  <pc:docChgLst>
    <pc:chgData name="Rashidat Sikiru" userId="S::rasheedat@datasciencenigeria.ai::7c1400e1-51ba-4343-839b-4f30799a6969" providerId="AD" clId="Web-{AE550A1A-F77D-8FAB-1A09-13320EDC45FC}"/>
    <pc:docChg chg="addSld delSld modSld">
      <pc:chgData name="Rashidat Sikiru" userId="S::rasheedat@datasciencenigeria.ai::7c1400e1-51ba-4343-839b-4f30799a6969" providerId="AD" clId="Web-{AE550A1A-F77D-8FAB-1A09-13320EDC45FC}" dt="2024-06-04T13:33:59.333" v="865" actId="20577"/>
      <pc:docMkLst>
        <pc:docMk/>
      </pc:docMkLst>
      <pc:sldChg chg="modSp">
        <pc:chgData name="Rashidat Sikiru" userId="S::rasheedat@datasciencenigeria.ai::7c1400e1-51ba-4343-839b-4f30799a6969" providerId="AD" clId="Web-{AE550A1A-F77D-8FAB-1A09-13320EDC45FC}" dt="2024-06-04T13:27:24.962" v="819"/>
        <pc:sldMkLst>
          <pc:docMk/>
          <pc:sldMk cId="1844297924" sldId="4505"/>
        </pc:sldMkLst>
        <pc:spChg chg="mod">
          <ac:chgData name="Rashidat Sikiru" userId="S::rasheedat@datasciencenigeria.ai::7c1400e1-51ba-4343-839b-4f30799a6969" providerId="AD" clId="Web-{AE550A1A-F77D-8FAB-1A09-13320EDC45FC}" dt="2024-06-04T13:23:50.330" v="807"/>
          <ac:spMkLst>
            <pc:docMk/>
            <pc:sldMk cId="1844297924" sldId="4505"/>
            <ac:spMk id="8" creationId="{00000000-0000-0000-0000-000000000000}"/>
          </ac:spMkLst>
        </pc:spChg>
        <pc:spChg chg="mod">
          <ac:chgData name="Rashidat Sikiru" userId="S::rasheedat@datasciencenigeria.ai::7c1400e1-51ba-4343-839b-4f30799a6969" providerId="AD" clId="Web-{AE550A1A-F77D-8FAB-1A09-13320EDC45FC}" dt="2024-06-04T13:27:24.962" v="819"/>
          <ac:spMkLst>
            <pc:docMk/>
            <pc:sldMk cId="1844297924" sldId="4505"/>
            <ac:spMk id="9" creationId="{00000000-0000-0000-0000-000000000000}"/>
          </ac:spMkLst>
        </pc:spChg>
      </pc:sldChg>
      <pc:sldChg chg="addSp delSp modSp mod setBg">
        <pc:chgData name="Rashidat Sikiru" userId="S::rasheedat@datasciencenigeria.ai::7c1400e1-51ba-4343-839b-4f30799a6969" providerId="AD" clId="Web-{AE550A1A-F77D-8FAB-1A09-13320EDC45FC}" dt="2024-06-04T13:25:06.098" v="814" actId="20577"/>
        <pc:sldMkLst>
          <pc:docMk/>
          <pc:sldMk cId="2731903268" sldId="4551"/>
        </pc:sldMkLst>
        <pc:spChg chg="mod">
          <ac:chgData name="Rashidat Sikiru" userId="S::rasheedat@datasciencenigeria.ai::7c1400e1-51ba-4343-839b-4f30799a6969" providerId="AD" clId="Web-{AE550A1A-F77D-8FAB-1A09-13320EDC45FC}" dt="2024-06-04T13:25:06.098" v="814" actId="20577"/>
          <ac:spMkLst>
            <pc:docMk/>
            <pc:sldMk cId="2731903268" sldId="4551"/>
            <ac:spMk id="4" creationId="{6EDCC8E5-1C2B-5385-9DF3-240265BAED1D}"/>
          </ac:spMkLst>
        </pc:spChg>
        <pc:spChg chg="mod">
          <ac:chgData name="Rashidat Sikiru" userId="S::rasheedat@datasciencenigeria.ai::7c1400e1-51ba-4343-839b-4f30799a6969" providerId="AD" clId="Web-{AE550A1A-F77D-8FAB-1A09-13320EDC45FC}" dt="2024-06-04T13:23:29.767" v="806" actId="1076"/>
          <ac:spMkLst>
            <pc:docMk/>
            <pc:sldMk cId="2731903268" sldId="4551"/>
            <ac:spMk id="5" creationId="{5AF953F3-0FEB-E6B9-8DD6-3F32B6721431}"/>
          </ac:spMkLst>
        </pc:spChg>
        <pc:spChg chg="add mod">
          <ac:chgData name="Rashidat Sikiru" userId="S::rasheedat@datasciencenigeria.ai::7c1400e1-51ba-4343-839b-4f30799a6969" providerId="AD" clId="Web-{AE550A1A-F77D-8FAB-1A09-13320EDC45FC}" dt="2024-06-04T13:24:44.176" v="812"/>
          <ac:spMkLst>
            <pc:docMk/>
            <pc:sldMk cId="2731903268" sldId="4551"/>
            <ac:spMk id="6" creationId="{86A72423-74A8-6565-A54F-8ABDB9DB357C}"/>
          </ac:spMkLst>
        </pc:spChg>
        <pc:spChg chg="add mod">
          <ac:chgData name="Rashidat Sikiru" userId="S::rasheedat@datasciencenigeria.ai::7c1400e1-51ba-4343-839b-4f30799a6969" providerId="AD" clId="Web-{AE550A1A-F77D-8FAB-1A09-13320EDC45FC}" dt="2024-06-04T12:26:55.286" v="733" actId="1076"/>
          <ac:spMkLst>
            <pc:docMk/>
            <pc:sldMk cId="2731903268" sldId="4551"/>
            <ac:spMk id="8" creationId="{BCE23D88-8FE1-DC04-CB34-5810139C75B2}"/>
          </ac:spMkLst>
        </pc:spChg>
        <pc:grpChg chg="add del">
          <ac:chgData name="Rashidat Sikiru" userId="S::rasheedat@datasciencenigeria.ai::7c1400e1-51ba-4343-839b-4f30799a6969" providerId="AD" clId="Web-{AE550A1A-F77D-8FAB-1A09-13320EDC45FC}" dt="2024-06-04T12:29:49.572" v="751"/>
          <ac:grpSpMkLst>
            <pc:docMk/>
            <pc:sldMk cId="2731903268" sldId="4551"/>
            <ac:grpSpMk id="12" creationId="{2841EBF1-B770-382B-6CCD-90A64CDA99AA}"/>
          </ac:grpSpMkLst>
        </pc:grpChg>
        <pc:grpChg chg="add mod">
          <ac:chgData name="Rashidat Sikiru" userId="S::rasheedat@datasciencenigeria.ai::7c1400e1-51ba-4343-839b-4f30799a6969" providerId="AD" clId="Web-{AE550A1A-F77D-8FAB-1A09-13320EDC45FC}" dt="2024-06-04T13:23:20.126" v="805" actId="1076"/>
          <ac:grpSpMkLst>
            <pc:docMk/>
            <pc:sldMk cId="2731903268" sldId="4551"/>
            <ac:grpSpMk id="16" creationId="{E20EF9EC-87AD-EED0-0740-5507455FF65E}"/>
          </ac:grpSpMkLst>
        </pc:grpChg>
        <pc:picChg chg="add del mod modCrop">
          <ac:chgData name="Rashidat Sikiru" userId="S::rasheedat@datasciencenigeria.ai::7c1400e1-51ba-4343-839b-4f30799a6969" providerId="AD" clId="Web-{AE550A1A-F77D-8FAB-1A09-13320EDC45FC}" dt="2024-06-04T09:35:46.153" v="154" actId="14100"/>
          <ac:picMkLst>
            <pc:docMk/>
            <pc:sldMk cId="2731903268" sldId="4551"/>
            <ac:picMk id="2" creationId="{F9FA1863-E4FB-FA52-9776-7857F4C84B43}"/>
          </ac:picMkLst>
        </pc:picChg>
        <pc:picChg chg="add del mod">
          <ac:chgData name="Rashidat Sikiru" userId="S::rasheedat@datasciencenigeria.ai::7c1400e1-51ba-4343-839b-4f30799a6969" providerId="AD" clId="Web-{AE550A1A-F77D-8FAB-1A09-13320EDC45FC}" dt="2024-06-04T09:33:28.460" v="137"/>
          <ac:picMkLst>
            <pc:docMk/>
            <pc:sldMk cId="2731903268" sldId="4551"/>
            <ac:picMk id="8194" creationId="{7E0DC962-1B83-4342-9680-A91215882A0B}"/>
          </ac:picMkLst>
        </pc:picChg>
        <pc:cxnChg chg="del">
          <ac:chgData name="Rashidat Sikiru" userId="S::rasheedat@datasciencenigeria.ai::7c1400e1-51ba-4343-839b-4f30799a6969" providerId="AD" clId="Web-{AE550A1A-F77D-8FAB-1A09-13320EDC45FC}" dt="2024-06-04T12:29:25.712" v="744"/>
          <ac:cxnSpMkLst>
            <pc:docMk/>
            <pc:sldMk cId="2731903268" sldId="4551"/>
            <ac:cxnSpMk id="3" creationId="{99BF31C5-BD99-B20A-8C82-9EF8A8258FBE}"/>
          </ac:cxnSpMkLst>
        </pc:cxnChg>
      </pc:sldChg>
      <pc:sldChg chg="addSp delSp modSp">
        <pc:chgData name="Rashidat Sikiru" userId="S::rasheedat@datasciencenigeria.ai::7c1400e1-51ba-4343-839b-4f30799a6969" providerId="AD" clId="Web-{AE550A1A-F77D-8FAB-1A09-13320EDC45FC}" dt="2024-06-04T13:24:02.487" v="808"/>
        <pc:sldMkLst>
          <pc:docMk/>
          <pc:sldMk cId="4036741711" sldId="4552"/>
        </pc:sldMkLst>
        <pc:spChg chg="mod">
          <ac:chgData name="Rashidat Sikiru" userId="S::rasheedat@datasciencenigeria.ai::7c1400e1-51ba-4343-839b-4f30799a6969" providerId="AD" clId="Web-{AE550A1A-F77D-8FAB-1A09-13320EDC45FC}" dt="2024-06-04T08:44:36.279" v="50" actId="20577"/>
          <ac:spMkLst>
            <pc:docMk/>
            <pc:sldMk cId="4036741711" sldId="4552"/>
            <ac:spMk id="4" creationId="{6EDCC8E5-1C2B-5385-9DF3-240265BAED1D}"/>
          </ac:spMkLst>
        </pc:spChg>
        <pc:spChg chg="mod">
          <ac:chgData name="Rashidat Sikiru" userId="S::rasheedat@datasciencenigeria.ai::7c1400e1-51ba-4343-839b-4f30799a6969" providerId="AD" clId="Web-{AE550A1A-F77D-8FAB-1A09-13320EDC45FC}" dt="2024-06-04T13:24:02.487" v="808"/>
          <ac:spMkLst>
            <pc:docMk/>
            <pc:sldMk cId="4036741711" sldId="4552"/>
            <ac:spMk id="5" creationId="{5AF953F3-0FEB-E6B9-8DD6-3F32B6721431}"/>
          </ac:spMkLst>
        </pc:spChg>
        <pc:spChg chg="add mod">
          <ac:chgData name="Rashidat Sikiru" userId="S::rasheedat@datasciencenigeria.ai::7c1400e1-51ba-4343-839b-4f30799a6969" providerId="AD" clId="Web-{AE550A1A-F77D-8FAB-1A09-13320EDC45FC}" dt="2024-06-04T08:40:05.114" v="31" actId="20577"/>
          <ac:spMkLst>
            <pc:docMk/>
            <pc:sldMk cId="4036741711" sldId="4552"/>
            <ac:spMk id="7" creationId="{4EE8FF4F-6BC6-FB1B-C348-CA08E2B75805}"/>
          </ac:spMkLst>
        </pc:spChg>
        <pc:spChg chg="add mod">
          <ac:chgData name="Rashidat Sikiru" userId="S::rasheedat@datasciencenigeria.ai::7c1400e1-51ba-4343-839b-4f30799a6969" providerId="AD" clId="Web-{AE550A1A-F77D-8FAB-1A09-13320EDC45FC}" dt="2024-06-04T12:26:31.832" v="729" actId="1076"/>
          <ac:spMkLst>
            <pc:docMk/>
            <pc:sldMk cId="4036741711" sldId="4552"/>
            <ac:spMk id="8" creationId="{BA2CA541-722E-3E64-F8D2-9B391A8C2FCF}"/>
          </ac:spMkLst>
        </pc:spChg>
        <pc:grpChg chg="add mod">
          <ac:chgData name="Rashidat Sikiru" userId="S::rasheedat@datasciencenigeria.ai::7c1400e1-51ba-4343-839b-4f30799a6969" providerId="AD" clId="Web-{AE550A1A-F77D-8FAB-1A09-13320EDC45FC}" dt="2024-06-04T13:22:45.594" v="800" actId="1076"/>
          <ac:grpSpMkLst>
            <pc:docMk/>
            <pc:sldMk cId="4036741711" sldId="4552"/>
            <ac:grpSpMk id="12" creationId="{32042136-C3F7-CBC0-FE5B-97A5CFC28657}"/>
          </ac:grpSpMkLst>
        </pc:grpChg>
        <pc:picChg chg="add mod">
          <ac:chgData name="Rashidat Sikiru" userId="S::rasheedat@datasciencenigeria.ai::7c1400e1-51ba-4343-839b-4f30799a6969" providerId="AD" clId="Web-{AE550A1A-F77D-8FAB-1A09-13320EDC45FC}" dt="2024-06-04T08:41:52.008" v="43" actId="1076"/>
          <ac:picMkLst>
            <pc:docMk/>
            <pc:sldMk cId="4036741711" sldId="4552"/>
            <ac:picMk id="2" creationId="{4A068367-AA62-1DF1-4B12-75840D4FE4A0}"/>
          </ac:picMkLst>
        </pc:picChg>
        <pc:picChg chg="del">
          <ac:chgData name="Rashidat Sikiru" userId="S::rasheedat@datasciencenigeria.ai::7c1400e1-51ba-4343-839b-4f30799a6969" providerId="AD" clId="Web-{AE550A1A-F77D-8FAB-1A09-13320EDC45FC}" dt="2024-06-04T08:37:00.701" v="0"/>
          <ac:picMkLst>
            <pc:docMk/>
            <pc:sldMk cId="4036741711" sldId="4552"/>
            <ac:picMk id="6" creationId="{D0BAFCD5-7E7D-4C01-B824-07BDE7868ADF}"/>
          </ac:picMkLst>
        </pc:picChg>
        <pc:cxnChg chg="del">
          <ac:chgData name="Rashidat Sikiru" userId="S::rasheedat@datasciencenigeria.ai::7c1400e1-51ba-4343-839b-4f30799a6969" providerId="AD" clId="Web-{AE550A1A-F77D-8FAB-1A09-13320EDC45FC}" dt="2024-06-04T12:28:22.632" v="739"/>
          <ac:cxnSpMkLst>
            <pc:docMk/>
            <pc:sldMk cId="4036741711" sldId="4552"/>
            <ac:cxnSpMk id="3" creationId="{99BF31C5-BD99-B20A-8C82-9EF8A8258FBE}"/>
          </ac:cxnSpMkLst>
        </pc:cxnChg>
      </pc:sldChg>
      <pc:sldChg chg="addSp delSp modSp mod setBg modShow">
        <pc:chgData name="Rashidat Sikiru" userId="S::rasheedat@datasciencenigeria.ai::7c1400e1-51ba-4343-839b-4f30799a6969" providerId="AD" clId="Web-{AE550A1A-F77D-8FAB-1A09-13320EDC45FC}" dt="2024-06-04T13:28:34.433" v="831" actId="20577"/>
        <pc:sldMkLst>
          <pc:docMk/>
          <pc:sldMk cId="2957080739" sldId="4553"/>
        </pc:sldMkLst>
        <pc:spChg chg="add del mod ord">
          <ac:chgData name="Rashidat Sikiru" userId="S::rasheedat@datasciencenigeria.ai::7c1400e1-51ba-4343-839b-4f30799a6969" providerId="AD" clId="Web-{AE550A1A-F77D-8FAB-1A09-13320EDC45FC}" dt="2024-06-04T13:28:34.433" v="831" actId="20577"/>
          <ac:spMkLst>
            <pc:docMk/>
            <pc:sldMk cId="2957080739" sldId="4553"/>
            <ac:spMk id="4" creationId="{6EDCC8E5-1C2B-5385-9DF3-240265BAED1D}"/>
          </ac:spMkLst>
        </pc:spChg>
        <pc:spChg chg="add del mod">
          <ac:chgData name="Rashidat Sikiru" userId="S::rasheedat@datasciencenigeria.ai::7c1400e1-51ba-4343-839b-4f30799a6969" providerId="AD" clId="Web-{AE550A1A-F77D-8FAB-1A09-13320EDC45FC}" dt="2024-06-04T13:27:23.477" v="818"/>
          <ac:spMkLst>
            <pc:docMk/>
            <pc:sldMk cId="2957080739" sldId="4553"/>
            <ac:spMk id="5" creationId="{5AF953F3-0FEB-E6B9-8DD6-3F32B6721431}"/>
          </ac:spMkLst>
        </pc:spChg>
        <pc:spChg chg="add del">
          <ac:chgData name="Rashidat Sikiru" userId="S::rasheedat@datasciencenigeria.ai::7c1400e1-51ba-4343-839b-4f30799a6969" providerId="AD" clId="Web-{AE550A1A-F77D-8FAB-1A09-13320EDC45FC}" dt="2024-06-04T09:52:00.066" v="198"/>
          <ac:spMkLst>
            <pc:docMk/>
            <pc:sldMk cId="2957080739" sldId="4553"/>
            <ac:spMk id="7" creationId="{EE31A318-F29E-5E8F-C275-0CA80D74E689}"/>
          </ac:spMkLst>
        </pc:spChg>
        <pc:spChg chg="add mod">
          <ac:chgData name="Rashidat Sikiru" userId="S::rasheedat@datasciencenigeria.ai::7c1400e1-51ba-4343-839b-4f30799a6969" providerId="AD" clId="Web-{AE550A1A-F77D-8FAB-1A09-13320EDC45FC}" dt="2024-06-04T12:33:27.922" v="770" actId="1076"/>
          <ac:spMkLst>
            <pc:docMk/>
            <pc:sldMk cId="2957080739" sldId="4553"/>
            <ac:spMk id="11" creationId="{AA02DD3D-0AF1-62C1-EB80-88FA42A07829}"/>
          </ac:spMkLst>
        </pc:spChg>
        <pc:spChg chg="add del">
          <ac:chgData name="Rashidat Sikiru" userId="S::rasheedat@datasciencenigeria.ai::7c1400e1-51ba-4343-839b-4f30799a6969" providerId="AD" clId="Web-{AE550A1A-F77D-8FAB-1A09-13320EDC45FC}" dt="2024-06-04T09:56:02.356" v="222"/>
          <ac:spMkLst>
            <pc:docMk/>
            <pc:sldMk cId="2957080739" sldId="4553"/>
            <ac:spMk id="11" creationId="{F13C74B1-5B17-4795-BED0-7140497B445A}"/>
          </ac:spMkLst>
        </pc:spChg>
        <pc:spChg chg="add del">
          <ac:chgData name="Rashidat Sikiru" userId="S::rasheedat@datasciencenigeria.ai::7c1400e1-51ba-4343-839b-4f30799a6969" providerId="AD" clId="Web-{AE550A1A-F77D-8FAB-1A09-13320EDC45FC}" dt="2024-06-04T09:56:02.356" v="222"/>
          <ac:spMkLst>
            <pc:docMk/>
            <pc:sldMk cId="2957080739" sldId="4553"/>
            <ac:spMk id="13" creationId="{D4974D33-8DC5-464E-8C6D-BE58F0669C17}"/>
          </ac:spMkLst>
        </pc:spChg>
        <pc:grpChg chg="add mod">
          <ac:chgData name="Rashidat Sikiru" userId="S::rasheedat@datasciencenigeria.ai::7c1400e1-51ba-4343-839b-4f30799a6969" providerId="AD" clId="Web-{AE550A1A-F77D-8FAB-1A09-13320EDC45FC}" dt="2024-06-04T12:28:09.507" v="736" actId="1076"/>
          <ac:grpSpMkLst>
            <pc:docMk/>
            <pc:sldMk cId="2957080739" sldId="4553"/>
            <ac:grpSpMk id="9" creationId="{33BD51AF-541F-3E63-84B1-AF64D5B8861D}"/>
          </ac:grpSpMkLst>
        </pc:grpChg>
        <pc:picChg chg="add del mod">
          <ac:chgData name="Rashidat Sikiru" userId="S::rasheedat@datasciencenigeria.ai::7c1400e1-51ba-4343-839b-4f30799a6969" providerId="AD" clId="Web-{AE550A1A-F77D-8FAB-1A09-13320EDC45FC}" dt="2024-06-04T09:44:43.252" v="185"/>
          <ac:picMkLst>
            <pc:docMk/>
            <pc:sldMk cId="2957080739" sldId="4553"/>
            <ac:picMk id="2" creationId="{EB102C6B-AC5F-D41A-7AF7-FC248BF491F6}"/>
          </ac:picMkLst>
        </pc:picChg>
        <pc:picChg chg="add mod ord modCrop">
          <ac:chgData name="Rashidat Sikiru" userId="S::rasheedat@datasciencenigeria.ai::7c1400e1-51ba-4343-839b-4f30799a6969" providerId="AD" clId="Web-{AE550A1A-F77D-8FAB-1A09-13320EDC45FC}" dt="2024-06-04T10:15:29.261" v="328" actId="14100"/>
          <ac:picMkLst>
            <pc:docMk/>
            <pc:sldMk cId="2957080739" sldId="4553"/>
            <ac:picMk id="6" creationId="{D6791556-1608-6D4D-CA77-F7662DBDACDF}"/>
          </ac:picMkLst>
        </pc:picChg>
        <pc:cxnChg chg="del mod ord">
          <ac:chgData name="Rashidat Sikiru" userId="S::rasheedat@datasciencenigeria.ai::7c1400e1-51ba-4343-839b-4f30799a6969" providerId="AD" clId="Web-{AE550A1A-F77D-8FAB-1A09-13320EDC45FC}" dt="2024-06-04T12:28:05.069" v="735"/>
          <ac:cxnSpMkLst>
            <pc:docMk/>
            <pc:sldMk cId="2957080739" sldId="4553"/>
            <ac:cxnSpMk id="3" creationId="{99BF31C5-BD99-B20A-8C82-9EF8A8258FBE}"/>
          </ac:cxnSpMkLst>
        </pc:cxnChg>
      </pc:sldChg>
      <pc:sldChg chg="addSp delSp modSp del mod setBg">
        <pc:chgData name="Rashidat Sikiru" userId="S::rasheedat@datasciencenigeria.ai::7c1400e1-51ba-4343-839b-4f30799a6969" providerId="AD" clId="Web-{AE550A1A-F77D-8FAB-1A09-13320EDC45FC}" dt="2024-06-04T12:22:35.950" v="712"/>
        <pc:sldMkLst>
          <pc:docMk/>
          <pc:sldMk cId="1986487068" sldId="4554"/>
        </pc:sldMkLst>
        <pc:spChg chg="del mod">
          <ac:chgData name="Rashidat Sikiru" userId="S::rasheedat@datasciencenigeria.ai::7c1400e1-51ba-4343-839b-4f30799a6969" providerId="AD" clId="Web-{AE550A1A-F77D-8FAB-1A09-13320EDC45FC}" dt="2024-06-04T10:51:22.201" v="557"/>
          <ac:spMkLst>
            <pc:docMk/>
            <pc:sldMk cId="1986487068" sldId="4554"/>
            <ac:spMk id="4" creationId="{6EDCC8E5-1C2B-5385-9DF3-240265BAED1D}"/>
          </ac:spMkLst>
        </pc:spChg>
        <pc:spChg chg="mod">
          <ac:chgData name="Rashidat Sikiru" userId="S::rasheedat@datasciencenigeria.ai::7c1400e1-51ba-4343-839b-4f30799a6969" providerId="AD" clId="Web-{AE550A1A-F77D-8FAB-1A09-13320EDC45FC}" dt="2024-06-04T12:21:02.635" v="705" actId="1076"/>
          <ac:spMkLst>
            <pc:docMk/>
            <pc:sldMk cId="1986487068" sldId="4554"/>
            <ac:spMk id="5" creationId="{5AF953F3-0FEB-E6B9-8DD6-3F32B6721431}"/>
          </ac:spMkLst>
        </pc:spChg>
        <pc:spChg chg="add">
          <ac:chgData name="Rashidat Sikiru" userId="S::rasheedat@datasciencenigeria.ai::7c1400e1-51ba-4343-839b-4f30799a6969" providerId="AD" clId="Web-{AE550A1A-F77D-8FAB-1A09-13320EDC45FC}" dt="2024-06-04T12:20:53.666" v="704"/>
          <ac:spMkLst>
            <pc:docMk/>
            <pc:sldMk cId="1986487068" sldId="4554"/>
            <ac:spMk id="1343" creationId="{2EB492CD-616E-47F8-933B-5E2D952A0593}"/>
          </ac:spMkLst>
        </pc:spChg>
        <pc:spChg chg="add del">
          <ac:chgData name="Rashidat Sikiru" userId="S::rasheedat@datasciencenigeria.ai::7c1400e1-51ba-4343-839b-4f30799a6969" providerId="AD" clId="Web-{AE550A1A-F77D-8FAB-1A09-13320EDC45FC}" dt="2024-06-04T12:21:08.526" v="706"/>
          <ac:spMkLst>
            <pc:docMk/>
            <pc:sldMk cId="1986487068" sldId="4554"/>
            <ac:spMk id="1345" creationId="{59383CF9-23B5-4335-9B21-1791C4CF1C75}"/>
          </ac:spMkLst>
        </pc:spChg>
        <pc:spChg chg="add">
          <ac:chgData name="Rashidat Sikiru" userId="S::rasheedat@datasciencenigeria.ai::7c1400e1-51ba-4343-839b-4f30799a6969" providerId="AD" clId="Web-{AE550A1A-F77D-8FAB-1A09-13320EDC45FC}" dt="2024-06-04T12:20:53.666" v="704"/>
          <ac:spMkLst>
            <pc:docMk/>
            <pc:sldMk cId="1986487068" sldId="4554"/>
            <ac:spMk id="1347" creationId="{0007FE00-9498-4706-B255-6437B0252C02}"/>
          </ac:spMkLst>
        </pc:spChg>
        <pc:graphicFrameChg chg="add del mod modGraphic">
          <ac:chgData name="Rashidat Sikiru" userId="S::rasheedat@datasciencenigeria.ai::7c1400e1-51ba-4343-839b-4f30799a6969" providerId="AD" clId="Web-{AE550A1A-F77D-8FAB-1A09-13320EDC45FC}" dt="2024-06-04T10:45:01.297" v="508"/>
          <ac:graphicFrameMkLst>
            <pc:docMk/>
            <pc:sldMk cId="1986487068" sldId="4554"/>
            <ac:graphicFrameMk id="2" creationId="{B8922738-0CF5-AA78-78E6-6E090B296C64}"/>
          </ac:graphicFrameMkLst>
        </pc:graphicFrameChg>
        <pc:graphicFrameChg chg="add del mod modGraphic">
          <ac:chgData name="Rashidat Sikiru" userId="S::rasheedat@datasciencenigeria.ai::7c1400e1-51ba-4343-839b-4f30799a6969" providerId="AD" clId="Web-{AE550A1A-F77D-8FAB-1A09-13320EDC45FC}" dt="2024-06-04T11:01:08.361" v="615"/>
          <ac:graphicFrameMkLst>
            <pc:docMk/>
            <pc:sldMk cId="1986487068" sldId="4554"/>
            <ac:graphicFrameMk id="84" creationId="{2372E592-0175-E1A0-37DD-39BEFCF909BB}"/>
          </ac:graphicFrameMkLst>
        </pc:graphicFrameChg>
        <pc:graphicFrameChg chg="add del mod modGraphic">
          <ac:chgData name="Rashidat Sikiru" userId="S::rasheedat@datasciencenigeria.ai::7c1400e1-51ba-4343-839b-4f30799a6969" providerId="AD" clId="Web-{AE550A1A-F77D-8FAB-1A09-13320EDC45FC}" dt="2024-06-04T12:00:34.240" v="683"/>
          <ac:graphicFrameMkLst>
            <pc:docMk/>
            <pc:sldMk cId="1986487068" sldId="4554"/>
            <ac:graphicFrameMk id="807" creationId="{73780371-50C8-162C-CE2A-D1E8657F5934}"/>
          </ac:graphicFrameMkLst>
        </pc:graphicFrameChg>
        <pc:graphicFrameChg chg="add del mod modGraphic">
          <ac:chgData name="Rashidat Sikiru" userId="S::rasheedat@datasciencenigeria.ai::7c1400e1-51ba-4343-839b-4f30799a6969" providerId="AD" clId="Web-{AE550A1A-F77D-8FAB-1A09-13320EDC45FC}" dt="2024-06-04T12:01:02.554" v="689"/>
          <ac:graphicFrameMkLst>
            <pc:docMk/>
            <pc:sldMk cId="1986487068" sldId="4554"/>
            <ac:graphicFrameMk id="901" creationId="{E922F33E-B231-50DD-0F3A-F022539CB3FA}"/>
          </ac:graphicFrameMkLst>
        </pc:graphicFrameChg>
        <pc:graphicFrameChg chg="add mod ord modGraphic">
          <ac:chgData name="Rashidat Sikiru" userId="S::rasheedat@datasciencenigeria.ai::7c1400e1-51ba-4343-839b-4f30799a6969" providerId="AD" clId="Web-{AE550A1A-F77D-8FAB-1A09-13320EDC45FC}" dt="2024-06-04T12:20:53.666" v="704"/>
          <ac:graphicFrameMkLst>
            <pc:docMk/>
            <pc:sldMk cId="1986487068" sldId="4554"/>
            <ac:graphicFrameMk id="1321" creationId="{73780371-50C8-162C-CE2A-D1E8657F5934}"/>
          </ac:graphicFrameMkLst>
        </pc:graphicFrameChg>
        <pc:picChg chg="add del mod">
          <ac:chgData name="Rashidat Sikiru" userId="S::rasheedat@datasciencenigeria.ai::7c1400e1-51ba-4343-839b-4f30799a6969" providerId="AD" clId="Web-{AE550A1A-F77D-8FAB-1A09-13320EDC45FC}" dt="2024-06-04T12:05:41.655" v="699"/>
          <ac:picMkLst>
            <pc:docMk/>
            <pc:sldMk cId="1986487068" sldId="4554"/>
            <ac:picMk id="1337" creationId="{F6732217-3E22-EAC4-7732-63FB325D7608}"/>
          </ac:picMkLst>
        </pc:picChg>
        <pc:picChg chg="add mod">
          <ac:chgData name="Rashidat Sikiru" userId="S::rasheedat@datasciencenigeria.ai::7c1400e1-51ba-4343-839b-4f30799a6969" providerId="AD" clId="Web-{AE550A1A-F77D-8FAB-1A09-13320EDC45FC}" dt="2024-06-04T12:20:53.666" v="704"/>
          <ac:picMkLst>
            <pc:docMk/>
            <pc:sldMk cId="1986487068" sldId="4554"/>
            <ac:picMk id="1338" creationId="{9D8A5B6A-1A67-7AE4-12AB-4827F632814F}"/>
          </ac:picMkLst>
        </pc:picChg>
        <pc:cxnChg chg="ord">
          <ac:chgData name="Rashidat Sikiru" userId="S::rasheedat@datasciencenigeria.ai::7c1400e1-51ba-4343-839b-4f30799a6969" providerId="AD" clId="Web-{AE550A1A-F77D-8FAB-1A09-13320EDC45FC}" dt="2024-06-04T12:20:53.666" v="704"/>
          <ac:cxnSpMkLst>
            <pc:docMk/>
            <pc:sldMk cId="1986487068" sldId="4554"/>
            <ac:cxnSpMk id="3" creationId="{99BF31C5-BD99-B20A-8C82-9EF8A8258FBE}"/>
          </ac:cxnSpMkLst>
        </pc:cxnChg>
      </pc:sldChg>
      <pc:sldChg chg="addSp delSp modSp">
        <pc:chgData name="Rashidat Sikiru" userId="S::rasheedat@datasciencenigeria.ai::7c1400e1-51ba-4343-839b-4f30799a6969" providerId="AD" clId="Web-{AE550A1A-F77D-8FAB-1A09-13320EDC45FC}" dt="2024-06-04T13:33:59.333" v="865" actId="20577"/>
        <pc:sldMkLst>
          <pc:docMk/>
          <pc:sldMk cId="1029249850" sldId="4555"/>
        </pc:sldMkLst>
        <pc:spChg chg="mod">
          <ac:chgData name="Rashidat Sikiru" userId="S::rasheedat@datasciencenigeria.ai::7c1400e1-51ba-4343-839b-4f30799a6969" providerId="AD" clId="Web-{AE550A1A-F77D-8FAB-1A09-13320EDC45FC}" dt="2024-06-04T13:31:41.985" v="852" actId="20577"/>
          <ac:spMkLst>
            <pc:docMk/>
            <pc:sldMk cId="1029249850" sldId="4555"/>
            <ac:spMk id="4" creationId="{6EDCC8E5-1C2B-5385-9DF3-240265BAED1D}"/>
          </ac:spMkLst>
        </pc:spChg>
        <pc:spChg chg="mod">
          <ac:chgData name="Rashidat Sikiru" userId="S::rasheedat@datasciencenigeria.ai::7c1400e1-51ba-4343-839b-4f30799a6969" providerId="AD" clId="Web-{AE550A1A-F77D-8FAB-1A09-13320EDC45FC}" dt="2024-06-04T13:33:59.333" v="865" actId="20577"/>
          <ac:spMkLst>
            <pc:docMk/>
            <pc:sldMk cId="1029249850" sldId="4555"/>
            <ac:spMk id="5" creationId="{5AF953F3-0FEB-E6B9-8DD6-3F32B6721431}"/>
          </ac:spMkLst>
        </pc:spChg>
        <pc:spChg chg="add">
          <ac:chgData name="Rashidat Sikiru" userId="S::rasheedat@datasciencenigeria.ai::7c1400e1-51ba-4343-839b-4f30799a6969" providerId="AD" clId="Web-{AE550A1A-F77D-8FAB-1A09-13320EDC45FC}" dt="2024-06-04T12:34:10.986" v="774"/>
          <ac:spMkLst>
            <pc:docMk/>
            <pc:sldMk cId="1029249850" sldId="4555"/>
            <ac:spMk id="10" creationId="{87400525-1C00-9539-9B01-2EE0EB9B1341}"/>
          </ac:spMkLst>
        </pc:spChg>
        <pc:grpChg chg="add mod">
          <ac:chgData name="Rashidat Sikiru" userId="S::rasheedat@datasciencenigeria.ai::7c1400e1-51ba-4343-839b-4f30799a6969" providerId="AD" clId="Web-{AE550A1A-F77D-8FAB-1A09-13320EDC45FC}" dt="2024-06-04T12:31:49.544" v="767" actId="1076"/>
          <ac:grpSpMkLst>
            <pc:docMk/>
            <pc:sldMk cId="1029249850" sldId="4555"/>
            <ac:grpSpMk id="8" creationId="{EEEF81D6-EBB7-1433-EBB8-29B55BCC0479}"/>
          </ac:grpSpMkLst>
        </pc:grpChg>
        <pc:picChg chg="add mod">
          <ac:chgData name="Rashidat Sikiru" userId="S::rasheedat@datasciencenigeria.ai::7c1400e1-51ba-4343-839b-4f30799a6969" providerId="AD" clId="Web-{AE550A1A-F77D-8FAB-1A09-13320EDC45FC}" dt="2024-06-04T13:20:49.668" v="785" actId="14100"/>
          <ac:picMkLst>
            <pc:docMk/>
            <pc:sldMk cId="1029249850" sldId="4555"/>
            <ac:picMk id="2" creationId="{1BC1B48C-E9E9-047F-ABCF-B313E0C961C7}"/>
          </ac:picMkLst>
        </pc:picChg>
        <pc:picChg chg="add del mod">
          <ac:chgData name="Rashidat Sikiru" userId="S::rasheedat@datasciencenigeria.ai::7c1400e1-51ba-4343-839b-4f30799a6969" providerId="AD" clId="Web-{AE550A1A-F77D-8FAB-1A09-13320EDC45FC}" dt="2024-06-04T13:13:14.576" v="782"/>
          <ac:picMkLst>
            <pc:docMk/>
            <pc:sldMk cId="1029249850" sldId="4555"/>
            <ac:picMk id="12" creationId="{D2F23A3B-FC76-5F3F-51A2-4B39B9874FAE}"/>
          </ac:picMkLst>
        </pc:picChg>
        <pc:cxnChg chg="del">
          <ac:chgData name="Rashidat Sikiru" userId="S::rasheedat@datasciencenigeria.ai::7c1400e1-51ba-4343-839b-4f30799a6969" providerId="AD" clId="Web-{AE550A1A-F77D-8FAB-1A09-13320EDC45FC}" dt="2024-06-04T12:31:37.544" v="765"/>
          <ac:cxnSpMkLst>
            <pc:docMk/>
            <pc:sldMk cId="1029249850" sldId="4555"/>
            <ac:cxnSpMk id="3" creationId="{99BF31C5-BD99-B20A-8C82-9EF8A8258FBE}"/>
          </ac:cxnSpMkLst>
        </pc:cxnChg>
      </pc:sldChg>
      <pc:sldChg chg="addSp delSp modSp add replId addAnim">
        <pc:chgData name="Rashidat Sikiru" userId="S::rasheedat@datasciencenigeria.ai::7c1400e1-51ba-4343-839b-4f30799a6969" providerId="AD" clId="Web-{AE550A1A-F77D-8FAB-1A09-13320EDC45FC}" dt="2024-06-04T13:29:46.560" v="842" actId="1076"/>
        <pc:sldMkLst>
          <pc:docMk/>
          <pc:sldMk cId="2737619392" sldId="4556"/>
        </pc:sldMkLst>
        <pc:spChg chg="mod">
          <ac:chgData name="Rashidat Sikiru" userId="S::rasheedat@datasciencenigeria.ai::7c1400e1-51ba-4343-839b-4f30799a6969" providerId="AD" clId="Web-{AE550A1A-F77D-8FAB-1A09-13320EDC45FC}" dt="2024-06-04T13:29:46.560" v="842" actId="1076"/>
          <ac:spMkLst>
            <pc:docMk/>
            <pc:sldMk cId="2737619392" sldId="4556"/>
            <ac:spMk id="4" creationId="{6EDCC8E5-1C2B-5385-9DF3-240265BAED1D}"/>
          </ac:spMkLst>
        </pc:spChg>
        <pc:spChg chg="mod">
          <ac:chgData name="Rashidat Sikiru" userId="S::rasheedat@datasciencenigeria.ai::7c1400e1-51ba-4343-839b-4f30799a6969" providerId="AD" clId="Web-{AE550A1A-F77D-8FAB-1A09-13320EDC45FC}" dt="2024-06-04T13:29:32.216" v="841" actId="20577"/>
          <ac:spMkLst>
            <pc:docMk/>
            <pc:sldMk cId="2737619392" sldId="4556"/>
            <ac:spMk id="5" creationId="{5AF953F3-0FEB-E6B9-8DD6-3F32B6721431}"/>
          </ac:spMkLst>
        </pc:spChg>
        <pc:spChg chg="add">
          <ac:chgData name="Rashidat Sikiru" userId="S::rasheedat@datasciencenigeria.ai::7c1400e1-51ba-4343-839b-4f30799a6969" providerId="AD" clId="Web-{AE550A1A-F77D-8FAB-1A09-13320EDC45FC}" dt="2024-06-04T12:33:45.188" v="772"/>
          <ac:spMkLst>
            <pc:docMk/>
            <pc:sldMk cId="2737619392" sldId="4556"/>
            <ac:spMk id="22" creationId="{DAEDEF10-7988-07FA-DAB5-C9B86041F6B2}"/>
          </ac:spMkLst>
        </pc:spChg>
        <pc:grpChg chg="add mod">
          <ac:chgData name="Rashidat Sikiru" userId="S::rasheedat@datasciencenigeria.ai::7c1400e1-51ba-4343-839b-4f30799a6969" providerId="AD" clId="Web-{AE550A1A-F77D-8FAB-1A09-13320EDC45FC}" dt="2024-06-04T12:30:18.682" v="754" actId="1076"/>
          <ac:grpSpMkLst>
            <pc:docMk/>
            <pc:sldMk cId="2737619392" sldId="4556"/>
            <ac:grpSpMk id="11" creationId="{1FB2FA2A-64C2-7858-91AE-49EC1D9F8344}"/>
          </ac:grpSpMkLst>
        </pc:grpChg>
        <pc:graphicFrameChg chg="add del">
          <ac:chgData name="Rashidat Sikiru" userId="S::rasheedat@datasciencenigeria.ai::7c1400e1-51ba-4343-839b-4f30799a6969" providerId="AD" clId="Web-{AE550A1A-F77D-8FAB-1A09-13320EDC45FC}" dt="2024-06-04T12:30:32.651" v="756"/>
          <ac:graphicFrameMkLst>
            <pc:docMk/>
            <pc:sldMk cId="2737619392" sldId="4556"/>
            <ac:graphicFrameMk id="12" creationId="{73780371-50C8-162C-CE2A-D1E8657F5934}"/>
          </ac:graphicFrameMkLst>
        </pc:graphicFrameChg>
        <pc:picChg chg="add mod">
          <ac:chgData name="Rashidat Sikiru" userId="S::rasheedat@datasciencenigeria.ai::7c1400e1-51ba-4343-839b-4f30799a6969" providerId="AD" clId="Web-{AE550A1A-F77D-8FAB-1A09-13320EDC45FC}" dt="2024-06-04T10:32:55.538" v="363" actId="1076"/>
          <ac:picMkLst>
            <pc:docMk/>
            <pc:sldMk cId="2737619392" sldId="4556"/>
            <ac:picMk id="6" creationId="{F71FE384-D6C6-4821-69E4-60A229810FFE}"/>
          </ac:picMkLst>
        </pc:picChg>
        <pc:picChg chg="add mod">
          <ac:chgData name="Rashidat Sikiru" userId="S::rasheedat@datasciencenigeria.ai::7c1400e1-51ba-4343-839b-4f30799a6969" providerId="AD" clId="Web-{AE550A1A-F77D-8FAB-1A09-13320EDC45FC}" dt="2024-06-04T10:32:51.132" v="362" actId="1076"/>
          <ac:picMkLst>
            <pc:docMk/>
            <pc:sldMk cId="2737619392" sldId="4556"/>
            <ac:picMk id="8" creationId="{407473CA-DB06-A8B1-D902-FB884B531228}"/>
          </ac:picMkLst>
        </pc:picChg>
        <pc:picChg chg="add mod">
          <ac:chgData name="Rashidat Sikiru" userId="S::rasheedat@datasciencenigeria.ai::7c1400e1-51ba-4343-839b-4f30799a6969" providerId="AD" clId="Web-{AE550A1A-F77D-8FAB-1A09-13320EDC45FC}" dt="2024-06-04T12:33:49.329" v="773" actId="1076"/>
          <ac:picMkLst>
            <pc:docMk/>
            <pc:sldMk cId="2737619392" sldId="4556"/>
            <ac:picMk id="10" creationId="{49B41EA2-3024-8521-F449-CF5672D7BD98}"/>
          </ac:picMkLst>
        </pc:picChg>
        <pc:cxnChg chg="del">
          <ac:chgData name="Rashidat Sikiru" userId="S::rasheedat@datasciencenigeria.ai::7c1400e1-51ba-4343-839b-4f30799a6969" providerId="AD" clId="Web-{AE550A1A-F77D-8FAB-1A09-13320EDC45FC}" dt="2024-06-04T12:30:10.323" v="752"/>
          <ac:cxnSpMkLst>
            <pc:docMk/>
            <pc:sldMk cId="2737619392" sldId="4556"/>
            <ac:cxnSpMk id="3" creationId="{99BF31C5-BD99-B20A-8C82-9EF8A8258FBE}"/>
          </ac:cxnSpMkLst>
        </pc:cxnChg>
      </pc:sldChg>
      <pc:sldChg chg="addSp delSp modSp add replId">
        <pc:chgData name="Rashidat Sikiru" userId="S::rasheedat@datasciencenigeria.ai::7c1400e1-51ba-4343-839b-4f30799a6969" providerId="AD" clId="Web-{AE550A1A-F77D-8FAB-1A09-13320EDC45FC}" dt="2024-06-04T13:30:16.358" v="844" actId="1076"/>
        <pc:sldMkLst>
          <pc:docMk/>
          <pc:sldMk cId="1066285873" sldId="4557"/>
        </pc:sldMkLst>
        <pc:spChg chg="mod">
          <ac:chgData name="Rashidat Sikiru" userId="S::rasheedat@datasciencenigeria.ai::7c1400e1-51ba-4343-839b-4f30799a6969" providerId="AD" clId="Web-{AE550A1A-F77D-8FAB-1A09-13320EDC45FC}" dt="2024-06-04T13:30:16.358" v="844" actId="1076"/>
          <ac:spMkLst>
            <pc:docMk/>
            <pc:sldMk cId="1066285873" sldId="4557"/>
            <ac:spMk id="5" creationId="{5AF953F3-0FEB-E6B9-8DD6-3F32B6721431}"/>
          </ac:spMkLst>
        </pc:spChg>
        <pc:spChg chg="add mod">
          <ac:chgData name="Rashidat Sikiru" userId="S::rasheedat@datasciencenigeria.ai::7c1400e1-51ba-4343-839b-4f30799a6969" providerId="AD" clId="Web-{AE550A1A-F77D-8FAB-1A09-13320EDC45FC}" dt="2024-06-04T12:25:49.596" v="727"/>
          <ac:spMkLst>
            <pc:docMk/>
            <pc:sldMk cId="1066285873" sldId="4557"/>
            <ac:spMk id="777" creationId="{F68237DD-F306-435D-53CE-5CC0C8DA666F}"/>
          </ac:spMkLst>
        </pc:spChg>
        <pc:spChg chg="add">
          <ac:chgData name="Rashidat Sikiru" userId="S::rasheedat@datasciencenigeria.ai::7c1400e1-51ba-4343-839b-4f30799a6969" providerId="AD" clId="Web-{AE550A1A-F77D-8FAB-1A09-13320EDC45FC}" dt="2024-06-04T12:33:34.391" v="771"/>
          <ac:spMkLst>
            <pc:docMk/>
            <pc:sldMk cId="1066285873" sldId="4557"/>
            <ac:spMk id="800" creationId="{0DE63583-C2D0-127A-119F-5926191C612F}"/>
          </ac:spMkLst>
        </pc:spChg>
        <pc:grpChg chg="add mod">
          <ac:chgData name="Rashidat Sikiru" userId="S::rasheedat@datasciencenigeria.ai::7c1400e1-51ba-4343-839b-4f30799a6969" providerId="AD" clId="Web-{AE550A1A-F77D-8FAB-1A09-13320EDC45FC}" dt="2024-06-04T12:31:09.465" v="762" actId="1076"/>
          <ac:grpSpMkLst>
            <pc:docMk/>
            <pc:sldMk cId="1066285873" sldId="4557"/>
            <ac:grpSpMk id="798" creationId="{78F52D4C-0C72-DBFE-0C52-1BBA47B3FC8D}"/>
          </ac:grpSpMkLst>
        </pc:grpChg>
        <pc:graphicFrameChg chg="add mod">
          <ac:chgData name="Rashidat Sikiru" userId="S::rasheedat@datasciencenigeria.ai::7c1400e1-51ba-4343-839b-4f30799a6969" providerId="AD" clId="Web-{AE550A1A-F77D-8FAB-1A09-13320EDC45FC}" dt="2024-06-04T12:22:28.294" v="711" actId="1076"/>
          <ac:graphicFrameMkLst>
            <pc:docMk/>
            <pc:sldMk cId="1066285873" sldId="4557"/>
            <ac:graphicFrameMk id="40" creationId="{1ED8D9EE-2C2F-44D8-65A8-AB2B737385B0}"/>
          </ac:graphicFrameMkLst>
        </pc:graphicFrameChg>
        <pc:graphicFrameChg chg="add del">
          <ac:chgData name="Rashidat Sikiru" userId="S::rasheedat@datasciencenigeria.ai::7c1400e1-51ba-4343-839b-4f30799a6969" providerId="AD" clId="Web-{AE550A1A-F77D-8FAB-1A09-13320EDC45FC}" dt="2024-06-04T12:30:55.511" v="760"/>
          <ac:graphicFrameMkLst>
            <pc:docMk/>
            <pc:sldMk cId="1066285873" sldId="4557"/>
            <ac:graphicFrameMk id="778" creationId="{73780371-50C8-162C-CE2A-D1E8657F5934}"/>
          </ac:graphicFrameMkLst>
        </pc:graphicFrameChg>
        <pc:graphicFrameChg chg="del">
          <ac:chgData name="Rashidat Sikiru" userId="S::rasheedat@datasciencenigeria.ai::7c1400e1-51ba-4343-839b-4f30799a6969" providerId="AD" clId="Web-{AE550A1A-F77D-8FAB-1A09-13320EDC45FC}" dt="2024-06-04T12:21:47.902" v="708"/>
          <ac:graphicFrameMkLst>
            <pc:docMk/>
            <pc:sldMk cId="1066285873" sldId="4557"/>
            <ac:graphicFrameMk id="807" creationId="{73780371-50C8-162C-CE2A-D1E8657F5934}"/>
          </ac:graphicFrameMkLst>
        </pc:graphicFrameChg>
        <pc:picChg chg="add">
          <ac:chgData name="Rashidat Sikiru" userId="S::rasheedat@datasciencenigeria.ai::7c1400e1-51ba-4343-839b-4f30799a6969" providerId="AD" clId="Web-{AE550A1A-F77D-8FAB-1A09-13320EDC45FC}" dt="2024-06-04T12:22:05.449" v="709"/>
          <ac:picMkLst>
            <pc:docMk/>
            <pc:sldMk cId="1066285873" sldId="4557"/>
            <ac:picMk id="38" creationId="{6DDBF6DD-46C7-0B17-770E-630C8A68FCBB}"/>
          </ac:picMkLst>
        </pc:picChg>
        <pc:cxnChg chg="del">
          <ac:chgData name="Rashidat Sikiru" userId="S::rasheedat@datasciencenigeria.ai::7c1400e1-51ba-4343-839b-4f30799a6969" providerId="AD" clId="Web-{AE550A1A-F77D-8FAB-1A09-13320EDC45FC}" dt="2024-06-04T12:30:51.121" v="758"/>
          <ac:cxnSpMkLst>
            <pc:docMk/>
            <pc:sldMk cId="1066285873" sldId="4557"/>
            <ac:cxnSpMk id="3" creationId="{99BF31C5-BD99-B20A-8C82-9EF8A8258FBE}"/>
          </ac:cxnSpMkLst>
        </pc:cxnChg>
      </pc:sldChg>
      <pc:sldChg chg="add mod replId modShow">
        <pc:chgData name="Rashidat Sikiru" userId="S::rasheedat@datasciencenigeria.ai::7c1400e1-51ba-4343-839b-4f30799a6969" providerId="AD" clId="Web-{AE550A1A-F77D-8FAB-1A09-13320EDC45FC}" dt="2024-06-04T12:34:26.752" v="775"/>
        <pc:sldMkLst>
          <pc:docMk/>
          <pc:sldMk cId="1406327613" sldId="4558"/>
        </pc:sldMkLst>
      </pc:sldChg>
    </pc:docChg>
  </pc:docChgLst>
  <pc:docChgLst>
    <pc:chgData name="Serah Peter-Adeoye" userId="S::serah@datasciencenigeria.ai::07cd8402-3259-4935-a6d7-b00f53221955" providerId="AD" clId="Web-{7D97063C-8F9A-43B3-8A3A-09A9131BF389}"/>
    <pc:docChg chg="modSld">
      <pc:chgData name="Serah Peter-Adeoye" userId="S::serah@datasciencenigeria.ai::07cd8402-3259-4935-a6d7-b00f53221955" providerId="AD" clId="Web-{7D97063C-8F9A-43B3-8A3A-09A9131BF389}" dt="2024-06-05T15:45:24.810" v="0" actId="20577"/>
      <pc:docMkLst>
        <pc:docMk/>
      </pc:docMkLst>
      <pc:sldChg chg="modSp">
        <pc:chgData name="Serah Peter-Adeoye" userId="S::serah@datasciencenigeria.ai::07cd8402-3259-4935-a6d7-b00f53221955" providerId="AD" clId="Web-{7D97063C-8F9A-43B3-8A3A-09A9131BF389}" dt="2024-06-05T15:45:24.810" v="0" actId="20577"/>
        <pc:sldMkLst>
          <pc:docMk/>
          <pc:sldMk cId="1029249850" sldId="4555"/>
        </pc:sldMkLst>
        <pc:spChg chg="mod">
          <ac:chgData name="Serah Peter-Adeoye" userId="S::serah@datasciencenigeria.ai::07cd8402-3259-4935-a6d7-b00f53221955" providerId="AD" clId="Web-{7D97063C-8F9A-43B3-8A3A-09A9131BF389}" dt="2024-06-05T15:45:24.810" v="0" actId="20577"/>
          <ac:spMkLst>
            <pc:docMk/>
            <pc:sldMk cId="1029249850" sldId="4555"/>
            <ac:spMk id="4" creationId="{6EDCC8E5-1C2B-5385-9DF3-240265BAED1D}"/>
          </ac:spMkLst>
        </pc:spChg>
      </pc:sldChg>
    </pc:docChg>
  </pc:docChgLst>
  <pc:docChgLst>
    <pc:chgData name="Serah Peter-Adeoye" userId="S::serah@datasciencenigeria.ai::07cd8402-3259-4935-a6d7-b00f53221955" providerId="AD" clId="Web-{A0F2737D-C39F-79DF-3AAA-ECE9586A6DD2}"/>
    <pc:docChg chg="delSld modSld">
      <pc:chgData name="Serah Peter-Adeoye" userId="S::serah@datasciencenigeria.ai::07cd8402-3259-4935-a6d7-b00f53221955" providerId="AD" clId="Web-{A0F2737D-C39F-79DF-3AAA-ECE9586A6DD2}" dt="2024-06-06T08:38:49.950" v="71" actId="20577"/>
      <pc:docMkLst>
        <pc:docMk/>
      </pc:docMkLst>
      <pc:sldChg chg="del">
        <pc:chgData name="Serah Peter-Adeoye" userId="S::serah@datasciencenigeria.ai::07cd8402-3259-4935-a6d7-b00f53221955" providerId="AD" clId="Web-{A0F2737D-C39F-79DF-3AAA-ECE9586A6DD2}" dt="2024-06-06T08:32:56.219" v="1"/>
        <pc:sldMkLst>
          <pc:docMk/>
          <pc:sldMk cId="0" sldId="304"/>
        </pc:sldMkLst>
      </pc:sldChg>
      <pc:sldChg chg="del">
        <pc:chgData name="Serah Peter-Adeoye" userId="S::serah@datasciencenigeria.ai::07cd8402-3259-4935-a6d7-b00f53221955" providerId="AD" clId="Web-{A0F2737D-C39F-79DF-3AAA-ECE9586A6DD2}" dt="2024-06-06T08:33:31.721" v="20"/>
        <pc:sldMkLst>
          <pc:docMk/>
          <pc:sldMk cId="1016273681" sldId="330"/>
        </pc:sldMkLst>
      </pc:sldChg>
      <pc:sldChg chg="del">
        <pc:chgData name="Serah Peter-Adeoye" userId="S::serah@datasciencenigeria.ai::07cd8402-3259-4935-a6d7-b00f53221955" providerId="AD" clId="Web-{A0F2737D-C39F-79DF-3AAA-ECE9586A6DD2}" dt="2024-06-06T08:32:56.219" v="0"/>
        <pc:sldMkLst>
          <pc:docMk/>
          <pc:sldMk cId="3252643378" sldId="335"/>
        </pc:sldMkLst>
      </pc:sldChg>
      <pc:sldChg chg="del">
        <pc:chgData name="Serah Peter-Adeoye" userId="S::serah@datasciencenigeria.ai::07cd8402-3259-4935-a6d7-b00f53221955" providerId="AD" clId="Web-{A0F2737D-C39F-79DF-3AAA-ECE9586A6DD2}" dt="2024-06-06T08:33:05.142" v="5"/>
        <pc:sldMkLst>
          <pc:docMk/>
          <pc:sldMk cId="0" sldId="363"/>
        </pc:sldMkLst>
      </pc:sldChg>
      <pc:sldChg chg="del">
        <pc:chgData name="Serah Peter-Adeoye" userId="S::serah@datasciencenigeria.ai::07cd8402-3259-4935-a6d7-b00f53221955" providerId="AD" clId="Web-{A0F2737D-C39F-79DF-3AAA-ECE9586A6DD2}" dt="2024-06-06T08:33:28.580" v="17"/>
        <pc:sldMkLst>
          <pc:docMk/>
          <pc:sldMk cId="3954116486" sldId="398"/>
        </pc:sldMkLst>
      </pc:sldChg>
      <pc:sldChg chg="del">
        <pc:chgData name="Serah Peter-Adeoye" userId="S::serah@datasciencenigeria.ai::07cd8402-3259-4935-a6d7-b00f53221955" providerId="AD" clId="Web-{A0F2737D-C39F-79DF-3AAA-ECE9586A6DD2}" dt="2024-06-06T08:32:56.219" v="2"/>
        <pc:sldMkLst>
          <pc:docMk/>
          <pc:sldMk cId="3703328542" sldId="428"/>
        </pc:sldMkLst>
      </pc:sldChg>
      <pc:sldChg chg="del">
        <pc:chgData name="Serah Peter-Adeoye" userId="S::serah@datasciencenigeria.ai::07cd8402-3259-4935-a6d7-b00f53221955" providerId="AD" clId="Web-{A0F2737D-C39F-79DF-3AAA-ECE9586A6DD2}" dt="2024-06-06T08:33:31.721" v="21"/>
        <pc:sldMkLst>
          <pc:docMk/>
          <pc:sldMk cId="1794892694" sldId="527"/>
        </pc:sldMkLst>
      </pc:sldChg>
      <pc:sldChg chg="del">
        <pc:chgData name="Serah Peter-Adeoye" userId="S::serah@datasciencenigeria.ai::07cd8402-3259-4935-a6d7-b00f53221955" providerId="AD" clId="Web-{A0F2737D-C39F-79DF-3AAA-ECE9586A6DD2}" dt="2024-06-06T08:33:22.564" v="14"/>
        <pc:sldMkLst>
          <pc:docMk/>
          <pc:sldMk cId="4016316946" sldId="540"/>
        </pc:sldMkLst>
      </pc:sldChg>
      <pc:sldChg chg="del">
        <pc:chgData name="Serah Peter-Adeoye" userId="S::serah@datasciencenigeria.ai::07cd8402-3259-4935-a6d7-b00f53221955" providerId="AD" clId="Web-{A0F2737D-C39F-79DF-3AAA-ECE9586A6DD2}" dt="2024-06-06T08:33:28.580" v="19"/>
        <pc:sldMkLst>
          <pc:docMk/>
          <pc:sldMk cId="116542876" sldId="567"/>
        </pc:sldMkLst>
      </pc:sldChg>
      <pc:sldChg chg="del">
        <pc:chgData name="Serah Peter-Adeoye" userId="S::serah@datasciencenigeria.ai::07cd8402-3259-4935-a6d7-b00f53221955" providerId="AD" clId="Web-{A0F2737D-C39F-79DF-3AAA-ECE9586A6DD2}" dt="2024-06-06T08:33:28.580" v="18"/>
        <pc:sldMkLst>
          <pc:docMk/>
          <pc:sldMk cId="1219147228" sldId="575"/>
        </pc:sldMkLst>
      </pc:sldChg>
      <pc:sldChg chg="del">
        <pc:chgData name="Serah Peter-Adeoye" userId="S::serah@datasciencenigeria.ai::07cd8402-3259-4935-a6d7-b00f53221955" providerId="AD" clId="Web-{A0F2737D-C39F-79DF-3AAA-ECE9586A6DD2}" dt="2024-06-06T08:33:05.126" v="4"/>
        <pc:sldMkLst>
          <pc:docMk/>
          <pc:sldMk cId="30375700" sldId="594"/>
        </pc:sldMkLst>
      </pc:sldChg>
      <pc:sldChg chg="del">
        <pc:chgData name="Serah Peter-Adeoye" userId="S::serah@datasciencenigeria.ai::07cd8402-3259-4935-a6d7-b00f53221955" providerId="AD" clId="Web-{A0F2737D-C39F-79DF-3AAA-ECE9586A6DD2}" dt="2024-06-06T08:33:13.439" v="11"/>
        <pc:sldMkLst>
          <pc:docMk/>
          <pc:sldMk cId="536658823" sldId="596"/>
        </pc:sldMkLst>
      </pc:sldChg>
      <pc:sldChg chg="del">
        <pc:chgData name="Serah Peter-Adeoye" userId="S::serah@datasciencenigeria.ai::07cd8402-3259-4935-a6d7-b00f53221955" providerId="AD" clId="Web-{A0F2737D-C39F-79DF-3AAA-ECE9586A6DD2}" dt="2024-06-06T08:33:13.439" v="10"/>
        <pc:sldMkLst>
          <pc:docMk/>
          <pc:sldMk cId="4021285495" sldId="597"/>
        </pc:sldMkLst>
      </pc:sldChg>
      <pc:sldChg chg="del">
        <pc:chgData name="Serah Peter-Adeoye" userId="S::serah@datasciencenigeria.ai::07cd8402-3259-4935-a6d7-b00f53221955" providerId="AD" clId="Web-{A0F2737D-C39F-79DF-3AAA-ECE9586A6DD2}" dt="2024-06-06T08:33:05.142" v="6"/>
        <pc:sldMkLst>
          <pc:docMk/>
          <pc:sldMk cId="2310443500" sldId="600"/>
        </pc:sldMkLst>
      </pc:sldChg>
      <pc:sldChg chg="del">
        <pc:chgData name="Serah Peter-Adeoye" userId="S::serah@datasciencenigeria.ai::07cd8402-3259-4935-a6d7-b00f53221955" providerId="AD" clId="Web-{A0F2737D-C39F-79DF-3AAA-ECE9586A6DD2}" dt="2024-06-06T08:33:13.454" v="13"/>
        <pc:sldMkLst>
          <pc:docMk/>
          <pc:sldMk cId="3360525468" sldId="601"/>
        </pc:sldMkLst>
      </pc:sldChg>
      <pc:sldChg chg="del">
        <pc:chgData name="Serah Peter-Adeoye" userId="S::serah@datasciencenigeria.ai::07cd8402-3259-4935-a6d7-b00f53221955" providerId="AD" clId="Web-{A0F2737D-C39F-79DF-3AAA-ECE9586A6DD2}" dt="2024-06-06T08:33:13.454" v="12"/>
        <pc:sldMkLst>
          <pc:docMk/>
          <pc:sldMk cId="1984063444" sldId="632"/>
        </pc:sldMkLst>
      </pc:sldChg>
      <pc:sldChg chg="del">
        <pc:chgData name="Serah Peter-Adeoye" userId="S::serah@datasciencenigeria.ai::07cd8402-3259-4935-a6d7-b00f53221955" providerId="AD" clId="Web-{A0F2737D-C39F-79DF-3AAA-ECE9586A6DD2}" dt="2024-06-06T08:33:13.439" v="9"/>
        <pc:sldMkLst>
          <pc:docMk/>
          <pc:sldMk cId="2864784035" sldId="633"/>
        </pc:sldMkLst>
      </pc:sldChg>
      <pc:sldChg chg="del">
        <pc:chgData name="Serah Peter-Adeoye" userId="S::serah@datasciencenigeria.ai::07cd8402-3259-4935-a6d7-b00f53221955" providerId="AD" clId="Web-{A0F2737D-C39F-79DF-3AAA-ECE9586A6DD2}" dt="2024-06-06T08:32:56.219" v="3"/>
        <pc:sldMkLst>
          <pc:docMk/>
          <pc:sldMk cId="2787701279" sldId="634"/>
        </pc:sldMkLst>
      </pc:sldChg>
      <pc:sldChg chg="modSp">
        <pc:chgData name="Serah Peter-Adeoye" userId="S::serah@datasciencenigeria.ai::07cd8402-3259-4935-a6d7-b00f53221955" providerId="AD" clId="Web-{A0F2737D-C39F-79DF-3AAA-ECE9586A6DD2}" dt="2024-06-06T08:38:49.950" v="71" actId="20577"/>
        <pc:sldMkLst>
          <pc:docMk/>
          <pc:sldMk cId="1844297924" sldId="4505"/>
        </pc:sldMkLst>
        <pc:spChg chg="mod">
          <ac:chgData name="Serah Peter-Adeoye" userId="S::serah@datasciencenigeria.ai::07cd8402-3259-4935-a6d7-b00f53221955" providerId="AD" clId="Web-{A0F2737D-C39F-79DF-3AAA-ECE9586A6DD2}" dt="2024-06-06T08:38:49.950" v="71" actId="20577"/>
          <ac:spMkLst>
            <pc:docMk/>
            <pc:sldMk cId="1844297924" sldId="4505"/>
            <ac:spMk id="9" creationId="{00000000-0000-0000-0000-000000000000}"/>
          </ac:spMkLst>
        </pc:spChg>
      </pc:sldChg>
      <pc:sldChg chg="del">
        <pc:chgData name="Serah Peter-Adeoye" userId="S::serah@datasciencenigeria.ai::07cd8402-3259-4935-a6d7-b00f53221955" providerId="AD" clId="Web-{A0F2737D-C39F-79DF-3AAA-ECE9586A6DD2}" dt="2024-06-06T08:33:05.142" v="7"/>
        <pc:sldMkLst>
          <pc:docMk/>
          <pc:sldMk cId="3439226218" sldId="4545"/>
        </pc:sldMkLst>
      </pc:sldChg>
      <pc:sldChg chg="del">
        <pc:chgData name="Serah Peter-Adeoye" userId="S::serah@datasciencenigeria.ai::07cd8402-3259-4935-a6d7-b00f53221955" providerId="AD" clId="Web-{A0F2737D-C39F-79DF-3AAA-ECE9586A6DD2}" dt="2024-06-06T08:33:22.580" v="16"/>
        <pc:sldMkLst>
          <pc:docMk/>
          <pc:sldMk cId="2871514329" sldId="4546"/>
        </pc:sldMkLst>
      </pc:sldChg>
      <pc:sldChg chg="del">
        <pc:chgData name="Serah Peter-Adeoye" userId="S::serah@datasciencenigeria.ai::07cd8402-3259-4935-a6d7-b00f53221955" providerId="AD" clId="Web-{A0F2737D-C39F-79DF-3AAA-ECE9586A6DD2}" dt="2024-06-06T08:33:22.564" v="15"/>
        <pc:sldMkLst>
          <pc:docMk/>
          <pc:sldMk cId="3933106646" sldId="4549"/>
        </pc:sldMkLst>
      </pc:sldChg>
      <pc:sldChg chg="del">
        <pc:chgData name="Serah Peter-Adeoye" userId="S::serah@datasciencenigeria.ai::07cd8402-3259-4935-a6d7-b00f53221955" providerId="AD" clId="Web-{A0F2737D-C39F-79DF-3AAA-ECE9586A6DD2}" dt="2024-06-06T08:33:05.142" v="8"/>
        <pc:sldMkLst>
          <pc:docMk/>
          <pc:sldMk cId="2695603340" sldId="4550"/>
        </pc:sldMkLst>
      </pc:sldChg>
      <pc:sldChg chg="modSp">
        <pc:chgData name="Serah Peter-Adeoye" userId="S::serah@datasciencenigeria.ai::07cd8402-3259-4935-a6d7-b00f53221955" providerId="AD" clId="Web-{A0F2737D-C39F-79DF-3AAA-ECE9586A6DD2}" dt="2024-06-06T08:35:38.381" v="53" actId="1076"/>
        <pc:sldMkLst>
          <pc:docMk/>
          <pc:sldMk cId="1029249850" sldId="4555"/>
        </pc:sldMkLst>
        <pc:spChg chg="mod">
          <ac:chgData name="Serah Peter-Adeoye" userId="S::serah@datasciencenigeria.ai::07cd8402-3259-4935-a6d7-b00f53221955" providerId="AD" clId="Web-{A0F2737D-C39F-79DF-3AAA-ECE9586A6DD2}" dt="2024-06-06T08:35:38.381" v="53" actId="1076"/>
          <ac:spMkLst>
            <pc:docMk/>
            <pc:sldMk cId="1029249850" sldId="4555"/>
            <ac:spMk id="4" creationId="{6EDCC8E5-1C2B-5385-9DF3-240265BAED1D}"/>
          </ac:spMkLst>
        </pc:spChg>
        <pc:picChg chg="mod">
          <ac:chgData name="Serah Peter-Adeoye" userId="S::serah@datasciencenigeria.ai::07cd8402-3259-4935-a6d7-b00f53221955" providerId="AD" clId="Web-{A0F2737D-C39F-79DF-3AAA-ECE9586A6DD2}" dt="2024-06-06T08:34:27.285" v="29" actId="1076"/>
          <ac:picMkLst>
            <pc:docMk/>
            <pc:sldMk cId="1029249850" sldId="4555"/>
            <ac:picMk id="2" creationId="{1BC1B48C-E9E9-047F-ABCF-B313E0C961C7}"/>
          </ac:picMkLst>
        </pc:picChg>
      </pc:sldChg>
      <pc:sldChg chg="modSp">
        <pc:chgData name="Serah Peter-Adeoye" userId="S::serah@datasciencenigeria.ai::07cd8402-3259-4935-a6d7-b00f53221955" providerId="AD" clId="Web-{A0F2737D-C39F-79DF-3AAA-ECE9586A6DD2}" dt="2024-06-06T08:34:06.237" v="24" actId="14100"/>
        <pc:sldMkLst>
          <pc:docMk/>
          <pc:sldMk cId="1406327613" sldId="4558"/>
        </pc:sldMkLst>
        <pc:graphicFrameChg chg="mod">
          <ac:chgData name="Serah Peter-Adeoye" userId="S::serah@datasciencenigeria.ai::07cd8402-3259-4935-a6d7-b00f53221955" providerId="AD" clId="Web-{A0F2737D-C39F-79DF-3AAA-ECE9586A6DD2}" dt="2024-06-06T08:34:06.237" v="24" actId="14100"/>
          <ac:graphicFrameMkLst>
            <pc:docMk/>
            <pc:sldMk cId="1406327613" sldId="4558"/>
            <ac:graphicFrameMk id="807" creationId="{73780371-50C8-162C-CE2A-D1E8657F5934}"/>
          </ac:graphicFrameMkLst>
        </pc:graphicFrameChg>
      </pc:sldChg>
    </pc:docChg>
  </pc:docChgLst>
  <pc:docChgLst>
    <pc:chgData name="Serah Peter-Adeoye" userId="S::serah@datasciencenigeria.ai::07cd8402-3259-4935-a6d7-b00f53221955" providerId="AD" clId="Web-{E150080C-FABD-4044-B705-7E24DF86E602}"/>
    <pc:docChg chg="modSld">
      <pc:chgData name="Serah Peter-Adeoye" userId="S::serah@datasciencenigeria.ai::07cd8402-3259-4935-a6d7-b00f53221955" providerId="AD" clId="Web-{E150080C-FABD-4044-B705-7E24DF86E602}" dt="2024-06-06T08:31:59.558" v="56" actId="14100"/>
      <pc:docMkLst>
        <pc:docMk/>
      </pc:docMkLst>
      <pc:sldChg chg="modSp">
        <pc:chgData name="Serah Peter-Adeoye" userId="S::serah@datasciencenigeria.ai::07cd8402-3259-4935-a6d7-b00f53221955" providerId="AD" clId="Web-{E150080C-FABD-4044-B705-7E24DF86E602}" dt="2024-06-06T08:30:02.069" v="36" actId="1076"/>
        <pc:sldMkLst>
          <pc:docMk/>
          <pc:sldMk cId="3169139778" sldId="4423"/>
        </pc:sldMkLst>
        <pc:spChg chg="mod">
          <ac:chgData name="Serah Peter-Adeoye" userId="S::serah@datasciencenigeria.ai::07cd8402-3259-4935-a6d7-b00f53221955" providerId="AD" clId="Web-{E150080C-FABD-4044-B705-7E24DF86E602}" dt="2024-06-06T08:30:02.069" v="36" actId="1076"/>
          <ac:spMkLst>
            <pc:docMk/>
            <pc:sldMk cId="3169139778" sldId="4423"/>
            <ac:spMk id="4" creationId="{9173154B-B940-46D2-99E5-F2F5BE141CCF}"/>
          </ac:spMkLst>
        </pc:spChg>
      </pc:sldChg>
      <pc:sldChg chg="modSp">
        <pc:chgData name="Serah Peter-Adeoye" userId="S::serah@datasciencenigeria.ai::07cd8402-3259-4935-a6d7-b00f53221955" providerId="AD" clId="Web-{E150080C-FABD-4044-B705-7E24DF86E602}" dt="2024-06-06T08:30:43.945" v="40" actId="1076"/>
        <pc:sldMkLst>
          <pc:docMk/>
          <pc:sldMk cId="2731903268" sldId="4551"/>
        </pc:sldMkLst>
        <pc:picChg chg="mod">
          <ac:chgData name="Serah Peter-Adeoye" userId="S::serah@datasciencenigeria.ai::07cd8402-3259-4935-a6d7-b00f53221955" providerId="AD" clId="Web-{E150080C-FABD-4044-B705-7E24DF86E602}" dt="2024-06-06T08:30:43.945" v="40" actId="1076"/>
          <ac:picMkLst>
            <pc:docMk/>
            <pc:sldMk cId="2731903268" sldId="4551"/>
            <ac:picMk id="2" creationId="{F9FA1863-E4FB-FA52-9776-7857F4C84B43}"/>
          </ac:picMkLst>
        </pc:picChg>
      </pc:sldChg>
      <pc:sldChg chg="modSp">
        <pc:chgData name="Serah Peter-Adeoye" userId="S::serah@datasciencenigeria.ai::07cd8402-3259-4935-a6d7-b00f53221955" providerId="AD" clId="Web-{E150080C-FABD-4044-B705-7E24DF86E602}" dt="2024-06-06T08:30:13.804" v="37" actId="14100"/>
        <pc:sldMkLst>
          <pc:docMk/>
          <pc:sldMk cId="4036741711" sldId="4552"/>
        </pc:sldMkLst>
        <pc:picChg chg="mod">
          <ac:chgData name="Serah Peter-Adeoye" userId="S::serah@datasciencenigeria.ai::07cd8402-3259-4935-a6d7-b00f53221955" providerId="AD" clId="Web-{E150080C-FABD-4044-B705-7E24DF86E602}" dt="2024-06-06T08:30:13.804" v="37" actId="14100"/>
          <ac:picMkLst>
            <pc:docMk/>
            <pc:sldMk cId="4036741711" sldId="4552"/>
            <ac:picMk id="2" creationId="{4A068367-AA62-1DF1-4B12-75840D4FE4A0}"/>
          </ac:picMkLst>
        </pc:picChg>
      </pc:sldChg>
      <pc:sldChg chg="modSp">
        <pc:chgData name="Serah Peter-Adeoye" userId="S::serah@datasciencenigeria.ai::07cd8402-3259-4935-a6d7-b00f53221955" providerId="AD" clId="Web-{E150080C-FABD-4044-B705-7E24DF86E602}" dt="2024-06-06T08:31:59.558" v="56" actId="14100"/>
        <pc:sldMkLst>
          <pc:docMk/>
          <pc:sldMk cId="2957080739" sldId="4553"/>
        </pc:sldMkLst>
        <pc:spChg chg="mod">
          <ac:chgData name="Serah Peter-Adeoye" userId="S::serah@datasciencenigeria.ai::07cd8402-3259-4935-a6d7-b00f53221955" providerId="AD" clId="Web-{E150080C-FABD-4044-B705-7E24DF86E602}" dt="2024-06-06T08:31:59.558" v="56" actId="14100"/>
          <ac:spMkLst>
            <pc:docMk/>
            <pc:sldMk cId="2957080739" sldId="4553"/>
            <ac:spMk id="4" creationId="{6EDCC8E5-1C2B-5385-9DF3-240265BAED1D}"/>
          </ac:spMkLst>
        </pc:spChg>
        <pc:picChg chg="mod">
          <ac:chgData name="Serah Peter-Adeoye" userId="S::serah@datasciencenigeria.ai::07cd8402-3259-4935-a6d7-b00f53221955" providerId="AD" clId="Web-{E150080C-FABD-4044-B705-7E24DF86E602}" dt="2024-06-06T08:31:55.823" v="55" actId="14100"/>
          <ac:picMkLst>
            <pc:docMk/>
            <pc:sldMk cId="2957080739" sldId="4553"/>
            <ac:picMk id="6" creationId="{D6791556-1608-6D4D-CA77-F7662DBDACDF}"/>
          </ac:picMkLst>
        </pc:picChg>
      </pc:sldChg>
      <pc:sldChg chg="modSp">
        <pc:chgData name="Serah Peter-Adeoye" userId="S::serah@datasciencenigeria.ai::07cd8402-3259-4935-a6d7-b00f53221955" providerId="AD" clId="Web-{E150080C-FABD-4044-B705-7E24DF86E602}" dt="2024-06-06T08:31:39.229" v="54" actId="1076"/>
        <pc:sldMkLst>
          <pc:docMk/>
          <pc:sldMk cId="2737619392" sldId="4556"/>
        </pc:sldMkLst>
        <pc:picChg chg="mod">
          <ac:chgData name="Serah Peter-Adeoye" userId="S::serah@datasciencenigeria.ai::07cd8402-3259-4935-a6d7-b00f53221955" providerId="AD" clId="Web-{E150080C-FABD-4044-B705-7E24DF86E602}" dt="2024-06-06T08:31:39.229" v="54" actId="1076"/>
          <ac:picMkLst>
            <pc:docMk/>
            <pc:sldMk cId="2737619392" sldId="4556"/>
            <ac:picMk id="6" creationId="{F71FE384-D6C6-4821-69E4-60A229810FFE}"/>
          </ac:picMkLst>
        </pc:picChg>
        <pc:picChg chg="mod">
          <ac:chgData name="Serah Peter-Adeoye" userId="S::serah@datasciencenigeria.ai::07cd8402-3259-4935-a6d7-b00f53221955" providerId="AD" clId="Web-{E150080C-FABD-4044-B705-7E24DF86E602}" dt="2024-06-06T08:31:37.494" v="53" actId="1076"/>
          <ac:picMkLst>
            <pc:docMk/>
            <pc:sldMk cId="2737619392" sldId="4556"/>
            <ac:picMk id="8" creationId="{407473CA-DB06-A8B1-D902-FB884B531228}"/>
          </ac:picMkLst>
        </pc:picChg>
        <pc:picChg chg="mod">
          <ac:chgData name="Serah Peter-Adeoye" userId="S::serah@datasciencenigeria.ai::07cd8402-3259-4935-a6d7-b00f53221955" providerId="AD" clId="Web-{E150080C-FABD-4044-B705-7E24DF86E602}" dt="2024-06-06T08:31:32.150" v="50" actId="1076"/>
          <ac:picMkLst>
            <pc:docMk/>
            <pc:sldMk cId="2737619392" sldId="4556"/>
            <ac:picMk id="10" creationId="{49B41EA2-3024-8521-F449-CF5672D7BD98}"/>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7A2D7E-DEBD-44CF-BD84-DA018A561D1D}"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7735E90B-85B0-441A-A727-435411EE13C9}">
      <dgm:prSet phldrT="[Text]" phldr="0"/>
      <dgm:spPr/>
      <dgm:t>
        <a:bodyPr/>
        <a:lstStyle/>
        <a:p>
          <a:pPr rtl="0"/>
          <a:r>
            <a:rPr lang="en-US">
              <a:latin typeface="Calibri"/>
            </a:rPr>
            <a:t>Infrastructure Development</a:t>
          </a:r>
          <a:endParaRPr lang="en-US"/>
        </a:p>
      </dgm:t>
    </dgm:pt>
    <dgm:pt modelId="{497B1DEE-1F9E-461C-88D4-8CA09FE26A50}" type="parTrans" cxnId="{9ED5A6D5-5D93-4CD2-837A-9A0A1BFD14B0}">
      <dgm:prSet/>
      <dgm:spPr/>
      <dgm:t>
        <a:bodyPr/>
        <a:lstStyle/>
        <a:p>
          <a:endParaRPr lang="en-US"/>
        </a:p>
      </dgm:t>
    </dgm:pt>
    <dgm:pt modelId="{47839DBC-1FB1-417E-AA98-272FC123F05B}" type="sibTrans" cxnId="{9ED5A6D5-5D93-4CD2-837A-9A0A1BFD14B0}">
      <dgm:prSet/>
      <dgm:spPr/>
      <dgm:t>
        <a:bodyPr/>
        <a:lstStyle/>
        <a:p>
          <a:endParaRPr lang="en-US"/>
        </a:p>
      </dgm:t>
    </dgm:pt>
    <dgm:pt modelId="{0343BAD1-28F5-4FB4-BAC3-0AD7C9D270A8}">
      <dgm:prSet phldrT="[Text]" phldr="0"/>
      <dgm:spPr/>
      <dgm:t>
        <a:bodyPr/>
        <a:lstStyle/>
        <a:p>
          <a:pPr rtl="0"/>
          <a:r>
            <a:rPr lang="en-US">
              <a:latin typeface="Calibri"/>
            </a:rPr>
            <a:t>Disaster Management</a:t>
          </a:r>
          <a:endParaRPr lang="en-US"/>
        </a:p>
      </dgm:t>
    </dgm:pt>
    <dgm:pt modelId="{4DA0A6E2-263E-4D61-BFAC-66BC98AB3F3E}" type="parTrans" cxnId="{67A65EDA-EB09-4FE3-9A1C-0B65FEB13BB3}">
      <dgm:prSet/>
      <dgm:spPr/>
      <dgm:t>
        <a:bodyPr/>
        <a:lstStyle/>
        <a:p>
          <a:endParaRPr lang="en-US"/>
        </a:p>
      </dgm:t>
    </dgm:pt>
    <dgm:pt modelId="{1C8CBB2F-1F4B-4BBD-A54E-93DA2E4F964B}" type="sibTrans" cxnId="{67A65EDA-EB09-4FE3-9A1C-0B65FEB13BB3}">
      <dgm:prSet/>
      <dgm:spPr/>
      <dgm:t>
        <a:bodyPr/>
        <a:lstStyle/>
        <a:p>
          <a:endParaRPr lang="en-US"/>
        </a:p>
      </dgm:t>
    </dgm:pt>
    <dgm:pt modelId="{1D3A39FE-D6D5-4BF4-8D4F-81300EAF037B}">
      <dgm:prSet phldr="0"/>
      <dgm:spPr/>
      <dgm:t>
        <a:bodyPr/>
        <a:lstStyle/>
        <a:p>
          <a:pPr rtl="0"/>
          <a:r>
            <a:rPr lang="en-US">
              <a:latin typeface="Calibri"/>
            </a:rPr>
            <a:t>Climate Change Analysis</a:t>
          </a:r>
        </a:p>
      </dgm:t>
    </dgm:pt>
    <dgm:pt modelId="{A07DD0F8-1A44-488D-8EC8-C4F22D72BA2C}" type="parTrans" cxnId="{BC414495-0B0C-4C97-9AC3-58908797264A}">
      <dgm:prSet/>
      <dgm:spPr/>
    </dgm:pt>
    <dgm:pt modelId="{EC39CA32-7BAD-4C64-B946-AC9DD075FC4F}" type="sibTrans" cxnId="{BC414495-0B0C-4C97-9AC3-58908797264A}">
      <dgm:prSet/>
      <dgm:spPr/>
      <dgm:t>
        <a:bodyPr/>
        <a:lstStyle/>
        <a:p>
          <a:endParaRPr lang="en-US"/>
        </a:p>
        <a:p>
          <a:endParaRPr lang="en-US"/>
        </a:p>
      </dgm:t>
    </dgm:pt>
    <dgm:pt modelId="{3562AADD-4A95-4181-9159-9188A40F8C5D}">
      <dgm:prSet phldr="0"/>
      <dgm:spPr/>
      <dgm:t>
        <a:bodyPr/>
        <a:lstStyle/>
        <a:p>
          <a:pPr rtl="0"/>
          <a:r>
            <a:rPr lang="en-US">
              <a:latin typeface="Calibri"/>
            </a:rPr>
            <a:t>Crop Monitoring.</a:t>
          </a:r>
        </a:p>
      </dgm:t>
    </dgm:pt>
    <dgm:pt modelId="{5B17FB71-A75F-41ED-B73B-27F6C59BBAD5}" type="parTrans" cxnId="{444B2BC0-BD15-464A-8E52-0F6035C4AFC5}">
      <dgm:prSet/>
      <dgm:spPr/>
    </dgm:pt>
    <dgm:pt modelId="{9E4F81CB-C861-4767-85A7-F9F909353CEC}" type="sibTrans" cxnId="{444B2BC0-BD15-464A-8E52-0F6035C4AFC5}">
      <dgm:prSet/>
      <dgm:spPr/>
    </dgm:pt>
    <dgm:pt modelId="{8995B453-237F-4605-B35E-D35C9AF86895}" type="pres">
      <dgm:prSet presAssocID="{5E7A2D7E-DEBD-44CF-BD84-DA018A561D1D}" presName="outerComposite" presStyleCnt="0">
        <dgm:presLayoutVars>
          <dgm:chMax val="5"/>
          <dgm:dir/>
          <dgm:resizeHandles val="exact"/>
        </dgm:presLayoutVars>
      </dgm:prSet>
      <dgm:spPr/>
    </dgm:pt>
    <dgm:pt modelId="{01FB0E02-93C0-4BCA-A0DE-FD97A37A30CB}" type="pres">
      <dgm:prSet presAssocID="{5E7A2D7E-DEBD-44CF-BD84-DA018A561D1D}" presName="dummyMaxCanvas" presStyleCnt="0">
        <dgm:presLayoutVars/>
      </dgm:prSet>
      <dgm:spPr/>
    </dgm:pt>
    <dgm:pt modelId="{7F9BB2F1-789F-445C-BAB2-AF4EBDF42FC1}" type="pres">
      <dgm:prSet presAssocID="{5E7A2D7E-DEBD-44CF-BD84-DA018A561D1D}" presName="FourNodes_1" presStyleLbl="node1" presStyleIdx="0" presStyleCnt="4">
        <dgm:presLayoutVars>
          <dgm:bulletEnabled val="1"/>
        </dgm:presLayoutVars>
      </dgm:prSet>
      <dgm:spPr/>
    </dgm:pt>
    <dgm:pt modelId="{2F9BA94D-4D9F-478E-B754-717AC6D158E5}" type="pres">
      <dgm:prSet presAssocID="{5E7A2D7E-DEBD-44CF-BD84-DA018A561D1D}" presName="FourNodes_2" presStyleLbl="node1" presStyleIdx="1" presStyleCnt="4">
        <dgm:presLayoutVars>
          <dgm:bulletEnabled val="1"/>
        </dgm:presLayoutVars>
      </dgm:prSet>
      <dgm:spPr/>
    </dgm:pt>
    <dgm:pt modelId="{68B05E0D-49C3-441D-BAE9-63478F01B3DC}" type="pres">
      <dgm:prSet presAssocID="{5E7A2D7E-DEBD-44CF-BD84-DA018A561D1D}" presName="FourNodes_3" presStyleLbl="node1" presStyleIdx="2" presStyleCnt="4">
        <dgm:presLayoutVars>
          <dgm:bulletEnabled val="1"/>
        </dgm:presLayoutVars>
      </dgm:prSet>
      <dgm:spPr/>
    </dgm:pt>
    <dgm:pt modelId="{C341D967-6869-47A5-AF00-5E2343DBC6C1}" type="pres">
      <dgm:prSet presAssocID="{5E7A2D7E-DEBD-44CF-BD84-DA018A561D1D}" presName="FourNodes_4" presStyleLbl="node1" presStyleIdx="3" presStyleCnt="4">
        <dgm:presLayoutVars>
          <dgm:bulletEnabled val="1"/>
        </dgm:presLayoutVars>
      </dgm:prSet>
      <dgm:spPr/>
    </dgm:pt>
    <dgm:pt modelId="{DFA65232-ABDC-471D-8E37-F132EF50CFFC}" type="pres">
      <dgm:prSet presAssocID="{5E7A2D7E-DEBD-44CF-BD84-DA018A561D1D}" presName="FourConn_1-2" presStyleLbl="fgAccFollowNode1" presStyleIdx="0" presStyleCnt="3">
        <dgm:presLayoutVars>
          <dgm:bulletEnabled val="1"/>
        </dgm:presLayoutVars>
      </dgm:prSet>
      <dgm:spPr/>
    </dgm:pt>
    <dgm:pt modelId="{532A0ECB-2D53-4395-B319-EF2C089291E1}" type="pres">
      <dgm:prSet presAssocID="{5E7A2D7E-DEBD-44CF-BD84-DA018A561D1D}" presName="FourConn_2-3" presStyleLbl="fgAccFollowNode1" presStyleIdx="1" presStyleCnt="3">
        <dgm:presLayoutVars>
          <dgm:bulletEnabled val="1"/>
        </dgm:presLayoutVars>
      </dgm:prSet>
      <dgm:spPr/>
    </dgm:pt>
    <dgm:pt modelId="{A1376E38-CB62-4A25-87E2-4FE1EE3922B1}" type="pres">
      <dgm:prSet presAssocID="{5E7A2D7E-DEBD-44CF-BD84-DA018A561D1D}" presName="FourConn_3-4" presStyleLbl="fgAccFollowNode1" presStyleIdx="2" presStyleCnt="3">
        <dgm:presLayoutVars>
          <dgm:bulletEnabled val="1"/>
        </dgm:presLayoutVars>
      </dgm:prSet>
      <dgm:spPr/>
    </dgm:pt>
    <dgm:pt modelId="{B0665103-92C1-48D5-874D-C8E504E238B7}" type="pres">
      <dgm:prSet presAssocID="{5E7A2D7E-DEBD-44CF-BD84-DA018A561D1D}" presName="FourNodes_1_text" presStyleLbl="node1" presStyleIdx="3" presStyleCnt="4">
        <dgm:presLayoutVars>
          <dgm:bulletEnabled val="1"/>
        </dgm:presLayoutVars>
      </dgm:prSet>
      <dgm:spPr/>
    </dgm:pt>
    <dgm:pt modelId="{DD52C051-8BC3-4794-8242-F9DBF04D3746}" type="pres">
      <dgm:prSet presAssocID="{5E7A2D7E-DEBD-44CF-BD84-DA018A561D1D}" presName="FourNodes_2_text" presStyleLbl="node1" presStyleIdx="3" presStyleCnt="4">
        <dgm:presLayoutVars>
          <dgm:bulletEnabled val="1"/>
        </dgm:presLayoutVars>
      </dgm:prSet>
      <dgm:spPr/>
    </dgm:pt>
    <dgm:pt modelId="{8CEDA089-A2D8-4B57-BDC9-D682FBD17F43}" type="pres">
      <dgm:prSet presAssocID="{5E7A2D7E-DEBD-44CF-BD84-DA018A561D1D}" presName="FourNodes_3_text" presStyleLbl="node1" presStyleIdx="3" presStyleCnt="4">
        <dgm:presLayoutVars>
          <dgm:bulletEnabled val="1"/>
        </dgm:presLayoutVars>
      </dgm:prSet>
      <dgm:spPr/>
    </dgm:pt>
    <dgm:pt modelId="{AFB5D06E-F847-4277-9AE4-92E450969486}" type="pres">
      <dgm:prSet presAssocID="{5E7A2D7E-DEBD-44CF-BD84-DA018A561D1D}" presName="FourNodes_4_text" presStyleLbl="node1" presStyleIdx="3" presStyleCnt="4">
        <dgm:presLayoutVars>
          <dgm:bulletEnabled val="1"/>
        </dgm:presLayoutVars>
      </dgm:prSet>
      <dgm:spPr/>
    </dgm:pt>
  </dgm:ptLst>
  <dgm:cxnLst>
    <dgm:cxn modelId="{32466215-E84E-4477-96C0-D59DF289346E}" type="presOf" srcId="{7735E90B-85B0-441A-A727-435411EE13C9}" destId="{B0665103-92C1-48D5-874D-C8E504E238B7}" srcOrd="1" destOrd="0" presId="urn:microsoft.com/office/officeart/2005/8/layout/vProcess5"/>
    <dgm:cxn modelId="{D1FE3E1B-55E3-486D-9D01-BA09DBD228A0}" type="presOf" srcId="{EC39CA32-7BAD-4C64-B946-AC9DD075FC4F}" destId="{A1376E38-CB62-4A25-87E2-4FE1EE3922B1}" srcOrd="0" destOrd="0" presId="urn:microsoft.com/office/officeart/2005/8/layout/vProcess5"/>
    <dgm:cxn modelId="{BA0B271F-65F9-46AB-B651-C0F8CCAACDF0}" type="presOf" srcId="{0343BAD1-28F5-4FB4-BAC3-0AD7C9D270A8}" destId="{2F9BA94D-4D9F-478E-B754-717AC6D158E5}" srcOrd="0" destOrd="0" presId="urn:microsoft.com/office/officeart/2005/8/layout/vProcess5"/>
    <dgm:cxn modelId="{EED48B3A-3DF8-487E-A2D7-AE2EDC4767EB}" type="presOf" srcId="{1D3A39FE-D6D5-4BF4-8D4F-81300EAF037B}" destId="{68B05E0D-49C3-441D-BAE9-63478F01B3DC}" srcOrd="0" destOrd="0" presId="urn:microsoft.com/office/officeart/2005/8/layout/vProcess5"/>
    <dgm:cxn modelId="{5CACAD68-0F21-4CF3-8C6A-CDF24EA0AEA1}" type="presOf" srcId="{1D3A39FE-D6D5-4BF4-8D4F-81300EAF037B}" destId="{8CEDA089-A2D8-4B57-BDC9-D682FBD17F43}" srcOrd="1" destOrd="0" presId="urn:microsoft.com/office/officeart/2005/8/layout/vProcess5"/>
    <dgm:cxn modelId="{B23BE791-2434-4D44-B459-B35F860B9F4C}" type="presOf" srcId="{3562AADD-4A95-4181-9159-9188A40F8C5D}" destId="{C341D967-6869-47A5-AF00-5E2343DBC6C1}" srcOrd="0" destOrd="0" presId="urn:microsoft.com/office/officeart/2005/8/layout/vProcess5"/>
    <dgm:cxn modelId="{BC414495-0B0C-4C97-9AC3-58908797264A}" srcId="{5E7A2D7E-DEBD-44CF-BD84-DA018A561D1D}" destId="{1D3A39FE-D6D5-4BF4-8D4F-81300EAF037B}" srcOrd="2" destOrd="0" parTransId="{A07DD0F8-1A44-488D-8EC8-C4F22D72BA2C}" sibTransId="{EC39CA32-7BAD-4C64-B946-AC9DD075FC4F}"/>
    <dgm:cxn modelId="{554C1BA7-A06B-44B1-9846-E0D1E85160AB}" type="presOf" srcId="{7735E90B-85B0-441A-A727-435411EE13C9}" destId="{7F9BB2F1-789F-445C-BAB2-AF4EBDF42FC1}" srcOrd="0" destOrd="0" presId="urn:microsoft.com/office/officeart/2005/8/layout/vProcess5"/>
    <dgm:cxn modelId="{311537B0-2405-4FAA-9BE8-6D247B32E69A}" type="presOf" srcId="{5E7A2D7E-DEBD-44CF-BD84-DA018A561D1D}" destId="{8995B453-237F-4605-B35E-D35C9AF86895}" srcOrd="0" destOrd="0" presId="urn:microsoft.com/office/officeart/2005/8/layout/vProcess5"/>
    <dgm:cxn modelId="{444B2BC0-BD15-464A-8E52-0F6035C4AFC5}" srcId="{5E7A2D7E-DEBD-44CF-BD84-DA018A561D1D}" destId="{3562AADD-4A95-4181-9159-9188A40F8C5D}" srcOrd="3" destOrd="0" parTransId="{5B17FB71-A75F-41ED-B73B-27F6C59BBAD5}" sibTransId="{9E4F81CB-C861-4767-85A7-F9F909353CEC}"/>
    <dgm:cxn modelId="{C1BE87C1-533D-41EF-9F1A-6D60A4BD518A}" type="presOf" srcId="{47839DBC-1FB1-417E-AA98-272FC123F05B}" destId="{DFA65232-ABDC-471D-8E37-F132EF50CFFC}" srcOrd="0" destOrd="0" presId="urn:microsoft.com/office/officeart/2005/8/layout/vProcess5"/>
    <dgm:cxn modelId="{AFE74BC7-17C9-49CA-9EC7-1D4424197C2C}" type="presOf" srcId="{3562AADD-4A95-4181-9159-9188A40F8C5D}" destId="{AFB5D06E-F847-4277-9AE4-92E450969486}" srcOrd="1" destOrd="0" presId="urn:microsoft.com/office/officeart/2005/8/layout/vProcess5"/>
    <dgm:cxn modelId="{73052FD5-477F-480B-B234-BBA8F8981FB3}" type="presOf" srcId="{1C8CBB2F-1F4B-4BBD-A54E-93DA2E4F964B}" destId="{532A0ECB-2D53-4395-B319-EF2C089291E1}" srcOrd="0" destOrd="0" presId="urn:microsoft.com/office/officeart/2005/8/layout/vProcess5"/>
    <dgm:cxn modelId="{9ED5A6D5-5D93-4CD2-837A-9A0A1BFD14B0}" srcId="{5E7A2D7E-DEBD-44CF-BD84-DA018A561D1D}" destId="{7735E90B-85B0-441A-A727-435411EE13C9}" srcOrd="0" destOrd="0" parTransId="{497B1DEE-1F9E-461C-88D4-8CA09FE26A50}" sibTransId="{47839DBC-1FB1-417E-AA98-272FC123F05B}"/>
    <dgm:cxn modelId="{67A65EDA-EB09-4FE3-9A1C-0B65FEB13BB3}" srcId="{5E7A2D7E-DEBD-44CF-BD84-DA018A561D1D}" destId="{0343BAD1-28F5-4FB4-BAC3-0AD7C9D270A8}" srcOrd="1" destOrd="0" parTransId="{4DA0A6E2-263E-4D61-BFAC-66BC98AB3F3E}" sibTransId="{1C8CBB2F-1F4B-4BBD-A54E-93DA2E4F964B}"/>
    <dgm:cxn modelId="{2AE291DF-B475-415C-8D18-A314B7676FE3}" type="presOf" srcId="{0343BAD1-28F5-4FB4-BAC3-0AD7C9D270A8}" destId="{DD52C051-8BC3-4794-8242-F9DBF04D3746}" srcOrd="1" destOrd="0" presId="urn:microsoft.com/office/officeart/2005/8/layout/vProcess5"/>
    <dgm:cxn modelId="{EC49C304-492B-407D-BD9E-5198E2FE54D9}" type="presParOf" srcId="{8995B453-237F-4605-B35E-D35C9AF86895}" destId="{01FB0E02-93C0-4BCA-A0DE-FD97A37A30CB}" srcOrd="0" destOrd="0" presId="urn:microsoft.com/office/officeart/2005/8/layout/vProcess5"/>
    <dgm:cxn modelId="{51A4D975-97AD-42CF-A128-A4C9A5EB7A10}" type="presParOf" srcId="{8995B453-237F-4605-B35E-D35C9AF86895}" destId="{7F9BB2F1-789F-445C-BAB2-AF4EBDF42FC1}" srcOrd="1" destOrd="0" presId="urn:microsoft.com/office/officeart/2005/8/layout/vProcess5"/>
    <dgm:cxn modelId="{2661A45E-DD4A-41FB-8992-70A76A9B89F3}" type="presParOf" srcId="{8995B453-237F-4605-B35E-D35C9AF86895}" destId="{2F9BA94D-4D9F-478E-B754-717AC6D158E5}" srcOrd="2" destOrd="0" presId="urn:microsoft.com/office/officeart/2005/8/layout/vProcess5"/>
    <dgm:cxn modelId="{F3EFB162-83D1-43B4-B826-C55960C2263F}" type="presParOf" srcId="{8995B453-237F-4605-B35E-D35C9AF86895}" destId="{68B05E0D-49C3-441D-BAE9-63478F01B3DC}" srcOrd="3" destOrd="0" presId="urn:microsoft.com/office/officeart/2005/8/layout/vProcess5"/>
    <dgm:cxn modelId="{31344A3B-FBC0-4737-ACE3-98A9A3DBE37C}" type="presParOf" srcId="{8995B453-237F-4605-B35E-D35C9AF86895}" destId="{C341D967-6869-47A5-AF00-5E2343DBC6C1}" srcOrd="4" destOrd="0" presId="urn:microsoft.com/office/officeart/2005/8/layout/vProcess5"/>
    <dgm:cxn modelId="{53A51504-1748-4E9E-9F76-02074147BCF2}" type="presParOf" srcId="{8995B453-237F-4605-B35E-D35C9AF86895}" destId="{DFA65232-ABDC-471D-8E37-F132EF50CFFC}" srcOrd="5" destOrd="0" presId="urn:microsoft.com/office/officeart/2005/8/layout/vProcess5"/>
    <dgm:cxn modelId="{8040DE97-B6C5-4114-B474-ED0F4111C18D}" type="presParOf" srcId="{8995B453-237F-4605-B35E-D35C9AF86895}" destId="{532A0ECB-2D53-4395-B319-EF2C089291E1}" srcOrd="6" destOrd="0" presId="urn:microsoft.com/office/officeart/2005/8/layout/vProcess5"/>
    <dgm:cxn modelId="{B918CC42-FE0B-453E-8410-03CEFBF0F6DA}" type="presParOf" srcId="{8995B453-237F-4605-B35E-D35C9AF86895}" destId="{A1376E38-CB62-4A25-87E2-4FE1EE3922B1}" srcOrd="7" destOrd="0" presId="urn:microsoft.com/office/officeart/2005/8/layout/vProcess5"/>
    <dgm:cxn modelId="{273BF3B5-F0AA-4DF8-A89B-4E3C9D013197}" type="presParOf" srcId="{8995B453-237F-4605-B35E-D35C9AF86895}" destId="{B0665103-92C1-48D5-874D-C8E504E238B7}" srcOrd="8" destOrd="0" presId="urn:microsoft.com/office/officeart/2005/8/layout/vProcess5"/>
    <dgm:cxn modelId="{828235B3-81EA-4914-9E30-223FD8848DEE}" type="presParOf" srcId="{8995B453-237F-4605-B35E-D35C9AF86895}" destId="{DD52C051-8BC3-4794-8242-F9DBF04D3746}" srcOrd="9" destOrd="0" presId="urn:microsoft.com/office/officeart/2005/8/layout/vProcess5"/>
    <dgm:cxn modelId="{040D4969-F0A2-49C2-804C-112F2ED99446}" type="presParOf" srcId="{8995B453-237F-4605-B35E-D35C9AF86895}" destId="{8CEDA089-A2D8-4B57-BDC9-D682FBD17F43}" srcOrd="10" destOrd="0" presId="urn:microsoft.com/office/officeart/2005/8/layout/vProcess5"/>
    <dgm:cxn modelId="{0CE95EB0-1E7A-49CE-A137-AAD02D39292D}" type="presParOf" srcId="{8995B453-237F-4605-B35E-D35C9AF86895}" destId="{AFB5D06E-F847-4277-9AE4-92E450969486}"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7A2D7E-DEBD-44CF-BD84-DA018A561D1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735E90B-85B0-441A-A727-435411EE13C9}">
      <dgm:prSet phldrT="[Text]" phldr="0"/>
      <dgm:spPr/>
      <dgm:t>
        <a:bodyPr/>
        <a:lstStyle/>
        <a:p>
          <a:pPr rtl="0"/>
          <a:r>
            <a:rPr lang="en-US" dirty="0">
              <a:solidFill>
                <a:srgbClr val="000000"/>
              </a:solidFill>
              <a:latin typeface="Calibri"/>
            </a:rPr>
            <a:t>Infrastructure Development</a:t>
          </a:r>
          <a:endParaRPr lang="en-US" dirty="0"/>
        </a:p>
      </dgm:t>
    </dgm:pt>
    <dgm:pt modelId="{497B1DEE-1F9E-461C-88D4-8CA09FE26A50}" type="parTrans" cxnId="{9ED5A6D5-5D93-4CD2-837A-9A0A1BFD14B0}">
      <dgm:prSet/>
      <dgm:spPr/>
      <dgm:t>
        <a:bodyPr/>
        <a:lstStyle/>
        <a:p>
          <a:endParaRPr lang="en-US"/>
        </a:p>
      </dgm:t>
    </dgm:pt>
    <dgm:pt modelId="{47839DBC-1FB1-417E-AA98-272FC123F05B}" type="sibTrans" cxnId="{9ED5A6D5-5D93-4CD2-837A-9A0A1BFD14B0}">
      <dgm:prSet/>
      <dgm:spPr/>
      <dgm:t>
        <a:bodyPr/>
        <a:lstStyle/>
        <a:p>
          <a:endParaRPr lang="en-US"/>
        </a:p>
      </dgm:t>
    </dgm:pt>
    <dgm:pt modelId="{6030FF83-BB6C-43B6-AFC4-8FCB39933F7A}">
      <dgm:prSet phldrT="[Text]" phldr="0"/>
      <dgm:spPr/>
      <dgm:t>
        <a:bodyPr/>
        <a:lstStyle/>
        <a:p>
          <a:pPr rtl="0"/>
          <a:r>
            <a:rPr lang="en-US" dirty="0" err="1">
              <a:solidFill>
                <a:srgbClr val="000000"/>
              </a:solidFill>
              <a:latin typeface="Calibri"/>
            </a:rPr>
            <a:t>GeoAI</a:t>
          </a:r>
          <a:r>
            <a:rPr lang="en-US" dirty="0">
              <a:solidFill>
                <a:srgbClr val="000000"/>
              </a:solidFill>
              <a:latin typeface="Calibri"/>
            </a:rPr>
            <a:t> helps in planning and optimizing urban infrastructure, including transportation networks, utilities, and public services by analyzing population density, traffic patterns, and land use.</a:t>
          </a:r>
          <a:endParaRPr lang="en-US" dirty="0"/>
        </a:p>
      </dgm:t>
    </dgm:pt>
    <dgm:pt modelId="{431DA220-92BD-41F2-B488-0E7E9F36BCC6}" type="parTrans" cxnId="{38EF71C2-6FF0-43DE-860C-90F944FE8D94}">
      <dgm:prSet/>
      <dgm:spPr/>
      <dgm:t>
        <a:bodyPr/>
        <a:lstStyle/>
        <a:p>
          <a:endParaRPr lang="en-US"/>
        </a:p>
      </dgm:t>
    </dgm:pt>
    <dgm:pt modelId="{B546890E-B74A-41B5-B33B-0902D69529D5}" type="sibTrans" cxnId="{38EF71C2-6FF0-43DE-860C-90F944FE8D94}">
      <dgm:prSet/>
      <dgm:spPr/>
      <dgm:t>
        <a:bodyPr/>
        <a:lstStyle/>
        <a:p>
          <a:endParaRPr lang="en-US"/>
        </a:p>
      </dgm:t>
    </dgm:pt>
    <dgm:pt modelId="{0343BAD1-28F5-4FB4-BAC3-0AD7C9D270A8}">
      <dgm:prSet phldrT="[Text]" phldr="0"/>
      <dgm:spPr/>
      <dgm:t>
        <a:bodyPr/>
        <a:lstStyle/>
        <a:p>
          <a:pPr rtl="0"/>
          <a:r>
            <a:rPr lang="en-US" dirty="0">
              <a:solidFill>
                <a:srgbClr val="000000"/>
              </a:solidFill>
              <a:latin typeface="Calibri"/>
            </a:rPr>
            <a:t>Disaster Management</a:t>
          </a:r>
          <a:endParaRPr lang="en-US" dirty="0"/>
        </a:p>
      </dgm:t>
    </dgm:pt>
    <dgm:pt modelId="{4DA0A6E2-263E-4D61-BFAC-66BC98AB3F3E}" type="parTrans" cxnId="{67A65EDA-EB09-4FE3-9A1C-0B65FEB13BB3}">
      <dgm:prSet/>
      <dgm:spPr/>
      <dgm:t>
        <a:bodyPr/>
        <a:lstStyle/>
        <a:p>
          <a:endParaRPr lang="en-US"/>
        </a:p>
      </dgm:t>
    </dgm:pt>
    <dgm:pt modelId="{1C8CBB2F-1F4B-4BBD-A54E-93DA2E4F964B}" type="sibTrans" cxnId="{67A65EDA-EB09-4FE3-9A1C-0B65FEB13BB3}">
      <dgm:prSet/>
      <dgm:spPr/>
      <dgm:t>
        <a:bodyPr/>
        <a:lstStyle/>
        <a:p>
          <a:endParaRPr lang="en-US"/>
        </a:p>
      </dgm:t>
    </dgm:pt>
    <dgm:pt modelId="{51A22F1C-2290-4C46-96F2-2A2D631A75EA}">
      <dgm:prSet phldrT="[Text]" phldr="0"/>
      <dgm:spPr/>
      <dgm:t>
        <a:bodyPr/>
        <a:lstStyle/>
        <a:p>
          <a:pPr rtl="0"/>
          <a:r>
            <a:rPr lang="en-US" dirty="0">
              <a:solidFill>
                <a:srgbClr val="000000"/>
              </a:solidFill>
              <a:latin typeface="Calibri"/>
            </a:rPr>
            <a:t>Predicting and managing the impact of natural disasters such as floods, earthquakes, and hurricanes by analyzing spatial data to improve response strategies and resource allocation.</a:t>
          </a:r>
          <a:endParaRPr lang="en-US" dirty="0"/>
        </a:p>
      </dgm:t>
    </dgm:pt>
    <dgm:pt modelId="{5BB9D11F-C41C-4EDF-B0D3-B985C3671439}" type="parTrans" cxnId="{EE6ECDFF-59A7-4E47-AA34-F5654FF4472D}">
      <dgm:prSet/>
      <dgm:spPr/>
      <dgm:t>
        <a:bodyPr/>
        <a:lstStyle/>
        <a:p>
          <a:endParaRPr lang="en-US"/>
        </a:p>
      </dgm:t>
    </dgm:pt>
    <dgm:pt modelId="{025D6B63-4FE6-431B-B099-DA3645F2CFEB}" type="sibTrans" cxnId="{EE6ECDFF-59A7-4E47-AA34-F5654FF4472D}">
      <dgm:prSet/>
      <dgm:spPr/>
      <dgm:t>
        <a:bodyPr/>
        <a:lstStyle/>
        <a:p>
          <a:endParaRPr lang="en-US"/>
        </a:p>
      </dgm:t>
    </dgm:pt>
    <dgm:pt modelId="{1D3A39FE-D6D5-4BF4-8D4F-81300EAF037B}">
      <dgm:prSet phldr="0"/>
      <dgm:spPr/>
      <dgm:t>
        <a:bodyPr/>
        <a:lstStyle/>
        <a:p>
          <a:pPr rtl="0"/>
          <a:r>
            <a:rPr lang="en-US" dirty="0">
              <a:solidFill>
                <a:srgbClr val="000000"/>
              </a:solidFill>
              <a:latin typeface="Calibri"/>
            </a:rPr>
            <a:t>Climate Change Analysis</a:t>
          </a:r>
          <a:endParaRPr lang="en-US" dirty="0">
            <a:latin typeface="Calibri"/>
          </a:endParaRPr>
        </a:p>
      </dgm:t>
    </dgm:pt>
    <dgm:pt modelId="{A07DD0F8-1A44-488D-8EC8-C4F22D72BA2C}" type="parTrans" cxnId="{BC414495-0B0C-4C97-9AC3-58908797264A}">
      <dgm:prSet/>
      <dgm:spPr/>
    </dgm:pt>
    <dgm:pt modelId="{EC39CA32-7BAD-4C64-B946-AC9DD075FC4F}" type="sibTrans" cxnId="{BC414495-0B0C-4C97-9AC3-58908797264A}">
      <dgm:prSet/>
      <dgm:spPr/>
    </dgm:pt>
    <dgm:pt modelId="{71164507-6F6F-43CA-8CD7-07BE2A4D0508}">
      <dgm:prSet phldr="0"/>
      <dgm:spPr/>
      <dgm:t>
        <a:bodyPr/>
        <a:lstStyle/>
        <a:p>
          <a:pPr rtl="0"/>
          <a:r>
            <a:rPr lang="en-US" dirty="0">
              <a:latin typeface="Calibri"/>
            </a:rPr>
            <a:t> </a:t>
          </a:r>
          <a:r>
            <a:rPr lang="en-US" dirty="0">
              <a:solidFill>
                <a:srgbClr val="000000"/>
              </a:solidFill>
              <a:latin typeface="Calibri"/>
            </a:rPr>
            <a:t>GeoAI is used to track and predict the impacts of climate change by analyzing patterns in temperature, precipitation, and sea-level rise using satellite imagery and remote sensing data.</a:t>
          </a:r>
        </a:p>
      </dgm:t>
    </dgm:pt>
    <dgm:pt modelId="{7420D1FD-604C-4646-A038-86212F9F1994}" type="parTrans" cxnId="{0CADFD45-0534-4C69-97C9-DF51FDFE56FF}">
      <dgm:prSet/>
      <dgm:spPr/>
    </dgm:pt>
    <dgm:pt modelId="{AADAC2A2-D110-4324-B344-91074C0A29C3}" type="sibTrans" cxnId="{0CADFD45-0534-4C69-97C9-DF51FDFE56FF}">
      <dgm:prSet/>
      <dgm:spPr/>
    </dgm:pt>
    <dgm:pt modelId="{1464D62A-6D05-4FA1-A072-2635DEFF063B}">
      <dgm:prSet phldr="0"/>
      <dgm:spPr/>
      <dgm:t>
        <a:bodyPr/>
        <a:lstStyle/>
        <a:p>
          <a:pPr rtl="0"/>
          <a:r>
            <a:rPr lang="en-US" dirty="0">
              <a:latin typeface="Calibri"/>
            </a:rPr>
            <a:t> </a:t>
          </a:r>
          <a:r>
            <a:rPr lang="en-US" dirty="0">
              <a:solidFill>
                <a:srgbClr val="000000"/>
              </a:solidFill>
              <a:latin typeface="Calibri"/>
            </a:rPr>
            <a:t>Satellite and drone imagery analyzed by AI can monitor crop health, detect diseases, and predict yields, allowing for timely interventions.</a:t>
          </a:r>
        </a:p>
      </dgm:t>
    </dgm:pt>
    <dgm:pt modelId="{2CE4ACEF-FE58-46B2-8317-0F188491C3B3}" type="parTrans" cxnId="{36FC18C1-729D-4201-A472-A00D72B5176B}">
      <dgm:prSet/>
      <dgm:spPr/>
    </dgm:pt>
    <dgm:pt modelId="{6A51FE8A-E40E-407A-801E-EED1C93F1A15}" type="sibTrans" cxnId="{36FC18C1-729D-4201-A472-A00D72B5176B}">
      <dgm:prSet/>
      <dgm:spPr/>
    </dgm:pt>
    <dgm:pt modelId="{3562AADD-4A95-4181-9159-9188A40F8C5D}">
      <dgm:prSet phldr="0"/>
      <dgm:spPr/>
      <dgm:t>
        <a:bodyPr/>
        <a:lstStyle/>
        <a:p>
          <a:pPr rtl="0"/>
          <a:r>
            <a:rPr lang="en-US" dirty="0">
              <a:solidFill>
                <a:srgbClr val="000000"/>
              </a:solidFill>
              <a:latin typeface="Calibri"/>
            </a:rPr>
            <a:t>Crop Monitoring</a:t>
          </a:r>
        </a:p>
      </dgm:t>
    </dgm:pt>
    <dgm:pt modelId="{5B17FB71-A75F-41ED-B73B-27F6C59BBAD5}" type="parTrans" cxnId="{444B2BC0-BD15-464A-8E52-0F6035C4AFC5}">
      <dgm:prSet/>
      <dgm:spPr/>
    </dgm:pt>
    <dgm:pt modelId="{9E4F81CB-C861-4767-85A7-F9F909353CEC}" type="sibTrans" cxnId="{444B2BC0-BD15-464A-8E52-0F6035C4AFC5}">
      <dgm:prSet/>
      <dgm:spPr/>
    </dgm:pt>
    <dgm:pt modelId="{A485C6CC-DFDA-45AD-8759-CE278C465EC2}">
      <dgm:prSet phldr="0"/>
      <dgm:spPr/>
      <dgm:t>
        <a:bodyPr/>
        <a:lstStyle/>
        <a:p>
          <a:pPr rtl="0"/>
          <a:r>
            <a:rPr lang="en-US" dirty="0">
              <a:latin typeface="Calibri"/>
            </a:rPr>
            <a:t> </a:t>
          </a:r>
          <a:r>
            <a:rPr lang="en-US" dirty="0">
              <a:solidFill>
                <a:srgbClr val="444444"/>
              </a:solidFill>
              <a:latin typeface="Calibri"/>
            </a:rPr>
            <a:t>Mapping the spread of diseases and identifying hotspots to plan effective interventions and allocate healthcare resources efficiently.</a:t>
          </a:r>
        </a:p>
      </dgm:t>
    </dgm:pt>
    <dgm:pt modelId="{10FA873F-1289-451B-A538-3ABF1271B05B}" type="parTrans" cxnId="{97453676-AB77-4348-8C82-410807F515F1}">
      <dgm:prSet/>
      <dgm:spPr/>
    </dgm:pt>
    <dgm:pt modelId="{0E5EFBE2-7EE1-48C0-80CE-17BC430BD993}" type="sibTrans" cxnId="{97453676-AB77-4348-8C82-410807F515F1}">
      <dgm:prSet/>
      <dgm:spPr/>
    </dgm:pt>
    <dgm:pt modelId="{D58E27D5-FC17-4CE8-8FE6-A521A7F5F796}">
      <dgm:prSet phldr="0"/>
      <dgm:spPr/>
      <dgm:t>
        <a:bodyPr/>
        <a:lstStyle/>
        <a:p>
          <a:pPr rtl="0"/>
          <a:r>
            <a:rPr lang="en-US" dirty="0">
              <a:solidFill>
                <a:srgbClr val="000000"/>
              </a:solidFill>
              <a:latin typeface="Calibri"/>
            </a:rPr>
            <a:t>Disease Tracking</a:t>
          </a:r>
        </a:p>
      </dgm:t>
    </dgm:pt>
    <dgm:pt modelId="{1D81350D-C3E4-4BD9-9871-DAFE960532DB}" type="parTrans" cxnId="{EA0F11F2-0F48-40EA-818B-96DC2E6EA156}">
      <dgm:prSet/>
      <dgm:spPr/>
    </dgm:pt>
    <dgm:pt modelId="{2C591968-0E6D-45C5-8D6D-1E76875DD7CD}" type="sibTrans" cxnId="{EA0F11F2-0F48-40EA-818B-96DC2E6EA156}">
      <dgm:prSet/>
      <dgm:spPr/>
    </dgm:pt>
    <dgm:pt modelId="{BE5C2162-7250-41C0-A792-C207F798A8E0}" type="pres">
      <dgm:prSet presAssocID="{5E7A2D7E-DEBD-44CF-BD84-DA018A561D1D}" presName="linear" presStyleCnt="0">
        <dgm:presLayoutVars>
          <dgm:animLvl val="lvl"/>
          <dgm:resizeHandles val="exact"/>
        </dgm:presLayoutVars>
      </dgm:prSet>
      <dgm:spPr/>
    </dgm:pt>
    <dgm:pt modelId="{BAA63143-07D8-44BE-BBC7-18AA263F5D2D}" type="pres">
      <dgm:prSet presAssocID="{7735E90B-85B0-441A-A727-435411EE13C9}" presName="parentText" presStyleLbl="node1" presStyleIdx="0" presStyleCnt="5">
        <dgm:presLayoutVars>
          <dgm:chMax val="0"/>
          <dgm:bulletEnabled val="1"/>
        </dgm:presLayoutVars>
      </dgm:prSet>
      <dgm:spPr/>
    </dgm:pt>
    <dgm:pt modelId="{90C64448-7802-475C-81C3-8746C6E1B0FA}" type="pres">
      <dgm:prSet presAssocID="{7735E90B-85B0-441A-A727-435411EE13C9}" presName="childText" presStyleLbl="revTx" presStyleIdx="0" presStyleCnt="5">
        <dgm:presLayoutVars>
          <dgm:bulletEnabled val="1"/>
        </dgm:presLayoutVars>
      </dgm:prSet>
      <dgm:spPr/>
    </dgm:pt>
    <dgm:pt modelId="{E41CF162-B941-45F2-80DA-FD371229D0FC}" type="pres">
      <dgm:prSet presAssocID="{0343BAD1-28F5-4FB4-BAC3-0AD7C9D270A8}" presName="parentText" presStyleLbl="node1" presStyleIdx="1" presStyleCnt="5">
        <dgm:presLayoutVars>
          <dgm:chMax val="0"/>
          <dgm:bulletEnabled val="1"/>
        </dgm:presLayoutVars>
      </dgm:prSet>
      <dgm:spPr/>
    </dgm:pt>
    <dgm:pt modelId="{F67C982A-B4AC-4C87-A6E4-0A2238A5217E}" type="pres">
      <dgm:prSet presAssocID="{0343BAD1-28F5-4FB4-BAC3-0AD7C9D270A8}" presName="childText" presStyleLbl="revTx" presStyleIdx="1" presStyleCnt="5">
        <dgm:presLayoutVars>
          <dgm:bulletEnabled val="1"/>
        </dgm:presLayoutVars>
      </dgm:prSet>
      <dgm:spPr/>
    </dgm:pt>
    <dgm:pt modelId="{89A78BC9-3B7A-4996-9391-2A1FCB28AA39}" type="pres">
      <dgm:prSet presAssocID="{1D3A39FE-D6D5-4BF4-8D4F-81300EAF037B}" presName="parentText" presStyleLbl="node1" presStyleIdx="2" presStyleCnt="5">
        <dgm:presLayoutVars>
          <dgm:chMax val="0"/>
          <dgm:bulletEnabled val="1"/>
        </dgm:presLayoutVars>
      </dgm:prSet>
      <dgm:spPr/>
    </dgm:pt>
    <dgm:pt modelId="{CA4BADBA-089C-4900-9EE0-6492C89ADA49}" type="pres">
      <dgm:prSet presAssocID="{1D3A39FE-D6D5-4BF4-8D4F-81300EAF037B}" presName="childText" presStyleLbl="revTx" presStyleIdx="2" presStyleCnt="5">
        <dgm:presLayoutVars>
          <dgm:bulletEnabled val="1"/>
        </dgm:presLayoutVars>
      </dgm:prSet>
      <dgm:spPr/>
    </dgm:pt>
    <dgm:pt modelId="{2C303032-C5CA-4512-A09B-FAF7520BAB94}" type="pres">
      <dgm:prSet presAssocID="{3562AADD-4A95-4181-9159-9188A40F8C5D}" presName="parentText" presStyleLbl="node1" presStyleIdx="3" presStyleCnt="5">
        <dgm:presLayoutVars>
          <dgm:chMax val="0"/>
          <dgm:bulletEnabled val="1"/>
        </dgm:presLayoutVars>
      </dgm:prSet>
      <dgm:spPr/>
    </dgm:pt>
    <dgm:pt modelId="{B88FE204-727D-4B91-8963-74CF5BD9E6E6}" type="pres">
      <dgm:prSet presAssocID="{3562AADD-4A95-4181-9159-9188A40F8C5D}" presName="childText" presStyleLbl="revTx" presStyleIdx="3" presStyleCnt="5">
        <dgm:presLayoutVars>
          <dgm:bulletEnabled val="1"/>
        </dgm:presLayoutVars>
      </dgm:prSet>
      <dgm:spPr/>
    </dgm:pt>
    <dgm:pt modelId="{710D2A94-E628-4717-A06F-46BD9D7E5A9F}" type="pres">
      <dgm:prSet presAssocID="{D58E27D5-FC17-4CE8-8FE6-A521A7F5F796}" presName="parentText" presStyleLbl="node1" presStyleIdx="4" presStyleCnt="5">
        <dgm:presLayoutVars>
          <dgm:chMax val="0"/>
          <dgm:bulletEnabled val="1"/>
        </dgm:presLayoutVars>
      </dgm:prSet>
      <dgm:spPr/>
    </dgm:pt>
    <dgm:pt modelId="{BBDB2FDE-1701-4167-830A-500E914B456C}" type="pres">
      <dgm:prSet presAssocID="{D58E27D5-FC17-4CE8-8FE6-A521A7F5F796}" presName="childText" presStyleLbl="revTx" presStyleIdx="4" presStyleCnt="5">
        <dgm:presLayoutVars>
          <dgm:bulletEnabled val="1"/>
        </dgm:presLayoutVars>
      </dgm:prSet>
      <dgm:spPr/>
    </dgm:pt>
  </dgm:ptLst>
  <dgm:cxnLst>
    <dgm:cxn modelId="{FC0B8108-3CE8-42D7-AC72-D94A67798189}" type="presOf" srcId="{6030FF83-BB6C-43B6-AFC4-8FCB39933F7A}" destId="{90C64448-7802-475C-81C3-8746C6E1B0FA}" srcOrd="0" destOrd="0" presId="urn:microsoft.com/office/officeart/2005/8/layout/vList2"/>
    <dgm:cxn modelId="{DD74425C-26DF-43B9-A838-78946E1C7849}" type="presOf" srcId="{A485C6CC-DFDA-45AD-8759-CE278C465EC2}" destId="{BBDB2FDE-1701-4167-830A-500E914B456C}" srcOrd="0" destOrd="0" presId="urn:microsoft.com/office/officeart/2005/8/layout/vList2"/>
    <dgm:cxn modelId="{F5D2CD63-D69A-4AEE-9867-CD4D47D55CE1}" type="presOf" srcId="{51A22F1C-2290-4C46-96F2-2A2D631A75EA}" destId="{F67C982A-B4AC-4C87-A6E4-0A2238A5217E}" srcOrd="0" destOrd="0" presId="urn:microsoft.com/office/officeart/2005/8/layout/vList2"/>
    <dgm:cxn modelId="{0CADFD45-0534-4C69-97C9-DF51FDFE56FF}" srcId="{1D3A39FE-D6D5-4BF4-8D4F-81300EAF037B}" destId="{71164507-6F6F-43CA-8CD7-07BE2A4D0508}" srcOrd="0" destOrd="0" parTransId="{7420D1FD-604C-4646-A038-86212F9F1994}" sibTransId="{AADAC2A2-D110-4324-B344-91074C0A29C3}"/>
    <dgm:cxn modelId="{F3259152-2219-469D-AFFD-B5034F96575E}" type="presOf" srcId="{5E7A2D7E-DEBD-44CF-BD84-DA018A561D1D}" destId="{BE5C2162-7250-41C0-A792-C207F798A8E0}" srcOrd="0" destOrd="0" presId="urn:microsoft.com/office/officeart/2005/8/layout/vList2"/>
    <dgm:cxn modelId="{97453676-AB77-4348-8C82-410807F515F1}" srcId="{D58E27D5-FC17-4CE8-8FE6-A521A7F5F796}" destId="{A485C6CC-DFDA-45AD-8759-CE278C465EC2}" srcOrd="0" destOrd="0" parTransId="{10FA873F-1289-451B-A538-3ABF1271B05B}" sibTransId="{0E5EFBE2-7EE1-48C0-80CE-17BC430BD993}"/>
    <dgm:cxn modelId="{6AB7EE78-3D32-4842-B15C-4F8CE737ADB0}" type="presOf" srcId="{3562AADD-4A95-4181-9159-9188A40F8C5D}" destId="{2C303032-C5CA-4512-A09B-FAF7520BAB94}" srcOrd="0" destOrd="0" presId="urn:microsoft.com/office/officeart/2005/8/layout/vList2"/>
    <dgm:cxn modelId="{48DB677A-4474-4921-BA4D-3897707017B2}" type="presOf" srcId="{D58E27D5-FC17-4CE8-8FE6-A521A7F5F796}" destId="{710D2A94-E628-4717-A06F-46BD9D7E5A9F}" srcOrd="0" destOrd="0" presId="urn:microsoft.com/office/officeart/2005/8/layout/vList2"/>
    <dgm:cxn modelId="{1283627B-84A1-4C47-8201-D00D18B0185D}" type="presOf" srcId="{1464D62A-6D05-4FA1-A072-2635DEFF063B}" destId="{B88FE204-727D-4B91-8963-74CF5BD9E6E6}" srcOrd="0" destOrd="0" presId="urn:microsoft.com/office/officeart/2005/8/layout/vList2"/>
    <dgm:cxn modelId="{C6CACE90-FAC8-4AC6-8B03-60575610FEF5}" type="presOf" srcId="{7735E90B-85B0-441A-A727-435411EE13C9}" destId="{BAA63143-07D8-44BE-BBC7-18AA263F5D2D}" srcOrd="0" destOrd="0" presId="urn:microsoft.com/office/officeart/2005/8/layout/vList2"/>
    <dgm:cxn modelId="{BC414495-0B0C-4C97-9AC3-58908797264A}" srcId="{5E7A2D7E-DEBD-44CF-BD84-DA018A561D1D}" destId="{1D3A39FE-D6D5-4BF4-8D4F-81300EAF037B}" srcOrd="2" destOrd="0" parTransId="{A07DD0F8-1A44-488D-8EC8-C4F22D72BA2C}" sibTransId="{EC39CA32-7BAD-4C64-B946-AC9DD075FC4F}"/>
    <dgm:cxn modelId="{85D9F4BF-74B6-4125-9A3E-6CB397D8EA3B}" type="presOf" srcId="{0343BAD1-28F5-4FB4-BAC3-0AD7C9D270A8}" destId="{E41CF162-B941-45F2-80DA-FD371229D0FC}" srcOrd="0" destOrd="0" presId="urn:microsoft.com/office/officeart/2005/8/layout/vList2"/>
    <dgm:cxn modelId="{444B2BC0-BD15-464A-8E52-0F6035C4AFC5}" srcId="{5E7A2D7E-DEBD-44CF-BD84-DA018A561D1D}" destId="{3562AADD-4A95-4181-9159-9188A40F8C5D}" srcOrd="3" destOrd="0" parTransId="{5B17FB71-A75F-41ED-B73B-27F6C59BBAD5}" sibTransId="{9E4F81CB-C861-4767-85A7-F9F909353CEC}"/>
    <dgm:cxn modelId="{36FC18C1-729D-4201-A472-A00D72B5176B}" srcId="{3562AADD-4A95-4181-9159-9188A40F8C5D}" destId="{1464D62A-6D05-4FA1-A072-2635DEFF063B}" srcOrd="0" destOrd="0" parTransId="{2CE4ACEF-FE58-46B2-8317-0F188491C3B3}" sibTransId="{6A51FE8A-E40E-407A-801E-EED1C93F1A15}"/>
    <dgm:cxn modelId="{38EF71C2-6FF0-43DE-860C-90F944FE8D94}" srcId="{7735E90B-85B0-441A-A727-435411EE13C9}" destId="{6030FF83-BB6C-43B6-AFC4-8FCB39933F7A}" srcOrd="0" destOrd="0" parTransId="{431DA220-92BD-41F2-B488-0E7E9F36BCC6}" sibTransId="{B546890E-B74A-41B5-B33B-0902D69529D5}"/>
    <dgm:cxn modelId="{8A3718CE-75CC-4FBC-80FC-46B40F6A5A26}" type="presOf" srcId="{1D3A39FE-D6D5-4BF4-8D4F-81300EAF037B}" destId="{89A78BC9-3B7A-4996-9391-2A1FCB28AA39}" srcOrd="0" destOrd="0" presId="urn:microsoft.com/office/officeart/2005/8/layout/vList2"/>
    <dgm:cxn modelId="{9ED5A6D5-5D93-4CD2-837A-9A0A1BFD14B0}" srcId="{5E7A2D7E-DEBD-44CF-BD84-DA018A561D1D}" destId="{7735E90B-85B0-441A-A727-435411EE13C9}" srcOrd="0" destOrd="0" parTransId="{497B1DEE-1F9E-461C-88D4-8CA09FE26A50}" sibTransId="{47839DBC-1FB1-417E-AA98-272FC123F05B}"/>
    <dgm:cxn modelId="{67A65EDA-EB09-4FE3-9A1C-0B65FEB13BB3}" srcId="{5E7A2D7E-DEBD-44CF-BD84-DA018A561D1D}" destId="{0343BAD1-28F5-4FB4-BAC3-0AD7C9D270A8}" srcOrd="1" destOrd="0" parTransId="{4DA0A6E2-263E-4D61-BFAC-66BC98AB3F3E}" sibTransId="{1C8CBB2F-1F4B-4BBD-A54E-93DA2E4F964B}"/>
    <dgm:cxn modelId="{EA0F11F2-0F48-40EA-818B-96DC2E6EA156}" srcId="{5E7A2D7E-DEBD-44CF-BD84-DA018A561D1D}" destId="{D58E27D5-FC17-4CE8-8FE6-A521A7F5F796}" srcOrd="4" destOrd="0" parTransId="{1D81350D-C3E4-4BD9-9871-DAFE960532DB}" sibTransId="{2C591968-0E6D-45C5-8D6D-1E76875DD7CD}"/>
    <dgm:cxn modelId="{5E4B60F5-69D1-4693-8BEB-1770C053916A}" type="presOf" srcId="{71164507-6F6F-43CA-8CD7-07BE2A4D0508}" destId="{CA4BADBA-089C-4900-9EE0-6492C89ADA49}" srcOrd="0" destOrd="0" presId="urn:microsoft.com/office/officeart/2005/8/layout/vList2"/>
    <dgm:cxn modelId="{EE6ECDFF-59A7-4E47-AA34-F5654FF4472D}" srcId="{0343BAD1-28F5-4FB4-BAC3-0AD7C9D270A8}" destId="{51A22F1C-2290-4C46-96F2-2A2D631A75EA}" srcOrd="0" destOrd="0" parTransId="{5BB9D11F-C41C-4EDF-B0D3-B985C3671439}" sibTransId="{025D6B63-4FE6-431B-B099-DA3645F2CFEB}"/>
    <dgm:cxn modelId="{A0FCC802-A798-44BC-B2EA-306482D3E454}" type="presParOf" srcId="{BE5C2162-7250-41C0-A792-C207F798A8E0}" destId="{BAA63143-07D8-44BE-BBC7-18AA263F5D2D}" srcOrd="0" destOrd="0" presId="urn:microsoft.com/office/officeart/2005/8/layout/vList2"/>
    <dgm:cxn modelId="{B4292D6C-F9DE-4A03-8A70-ACBAD89F1CFB}" type="presParOf" srcId="{BE5C2162-7250-41C0-A792-C207F798A8E0}" destId="{90C64448-7802-475C-81C3-8746C6E1B0FA}" srcOrd="1" destOrd="0" presId="urn:microsoft.com/office/officeart/2005/8/layout/vList2"/>
    <dgm:cxn modelId="{9DE7CD6E-CBCD-4F14-9BD2-EC898F810687}" type="presParOf" srcId="{BE5C2162-7250-41C0-A792-C207F798A8E0}" destId="{E41CF162-B941-45F2-80DA-FD371229D0FC}" srcOrd="2" destOrd="0" presId="urn:microsoft.com/office/officeart/2005/8/layout/vList2"/>
    <dgm:cxn modelId="{CC884443-6263-42C3-91A2-54CA1C0FC20F}" type="presParOf" srcId="{BE5C2162-7250-41C0-A792-C207F798A8E0}" destId="{F67C982A-B4AC-4C87-A6E4-0A2238A5217E}" srcOrd="3" destOrd="0" presId="urn:microsoft.com/office/officeart/2005/8/layout/vList2"/>
    <dgm:cxn modelId="{5AFCA7A8-BFF8-44E0-91CC-9407892A6C86}" type="presParOf" srcId="{BE5C2162-7250-41C0-A792-C207F798A8E0}" destId="{89A78BC9-3B7A-4996-9391-2A1FCB28AA39}" srcOrd="4" destOrd="0" presId="urn:microsoft.com/office/officeart/2005/8/layout/vList2"/>
    <dgm:cxn modelId="{49EAA762-9D4A-4601-AB5B-97ADE16CA389}" type="presParOf" srcId="{BE5C2162-7250-41C0-A792-C207F798A8E0}" destId="{CA4BADBA-089C-4900-9EE0-6492C89ADA49}" srcOrd="5" destOrd="0" presId="urn:microsoft.com/office/officeart/2005/8/layout/vList2"/>
    <dgm:cxn modelId="{7C58DD60-34E7-4061-AAEF-0FAA91DB7E8C}" type="presParOf" srcId="{BE5C2162-7250-41C0-A792-C207F798A8E0}" destId="{2C303032-C5CA-4512-A09B-FAF7520BAB94}" srcOrd="6" destOrd="0" presId="urn:microsoft.com/office/officeart/2005/8/layout/vList2"/>
    <dgm:cxn modelId="{6BD4226A-C8F2-4DA8-8627-81089C2216BE}" type="presParOf" srcId="{BE5C2162-7250-41C0-A792-C207F798A8E0}" destId="{B88FE204-727D-4B91-8963-74CF5BD9E6E6}" srcOrd="7" destOrd="0" presId="urn:microsoft.com/office/officeart/2005/8/layout/vList2"/>
    <dgm:cxn modelId="{DA612A5B-AE52-4762-A460-7D68ED95653C}" type="presParOf" srcId="{BE5C2162-7250-41C0-A792-C207F798A8E0}" destId="{710D2A94-E628-4717-A06F-46BD9D7E5A9F}" srcOrd="8" destOrd="0" presId="urn:microsoft.com/office/officeart/2005/8/layout/vList2"/>
    <dgm:cxn modelId="{E49FD602-556A-4A96-9241-5F7B390314C9}" type="presParOf" srcId="{BE5C2162-7250-41C0-A792-C207F798A8E0}" destId="{BBDB2FDE-1701-4167-830A-500E914B456C}"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9BB2F1-789F-445C-BAB2-AF4EBDF42FC1}">
      <dsp:nvSpPr>
        <dsp:cNvPr id="0" name=""/>
        <dsp:cNvSpPr/>
      </dsp:nvSpPr>
      <dsp:spPr>
        <a:xfrm>
          <a:off x="0" y="0"/>
          <a:ext cx="4367070" cy="92235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latin typeface="Calibri"/>
            </a:rPr>
            <a:t>Infrastructure Development</a:t>
          </a:r>
          <a:endParaRPr lang="en-US" sz="2400" kern="1200"/>
        </a:p>
      </dsp:txBody>
      <dsp:txXfrm>
        <a:off x="27015" y="27015"/>
        <a:ext cx="3293838" cy="868324"/>
      </dsp:txXfrm>
    </dsp:sp>
    <dsp:sp modelId="{2F9BA94D-4D9F-478E-B754-717AC6D158E5}">
      <dsp:nvSpPr>
        <dsp:cNvPr id="0" name=""/>
        <dsp:cNvSpPr/>
      </dsp:nvSpPr>
      <dsp:spPr>
        <a:xfrm>
          <a:off x="365742" y="1090055"/>
          <a:ext cx="4367070" cy="92235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latin typeface="Calibri"/>
            </a:rPr>
            <a:t>Disaster Management</a:t>
          </a:r>
          <a:endParaRPr lang="en-US" sz="2400" kern="1200"/>
        </a:p>
      </dsp:txBody>
      <dsp:txXfrm>
        <a:off x="392757" y="1117070"/>
        <a:ext cx="3347767" cy="868324"/>
      </dsp:txXfrm>
    </dsp:sp>
    <dsp:sp modelId="{68B05E0D-49C3-441D-BAE9-63478F01B3DC}">
      <dsp:nvSpPr>
        <dsp:cNvPr id="0" name=""/>
        <dsp:cNvSpPr/>
      </dsp:nvSpPr>
      <dsp:spPr>
        <a:xfrm>
          <a:off x="726025" y="2180110"/>
          <a:ext cx="4367070" cy="92235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latin typeface="Calibri"/>
            </a:rPr>
            <a:t>Climate Change Analysis</a:t>
          </a:r>
        </a:p>
      </dsp:txBody>
      <dsp:txXfrm>
        <a:off x="753040" y="2207125"/>
        <a:ext cx="3353226" cy="868324"/>
      </dsp:txXfrm>
    </dsp:sp>
    <dsp:sp modelId="{C341D967-6869-47A5-AF00-5E2343DBC6C1}">
      <dsp:nvSpPr>
        <dsp:cNvPr id="0" name=""/>
        <dsp:cNvSpPr/>
      </dsp:nvSpPr>
      <dsp:spPr>
        <a:xfrm>
          <a:off x="1091767" y="3270165"/>
          <a:ext cx="4367070" cy="92235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a:latin typeface="Calibri"/>
            </a:rPr>
            <a:t>Crop Monitoring.</a:t>
          </a:r>
        </a:p>
      </dsp:txBody>
      <dsp:txXfrm>
        <a:off x="1118782" y="3297180"/>
        <a:ext cx="3347767" cy="868324"/>
      </dsp:txXfrm>
    </dsp:sp>
    <dsp:sp modelId="{DFA65232-ABDC-471D-8E37-F132EF50CFFC}">
      <dsp:nvSpPr>
        <dsp:cNvPr id="0" name=""/>
        <dsp:cNvSpPr/>
      </dsp:nvSpPr>
      <dsp:spPr>
        <a:xfrm>
          <a:off x="3767540" y="706439"/>
          <a:ext cx="599530" cy="599530"/>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3902434" y="706439"/>
        <a:ext cx="329742" cy="451146"/>
      </dsp:txXfrm>
    </dsp:sp>
    <dsp:sp modelId="{532A0ECB-2D53-4395-B319-EF2C089291E1}">
      <dsp:nvSpPr>
        <dsp:cNvPr id="0" name=""/>
        <dsp:cNvSpPr/>
      </dsp:nvSpPr>
      <dsp:spPr>
        <a:xfrm>
          <a:off x="4133282" y="1796494"/>
          <a:ext cx="599530" cy="599530"/>
        </a:xfrm>
        <a:prstGeom prst="downArrow">
          <a:avLst>
            <a:gd name="adj1" fmla="val 55000"/>
            <a:gd name="adj2" fmla="val 45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4268176" y="1796494"/>
        <a:ext cx="329742" cy="451146"/>
      </dsp:txXfrm>
    </dsp:sp>
    <dsp:sp modelId="{A1376E38-CB62-4A25-87E2-4FE1EE3922B1}">
      <dsp:nvSpPr>
        <dsp:cNvPr id="0" name=""/>
        <dsp:cNvSpPr/>
      </dsp:nvSpPr>
      <dsp:spPr>
        <a:xfrm>
          <a:off x="4493565" y="2886550"/>
          <a:ext cx="599530" cy="599530"/>
        </a:xfrm>
        <a:prstGeom prst="downArrow">
          <a:avLst>
            <a:gd name="adj1" fmla="val 55000"/>
            <a:gd name="adj2" fmla="val 45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1200" kern="1200"/>
        </a:p>
      </dsp:txBody>
      <dsp:txXfrm>
        <a:off x="4628459" y="2886550"/>
        <a:ext cx="329742" cy="4511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A63143-07D8-44BE-BBC7-18AA263F5D2D}">
      <dsp:nvSpPr>
        <dsp:cNvPr id="0" name=""/>
        <dsp:cNvSpPr/>
      </dsp:nvSpPr>
      <dsp:spPr>
        <a:xfrm>
          <a:off x="0" y="36552"/>
          <a:ext cx="9220746"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solidFill>
                <a:srgbClr val="000000"/>
              </a:solidFill>
              <a:latin typeface="Calibri"/>
            </a:rPr>
            <a:t>Infrastructure Development</a:t>
          </a:r>
          <a:endParaRPr lang="en-US" sz="2200" kern="1200" dirty="0"/>
        </a:p>
      </dsp:txBody>
      <dsp:txXfrm>
        <a:off x="25759" y="62311"/>
        <a:ext cx="9169228" cy="476152"/>
      </dsp:txXfrm>
    </dsp:sp>
    <dsp:sp modelId="{90C64448-7802-475C-81C3-8746C6E1B0FA}">
      <dsp:nvSpPr>
        <dsp:cNvPr id="0" name=""/>
        <dsp:cNvSpPr/>
      </dsp:nvSpPr>
      <dsp:spPr>
        <a:xfrm>
          <a:off x="0" y="564222"/>
          <a:ext cx="9220746" cy="535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759"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700" kern="1200" dirty="0" err="1">
              <a:solidFill>
                <a:srgbClr val="000000"/>
              </a:solidFill>
              <a:latin typeface="Calibri"/>
            </a:rPr>
            <a:t>GeoAI</a:t>
          </a:r>
          <a:r>
            <a:rPr lang="en-US" sz="1700" kern="1200" dirty="0">
              <a:solidFill>
                <a:srgbClr val="000000"/>
              </a:solidFill>
              <a:latin typeface="Calibri"/>
            </a:rPr>
            <a:t> helps in planning and optimizing urban infrastructure, including transportation networks, utilities, and public services by analyzing population density, traffic patterns, and land use.</a:t>
          </a:r>
          <a:endParaRPr lang="en-US" sz="1700" kern="1200" dirty="0"/>
        </a:p>
      </dsp:txBody>
      <dsp:txXfrm>
        <a:off x="0" y="564222"/>
        <a:ext cx="9220746" cy="535095"/>
      </dsp:txXfrm>
    </dsp:sp>
    <dsp:sp modelId="{E41CF162-B941-45F2-80DA-FD371229D0FC}">
      <dsp:nvSpPr>
        <dsp:cNvPr id="0" name=""/>
        <dsp:cNvSpPr/>
      </dsp:nvSpPr>
      <dsp:spPr>
        <a:xfrm>
          <a:off x="0" y="1099317"/>
          <a:ext cx="9220746"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solidFill>
                <a:srgbClr val="000000"/>
              </a:solidFill>
              <a:latin typeface="Calibri"/>
            </a:rPr>
            <a:t>Disaster Management</a:t>
          </a:r>
          <a:endParaRPr lang="en-US" sz="2200" kern="1200" dirty="0"/>
        </a:p>
      </dsp:txBody>
      <dsp:txXfrm>
        <a:off x="25759" y="1125076"/>
        <a:ext cx="9169228" cy="476152"/>
      </dsp:txXfrm>
    </dsp:sp>
    <dsp:sp modelId="{F67C982A-B4AC-4C87-A6E4-0A2238A5217E}">
      <dsp:nvSpPr>
        <dsp:cNvPr id="0" name=""/>
        <dsp:cNvSpPr/>
      </dsp:nvSpPr>
      <dsp:spPr>
        <a:xfrm>
          <a:off x="0" y="1626987"/>
          <a:ext cx="9220746" cy="535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759"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700" kern="1200" dirty="0">
              <a:solidFill>
                <a:srgbClr val="000000"/>
              </a:solidFill>
              <a:latin typeface="Calibri"/>
            </a:rPr>
            <a:t>Predicting and managing the impact of natural disasters such as floods, earthquakes, and hurricanes by analyzing spatial data to improve response strategies and resource allocation.</a:t>
          </a:r>
          <a:endParaRPr lang="en-US" sz="1700" kern="1200" dirty="0"/>
        </a:p>
      </dsp:txBody>
      <dsp:txXfrm>
        <a:off x="0" y="1626987"/>
        <a:ext cx="9220746" cy="535095"/>
      </dsp:txXfrm>
    </dsp:sp>
    <dsp:sp modelId="{89A78BC9-3B7A-4996-9391-2A1FCB28AA39}">
      <dsp:nvSpPr>
        <dsp:cNvPr id="0" name=""/>
        <dsp:cNvSpPr/>
      </dsp:nvSpPr>
      <dsp:spPr>
        <a:xfrm>
          <a:off x="0" y="2162083"/>
          <a:ext cx="9220746"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solidFill>
                <a:srgbClr val="000000"/>
              </a:solidFill>
              <a:latin typeface="Calibri"/>
            </a:rPr>
            <a:t>Climate Change Analysis</a:t>
          </a:r>
          <a:endParaRPr lang="en-US" sz="2200" kern="1200" dirty="0">
            <a:latin typeface="Calibri"/>
          </a:endParaRPr>
        </a:p>
      </dsp:txBody>
      <dsp:txXfrm>
        <a:off x="25759" y="2187842"/>
        <a:ext cx="9169228" cy="476152"/>
      </dsp:txXfrm>
    </dsp:sp>
    <dsp:sp modelId="{CA4BADBA-089C-4900-9EE0-6492C89ADA49}">
      <dsp:nvSpPr>
        <dsp:cNvPr id="0" name=""/>
        <dsp:cNvSpPr/>
      </dsp:nvSpPr>
      <dsp:spPr>
        <a:xfrm>
          <a:off x="0" y="2689753"/>
          <a:ext cx="9220746" cy="535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759"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700" kern="1200" dirty="0">
              <a:latin typeface="Calibri"/>
            </a:rPr>
            <a:t> </a:t>
          </a:r>
          <a:r>
            <a:rPr lang="en-US" sz="1700" kern="1200" dirty="0">
              <a:solidFill>
                <a:srgbClr val="000000"/>
              </a:solidFill>
              <a:latin typeface="Calibri"/>
            </a:rPr>
            <a:t>GeoAI is used to track and predict the impacts of climate change by analyzing patterns in temperature, precipitation, and sea-level rise using satellite imagery and remote sensing data.</a:t>
          </a:r>
        </a:p>
      </dsp:txBody>
      <dsp:txXfrm>
        <a:off x="0" y="2689753"/>
        <a:ext cx="9220746" cy="535095"/>
      </dsp:txXfrm>
    </dsp:sp>
    <dsp:sp modelId="{2C303032-C5CA-4512-A09B-FAF7520BAB94}">
      <dsp:nvSpPr>
        <dsp:cNvPr id="0" name=""/>
        <dsp:cNvSpPr/>
      </dsp:nvSpPr>
      <dsp:spPr>
        <a:xfrm>
          <a:off x="0" y="3224848"/>
          <a:ext cx="9220746"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solidFill>
                <a:srgbClr val="000000"/>
              </a:solidFill>
              <a:latin typeface="Calibri"/>
            </a:rPr>
            <a:t>Crop Monitoring</a:t>
          </a:r>
        </a:p>
      </dsp:txBody>
      <dsp:txXfrm>
        <a:off x="25759" y="3250607"/>
        <a:ext cx="9169228" cy="476152"/>
      </dsp:txXfrm>
    </dsp:sp>
    <dsp:sp modelId="{B88FE204-727D-4B91-8963-74CF5BD9E6E6}">
      <dsp:nvSpPr>
        <dsp:cNvPr id="0" name=""/>
        <dsp:cNvSpPr/>
      </dsp:nvSpPr>
      <dsp:spPr>
        <a:xfrm>
          <a:off x="0" y="3752518"/>
          <a:ext cx="9220746" cy="535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759"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700" kern="1200" dirty="0">
              <a:latin typeface="Calibri"/>
            </a:rPr>
            <a:t> </a:t>
          </a:r>
          <a:r>
            <a:rPr lang="en-US" sz="1700" kern="1200" dirty="0">
              <a:solidFill>
                <a:srgbClr val="000000"/>
              </a:solidFill>
              <a:latin typeface="Calibri"/>
            </a:rPr>
            <a:t>Satellite and drone imagery analyzed by AI can monitor crop health, detect diseases, and predict yields, allowing for timely interventions.</a:t>
          </a:r>
        </a:p>
      </dsp:txBody>
      <dsp:txXfrm>
        <a:off x="0" y="3752518"/>
        <a:ext cx="9220746" cy="535095"/>
      </dsp:txXfrm>
    </dsp:sp>
    <dsp:sp modelId="{710D2A94-E628-4717-A06F-46BD9D7E5A9F}">
      <dsp:nvSpPr>
        <dsp:cNvPr id="0" name=""/>
        <dsp:cNvSpPr/>
      </dsp:nvSpPr>
      <dsp:spPr>
        <a:xfrm>
          <a:off x="0" y="4287613"/>
          <a:ext cx="9220746"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solidFill>
                <a:srgbClr val="000000"/>
              </a:solidFill>
              <a:latin typeface="Calibri"/>
            </a:rPr>
            <a:t>Disease Tracking</a:t>
          </a:r>
        </a:p>
      </dsp:txBody>
      <dsp:txXfrm>
        <a:off x="25759" y="4313372"/>
        <a:ext cx="9169228" cy="476152"/>
      </dsp:txXfrm>
    </dsp:sp>
    <dsp:sp modelId="{BBDB2FDE-1701-4167-830A-500E914B456C}">
      <dsp:nvSpPr>
        <dsp:cNvPr id="0" name=""/>
        <dsp:cNvSpPr/>
      </dsp:nvSpPr>
      <dsp:spPr>
        <a:xfrm>
          <a:off x="0" y="4815283"/>
          <a:ext cx="9220746" cy="535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759" tIns="27940" rIns="156464" bIns="27940" numCol="1" spcCol="1270" anchor="t" anchorCtr="0">
          <a:noAutofit/>
        </a:bodyPr>
        <a:lstStyle/>
        <a:p>
          <a:pPr marL="171450" lvl="1" indent="-171450" algn="l" defTabSz="755650" rtl="0">
            <a:lnSpc>
              <a:spcPct val="90000"/>
            </a:lnSpc>
            <a:spcBef>
              <a:spcPct val="0"/>
            </a:spcBef>
            <a:spcAft>
              <a:spcPct val="20000"/>
            </a:spcAft>
            <a:buChar char="•"/>
          </a:pPr>
          <a:r>
            <a:rPr lang="en-US" sz="1700" kern="1200" dirty="0">
              <a:latin typeface="Calibri"/>
            </a:rPr>
            <a:t> </a:t>
          </a:r>
          <a:r>
            <a:rPr lang="en-US" sz="1700" kern="1200" dirty="0">
              <a:solidFill>
                <a:srgbClr val="444444"/>
              </a:solidFill>
              <a:latin typeface="Calibri"/>
            </a:rPr>
            <a:t>Mapping the spread of diseases and identifying hotspots to plan effective interventions and allocate healthcare resources efficiently.</a:t>
          </a:r>
        </a:p>
      </dsp:txBody>
      <dsp:txXfrm>
        <a:off x="0" y="4815283"/>
        <a:ext cx="9220746" cy="535095"/>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F8569-E0EF-4EC2-A14C-C571D8868323}" type="datetimeFigureOut">
              <a:rPr lang="en-NG" smtClean="0"/>
              <a:t>06/06/2024</a:t>
            </a:fld>
            <a:endParaRPr lang="en-N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0CC8A9-BFFC-416C-B924-C8A8623395E7}" type="slidenum">
              <a:rPr lang="en-NG" smtClean="0"/>
              <a:t>‹#›</a:t>
            </a:fld>
            <a:endParaRPr lang="en-NG"/>
          </a:p>
        </p:txBody>
      </p:sp>
    </p:spTree>
    <p:extLst>
      <p:ext uri="{BB962C8B-B14F-4D97-AF65-F5344CB8AC3E}">
        <p14:creationId xmlns:p14="http://schemas.microsoft.com/office/powerpoint/2010/main" val="42295139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3600"/>
            </a:lvl1pPr>
          </a:lstStyle>
          <a:p>
            <a:r>
              <a:rPr lang="en-US"/>
              <a:t>Click to edit Master title style</a:t>
            </a:r>
          </a:p>
        </p:txBody>
      </p:sp>
      <p:grpSp>
        <p:nvGrpSpPr>
          <p:cNvPr id="12" name="Group 11">
            <a:extLst>
              <a:ext uri="{FF2B5EF4-FFF2-40B4-BE49-F238E27FC236}">
                <a16:creationId xmlns:a16="http://schemas.microsoft.com/office/drawing/2014/main" id="{426D102F-F220-4E57-BDD6-CCEBB93D58AF}"/>
              </a:ext>
            </a:extLst>
          </p:cNvPr>
          <p:cNvGrpSpPr/>
          <p:nvPr userDrawn="1"/>
        </p:nvGrpSpPr>
        <p:grpSpPr>
          <a:xfrm>
            <a:off x="12558029" y="1"/>
            <a:ext cx="1644047" cy="1816099"/>
            <a:chOff x="9433981" y="1"/>
            <a:chExt cx="1644047" cy="1816099"/>
          </a:xfrm>
        </p:grpSpPr>
        <p:sp>
          <p:nvSpPr>
            <p:cNvPr id="13" name="Rectangle: Folded Corner 12">
              <a:extLst>
                <a:ext uri="{FF2B5EF4-FFF2-40B4-BE49-F238E27FC236}">
                  <a16:creationId xmlns:a16="http://schemas.microsoft.com/office/drawing/2014/main" id="{8C7E1A5C-1B15-4E0A-8682-D203C7DE6B6B}"/>
                </a:ext>
              </a:extLst>
            </p:cNvPr>
            <p:cNvSpPr/>
            <p:nvPr userDrawn="1"/>
          </p:nvSpPr>
          <p:spPr>
            <a:xfrm>
              <a:off x="9433981"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Microsoft 365 subscribers)</a:t>
              </a:r>
            </a:p>
          </p:txBody>
        </p:sp>
        <p:pic>
          <p:nvPicPr>
            <p:cNvPr id="14" name="Picture 13">
              <a:extLst>
                <a:ext uri="{FF2B5EF4-FFF2-40B4-BE49-F238E27FC236}">
                  <a16:creationId xmlns:a16="http://schemas.microsoft.com/office/drawing/2014/main" id="{C830CBBC-4DBF-48F3-A80A-5B9A52315886}"/>
                </a:ext>
              </a:extLst>
            </p:cNvPr>
            <p:cNvPicPr>
              <a:picLocks noChangeAspect="1"/>
            </p:cNvPicPr>
            <p:nvPr userDrawn="1"/>
          </p:nvPicPr>
          <p:blipFill rotWithShape="1">
            <a:blip r:embed="rId2"/>
            <a:srcRect t="1" b="5479"/>
            <a:stretch/>
          </p:blipFill>
          <p:spPr>
            <a:xfrm>
              <a:off x="10677978" y="424090"/>
              <a:ext cx="400050" cy="657225"/>
            </a:xfrm>
            <a:prstGeom prst="rect">
              <a:avLst/>
            </a:prstGeom>
          </p:spPr>
        </p:pic>
      </p:grpSp>
    </p:spTree>
    <p:extLst>
      <p:ext uri="{BB962C8B-B14F-4D97-AF65-F5344CB8AC3E}">
        <p14:creationId xmlns:p14="http://schemas.microsoft.com/office/powerpoint/2010/main" val="2888695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745437-7529-4946-8FDF-F37412C8A62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0745437-7529-4946-8FDF-F37412C8A6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88E8FC15-4B79-42DF-B29F-96967A90F2E0}"/>
              </a:ext>
            </a:extLst>
          </p:cNvPr>
          <p:cNvSpPr>
            <a:spLocks noGrp="1"/>
          </p:cNvSpPr>
          <p:nvPr>
            <p:ph type="ctrTitle" hasCustomPrompt="1"/>
          </p:nvPr>
        </p:nvSpPr>
        <p:spPr>
          <a:xfrm>
            <a:off x="558799" y="4668173"/>
            <a:ext cx="4330726" cy="609398"/>
          </a:xfrm>
        </p:spPr>
        <p:txBody>
          <a:bodyPr vert="horz" wrap="square" anchor="b">
            <a:spAutoFit/>
          </a:bodyPr>
          <a:lstStyle>
            <a:lvl1pPr algn="l">
              <a:defRPr sz="4400" b="1"/>
            </a:lvl1pPr>
          </a:lstStyle>
          <a:p>
            <a:r>
              <a:rPr lang="en-US"/>
              <a:t>Thank you ….</a:t>
            </a:r>
          </a:p>
        </p:txBody>
      </p:sp>
      <p:pic>
        <p:nvPicPr>
          <p:cNvPr id="12" name="Picture 11" descr="Logo&#10;&#10;Description automatically generated">
            <a:extLst>
              <a:ext uri="{FF2B5EF4-FFF2-40B4-BE49-F238E27FC236}">
                <a16:creationId xmlns:a16="http://schemas.microsoft.com/office/drawing/2014/main" id="{733D8ADE-5121-44FF-874C-A0D1E068C1E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8799" y="132555"/>
            <a:ext cx="1686643" cy="879463"/>
          </a:xfrm>
          <a:prstGeom prst="rect">
            <a:avLst/>
          </a:prstGeom>
        </p:spPr>
      </p:pic>
      <p:sp>
        <p:nvSpPr>
          <p:cNvPr id="13" name="Freeform: Shape 12">
            <a:extLst>
              <a:ext uri="{FF2B5EF4-FFF2-40B4-BE49-F238E27FC236}">
                <a16:creationId xmlns:a16="http://schemas.microsoft.com/office/drawing/2014/main" id="{56A66114-33A7-4B69-85A1-756B0005B056}"/>
              </a:ext>
            </a:extLst>
          </p:cNvPr>
          <p:cNvSpPr/>
          <p:nvPr userDrawn="1"/>
        </p:nvSpPr>
        <p:spPr>
          <a:xfrm>
            <a:off x="7287159" y="4206746"/>
            <a:ext cx="4904841" cy="2663507"/>
          </a:xfrm>
          <a:custGeom>
            <a:avLst/>
            <a:gdLst>
              <a:gd name="connsiteX0" fmla="*/ 4904936 w 4904841"/>
              <a:gd name="connsiteY0" fmla="*/ -27 h 2663507"/>
              <a:gd name="connsiteX1" fmla="*/ 4904936 w 4904841"/>
              <a:gd name="connsiteY1" fmla="*/ 2663481 h 2663507"/>
              <a:gd name="connsiteX2" fmla="*/ 94 w 4904841"/>
              <a:gd name="connsiteY2" fmla="*/ 2663481 h 2663507"/>
              <a:gd name="connsiteX3" fmla="*/ 3291302 w 4904841"/>
              <a:gd name="connsiteY3" fmla="*/ 719113 h 2663507"/>
              <a:gd name="connsiteX4" fmla="*/ 4904936 w 4904841"/>
              <a:gd name="connsiteY4" fmla="*/ -27 h 266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841" h="2663507">
                <a:moveTo>
                  <a:pt x="4904936" y="-27"/>
                </a:moveTo>
                <a:lnTo>
                  <a:pt x="4904936" y="2663481"/>
                </a:lnTo>
                <a:lnTo>
                  <a:pt x="94" y="2663481"/>
                </a:lnTo>
                <a:cubicBezTo>
                  <a:pt x="1172285" y="2294838"/>
                  <a:pt x="2552326" y="1655670"/>
                  <a:pt x="3291302" y="719113"/>
                </a:cubicBezTo>
                <a:cubicBezTo>
                  <a:pt x="3894947" y="619444"/>
                  <a:pt x="4446752" y="365875"/>
                  <a:pt x="4904936" y="-27"/>
                </a:cubicBezTo>
              </a:path>
            </a:pathLst>
          </a:custGeom>
          <a:solidFill>
            <a:schemeClr val="accent2"/>
          </a:solidFill>
          <a:ln w="703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EA2D796-37D4-49C5-B03A-C03E79EC9F34}"/>
              </a:ext>
            </a:extLst>
          </p:cNvPr>
          <p:cNvSpPr/>
          <p:nvPr userDrawn="1"/>
        </p:nvSpPr>
        <p:spPr>
          <a:xfrm>
            <a:off x="6490435" y="14"/>
            <a:ext cx="5701564" cy="4972858"/>
          </a:xfrm>
          <a:custGeom>
            <a:avLst/>
            <a:gdLst>
              <a:gd name="connsiteX0" fmla="*/ 5701653 w 5701564"/>
              <a:gd name="connsiteY0" fmla="*/ -69 h 4972858"/>
              <a:gd name="connsiteX1" fmla="*/ 5701653 w 5701564"/>
              <a:gd name="connsiteY1" fmla="*/ 4206663 h 4972858"/>
              <a:gd name="connsiteX2" fmla="*/ 4088019 w 5701564"/>
              <a:gd name="connsiteY2" fmla="*/ 4925803 h 4972858"/>
              <a:gd name="connsiteX3" fmla="*/ 3511877 w 5701564"/>
              <a:gd name="connsiteY3" fmla="*/ 4972789 h 4972858"/>
              <a:gd name="connsiteX4" fmla="*/ 88 w 5701564"/>
              <a:gd name="connsiteY4" fmla="*/ 1461001 h 4972858"/>
              <a:gd name="connsiteX5" fmla="*/ 317526 w 5701564"/>
              <a:gd name="connsiteY5" fmla="*/ -69 h 4972858"/>
              <a:gd name="connsiteX6" fmla="*/ 5701653 w 5701564"/>
              <a:gd name="connsiteY6" fmla="*/ -69 h 497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1564" h="4972858">
                <a:moveTo>
                  <a:pt x="5701653" y="-69"/>
                </a:moveTo>
                <a:lnTo>
                  <a:pt x="5701653" y="4206663"/>
                </a:lnTo>
                <a:cubicBezTo>
                  <a:pt x="5243469" y="4572564"/>
                  <a:pt x="4691665" y="4826134"/>
                  <a:pt x="4088019" y="4925803"/>
                </a:cubicBezTo>
                <a:cubicBezTo>
                  <a:pt x="3900567" y="4956683"/>
                  <a:pt x="3708122" y="4972789"/>
                  <a:pt x="3511877" y="4972789"/>
                </a:cubicBezTo>
                <a:cubicBezTo>
                  <a:pt x="1572364" y="4972789"/>
                  <a:pt x="88" y="3400443"/>
                  <a:pt x="88" y="1461001"/>
                </a:cubicBezTo>
                <a:cubicBezTo>
                  <a:pt x="88" y="939583"/>
                  <a:pt x="113684" y="444751"/>
                  <a:pt x="317526" y="-69"/>
                </a:cubicBezTo>
                <a:lnTo>
                  <a:pt x="5701653" y="-69"/>
                </a:lnTo>
              </a:path>
            </a:pathLst>
          </a:custGeom>
          <a:solidFill>
            <a:schemeClr val="accent1"/>
          </a:solidFill>
          <a:ln w="7030" cap="flat">
            <a:noFill/>
            <a:prstDash val="solid"/>
            <a:miter/>
          </a:ln>
        </p:spPr>
        <p:txBody>
          <a:bodyPr rtlCol="0" anchor="ctr"/>
          <a:lstStyle/>
          <a:p>
            <a:endParaRPr lang="en-US"/>
          </a:p>
        </p:txBody>
      </p:sp>
      <p:pic>
        <p:nvPicPr>
          <p:cNvPr id="15" name="Picture 14">
            <a:extLst>
              <a:ext uri="{FF2B5EF4-FFF2-40B4-BE49-F238E27FC236}">
                <a16:creationId xmlns:a16="http://schemas.microsoft.com/office/drawing/2014/main" id="{E00627E7-205C-46A6-A6E9-8EEFAF9A387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6667" r="16667"/>
          <a:stretch/>
        </p:blipFill>
        <p:spPr>
          <a:xfrm>
            <a:off x="5896759" y="738478"/>
            <a:ext cx="5736442" cy="5736440"/>
          </a:xfrm>
          <a:custGeom>
            <a:avLst/>
            <a:gdLst>
              <a:gd name="connsiteX0" fmla="*/ 2185643 w 4371286"/>
              <a:gd name="connsiteY0" fmla="*/ 0 h 4371284"/>
              <a:gd name="connsiteX1" fmla="*/ 4371286 w 4371286"/>
              <a:gd name="connsiteY1" fmla="*/ 2185642 h 4371284"/>
              <a:gd name="connsiteX2" fmla="*/ 2185643 w 4371286"/>
              <a:gd name="connsiteY2" fmla="*/ 4371284 h 4371284"/>
              <a:gd name="connsiteX3" fmla="*/ 0 w 4371286"/>
              <a:gd name="connsiteY3" fmla="*/ 2185642 h 4371284"/>
              <a:gd name="connsiteX4" fmla="*/ 2185643 w 4371286"/>
              <a:gd name="connsiteY4" fmla="*/ 0 h 437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1286" h="4371284">
                <a:moveTo>
                  <a:pt x="2185643" y="0"/>
                </a:moveTo>
                <a:cubicBezTo>
                  <a:pt x="3392740" y="0"/>
                  <a:pt x="4371286" y="978545"/>
                  <a:pt x="4371286" y="2185642"/>
                </a:cubicBezTo>
                <a:cubicBezTo>
                  <a:pt x="4371286" y="3392739"/>
                  <a:pt x="3392740" y="4371284"/>
                  <a:pt x="2185643" y="4371284"/>
                </a:cubicBezTo>
                <a:cubicBezTo>
                  <a:pt x="978546" y="4371284"/>
                  <a:pt x="0" y="3392739"/>
                  <a:pt x="0" y="2185642"/>
                </a:cubicBezTo>
                <a:cubicBezTo>
                  <a:pt x="0" y="978545"/>
                  <a:pt x="978546" y="0"/>
                  <a:pt x="2185643" y="0"/>
                </a:cubicBezTo>
                <a:close/>
              </a:path>
            </a:pathLst>
          </a:custGeom>
        </p:spPr>
      </p:pic>
    </p:spTree>
    <p:extLst>
      <p:ext uri="{BB962C8B-B14F-4D97-AF65-F5344CB8AC3E}">
        <p14:creationId xmlns:p14="http://schemas.microsoft.com/office/powerpoint/2010/main" val="1749668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3275E4-9860-4985-8710-D90DF1F946C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9C3275E4-9860-4985-8710-D90DF1F94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D9D420-247D-4B62-978E-8C837F87C6CB}"/>
              </a:ext>
            </a:extLst>
          </p:cNvPr>
          <p:cNvSpPr>
            <a:spLocks noGrp="1"/>
          </p:cNvSpPr>
          <p:nvPr>
            <p:ph type="title"/>
          </p:nvPr>
        </p:nvSpPr>
        <p:spPr>
          <a:xfrm>
            <a:off x="381000" y="576549"/>
            <a:ext cx="11430000" cy="443198"/>
          </a:xfrm>
        </p:spPr>
        <p:txBody>
          <a:bodyPr vert="horz" anchor="b"/>
          <a:lstStyle>
            <a:lvl1pPr>
              <a:defRPr sz="3200" b="1"/>
            </a:lvl1pPr>
          </a:lstStyle>
          <a:p>
            <a:r>
              <a:rPr lang="en-US"/>
              <a:t>Click to edit Master title style</a:t>
            </a:r>
          </a:p>
        </p:txBody>
      </p:sp>
      <p:sp>
        <p:nvSpPr>
          <p:cNvPr id="3" name="Content Placeholder 2">
            <a:extLst>
              <a:ext uri="{FF2B5EF4-FFF2-40B4-BE49-F238E27FC236}">
                <a16:creationId xmlns:a16="http://schemas.microsoft.com/office/drawing/2014/main" id="{D31C3B7C-3350-4A86-9F05-6DC13C175E00}"/>
              </a:ext>
            </a:extLst>
          </p:cNvPr>
          <p:cNvSpPr>
            <a:spLocks noGrp="1"/>
          </p:cNvSpPr>
          <p:nvPr>
            <p:ph idx="1"/>
          </p:nvPr>
        </p:nvSpPr>
        <p:spPr>
          <a:xfrm>
            <a:off x="381000" y="1311061"/>
            <a:ext cx="11430000" cy="1602233"/>
          </a:xfrm>
        </p:spPr>
        <p:txBody>
          <a:bodyPr wrap="square">
            <a:sp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A2599FE-AFE3-4C3C-A38D-2889BFAB9C52}"/>
              </a:ext>
            </a:extLst>
          </p:cNvPr>
          <p:cNvSpPr>
            <a:spLocks noGrp="1"/>
          </p:cNvSpPr>
          <p:nvPr>
            <p:ph type="sldNum" sz="quarter" idx="12"/>
          </p:nvPr>
        </p:nvSpPr>
        <p:spPr>
          <a:xfrm>
            <a:off x="11642684" y="6461968"/>
            <a:ext cx="168316" cy="153888"/>
          </a:xfrm>
          <a:prstGeom prst="rect">
            <a:avLst/>
          </a:prstGeom>
          <a:noFill/>
        </p:spPr>
        <p:txBody>
          <a:bodyPr wrap="none" lIns="0" tIns="0" rIns="0" bIns="0">
            <a:spAutoFit/>
          </a:bodyPr>
          <a:lstStyle>
            <a:lvl1pPr>
              <a:defRPr sz="1000">
                <a:solidFill>
                  <a:schemeClr val="tx1"/>
                </a:solidFill>
              </a:defRPr>
            </a:lvl1pPr>
          </a:lstStyle>
          <a:p>
            <a:fld id="{228A9C9F-6529-47A5-933F-EFE9FB6CBA2B}"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E6D0529B-7D2B-424B-ACA4-D8F6159E41D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81000" y="6049263"/>
            <a:ext cx="1184904" cy="617842"/>
          </a:xfrm>
          <a:prstGeom prst="rect">
            <a:avLst/>
          </a:prstGeom>
        </p:spPr>
      </p:pic>
      <p:sp>
        <p:nvSpPr>
          <p:cNvPr id="22" name="Rectangle 21">
            <a:extLst>
              <a:ext uri="{FF2B5EF4-FFF2-40B4-BE49-F238E27FC236}">
                <a16:creationId xmlns:a16="http://schemas.microsoft.com/office/drawing/2014/main" id="{D3330E97-6F1D-4598-984A-84226F030551}"/>
              </a:ext>
            </a:extLst>
          </p:cNvPr>
          <p:cNvSpPr/>
          <p:nvPr userDrawn="1"/>
        </p:nvSpPr>
        <p:spPr>
          <a:xfrm>
            <a:off x="0" y="6781803"/>
            <a:ext cx="12192000" cy="761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F837E0DC-BD89-48DE-9425-7F6CDE0EDD86}"/>
              </a:ext>
            </a:extLst>
          </p:cNvPr>
          <p:cNvGrpSpPr/>
          <p:nvPr userDrawn="1"/>
        </p:nvGrpSpPr>
        <p:grpSpPr>
          <a:xfrm>
            <a:off x="381000" y="1134444"/>
            <a:ext cx="1184904" cy="0"/>
            <a:chOff x="381000" y="1134444"/>
            <a:chExt cx="2369808" cy="0"/>
          </a:xfrm>
        </p:grpSpPr>
        <p:cxnSp>
          <p:nvCxnSpPr>
            <p:cNvPr id="17" name="Straight Connector 16">
              <a:extLst>
                <a:ext uri="{FF2B5EF4-FFF2-40B4-BE49-F238E27FC236}">
                  <a16:creationId xmlns:a16="http://schemas.microsoft.com/office/drawing/2014/main" id="{B379B9E0-E481-4F24-8686-4EBD23600732}"/>
                </a:ext>
              </a:extLst>
            </p:cNvPr>
            <p:cNvCxnSpPr>
              <a:cxnSpLocks/>
            </p:cNvCxnSpPr>
            <p:nvPr userDrawn="1"/>
          </p:nvCxnSpPr>
          <p:spPr>
            <a:xfrm>
              <a:off x="381000" y="1134444"/>
              <a:ext cx="1184904"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CC781D2-E0E1-4B40-B635-67EC7B083BD8}"/>
                </a:ext>
              </a:extLst>
            </p:cNvPr>
            <p:cNvCxnSpPr>
              <a:cxnSpLocks/>
            </p:cNvCxnSpPr>
            <p:nvPr userDrawn="1"/>
          </p:nvCxnSpPr>
          <p:spPr>
            <a:xfrm>
              <a:off x="1565904" y="1134444"/>
              <a:ext cx="1184904"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4969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1745468" y="6324600"/>
            <a:ext cx="447040" cy="342900"/>
          </a:xfrm>
          <a:custGeom>
            <a:avLst/>
            <a:gdLst/>
            <a:ahLst/>
            <a:cxnLst/>
            <a:rect l="l" t="t" r="r" b="b"/>
            <a:pathLst>
              <a:path w="447040" h="342900">
                <a:moveTo>
                  <a:pt x="446531" y="0"/>
                </a:moveTo>
                <a:lnTo>
                  <a:pt x="115570" y="0"/>
                </a:lnTo>
                <a:lnTo>
                  <a:pt x="0" y="171450"/>
                </a:lnTo>
                <a:lnTo>
                  <a:pt x="115570" y="342900"/>
                </a:lnTo>
                <a:lnTo>
                  <a:pt x="446531" y="342900"/>
                </a:lnTo>
                <a:lnTo>
                  <a:pt x="446531" y="0"/>
                </a:lnTo>
                <a:close/>
              </a:path>
            </a:pathLst>
          </a:custGeom>
          <a:solidFill>
            <a:srgbClr val="EB3137"/>
          </a:solidFill>
        </p:spPr>
        <p:txBody>
          <a:bodyPr wrap="square" lIns="0" tIns="0" rIns="0" bIns="0" rtlCol="0"/>
          <a:lstStyle/>
          <a:p>
            <a:endParaRPr/>
          </a:p>
        </p:txBody>
      </p:sp>
      <p:sp>
        <p:nvSpPr>
          <p:cNvPr id="17" name="bg object 17"/>
          <p:cNvSpPr/>
          <p:nvPr/>
        </p:nvSpPr>
        <p:spPr>
          <a:xfrm>
            <a:off x="0" y="6493637"/>
            <a:ext cx="11746865" cy="6350"/>
          </a:xfrm>
          <a:custGeom>
            <a:avLst/>
            <a:gdLst/>
            <a:ahLst/>
            <a:cxnLst/>
            <a:rect l="l" t="t" r="r" b="b"/>
            <a:pathLst>
              <a:path w="11746865" h="6350">
                <a:moveTo>
                  <a:pt x="11746357" y="0"/>
                </a:moveTo>
                <a:lnTo>
                  <a:pt x="0" y="0"/>
                </a:lnTo>
                <a:lnTo>
                  <a:pt x="0" y="6349"/>
                </a:lnTo>
                <a:lnTo>
                  <a:pt x="11746357" y="6349"/>
                </a:lnTo>
                <a:lnTo>
                  <a:pt x="11746357" y="0"/>
                </a:lnTo>
                <a:close/>
              </a:path>
            </a:pathLst>
          </a:custGeom>
          <a:solidFill>
            <a:srgbClr val="EB3137"/>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chemeClr val="tx1"/>
                </a:solidFill>
                <a:latin typeface="Carlito"/>
                <a:cs typeface="Carlito"/>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1353800" cy="739056"/>
          </a:xfrm>
        </p:spPr>
        <p:txBody>
          <a:bodyPr>
            <a:normAutofit/>
          </a:bodyPr>
          <a:lstStyle>
            <a:lvl1pPr>
              <a:defRPr sz="3600"/>
            </a:lvl1pPr>
          </a:lstStyle>
          <a:p>
            <a:r>
              <a:rPr lang="en-US"/>
              <a:t>Click to edit Master title style</a:t>
            </a:r>
          </a:p>
        </p:txBody>
      </p:sp>
      <p:grpSp>
        <p:nvGrpSpPr>
          <p:cNvPr id="12" name="Group 11">
            <a:extLst>
              <a:ext uri="{FF2B5EF4-FFF2-40B4-BE49-F238E27FC236}">
                <a16:creationId xmlns:a16="http://schemas.microsoft.com/office/drawing/2014/main" id="{426D102F-F220-4E57-BDD6-CCEBB93D58AF}"/>
              </a:ext>
            </a:extLst>
          </p:cNvPr>
          <p:cNvGrpSpPr/>
          <p:nvPr userDrawn="1"/>
        </p:nvGrpSpPr>
        <p:grpSpPr>
          <a:xfrm>
            <a:off x="12558029" y="1"/>
            <a:ext cx="1644047" cy="1816099"/>
            <a:chOff x="9433981" y="1"/>
            <a:chExt cx="1644047" cy="1816099"/>
          </a:xfrm>
        </p:grpSpPr>
        <p:sp>
          <p:nvSpPr>
            <p:cNvPr id="13" name="Rectangle: Folded Corner 12">
              <a:extLst>
                <a:ext uri="{FF2B5EF4-FFF2-40B4-BE49-F238E27FC236}">
                  <a16:creationId xmlns:a16="http://schemas.microsoft.com/office/drawing/2014/main" id="{8C7E1A5C-1B15-4E0A-8682-D203C7DE6B6B}"/>
                </a:ext>
              </a:extLst>
            </p:cNvPr>
            <p:cNvSpPr/>
            <p:nvPr userDrawn="1"/>
          </p:nvSpPr>
          <p:spPr>
            <a:xfrm>
              <a:off x="9433981"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Microsoft 365 subscribers)</a:t>
              </a:r>
            </a:p>
          </p:txBody>
        </p:sp>
        <p:pic>
          <p:nvPicPr>
            <p:cNvPr id="14" name="Picture 13">
              <a:extLst>
                <a:ext uri="{FF2B5EF4-FFF2-40B4-BE49-F238E27FC236}">
                  <a16:creationId xmlns:a16="http://schemas.microsoft.com/office/drawing/2014/main" id="{C830CBBC-4DBF-48F3-A80A-5B9A52315886}"/>
                </a:ext>
              </a:extLst>
            </p:cNvPr>
            <p:cNvPicPr>
              <a:picLocks noChangeAspect="1"/>
            </p:cNvPicPr>
            <p:nvPr userDrawn="1"/>
          </p:nvPicPr>
          <p:blipFill rotWithShape="1">
            <a:blip r:embed="rId2"/>
            <a:srcRect t="1" b="5479"/>
            <a:stretch/>
          </p:blipFill>
          <p:spPr>
            <a:xfrm>
              <a:off x="10677978" y="424090"/>
              <a:ext cx="400050" cy="657225"/>
            </a:xfrm>
            <a:prstGeom prst="rect">
              <a:avLst/>
            </a:prstGeom>
          </p:spPr>
        </p:pic>
      </p:grpSp>
    </p:spTree>
    <p:extLst>
      <p:ext uri="{BB962C8B-B14F-4D97-AF65-F5344CB8AC3E}">
        <p14:creationId xmlns:p14="http://schemas.microsoft.com/office/powerpoint/2010/main" val="288869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22BA4-D0AD-4712-A3D7-35BDFBD1F2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A0340A-CA61-42C8-883E-31EF1C6CE1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AB08234-F056-4868-86FC-15506562E278}"/>
              </a:ext>
            </a:extLst>
          </p:cNvPr>
          <p:cNvSpPr>
            <a:spLocks noGrp="1"/>
          </p:cNvSpPr>
          <p:nvPr>
            <p:ph type="dt" sz="half" idx="10"/>
          </p:nvPr>
        </p:nvSpPr>
        <p:spPr/>
        <p:txBody>
          <a:bodyPr/>
          <a:lstStyle/>
          <a:p>
            <a:fld id="{F77D4D07-2C4E-46CA-860E-E4A7D1249CC7}" type="datetimeFigureOut">
              <a:rPr lang="en-US" smtClean="0"/>
              <a:t>6/6/2024</a:t>
            </a:fld>
            <a:endParaRPr lang="en-US"/>
          </a:p>
        </p:txBody>
      </p:sp>
      <p:sp>
        <p:nvSpPr>
          <p:cNvPr id="5" name="Footer Placeholder 4">
            <a:extLst>
              <a:ext uri="{FF2B5EF4-FFF2-40B4-BE49-F238E27FC236}">
                <a16:creationId xmlns:a16="http://schemas.microsoft.com/office/drawing/2014/main" id="{1996C2A0-4A78-4D50-AF3D-1957E391DE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6CD1AB-5731-4AEA-9C07-69DCD3E0C63E}"/>
              </a:ext>
            </a:extLst>
          </p:cNvPr>
          <p:cNvSpPr>
            <a:spLocks noGrp="1"/>
          </p:cNvSpPr>
          <p:nvPr>
            <p:ph type="sldNum" sz="quarter" idx="12"/>
          </p:nvPr>
        </p:nvSpPr>
        <p:spPr/>
        <p:txBody>
          <a:bodyPr/>
          <a:lstStyle/>
          <a:p>
            <a:fld id="{7CBBDB18-2040-4A28-83EE-5394128CA59B}" type="slidenum">
              <a:rPr lang="en-US" smtClean="0"/>
              <a:t>‹#›</a:t>
            </a:fld>
            <a:endParaRPr lang="en-US"/>
          </a:p>
        </p:txBody>
      </p:sp>
    </p:spTree>
    <p:extLst>
      <p:ext uri="{BB962C8B-B14F-4D97-AF65-F5344CB8AC3E}">
        <p14:creationId xmlns:p14="http://schemas.microsoft.com/office/powerpoint/2010/main" val="8809093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EB49B-9DBB-41FC-87FD-206FF116223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D86EB49B-9DBB-41FC-87FD-206FF11622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6A33173-21C7-4491-8463-E6077C9200E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234"/>
            <a:ext cx="12192000" cy="6857531"/>
          </a:xfrm>
          <a:prstGeom prst="rect">
            <a:avLst/>
          </a:prstGeom>
        </p:spPr>
      </p:pic>
      <p:sp>
        <p:nvSpPr>
          <p:cNvPr id="11" name="Title 1">
            <a:extLst>
              <a:ext uri="{FF2B5EF4-FFF2-40B4-BE49-F238E27FC236}">
                <a16:creationId xmlns:a16="http://schemas.microsoft.com/office/drawing/2014/main" id="{4FEC2D59-3300-4288-89FD-EA9B8772B8CB}"/>
              </a:ext>
            </a:extLst>
          </p:cNvPr>
          <p:cNvSpPr>
            <a:spLocks noGrp="1"/>
          </p:cNvSpPr>
          <p:nvPr>
            <p:ph type="ctrTitle"/>
          </p:nvPr>
        </p:nvSpPr>
        <p:spPr>
          <a:xfrm>
            <a:off x="772118" y="4843358"/>
            <a:ext cx="7503201" cy="664797"/>
          </a:xfrm>
        </p:spPr>
        <p:txBody>
          <a:bodyPr vert="horz" wrap="square" anchor="b">
            <a:spAutoFit/>
          </a:bodyPr>
          <a:lstStyle>
            <a:lvl1pPr algn="l">
              <a:defRPr sz="4800" b="1">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2" name="Subtitle 2">
            <a:extLst>
              <a:ext uri="{FF2B5EF4-FFF2-40B4-BE49-F238E27FC236}">
                <a16:creationId xmlns:a16="http://schemas.microsoft.com/office/drawing/2014/main" id="{D7841AD2-946A-4AAE-BCF0-EC59A278B6EE}"/>
              </a:ext>
            </a:extLst>
          </p:cNvPr>
          <p:cNvSpPr>
            <a:spLocks noGrp="1"/>
          </p:cNvSpPr>
          <p:nvPr>
            <p:ph type="subTitle" idx="1"/>
          </p:nvPr>
        </p:nvSpPr>
        <p:spPr>
          <a:xfrm>
            <a:off x="772118" y="5600230"/>
            <a:ext cx="7503201" cy="348557"/>
          </a:xfrm>
        </p:spPr>
        <p:txBody>
          <a:bodyPr wrap="square">
            <a:spAutoFit/>
          </a:bodyPr>
          <a:lstStyle>
            <a:lvl1pPr marL="0" indent="0" algn="l">
              <a:buNone/>
              <a:defRPr sz="1800">
                <a:solidFill>
                  <a:schemeClr val="bg1"/>
                </a:solidFill>
                <a:latin typeface="Calibri Light" panose="020F0302020204030204" pitchFamily="34" charset="0"/>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7" name="Picture 16" descr="Logo&#10;&#10;Description automatically generated">
            <a:extLst>
              <a:ext uri="{FF2B5EF4-FFF2-40B4-BE49-F238E27FC236}">
                <a16:creationId xmlns:a16="http://schemas.microsoft.com/office/drawing/2014/main" id="{5FA302FF-0D4F-4F47-B6E4-047559F7C94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72118" y="3246120"/>
            <a:ext cx="2425724" cy="1264840"/>
          </a:xfrm>
          <a:prstGeom prst="rect">
            <a:avLst/>
          </a:prstGeom>
        </p:spPr>
      </p:pic>
    </p:spTree>
    <p:extLst>
      <p:ext uri="{BB962C8B-B14F-4D97-AF65-F5344CB8AC3E}">
        <p14:creationId xmlns:p14="http://schemas.microsoft.com/office/powerpoint/2010/main" val="906463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3275E4-9860-4985-8710-D90DF1F946C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9C3275E4-9860-4985-8710-D90DF1F94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D9D420-247D-4B62-978E-8C837F87C6CB}"/>
              </a:ext>
            </a:extLst>
          </p:cNvPr>
          <p:cNvSpPr>
            <a:spLocks noGrp="1"/>
          </p:cNvSpPr>
          <p:nvPr>
            <p:ph type="title"/>
          </p:nvPr>
        </p:nvSpPr>
        <p:spPr>
          <a:xfrm>
            <a:off x="381000" y="576549"/>
            <a:ext cx="11430000" cy="443198"/>
          </a:xfrm>
        </p:spPr>
        <p:txBody>
          <a:bodyPr vert="horz" anchor="b"/>
          <a:lstStyle>
            <a:lvl1pPr>
              <a:defRPr sz="3200" b="1"/>
            </a:lvl1pPr>
          </a:lstStyle>
          <a:p>
            <a:r>
              <a:rPr lang="en-US"/>
              <a:t>Click to edit Master title style</a:t>
            </a:r>
          </a:p>
        </p:txBody>
      </p:sp>
      <p:sp>
        <p:nvSpPr>
          <p:cNvPr id="3" name="Content Placeholder 2">
            <a:extLst>
              <a:ext uri="{FF2B5EF4-FFF2-40B4-BE49-F238E27FC236}">
                <a16:creationId xmlns:a16="http://schemas.microsoft.com/office/drawing/2014/main" id="{D31C3B7C-3350-4A86-9F05-6DC13C175E00}"/>
              </a:ext>
            </a:extLst>
          </p:cNvPr>
          <p:cNvSpPr>
            <a:spLocks noGrp="1"/>
          </p:cNvSpPr>
          <p:nvPr>
            <p:ph idx="1"/>
          </p:nvPr>
        </p:nvSpPr>
        <p:spPr>
          <a:xfrm>
            <a:off x="381000" y="1311061"/>
            <a:ext cx="11430000" cy="1602233"/>
          </a:xfrm>
        </p:spPr>
        <p:txBody>
          <a:bodyPr wrap="square">
            <a:sp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A2599FE-AFE3-4C3C-A38D-2889BFAB9C52}"/>
              </a:ext>
            </a:extLst>
          </p:cNvPr>
          <p:cNvSpPr>
            <a:spLocks noGrp="1"/>
          </p:cNvSpPr>
          <p:nvPr>
            <p:ph type="sldNum" sz="quarter" idx="12"/>
          </p:nvPr>
        </p:nvSpPr>
        <p:spPr>
          <a:xfrm>
            <a:off x="11642684" y="6461968"/>
            <a:ext cx="168316" cy="153888"/>
          </a:xfrm>
          <a:prstGeom prst="rect">
            <a:avLst/>
          </a:prstGeom>
          <a:noFill/>
        </p:spPr>
        <p:txBody>
          <a:bodyPr wrap="none" lIns="0" tIns="0" rIns="0" bIns="0">
            <a:spAutoFit/>
          </a:bodyPr>
          <a:lstStyle>
            <a:lvl1pPr>
              <a:defRPr sz="1000">
                <a:solidFill>
                  <a:schemeClr val="tx1"/>
                </a:solidFill>
              </a:defRPr>
            </a:lvl1pPr>
          </a:lstStyle>
          <a:p>
            <a:fld id="{228A9C9F-6529-47A5-933F-EFE9FB6CBA2B}"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E6D0529B-7D2B-424B-ACA4-D8F6159E41D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81000" y="6049263"/>
            <a:ext cx="1184904" cy="617842"/>
          </a:xfrm>
          <a:prstGeom prst="rect">
            <a:avLst/>
          </a:prstGeom>
        </p:spPr>
      </p:pic>
      <p:sp>
        <p:nvSpPr>
          <p:cNvPr id="22" name="Rectangle 21">
            <a:extLst>
              <a:ext uri="{FF2B5EF4-FFF2-40B4-BE49-F238E27FC236}">
                <a16:creationId xmlns:a16="http://schemas.microsoft.com/office/drawing/2014/main" id="{D3330E97-6F1D-4598-984A-84226F030551}"/>
              </a:ext>
            </a:extLst>
          </p:cNvPr>
          <p:cNvSpPr/>
          <p:nvPr userDrawn="1"/>
        </p:nvSpPr>
        <p:spPr>
          <a:xfrm>
            <a:off x="0" y="6781803"/>
            <a:ext cx="12192000" cy="761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F837E0DC-BD89-48DE-9425-7F6CDE0EDD86}"/>
              </a:ext>
            </a:extLst>
          </p:cNvPr>
          <p:cNvGrpSpPr/>
          <p:nvPr userDrawn="1"/>
        </p:nvGrpSpPr>
        <p:grpSpPr>
          <a:xfrm>
            <a:off x="381000" y="1134444"/>
            <a:ext cx="1184904" cy="0"/>
            <a:chOff x="381000" y="1134444"/>
            <a:chExt cx="2369808" cy="0"/>
          </a:xfrm>
        </p:grpSpPr>
        <p:cxnSp>
          <p:nvCxnSpPr>
            <p:cNvPr id="17" name="Straight Connector 16">
              <a:extLst>
                <a:ext uri="{FF2B5EF4-FFF2-40B4-BE49-F238E27FC236}">
                  <a16:creationId xmlns:a16="http://schemas.microsoft.com/office/drawing/2014/main" id="{B379B9E0-E481-4F24-8686-4EBD23600732}"/>
                </a:ext>
              </a:extLst>
            </p:cNvPr>
            <p:cNvCxnSpPr>
              <a:cxnSpLocks/>
            </p:cNvCxnSpPr>
            <p:nvPr userDrawn="1"/>
          </p:nvCxnSpPr>
          <p:spPr>
            <a:xfrm>
              <a:off x="381000" y="1134444"/>
              <a:ext cx="1184904"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CC781D2-E0E1-4B40-B635-67EC7B083BD8}"/>
                </a:ext>
              </a:extLst>
            </p:cNvPr>
            <p:cNvCxnSpPr>
              <a:cxnSpLocks/>
            </p:cNvCxnSpPr>
            <p:nvPr userDrawn="1"/>
          </p:nvCxnSpPr>
          <p:spPr>
            <a:xfrm>
              <a:off x="1565904" y="1134444"/>
              <a:ext cx="1184904"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78447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1656000"/>
            <a:ext cx="5472000" cy="4464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8">
            <a:extLst>
              <a:ext uri="{FF2B5EF4-FFF2-40B4-BE49-F238E27FC236}">
                <a16:creationId xmlns:a16="http://schemas.microsoft.com/office/drawing/2014/main" id="{0A29F8B3-4723-4928-83E5-76C29D05F2FE}"/>
              </a:ext>
            </a:extLst>
          </p:cNvPr>
          <p:cNvSpPr>
            <a:spLocks noGrp="1"/>
          </p:cNvSpPr>
          <p:nvPr>
            <p:ph type="sldNum" sz="quarter" idx="11"/>
          </p:nvPr>
        </p:nvSpPr>
        <p:spPr/>
        <p:txBody>
          <a:bodyPr/>
          <a:lstStyle>
            <a:lvl1pPr>
              <a:defRPr>
                <a:solidFill>
                  <a:schemeClr val="tx1">
                    <a:lumMod val="75000"/>
                    <a:lumOff val="25000"/>
                  </a:schemeClr>
                </a:solidFill>
              </a:defRPr>
            </a:lvl1pPr>
          </a:lstStyle>
          <a:p>
            <a:fld id="{19B51A1E-902D-48AF-9020-955120F399B6}" type="slidenum">
              <a:rPr lang="en-US" noProof="0" smtClean="0"/>
              <a:pPr/>
              <a:t>‹#›</a:t>
            </a:fld>
            <a:endParaRPr lang="en-US" noProof="0" dirty="0"/>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Title 4">
            <a:extLst>
              <a:ext uri="{FF2B5EF4-FFF2-40B4-BE49-F238E27FC236}">
                <a16:creationId xmlns:a16="http://schemas.microsoft.com/office/drawing/2014/main" id="{BB6AC7B6-CDA5-4A4F-AD50-E3C16C6A0090}"/>
              </a:ext>
            </a:extLst>
          </p:cNvPr>
          <p:cNvSpPr>
            <a:spLocks noGrp="1"/>
          </p:cNvSpPr>
          <p:nvPr>
            <p:ph type="title"/>
          </p:nvPr>
        </p:nvSpPr>
        <p:spPr>
          <a:xfrm>
            <a:off x="516835" y="432000"/>
            <a:ext cx="5387166" cy="695740"/>
          </a:xfrm>
        </p:spPr>
        <p:txBody>
          <a:bodyPr/>
          <a:lstStyle/>
          <a:p>
            <a:r>
              <a:rPr lang="en-US" noProof="0"/>
              <a:t>Click to edit Master title style</a:t>
            </a:r>
          </a:p>
        </p:txBody>
      </p:sp>
      <p:sp>
        <p:nvSpPr>
          <p:cNvPr id="11" name="Rectangle 10">
            <a:extLst>
              <a:ext uri="{FF2B5EF4-FFF2-40B4-BE49-F238E27FC236}">
                <a16:creationId xmlns:a16="http://schemas.microsoft.com/office/drawing/2014/main" id="{1CF27CC2-C21A-430D-B705-FB9C912CA32A}"/>
              </a:ext>
            </a:extLst>
          </p:cNvPr>
          <p:cNvSpPr/>
          <p:nvPr userDrawn="1"/>
        </p:nvSpPr>
        <p:spPr>
          <a:xfrm>
            <a:off x="432000" y="432000"/>
            <a:ext cx="84835" cy="6957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Subtitle 2">
            <a:extLst>
              <a:ext uri="{FF2B5EF4-FFF2-40B4-BE49-F238E27FC236}">
                <a16:creationId xmlns:a16="http://schemas.microsoft.com/office/drawing/2014/main" id="{9E0033C9-5861-4239-BD0E-9A6A58D38E52}"/>
              </a:ext>
            </a:extLst>
          </p:cNvPr>
          <p:cNvSpPr>
            <a:spLocks noGrp="1"/>
          </p:cNvSpPr>
          <p:nvPr>
            <p:ph type="body" sz="quarter" idx="32" hasCustomPrompt="1"/>
          </p:nvPr>
        </p:nvSpPr>
        <p:spPr>
          <a:xfrm>
            <a:off x="431800" y="1260000"/>
            <a:ext cx="5472001" cy="252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13" name="Picture Placeholder 12">
            <a:extLst>
              <a:ext uri="{FF2B5EF4-FFF2-40B4-BE49-F238E27FC236}">
                <a16:creationId xmlns:a16="http://schemas.microsoft.com/office/drawing/2014/main" id="{3B040E07-EADA-4100-BE19-E7313AC73723}"/>
              </a:ext>
            </a:extLst>
          </p:cNvPr>
          <p:cNvSpPr>
            <a:spLocks noGrp="1"/>
          </p:cNvSpPr>
          <p:nvPr>
            <p:ph type="pic" sz="quarter" idx="10" hasCustomPrompt="1"/>
          </p:nvPr>
        </p:nvSpPr>
        <p:spPr>
          <a:xfrm>
            <a:off x="6687459" y="144592"/>
            <a:ext cx="4610101" cy="6557032"/>
          </a:xfrm>
          <a:custGeom>
            <a:avLst/>
            <a:gdLst>
              <a:gd name="connsiteX0" fmla="*/ 1206279 w 4610101"/>
              <a:gd name="connsiteY0" fmla="*/ 6465923 h 6557032"/>
              <a:gd name="connsiteX1" fmla="*/ 1228145 w 4610101"/>
              <a:gd name="connsiteY1" fmla="*/ 6467746 h 6557032"/>
              <a:gd name="connsiteX2" fmla="*/ 1244545 w 4610101"/>
              <a:gd name="connsiteY2" fmla="*/ 6482323 h 6557032"/>
              <a:gd name="connsiteX3" fmla="*/ 1235434 w 4610101"/>
              <a:gd name="connsiteY3" fmla="*/ 6495078 h 6557032"/>
              <a:gd name="connsiteX4" fmla="*/ 1251833 w 4610101"/>
              <a:gd name="connsiteY4" fmla="*/ 6526055 h 6557032"/>
              <a:gd name="connsiteX5" fmla="*/ 1237256 w 4610101"/>
              <a:gd name="connsiteY5" fmla="*/ 6547921 h 6557032"/>
              <a:gd name="connsiteX6" fmla="*/ 1222679 w 4610101"/>
              <a:gd name="connsiteY6" fmla="*/ 6557032 h 6557032"/>
              <a:gd name="connsiteX7" fmla="*/ 1200814 w 4610101"/>
              <a:gd name="connsiteY7" fmla="*/ 6555210 h 6557032"/>
              <a:gd name="connsiteX8" fmla="*/ 1177124 w 4610101"/>
              <a:gd name="connsiteY8" fmla="*/ 6533343 h 6557032"/>
              <a:gd name="connsiteX9" fmla="*/ 1191703 w 4610101"/>
              <a:gd name="connsiteY9" fmla="*/ 6502367 h 6557032"/>
              <a:gd name="connsiteX10" fmla="*/ 1191703 w 4610101"/>
              <a:gd name="connsiteY10" fmla="*/ 6495078 h 6557032"/>
              <a:gd name="connsiteX11" fmla="*/ 1193525 w 4610101"/>
              <a:gd name="connsiteY11" fmla="*/ 6482323 h 6557032"/>
              <a:gd name="connsiteX12" fmla="*/ 2674951 w 4610101"/>
              <a:gd name="connsiteY12" fmla="*/ 6438590 h 6557032"/>
              <a:gd name="connsiteX13" fmla="*/ 2684062 w 4610101"/>
              <a:gd name="connsiteY13" fmla="*/ 6467745 h 6557032"/>
              <a:gd name="connsiteX14" fmla="*/ 2676773 w 4610101"/>
              <a:gd name="connsiteY14" fmla="*/ 6506010 h 6557032"/>
              <a:gd name="connsiteX15" fmla="*/ 2645796 w 4610101"/>
              <a:gd name="connsiteY15" fmla="*/ 6520588 h 6557032"/>
              <a:gd name="connsiteX16" fmla="*/ 2623930 w 4610101"/>
              <a:gd name="connsiteY16" fmla="*/ 6489611 h 6557032"/>
              <a:gd name="connsiteX17" fmla="*/ 2623930 w 4610101"/>
              <a:gd name="connsiteY17" fmla="*/ 6467745 h 6557032"/>
              <a:gd name="connsiteX18" fmla="*/ 2674951 w 4610101"/>
              <a:gd name="connsiteY18" fmla="*/ 6438590 h 6557032"/>
              <a:gd name="connsiteX19" fmla="*/ 2556511 w 4610101"/>
              <a:gd name="connsiteY19" fmla="*/ 6391214 h 6557032"/>
              <a:gd name="connsiteX20" fmla="*/ 2549222 w 4610101"/>
              <a:gd name="connsiteY20" fmla="*/ 6422191 h 6557032"/>
              <a:gd name="connsiteX21" fmla="*/ 2525534 w 4610101"/>
              <a:gd name="connsiteY21" fmla="*/ 6398503 h 6557032"/>
              <a:gd name="connsiteX22" fmla="*/ 2436248 w 4610101"/>
              <a:gd name="connsiteY22" fmla="*/ 6383925 h 6557032"/>
              <a:gd name="connsiteX23" fmla="*/ 2459936 w 4610101"/>
              <a:gd name="connsiteY23" fmla="*/ 6414902 h 6557032"/>
              <a:gd name="connsiteX24" fmla="*/ 2459936 w 4610101"/>
              <a:gd name="connsiteY24" fmla="*/ 6422191 h 6557032"/>
              <a:gd name="connsiteX25" fmla="*/ 2428959 w 4610101"/>
              <a:gd name="connsiteY25" fmla="*/ 6444057 h 6557032"/>
              <a:gd name="connsiteX26" fmla="*/ 2421670 w 4610101"/>
              <a:gd name="connsiteY26" fmla="*/ 6422191 h 6557032"/>
              <a:gd name="connsiteX27" fmla="*/ 2436248 w 4610101"/>
              <a:gd name="connsiteY27" fmla="*/ 6383925 h 6557032"/>
              <a:gd name="connsiteX28" fmla="*/ 1869551 w 4610101"/>
              <a:gd name="connsiteY28" fmla="*/ 6331082 h 6557032"/>
              <a:gd name="connsiteX29" fmla="*/ 1867729 w 4610101"/>
              <a:gd name="connsiteY29" fmla="*/ 6347482 h 6557032"/>
              <a:gd name="connsiteX30" fmla="*/ 1853151 w 4610101"/>
              <a:gd name="connsiteY30" fmla="*/ 6332904 h 6557032"/>
              <a:gd name="connsiteX31" fmla="*/ 1166191 w 4610101"/>
              <a:gd name="connsiteY31" fmla="*/ 6329260 h 6557032"/>
              <a:gd name="connsiteX32" fmla="*/ 1160725 w 4610101"/>
              <a:gd name="connsiteY32" fmla="*/ 6362059 h 6557032"/>
              <a:gd name="connsiteX33" fmla="*/ 1144325 w 4610101"/>
              <a:gd name="connsiteY33" fmla="*/ 6352948 h 6557032"/>
              <a:gd name="connsiteX34" fmla="*/ 2208475 w 4610101"/>
              <a:gd name="connsiteY34" fmla="*/ 6301927 h 6557032"/>
              <a:gd name="connsiteX35" fmla="*/ 2230341 w 4610101"/>
              <a:gd name="connsiteY35" fmla="*/ 6316504 h 6557032"/>
              <a:gd name="connsiteX36" fmla="*/ 2208475 w 4610101"/>
              <a:gd name="connsiteY36" fmla="*/ 6301927 h 6557032"/>
              <a:gd name="connsiteX37" fmla="*/ 1002195 w 4610101"/>
              <a:gd name="connsiteY37" fmla="*/ 6301927 h 6557032"/>
              <a:gd name="connsiteX38" fmla="*/ 1033173 w 4610101"/>
              <a:gd name="connsiteY38" fmla="*/ 6316504 h 6557032"/>
              <a:gd name="connsiteX39" fmla="*/ 1033173 w 4610101"/>
              <a:gd name="connsiteY39" fmla="*/ 6340193 h 6557032"/>
              <a:gd name="connsiteX40" fmla="*/ 1011306 w 4610101"/>
              <a:gd name="connsiteY40" fmla="*/ 6362059 h 6557032"/>
              <a:gd name="connsiteX41" fmla="*/ 980330 w 4610101"/>
              <a:gd name="connsiteY41" fmla="*/ 6340193 h 6557032"/>
              <a:gd name="connsiteX42" fmla="*/ 980330 w 4610101"/>
              <a:gd name="connsiteY42" fmla="*/ 6332904 h 6557032"/>
              <a:gd name="connsiteX43" fmla="*/ 1002195 w 4610101"/>
              <a:gd name="connsiteY43" fmla="*/ 6301927 h 6557032"/>
              <a:gd name="connsiteX44" fmla="*/ 1747465 w 4610101"/>
              <a:gd name="connsiteY44" fmla="*/ 6292816 h 6557032"/>
              <a:gd name="connsiteX45" fmla="*/ 1749287 w 4610101"/>
              <a:gd name="connsiteY45" fmla="*/ 6309216 h 6557032"/>
              <a:gd name="connsiteX46" fmla="*/ 1732887 w 4610101"/>
              <a:gd name="connsiteY46" fmla="*/ 6307393 h 6557032"/>
              <a:gd name="connsiteX47" fmla="*/ 2479980 w 4610101"/>
              <a:gd name="connsiteY47" fmla="*/ 6287349 h 6557032"/>
              <a:gd name="connsiteX48" fmla="*/ 2496379 w 4610101"/>
              <a:gd name="connsiteY48" fmla="*/ 6301927 h 6557032"/>
              <a:gd name="connsiteX49" fmla="*/ 2489091 w 4610101"/>
              <a:gd name="connsiteY49" fmla="*/ 6354770 h 6557032"/>
              <a:gd name="connsiteX50" fmla="*/ 2467224 w 4610101"/>
              <a:gd name="connsiteY50" fmla="*/ 6360236 h 6557032"/>
              <a:gd name="connsiteX51" fmla="*/ 2443536 w 4610101"/>
              <a:gd name="connsiteY51" fmla="*/ 6338370 h 6557032"/>
              <a:gd name="connsiteX52" fmla="*/ 2443536 w 4610101"/>
              <a:gd name="connsiteY52" fmla="*/ 6316504 h 6557032"/>
              <a:gd name="connsiteX53" fmla="*/ 2479980 w 4610101"/>
              <a:gd name="connsiteY53" fmla="*/ 6287349 h 6557032"/>
              <a:gd name="connsiteX54" fmla="*/ 2654907 w 4610101"/>
              <a:gd name="connsiteY54" fmla="*/ 6254551 h 6557032"/>
              <a:gd name="connsiteX55" fmla="*/ 2669485 w 4610101"/>
              <a:gd name="connsiteY55" fmla="*/ 6270951 h 6557032"/>
              <a:gd name="connsiteX56" fmla="*/ 2654907 w 4610101"/>
              <a:gd name="connsiteY56" fmla="*/ 6280062 h 6557032"/>
              <a:gd name="connsiteX57" fmla="*/ 2895435 w 4610101"/>
              <a:gd name="connsiteY57" fmla="*/ 6250906 h 6557032"/>
              <a:gd name="connsiteX58" fmla="*/ 2919123 w 4610101"/>
              <a:gd name="connsiteY58" fmla="*/ 6254551 h 6557032"/>
              <a:gd name="connsiteX59" fmla="*/ 2919123 w 4610101"/>
              <a:gd name="connsiteY59" fmla="*/ 6292817 h 6557032"/>
              <a:gd name="connsiteX60" fmla="*/ 2897257 w 4610101"/>
              <a:gd name="connsiteY60" fmla="*/ 6323793 h 6557032"/>
              <a:gd name="connsiteX61" fmla="*/ 2866281 w 4610101"/>
              <a:gd name="connsiteY61" fmla="*/ 6309216 h 6557032"/>
              <a:gd name="connsiteX62" fmla="*/ 2873569 w 4610101"/>
              <a:gd name="connsiteY62" fmla="*/ 6294639 h 6557032"/>
              <a:gd name="connsiteX63" fmla="*/ 2866281 w 4610101"/>
              <a:gd name="connsiteY63" fmla="*/ 6287350 h 6557032"/>
              <a:gd name="connsiteX64" fmla="*/ 2873569 w 4610101"/>
              <a:gd name="connsiteY64" fmla="*/ 6270950 h 6557032"/>
              <a:gd name="connsiteX65" fmla="*/ 2864458 w 4610101"/>
              <a:gd name="connsiteY65" fmla="*/ 6256373 h 6557032"/>
              <a:gd name="connsiteX66" fmla="*/ 949353 w 4610101"/>
              <a:gd name="connsiteY66" fmla="*/ 6249084 h 6557032"/>
              <a:gd name="connsiteX67" fmla="*/ 965752 w 4610101"/>
              <a:gd name="connsiteY67" fmla="*/ 6249084 h 6557032"/>
              <a:gd name="connsiteX68" fmla="*/ 973041 w 4610101"/>
              <a:gd name="connsiteY68" fmla="*/ 6278239 h 6557032"/>
              <a:gd name="connsiteX69" fmla="*/ 985796 w 4610101"/>
              <a:gd name="connsiteY69" fmla="*/ 6287349 h 6557032"/>
              <a:gd name="connsiteX70" fmla="*/ 954819 w 4610101"/>
              <a:gd name="connsiteY70" fmla="*/ 6342015 h 6557032"/>
              <a:gd name="connsiteX71" fmla="*/ 918376 w 4610101"/>
              <a:gd name="connsiteY71" fmla="*/ 6309216 h 6557032"/>
              <a:gd name="connsiteX72" fmla="*/ 925666 w 4610101"/>
              <a:gd name="connsiteY72" fmla="*/ 6294639 h 6557032"/>
              <a:gd name="connsiteX73" fmla="*/ 911087 w 4610101"/>
              <a:gd name="connsiteY73" fmla="*/ 6294639 h 6557032"/>
              <a:gd name="connsiteX74" fmla="*/ 949353 w 4610101"/>
              <a:gd name="connsiteY74" fmla="*/ 6249084 h 6557032"/>
              <a:gd name="connsiteX75" fmla="*/ 1007663 w 4610101"/>
              <a:gd name="connsiteY75" fmla="*/ 6232685 h 6557032"/>
              <a:gd name="connsiteX76" fmla="*/ 1016774 w 4610101"/>
              <a:gd name="connsiteY76" fmla="*/ 6247263 h 6557032"/>
              <a:gd name="connsiteX77" fmla="*/ 1004018 w 4610101"/>
              <a:gd name="connsiteY77" fmla="*/ 6254552 h 6557032"/>
              <a:gd name="connsiteX78" fmla="*/ 993085 w 4610101"/>
              <a:gd name="connsiteY78" fmla="*/ 6247263 h 6557032"/>
              <a:gd name="connsiteX79" fmla="*/ 2057235 w 4610101"/>
              <a:gd name="connsiteY79" fmla="*/ 6232684 h 6557032"/>
              <a:gd name="connsiteX80" fmla="*/ 2088211 w 4610101"/>
              <a:gd name="connsiteY80" fmla="*/ 6239973 h 6557032"/>
              <a:gd name="connsiteX81" fmla="*/ 2084568 w 4610101"/>
              <a:gd name="connsiteY81" fmla="*/ 6254551 h 6557032"/>
              <a:gd name="connsiteX82" fmla="*/ 2088211 w 4610101"/>
              <a:gd name="connsiteY82" fmla="*/ 6278240 h 6557032"/>
              <a:gd name="connsiteX83" fmla="*/ 2111899 w 4610101"/>
              <a:gd name="connsiteY83" fmla="*/ 6314683 h 6557032"/>
              <a:gd name="connsiteX84" fmla="*/ 2124654 w 4610101"/>
              <a:gd name="connsiteY84" fmla="*/ 6323794 h 6557032"/>
              <a:gd name="connsiteX85" fmla="*/ 2131943 w 4610101"/>
              <a:gd name="connsiteY85" fmla="*/ 6343838 h 6557032"/>
              <a:gd name="connsiteX86" fmla="*/ 2128299 w 4610101"/>
              <a:gd name="connsiteY86" fmla="*/ 6365704 h 6557032"/>
              <a:gd name="connsiteX87" fmla="*/ 2122832 w 4610101"/>
              <a:gd name="connsiteY87" fmla="*/ 6387570 h 6557032"/>
              <a:gd name="connsiteX88" fmla="*/ 2110077 w 4610101"/>
              <a:gd name="connsiteY88" fmla="*/ 6403970 h 6557032"/>
              <a:gd name="connsiteX89" fmla="*/ 2088211 w 4610101"/>
              <a:gd name="connsiteY89" fmla="*/ 6403970 h 6557032"/>
              <a:gd name="connsiteX90" fmla="*/ 2066346 w 4610101"/>
              <a:gd name="connsiteY90" fmla="*/ 6365704 h 6557032"/>
              <a:gd name="connsiteX91" fmla="*/ 2066346 w 4610101"/>
              <a:gd name="connsiteY91" fmla="*/ 6358416 h 6557032"/>
              <a:gd name="connsiteX92" fmla="*/ 2073634 w 4610101"/>
              <a:gd name="connsiteY92" fmla="*/ 6343838 h 6557032"/>
              <a:gd name="connsiteX93" fmla="*/ 2066346 w 4610101"/>
              <a:gd name="connsiteY93" fmla="*/ 6329261 h 6557032"/>
              <a:gd name="connsiteX94" fmla="*/ 2088211 w 4610101"/>
              <a:gd name="connsiteY94" fmla="*/ 6307394 h 6557032"/>
              <a:gd name="connsiteX95" fmla="*/ 2080922 w 4610101"/>
              <a:gd name="connsiteY95" fmla="*/ 6285529 h 6557032"/>
              <a:gd name="connsiteX96" fmla="*/ 2059056 w 4610101"/>
              <a:gd name="connsiteY96" fmla="*/ 6292817 h 6557032"/>
              <a:gd name="connsiteX97" fmla="*/ 2049945 w 4610101"/>
              <a:gd name="connsiteY97" fmla="*/ 6278240 h 6557032"/>
              <a:gd name="connsiteX98" fmla="*/ 2057235 w 4610101"/>
              <a:gd name="connsiteY98" fmla="*/ 6232684 h 6557032"/>
              <a:gd name="connsiteX99" fmla="*/ 1213568 w 4610101"/>
              <a:gd name="connsiteY99" fmla="*/ 6232684 h 6557032"/>
              <a:gd name="connsiteX100" fmla="*/ 1259122 w 4610101"/>
              <a:gd name="connsiteY100" fmla="*/ 6278239 h 6557032"/>
              <a:gd name="connsiteX101" fmla="*/ 1259122 w 4610101"/>
              <a:gd name="connsiteY101" fmla="*/ 6292817 h 6557032"/>
              <a:gd name="connsiteX102" fmla="*/ 1246367 w 4610101"/>
              <a:gd name="connsiteY102" fmla="*/ 6316505 h 6557032"/>
              <a:gd name="connsiteX103" fmla="*/ 1239078 w 4610101"/>
              <a:gd name="connsiteY103" fmla="*/ 6345660 h 6557032"/>
              <a:gd name="connsiteX104" fmla="*/ 1275524 w 4610101"/>
              <a:gd name="connsiteY104" fmla="*/ 6378459 h 6557032"/>
              <a:gd name="connsiteX105" fmla="*/ 1268234 w 4610101"/>
              <a:gd name="connsiteY105" fmla="*/ 6391215 h 6557032"/>
              <a:gd name="connsiteX106" fmla="*/ 1280989 w 4610101"/>
              <a:gd name="connsiteY106" fmla="*/ 6407614 h 6557032"/>
              <a:gd name="connsiteX107" fmla="*/ 1266413 w 4610101"/>
              <a:gd name="connsiteY107" fmla="*/ 6424013 h 6557032"/>
              <a:gd name="connsiteX108" fmla="*/ 1275524 w 4610101"/>
              <a:gd name="connsiteY108" fmla="*/ 6438591 h 6557032"/>
              <a:gd name="connsiteX109" fmla="*/ 1268234 w 4610101"/>
              <a:gd name="connsiteY109" fmla="*/ 6453168 h 6557032"/>
              <a:gd name="connsiteX110" fmla="*/ 1275524 w 4610101"/>
              <a:gd name="connsiteY110" fmla="*/ 6475035 h 6557032"/>
              <a:gd name="connsiteX111" fmla="*/ 1253656 w 4610101"/>
              <a:gd name="connsiteY111" fmla="*/ 6475035 h 6557032"/>
              <a:gd name="connsiteX112" fmla="*/ 1253656 w 4610101"/>
              <a:gd name="connsiteY112" fmla="*/ 6460457 h 6557032"/>
              <a:gd name="connsiteX113" fmla="*/ 1248189 w 4610101"/>
              <a:gd name="connsiteY113" fmla="*/ 6454991 h 6557032"/>
              <a:gd name="connsiteX114" fmla="*/ 1239078 w 4610101"/>
              <a:gd name="connsiteY114" fmla="*/ 6460457 h 6557032"/>
              <a:gd name="connsiteX115" fmla="*/ 1239078 w 4610101"/>
              <a:gd name="connsiteY115" fmla="*/ 6445880 h 6557032"/>
              <a:gd name="connsiteX116" fmla="*/ 1208101 w 4610101"/>
              <a:gd name="connsiteY116" fmla="*/ 6445880 h 6557032"/>
              <a:gd name="connsiteX117" fmla="*/ 1215390 w 4610101"/>
              <a:gd name="connsiteY117" fmla="*/ 6431303 h 6557032"/>
              <a:gd name="connsiteX118" fmla="*/ 1208101 w 4610101"/>
              <a:gd name="connsiteY118" fmla="*/ 6416725 h 6557032"/>
              <a:gd name="connsiteX119" fmla="*/ 1208101 w 4610101"/>
              <a:gd name="connsiteY119" fmla="*/ 6378459 h 6557032"/>
              <a:gd name="connsiteX120" fmla="*/ 1229967 w 4610101"/>
              <a:gd name="connsiteY120" fmla="*/ 6340194 h 6557032"/>
              <a:gd name="connsiteX121" fmla="*/ 1182592 w 4610101"/>
              <a:gd name="connsiteY121" fmla="*/ 6369348 h 6557032"/>
              <a:gd name="connsiteX122" fmla="*/ 1198990 w 4610101"/>
              <a:gd name="connsiteY122" fmla="*/ 6325616 h 6557032"/>
              <a:gd name="connsiteX123" fmla="*/ 1177124 w 4610101"/>
              <a:gd name="connsiteY123" fmla="*/ 6309217 h 6557032"/>
              <a:gd name="connsiteX124" fmla="*/ 1177124 w 4610101"/>
              <a:gd name="connsiteY124" fmla="*/ 6287350 h 6557032"/>
              <a:gd name="connsiteX125" fmla="*/ 1191703 w 4610101"/>
              <a:gd name="connsiteY125" fmla="*/ 6278239 h 6557032"/>
              <a:gd name="connsiteX126" fmla="*/ 1182592 w 4610101"/>
              <a:gd name="connsiteY126" fmla="*/ 6263661 h 6557032"/>
              <a:gd name="connsiteX127" fmla="*/ 2261319 w 4610101"/>
              <a:gd name="connsiteY127" fmla="*/ 6225395 h 6557032"/>
              <a:gd name="connsiteX128" fmla="*/ 2285007 w 4610101"/>
              <a:gd name="connsiteY128" fmla="*/ 6234506 h 6557032"/>
              <a:gd name="connsiteX129" fmla="*/ 2299585 w 4610101"/>
              <a:gd name="connsiteY129" fmla="*/ 6227218 h 6557032"/>
              <a:gd name="connsiteX130" fmla="*/ 2306873 w 4610101"/>
              <a:gd name="connsiteY130" fmla="*/ 6265484 h 6557032"/>
              <a:gd name="connsiteX131" fmla="*/ 2306873 w 4610101"/>
              <a:gd name="connsiteY131" fmla="*/ 6280061 h 6557032"/>
              <a:gd name="connsiteX132" fmla="*/ 2290474 w 4610101"/>
              <a:gd name="connsiteY132" fmla="*/ 6318327 h 6557032"/>
              <a:gd name="connsiteX133" fmla="*/ 2268608 w 4610101"/>
              <a:gd name="connsiteY133" fmla="*/ 6301928 h 6557032"/>
              <a:gd name="connsiteX134" fmla="*/ 2268608 w 4610101"/>
              <a:gd name="connsiteY134" fmla="*/ 6323793 h 6557032"/>
              <a:gd name="connsiteX135" fmla="*/ 2261319 w 4610101"/>
              <a:gd name="connsiteY135" fmla="*/ 6301928 h 6557032"/>
              <a:gd name="connsiteX136" fmla="*/ 2254030 w 4610101"/>
              <a:gd name="connsiteY136" fmla="*/ 6287350 h 6557032"/>
              <a:gd name="connsiteX137" fmla="*/ 2254030 w 4610101"/>
              <a:gd name="connsiteY137" fmla="*/ 6249085 h 6557032"/>
              <a:gd name="connsiteX138" fmla="*/ 1833107 w 4610101"/>
              <a:gd name="connsiteY138" fmla="*/ 6174375 h 6557032"/>
              <a:gd name="connsiteX139" fmla="*/ 1854975 w 4610101"/>
              <a:gd name="connsiteY139" fmla="*/ 6181664 h 6557032"/>
              <a:gd name="connsiteX140" fmla="*/ 1864084 w 4610101"/>
              <a:gd name="connsiteY140" fmla="*/ 6196241 h 6557032"/>
              <a:gd name="connsiteX141" fmla="*/ 1856796 w 4610101"/>
              <a:gd name="connsiteY141" fmla="*/ 6208996 h 6557032"/>
              <a:gd name="connsiteX142" fmla="*/ 1871374 w 4610101"/>
              <a:gd name="connsiteY142" fmla="*/ 6227218 h 6557032"/>
              <a:gd name="connsiteX143" fmla="*/ 1851329 w 4610101"/>
              <a:gd name="connsiteY143" fmla="*/ 6241795 h 6557032"/>
              <a:gd name="connsiteX144" fmla="*/ 1825820 w 4610101"/>
              <a:gd name="connsiteY144" fmla="*/ 6219930 h 6557032"/>
              <a:gd name="connsiteX145" fmla="*/ 1833107 w 4610101"/>
              <a:gd name="connsiteY145" fmla="*/ 6205352 h 6557032"/>
              <a:gd name="connsiteX146" fmla="*/ 1833107 w 4610101"/>
              <a:gd name="connsiteY146" fmla="*/ 6174375 h 6557032"/>
              <a:gd name="connsiteX147" fmla="*/ 2955567 w 4610101"/>
              <a:gd name="connsiteY147" fmla="*/ 6150686 h 6557032"/>
              <a:gd name="connsiteX148" fmla="*/ 2977433 w 4610101"/>
              <a:gd name="connsiteY148" fmla="*/ 6152509 h 6557032"/>
              <a:gd name="connsiteX149" fmla="*/ 2993832 w 4610101"/>
              <a:gd name="connsiteY149" fmla="*/ 6165264 h 6557032"/>
              <a:gd name="connsiteX150" fmla="*/ 2993832 w 4610101"/>
              <a:gd name="connsiteY150" fmla="*/ 6203530 h 6557032"/>
              <a:gd name="connsiteX151" fmla="*/ 2971966 w 4610101"/>
              <a:gd name="connsiteY151" fmla="*/ 6225395 h 6557032"/>
              <a:gd name="connsiteX152" fmla="*/ 2940989 w 4610101"/>
              <a:gd name="connsiteY152" fmla="*/ 6203530 h 6557032"/>
              <a:gd name="connsiteX153" fmla="*/ 2940989 w 4610101"/>
              <a:gd name="connsiteY153" fmla="*/ 6165264 h 6557032"/>
              <a:gd name="connsiteX154" fmla="*/ 2352428 w 4610101"/>
              <a:gd name="connsiteY154" fmla="*/ 6143399 h 6557032"/>
              <a:gd name="connsiteX155" fmla="*/ 2357894 w 4610101"/>
              <a:gd name="connsiteY155" fmla="*/ 6156155 h 6557032"/>
              <a:gd name="connsiteX156" fmla="*/ 2350606 w 4610101"/>
              <a:gd name="connsiteY156" fmla="*/ 6167088 h 6557032"/>
              <a:gd name="connsiteX157" fmla="*/ 2336028 w 4610101"/>
              <a:gd name="connsiteY157" fmla="*/ 6152510 h 6557032"/>
              <a:gd name="connsiteX158" fmla="*/ 2674952 w 4610101"/>
              <a:gd name="connsiteY158" fmla="*/ 6136109 h 6557032"/>
              <a:gd name="connsiteX159" fmla="*/ 2698640 w 4610101"/>
              <a:gd name="connsiteY159" fmla="*/ 6163443 h 6557032"/>
              <a:gd name="connsiteX160" fmla="*/ 2689529 w 4610101"/>
              <a:gd name="connsiteY160" fmla="*/ 6178020 h 6557032"/>
              <a:gd name="connsiteX161" fmla="*/ 2698640 w 4610101"/>
              <a:gd name="connsiteY161" fmla="*/ 6192598 h 6557032"/>
              <a:gd name="connsiteX162" fmla="*/ 2689529 w 4610101"/>
              <a:gd name="connsiteY162" fmla="*/ 6218108 h 6557032"/>
              <a:gd name="connsiteX163" fmla="*/ 2658552 w 4610101"/>
              <a:gd name="connsiteY163" fmla="*/ 6208997 h 6557032"/>
              <a:gd name="connsiteX164" fmla="*/ 2653085 w 4610101"/>
              <a:gd name="connsiteY164" fmla="*/ 6239974 h 6557032"/>
              <a:gd name="connsiteX165" fmla="*/ 2645797 w 4610101"/>
              <a:gd name="connsiteY165" fmla="*/ 6201709 h 6557032"/>
              <a:gd name="connsiteX166" fmla="*/ 2645797 w 4610101"/>
              <a:gd name="connsiteY166" fmla="*/ 6179842 h 6557032"/>
              <a:gd name="connsiteX167" fmla="*/ 2645797 w 4610101"/>
              <a:gd name="connsiteY167" fmla="*/ 6172554 h 6557032"/>
              <a:gd name="connsiteX168" fmla="*/ 2674952 w 4610101"/>
              <a:gd name="connsiteY168" fmla="*/ 6136109 h 6557032"/>
              <a:gd name="connsiteX169" fmla="*/ 1619913 w 4610101"/>
              <a:gd name="connsiteY169" fmla="*/ 6103311 h 6557032"/>
              <a:gd name="connsiteX170" fmla="*/ 1627202 w 4610101"/>
              <a:gd name="connsiteY170" fmla="*/ 6119711 h 6557032"/>
              <a:gd name="connsiteX171" fmla="*/ 1619913 w 4610101"/>
              <a:gd name="connsiteY171" fmla="*/ 6128822 h 6557032"/>
              <a:gd name="connsiteX172" fmla="*/ 1603513 w 4610101"/>
              <a:gd name="connsiteY172" fmla="*/ 6119711 h 6557032"/>
              <a:gd name="connsiteX173" fmla="*/ 721581 w 4610101"/>
              <a:gd name="connsiteY173" fmla="*/ 6096021 h 6557032"/>
              <a:gd name="connsiteX174" fmla="*/ 730691 w 4610101"/>
              <a:gd name="connsiteY174" fmla="*/ 6112421 h 6557032"/>
              <a:gd name="connsiteX175" fmla="*/ 707003 w 4610101"/>
              <a:gd name="connsiteY175" fmla="*/ 6110599 h 6557032"/>
              <a:gd name="connsiteX176" fmla="*/ 920198 w 4610101"/>
              <a:gd name="connsiteY176" fmla="*/ 6068688 h 6557032"/>
              <a:gd name="connsiteX177" fmla="*/ 942064 w 4610101"/>
              <a:gd name="connsiteY177" fmla="*/ 6106954 h 6557032"/>
              <a:gd name="connsiteX178" fmla="*/ 942064 w 4610101"/>
              <a:gd name="connsiteY178" fmla="*/ 6128820 h 6557032"/>
              <a:gd name="connsiteX179" fmla="*/ 943886 w 4610101"/>
              <a:gd name="connsiteY179" fmla="*/ 6145220 h 6557032"/>
              <a:gd name="connsiteX180" fmla="*/ 905621 w 4610101"/>
              <a:gd name="connsiteY180" fmla="*/ 6159797 h 6557032"/>
              <a:gd name="connsiteX181" fmla="*/ 883755 w 4610101"/>
              <a:gd name="connsiteY181" fmla="*/ 6145220 h 6557032"/>
              <a:gd name="connsiteX182" fmla="*/ 869177 w 4610101"/>
              <a:gd name="connsiteY182" fmla="*/ 6114243 h 6557032"/>
              <a:gd name="connsiteX183" fmla="*/ 891043 w 4610101"/>
              <a:gd name="connsiteY183" fmla="*/ 6099665 h 6557032"/>
              <a:gd name="connsiteX184" fmla="*/ 891043 w 4610101"/>
              <a:gd name="connsiteY184" fmla="*/ 6077799 h 6557032"/>
              <a:gd name="connsiteX185" fmla="*/ 1073262 w 4610101"/>
              <a:gd name="connsiteY185" fmla="*/ 6066868 h 6557032"/>
              <a:gd name="connsiteX186" fmla="*/ 1058683 w 4610101"/>
              <a:gd name="connsiteY186" fmla="*/ 6097845 h 6557032"/>
              <a:gd name="connsiteX187" fmla="*/ 1049572 w 4610101"/>
              <a:gd name="connsiteY187" fmla="*/ 6117889 h 6557032"/>
              <a:gd name="connsiteX188" fmla="*/ 1040461 w 4610101"/>
              <a:gd name="connsiteY188" fmla="*/ 6112423 h 6557032"/>
              <a:gd name="connsiteX189" fmla="*/ 1073262 w 4610101"/>
              <a:gd name="connsiteY189" fmla="*/ 6066868 h 6557032"/>
              <a:gd name="connsiteX190" fmla="*/ 1184414 w 4610101"/>
              <a:gd name="connsiteY190" fmla="*/ 6046823 h 6557032"/>
              <a:gd name="connsiteX191" fmla="*/ 1198991 w 4610101"/>
              <a:gd name="connsiteY191" fmla="*/ 6068690 h 6557032"/>
              <a:gd name="connsiteX192" fmla="*/ 1198991 w 4610101"/>
              <a:gd name="connsiteY192" fmla="*/ 6092379 h 6557032"/>
              <a:gd name="connsiteX193" fmla="*/ 1189880 w 4610101"/>
              <a:gd name="connsiteY193" fmla="*/ 6106956 h 6557032"/>
              <a:gd name="connsiteX194" fmla="*/ 1198991 w 4610101"/>
              <a:gd name="connsiteY194" fmla="*/ 6137933 h 6557032"/>
              <a:gd name="connsiteX195" fmla="*/ 1182592 w 4610101"/>
              <a:gd name="connsiteY195" fmla="*/ 6159799 h 6557032"/>
              <a:gd name="connsiteX196" fmla="*/ 1162547 w 4610101"/>
              <a:gd name="connsiteY196" fmla="*/ 6145221 h 6557032"/>
              <a:gd name="connsiteX197" fmla="*/ 1169835 w 4610101"/>
              <a:gd name="connsiteY197" fmla="*/ 6114244 h 6557032"/>
              <a:gd name="connsiteX198" fmla="*/ 1146148 w 4610101"/>
              <a:gd name="connsiteY198" fmla="*/ 6114244 h 6557032"/>
              <a:gd name="connsiteX199" fmla="*/ 1151614 w 4610101"/>
              <a:gd name="connsiteY199" fmla="*/ 6101489 h 6557032"/>
              <a:gd name="connsiteX200" fmla="*/ 1146148 w 4610101"/>
              <a:gd name="connsiteY200" fmla="*/ 6085090 h 6557032"/>
              <a:gd name="connsiteX201" fmla="*/ 2835303 w 4610101"/>
              <a:gd name="connsiteY201" fmla="*/ 6045000 h 6557032"/>
              <a:gd name="connsiteX202" fmla="*/ 2858991 w 4610101"/>
              <a:gd name="connsiteY202" fmla="*/ 6046823 h 6557032"/>
              <a:gd name="connsiteX203" fmla="*/ 2842592 w 4610101"/>
              <a:gd name="connsiteY203" fmla="*/ 6059577 h 6557032"/>
              <a:gd name="connsiteX204" fmla="*/ 1749287 w 4610101"/>
              <a:gd name="connsiteY204" fmla="*/ 6045000 h 6557032"/>
              <a:gd name="connsiteX205" fmla="*/ 1772975 w 4610101"/>
              <a:gd name="connsiteY205" fmla="*/ 6045000 h 6557032"/>
              <a:gd name="connsiteX206" fmla="*/ 1785730 w 4610101"/>
              <a:gd name="connsiteY206" fmla="*/ 6046823 h 6557032"/>
              <a:gd name="connsiteX207" fmla="*/ 1800308 w 4610101"/>
              <a:gd name="connsiteY207" fmla="*/ 6059578 h 6557032"/>
              <a:gd name="connsiteX208" fmla="*/ 1800308 w 4610101"/>
              <a:gd name="connsiteY208" fmla="*/ 6097844 h 6557032"/>
              <a:gd name="connsiteX209" fmla="*/ 1778442 w 4610101"/>
              <a:gd name="connsiteY209" fmla="*/ 6128821 h 6557032"/>
              <a:gd name="connsiteX210" fmla="*/ 1771154 w 4610101"/>
              <a:gd name="connsiteY210" fmla="*/ 6150687 h 6557032"/>
              <a:gd name="connsiteX211" fmla="*/ 1771154 w 4610101"/>
              <a:gd name="connsiteY211" fmla="*/ 6128821 h 6557032"/>
              <a:gd name="connsiteX212" fmla="*/ 1741998 w 4610101"/>
              <a:gd name="connsiteY212" fmla="*/ 6119710 h 6557032"/>
              <a:gd name="connsiteX213" fmla="*/ 1741998 w 4610101"/>
              <a:gd name="connsiteY213" fmla="*/ 6105133 h 6557032"/>
              <a:gd name="connsiteX214" fmla="*/ 1741998 w 4610101"/>
              <a:gd name="connsiteY214" fmla="*/ 6083267 h 6557032"/>
              <a:gd name="connsiteX215" fmla="*/ 1758398 w 4610101"/>
              <a:gd name="connsiteY215" fmla="*/ 6059578 h 6557032"/>
              <a:gd name="connsiteX216" fmla="*/ 2638508 w 4610101"/>
              <a:gd name="connsiteY216" fmla="*/ 6030424 h 6557032"/>
              <a:gd name="connsiteX217" fmla="*/ 2653086 w 4610101"/>
              <a:gd name="connsiteY217" fmla="*/ 6052290 h 6557032"/>
              <a:gd name="connsiteX218" fmla="*/ 2638508 w 4610101"/>
              <a:gd name="connsiteY218" fmla="*/ 6052290 h 6557032"/>
              <a:gd name="connsiteX219" fmla="*/ 827267 w 4610101"/>
              <a:gd name="connsiteY219" fmla="*/ 6023135 h 6557032"/>
              <a:gd name="connsiteX220" fmla="*/ 836378 w 4610101"/>
              <a:gd name="connsiteY220" fmla="*/ 6030424 h 6557032"/>
              <a:gd name="connsiteX221" fmla="*/ 827267 w 4610101"/>
              <a:gd name="connsiteY221" fmla="*/ 6052290 h 6557032"/>
              <a:gd name="connsiteX222" fmla="*/ 803578 w 4610101"/>
              <a:gd name="connsiteY222" fmla="*/ 6043179 h 6557032"/>
              <a:gd name="connsiteX223" fmla="*/ 2328738 w 4610101"/>
              <a:gd name="connsiteY223" fmla="*/ 6023134 h 6557032"/>
              <a:gd name="connsiteX224" fmla="*/ 2343316 w 4610101"/>
              <a:gd name="connsiteY224" fmla="*/ 6030423 h 6557032"/>
              <a:gd name="connsiteX225" fmla="*/ 2365182 w 4610101"/>
              <a:gd name="connsiteY225" fmla="*/ 6024957 h 6557032"/>
              <a:gd name="connsiteX226" fmla="*/ 2388870 w 4610101"/>
              <a:gd name="connsiteY226" fmla="*/ 6046824 h 6557032"/>
              <a:gd name="connsiteX227" fmla="*/ 2388870 w 4610101"/>
              <a:gd name="connsiteY227" fmla="*/ 6085090 h 6557032"/>
              <a:gd name="connsiteX228" fmla="*/ 2379759 w 4610101"/>
              <a:gd name="connsiteY228" fmla="*/ 6106955 h 6557032"/>
              <a:gd name="connsiteX229" fmla="*/ 2367004 w 4610101"/>
              <a:gd name="connsiteY229" fmla="*/ 6121533 h 6557032"/>
              <a:gd name="connsiteX230" fmla="*/ 2336027 w 4610101"/>
              <a:gd name="connsiteY230" fmla="*/ 6116066 h 6557032"/>
              <a:gd name="connsiteX231" fmla="*/ 2336027 w 4610101"/>
              <a:gd name="connsiteY231" fmla="*/ 6092378 h 6557032"/>
              <a:gd name="connsiteX232" fmla="*/ 2321449 w 4610101"/>
              <a:gd name="connsiteY232" fmla="*/ 6099667 h 6557032"/>
              <a:gd name="connsiteX233" fmla="*/ 2299583 w 4610101"/>
              <a:gd name="connsiteY233" fmla="*/ 6061401 h 6557032"/>
              <a:gd name="connsiteX234" fmla="*/ 2306872 w 4610101"/>
              <a:gd name="connsiteY234" fmla="*/ 6032245 h 6557032"/>
              <a:gd name="connsiteX235" fmla="*/ 2124655 w 4610101"/>
              <a:gd name="connsiteY235" fmla="*/ 5990336 h 6557032"/>
              <a:gd name="connsiteX236" fmla="*/ 2126477 w 4610101"/>
              <a:gd name="connsiteY236" fmla="*/ 6015847 h 6557032"/>
              <a:gd name="connsiteX237" fmla="*/ 2110077 w 4610101"/>
              <a:gd name="connsiteY237" fmla="*/ 6006736 h 6557032"/>
              <a:gd name="connsiteX238" fmla="*/ 1552492 w 4610101"/>
              <a:gd name="connsiteY238" fmla="*/ 5963002 h 6557032"/>
              <a:gd name="connsiteX239" fmla="*/ 1576181 w 4610101"/>
              <a:gd name="connsiteY239" fmla="*/ 5984870 h 6557032"/>
              <a:gd name="connsiteX240" fmla="*/ 1568892 w 4610101"/>
              <a:gd name="connsiteY240" fmla="*/ 6014024 h 6557032"/>
              <a:gd name="connsiteX241" fmla="*/ 1583469 w 4610101"/>
              <a:gd name="connsiteY241" fmla="*/ 6026779 h 6557032"/>
              <a:gd name="connsiteX242" fmla="*/ 1541559 w 4610101"/>
              <a:gd name="connsiteY242" fmla="*/ 6065045 h 6557032"/>
              <a:gd name="connsiteX243" fmla="*/ 1516049 w 4610101"/>
              <a:gd name="connsiteY243" fmla="*/ 6043179 h 6557032"/>
              <a:gd name="connsiteX244" fmla="*/ 1523339 w 4610101"/>
              <a:gd name="connsiteY244" fmla="*/ 6028602 h 6557032"/>
              <a:gd name="connsiteX245" fmla="*/ 1508760 w 4610101"/>
              <a:gd name="connsiteY245" fmla="*/ 6021313 h 6557032"/>
              <a:gd name="connsiteX246" fmla="*/ 1512405 w 4610101"/>
              <a:gd name="connsiteY246" fmla="*/ 5999447 h 6557032"/>
              <a:gd name="connsiteX247" fmla="*/ 1525160 w 4610101"/>
              <a:gd name="connsiteY247" fmla="*/ 5970291 h 6557032"/>
              <a:gd name="connsiteX248" fmla="*/ 1876839 w 4610101"/>
              <a:gd name="connsiteY248" fmla="*/ 5955714 h 6557032"/>
              <a:gd name="connsiteX249" fmla="*/ 1907816 w 4610101"/>
              <a:gd name="connsiteY249" fmla="*/ 5970292 h 6557032"/>
              <a:gd name="connsiteX250" fmla="*/ 1909639 w 4610101"/>
              <a:gd name="connsiteY250" fmla="*/ 5990336 h 6557032"/>
              <a:gd name="connsiteX251" fmla="*/ 1931505 w 4610101"/>
              <a:gd name="connsiteY251" fmla="*/ 6015847 h 6557032"/>
              <a:gd name="connsiteX252" fmla="*/ 1909639 w 4610101"/>
              <a:gd name="connsiteY252" fmla="*/ 6023135 h 6557032"/>
              <a:gd name="connsiteX253" fmla="*/ 1878662 w 4610101"/>
              <a:gd name="connsiteY253" fmla="*/ 6054112 h 6557032"/>
              <a:gd name="connsiteX254" fmla="*/ 1878662 w 4610101"/>
              <a:gd name="connsiteY254" fmla="*/ 6039535 h 6557032"/>
              <a:gd name="connsiteX255" fmla="*/ 1854973 w 4610101"/>
              <a:gd name="connsiteY255" fmla="*/ 6039535 h 6557032"/>
              <a:gd name="connsiteX256" fmla="*/ 1862262 w 4610101"/>
              <a:gd name="connsiteY256" fmla="*/ 6024958 h 6557032"/>
              <a:gd name="connsiteX257" fmla="*/ 1862262 w 4610101"/>
              <a:gd name="connsiteY257" fmla="*/ 5986692 h 6557032"/>
              <a:gd name="connsiteX258" fmla="*/ 1853151 w 4610101"/>
              <a:gd name="connsiteY258" fmla="*/ 5972115 h 6557032"/>
              <a:gd name="connsiteX259" fmla="*/ 1876839 w 4610101"/>
              <a:gd name="connsiteY259" fmla="*/ 5955714 h 6557032"/>
              <a:gd name="connsiteX260" fmla="*/ 2172033 w 4610101"/>
              <a:gd name="connsiteY260" fmla="*/ 5946604 h 6557032"/>
              <a:gd name="connsiteX261" fmla="*/ 2179321 w 4610101"/>
              <a:gd name="connsiteY261" fmla="*/ 5977581 h 6557032"/>
              <a:gd name="connsiteX262" fmla="*/ 2157455 w 4610101"/>
              <a:gd name="connsiteY262" fmla="*/ 5977581 h 6557032"/>
              <a:gd name="connsiteX263" fmla="*/ 2159277 w 4610101"/>
              <a:gd name="connsiteY263" fmla="*/ 5959359 h 6557032"/>
              <a:gd name="connsiteX264" fmla="*/ 2172033 w 4610101"/>
              <a:gd name="connsiteY264" fmla="*/ 5946604 h 6557032"/>
              <a:gd name="connsiteX265" fmla="*/ 858244 w 4610101"/>
              <a:gd name="connsiteY265" fmla="*/ 5930204 h 6557032"/>
              <a:gd name="connsiteX266" fmla="*/ 858244 w 4610101"/>
              <a:gd name="connsiteY266" fmla="*/ 5946604 h 6557032"/>
              <a:gd name="connsiteX267" fmla="*/ 841844 w 4610101"/>
              <a:gd name="connsiteY267" fmla="*/ 5944781 h 6557032"/>
              <a:gd name="connsiteX268" fmla="*/ 1115170 w 4610101"/>
              <a:gd name="connsiteY268" fmla="*/ 5908337 h 6557032"/>
              <a:gd name="connsiteX269" fmla="*/ 1155259 w 4610101"/>
              <a:gd name="connsiteY269" fmla="*/ 5924738 h 6557032"/>
              <a:gd name="connsiteX270" fmla="*/ 1146148 w 4610101"/>
              <a:gd name="connsiteY270" fmla="*/ 5953893 h 6557032"/>
              <a:gd name="connsiteX271" fmla="*/ 1160725 w 4610101"/>
              <a:gd name="connsiteY271" fmla="*/ 5953893 h 6557032"/>
              <a:gd name="connsiteX272" fmla="*/ 1144325 w 4610101"/>
              <a:gd name="connsiteY272" fmla="*/ 5977581 h 6557032"/>
              <a:gd name="connsiteX273" fmla="*/ 1149791 w 4610101"/>
              <a:gd name="connsiteY273" fmla="*/ 5988514 h 6557032"/>
              <a:gd name="connsiteX274" fmla="*/ 1142503 w 4610101"/>
              <a:gd name="connsiteY274" fmla="*/ 6006735 h 6557032"/>
              <a:gd name="connsiteX275" fmla="*/ 1137037 w 4610101"/>
              <a:gd name="connsiteY275" fmla="*/ 5988514 h 6557032"/>
              <a:gd name="connsiteX276" fmla="*/ 1116992 w 4610101"/>
              <a:gd name="connsiteY276" fmla="*/ 6012202 h 6557032"/>
              <a:gd name="connsiteX277" fmla="*/ 1084193 w 4610101"/>
              <a:gd name="connsiteY277" fmla="*/ 6004913 h 6557032"/>
              <a:gd name="connsiteX278" fmla="*/ 1093304 w 4610101"/>
              <a:gd name="connsiteY278" fmla="*/ 5975759 h 6557032"/>
              <a:gd name="connsiteX279" fmla="*/ 1086015 w 4610101"/>
              <a:gd name="connsiteY279" fmla="*/ 5968470 h 6557032"/>
              <a:gd name="connsiteX280" fmla="*/ 1091482 w 4610101"/>
              <a:gd name="connsiteY280" fmla="*/ 5953893 h 6557032"/>
              <a:gd name="connsiteX281" fmla="*/ 1084193 w 4610101"/>
              <a:gd name="connsiteY281" fmla="*/ 5924738 h 6557032"/>
              <a:gd name="connsiteX282" fmla="*/ 1115170 w 4610101"/>
              <a:gd name="connsiteY282" fmla="*/ 5908337 h 6557032"/>
              <a:gd name="connsiteX283" fmla="*/ 2707752 w 4610101"/>
              <a:gd name="connsiteY283" fmla="*/ 5893761 h 6557032"/>
              <a:gd name="connsiteX284" fmla="*/ 2705930 w 4610101"/>
              <a:gd name="connsiteY284" fmla="*/ 5919272 h 6557032"/>
              <a:gd name="connsiteX285" fmla="*/ 2682241 w 4610101"/>
              <a:gd name="connsiteY285" fmla="*/ 5895583 h 6557032"/>
              <a:gd name="connsiteX286" fmla="*/ 1328364 w 4610101"/>
              <a:gd name="connsiteY286" fmla="*/ 5891939 h 6557032"/>
              <a:gd name="connsiteX287" fmla="*/ 1341120 w 4610101"/>
              <a:gd name="connsiteY287" fmla="*/ 5908339 h 6557032"/>
              <a:gd name="connsiteX288" fmla="*/ 1326542 w 4610101"/>
              <a:gd name="connsiteY288" fmla="*/ 5917450 h 6557032"/>
              <a:gd name="connsiteX289" fmla="*/ 963930 w 4610101"/>
              <a:gd name="connsiteY289" fmla="*/ 5890116 h 6557032"/>
              <a:gd name="connsiteX290" fmla="*/ 978507 w 4610101"/>
              <a:gd name="connsiteY290" fmla="*/ 5895583 h 6557032"/>
              <a:gd name="connsiteX291" fmla="*/ 994906 w 4610101"/>
              <a:gd name="connsiteY291" fmla="*/ 5941137 h 6557032"/>
              <a:gd name="connsiteX292" fmla="*/ 956641 w 4610101"/>
              <a:gd name="connsiteY292" fmla="*/ 5963003 h 6557032"/>
              <a:gd name="connsiteX293" fmla="*/ 949352 w 4610101"/>
              <a:gd name="connsiteY293" fmla="*/ 5963003 h 6557032"/>
              <a:gd name="connsiteX294" fmla="*/ 918375 w 4610101"/>
              <a:gd name="connsiteY294" fmla="*/ 5946604 h 6557032"/>
              <a:gd name="connsiteX295" fmla="*/ 918375 w 4610101"/>
              <a:gd name="connsiteY295" fmla="*/ 5908338 h 6557032"/>
              <a:gd name="connsiteX296" fmla="*/ 934775 w 4610101"/>
              <a:gd name="connsiteY296" fmla="*/ 5895583 h 6557032"/>
              <a:gd name="connsiteX297" fmla="*/ 1297388 w 4610101"/>
              <a:gd name="connsiteY297" fmla="*/ 5864606 h 6557032"/>
              <a:gd name="connsiteX298" fmla="*/ 1319254 w 4610101"/>
              <a:gd name="connsiteY298" fmla="*/ 5864606 h 6557032"/>
              <a:gd name="connsiteX299" fmla="*/ 1319254 w 4610101"/>
              <a:gd name="connsiteY299" fmla="*/ 5886472 h 6557032"/>
              <a:gd name="connsiteX300" fmla="*/ 1304677 w 4610101"/>
              <a:gd name="connsiteY300" fmla="*/ 5886472 h 6557032"/>
              <a:gd name="connsiteX301" fmla="*/ 2305051 w 4610101"/>
              <a:gd name="connsiteY301" fmla="*/ 5855495 h 6557032"/>
              <a:gd name="connsiteX302" fmla="*/ 2321451 w 4610101"/>
              <a:gd name="connsiteY302" fmla="*/ 5877361 h 6557032"/>
              <a:gd name="connsiteX303" fmla="*/ 2294118 w 4610101"/>
              <a:gd name="connsiteY303" fmla="*/ 5884650 h 6557032"/>
              <a:gd name="connsiteX304" fmla="*/ 2283185 w 4610101"/>
              <a:gd name="connsiteY304" fmla="*/ 5877361 h 6557032"/>
              <a:gd name="connsiteX305" fmla="*/ 2795214 w 4610101"/>
              <a:gd name="connsiteY305" fmla="*/ 5848207 h 6557032"/>
              <a:gd name="connsiteX306" fmla="*/ 2797037 w 4610101"/>
              <a:gd name="connsiteY306" fmla="*/ 5871895 h 6557032"/>
              <a:gd name="connsiteX307" fmla="*/ 2780637 w 4610101"/>
              <a:gd name="connsiteY307" fmla="*/ 5862784 h 6557032"/>
              <a:gd name="connsiteX308" fmla="*/ 2080923 w 4610101"/>
              <a:gd name="connsiteY308" fmla="*/ 5848207 h 6557032"/>
              <a:gd name="connsiteX309" fmla="*/ 2102790 w 4610101"/>
              <a:gd name="connsiteY309" fmla="*/ 5848207 h 6557032"/>
              <a:gd name="connsiteX310" fmla="*/ 2095501 w 4610101"/>
              <a:gd name="connsiteY310" fmla="*/ 5879184 h 6557032"/>
              <a:gd name="connsiteX311" fmla="*/ 2080923 w 4610101"/>
              <a:gd name="connsiteY311" fmla="*/ 5848207 h 6557032"/>
              <a:gd name="connsiteX312" fmla="*/ 2518244 w 4610101"/>
              <a:gd name="connsiteY312" fmla="*/ 5848206 h 6557032"/>
              <a:gd name="connsiteX313" fmla="*/ 2541933 w 4610101"/>
              <a:gd name="connsiteY313" fmla="*/ 5848206 h 6557032"/>
              <a:gd name="connsiteX314" fmla="*/ 2554688 w 4610101"/>
              <a:gd name="connsiteY314" fmla="*/ 5850028 h 6557032"/>
              <a:gd name="connsiteX315" fmla="*/ 2571088 w 4610101"/>
              <a:gd name="connsiteY315" fmla="*/ 5862783 h 6557032"/>
              <a:gd name="connsiteX316" fmla="*/ 2571088 w 4610101"/>
              <a:gd name="connsiteY316" fmla="*/ 5884650 h 6557032"/>
              <a:gd name="connsiteX317" fmla="*/ 2549221 w 4610101"/>
              <a:gd name="connsiteY317" fmla="*/ 5937493 h 6557032"/>
              <a:gd name="connsiteX318" fmla="*/ 2527355 w 4610101"/>
              <a:gd name="connsiteY318" fmla="*/ 5930204 h 6557032"/>
              <a:gd name="connsiteX319" fmla="*/ 2505489 w 4610101"/>
              <a:gd name="connsiteY319" fmla="*/ 5901049 h 6557032"/>
              <a:gd name="connsiteX320" fmla="*/ 2512778 w 4610101"/>
              <a:gd name="connsiteY320" fmla="*/ 5871894 h 6557032"/>
              <a:gd name="connsiteX321" fmla="*/ 2527355 w 4610101"/>
              <a:gd name="connsiteY321" fmla="*/ 5862783 h 6557032"/>
              <a:gd name="connsiteX322" fmla="*/ 2760595 w 4610101"/>
              <a:gd name="connsiteY322" fmla="*/ 5824518 h 6557032"/>
              <a:gd name="connsiteX323" fmla="*/ 2766061 w 4610101"/>
              <a:gd name="connsiteY323" fmla="*/ 5855495 h 6557032"/>
              <a:gd name="connsiteX324" fmla="*/ 2744195 w 4610101"/>
              <a:gd name="connsiteY324" fmla="*/ 5840918 h 6557032"/>
              <a:gd name="connsiteX325" fmla="*/ 2760595 w 4610101"/>
              <a:gd name="connsiteY325" fmla="*/ 5824518 h 6557032"/>
              <a:gd name="connsiteX326" fmla="*/ 2292296 w 4610101"/>
              <a:gd name="connsiteY326" fmla="*/ 5811762 h 6557032"/>
              <a:gd name="connsiteX327" fmla="*/ 2283185 w 4610101"/>
              <a:gd name="connsiteY327" fmla="*/ 5828162 h 6557032"/>
              <a:gd name="connsiteX328" fmla="*/ 2268607 w 4610101"/>
              <a:gd name="connsiteY328" fmla="*/ 5813584 h 6557032"/>
              <a:gd name="connsiteX329" fmla="*/ 2004392 w 4610101"/>
              <a:gd name="connsiteY329" fmla="*/ 5795363 h 6557032"/>
              <a:gd name="connsiteX330" fmla="*/ 2011682 w 4610101"/>
              <a:gd name="connsiteY330" fmla="*/ 5809941 h 6557032"/>
              <a:gd name="connsiteX331" fmla="*/ 2004392 w 4610101"/>
              <a:gd name="connsiteY331" fmla="*/ 5819052 h 6557032"/>
              <a:gd name="connsiteX332" fmla="*/ 1989814 w 4610101"/>
              <a:gd name="connsiteY332" fmla="*/ 5809941 h 6557032"/>
              <a:gd name="connsiteX333" fmla="*/ 572162 w 4610101"/>
              <a:gd name="connsiteY333" fmla="*/ 5780785 h 6557032"/>
              <a:gd name="connsiteX334" fmla="*/ 588562 w 4610101"/>
              <a:gd name="connsiteY334" fmla="*/ 5782608 h 6557032"/>
              <a:gd name="connsiteX335" fmla="*/ 573984 w 4610101"/>
              <a:gd name="connsiteY335" fmla="*/ 5797185 h 6557032"/>
              <a:gd name="connsiteX336" fmla="*/ 2268608 w 4610101"/>
              <a:gd name="connsiteY336" fmla="*/ 5771675 h 6557032"/>
              <a:gd name="connsiteX337" fmla="*/ 2268608 w 4610101"/>
              <a:gd name="connsiteY337" fmla="*/ 5795363 h 6557032"/>
              <a:gd name="connsiteX338" fmla="*/ 2244919 w 4610101"/>
              <a:gd name="connsiteY338" fmla="*/ 5795363 h 6557032"/>
              <a:gd name="connsiteX339" fmla="*/ 1944260 w 4610101"/>
              <a:gd name="connsiteY339" fmla="*/ 5758920 h 6557032"/>
              <a:gd name="connsiteX340" fmla="*/ 1966126 w 4610101"/>
              <a:gd name="connsiteY340" fmla="*/ 5782609 h 6557032"/>
              <a:gd name="connsiteX341" fmla="*/ 1958837 w 4610101"/>
              <a:gd name="connsiteY341" fmla="*/ 5804475 h 6557032"/>
              <a:gd name="connsiteX342" fmla="*/ 1947904 w 4610101"/>
              <a:gd name="connsiteY342" fmla="*/ 5782609 h 6557032"/>
              <a:gd name="connsiteX343" fmla="*/ 1741999 w 4610101"/>
              <a:gd name="connsiteY343" fmla="*/ 5758919 h 6557032"/>
              <a:gd name="connsiteX344" fmla="*/ 1732888 w 4610101"/>
              <a:gd name="connsiteY344" fmla="*/ 5775319 h 6557032"/>
              <a:gd name="connsiteX345" fmla="*/ 1716488 w 4610101"/>
              <a:gd name="connsiteY345" fmla="*/ 5760742 h 6557032"/>
              <a:gd name="connsiteX346" fmla="*/ 1712844 w 4610101"/>
              <a:gd name="connsiteY346" fmla="*/ 5758919 h 6557032"/>
              <a:gd name="connsiteX347" fmla="*/ 1701911 w 4610101"/>
              <a:gd name="connsiteY347" fmla="*/ 5775319 h 6557032"/>
              <a:gd name="connsiteX348" fmla="*/ 1687333 w 4610101"/>
              <a:gd name="connsiteY348" fmla="*/ 5760742 h 6557032"/>
              <a:gd name="connsiteX349" fmla="*/ 2503667 w 4610101"/>
              <a:gd name="connsiteY349" fmla="*/ 5751630 h 6557032"/>
              <a:gd name="connsiteX350" fmla="*/ 2520067 w 4610101"/>
              <a:gd name="connsiteY350" fmla="*/ 5751630 h 6557032"/>
              <a:gd name="connsiteX351" fmla="*/ 2505490 w 4610101"/>
              <a:gd name="connsiteY351" fmla="*/ 5768030 h 6557032"/>
              <a:gd name="connsiteX352" fmla="*/ 2818904 w 4610101"/>
              <a:gd name="connsiteY352" fmla="*/ 5704255 h 6557032"/>
              <a:gd name="connsiteX353" fmla="*/ 2826193 w 4610101"/>
              <a:gd name="connsiteY353" fmla="*/ 5718833 h 6557032"/>
              <a:gd name="connsiteX354" fmla="*/ 2818904 w 4610101"/>
              <a:gd name="connsiteY354" fmla="*/ 5729766 h 6557032"/>
              <a:gd name="connsiteX355" fmla="*/ 2804326 w 4610101"/>
              <a:gd name="connsiteY355" fmla="*/ 5718833 h 6557032"/>
              <a:gd name="connsiteX356" fmla="*/ 1674579 w 4610101"/>
              <a:gd name="connsiteY356" fmla="*/ 5693321 h 6557032"/>
              <a:gd name="connsiteX357" fmla="*/ 1681868 w 4610101"/>
              <a:gd name="connsiteY357" fmla="*/ 5715187 h 6557032"/>
              <a:gd name="connsiteX358" fmla="*/ 1681868 w 4610101"/>
              <a:gd name="connsiteY358" fmla="*/ 5722476 h 6557032"/>
              <a:gd name="connsiteX359" fmla="*/ 1665467 w 4610101"/>
              <a:gd name="connsiteY359" fmla="*/ 5753453 h 6557032"/>
              <a:gd name="connsiteX360" fmla="*/ 1643602 w 4610101"/>
              <a:gd name="connsiteY360" fmla="*/ 5737053 h 6557032"/>
              <a:gd name="connsiteX361" fmla="*/ 1643602 w 4610101"/>
              <a:gd name="connsiteY361" fmla="*/ 5698788 h 6557032"/>
              <a:gd name="connsiteX362" fmla="*/ 1975236 w 4610101"/>
              <a:gd name="connsiteY362" fmla="*/ 5689677 h 6557032"/>
              <a:gd name="connsiteX363" fmla="*/ 1989814 w 4610101"/>
              <a:gd name="connsiteY363" fmla="*/ 5724298 h 6557032"/>
              <a:gd name="connsiteX364" fmla="*/ 1967948 w 4610101"/>
              <a:gd name="connsiteY364" fmla="*/ 5720654 h 6557032"/>
              <a:gd name="connsiteX365" fmla="*/ 1975236 w 4610101"/>
              <a:gd name="connsiteY365" fmla="*/ 5689677 h 6557032"/>
              <a:gd name="connsiteX366" fmla="*/ 1055040 w 4610101"/>
              <a:gd name="connsiteY366" fmla="*/ 5689676 h 6557032"/>
              <a:gd name="connsiteX367" fmla="*/ 1069616 w 4610101"/>
              <a:gd name="connsiteY367" fmla="*/ 5689676 h 6557032"/>
              <a:gd name="connsiteX368" fmla="*/ 1084194 w 4610101"/>
              <a:gd name="connsiteY368" fmla="*/ 5689676 h 6557032"/>
              <a:gd name="connsiteX369" fmla="*/ 1106061 w 4610101"/>
              <a:gd name="connsiteY369" fmla="*/ 5726121 h 6557032"/>
              <a:gd name="connsiteX370" fmla="*/ 1098772 w 4610101"/>
              <a:gd name="connsiteY370" fmla="*/ 5755276 h 6557032"/>
              <a:gd name="connsiteX371" fmla="*/ 1062327 w 4610101"/>
              <a:gd name="connsiteY371" fmla="*/ 5795363 h 6557032"/>
              <a:gd name="connsiteX372" fmla="*/ 1047750 w 4610101"/>
              <a:gd name="connsiteY372" fmla="*/ 5795363 h 6557032"/>
              <a:gd name="connsiteX373" fmla="*/ 1044106 w 4610101"/>
              <a:gd name="connsiteY373" fmla="*/ 5809941 h 6557032"/>
              <a:gd name="connsiteX374" fmla="*/ 1033173 w 4610101"/>
              <a:gd name="connsiteY374" fmla="*/ 5817229 h 6557032"/>
              <a:gd name="connsiteX375" fmla="*/ 1024062 w 4610101"/>
              <a:gd name="connsiteY375" fmla="*/ 5811763 h 6557032"/>
              <a:gd name="connsiteX376" fmla="*/ 1031350 w 4610101"/>
              <a:gd name="connsiteY376" fmla="*/ 5797185 h 6557032"/>
              <a:gd name="connsiteX377" fmla="*/ 1024062 w 4610101"/>
              <a:gd name="connsiteY377" fmla="*/ 5780786 h 6557032"/>
              <a:gd name="connsiteX378" fmla="*/ 1031350 w 4610101"/>
              <a:gd name="connsiteY378" fmla="*/ 5766209 h 6557032"/>
              <a:gd name="connsiteX379" fmla="*/ 1007663 w 4610101"/>
              <a:gd name="connsiteY379" fmla="*/ 5764386 h 6557032"/>
              <a:gd name="connsiteX380" fmla="*/ 1024062 w 4610101"/>
              <a:gd name="connsiteY380" fmla="*/ 5751631 h 6557032"/>
              <a:gd name="connsiteX381" fmla="*/ 1016774 w 4610101"/>
              <a:gd name="connsiteY381" fmla="*/ 5720654 h 6557032"/>
              <a:gd name="connsiteX382" fmla="*/ 1033173 w 4610101"/>
              <a:gd name="connsiteY382" fmla="*/ 5698787 h 6557032"/>
              <a:gd name="connsiteX383" fmla="*/ 1198991 w 4610101"/>
              <a:gd name="connsiteY383" fmla="*/ 5684211 h 6557032"/>
              <a:gd name="connsiteX384" fmla="*/ 1198991 w 4610101"/>
              <a:gd name="connsiteY384" fmla="*/ 5706077 h 6557032"/>
              <a:gd name="connsiteX385" fmla="*/ 1168013 w 4610101"/>
              <a:gd name="connsiteY385" fmla="*/ 5698788 h 6557032"/>
              <a:gd name="connsiteX386" fmla="*/ 1198991 w 4610101"/>
              <a:gd name="connsiteY386" fmla="*/ 5684211 h 6557032"/>
              <a:gd name="connsiteX387" fmla="*/ 2849881 w 4610101"/>
              <a:gd name="connsiteY387" fmla="*/ 5667810 h 6557032"/>
              <a:gd name="connsiteX388" fmla="*/ 2875392 w 4610101"/>
              <a:gd name="connsiteY388" fmla="*/ 5669633 h 6557032"/>
              <a:gd name="connsiteX389" fmla="*/ 2858992 w 4610101"/>
              <a:gd name="connsiteY389" fmla="*/ 5682388 h 6557032"/>
              <a:gd name="connsiteX390" fmla="*/ 1771154 w 4610101"/>
              <a:gd name="connsiteY390" fmla="*/ 5645945 h 6557032"/>
              <a:gd name="connsiteX391" fmla="*/ 1772975 w 4610101"/>
              <a:gd name="connsiteY391" fmla="*/ 5675100 h 6557032"/>
              <a:gd name="connsiteX392" fmla="*/ 1763864 w 4610101"/>
              <a:gd name="connsiteY392" fmla="*/ 5653234 h 6557032"/>
              <a:gd name="connsiteX393" fmla="*/ 2888145 w 4610101"/>
              <a:gd name="connsiteY393" fmla="*/ 5645944 h 6557032"/>
              <a:gd name="connsiteX394" fmla="*/ 2902723 w 4610101"/>
              <a:gd name="connsiteY394" fmla="*/ 5660521 h 6557032"/>
              <a:gd name="connsiteX395" fmla="*/ 2888145 w 4610101"/>
              <a:gd name="connsiteY395" fmla="*/ 5660521 h 6557032"/>
              <a:gd name="connsiteX396" fmla="*/ 2215765 w 4610101"/>
              <a:gd name="connsiteY396" fmla="*/ 5640478 h 6557032"/>
              <a:gd name="connsiteX397" fmla="*/ 2235808 w 4610101"/>
              <a:gd name="connsiteY397" fmla="*/ 5640478 h 6557032"/>
              <a:gd name="connsiteX398" fmla="*/ 2254030 w 4610101"/>
              <a:gd name="connsiteY398" fmla="*/ 5669634 h 6557032"/>
              <a:gd name="connsiteX399" fmla="*/ 2246742 w 4610101"/>
              <a:gd name="connsiteY399" fmla="*/ 5682390 h 6557032"/>
              <a:gd name="connsiteX400" fmla="*/ 2268608 w 4610101"/>
              <a:gd name="connsiteY400" fmla="*/ 5698789 h 6557032"/>
              <a:gd name="connsiteX401" fmla="*/ 2268608 w 4610101"/>
              <a:gd name="connsiteY401" fmla="*/ 5720655 h 6557032"/>
              <a:gd name="connsiteX402" fmla="*/ 2261319 w 4610101"/>
              <a:gd name="connsiteY402" fmla="*/ 5727944 h 6557032"/>
              <a:gd name="connsiteX403" fmla="*/ 2264963 w 4610101"/>
              <a:gd name="connsiteY403" fmla="*/ 5749810 h 6557032"/>
              <a:gd name="connsiteX404" fmla="*/ 2261319 w 4610101"/>
              <a:gd name="connsiteY404" fmla="*/ 5766210 h 6557032"/>
              <a:gd name="connsiteX405" fmla="*/ 2237631 w 4610101"/>
              <a:gd name="connsiteY405" fmla="*/ 5784431 h 6557032"/>
              <a:gd name="connsiteX406" fmla="*/ 2221231 w 4610101"/>
              <a:gd name="connsiteY406" fmla="*/ 5813586 h 6557032"/>
              <a:gd name="connsiteX407" fmla="*/ 2213942 w 4610101"/>
              <a:gd name="connsiteY407" fmla="*/ 5824519 h 6557032"/>
              <a:gd name="connsiteX408" fmla="*/ 2199365 w 4610101"/>
              <a:gd name="connsiteY408" fmla="*/ 5808119 h 6557032"/>
              <a:gd name="connsiteX409" fmla="*/ 2184788 w 4610101"/>
              <a:gd name="connsiteY409" fmla="*/ 5815408 h 6557032"/>
              <a:gd name="connsiteX410" fmla="*/ 2177498 w 4610101"/>
              <a:gd name="connsiteY410" fmla="*/ 5784431 h 6557032"/>
              <a:gd name="connsiteX411" fmla="*/ 2177498 w 4610101"/>
              <a:gd name="connsiteY411" fmla="*/ 5768031 h 6557032"/>
              <a:gd name="connsiteX412" fmla="*/ 2186610 w 4610101"/>
              <a:gd name="connsiteY412" fmla="*/ 5751632 h 6557032"/>
              <a:gd name="connsiteX413" fmla="*/ 2170209 w 4610101"/>
              <a:gd name="connsiteY413" fmla="*/ 5738877 h 6557032"/>
              <a:gd name="connsiteX414" fmla="*/ 2192076 w 4610101"/>
              <a:gd name="connsiteY414" fmla="*/ 5686034 h 6557032"/>
              <a:gd name="connsiteX415" fmla="*/ 2184788 w 4610101"/>
              <a:gd name="connsiteY415" fmla="*/ 5671456 h 6557032"/>
              <a:gd name="connsiteX416" fmla="*/ 2208476 w 4610101"/>
              <a:gd name="connsiteY416" fmla="*/ 5671456 h 6557032"/>
              <a:gd name="connsiteX417" fmla="*/ 2199365 w 4610101"/>
              <a:gd name="connsiteY417" fmla="*/ 5656878 h 6557032"/>
              <a:gd name="connsiteX418" fmla="*/ 1966125 w 4610101"/>
              <a:gd name="connsiteY418" fmla="*/ 5624079 h 6557032"/>
              <a:gd name="connsiteX419" fmla="*/ 1991636 w 4610101"/>
              <a:gd name="connsiteY419" fmla="*/ 5631368 h 6557032"/>
              <a:gd name="connsiteX420" fmla="*/ 1975236 w 4610101"/>
              <a:gd name="connsiteY420" fmla="*/ 5645946 h 6557032"/>
              <a:gd name="connsiteX421" fmla="*/ 2474513 w 4610101"/>
              <a:gd name="connsiteY421" fmla="*/ 5607680 h 6557032"/>
              <a:gd name="connsiteX422" fmla="*/ 2481802 w 4610101"/>
              <a:gd name="connsiteY422" fmla="*/ 5629547 h 6557032"/>
              <a:gd name="connsiteX423" fmla="*/ 2443536 w 4610101"/>
              <a:gd name="connsiteY423" fmla="*/ 5629547 h 6557032"/>
              <a:gd name="connsiteX424" fmla="*/ 2474513 w 4610101"/>
              <a:gd name="connsiteY424" fmla="*/ 5607680 h 6557032"/>
              <a:gd name="connsiteX425" fmla="*/ 1636313 w 4610101"/>
              <a:gd name="connsiteY425" fmla="*/ 5607680 h 6557032"/>
              <a:gd name="connsiteX426" fmla="*/ 1643602 w 4610101"/>
              <a:gd name="connsiteY426" fmla="*/ 5638657 h 6557032"/>
              <a:gd name="connsiteX427" fmla="*/ 1621735 w 4610101"/>
              <a:gd name="connsiteY427" fmla="*/ 5638657 h 6557032"/>
              <a:gd name="connsiteX428" fmla="*/ 1636313 w 4610101"/>
              <a:gd name="connsiteY428" fmla="*/ 5607680 h 6557032"/>
              <a:gd name="connsiteX429" fmla="*/ 1062329 w 4610101"/>
              <a:gd name="connsiteY429" fmla="*/ 5605857 h 6557032"/>
              <a:gd name="connsiteX430" fmla="*/ 1062329 w 4610101"/>
              <a:gd name="connsiteY430" fmla="*/ 5644123 h 6557032"/>
              <a:gd name="connsiteX431" fmla="*/ 1040462 w 4610101"/>
              <a:gd name="connsiteY431" fmla="*/ 5656878 h 6557032"/>
              <a:gd name="connsiteX432" fmla="*/ 1024062 w 4610101"/>
              <a:gd name="connsiteY432" fmla="*/ 5644123 h 6557032"/>
              <a:gd name="connsiteX433" fmla="*/ 1024062 w 4610101"/>
              <a:gd name="connsiteY433" fmla="*/ 5622257 h 6557032"/>
              <a:gd name="connsiteX434" fmla="*/ 1062329 w 4610101"/>
              <a:gd name="connsiteY434" fmla="*/ 5605857 h 6557032"/>
              <a:gd name="connsiteX435" fmla="*/ 2376115 w 4610101"/>
              <a:gd name="connsiteY435" fmla="*/ 5554836 h 6557032"/>
              <a:gd name="connsiteX436" fmla="*/ 2407092 w 4610101"/>
              <a:gd name="connsiteY436" fmla="*/ 5562125 h 6557032"/>
              <a:gd name="connsiteX437" fmla="*/ 2397981 w 4610101"/>
              <a:gd name="connsiteY437" fmla="*/ 5576703 h 6557032"/>
              <a:gd name="connsiteX438" fmla="*/ 2421669 w 4610101"/>
              <a:gd name="connsiteY438" fmla="*/ 5593103 h 6557032"/>
              <a:gd name="connsiteX439" fmla="*/ 2399803 w 4610101"/>
              <a:gd name="connsiteY439" fmla="*/ 5660523 h 6557032"/>
              <a:gd name="connsiteX440" fmla="*/ 2354249 w 4610101"/>
              <a:gd name="connsiteY440" fmla="*/ 5629546 h 6557032"/>
              <a:gd name="connsiteX441" fmla="*/ 2361538 w 4610101"/>
              <a:gd name="connsiteY441" fmla="*/ 5614969 h 6557032"/>
              <a:gd name="connsiteX442" fmla="*/ 2346960 w 4610101"/>
              <a:gd name="connsiteY442" fmla="*/ 5614969 h 6557032"/>
              <a:gd name="connsiteX443" fmla="*/ 2346960 w 4610101"/>
              <a:gd name="connsiteY443" fmla="*/ 5583992 h 6557032"/>
              <a:gd name="connsiteX444" fmla="*/ 2361538 w 4610101"/>
              <a:gd name="connsiteY444" fmla="*/ 5562125 h 6557032"/>
              <a:gd name="connsiteX445" fmla="*/ 2999300 w 4610101"/>
              <a:gd name="connsiteY445" fmla="*/ 5532970 h 6557032"/>
              <a:gd name="connsiteX446" fmla="*/ 3008410 w 4610101"/>
              <a:gd name="connsiteY446" fmla="*/ 5547548 h 6557032"/>
              <a:gd name="connsiteX447" fmla="*/ 3008410 w 4610101"/>
              <a:gd name="connsiteY447" fmla="*/ 5569414 h 6557032"/>
              <a:gd name="connsiteX448" fmla="*/ 2977433 w 4610101"/>
              <a:gd name="connsiteY448" fmla="*/ 5554837 h 6557032"/>
              <a:gd name="connsiteX449" fmla="*/ 2999300 w 4610101"/>
              <a:gd name="connsiteY449" fmla="*/ 5532970 h 6557032"/>
              <a:gd name="connsiteX450" fmla="*/ 2321450 w 4610101"/>
              <a:gd name="connsiteY450" fmla="*/ 5532970 h 6557032"/>
              <a:gd name="connsiteX451" fmla="*/ 2343316 w 4610101"/>
              <a:gd name="connsiteY451" fmla="*/ 5532970 h 6557032"/>
              <a:gd name="connsiteX452" fmla="*/ 2343316 w 4610101"/>
              <a:gd name="connsiteY452" fmla="*/ 5554837 h 6557032"/>
              <a:gd name="connsiteX453" fmla="*/ 2321450 w 4610101"/>
              <a:gd name="connsiteY453" fmla="*/ 5554837 h 6557032"/>
              <a:gd name="connsiteX454" fmla="*/ 1984347 w 4610101"/>
              <a:gd name="connsiteY454" fmla="*/ 5532970 h 6557032"/>
              <a:gd name="connsiteX455" fmla="*/ 2006214 w 4610101"/>
              <a:gd name="connsiteY455" fmla="*/ 5532970 h 6557032"/>
              <a:gd name="connsiteX456" fmla="*/ 2006214 w 4610101"/>
              <a:gd name="connsiteY456" fmla="*/ 5554837 h 6557032"/>
              <a:gd name="connsiteX457" fmla="*/ 1984347 w 4610101"/>
              <a:gd name="connsiteY457" fmla="*/ 5532970 h 6557032"/>
              <a:gd name="connsiteX458" fmla="*/ 3099518 w 4610101"/>
              <a:gd name="connsiteY458" fmla="*/ 5509281 h 6557032"/>
              <a:gd name="connsiteX459" fmla="*/ 3114095 w 4610101"/>
              <a:gd name="connsiteY459" fmla="*/ 5523858 h 6557032"/>
              <a:gd name="connsiteX460" fmla="*/ 3099518 w 4610101"/>
              <a:gd name="connsiteY460" fmla="*/ 5523858 h 6557032"/>
              <a:gd name="connsiteX461" fmla="*/ 2835303 w 4610101"/>
              <a:gd name="connsiteY461" fmla="*/ 5509281 h 6557032"/>
              <a:gd name="connsiteX462" fmla="*/ 2866280 w 4610101"/>
              <a:gd name="connsiteY462" fmla="*/ 5525681 h 6557032"/>
              <a:gd name="connsiteX463" fmla="*/ 2849880 w 4610101"/>
              <a:gd name="connsiteY463" fmla="*/ 5540258 h 6557032"/>
              <a:gd name="connsiteX464" fmla="*/ 2857169 w 4610101"/>
              <a:gd name="connsiteY464" fmla="*/ 5554836 h 6557032"/>
              <a:gd name="connsiteX465" fmla="*/ 2835303 w 4610101"/>
              <a:gd name="connsiteY465" fmla="*/ 5554836 h 6557032"/>
              <a:gd name="connsiteX466" fmla="*/ 2842592 w 4610101"/>
              <a:gd name="connsiteY466" fmla="*/ 5583990 h 6557032"/>
              <a:gd name="connsiteX467" fmla="*/ 2818903 w 4610101"/>
              <a:gd name="connsiteY467" fmla="*/ 5602212 h 6557032"/>
              <a:gd name="connsiteX468" fmla="*/ 2797037 w 4610101"/>
              <a:gd name="connsiteY468" fmla="*/ 5571235 h 6557032"/>
              <a:gd name="connsiteX469" fmla="*/ 2820726 w 4610101"/>
              <a:gd name="connsiteY469" fmla="*/ 5540258 h 6557032"/>
              <a:gd name="connsiteX470" fmla="*/ 2811615 w 4610101"/>
              <a:gd name="connsiteY470" fmla="*/ 5525681 h 6557032"/>
              <a:gd name="connsiteX471" fmla="*/ 2835303 w 4610101"/>
              <a:gd name="connsiteY471" fmla="*/ 5509281 h 6557032"/>
              <a:gd name="connsiteX472" fmla="*/ 1984348 w 4610101"/>
              <a:gd name="connsiteY472" fmla="*/ 5501993 h 6557032"/>
              <a:gd name="connsiteX473" fmla="*/ 1973416 w 4610101"/>
              <a:gd name="connsiteY473" fmla="*/ 5518393 h 6557032"/>
              <a:gd name="connsiteX474" fmla="*/ 1958837 w 4610101"/>
              <a:gd name="connsiteY474" fmla="*/ 5503815 h 6557032"/>
              <a:gd name="connsiteX475" fmla="*/ 1588935 w 4610101"/>
              <a:gd name="connsiteY475" fmla="*/ 5494704 h 6557032"/>
              <a:gd name="connsiteX476" fmla="*/ 1619912 w 4610101"/>
              <a:gd name="connsiteY476" fmla="*/ 5501993 h 6557032"/>
              <a:gd name="connsiteX477" fmla="*/ 1610801 w 4610101"/>
              <a:gd name="connsiteY477" fmla="*/ 5516572 h 6557032"/>
              <a:gd name="connsiteX478" fmla="*/ 1627201 w 4610101"/>
              <a:gd name="connsiteY478" fmla="*/ 5516572 h 6557032"/>
              <a:gd name="connsiteX479" fmla="*/ 1627201 w 4610101"/>
              <a:gd name="connsiteY479" fmla="*/ 5547549 h 6557032"/>
              <a:gd name="connsiteX480" fmla="*/ 1634489 w 4610101"/>
              <a:gd name="connsiteY480" fmla="*/ 5569414 h 6557032"/>
              <a:gd name="connsiteX481" fmla="*/ 1619912 w 4610101"/>
              <a:gd name="connsiteY481" fmla="*/ 5569414 h 6557032"/>
              <a:gd name="connsiteX482" fmla="*/ 1618090 w 4610101"/>
              <a:gd name="connsiteY482" fmla="*/ 5580348 h 6557032"/>
              <a:gd name="connsiteX483" fmla="*/ 1596225 w 4610101"/>
              <a:gd name="connsiteY483" fmla="*/ 5589458 h 6557032"/>
              <a:gd name="connsiteX484" fmla="*/ 1557958 w 4610101"/>
              <a:gd name="connsiteY484" fmla="*/ 5574881 h 6557032"/>
              <a:gd name="connsiteX485" fmla="*/ 1557958 w 4610101"/>
              <a:gd name="connsiteY485" fmla="*/ 5560304 h 6557032"/>
              <a:gd name="connsiteX486" fmla="*/ 1557958 w 4610101"/>
              <a:gd name="connsiteY486" fmla="*/ 5553015 h 6557032"/>
              <a:gd name="connsiteX487" fmla="*/ 1559781 w 4610101"/>
              <a:gd name="connsiteY487" fmla="*/ 5531149 h 6557032"/>
              <a:gd name="connsiteX488" fmla="*/ 1567069 w 4610101"/>
              <a:gd name="connsiteY488" fmla="*/ 5501993 h 6557032"/>
              <a:gd name="connsiteX489" fmla="*/ 1490539 w 4610101"/>
              <a:gd name="connsiteY489" fmla="*/ 5492882 h 6557032"/>
              <a:gd name="connsiteX490" fmla="*/ 1499650 w 4610101"/>
              <a:gd name="connsiteY490" fmla="*/ 5509282 h 6557032"/>
              <a:gd name="connsiteX491" fmla="*/ 1475961 w 4610101"/>
              <a:gd name="connsiteY491" fmla="*/ 5507459 h 6557032"/>
              <a:gd name="connsiteX492" fmla="*/ 2465401 w 4610101"/>
              <a:gd name="connsiteY492" fmla="*/ 5487415 h 6557032"/>
              <a:gd name="connsiteX493" fmla="*/ 2481801 w 4610101"/>
              <a:gd name="connsiteY493" fmla="*/ 5489238 h 6557032"/>
              <a:gd name="connsiteX494" fmla="*/ 2467223 w 4610101"/>
              <a:gd name="connsiteY494" fmla="*/ 5503815 h 6557032"/>
              <a:gd name="connsiteX495" fmla="*/ 1011307 w 4610101"/>
              <a:gd name="connsiteY495" fmla="*/ 5487415 h 6557032"/>
              <a:gd name="connsiteX496" fmla="*/ 1033173 w 4610101"/>
              <a:gd name="connsiteY496" fmla="*/ 5487415 h 6557032"/>
              <a:gd name="connsiteX497" fmla="*/ 1064151 w 4610101"/>
              <a:gd name="connsiteY497" fmla="*/ 5518393 h 6557032"/>
              <a:gd name="connsiteX498" fmla="*/ 1064151 w 4610101"/>
              <a:gd name="connsiteY498" fmla="*/ 5540259 h 6557032"/>
              <a:gd name="connsiteX499" fmla="*/ 1049572 w 4610101"/>
              <a:gd name="connsiteY499" fmla="*/ 5549370 h 6557032"/>
              <a:gd name="connsiteX500" fmla="*/ 1058683 w 4610101"/>
              <a:gd name="connsiteY500" fmla="*/ 5563948 h 6557032"/>
              <a:gd name="connsiteX501" fmla="*/ 1036818 w 4610101"/>
              <a:gd name="connsiteY501" fmla="*/ 5571236 h 6557032"/>
              <a:gd name="connsiteX502" fmla="*/ 1027707 w 4610101"/>
              <a:gd name="connsiteY502" fmla="*/ 5585813 h 6557032"/>
              <a:gd name="connsiteX503" fmla="*/ 1034995 w 4610101"/>
              <a:gd name="connsiteY503" fmla="*/ 5600391 h 6557032"/>
              <a:gd name="connsiteX504" fmla="*/ 1011307 w 4610101"/>
              <a:gd name="connsiteY504" fmla="*/ 5600391 h 6557032"/>
              <a:gd name="connsiteX505" fmla="*/ 1018596 w 4610101"/>
              <a:gd name="connsiteY505" fmla="*/ 5585813 h 6557032"/>
              <a:gd name="connsiteX506" fmla="*/ 996729 w 4610101"/>
              <a:gd name="connsiteY506" fmla="*/ 5583992 h 6557032"/>
              <a:gd name="connsiteX507" fmla="*/ 983974 w 4610101"/>
              <a:gd name="connsiteY507" fmla="*/ 5571236 h 6557032"/>
              <a:gd name="connsiteX508" fmla="*/ 983974 w 4610101"/>
              <a:gd name="connsiteY508" fmla="*/ 5518393 h 6557032"/>
              <a:gd name="connsiteX509" fmla="*/ 2804327 w 4610101"/>
              <a:gd name="connsiteY509" fmla="*/ 5463728 h 6557032"/>
              <a:gd name="connsiteX510" fmla="*/ 2811616 w 4610101"/>
              <a:gd name="connsiteY510" fmla="*/ 5478305 h 6557032"/>
              <a:gd name="connsiteX511" fmla="*/ 2804327 w 4610101"/>
              <a:gd name="connsiteY511" fmla="*/ 5487416 h 6557032"/>
              <a:gd name="connsiteX512" fmla="*/ 2787927 w 4610101"/>
              <a:gd name="connsiteY512" fmla="*/ 5478305 h 6557032"/>
              <a:gd name="connsiteX513" fmla="*/ 1530626 w 4610101"/>
              <a:gd name="connsiteY513" fmla="*/ 5449149 h 6557032"/>
              <a:gd name="connsiteX514" fmla="*/ 1545204 w 4610101"/>
              <a:gd name="connsiteY514" fmla="*/ 5463727 h 6557032"/>
              <a:gd name="connsiteX515" fmla="*/ 1530626 w 4610101"/>
              <a:gd name="connsiteY515" fmla="*/ 5463727 h 6557032"/>
              <a:gd name="connsiteX516" fmla="*/ 2804326 w 4610101"/>
              <a:gd name="connsiteY516" fmla="*/ 5432750 h 6557032"/>
              <a:gd name="connsiteX517" fmla="*/ 2804326 w 4610101"/>
              <a:gd name="connsiteY517" fmla="*/ 5449150 h 6557032"/>
              <a:gd name="connsiteX518" fmla="*/ 2787926 w 4610101"/>
              <a:gd name="connsiteY518" fmla="*/ 5447328 h 6557032"/>
              <a:gd name="connsiteX519" fmla="*/ 971219 w 4610101"/>
              <a:gd name="connsiteY519" fmla="*/ 5412707 h 6557032"/>
              <a:gd name="connsiteX520" fmla="*/ 971219 w 4610101"/>
              <a:gd name="connsiteY520" fmla="*/ 5434574 h 6557032"/>
              <a:gd name="connsiteX521" fmla="*/ 1175302 w 4610101"/>
              <a:gd name="connsiteY521" fmla="*/ 5410884 h 6557032"/>
              <a:gd name="connsiteX522" fmla="*/ 1191703 w 4610101"/>
              <a:gd name="connsiteY522" fmla="*/ 5427284 h 6557032"/>
              <a:gd name="connsiteX523" fmla="*/ 1175302 w 4610101"/>
              <a:gd name="connsiteY523" fmla="*/ 5427284 h 6557032"/>
              <a:gd name="connsiteX524" fmla="*/ 3287202 w 4610101"/>
              <a:gd name="connsiteY524" fmla="*/ 5396306 h 6557032"/>
              <a:gd name="connsiteX525" fmla="*/ 3287202 w 4610101"/>
              <a:gd name="connsiteY525" fmla="*/ 5412706 h 6557032"/>
              <a:gd name="connsiteX526" fmla="*/ 3270802 w 4610101"/>
              <a:gd name="connsiteY526" fmla="*/ 5398129 h 6557032"/>
              <a:gd name="connsiteX527" fmla="*/ 2332383 w 4610101"/>
              <a:gd name="connsiteY527" fmla="*/ 5387197 h 6557032"/>
              <a:gd name="connsiteX528" fmla="*/ 2350605 w 4610101"/>
              <a:gd name="connsiteY528" fmla="*/ 5410886 h 6557032"/>
              <a:gd name="connsiteX529" fmla="*/ 2343316 w 4610101"/>
              <a:gd name="connsiteY529" fmla="*/ 5419997 h 6557032"/>
              <a:gd name="connsiteX530" fmla="*/ 2321450 w 4610101"/>
              <a:gd name="connsiteY530" fmla="*/ 5398130 h 6557032"/>
              <a:gd name="connsiteX531" fmla="*/ 752558 w 4610101"/>
              <a:gd name="connsiteY531" fmla="*/ 5381730 h 6557032"/>
              <a:gd name="connsiteX532" fmla="*/ 767136 w 4610101"/>
              <a:gd name="connsiteY532" fmla="*/ 5381730 h 6557032"/>
              <a:gd name="connsiteX533" fmla="*/ 776246 w 4610101"/>
              <a:gd name="connsiteY533" fmla="*/ 5403596 h 6557032"/>
              <a:gd name="connsiteX534" fmla="*/ 759848 w 4610101"/>
              <a:gd name="connsiteY534" fmla="*/ 5412707 h 6557032"/>
              <a:gd name="connsiteX535" fmla="*/ 2292295 w 4610101"/>
              <a:gd name="connsiteY535" fmla="*/ 5374442 h 6557032"/>
              <a:gd name="connsiteX536" fmla="*/ 2297761 w 4610101"/>
              <a:gd name="connsiteY536" fmla="*/ 5387197 h 6557032"/>
              <a:gd name="connsiteX537" fmla="*/ 2290472 w 4610101"/>
              <a:gd name="connsiteY537" fmla="*/ 5398130 h 6557032"/>
              <a:gd name="connsiteX538" fmla="*/ 2277717 w 4610101"/>
              <a:gd name="connsiteY538" fmla="*/ 5381731 h 6557032"/>
              <a:gd name="connsiteX539" fmla="*/ 2653086 w 4610101"/>
              <a:gd name="connsiteY539" fmla="*/ 5352575 h 6557032"/>
              <a:gd name="connsiteX540" fmla="*/ 2684063 w 4610101"/>
              <a:gd name="connsiteY540" fmla="*/ 5374442 h 6557032"/>
              <a:gd name="connsiteX541" fmla="*/ 2653086 w 4610101"/>
              <a:gd name="connsiteY541" fmla="*/ 5352575 h 6557032"/>
              <a:gd name="connsiteX542" fmla="*/ 2301406 w 4610101"/>
              <a:gd name="connsiteY542" fmla="*/ 5350753 h 6557032"/>
              <a:gd name="connsiteX543" fmla="*/ 2292295 w 4610101"/>
              <a:gd name="connsiteY543" fmla="*/ 5374442 h 6557032"/>
              <a:gd name="connsiteX544" fmla="*/ 2285006 w 4610101"/>
              <a:gd name="connsiteY544" fmla="*/ 5359864 h 6557032"/>
              <a:gd name="connsiteX545" fmla="*/ 3077652 w 4610101"/>
              <a:gd name="connsiteY545" fmla="*/ 5337998 h 6557032"/>
              <a:gd name="connsiteX546" fmla="*/ 3066719 w 4610101"/>
              <a:gd name="connsiteY546" fmla="*/ 5376263 h 6557032"/>
              <a:gd name="connsiteX547" fmla="*/ 3044853 w 4610101"/>
              <a:gd name="connsiteY547" fmla="*/ 5354398 h 6557032"/>
              <a:gd name="connsiteX548" fmla="*/ 3077652 w 4610101"/>
              <a:gd name="connsiteY548" fmla="*/ 5337998 h 6557032"/>
              <a:gd name="connsiteX549" fmla="*/ 2592955 w 4610101"/>
              <a:gd name="connsiteY549" fmla="*/ 5336175 h 6557032"/>
              <a:gd name="connsiteX550" fmla="*/ 2603887 w 4610101"/>
              <a:gd name="connsiteY550" fmla="*/ 5358041 h 6557032"/>
              <a:gd name="connsiteX551" fmla="*/ 2594777 w 4610101"/>
              <a:gd name="connsiteY551" fmla="*/ 5372619 h 6557032"/>
              <a:gd name="connsiteX552" fmla="*/ 2587488 w 4610101"/>
              <a:gd name="connsiteY552" fmla="*/ 5394484 h 6557032"/>
              <a:gd name="connsiteX553" fmla="*/ 2549222 w 4610101"/>
              <a:gd name="connsiteY553" fmla="*/ 5372619 h 6557032"/>
              <a:gd name="connsiteX554" fmla="*/ 2549222 w 4610101"/>
              <a:gd name="connsiteY554" fmla="*/ 5350752 h 6557032"/>
              <a:gd name="connsiteX555" fmla="*/ 2592955 w 4610101"/>
              <a:gd name="connsiteY555" fmla="*/ 5336175 h 6557032"/>
              <a:gd name="connsiteX556" fmla="*/ 2993833 w 4610101"/>
              <a:gd name="connsiteY556" fmla="*/ 5319776 h 6557032"/>
              <a:gd name="connsiteX557" fmla="*/ 3024810 w 4610101"/>
              <a:gd name="connsiteY557" fmla="*/ 5334353 h 6557032"/>
              <a:gd name="connsiteX558" fmla="*/ 3010233 w 4610101"/>
              <a:gd name="connsiteY558" fmla="*/ 5372619 h 6557032"/>
              <a:gd name="connsiteX559" fmla="*/ 2971967 w 4610101"/>
              <a:gd name="connsiteY559" fmla="*/ 5358041 h 6557032"/>
              <a:gd name="connsiteX560" fmla="*/ 2971967 w 4610101"/>
              <a:gd name="connsiteY560" fmla="*/ 5336176 h 6557032"/>
              <a:gd name="connsiteX561" fmla="*/ 2993833 w 4610101"/>
              <a:gd name="connsiteY561" fmla="*/ 5319776 h 6557032"/>
              <a:gd name="connsiteX562" fmla="*/ 819978 w 4610101"/>
              <a:gd name="connsiteY562" fmla="*/ 5307020 h 6557032"/>
              <a:gd name="connsiteX563" fmla="*/ 858244 w 4610101"/>
              <a:gd name="connsiteY563" fmla="*/ 5307020 h 6557032"/>
              <a:gd name="connsiteX564" fmla="*/ 881932 w 4610101"/>
              <a:gd name="connsiteY564" fmla="*/ 5337997 h 6557032"/>
              <a:gd name="connsiteX565" fmla="*/ 867355 w 4610101"/>
              <a:gd name="connsiteY565" fmla="*/ 5352575 h 6557032"/>
              <a:gd name="connsiteX566" fmla="*/ 872821 w 4610101"/>
              <a:gd name="connsiteY566" fmla="*/ 5365330 h 6557032"/>
              <a:gd name="connsiteX567" fmla="*/ 834556 w 4610101"/>
              <a:gd name="connsiteY567" fmla="*/ 5396307 h 6557032"/>
              <a:gd name="connsiteX568" fmla="*/ 819978 w 4610101"/>
              <a:gd name="connsiteY568" fmla="*/ 5374441 h 6557032"/>
              <a:gd name="connsiteX569" fmla="*/ 798112 w 4610101"/>
              <a:gd name="connsiteY569" fmla="*/ 5352575 h 6557032"/>
              <a:gd name="connsiteX570" fmla="*/ 819978 w 4610101"/>
              <a:gd name="connsiteY570" fmla="*/ 5307020 h 6557032"/>
              <a:gd name="connsiteX571" fmla="*/ 2795214 w 4610101"/>
              <a:gd name="connsiteY571" fmla="*/ 5305199 h 6557032"/>
              <a:gd name="connsiteX572" fmla="*/ 2797037 w 4610101"/>
              <a:gd name="connsiteY572" fmla="*/ 5328888 h 6557032"/>
              <a:gd name="connsiteX573" fmla="*/ 2780637 w 4610101"/>
              <a:gd name="connsiteY573" fmla="*/ 5319777 h 6557032"/>
              <a:gd name="connsiteX574" fmla="*/ 2292295 w 4610101"/>
              <a:gd name="connsiteY574" fmla="*/ 5290622 h 6557032"/>
              <a:gd name="connsiteX575" fmla="*/ 2299584 w 4610101"/>
              <a:gd name="connsiteY575" fmla="*/ 5290622 h 6557032"/>
              <a:gd name="connsiteX576" fmla="*/ 2299584 w 4610101"/>
              <a:gd name="connsiteY576" fmla="*/ 5328888 h 6557032"/>
              <a:gd name="connsiteX577" fmla="*/ 2292295 w 4610101"/>
              <a:gd name="connsiteY577" fmla="*/ 5290622 h 6557032"/>
              <a:gd name="connsiteX578" fmla="*/ 2350605 w 4610101"/>
              <a:gd name="connsiteY578" fmla="*/ 5261466 h 6557032"/>
              <a:gd name="connsiteX579" fmla="*/ 2376116 w 4610101"/>
              <a:gd name="connsiteY579" fmla="*/ 5261466 h 6557032"/>
              <a:gd name="connsiteX580" fmla="*/ 2367005 w 4610101"/>
              <a:gd name="connsiteY580" fmla="*/ 5277866 h 6557032"/>
              <a:gd name="connsiteX581" fmla="*/ 1357521 w 4610101"/>
              <a:gd name="connsiteY581" fmla="*/ 5259644 h 6557032"/>
              <a:gd name="connsiteX582" fmla="*/ 1372097 w 4610101"/>
              <a:gd name="connsiteY582" fmla="*/ 5276044 h 6557032"/>
              <a:gd name="connsiteX583" fmla="*/ 1350231 w 4610101"/>
              <a:gd name="connsiteY583" fmla="*/ 5285155 h 6557032"/>
              <a:gd name="connsiteX584" fmla="*/ 2857169 w 4610101"/>
              <a:gd name="connsiteY584" fmla="*/ 5246888 h 6557032"/>
              <a:gd name="connsiteX585" fmla="*/ 2888146 w 4610101"/>
              <a:gd name="connsiteY585" fmla="*/ 5261465 h 6557032"/>
              <a:gd name="connsiteX586" fmla="*/ 2886324 w 4610101"/>
              <a:gd name="connsiteY586" fmla="*/ 5285153 h 6557032"/>
              <a:gd name="connsiteX587" fmla="*/ 2879036 w 4610101"/>
              <a:gd name="connsiteY587" fmla="*/ 5297909 h 6557032"/>
              <a:gd name="connsiteX588" fmla="*/ 2857169 w 4610101"/>
              <a:gd name="connsiteY588" fmla="*/ 5307020 h 6557032"/>
              <a:gd name="connsiteX589" fmla="*/ 2857169 w 4610101"/>
              <a:gd name="connsiteY589" fmla="*/ 5246888 h 6557032"/>
              <a:gd name="connsiteX590" fmla="*/ 2556510 w 4610101"/>
              <a:gd name="connsiteY590" fmla="*/ 5245066 h 6557032"/>
              <a:gd name="connsiteX591" fmla="*/ 2572910 w 4610101"/>
              <a:gd name="connsiteY591" fmla="*/ 5246889 h 6557032"/>
              <a:gd name="connsiteX592" fmla="*/ 2558332 w 4610101"/>
              <a:gd name="connsiteY592" fmla="*/ 5261466 h 6557032"/>
              <a:gd name="connsiteX593" fmla="*/ 963930 w 4610101"/>
              <a:gd name="connsiteY593" fmla="*/ 5230488 h 6557032"/>
              <a:gd name="connsiteX594" fmla="*/ 985796 w 4610101"/>
              <a:gd name="connsiteY594" fmla="*/ 5232311 h 6557032"/>
              <a:gd name="connsiteX595" fmla="*/ 1018596 w 4610101"/>
              <a:gd name="connsiteY595" fmla="*/ 5261465 h 6557032"/>
              <a:gd name="connsiteX596" fmla="*/ 1011307 w 4610101"/>
              <a:gd name="connsiteY596" fmla="*/ 5274221 h 6557032"/>
              <a:gd name="connsiteX597" fmla="*/ 1022240 w 4610101"/>
              <a:gd name="connsiteY597" fmla="*/ 5288798 h 6557032"/>
              <a:gd name="connsiteX598" fmla="*/ 1007663 w 4610101"/>
              <a:gd name="connsiteY598" fmla="*/ 5305197 h 6557032"/>
              <a:gd name="connsiteX599" fmla="*/ 1016774 w 4610101"/>
              <a:gd name="connsiteY599" fmla="*/ 5327064 h 6557032"/>
              <a:gd name="connsiteX600" fmla="*/ 1007663 w 4610101"/>
              <a:gd name="connsiteY600" fmla="*/ 5337997 h 6557032"/>
              <a:gd name="connsiteX601" fmla="*/ 993085 w 4610101"/>
              <a:gd name="connsiteY601" fmla="*/ 5341641 h 6557032"/>
              <a:gd name="connsiteX602" fmla="*/ 996729 w 4610101"/>
              <a:gd name="connsiteY602" fmla="*/ 5356219 h 6557032"/>
              <a:gd name="connsiteX603" fmla="*/ 993085 w 4610101"/>
              <a:gd name="connsiteY603" fmla="*/ 5379907 h 6557032"/>
              <a:gd name="connsiteX604" fmla="*/ 976685 w 4610101"/>
              <a:gd name="connsiteY604" fmla="*/ 5350752 h 6557032"/>
              <a:gd name="connsiteX605" fmla="*/ 940242 w 4610101"/>
              <a:gd name="connsiteY605" fmla="*/ 5319775 h 6557032"/>
              <a:gd name="connsiteX606" fmla="*/ 940242 w 4610101"/>
              <a:gd name="connsiteY606" fmla="*/ 5305197 h 6557032"/>
              <a:gd name="connsiteX607" fmla="*/ 940242 w 4610101"/>
              <a:gd name="connsiteY607" fmla="*/ 5297909 h 6557032"/>
              <a:gd name="connsiteX608" fmla="*/ 932953 w 4610101"/>
              <a:gd name="connsiteY608" fmla="*/ 5283332 h 6557032"/>
              <a:gd name="connsiteX609" fmla="*/ 932953 w 4610101"/>
              <a:gd name="connsiteY609" fmla="*/ 5261465 h 6557032"/>
              <a:gd name="connsiteX610" fmla="*/ 1275522 w 4610101"/>
              <a:gd name="connsiteY610" fmla="*/ 5168536 h 6557032"/>
              <a:gd name="connsiteX611" fmla="*/ 1290100 w 4610101"/>
              <a:gd name="connsiteY611" fmla="*/ 5199513 h 6557032"/>
              <a:gd name="connsiteX612" fmla="*/ 1290100 w 4610101"/>
              <a:gd name="connsiteY612" fmla="*/ 5221379 h 6557032"/>
              <a:gd name="connsiteX613" fmla="*/ 1251833 w 4610101"/>
              <a:gd name="connsiteY613" fmla="*/ 5206802 h 6557032"/>
              <a:gd name="connsiteX614" fmla="*/ 1251833 w 4610101"/>
              <a:gd name="connsiteY614" fmla="*/ 5184936 h 6557032"/>
              <a:gd name="connsiteX615" fmla="*/ 2097323 w 4610101"/>
              <a:gd name="connsiteY615" fmla="*/ 5148492 h 6557032"/>
              <a:gd name="connsiteX616" fmla="*/ 2086390 w 4610101"/>
              <a:gd name="connsiteY616" fmla="*/ 5179469 h 6557032"/>
              <a:gd name="connsiteX617" fmla="*/ 2064524 w 4610101"/>
              <a:gd name="connsiteY617" fmla="*/ 5157603 h 6557032"/>
              <a:gd name="connsiteX618" fmla="*/ 1386674 w 4610101"/>
              <a:gd name="connsiteY618" fmla="*/ 5139380 h 6557032"/>
              <a:gd name="connsiteX619" fmla="*/ 1401252 w 4610101"/>
              <a:gd name="connsiteY619" fmla="*/ 5155780 h 6557032"/>
              <a:gd name="connsiteX620" fmla="*/ 1386674 w 4610101"/>
              <a:gd name="connsiteY620" fmla="*/ 5155780 h 6557032"/>
              <a:gd name="connsiteX621" fmla="*/ 819978 w 4610101"/>
              <a:gd name="connsiteY621" fmla="*/ 5117515 h 6557032"/>
              <a:gd name="connsiteX622" fmla="*/ 843667 w 4610101"/>
              <a:gd name="connsiteY622" fmla="*/ 5139381 h 6557032"/>
              <a:gd name="connsiteX623" fmla="*/ 827267 w 4610101"/>
              <a:gd name="connsiteY623" fmla="*/ 5148492 h 6557032"/>
              <a:gd name="connsiteX624" fmla="*/ 1884128 w 4610101"/>
              <a:gd name="connsiteY624" fmla="*/ 5115693 h 6557032"/>
              <a:gd name="connsiteX625" fmla="*/ 1891417 w 4610101"/>
              <a:gd name="connsiteY625" fmla="*/ 5132093 h 6557032"/>
              <a:gd name="connsiteX626" fmla="*/ 1878661 w 4610101"/>
              <a:gd name="connsiteY626" fmla="*/ 5139381 h 6557032"/>
              <a:gd name="connsiteX627" fmla="*/ 1867728 w 4610101"/>
              <a:gd name="connsiteY627" fmla="*/ 5130270 h 6557032"/>
              <a:gd name="connsiteX628" fmla="*/ 3022986 w 4610101"/>
              <a:gd name="connsiteY628" fmla="*/ 5086537 h 6557032"/>
              <a:gd name="connsiteX629" fmla="*/ 3046674 w 4610101"/>
              <a:gd name="connsiteY629" fmla="*/ 5092004 h 6557032"/>
              <a:gd name="connsiteX630" fmla="*/ 3068540 w 4610101"/>
              <a:gd name="connsiteY630" fmla="*/ 5095648 h 6557032"/>
              <a:gd name="connsiteX631" fmla="*/ 3077651 w 4610101"/>
              <a:gd name="connsiteY631" fmla="*/ 5124804 h 6557032"/>
              <a:gd name="connsiteX632" fmla="*/ 3077651 w 4610101"/>
              <a:gd name="connsiteY632" fmla="*/ 5141203 h 6557032"/>
              <a:gd name="connsiteX633" fmla="*/ 3077651 w 4610101"/>
              <a:gd name="connsiteY633" fmla="*/ 5155781 h 6557032"/>
              <a:gd name="connsiteX634" fmla="*/ 3061252 w 4610101"/>
              <a:gd name="connsiteY634" fmla="*/ 5186758 h 6557032"/>
              <a:gd name="connsiteX635" fmla="*/ 3015697 w 4610101"/>
              <a:gd name="connsiteY635" fmla="*/ 5177647 h 6557032"/>
              <a:gd name="connsiteX636" fmla="*/ 3022986 w 4610101"/>
              <a:gd name="connsiteY636" fmla="*/ 5163070 h 6557032"/>
              <a:gd name="connsiteX637" fmla="*/ 3010231 w 4610101"/>
              <a:gd name="connsiteY637" fmla="*/ 5153959 h 6557032"/>
              <a:gd name="connsiteX638" fmla="*/ 3002942 w 4610101"/>
              <a:gd name="connsiteY638" fmla="*/ 5132093 h 6557032"/>
              <a:gd name="connsiteX639" fmla="*/ 3010231 w 4610101"/>
              <a:gd name="connsiteY639" fmla="*/ 5102938 h 6557032"/>
              <a:gd name="connsiteX640" fmla="*/ 2472690 w 4610101"/>
              <a:gd name="connsiteY640" fmla="*/ 5079249 h 6557032"/>
              <a:gd name="connsiteX641" fmla="*/ 2489090 w 4610101"/>
              <a:gd name="connsiteY641" fmla="*/ 5088360 h 6557032"/>
              <a:gd name="connsiteX642" fmla="*/ 2474513 w 4610101"/>
              <a:gd name="connsiteY642" fmla="*/ 5104760 h 6557032"/>
              <a:gd name="connsiteX643" fmla="*/ 1740176 w 4610101"/>
              <a:gd name="connsiteY643" fmla="*/ 5073782 h 6557032"/>
              <a:gd name="connsiteX644" fmla="*/ 1793020 w 4610101"/>
              <a:gd name="connsiteY644" fmla="*/ 5126625 h 6557032"/>
              <a:gd name="connsiteX645" fmla="*/ 1814886 w 4610101"/>
              <a:gd name="connsiteY645" fmla="*/ 5128447 h 6557032"/>
              <a:gd name="connsiteX646" fmla="*/ 1838575 w 4610101"/>
              <a:gd name="connsiteY646" fmla="*/ 5150313 h 6557032"/>
              <a:gd name="connsiteX647" fmla="*/ 1838575 w 4610101"/>
              <a:gd name="connsiteY647" fmla="*/ 5172179 h 6557032"/>
              <a:gd name="connsiteX648" fmla="*/ 1862263 w 4610101"/>
              <a:gd name="connsiteY648" fmla="*/ 5203157 h 6557032"/>
              <a:gd name="connsiteX649" fmla="*/ 1856796 w 4610101"/>
              <a:gd name="connsiteY649" fmla="*/ 5215913 h 6557032"/>
              <a:gd name="connsiteX650" fmla="*/ 1862263 w 4610101"/>
              <a:gd name="connsiteY650" fmla="*/ 5232312 h 6557032"/>
              <a:gd name="connsiteX651" fmla="*/ 1854975 w 4610101"/>
              <a:gd name="connsiteY651" fmla="*/ 5246890 h 6557032"/>
              <a:gd name="connsiteX652" fmla="*/ 1854975 w 4610101"/>
              <a:gd name="connsiteY652" fmla="*/ 5261467 h 6557032"/>
              <a:gd name="connsiteX653" fmla="*/ 1862263 w 4610101"/>
              <a:gd name="connsiteY653" fmla="*/ 5283333 h 6557032"/>
              <a:gd name="connsiteX654" fmla="*/ 1847685 w 4610101"/>
              <a:gd name="connsiteY654" fmla="*/ 5305199 h 6557032"/>
              <a:gd name="connsiteX655" fmla="*/ 1845864 w 4610101"/>
              <a:gd name="connsiteY655" fmla="*/ 5305199 h 6557032"/>
              <a:gd name="connsiteX656" fmla="*/ 1845864 w 4610101"/>
              <a:gd name="connsiteY656" fmla="*/ 5323421 h 6557032"/>
              <a:gd name="connsiteX657" fmla="*/ 1785731 w 4610101"/>
              <a:gd name="connsiteY657" fmla="*/ 5376264 h 6557032"/>
              <a:gd name="connsiteX658" fmla="*/ 1763865 w 4610101"/>
              <a:gd name="connsiteY658" fmla="*/ 5405419 h 6557032"/>
              <a:gd name="connsiteX659" fmla="*/ 1778443 w 4610101"/>
              <a:gd name="connsiteY659" fmla="*/ 5443684 h 6557032"/>
              <a:gd name="connsiteX660" fmla="*/ 1769332 w 4610101"/>
              <a:gd name="connsiteY660" fmla="*/ 5458261 h 6557032"/>
              <a:gd name="connsiteX661" fmla="*/ 1769332 w 4610101"/>
              <a:gd name="connsiteY661" fmla="*/ 5472839 h 6557032"/>
              <a:gd name="connsiteX662" fmla="*/ 1769332 w 4610101"/>
              <a:gd name="connsiteY662" fmla="*/ 5494705 h 6557032"/>
              <a:gd name="connsiteX663" fmla="*/ 1769332 w 4610101"/>
              <a:gd name="connsiteY663" fmla="*/ 5509283 h 6557032"/>
              <a:gd name="connsiteX664" fmla="*/ 1740176 w 4610101"/>
              <a:gd name="connsiteY664" fmla="*/ 5523860 h 6557032"/>
              <a:gd name="connsiteX665" fmla="*/ 1709199 w 4610101"/>
              <a:gd name="connsiteY665" fmla="*/ 5485594 h 6557032"/>
              <a:gd name="connsiteX666" fmla="*/ 1723777 w 4610101"/>
              <a:gd name="connsiteY666" fmla="*/ 5432751 h 6557032"/>
              <a:gd name="connsiteX667" fmla="*/ 1692800 w 4610101"/>
              <a:gd name="connsiteY667" fmla="*/ 5440040 h 6557032"/>
              <a:gd name="connsiteX668" fmla="*/ 1684599 w 4610101"/>
              <a:gd name="connsiteY668" fmla="*/ 5433206 h 6557032"/>
              <a:gd name="connsiteX669" fmla="*/ 1681867 w 4610101"/>
              <a:gd name="connsiteY669" fmla="*/ 5430929 h 6557032"/>
              <a:gd name="connsiteX670" fmla="*/ 1678222 w 4610101"/>
              <a:gd name="connsiteY670" fmla="*/ 5418174 h 6557032"/>
              <a:gd name="connsiteX671" fmla="*/ 1632669 w 4610101"/>
              <a:gd name="connsiteY671" fmla="*/ 5403596 h 6557032"/>
              <a:gd name="connsiteX672" fmla="*/ 1625380 w 4610101"/>
              <a:gd name="connsiteY672" fmla="*/ 5403596 h 6557032"/>
              <a:gd name="connsiteX673" fmla="*/ 1610802 w 4610101"/>
              <a:gd name="connsiteY673" fmla="*/ 5401774 h 6557032"/>
              <a:gd name="connsiteX674" fmla="*/ 1587114 w 4610101"/>
              <a:gd name="connsiteY674" fmla="*/ 5372620 h 6557032"/>
              <a:gd name="connsiteX675" fmla="*/ 1565247 w 4610101"/>
              <a:gd name="connsiteY675" fmla="*/ 5372620 h 6557032"/>
              <a:gd name="connsiteX676" fmla="*/ 1548848 w 4610101"/>
              <a:gd name="connsiteY676" fmla="*/ 5350753 h 6557032"/>
              <a:gd name="connsiteX677" fmla="*/ 1526982 w 4610101"/>
              <a:gd name="connsiteY677" fmla="*/ 5343465 h 6557032"/>
              <a:gd name="connsiteX678" fmla="*/ 1534270 w 4610101"/>
              <a:gd name="connsiteY678" fmla="*/ 5321598 h 6557032"/>
              <a:gd name="connsiteX679" fmla="*/ 1526982 w 4610101"/>
              <a:gd name="connsiteY679" fmla="*/ 5299733 h 6557032"/>
              <a:gd name="connsiteX680" fmla="*/ 1488716 w 4610101"/>
              <a:gd name="connsiteY680" fmla="*/ 5314310 h 6557032"/>
              <a:gd name="connsiteX681" fmla="*/ 1474139 w 4610101"/>
              <a:gd name="connsiteY681" fmla="*/ 5314310 h 6557032"/>
              <a:gd name="connsiteX682" fmla="*/ 1443162 w 4610101"/>
              <a:gd name="connsiteY682" fmla="*/ 5290622 h 6557032"/>
              <a:gd name="connsiteX683" fmla="*/ 1450451 w 4610101"/>
              <a:gd name="connsiteY683" fmla="*/ 5270578 h 6557032"/>
              <a:gd name="connsiteX684" fmla="*/ 1443162 w 4610101"/>
              <a:gd name="connsiteY684" fmla="*/ 5261467 h 6557032"/>
              <a:gd name="connsiteX685" fmla="*/ 1421296 w 4610101"/>
              <a:gd name="connsiteY685" fmla="*/ 5277866 h 6557032"/>
              <a:gd name="connsiteX686" fmla="*/ 1406718 w 4610101"/>
              <a:gd name="connsiteY686" fmla="*/ 5246890 h 6557032"/>
              <a:gd name="connsiteX687" fmla="*/ 1421296 w 4610101"/>
              <a:gd name="connsiteY687" fmla="*/ 5215913 h 6557032"/>
              <a:gd name="connsiteX688" fmla="*/ 1414007 w 4610101"/>
              <a:gd name="connsiteY688" fmla="*/ 5201335 h 6557032"/>
              <a:gd name="connsiteX689" fmla="*/ 1423118 w 4610101"/>
              <a:gd name="connsiteY689" fmla="*/ 5190402 h 6557032"/>
              <a:gd name="connsiteX690" fmla="*/ 1437695 w 4610101"/>
              <a:gd name="connsiteY690" fmla="*/ 5186758 h 6557032"/>
              <a:gd name="connsiteX691" fmla="*/ 1428584 w 4610101"/>
              <a:gd name="connsiteY691" fmla="*/ 5172179 h 6557032"/>
              <a:gd name="connsiteX692" fmla="*/ 1452273 w 4610101"/>
              <a:gd name="connsiteY692" fmla="*/ 5164891 h 6557032"/>
              <a:gd name="connsiteX693" fmla="*/ 1481427 w 4610101"/>
              <a:gd name="connsiteY693" fmla="*/ 5172179 h 6557032"/>
              <a:gd name="connsiteX694" fmla="*/ 1497827 w 4610101"/>
              <a:gd name="connsiteY694" fmla="*/ 5184935 h 6557032"/>
              <a:gd name="connsiteX695" fmla="*/ 1497827 w 4610101"/>
              <a:gd name="connsiteY695" fmla="*/ 5199513 h 6557032"/>
              <a:gd name="connsiteX696" fmla="*/ 1497827 w 4610101"/>
              <a:gd name="connsiteY696" fmla="*/ 5206802 h 6557032"/>
              <a:gd name="connsiteX697" fmla="*/ 1497827 w 4610101"/>
              <a:gd name="connsiteY697" fmla="*/ 5223201 h 6557032"/>
              <a:gd name="connsiteX698" fmla="*/ 1506938 w 4610101"/>
              <a:gd name="connsiteY698" fmla="*/ 5239601 h 6557032"/>
              <a:gd name="connsiteX699" fmla="*/ 1492360 w 4610101"/>
              <a:gd name="connsiteY699" fmla="*/ 5259645 h 6557032"/>
              <a:gd name="connsiteX700" fmla="*/ 1499649 w 4610101"/>
              <a:gd name="connsiteY700" fmla="*/ 5270578 h 6557032"/>
              <a:gd name="connsiteX701" fmla="*/ 1536093 w 4610101"/>
              <a:gd name="connsiteY701" fmla="*/ 5230490 h 6557032"/>
              <a:gd name="connsiteX702" fmla="*/ 1528804 w 4610101"/>
              <a:gd name="connsiteY702" fmla="*/ 5208624 h 6557032"/>
              <a:gd name="connsiteX703" fmla="*/ 1588936 w 4610101"/>
              <a:gd name="connsiteY703" fmla="*/ 5117514 h 6557032"/>
              <a:gd name="connsiteX704" fmla="*/ 1603513 w 4610101"/>
              <a:gd name="connsiteY704" fmla="*/ 5124803 h 6557032"/>
              <a:gd name="connsiteX705" fmla="*/ 1610802 w 4610101"/>
              <a:gd name="connsiteY705" fmla="*/ 5110226 h 6557032"/>
              <a:gd name="connsiteX706" fmla="*/ 1632669 w 4610101"/>
              <a:gd name="connsiteY706" fmla="*/ 5110226 h 6557032"/>
              <a:gd name="connsiteX707" fmla="*/ 1641780 w 4610101"/>
              <a:gd name="connsiteY707" fmla="*/ 5097470 h 6557032"/>
              <a:gd name="connsiteX708" fmla="*/ 1663645 w 4610101"/>
              <a:gd name="connsiteY708" fmla="*/ 5088359 h 6557032"/>
              <a:gd name="connsiteX709" fmla="*/ 1709199 w 4610101"/>
              <a:gd name="connsiteY709" fmla="*/ 5095648 h 6557032"/>
              <a:gd name="connsiteX710" fmla="*/ 1740176 w 4610101"/>
              <a:gd name="connsiteY710" fmla="*/ 5073782 h 6557032"/>
              <a:gd name="connsiteX711" fmla="*/ 956641 w 4610101"/>
              <a:gd name="connsiteY711" fmla="*/ 5064671 h 6557032"/>
              <a:gd name="connsiteX712" fmla="*/ 994907 w 4610101"/>
              <a:gd name="connsiteY712" fmla="*/ 5095648 h 6557032"/>
              <a:gd name="connsiteX713" fmla="*/ 1002196 w 4610101"/>
              <a:gd name="connsiteY713" fmla="*/ 5110226 h 6557032"/>
              <a:gd name="connsiteX714" fmla="*/ 1002196 w 4610101"/>
              <a:gd name="connsiteY714" fmla="*/ 5117514 h 6557032"/>
              <a:gd name="connsiteX715" fmla="*/ 1007663 w 4610101"/>
              <a:gd name="connsiteY715" fmla="*/ 5139380 h 6557032"/>
              <a:gd name="connsiteX716" fmla="*/ 971219 w 4610101"/>
              <a:gd name="connsiteY716" fmla="*/ 5170357 h 6557032"/>
              <a:gd name="connsiteX717" fmla="*/ 971219 w 4610101"/>
              <a:gd name="connsiteY717" fmla="*/ 5194045 h 6557032"/>
              <a:gd name="connsiteX718" fmla="*/ 942063 w 4610101"/>
              <a:gd name="connsiteY718" fmla="*/ 5184934 h 6557032"/>
              <a:gd name="connsiteX719" fmla="*/ 934775 w 4610101"/>
              <a:gd name="connsiteY719" fmla="*/ 5199512 h 6557032"/>
              <a:gd name="connsiteX720" fmla="*/ 909264 w 4610101"/>
              <a:gd name="connsiteY720" fmla="*/ 5197690 h 6557032"/>
              <a:gd name="connsiteX721" fmla="*/ 918375 w 4610101"/>
              <a:gd name="connsiteY721" fmla="*/ 5161246 h 6557032"/>
              <a:gd name="connsiteX722" fmla="*/ 887398 w 4610101"/>
              <a:gd name="connsiteY722" fmla="*/ 5159424 h 6557032"/>
              <a:gd name="connsiteX723" fmla="*/ 911086 w 4610101"/>
              <a:gd name="connsiteY723" fmla="*/ 5137558 h 6557032"/>
              <a:gd name="connsiteX724" fmla="*/ 907442 w 4610101"/>
              <a:gd name="connsiteY724" fmla="*/ 5108403 h 6557032"/>
              <a:gd name="connsiteX725" fmla="*/ 912909 w 4610101"/>
              <a:gd name="connsiteY725" fmla="*/ 5086537 h 6557032"/>
              <a:gd name="connsiteX726" fmla="*/ 927486 w 4610101"/>
              <a:gd name="connsiteY726" fmla="*/ 5070138 h 6557032"/>
              <a:gd name="connsiteX727" fmla="*/ 940241 w 4610101"/>
              <a:gd name="connsiteY727" fmla="*/ 5077426 h 6557032"/>
              <a:gd name="connsiteX728" fmla="*/ 2292295 w 4610101"/>
              <a:gd name="connsiteY728" fmla="*/ 5050093 h 6557032"/>
              <a:gd name="connsiteX729" fmla="*/ 2306873 w 4610101"/>
              <a:gd name="connsiteY729" fmla="*/ 5064671 h 6557032"/>
              <a:gd name="connsiteX730" fmla="*/ 2292295 w 4610101"/>
              <a:gd name="connsiteY730" fmla="*/ 5064671 h 6557032"/>
              <a:gd name="connsiteX731" fmla="*/ 1129748 w 4610101"/>
              <a:gd name="connsiteY731" fmla="*/ 5042806 h 6557032"/>
              <a:gd name="connsiteX732" fmla="*/ 1115170 w 4610101"/>
              <a:gd name="connsiteY732" fmla="*/ 5073783 h 6557032"/>
              <a:gd name="connsiteX733" fmla="*/ 1129748 w 4610101"/>
              <a:gd name="connsiteY733" fmla="*/ 5042806 h 6557032"/>
              <a:gd name="connsiteX734" fmla="*/ 1800308 w 4610101"/>
              <a:gd name="connsiteY734" fmla="*/ 5017295 h 6557032"/>
              <a:gd name="connsiteX735" fmla="*/ 1802130 w 4610101"/>
              <a:gd name="connsiteY735" fmla="*/ 5042806 h 6557032"/>
              <a:gd name="connsiteX736" fmla="*/ 1785730 w 4610101"/>
              <a:gd name="connsiteY736" fmla="*/ 5033695 h 6557032"/>
              <a:gd name="connsiteX737" fmla="*/ 807223 w 4610101"/>
              <a:gd name="connsiteY737" fmla="*/ 5011829 h 6557032"/>
              <a:gd name="connsiteX738" fmla="*/ 823623 w 4610101"/>
              <a:gd name="connsiteY738" fmla="*/ 5020940 h 6557032"/>
              <a:gd name="connsiteX739" fmla="*/ 798114 w 4610101"/>
              <a:gd name="connsiteY739" fmla="*/ 5042806 h 6557032"/>
              <a:gd name="connsiteX740" fmla="*/ 796290 w 4610101"/>
              <a:gd name="connsiteY740" fmla="*/ 5066494 h 6557032"/>
              <a:gd name="connsiteX741" fmla="*/ 783535 w 4610101"/>
              <a:gd name="connsiteY741" fmla="*/ 5050095 h 6557032"/>
              <a:gd name="connsiteX742" fmla="*/ 798112 w 4610101"/>
              <a:gd name="connsiteY742" fmla="*/ 5042806 h 6557032"/>
              <a:gd name="connsiteX743" fmla="*/ 2368827 w 4610101"/>
              <a:gd name="connsiteY743" fmla="*/ 5004540 h 6557032"/>
              <a:gd name="connsiteX744" fmla="*/ 2383405 w 4610101"/>
              <a:gd name="connsiteY744" fmla="*/ 5013651 h 6557032"/>
              <a:gd name="connsiteX745" fmla="*/ 2368827 w 4610101"/>
              <a:gd name="connsiteY745" fmla="*/ 5026407 h 6557032"/>
              <a:gd name="connsiteX746" fmla="*/ 2359716 w 4610101"/>
              <a:gd name="connsiteY746" fmla="*/ 5019118 h 6557032"/>
              <a:gd name="connsiteX747" fmla="*/ 1506938 w 4610101"/>
              <a:gd name="connsiteY747" fmla="*/ 5002718 h 6557032"/>
              <a:gd name="connsiteX748" fmla="*/ 1537915 w 4610101"/>
              <a:gd name="connsiteY748" fmla="*/ 5002718 h 6557032"/>
              <a:gd name="connsiteX749" fmla="*/ 1552494 w 4610101"/>
              <a:gd name="connsiteY749" fmla="*/ 5031873 h 6557032"/>
              <a:gd name="connsiteX750" fmla="*/ 1537915 w 4610101"/>
              <a:gd name="connsiteY750" fmla="*/ 5040984 h 6557032"/>
              <a:gd name="connsiteX751" fmla="*/ 1530627 w 4610101"/>
              <a:gd name="connsiteY751" fmla="*/ 5019118 h 6557032"/>
              <a:gd name="connsiteX752" fmla="*/ 1506938 w 4610101"/>
              <a:gd name="connsiteY752" fmla="*/ 5002718 h 6557032"/>
              <a:gd name="connsiteX753" fmla="*/ 1033173 w 4610101"/>
              <a:gd name="connsiteY753" fmla="*/ 4975385 h 6557032"/>
              <a:gd name="connsiteX754" fmla="*/ 1053217 w 4610101"/>
              <a:gd name="connsiteY754" fmla="*/ 4975385 h 6557032"/>
              <a:gd name="connsiteX755" fmla="*/ 1060507 w 4610101"/>
              <a:gd name="connsiteY755" fmla="*/ 4995429 h 6557032"/>
              <a:gd name="connsiteX756" fmla="*/ 1045929 w 4610101"/>
              <a:gd name="connsiteY756" fmla="*/ 5013651 h 6557032"/>
              <a:gd name="connsiteX757" fmla="*/ 1025884 w 4610101"/>
              <a:gd name="connsiteY757" fmla="*/ 4997252 h 6557032"/>
              <a:gd name="connsiteX758" fmla="*/ 2926412 w 4610101"/>
              <a:gd name="connsiteY758" fmla="*/ 4973563 h 6557032"/>
              <a:gd name="connsiteX759" fmla="*/ 2948278 w 4610101"/>
              <a:gd name="connsiteY759" fmla="*/ 4973563 h 6557032"/>
              <a:gd name="connsiteX760" fmla="*/ 2948278 w 4610101"/>
              <a:gd name="connsiteY760" fmla="*/ 5011828 h 6557032"/>
              <a:gd name="connsiteX761" fmla="*/ 2926412 w 4610101"/>
              <a:gd name="connsiteY761" fmla="*/ 4973563 h 6557032"/>
              <a:gd name="connsiteX762" fmla="*/ 1144326 w 4610101"/>
              <a:gd name="connsiteY762" fmla="*/ 4949875 h 6557032"/>
              <a:gd name="connsiteX763" fmla="*/ 1151614 w 4610101"/>
              <a:gd name="connsiteY763" fmla="*/ 4964453 h 6557032"/>
              <a:gd name="connsiteX764" fmla="*/ 1144326 w 4610101"/>
              <a:gd name="connsiteY764" fmla="*/ 4975386 h 6557032"/>
              <a:gd name="connsiteX765" fmla="*/ 1129748 w 4610101"/>
              <a:gd name="connsiteY765" fmla="*/ 4964453 h 6557032"/>
              <a:gd name="connsiteX766" fmla="*/ 3332756 w 4610101"/>
              <a:gd name="connsiteY766" fmla="*/ 4942586 h 6557032"/>
              <a:gd name="connsiteX767" fmla="*/ 3349156 w 4610101"/>
              <a:gd name="connsiteY767" fmla="*/ 4953519 h 6557032"/>
              <a:gd name="connsiteX768" fmla="*/ 3334579 w 4610101"/>
              <a:gd name="connsiteY768" fmla="*/ 4968097 h 6557032"/>
              <a:gd name="connsiteX769" fmla="*/ 1649067 w 4610101"/>
              <a:gd name="connsiteY769" fmla="*/ 4929831 h 6557032"/>
              <a:gd name="connsiteX770" fmla="*/ 1667290 w 4610101"/>
              <a:gd name="connsiteY770" fmla="*/ 4944409 h 6557032"/>
              <a:gd name="connsiteX771" fmla="*/ 1658179 w 4610101"/>
              <a:gd name="connsiteY771" fmla="*/ 4958986 h 6557032"/>
              <a:gd name="connsiteX772" fmla="*/ 1681867 w 4610101"/>
              <a:gd name="connsiteY772" fmla="*/ 4958986 h 6557032"/>
              <a:gd name="connsiteX773" fmla="*/ 1703733 w 4610101"/>
              <a:gd name="connsiteY773" fmla="*/ 4937119 h 6557032"/>
              <a:gd name="connsiteX774" fmla="*/ 1734710 w 4610101"/>
              <a:gd name="connsiteY774" fmla="*/ 4958986 h 6557032"/>
              <a:gd name="connsiteX775" fmla="*/ 1747465 w 4610101"/>
              <a:gd name="connsiteY775" fmla="*/ 4988141 h 6557032"/>
              <a:gd name="connsiteX776" fmla="*/ 1725599 w 4610101"/>
              <a:gd name="connsiteY776" fmla="*/ 5013651 h 6557032"/>
              <a:gd name="connsiteX777" fmla="*/ 1725599 w 4610101"/>
              <a:gd name="connsiteY777" fmla="*/ 5026406 h 6557032"/>
              <a:gd name="connsiteX778" fmla="*/ 1741998 w 4610101"/>
              <a:gd name="connsiteY778" fmla="*/ 5042805 h 6557032"/>
              <a:gd name="connsiteX779" fmla="*/ 1725599 w 4610101"/>
              <a:gd name="connsiteY779" fmla="*/ 5042805 h 6557032"/>
              <a:gd name="connsiteX780" fmla="*/ 1725599 w 4610101"/>
              <a:gd name="connsiteY780" fmla="*/ 5028230 h 6557032"/>
              <a:gd name="connsiteX781" fmla="*/ 1718310 w 4610101"/>
              <a:gd name="connsiteY781" fmla="*/ 5035517 h 6557032"/>
              <a:gd name="connsiteX782" fmla="*/ 1696444 w 4610101"/>
              <a:gd name="connsiteY782" fmla="*/ 5031873 h 6557032"/>
              <a:gd name="connsiteX783" fmla="*/ 1680044 w 4610101"/>
              <a:gd name="connsiteY783" fmla="*/ 5028229 h 6557032"/>
              <a:gd name="connsiteX784" fmla="*/ 1658178 w 4610101"/>
              <a:gd name="connsiteY784" fmla="*/ 4997252 h 6557032"/>
              <a:gd name="connsiteX785" fmla="*/ 1663645 w 4610101"/>
              <a:gd name="connsiteY785" fmla="*/ 4968097 h 6557032"/>
              <a:gd name="connsiteX786" fmla="*/ 1658178 w 4610101"/>
              <a:gd name="connsiteY786" fmla="*/ 4958987 h 6557032"/>
              <a:gd name="connsiteX787" fmla="*/ 1645423 w 4610101"/>
              <a:gd name="connsiteY787" fmla="*/ 4966275 h 6557032"/>
              <a:gd name="connsiteX788" fmla="*/ 1629023 w 4610101"/>
              <a:gd name="connsiteY788" fmla="*/ 4944409 h 6557032"/>
              <a:gd name="connsiteX789" fmla="*/ 3287202 w 4610101"/>
              <a:gd name="connsiteY789" fmla="*/ 4929830 h 6557032"/>
              <a:gd name="connsiteX790" fmla="*/ 3310891 w 4610101"/>
              <a:gd name="connsiteY790" fmla="*/ 4929830 h 6557032"/>
              <a:gd name="connsiteX791" fmla="*/ 3301780 w 4610101"/>
              <a:gd name="connsiteY791" fmla="*/ 4946230 h 6557032"/>
              <a:gd name="connsiteX792" fmla="*/ 2751484 w 4610101"/>
              <a:gd name="connsiteY792" fmla="*/ 4928009 h 6557032"/>
              <a:gd name="connsiteX793" fmla="*/ 2758772 w 4610101"/>
              <a:gd name="connsiteY793" fmla="*/ 4942586 h 6557032"/>
              <a:gd name="connsiteX794" fmla="*/ 2751484 w 4610101"/>
              <a:gd name="connsiteY794" fmla="*/ 4951697 h 6557032"/>
              <a:gd name="connsiteX795" fmla="*/ 2735084 w 4610101"/>
              <a:gd name="connsiteY795" fmla="*/ 4942586 h 6557032"/>
              <a:gd name="connsiteX796" fmla="*/ 1098771 w 4610101"/>
              <a:gd name="connsiteY796" fmla="*/ 4928009 h 6557032"/>
              <a:gd name="connsiteX797" fmla="*/ 1129749 w 4610101"/>
              <a:gd name="connsiteY797" fmla="*/ 4928009 h 6557032"/>
              <a:gd name="connsiteX798" fmla="*/ 1106060 w 4610101"/>
              <a:gd name="connsiteY798" fmla="*/ 4957164 h 6557032"/>
              <a:gd name="connsiteX799" fmla="*/ 2102790 w 4610101"/>
              <a:gd name="connsiteY799" fmla="*/ 4922542 h 6557032"/>
              <a:gd name="connsiteX800" fmla="*/ 2126478 w 4610101"/>
              <a:gd name="connsiteY800" fmla="*/ 4929831 h 6557032"/>
              <a:gd name="connsiteX801" fmla="*/ 2104612 w 4610101"/>
              <a:gd name="connsiteY801" fmla="*/ 4951697 h 6557032"/>
              <a:gd name="connsiteX802" fmla="*/ 2095501 w 4610101"/>
              <a:gd name="connsiteY802" fmla="*/ 4929831 h 6557032"/>
              <a:gd name="connsiteX803" fmla="*/ 2787927 w 4610101"/>
              <a:gd name="connsiteY803" fmla="*/ 4920719 h 6557032"/>
              <a:gd name="connsiteX804" fmla="*/ 2797038 w 4610101"/>
              <a:gd name="connsiteY804" fmla="*/ 4937119 h 6557032"/>
              <a:gd name="connsiteX805" fmla="*/ 2773349 w 4610101"/>
              <a:gd name="connsiteY805" fmla="*/ 4935297 h 6557032"/>
              <a:gd name="connsiteX806" fmla="*/ 1885950 w 4610101"/>
              <a:gd name="connsiteY806" fmla="*/ 4915253 h 6557032"/>
              <a:gd name="connsiteX807" fmla="*/ 1907816 w 4610101"/>
              <a:gd name="connsiteY807" fmla="*/ 4915253 h 6557032"/>
              <a:gd name="connsiteX808" fmla="*/ 1898705 w 4610101"/>
              <a:gd name="connsiteY808" fmla="*/ 4928009 h 6557032"/>
              <a:gd name="connsiteX809" fmla="*/ 1885950 w 4610101"/>
              <a:gd name="connsiteY809" fmla="*/ 4929830 h 6557032"/>
              <a:gd name="connsiteX810" fmla="*/ 2653086 w 4610101"/>
              <a:gd name="connsiteY810" fmla="*/ 4904320 h 6557032"/>
              <a:gd name="connsiteX811" fmla="*/ 2653086 w 4610101"/>
              <a:gd name="connsiteY811" fmla="*/ 4929831 h 6557032"/>
              <a:gd name="connsiteX812" fmla="*/ 2638508 w 4610101"/>
              <a:gd name="connsiteY812" fmla="*/ 4920720 h 6557032"/>
              <a:gd name="connsiteX813" fmla="*/ 3205203 w 4610101"/>
              <a:gd name="connsiteY813" fmla="*/ 4898854 h 6557032"/>
              <a:gd name="connsiteX814" fmla="*/ 3205203 w 4610101"/>
              <a:gd name="connsiteY814" fmla="*/ 4920720 h 6557032"/>
              <a:gd name="connsiteX815" fmla="*/ 3190626 w 4610101"/>
              <a:gd name="connsiteY815" fmla="*/ 4920720 h 6557032"/>
              <a:gd name="connsiteX816" fmla="*/ 3205203 w 4610101"/>
              <a:gd name="connsiteY816" fmla="*/ 4898854 h 6557032"/>
              <a:gd name="connsiteX817" fmla="*/ 1067794 w 4610101"/>
              <a:gd name="connsiteY817" fmla="*/ 4889742 h 6557032"/>
              <a:gd name="connsiteX818" fmla="*/ 1076904 w 4610101"/>
              <a:gd name="connsiteY818" fmla="*/ 4906142 h 6557032"/>
              <a:gd name="connsiteX819" fmla="*/ 1053216 w 4610101"/>
              <a:gd name="connsiteY819" fmla="*/ 4904319 h 6557032"/>
              <a:gd name="connsiteX820" fmla="*/ 1694622 w 4610101"/>
              <a:gd name="connsiteY820" fmla="*/ 4869699 h 6557032"/>
              <a:gd name="connsiteX821" fmla="*/ 1701911 w 4610101"/>
              <a:gd name="connsiteY821" fmla="*/ 4875166 h 6557032"/>
              <a:gd name="connsiteX822" fmla="*/ 1694622 w 4610101"/>
              <a:gd name="connsiteY822" fmla="*/ 4906143 h 6557032"/>
              <a:gd name="connsiteX823" fmla="*/ 1681867 w 4610101"/>
              <a:gd name="connsiteY823" fmla="*/ 4906143 h 6557032"/>
              <a:gd name="connsiteX824" fmla="*/ 1674578 w 4610101"/>
              <a:gd name="connsiteY824" fmla="*/ 4884276 h 6557032"/>
              <a:gd name="connsiteX825" fmla="*/ 2893613 w 4610101"/>
              <a:gd name="connsiteY825" fmla="*/ 4869698 h 6557032"/>
              <a:gd name="connsiteX826" fmla="*/ 2919124 w 4610101"/>
              <a:gd name="connsiteY826" fmla="*/ 4869698 h 6557032"/>
              <a:gd name="connsiteX827" fmla="*/ 2910013 w 4610101"/>
              <a:gd name="connsiteY827" fmla="*/ 4886098 h 6557032"/>
              <a:gd name="connsiteX828" fmla="*/ 329813 w 4610101"/>
              <a:gd name="connsiteY828" fmla="*/ 4869698 h 6557032"/>
              <a:gd name="connsiteX829" fmla="*/ 353501 w 4610101"/>
              <a:gd name="connsiteY829" fmla="*/ 4869698 h 6557032"/>
              <a:gd name="connsiteX830" fmla="*/ 344391 w 4610101"/>
              <a:gd name="connsiteY830" fmla="*/ 4886098 h 6557032"/>
              <a:gd name="connsiteX831" fmla="*/ 1497827 w 4610101"/>
              <a:gd name="connsiteY831" fmla="*/ 4838722 h 6557032"/>
              <a:gd name="connsiteX832" fmla="*/ 1523339 w 4610101"/>
              <a:gd name="connsiteY832" fmla="*/ 4847833 h 6557032"/>
              <a:gd name="connsiteX833" fmla="*/ 1506938 w 4610101"/>
              <a:gd name="connsiteY833" fmla="*/ 4860589 h 6557032"/>
              <a:gd name="connsiteX834" fmla="*/ 1854973 w 4610101"/>
              <a:gd name="connsiteY834" fmla="*/ 4838721 h 6557032"/>
              <a:gd name="connsiteX835" fmla="*/ 1876840 w 4610101"/>
              <a:gd name="connsiteY835" fmla="*/ 4869698 h 6557032"/>
              <a:gd name="connsiteX836" fmla="*/ 1876840 w 4610101"/>
              <a:gd name="connsiteY836" fmla="*/ 4884276 h 6557032"/>
              <a:gd name="connsiteX837" fmla="*/ 1869551 w 4610101"/>
              <a:gd name="connsiteY837" fmla="*/ 4906142 h 6557032"/>
              <a:gd name="connsiteX838" fmla="*/ 1840395 w 4610101"/>
              <a:gd name="connsiteY838" fmla="*/ 4860588 h 6557032"/>
              <a:gd name="connsiteX839" fmla="*/ 843667 w 4610101"/>
              <a:gd name="connsiteY839" fmla="*/ 4838721 h 6557032"/>
              <a:gd name="connsiteX840" fmla="*/ 889222 w 4610101"/>
              <a:gd name="connsiteY840" fmla="*/ 4860588 h 6557032"/>
              <a:gd name="connsiteX841" fmla="*/ 889222 w 4610101"/>
              <a:gd name="connsiteY841" fmla="*/ 4867876 h 6557032"/>
              <a:gd name="connsiteX842" fmla="*/ 874643 w 4610101"/>
              <a:gd name="connsiteY842" fmla="*/ 4898853 h 6557032"/>
              <a:gd name="connsiteX843" fmla="*/ 889222 w 4610101"/>
              <a:gd name="connsiteY843" fmla="*/ 4907964 h 6557032"/>
              <a:gd name="connsiteX844" fmla="*/ 874643 w 4610101"/>
              <a:gd name="connsiteY844" fmla="*/ 4907964 h 6557032"/>
              <a:gd name="connsiteX845" fmla="*/ 874643 w 4610101"/>
              <a:gd name="connsiteY845" fmla="*/ 4929830 h 6557032"/>
              <a:gd name="connsiteX846" fmla="*/ 821800 w 4610101"/>
              <a:gd name="connsiteY846" fmla="*/ 4891565 h 6557032"/>
              <a:gd name="connsiteX847" fmla="*/ 830911 w 4610101"/>
              <a:gd name="connsiteY847" fmla="*/ 4855121 h 6557032"/>
              <a:gd name="connsiteX848" fmla="*/ 1401251 w 4610101"/>
              <a:gd name="connsiteY848" fmla="*/ 4831434 h 6557032"/>
              <a:gd name="connsiteX849" fmla="*/ 1401251 w 4610101"/>
              <a:gd name="connsiteY849" fmla="*/ 4853301 h 6557032"/>
              <a:gd name="connsiteX850" fmla="*/ 1379385 w 4610101"/>
              <a:gd name="connsiteY850" fmla="*/ 4838723 h 6557032"/>
              <a:gd name="connsiteX851" fmla="*/ 1650890 w 4610101"/>
              <a:gd name="connsiteY851" fmla="*/ 4829611 h 6557032"/>
              <a:gd name="connsiteX852" fmla="*/ 1658179 w 4610101"/>
              <a:gd name="connsiteY852" fmla="*/ 4829611 h 6557032"/>
              <a:gd name="connsiteX853" fmla="*/ 1658179 w 4610101"/>
              <a:gd name="connsiteY853" fmla="*/ 4867877 h 6557032"/>
              <a:gd name="connsiteX854" fmla="*/ 1650890 w 4610101"/>
              <a:gd name="connsiteY854" fmla="*/ 4829611 h 6557032"/>
              <a:gd name="connsiteX855" fmla="*/ 3529551 w 4610101"/>
              <a:gd name="connsiteY855" fmla="*/ 4829610 h 6557032"/>
              <a:gd name="connsiteX856" fmla="*/ 3553239 w 4610101"/>
              <a:gd name="connsiteY856" fmla="*/ 4846010 h 6557032"/>
              <a:gd name="connsiteX857" fmla="*/ 3567816 w 4610101"/>
              <a:gd name="connsiteY857" fmla="*/ 4838721 h 6557032"/>
              <a:gd name="connsiteX858" fmla="*/ 3582394 w 4610101"/>
              <a:gd name="connsiteY858" fmla="*/ 4869698 h 6557032"/>
              <a:gd name="connsiteX859" fmla="*/ 3582394 w 4610101"/>
              <a:gd name="connsiteY859" fmla="*/ 4891565 h 6557032"/>
              <a:gd name="connsiteX860" fmla="*/ 3560528 w 4610101"/>
              <a:gd name="connsiteY860" fmla="*/ 4906142 h 6557032"/>
              <a:gd name="connsiteX861" fmla="*/ 3514973 w 4610101"/>
              <a:gd name="connsiteY861" fmla="*/ 4875165 h 6557032"/>
              <a:gd name="connsiteX862" fmla="*/ 3529551 w 4610101"/>
              <a:gd name="connsiteY862" fmla="*/ 4829610 h 6557032"/>
              <a:gd name="connsiteX863" fmla="*/ 1144326 w 4610101"/>
              <a:gd name="connsiteY863" fmla="*/ 4815033 h 6557032"/>
              <a:gd name="connsiteX864" fmla="*/ 1146148 w 4610101"/>
              <a:gd name="connsiteY864" fmla="*/ 4831433 h 6557032"/>
              <a:gd name="connsiteX865" fmla="*/ 1129748 w 4610101"/>
              <a:gd name="connsiteY865" fmla="*/ 4829610 h 6557032"/>
              <a:gd name="connsiteX866" fmla="*/ 2797038 w 4610101"/>
              <a:gd name="connsiteY866" fmla="*/ 4807746 h 6557032"/>
              <a:gd name="connsiteX867" fmla="*/ 2795215 w 4610101"/>
              <a:gd name="connsiteY867" fmla="*/ 4833257 h 6557032"/>
              <a:gd name="connsiteX868" fmla="*/ 2773349 w 4610101"/>
              <a:gd name="connsiteY868" fmla="*/ 4809569 h 6557032"/>
              <a:gd name="connsiteX869" fmla="*/ 2472690 w 4610101"/>
              <a:gd name="connsiteY869" fmla="*/ 4807745 h 6557032"/>
              <a:gd name="connsiteX870" fmla="*/ 2489090 w 4610101"/>
              <a:gd name="connsiteY870" fmla="*/ 4807745 h 6557032"/>
              <a:gd name="connsiteX871" fmla="*/ 2489090 w 4610101"/>
              <a:gd name="connsiteY871" fmla="*/ 4824144 h 6557032"/>
              <a:gd name="connsiteX872" fmla="*/ 2503666 w 4610101"/>
              <a:gd name="connsiteY872" fmla="*/ 4824144 h 6557032"/>
              <a:gd name="connsiteX873" fmla="*/ 2501844 w 4610101"/>
              <a:gd name="connsiteY873" fmla="*/ 4840544 h 6557032"/>
              <a:gd name="connsiteX874" fmla="*/ 2489090 w 4610101"/>
              <a:gd name="connsiteY874" fmla="*/ 4824145 h 6557032"/>
              <a:gd name="connsiteX875" fmla="*/ 2479979 w 4610101"/>
              <a:gd name="connsiteY875" fmla="*/ 4816856 h 6557032"/>
              <a:gd name="connsiteX876" fmla="*/ 3678970 w 4610101"/>
              <a:gd name="connsiteY876" fmla="*/ 4798635 h 6557032"/>
              <a:gd name="connsiteX877" fmla="*/ 3686259 w 4610101"/>
              <a:gd name="connsiteY877" fmla="*/ 4815035 h 6557032"/>
              <a:gd name="connsiteX878" fmla="*/ 3678970 w 4610101"/>
              <a:gd name="connsiteY878" fmla="*/ 4824146 h 6557032"/>
              <a:gd name="connsiteX879" fmla="*/ 3664393 w 4610101"/>
              <a:gd name="connsiteY879" fmla="*/ 4815035 h 6557032"/>
              <a:gd name="connsiteX880" fmla="*/ 1732888 w 4610101"/>
              <a:gd name="connsiteY880" fmla="*/ 4798635 h 6557032"/>
              <a:gd name="connsiteX881" fmla="*/ 1740177 w 4610101"/>
              <a:gd name="connsiteY881" fmla="*/ 4815035 h 6557032"/>
              <a:gd name="connsiteX882" fmla="*/ 1732888 w 4610101"/>
              <a:gd name="connsiteY882" fmla="*/ 4824146 h 6557032"/>
              <a:gd name="connsiteX883" fmla="*/ 1716488 w 4610101"/>
              <a:gd name="connsiteY883" fmla="*/ 4815035 h 6557032"/>
              <a:gd name="connsiteX884" fmla="*/ 2472691 w 4610101"/>
              <a:gd name="connsiteY884" fmla="*/ 4787700 h 6557032"/>
              <a:gd name="connsiteX885" fmla="*/ 2481802 w 4610101"/>
              <a:gd name="connsiteY885" fmla="*/ 4793167 h 6557032"/>
              <a:gd name="connsiteX886" fmla="*/ 2472691 w 4610101"/>
              <a:gd name="connsiteY886" fmla="*/ 4807744 h 6557032"/>
              <a:gd name="connsiteX887" fmla="*/ 2456291 w 4610101"/>
              <a:gd name="connsiteY887" fmla="*/ 4798633 h 6557032"/>
              <a:gd name="connsiteX888" fmla="*/ 3301780 w 4610101"/>
              <a:gd name="connsiteY888" fmla="*/ 4769479 h 6557032"/>
              <a:gd name="connsiteX889" fmla="*/ 3310891 w 4610101"/>
              <a:gd name="connsiteY889" fmla="*/ 4785879 h 6557032"/>
              <a:gd name="connsiteX890" fmla="*/ 3287202 w 4610101"/>
              <a:gd name="connsiteY890" fmla="*/ 4784056 h 6557032"/>
              <a:gd name="connsiteX891" fmla="*/ 193151 w 4610101"/>
              <a:gd name="connsiteY891" fmla="*/ 4769479 h 6557032"/>
              <a:gd name="connsiteX892" fmla="*/ 202263 w 4610101"/>
              <a:gd name="connsiteY892" fmla="*/ 4785879 h 6557032"/>
              <a:gd name="connsiteX893" fmla="*/ 178573 w 4610101"/>
              <a:gd name="connsiteY893" fmla="*/ 4784056 h 6557032"/>
              <a:gd name="connsiteX894" fmla="*/ 1794841 w 4610101"/>
              <a:gd name="connsiteY894" fmla="*/ 4749435 h 6557032"/>
              <a:gd name="connsiteX895" fmla="*/ 1847684 w 4610101"/>
              <a:gd name="connsiteY895" fmla="*/ 4749435 h 6557032"/>
              <a:gd name="connsiteX896" fmla="*/ 1840395 w 4610101"/>
              <a:gd name="connsiteY896" fmla="*/ 4778590 h 6557032"/>
              <a:gd name="connsiteX897" fmla="*/ 1856795 w 4610101"/>
              <a:gd name="connsiteY897" fmla="*/ 4787701 h 6557032"/>
              <a:gd name="connsiteX898" fmla="*/ 1840395 w 4610101"/>
              <a:gd name="connsiteY898" fmla="*/ 4800456 h 6557032"/>
              <a:gd name="connsiteX899" fmla="*/ 1847684 w 4610101"/>
              <a:gd name="connsiteY899" fmla="*/ 4831433 h 6557032"/>
              <a:gd name="connsiteX900" fmla="*/ 1778441 w 4610101"/>
              <a:gd name="connsiteY900" fmla="*/ 4785879 h 6557032"/>
              <a:gd name="connsiteX901" fmla="*/ 1803952 w 4610101"/>
              <a:gd name="connsiteY901" fmla="*/ 4764013 h 6557032"/>
              <a:gd name="connsiteX902" fmla="*/ 1505115 w 4610101"/>
              <a:gd name="connsiteY902" fmla="*/ 4747613 h 6557032"/>
              <a:gd name="connsiteX903" fmla="*/ 1543382 w 4610101"/>
              <a:gd name="connsiteY903" fmla="*/ 4747613 h 6557032"/>
              <a:gd name="connsiteX904" fmla="*/ 1536093 w 4610101"/>
              <a:gd name="connsiteY904" fmla="*/ 4785879 h 6557032"/>
              <a:gd name="connsiteX905" fmla="*/ 1514226 w 4610101"/>
              <a:gd name="connsiteY905" fmla="*/ 4785879 h 6557032"/>
              <a:gd name="connsiteX906" fmla="*/ 1507794 w 4610101"/>
              <a:gd name="connsiteY906" fmla="*/ 4781056 h 6557032"/>
              <a:gd name="connsiteX907" fmla="*/ 1506937 w 4610101"/>
              <a:gd name="connsiteY907" fmla="*/ 4780413 h 6557032"/>
              <a:gd name="connsiteX908" fmla="*/ 1510582 w 4610101"/>
              <a:gd name="connsiteY908" fmla="*/ 4771302 h 6557032"/>
              <a:gd name="connsiteX909" fmla="*/ 2578376 w 4610101"/>
              <a:gd name="connsiteY909" fmla="*/ 4747612 h 6557032"/>
              <a:gd name="connsiteX910" fmla="*/ 2576553 w 4610101"/>
              <a:gd name="connsiteY910" fmla="*/ 4764012 h 6557032"/>
              <a:gd name="connsiteX911" fmla="*/ 2561976 w 4610101"/>
              <a:gd name="connsiteY911" fmla="*/ 4749435 h 6557032"/>
              <a:gd name="connsiteX912" fmla="*/ 2780639 w 4610101"/>
              <a:gd name="connsiteY912" fmla="*/ 4745792 h 6557032"/>
              <a:gd name="connsiteX913" fmla="*/ 2789750 w 4610101"/>
              <a:gd name="connsiteY913" fmla="*/ 4762192 h 6557032"/>
              <a:gd name="connsiteX914" fmla="*/ 2776994 w 4610101"/>
              <a:gd name="connsiteY914" fmla="*/ 4769480 h 6557032"/>
              <a:gd name="connsiteX915" fmla="*/ 2766061 w 4610101"/>
              <a:gd name="connsiteY915" fmla="*/ 4762192 h 6557032"/>
              <a:gd name="connsiteX916" fmla="*/ 4065270 w 4610101"/>
              <a:gd name="connsiteY916" fmla="*/ 4740324 h 6557032"/>
              <a:gd name="connsiteX917" fmla="*/ 4079847 w 4610101"/>
              <a:gd name="connsiteY917" fmla="*/ 4754902 h 6557032"/>
              <a:gd name="connsiteX918" fmla="*/ 4065270 w 4610101"/>
              <a:gd name="connsiteY918" fmla="*/ 4754902 h 6557032"/>
              <a:gd name="connsiteX919" fmla="*/ 2006213 w 4610101"/>
              <a:gd name="connsiteY919" fmla="*/ 4733035 h 6557032"/>
              <a:gd name="connsiteX920" fmla="*/ 2020791 w 4610101"/>
              <a:gd name="connsiteY920" fmla="*/ 4747612 h 6557032"/>
              <a:gd name="connsiteX921" fmla="*/ 2006213 w 4610101"/>
              <a:gd name="connsiteY921" fmla="*/ 4747612 h 6557032"/>
              <a:gd name="connsiteX922" fmla="*/ 1875017 w 4610101"/>
              <a:gd name="connsiteY922" fmla="*/ 4731214 h 6557032"/>
              <a:gd name="connsiteX923" fmla="*/ 1876839 w 4610101"/>
              <a:gd name="connsiteY923" fmla="*/ 4756725 h 6557032"/>
              <a:gd name="connsiteX924" fmla="*/ 1860439 w 4610101"/>
              <a:gd name="connsiteY924" fmla="*/ 4745792 h 6557032"/>
              <a:gd name="connsiteX925" fmla="*/ 1138859 w 4610101"/>
              <a:gd name="connsiteY925" fmla="*/ 4718459 h 6557032"/>
              <a:gd name="connsiteX926" fmla="*/ 1129747 w 4610101"/>
              <a:gd name="connsiteY926" fmla="*/ 4754903 h 6557032"/>
              <a:gd name="connsiteX927" fmla="*/ 1107881 w 4610101"/>
              <a:gd name="connsiteY927" fmla="*/ 4740325 h 6557032"/>
              <a:gd name="connsiteX928" fmla="*/ 1138859 w 4610101"/>
              <a:gd name="connsiteY928" fmla="*/ 4718459 h 6557032"/>
              <a:gd name="connsiteX929" fmla="*/ 850955 w 4610101"/>
              <a:gd name="connsiteY929" fmla="*/ 4716637 h 6557032"/>
              <a:gd name="connsiteX930" fmla="*/ 850955 w 4610101"/>
              <a:gd name="connsiteY930" fmla="*/ 4754903 h 6557032"/>
              <a:gd name="connsiteX931" fmla="*/ 829089 w 4610101"/>
              <a:gd name="connsiteY931" fmla="*/ 4754903 h 6557032"/>
              <a:gd name="connsiteX932" fmla="*/ 850955 w 4610101"/>
              <a:gd name="connsiteY932" fmla="*/ 4716637 h 6557032"/>
              <a:gd name="connsiteX933" fmla="*/ 3844788 w 4610101"/>
              <a:gd name="connsiteY933" fmla="*/ 4709348 h 6557032"/>
              <a:gd name="connsiteX934" fmla="*/ 3852076 w 4610101"/>
              <a:gd name="connsiteY934" fmla="*/ 4723925 h 6557032"/>
              <a:gd name="connsiteX935" fmla="*/ 3846610 w 4610101"/>
              <a:gd name="connsiteY935" fmla="*/ 4733036 h 6557032"/>
              <a:gd name="connsiteX936" fmla="*/ 3830210 w 4610101"/>
              <a:gd name="connsiteY936" fmla="*/ 4723925 h 6557032"/>
              <a:gd name="connsiteX937" fmla="*/ 2999299 w 4610101"/>
              <a:gd name="connsiteY937" fmla="*/ 4709347 h 6557032"/>
              <a:gd name="connsiteX938" fmla="*/ 3001121 w 4610101"/>
              <a:gd name="connsiteY938" fmla="*/ 4725747 h 6557032"/>
              <a:gd name="connsiteX939" fmla="*/ 2984721 w 4610101"/>
              <a:gd name="connsiteY939" fmla="*/ 4723924 h 6557032"/>
              <a:gd name="connsiteX940" fmla="*/ 2028080 w 4610101"/>
              <a:gd name="connsiteY940" fmla="*/ 4694771 h 6557032"/>
              <a:gd name="connsiteX941" fmla="*/ 2049946 w 4610101"/>
              <a:gd name="connsiteY941" fmla="*/ 4694771 h 6557032"/>
              <a:gd name="connsiteX942" fmla="*/ 2049946 w 4610101"/>
              <a:gd name="connsiteY942" fmla="*/ 4716638 h 6557032"/>
              <a:gd name="connsiteX943" fmla="*/ 2028080 w 4610101"/>
              <a:gd name="connsiteY943" fmla="*/ 4694771 h 6557032"/>
              <a:gd name="connsiteX944" fmla="*/ 2902724 w 4610101"/>
              <a:gd name="connsiteY944" fmla="*/ 4687482 h 6557032"/>
              <a:gd name="connsiteX945" fmla="*/ 2893613 w 4610101"/>
              <a:gd name="connsiteY945" fmla="*/ 4711170 h 6557032"/>
              <a:gd name="connsiteX946" fmla="*/ 2871747 w 4610101"/>
              <a:gd name="connsiteY946" fmla="*/ 4694771 h 6557032"/>
              <a:gd name="connsiteX947" fmla="*/ 2481802 w 4610101"/>
              <a:gd name="connsiteY947" fmla="*/ 4687481 h 6557032"/>
              <a:gd name="connsiteX948" fmla="*/ 2470869 w 4610101"/>
              <a:gd name="connsiteY948" fmla="*/ 4703881 h 6557032"/>
              <a:gd name="connsiteX949" fmla="*/ 2456291 w 4610101"/>
              <a:gd name="connsiteY949" fmla="*/ 4689304 h 6557032"/>
              <a:gd name="connsiteX950" fmla="*/ 3075830 w 4610101"/>
              <a:gd name="connsiteY950" fmla="*/ 4672904 h 6557032"/>
              <a:gd name="connsiteX951" fmla="*/ 3075830 w 4610101"/>
              <a:gd name="connsiteY951" fmla="*/ 4689304 h 6557032"/>
              <a:gd name="connsiteX952" fmla="*/ 3059430 w 4610101"/>
              <a:gd name="connsiteY952" fmla="*/ 4674726 h 6557032"/>
              <a:gd name="connsiteX953" fmla="*/ 1009485 w 4610101"/>
              <a:gd name="connsiteY953" fmla="*/ 4672904 h 6557032"/>
              <a:gd name="connsiteX954" fmla="*/ 1024062 w 4610101"/>
              <a:gd name="connsiteY954" fmla="*/ 4687481 h 6557032"/>
              <a:gd name="connsiteX955" fmla="*/ 1009485 w 4610101"/>
              <a:gd name="connsiteY955" fmla="*/ 4687481 h 6557032"/>
              <a:gd name="connsiteX956" fmla="*/ 3234359 w 4610101"/>
              <a:gd name="connsiteY956" fmla="*/ 4671082 h 6557032"/>
              <a:gd name="connsiteX957" fmla="*/ 3234359 w 4610101"/>
              <a:gd name="connsiteY957" fmla="*/ 4696593 h 6557032"/>
              <a:gd name="connsiteX958" fmla="*/ 3217959 w 4610101"/>
              <a:gd name="connsiteY958" fmla="*/ 4685659 h 6557032"/>
              <a:gd name="connsiteX959" fmla="*/ 2684064 w 4610101"/>
              <a:gd name="connsiteY959" fmla="*/ 4658326 h 6557032"/>
              <a:gd name="connsiteX960" fmla="*/ 2722329 w 4610101"/>
              <a:gd name="connsiteY960" fmla="*/ 4672904 h 6557032"/>
              <a:gd name="connsiteX961" fmla="*/ 2722329 w 4610101"/>
              <a:gd name="connsiteY961" fmla="*/ 4696592 h 6557032"/>
              <a:gd name="connsiteX962" fmla="*/ 2698641 w 4610101"/>
              <a:gd name="connsiteY962" fmla="*/ 4720280 h 6557032"/>
              <a:gd name="connsiteX963" fmla="*/ 2669486 w 4610101"/>
              <a:gd name="connsiteY963" fmla="*/ 4696592 h 6557032"/>
              <a:gd name="connsiteX964" fmla="*/ 2837124 w 4610101"/>
              <a:gd name="connsiteY964" fmla="*/ 4640105 h 6557032"/>
              <a:gd name="connsiteX965" fmla="*/ 2849879 w 4610101"/>
              <a:gd name="connsiteY965" fmla="*/ 4656505 h 6557032"/>
              <a:gd name="connsiteX966" fmla="*/ 2835302 w 4610101"/>
              <a:gd name="connsiteY966" fmla="*/ 4665616 h 6557032"/>
              <a:gd name="connsiteX967" fmla="*/ 2893614 w 4610101"/>
              <a:gd name="connsiteY967" fmla="*/ 4632816 h 6557032"/>
              <a:gd name="connsiteX968" fmla="*/ 2902725 w 4610101"/>
              <a:gd name="connsiteY968" fmla="*/ 4649216 h 6557032"/>
              <a:gd name="connsiteX969" fmla="*/ 2879036 w 4610101"/>
              <a:gd name="connsiteY969" fmla="*/ 4649216 h 6557032"/>
              <a:gd name="connsiteX970" fmla="*/ 2775171 w 4610101"/>
              <a:gd name="connsiteY970" fmla="*/ 4627349 h 6557032"/>
              <a:gd name="connsiteX971" fmla="*/ 2789749 w 4610101"/>
              <a:gd name="connsiteY971" fmla="*/ 4641927 h 6557032"/>
              <a:gd name="connsiteX972" fmla="*/ 2775171 w 4610101"/>
              <a:gd name="connsiteY972" fmla="*/ 4641927 h 6557032"/>
              <a:gd name="connsiteX973" fmla="*/ 3258048 w 4610101"/>
              <a:gd name="connsiteY973" fmla="*/ 4612773 h 6557032"/>
              <a:gd name="connsiteX974" fmla="*/ 3270803 w 4610101"/>
              <a:gd name="connsiteY974" fmla="*/ 4625529 h 6557032"/>
              <a:gd name="connsiteX975" fmla="*/ 3265337 w 4610101"/>
              <a:gd name="connsiteY975" fmla="*/ 4634640 h 6557032"/>
              <a:gd name="connsiteX976" fmla="*/ 3248937 w 4610101"/>
              <a:gd name="connsiteY976" fmla="*/ 4627351 h 6557032"/>
              <a:gd name="connsiteX977" fmla="*/ 3777366 w 4610101"/>
              <a:gd name="connsiteY977" fmla="*/ 4605483 h 6557032"/>
              <a:gd name="connsiteX978" fmla="*/ 3793766 w 4610101"/>
              <a:gd name="connsiteY978" fmla="*/ 4605483 h 6557032"/>
              <a:gd name="connsiteX979" fmla="*/ 3791944 w 4610101"/>
              <a:gd name="connsiteY979" fmla="*/ 4621883 h 6557032"/>
              <a:gd name="connsiteX980" fmla="*/ 3453020 w 4610101"/>
              <a:gd name="connsiteY980" fmla="*/ 4603661 h 6557032"/>
              <a:gd name="connsiteX981" fmla="*/ 3453020 w 4610101"/>
              <a:gd name="connsiteY981" fmla="*/ 4620061 h 6557032"/>
              <a:gd name="connsiteX982" fmla="*/ 3436620 w 4610101"/>
              <a:gd name="connsiteY982" fmla="*/ 4618239 h 6557032"/>
              <a:gd name="connsiteX983" fmla="*/ 1619913 w 4610101"/>
              <a:gd name="connsiteY983" fmla="*/ 4598196 h 6557032"/>
              <a:gd name="connsiteX984" fmla="*/ 1650891 w 4610101"/>
              <a:gd name="connsiteY984" fmla="*/ 4612773 h 6557032"/>
              <a:gd name="connsiteX985" fmla="*/ 1629024 w 4610101"/>
              <a:gd name="connsiteY985" fmla="*/ 4634640 h 6557032"/>
              <a:gd name="connsiteX986" fmla="*/ 1605336 w 4610101"/>
              <a:gd name="connsiteY986" fmla="*/ 4620062 h 6557032"/>
              <a:gd name="connsiteX987" fmla="*/ 1619913 w 4610101"/>
              <a:gd name="connsiteY987" fmla="*/ 4598196 h 6557032"/>
              <a:gd name="connsiteX988" fmla="*/ 2212119 w 4610101"/>
              <a:gd name="connsiteY988" fmla="*/ 4598195 h 6557032"/>
              <a:gd name="connsiteX989" fmla="*/ 2233985 w 4610101"/>
              <a:gd name="connsiteY989" fmla="*/ 4612772 h 6557032"/>
              <a:gd name="connsiteX990" fmla="*/ 2255851 w 4610101"/>
              <a:gd name="connsiteY990" fmla="*/ 4612772 h 6557032"/>
              <a:gd name="connsiteX991" fmla="*/ 2270428 w 4610101"/>
              <a:gd name="connsiteY991" fmla="*/ 4620061 h 6557032"/>
              <a:gd name="connsiteX992" fmla="*/ 2285006 w 4610101"/>
              <a:gd name="connsiteY992" fmla="*/ 4612772 h 6557032"/>
              <a:gd name="connsiteX993" fmla="*/ 2285006 w 4610101"/>
              <a:gd name="connsiteY993" fmla="*/ 4627350 h 6557032"/>
              <a:gd name="connsiteX994" fmla="*/ 2314161 w 4610101"/>
              <a:gd name="connsiteY994" fmla="*/ 4627350 h 6557032"/>
              <a:gd name="connsiteX995" fmla="*/ 2330560 w 4610101"/>
              <a:gd name="connsiteY995" fmla="*/ 4651038 h 6557032"/>
              <a:gd name="connsiteX996" fmla="*/ 2350604 w 4610101"/>
              <a:gd name="connsiteY996" fmla="*/ 4636461 h 6557032"/>
              <a:gd name="connsiteX997" fmla="*/ 2407092 w 4610101"/>
              <a:gd name="connsiteY997" fmla="*/ 4689305 h 6557032"/>
              <a:gd name="connsiteX998" fmla="*/ 2390692 w 4610101"/>
              <a:gd name="connsiteY998" fmla="*/ 4709349 h 6557032"/>
              <a:gd name="connsiteX999" fmla="*/ 2428958 w 4610101"/>
              <a:gd name="connsiteY999" fmla="*/ 4756725 h 6557032"/>
              <a:gd name="connsiteX1000" fmla="*/ 2407092 w 4610101"/>
              <a:gd name="connsiteY1000" fmla="*/ 4747614 h 6557032"/>
              <a:gd name="connsiteX1001" fmla="*/ 2397981 w 4610101"/>
              <a:gd name="connsiteY1001" fmla="*/ 4764014 h 6557032"/>
              <a:gd name="connsiteX1002" fmla="*/ 2374292 w 4610101"/>
              <a:gd name="connsiteY1002" fmla="*/ 4747614 h 6557032"/>
              <a:gd name="connsiteX1003" fmla="*/ 2383403 w 4610101"/>
              <a:gd name="connsiteY1003" fmla="*/ 4776769 h 6557032"/>
              <a:gd name="connsiteX1004" fmla="*/ 2368826 w 4610101"/>
              <a:gd name="connsiteY1004" fmla="*/ 4785880 h 6557032"/>
              <a:gd name="connsiteX1005" fmla="*/ 2376114 w 4610101"/>
              <a:gd name="connsiteY1005" fmla="*/ 4800458 h 6557032"/>
              <a:gd name="connsiteX1006" fmla="*/ 2368826 w 4610101"/>
              <a:gd name="connsiteY1006" fmla="*/ 4831434 h 6557032"/>
              <a:gd name="connsiteX1007" fmla="*/ 2352426 w 4610101"/>
              <a:gd name="connsiteY1007" fmla="*/ 4831434 h 6557032"/>
              <a:gd name="connsiteX1008" fmla="*/ 2359715 w 4610101"/>
              <a:gd name="connsiteY1008" fmla="*/ 4846012 h 6557032"/>
              <a:gd name="connsiteX1009" fmla="*/ 2346960 w 4610101"/>
              <a:gd name="connsiteY1009" fmla="*/ 4849656 h 6557032"/>
              <a:gd name="connsiteX1010" fmla="*/ 2337849 w 4610101"/>
              <a:gd name="connsiteY1010" fmla="*/ 4860589 h 6557032"/>
              <a:gd name="connsiteX1011" fmla="*/ 2350604 w 4610101"/>
              <a:gd name="connsiteY1011" fmla="*/ 4897033 h 6557032"/>
              <a:gd name="connsiteX1012" fmla="*/ 2345137 w 4610101"/>
              <a:gd name="connsiteY1012" fmla="*/ 4906143 h 6557032"/>
              <a:gd name="connsiteX1013" fmla="*/ 2323271 w 4610101"/>
              <a:gd name="connsiteY1013" fmla="*/ 4891566 h 6557032"/>
              <a:gd name="connsiteX1014" fmla="*/ 2285006 w 4610101"/>
              <a:gd name="connsiteY1014" fmla="*/ 4913432 h 6557032"/>
              <a:gd name="connsiteX1015" fmla="*/ 2283184 w 4610101"/>
              <a:gd name="connsiteY1015" fmla="*/ 4937121 h 6557032"/>
              <a:gd name="connsiteX1016" fmla="*/ 2268606 w 4610101"/>
              <a:gd name="connsiteY1016" fmla="*/ 4920721 h 6557032"/>
              <a:gd name="connsiteX1017" fmla="*/ 2255851 w 4610101"/>
              <a:gd name="connsiteY1017" fmla="*/ 4928010 h 6557032"/>
              <a:gd name="connsiteX1018" fmla="*/ 2239451 w 4610101"/>
              <a:gd name="connsiteY1018" fmla="*/ 4906143 h 6557032"/>
              <a:gd name="connsiteX1019" fmla="*/ 2217585 w 4610101"/>
              <a:gd name="connsiteY1019" fmla="*/ 4911610 h 6557032"/>
              <a:gd name="connsiteX1020" fmla="*/ 2186608 w 4610101"/>
              <a:gd name="connsiteY1020" fmla="*/ 4906143 h 6557032"/>
              <a:gd name="connsiteX1021" fmla="*/ 2186608 w 4610101"/>
              <a:gd name="connsiteY1021" fmla="*/ 4942587 h 6557032"/>
              <a:gd name="connsiteX1022" fmla="*/ 2201186 w 4610101"/>
              <a:gd name="connsiteY1022" fmla="*/ 4951698 h 6557032"/>
              <a:gd name="connsiteX1023" fmla="*/ 2199364 w 4610101"/>
              <a:gd name="connsiteY1023" fmla="*/ 4973564 h 6557032"/>
              <a:gd name="connsiteX1024" fmla="*/ 2179320 w 4610101"/>
              <a:gd name="connsiteY1024" fmla="*/ 4988141 h 6557032"/>
              <a:gd name="connsiteX1025" fmla="*/ 2157454 w 4610101"/>
              <a:gd name="connsiteY1025" fmla="*/ 4966275 h 6557032"/>
              <a:gd name="connsiteX1026" fmla="*/ 2153809 w 4610101"/>
              <a:gd name="connsiteY1026" fmla="*/ 4940765 h 6557032"/>
              <a:gd name="connsiteX1027" fmla="*/ 2177498 w 4610101"/>
              <a:gd name="connsiteY1027" fmla="*/ 4922543 h 6557032"/>
              <a:gd name="connsiteX1028" fmla="*/ 2122832 w 4610101"/>
              <a:gd name="connsiteY1028" fmla="*/ 4864234 h 6557032"/>
              <a:gd name="connsiteX1029" fmla="*/ 2084568 w 4610101"/>
              <a:gd name="connsiteY1029" fmla="*/ 4833257 h 6557032"/>
              <a:gd name="connsiteX1030" fmla="*/ 2091855 w 4610101"/>
              <a:gd name="connsiteY1030" fmla="*/ 4818679 h 6557032"/>
              <a:gd name="connsiteX1031" fmla="*/ 2077278 w 4610101"/>
              <a:gd name="connsiteY1031" fmla="*/ 4809568 h 6557032"/>
              <a:gd name="connsiteX1032" fmla="*/ 2084568 w 4610101"/>
              <a:gd name="connsiteY1032" fmla="*/ 4794991 h 6557032"/>
              <a:gd name="connsiteX1033" fmla="*/ 2073634 w 4610101"/>
              <a:gd name="connsiteY1033" fmla="*/ 4787702 h 6557032"/>
              <a:gd name="connsiteX1034" fmla="*/ 2069989 w 4610101"/>
              <a:gd name="connsiteY1034" fmla="*/ 4734859 h 6557032"/>
              <a:gd name="connsiteX1035" fmla="*/ 2084568 w 4610101"/>
              <a:gd name="connsiteY1035" fmla="*/ 4725748 h 6557032"/>
              <a:gd name="connsiteX1036" fmla="*/ 2077278 w 4610101"/>
              <a:gd name="connsiteY1036" fmla="*/ 4711171 h 6557032"/>
              <a:gd name="connsiteX1037" fmla="*/ 2091855 w 4610101"/>
              <a:gd name="connsiteY1037" fmla="*/ 4703882 h 6557032"/>
              <a:gd name="connsiteX1038" fmla="*/ 2093679 w 4610101"/>
              <a:gd name="connsiteY1038" fmla="*/ 4682015 h 6557032"/>
              <a:gd name="connsiteX1039" fmla="*/ 2130121 w 4610101"/>
              <a:gd name="connsiteY1039" fmla="*/ 4651038 h 6557032"/>
              <a:gd name="connsiteX1040" fmla="*/ 2131943 w 4610101"/>
              <a:gd name="connsiteY1040" fmla="*/ 4629172 h 6557032"/>
              <a:gd name="connsiteX1041" fmla="*/ 2151987 w 4610101"/>
              <a:gd name="connsiteY1041" fmla="*/ 4605484 h 6557032"/>
              <a:gd name="connsiteX1042" fmla="*/ 2173853 w 4610101"/>
              <a:gd name="connsiteY1042" fmla="*/ 4612772 h 6557032"/>
              <a:gd name="connsiteX1043" fmla="*/ 2715040 w 4610101"/>
              <a:gd name="connsiteY1043" fmla="*/ 4596373 h 6557032"/>
              <a:gd name="connsiteX1044" fmla="*/ 2736906 w 4610101"/>
              <a:gd name="connsiteY1044" fmla="*/ 4620062 h 6557032"/>
              <a:gd name="connsiteX1045" fmla="*/ 2715040 w 4610101"/>
              <a:gd name="connsiteY1045" fmla="*/ 4596373 h 6557032"/>
              <a:gd name="connsiteX1046" fmla="*/ 2953744 w 4610101"/>
              <a:gd name="connsiteY1046" fmla="*/ 4596372 h 6557032"/>
              <a:gd name="connsiteX1047" fmla="*/ 2984721 w 4610101"/>
              <a:gd name="connsiteY1047" fmla="*/ 4641927 h 6557032"/>
              <a:gd name="connsiteX1048" fmla="*/ 2962855 w 4610101"/>
              <a:gd name="connsiteY1048" fmla="*/ 4641927 h 6557032"/>
              <a:gd name="connsiteX1049" fmla="*/ 2962855 w 4610101"/>
              <a:gd name="connsiteY1049" fmla="*/ 4678370 h 6557032"/>
              <a:gd name="connsiteX1050" fmla="*/ 2924589 w 4610101"/>
              <a:gd name="connsiteY1050" fmla="*/ 4678370 h 6557032"/>
              <a:gd name="connsiteX1051" fmla="*/ 2924589 w 4610101"/>
              <a:gd name="connsiteY1051" fmla="*/ 4640104 h 6557032"/>
              <a:gd name="connsiteX1052" fmla="*/ 2946455 w 4610101"/>
              <a:gd name="connsiteY1052" fmla="*/ 4640104 h 6557032"/>
              <a:gd name="connsiteX1053" fmla="*/ 2946455 w 4610101"/>
              <a:gd name="connsiteY1053" fmla="*/ 4618238 h 6557032"/>
              <a:gd name="connsiteX1054" fmla="*/ 2953744 w 4610101"/>
              <a:gd name="connsiteY1054" fmla="*/ 4596372 h 6557032"/>
              <a:gd name="connsiteX1055" fmla="*/ 783535 w 4610101"/>
              <a:gd name="connsiteY1055" fmla="*/ 4590907 h 6557032"/>
              <a:gd name="connsiteX1056" fmla="*/ 790823 w 4610101"/>
              <a:gd name="connsiteY1056" fmla="*/ 4605485 h 6557032"/>
              <a:gd name="connsiteX1057" fmla="*/ 776246 w 4610101"/>
              <a:gd name="connsiteY1057" fmla="*/ 4627351 h 6557032"/>
              <a:gd name="connsiteX1058" fmla="*/ 768957 w 4610101"/>
              <a:gd name="connsiteY1058" fmla="*/ 4612773 h 6557032"/>
              <a:gd name="connsiteX1059" fmla="*/ 783535 w 4610101"/>
              <a:gd name="connsiteY1059" fmla="*/ 4590907 h 6557032"/>
              <a:gd name="connsiteX1060" fmla="*/ 3392888 w 4610101"/>
              <a:gd name="connsiteY1060" fmla="*/ 4587261 h 6557032"/>
              <a:gd name="connsiteX1061" fmla="*/ 3392888 w 4610101"/>
              <a:gd name="connsiteY1061" fmla="*/ 4605483 h 6557032"/>
              <a:gd name="connsiteX1062" fmla="*/ 3376488 w 4610101"/>
              <a:gd name="connsiteY1062" fmla="*/ 4603661 h 6557032"/>
              <a:gd name="connsiteX1063" fmla="*/ 3152361 w 4610101"/>
              <a:gd name="connsiteY1063" fmla="*/ 4581795 h 6557032"/>
              <a:gd name="connsiteX1064" fmla="*/ 3150538 w 4610101"/>
              <a:gd name="connsiteY1064" fmla="*/ 4598195 h 6557032"/>
              <a:gd name="connsiteX1065" fmla="*/ 3135961 w 4610101"/>
              <a:gd name="connsiteY1065" fmla="*/ 4583618 h 6557032"/>
              <a:gd name="connsiteX1066" fmla="*/ 3890343 w 4610101"/>
              <a:gd name="connsiteY1066" fmla="*/ 4572685 h 6557032"/>
              <a:gd name="connsiteX1067" fmla="*/ 3892165 w 4610101"/>
              <a:gd name="connsiteY1067" fmla="*/ 4596374 h 6557032"/>
              <a:gd name="connsiteX1068" fmla="*/ 3866654 w 4610101"/>
              <a:gd name="connsiteY1068" fmla="*/ 4594551 h 6557032"/>
              <a:gd name="connsiteX1069" fmla="*/ 2924590 w 4610101"/>
              <a:gd name="connsiteY1069" fmla="*/ 4572684 h 6557032"/>
              <a:gd name="connsiteX1070" fmla="*/ 2933701 w 4610101"/>
              <a:gd name="connsiteY1070" fmla="*/ 4589084 h 6557032"/>
              <a:gd name="connsiteX1071" fmla="*/ 2910012 w 4610101"/>
              <a:gd name="connsiteY1071" fmla="*/ 4587262 h 6557032"/>
              <a:gd name="connsiteX1072" fmla="*/ 819978 w 4610101"/>
              <a:gd name="connsiteY1072" fmla="*/ 4565396 h 6557032"/>
              <a:gd name="connsiteX1073" fmla="*/ 821801 w 4610101"/>
              <a:gd name="connsiteY1073" fmla="*/ 4589085 h 6557032"/>
              <a:gd name="connsiteX1074" fmla="*/ 796290 w 4610101"/>
              <a:gd name="connsiteY1074" fmla="*/ 4587262 h 6557032"/>
              <a:gd name="connsiteX1075" fmla="*/ 1656356 w 4610101"/>
              <a:gd name="connsiteY1075" fmla="*/ 4558108 h 6557032"/>
              <a:gd name="connsiteX1076" fmla="*/ 1658178 w 4610101"/>
              <a:gd name="connsiteY1076" fmla="*/ 4581797 h 6557032"/>
              <a:gd name="connsiteX1077" fmla="*/ 1641778 w 4610101"/>
              <a:gd name="connsiteY1077" fmla="*/ 4572686 h 6557032"/>
              <a:gd name="connsiteX1078" fmla="*/ 947531 w 4610101"/>
              <a:gd name="connsiteY1078" fmla="*/ 4558108 h 6557032"/>
              <a:gd name="connsiteX1079" fmla="*/ 956641 w 4610101"/>
              <a:gd name="connsiteY1079" fmla="*/ 4574508 h 6557032"/>
              <a:gd name="connsiteX1080" fmla="*/ 943886 w 4610101"/>
              <a:gd name="connsiteY1080" fmla="*/ 4579975 h 6557032"/>
              <a:gd name="connsiteX1081" fmla="*/ 932953 w 4610101"/>
              <a:gd name="connsiteY1081" fmla="*/ 4572686 h 6557032"/>
              <a:gd name="connsiteX1082" fmla="*/ 3287202 w 4610101"/>
              <a:gd name="connsiteY1082" fmla="*/ 4558107 h 6557032"/>
              <a:gd name="connsiteX1083" fmla="*/ 3296313 w 4610101"/>
              <a:gd name="connsiteY1083" fmla="*/ 4574507 h 6557032"/>
              <a:gd name="connsiteX1084" fmla="*/ 3263514 w 4610101"/>
              <a:gd name="connsiteY1084" fmla="*/ 4572685 h 6557032"/>
              <a:gd name="connsiteX1085" fmla="*/ 1341120 w 4610101"/>
              <a:gd name="connsiteY1085" fmla="*/ 4552641 h 6557032"/>
              <a:gd name="connsiteX1086" fmla="*/ 1355698 w 4610101"/>
              <a:gd name="connsiteY1086" fmla="*/ 4583618 h 6557032"/>
              <a:gd name="connsiteX1087" fmla="*/ 1341120 w 4610101"/>
              <a:gd name="connsiteY1087" fmla="*/ 4552641 h 6557032"/>
              <a:gd name="connsiteX1088" fmla="*/ 1180769 w 4610101"/>
              <a:gd name="connsiteY1088" fmla="*/ 4552640 h 6557032"/>
              <a:gd name="connsiteX1089" fmla="*/ 1213569 w 4610101"/>
              <a:gd name="connsiteY1089" fmla="*/ 4581796 h 6557032"/>
              <a:gd name="connsiteX1090" fmla="*/ 1204458 w 4610101"/>
              <a:gd name="connsiteY1090" fmla="*/ 4596373 h 6557032"/>
              <a:gd name="connsiteX1091" fmla="*/ 1220858 w 4610101"/>
              <a:gd name="connsiteY1091" fmla="*/ 4627350 h 6557032"/>
              <a:gd name="connsiteX1092" fmla="*/ 1197168 w 4610101"/>
              <a:gd name="connsiteY1092" fmla="*/ 4625528 h 6557032"/>
              <a:gd name="connsiteX1093" fmla="*/ 1197168 w 4610101"/>
              <a:gd name="connsiteY1093" fmla="*/ 4649216 h 6557032"/>
              <a:gd name="connsiteX1094" fmla="*/ 1175302 w 4610101"/>
              <a:gd name="connsiteY1094" fmla="*/ 4632817 h 6557032"/>
              <a:gd name="connsiteX1095" fmla="*/ 1175302 w 4610101"/>
              <a:gd name="connsiteY1095" fmla="*/ 4647394 h 6557032"/>
              <a:gd name="connsiteX1096" fmla="*/ 1137037 w 4610101"/>
              <a:gd name="connsiteY1096" fmla="*/ 4625528 h 6557032"/>
              <a:gd name="connsiteX1097" fmla="*/ 1137037 w 4610101"/>
              <a:gd name="connsiteY1097" fmla="*/ 4603662 h 6557032"/>
              <a:gd name="connsiteX1098" fmla="*/ 1115170 w 4610101"/>
              <a:gd name="connsiteY1098" fmla="*/ 4603662 h 6557032"/>
              <a:gd name="connsiteX1099" fmla="*/ 1144325 w 4610101"/>
              <a:gd name="connsiteY1099" fmla="*/ 4579974 h 6557032"/>
              <a:gd name="connsiteX1100" fmla="*/ 1153436 w 4610101"/>
              <a:gd name="connsiteY1100" fmla="*/ 4559929 h 6557032"/>
              <a:gd name="connsiteX1101" fmla="*/ 978507 w 4610101"/>
              <a:gd name="connsiteY1101" fmla="*/ 4552640 h 6557032"/>
              <a:gd name="connsiteX1102" fmla="*/ 994907 w 4610101"/>
              <a:gd name="connsiteY1102" fmla="*/ 4559929 h 6557032"/>
              <a:gd name="connsiteX1103" fmla="*/ 987618 w 4610101"/>
              <a:gd name="connsiteY1103" fmla="*/ 4572684 h 6557032"/>
              <a:gd name="connsiteX1104" fmla="*/ 1018596 w 4610101"/>
              <a:gd name="connsiteY1104" fmla="*/ 4583617 h 6557032"/>
              <a:gd name="connsiteX1105" fmla="*/ 993085 w 4610101"/>
              <a:gd name="connsiteY1105" fmla="*/ 4605483 h 6557032"/>
              <a:gd name="connsiteX1106" fmla="*/ 1000374 w 4610101"/>
              <a:gd name="connsiteY1106" fmla="*/ 4618238 h 6557032"/>
              <a:gd name="connsiteX1107" fmla="*/ 978507 w 4610101"/>
              <a:gd name="connsiteY1107" fmla="*/ 4634638 h 6557032"/>
              <a:gd name="connsiteX1108" fmla="*/ 985796 w 4610101"/>
              <a:gd name="connsiteY1108" fmla="*/ 4649215 h 6557032"/>
              <a:gd name="connsiteX1109" fmla="*/ 962108 w 4610101"/>
              <a:gd name="connsiteY1109" fmla="*/ 4651037 h 6557032"/>
              <a:gd name="connsiteX1110" fmla="*/ 1002196 w 4610101"/>
              <a:gd name="connsiteY1110" fmla="*/ 4687481 h 6557032"/>
              <a:gd name="connsiteX1111" fmla="*/ 1002196 w 4610101"/>
              <a:gd name="connsiteY1111" fmla="*/ 4705703 h 6557032"/>
              <a:gd name="connsiteX1112" fmla="*/ 1002196 w 4610101"/>
              <a:gd name="connsiteY1112" fmla="*/ 4712991 h 6557032"/>
              <a:gd name="connsiteX1113" fmla="*/ 1004018 w 4610101"/>
              <a:gd name="connsiteY1113" fmla="*/ 4725747 h 6557032"/>
              <a:gd name="connsiteX1114" fmla="*/ 1018596 w 4610101"/>
              <a:gd name="connsiteY1114" fmla="*/ 4742146 h 6557032"/>
              <a:gd name="connsiteX1115" fmla="*/ 1031350 w 4610101"/>
              <a:gd name="connsiteY1115" fmla="*/ 4734858 h 6557032"/>
              <a:gd name="connsiteX1116" fmla="*/ 1055040 w 4610101"/>
              <a:gd name="connsiteY1116" fmla="*/ 4753079 h 6557032"/>
              <a:gd name="connsiteX1117" fmla="*/ 1053216 w 4610101"/>
              <a:gd name="connsiteY1117" fmla="*/ 4774945 h 6557032"/>
              <a:gd name="connsiteX1118" fmla="*/ 1040461 w 4610101"/>
              <a:gd name="connsiteY1118" fmla="*/ 4791345 h 6557032"/>
              <a:gd name="connsiteX1119" fmla="*/ 1002196 w 4610101"/>
              <a:gd name="connsiteY1119" fmla="*/ 4791345 h 6557032"/>
              <a:gd name="connsiteX1120" fmla="*/ 1002196 w 4610101"/>
              <a:gd name="connsiteY1120" fmla="*/ 4753079 h 6557032"/>
              <a:gd name="connsiteX1121" fmla="*/ 978507 w 4610101"/>
              <a:gd name="connsiteY1121" fmla="*/ 4753079 h 6557032"/>
              <a:gd name="connsiteX1122" fmla="*/ 978507 w 4610101"/>
              <a:gd name="connsiteY1122" fmla="*/ 4791345 h 6557032"/>
              <a:gd name="connsiteX1123" fmla="*/ 1009485 w 4610101"/>
              <a:gd name="connsiteY1123" fmla="*/ 4836899 h 6557032"/>
              <a:gd name="connsiteX1124" fmla="*/ 978507 w 4610101"/>
              <a:gd name="connsiteY1124" fmla="*/ 4860587 h 6557032"/>
              <a:gd name="connsiteX1125" fmla="*/ 982152 w 4610101"/>
              <a:gd name="connsiteY1125" fmla="*/ 4875165 h 6557032"/>
              <a:gd name="connsiteX1126" fmla="*/ 978507 w 4610101"/>
              <a:gd name="connsiteY1126" fmla="*/ 4898853 h 6557032"/>
              <a:gd name="connsiteX1127" fmla="*/ 956641 w 4610101"/>
              <a:gd name="connsiteY1127" fmla="*/ 4882454 h 6557032"/>
              <a:gd name="connsiteX1128" fmla="*/ 956641 w 4610101"/>
              <a:gd name="connsiteY1128" fmla="*/ 4904320 h 6557032"/>
              <a:gd name="connsiteX1129" fmla="*/ 949352 w 4610101"/>
              <a:gd name="connsiteY1129" fmla="*/ 4918897 h 6557032"/>
              <a:gd name="connsiteX1130" fmla="*/ 949352 w 4610101"/>
              <a:gd name="connsiteY1130" fmla="*/ 4957162 h 6557032"/>
              <a:gd name="connsiteX1131" fmla="*/ 934775 w 4610101"/>
              <a:gd name="connsiteY1131" fmla="*/ 4911608 h 6557032"/>
              <a:gd name="connsiteX1132" fmla="*/ 942064 w 4610101"/>
              <a:gd name="connsiteY1132" fmla="*/ 4897031 h 6557032"/>
              <a:gd name="connsiteX1133" fmla="*/ 942064 w 4610101"/>
              <a:gd name="connsiteY1133" fmla="*/ 4875165 h 6557032"/>
              <a:gd name="connsiteX1134" fmla="*/ 920198 w 4610101"/>
              <a:gd name="connsiteY1134" fmla="*/ 4875165 h 6557032"/>
              <a:gd name="connsiteX1135" fmla="*/ 905620 w 4610101"/>
              <a:gd name="connsiteY1135" fmla="*/ 4824144 h 6557032"/>
              <a:gd name="connsiteX1136" fmla="*/ 927486 w 4610101"/>
              <a:gd name="connsiteY1136" fmla="*/ 4807745 h 6557032"/>
              <a:gd name="connsiteX1137" fmla="*/ 920198 w 4610101"/>
              <a:gd name="connsiteY1137" fmla="*/ 4794989 h 6557032"/>
              <a:gd name="connsiteX1138" fmla="*/ 925664 w 4610101"/>
              <a:gd name="connsiteY1138" fmla="*/ 4785878 h 6557032"/>
              <a:gd name="connsiteX1139" fmla="*/ 940242 w 4610101"/>
              <a:gd name="connsiteY1139" fmla="*/ 4793167 h 6557032"/>
              <a:gd name="connsiteX1140" fmla="*/ 956641 w 4610101"/>
              <a:gd name="connsiteY1140" fmla="*/ 4771301 h 6557032"/>
              <a:gd name="connsiteX1141" fmla="*/ 925664 w 4610101"/>
              <a:gd name="connsiteY1141" fmla="*/ 4785878 h 6557032"/>
              <a:gd name="connsiteX1142" fmla="*/ 901976 w 4610101"/>
              <a:gd name="connsiteY1142" fmla="*/ 4754902 h 6557032"/>
              <a:gd name="connsiteX1143" fmla="*/ 907442 w 4610101"/>
              <a:gd name="connsiteY1143" fmla="*/ 4742146 h 6557032"/>
              <a:gd name="connsiteX1144" fmla="*/ 894687 w 4610101"/>
              <a:gd name="connsiteY1144" fmla="*/ 4711169 h 6557032"/>
              <a:gd name="connsiteX1145" fmla="*/ 925664 w 4610101"/>
              <a:gd name="connsiteY1145" fmla="*/ 4687481 h 6557032"/>
              <a:gd name="connsiteX1146" fmla="*/ 918376 w 4610101"/>
              <a:gd name="connsiteY1146" fmla="*/ 4672904 h 6557032"/>
              <a:gd name="connsiteX1147" fmla="*/ 932953 w 4610101"/>
              <a:gd name="connsiteY1147" fmla="*/ 4672904 h 6557032"/>
              <a:gd name="connsiteX1148" fmla="*/ 932953 w 4610101"/>
              <a:gd name="connsiteY1148" fmla="*/ 4658326 h 6557032"/>
              <a:gd name="connsiteX1149" fmla="*/ 947530 w 4610101"/>
              <a:gd name="connsiteY1149" fmla="*/ 4658326 h 6557032"/>
              <a:gd name="connsiteX1150" fmla="*/ 954819 w 4610101"/>
              <a:gd name="connsiteY1150" fmla="*/ 4636460 h 6557032"/>
              <a:gd name="connsiteX1151" fmla="*/ 947530 w 4610101"/>
              <a:gd name="connsiteY1151" fmla="*/ 4629171 h 6557032"/>
              <a:gd name="connsiteX1152" fmla="*/ 954819 w 4610101"/>
              <a:gd name="connsiteY1152" fmla="*/ 4614594 h 6557032"/>
              <a:gd name="connsiteX1153" fmla="*/ 947530 w 4610101"/>
              <a:gd name="connsiteY1153" fmla="*/ 4598195 h 6557032"/>
              <a:gd name="connsiteX1154" fmla="*/ 976685 w 4610101"/>
              <a:gd name="connsiteY1154" fmla="*/ 4605483 h 6557032"/>
              <a:gd name="connsiteX1155" fmla="*/ 985796 w 4610101"/>
              <a:gd name="connsiteY1155" fmla="*/ 4598195 h 6557032"/>
              <a:gd name="connsiteX1156" fmla="*/ 978507 w 4610101"/>
              <a:gd name="connsiteY1156" fmla="*/ 4583617 h 6557032"/>
              <a:gd name="connsiteX1157" fmla="*/ 1523337 w 4610101"/>
              <a:gd name="connsiteY1157" fmla="*/ 4550819 h 6557032"/>
              <a:gd name="connsiteX1158" fmla="*/ 1547026 w 4610101"/>
              <a:gd name="connsiteY1158" fmla="*/ 4550819 h 6557032"/>
              <a:gd name="connsiteX1159" fmla="*/ 1543381 w 4610101"/>
              <a:gd name="connsiteY1159" fmla="*/ 4570863 h 6557032"/>
              <a:gd name="connsiteX1160" fmla="*/ 1542096 w 4610101"/>
              <a:gd name="connsiteY1160" fmla="*/ 4571077 h 6557032"/>
              <a:gd name="connsiteX1161" fmla="*/ 1532448 w 4610101"/>
              <a:gd name="connsiteY1161" fmla="*/ 4572685 h 6557032"/>
              <a:gd name="connsiteX1162" fmla="*/ 3361911 w 4610101"/>
              <a:gd name="connsiteY1162" fmla="*/ 4543529 h 6557032"/>
              <a:gd name="connsiteX1163" fmla="*/ 3363733 w 4610101"/>
              <a:gd name="connsiteY1163" fmla="*/ 4559929 h 6557032"/>
              <a:gd name="connsiteX1164" fmla="*/ 3347333 w 4610101"/>
              <a:gd name="connsiteY1164" fmla="*/ 4558106 h 6557032"/>
              <a:gd name="connsiteX1165" fmla="*/ 2864458 w 4610101"/>
              <a:gd name="connsiteY1165" fmla="*/ 4536240 h 6557032"/>
              <a:gd name="connsiteX1166" fmla="*/ 2889969 w 4610101"/>
              <a:gd name="connsiteY1166" fmla="*/ 4538063 h 6557032"/>
              <a:gd name="connsiteX1167" fmla="*/ 2873569 w 4610101"/>
              <a:gd name="connsiteY1167" fmla="*/ 4550818 h 6557032"/>
              <a:gd name="connsiteX1168" fmla="*/ 276971 w 4610101"/>
              <a:gd name="connsiteY1168" fmla="*/ 4534419 h 6557032"/>
              <a:gd name="connsiteX1169" fmla="*/ 286082 w 4610101"/>
              <a:gd name="connsiteY1169" fmla="*/ 4550819 h 6557032"/>
              <a:gd name="connsiteX1170" fmla="*/ 271504 w 4610101"/>
              <a:gd name="connsiteY1170" fmla="*/ 4558107 h 6557032"/>
              <a:gd name="connsiteX1171" fmla="*/ 262393 w 4610101"/>
              <a:gd name="connsiteY1171" fmla="*/ 4550819 h 6557032"/>
              <a:gd name="connsiteX1172" fmla="*/ 2059057 w 4610101"/>
              <a:gd name="connsiteY1172" fmla="*/ 4527131 h 6557032"/>
              <a:gd name="connsiteX1173" fmla="*/ 2080923 w 4610101"/>
              <a:gd name="connsiteY1173" fmla="*/ 4530776 h 6557032"/>
              <a:gd name="connsiteX1174" fmla="*/ 2095501 w 4610101"/>
              <a:gd name="connsiteY1174" fmla="*/ 4536242 h 6557032"/>
              <a:gd name="connsiteX1175" fmla="*/ 2104612 w 4610101"/>
              <a:gd name="connsiteY1175" fmla="*/ 4548997 h 6557032"/>
              <a:gd name="connsiteX1176" fmla="*/ 2097323 w 4610101"/>
              <a:gd name="connsiteY1176" fmla="*/ 4579974 h 6557032"/>
              <a:gd name="connsiteX1177" fmla="*/ 2059057 w 4610101"/>
              <a:gd name="connsiteY1177" fmla="*/ 4527131 h 6557032"/>
              <a:gd name="connsiteX1178" fmla="*/ 1838574 w 4610101"/>
              <a:gd name="connsiteY1178" fmla="*/ 4527130 h 6557032"/>
              <a:gd name="connsiteX1179" fmla="*/ 1840396 w 4610101"/>
              <a:gd name="connsiteY1179" fmla="*/ 4543530 h 6557032"/>
              <a:gd name="connsiteX1180" fmla="*/ 1822174 w 4610101"/>
              <a:gd name="connsiteY1180" fmla="*/ 4543530 h 6557032"/>
              <a:gd name="connsiteX1181" fmla="*/ 3414755 w 4610101"/>
              <a:gd name="connsiteY1181" fmla="*/ 4521664 h 6557032"/>
              <a:gd name="connsiteX1182" fmla="*/ 3440266 w 4610101"/>
              <a:gd name="connsiteY1182" fmla="*/ 4530775 h 6557032"/>
              <a:gd name="connsiteX1183" fmla="*/ 3423866 w 4610101"/>
              <a:gd name="connsiteY1183" fmla="*/ 4543531 h 6557032"/>
              <a:gd name="connsiteX1184" fmla="*/ 2993833 w 4610101"/>
              <a:gd name="connsiteY1184" fmla="*/ 4521664 h 6557032"/>
              <a:gd name="connsiteX1185" fmla="*/ 2993833 w 4610101"/>
              <a:gd name="connsiteY1185" fmla="*/ 4536242 h 6557032"/>
              <a:gd name="connsiteX1186" fmla="*/ 3010232 w 4610101"/>
              <a:gd name="connsiteY1186" fmla="*/ 4536242 h 6557032"/>
              <a:gd name="connsiteX1187" fmla="*/ 2999300 w 4610101"/>
              <a:gd name="connsiteY1187" fmla="*/ 4552641 h 6557032"/>
              <a:gd name="connsiteX1188" fmla="*/ 2977433 w 4610101"/>
              <a:gd name="connsiteY1188" fmla="*/ 4530775 h 6557032"/>
              <a:gd name="connsiteX1189" fmla="*/ 2811616 w 4610101"/>
              <a:gd name="connsiteY1189" fmla="*/ 4521664 h 6557032"/>
              <a:gd name="connsiteX1190" fmla="*/ 2818904 w 4610101"/>
              <a:gd name="connsiteY1190" fmla="*/ 4550819 h 6557032"/>
              <a:gd name="connsiteX1191" fmla="*/ 2804327 w 4610101"/>
              <a:gd name="connsiteY1191" fmla="*/ 4559930 h 6557032"/>
              <a:gd name="connsiteX1192" fmla="*/ 2797038 w 4610101"/>
              <a:gd name="connsiteY1192" fmla="*/ 4528953 h 6557032"/>
              <a:gd name="connsiteX1193" fmla="*/ 2654907 w 4610101"/>
              <a:gd name="connsiteY1193" fmla="*/ 4521664 h 6557032"/>
              <a:gd name="connsiteX1194" fmla="*/ 2671307 w 4610101"/>
              <a:gd name="connsiteY1194" fmla="*/ 4530775 h 6557032"/>
              <a:gd name="connsiteX1195" fmla="*/ 2654907 w 4610101"/>
              <a:gd name="connsiteY1195" fmla="*/ 4543531 h 6557032"/>
              <a:gd name="connsiteX1196" fmla="*/ 2518245 w 4610101"/>
              <a:gd name="connsiteY1196" fmla="*/ 4521664 h 6557032"/>
              <a:gd name="connsiteX1197" fmla="*/ 2540111 w 4610101"/>
              <a:gd name="connsiteY1197" fmla="*/ 4543531 h 6557032"/>
              <a:gd name="connsiteX1198" fmla="*/ 2518245 w 4610101"/>
              <a:gd name="connsiteY1198" fmla="*/ 4543531 h 6557032"/>
              <a:gd name="connsiteX1199" fmla="*/ 3077651 w 4610101"/>
              <a:gd name="connsiteY1199" fmla="*/ 4521663 h 6557032"/>
              <a:gd name="connsiteX1200" fmla="*/ 3099518 w 4610101"/>
              <a:gd name="connsiteY1200" fmla="*/ 4521663 h 6557032"/>
              <a:gd name="connsiteX1201" fmla="*/ 3106806 w 4610101"/>
              <a:gd name="connsiteY1201" fmla="*/ 4536242 h 6557032"/>
              <a:gd name="connsiteX1202" fmla="*/ 3137783 w 4610101"/>
              <a:gd name="connsiteY1202" fmla="*/ 4528952 h 6557032"/>
              <a:gd name="connsiteX1203" fmla="*/ 3137783 w 4610101"/>
              <a:gd name="connsiteY1203" fmla="*/ 4543531 h 6557032"/>
              <a:gd name="connsiteX1204" fmla="*/ 3121384 w 4610101"/>
              <a:gd name="connsiteY1204" fmla="*/ 4543531 h 6557032"/>
              <a:gd name="connsiteX1205" fmla="*/ 3130494 w 4610101"/>
              <a:gd name="connsiteY1205" fmla="*/ 4558108 h 6557032"/>
              <a:gd name="connsiteX1206" fmla="*/ 3106806 w 4610101"/>
              <a:gd name="connsiteY1206" fmla="*/ 4603662 h 6557032"/>
              <a:gd name="connsiteX1207" fmla="*/ 3114095 w 4610101"/>
              <a:gd name="connsiteY1207" fmla="*/ 4620062 h 6557032"/>
              <a:gd name="connsiteX1208" fmla="*/ 3092229 w 4610101"/>
              <a:gd name="connsiteY1208" fmla="*/ 4610951 h 6557032"/>
              <a:gd name="connsiteX1209" fmla="*/ 3077651 w 4610101"/>
              <a:gd name="connsiteY1209" fmla="*/ 4618239 h 6557032"/>
              <a:gd name="connsiteX1210" fmla="*/ 3053963 w 4610101"/>
              <a:gd name="connsiteY1210" fmla="*/ 4572685 h 6557032"/>
              <a:gd name="connsiteX1211" fmla="*/ 3063074 w 4610101"/>
              <a:gd name="connsiteY1211" fmla="*/ 4558108 h 6557032"/>
              <a:gd name="connsiteX1212" fmla="*/ 3055785 w 4610101"/>
              <a:gd name="connsiteY1212" fmla="*/ 4536242 h 6557032"/>
              <a:gd name="connsiteX1213" fmla="*/ 3077651 w 4610101"/>
              <a:gd name="connsiteY1213" fmla="*/ 4521663 h 6557032"/>
              <a:gd name="connsiteX1214" fmla="*/ 3447553 w 4610101"/>
              <a:gd name="connsiteY1214" fmla="*/ 4519842 h 6557032"/>
              <a:gd name="connsiteX1215" fmla="*/ 3462131 w 4610101"/>
              <a:gd name="connsiteY1215" fmla="*/ 4528952 h 6557032"/>
              <a:gd name="connsiteX1216" fmla="*/ 3474886 w 4610101"/>
              <a:gd name="connsiteY1216" fmla="*/ 4523485 h 6557032"/>
              <a:gd name="connsiteX1217" fmla="*/ 3485820 w 4610101"/>
              <a:gd name="connsiteY1217" fmla="*/ 4530774 h 6557032"/>
              <a:gd name="connsiteX1218" fmla="*/ 3469420 w 4610101"/>
              <a:gd name="connsiteY1218" fmla="*/ 4543529 h 6557032"/>
              <a:gd name="connsiteX1219" fmla="*/ 3462131 w 4610101"/>
              <a:gd name="connsiteY1219" fmla="*/ 4528953 h 6557032"/>
              <a:gd name="connsiteX1220" fmla="*/ 3445731 w 4610101"/>
              <a:gd name="connsiteY1220" fmla="*/ 4543531 h 6557032"/>
              <a:gd name="connsiteX1221" fmla="*/ 3575106 w 4610101"/>
              <a:gd name="connsiteY1221" fmla="*/ 4518020 h 6557032"/>
              <a:gd name="connsiteX1222" fmla="*/ 3595150 w 4610101"/>
              <a:gd name="connsiteY1222" fmla="*/ 4541709 h 6557032"/>
              <a:gd name="connsiteX1223" fmla="*/ 3575106 w 4610101"/>
              <a:gd name="connsiteY1223" fmla="*/ 4559930 h 6557032"/>
              <a:gd name="connsiteX1224" fmla="*/ 3575106 w 4610101"/>
              <a:gd name="connsiteY1224" fmla="*/ 4518020 h 6557032"/>
              <a:gd name="connsiteX1225" fmla="*/ 3959584 w 4610101"/>
              <a:gd name="connsiteY1225" fmla="*/ 4512552 h 6557032"/>
              <a:gd name="connsiteX1226" fmla="*/ 3979628 w 4610101"/>
              <a:gd name="connsiteY1226" fmla="*/ 4528952 h 6557032"/>
              <a:gd name="connsiteX1227" fmla="*/ 3990561 w 4610101"/>
              <a:gd name="connsiteY1227" fmla="*/ 4559929 h 6557032"/>
              <a:gd name="connsiteX1228" fmla="*/ 3981450 w 4610101"/>
              <a:gd name="connsiteY1228" fmla="*/ 4570862 h 6557032"/>
              <a:gd name="connsiteX1229" fmla="*/ 3979831 w 4610101"/>
              <a:gd name="connsiteY1229" fmla="*/ 4571267 h 6557032"/>
              <a:gd name="connsiteX1230" fmla="*/ 3966873 w 4610101"/>
              <a:gd name="connsiteY1230" fmla="*/ 4574506 h 6557032"/>
              <a:gd name="connsiteX1231" fmla="*/ 3974161 w 4610101"/>
              <a:gd name="connsiteY1231" fmla="*/ 4589084 h 6557032"/>
              <a:gd name="connsiteX1232" fmla="*/ 3921318 w 4610101"/>
              <a:gd name="connsiteY1232" fmla="*/ 4558107 h 6557032"/>
              <a:gd name="connsiteX1233" fmla="*/ 3921318 w 4610101"/>
              <a:gd name="connsiteY1233" fmla="*/ 4536241 h 6557032"/>
              <a:gd name="connsiteX1234" fmla="*/ 3937718 w 4610101"/>
              <a:gd name="connsiteY1234" fmla="*/ 4534419 h 6557032"/>
              <a:gd name="connsiteX1235" fmla="*/ 3919496 w 4610101"/>
              <a:gd name="connsiteY1235" fmla="*/ 4523485 h 6557032"/>
              <a:gd name="connsiteX1236" fmla="*/ 3536841 w 4610101"/>
              <a:gd name="connsiteY1236" fmla="*/ 4507087 h 6557032"/>
              <a:gd name="connsiteX1237" fmla="*/ 3536841 w 4610101"/>
              <a:gd name="connsiteY1237" fmla="*/ 4514376 h 6557032"/>
              <a:gd name="connsiteX1238" fmla="*/ 3498575 w 4610101"/>
              <a:gd name="connsiteY1238" fmla="*/ 4528953 h 6557032"/>
              <a:gd name="connsiteX1239" fmla="*/ 3491286 w 4610101"/>
              <a:gd name="connsiteY1239" fmla="*/ 4514376 h 6557032"/>
              <a:gd name="connsiteX1240" fmla="*/ 2638508 w 4610101"/>
              <a:gd name="connsiteY1240" fmla="*/ 4507086 h 6557032"/>
              <a:gd name="connsiteX1241" fmla="*/ 2654908 w 4610101"/>
              <a:gd name="connsiteY1241" fmla="*/ 4507086 h 6557032"/>
              <a:gd name="connsiteX1242" fmla="*/ 2654908 w 4610101"/>
              <a:gd name="connsiteY1242" fmla="*/ 4521663 h 6557032"/>
              <a:gd name="connsiteX1243" fmla="*/ 3332757 w 4610101"/>
              <a:gd name="connsiteY1243" fmla="*/ 4505265 h 6557032"/>
              <a:gd name="connsiteX1244" fmla="*/ 3310891 w 4610101"/>
              <a:gd name="connsiteY1244" fmla="*/ 4536242 h 6557032"/>
              <a:gd name="connsiteX1245" fmla="*/ 3303602 w 4610101"/>
              <a:gd name="connsiteY1245" fmla="*/ 4528954 h 6557032"/>
              <a:gd name="connsiteX1246" fmla="*/ 3332757 w 4610101"/>
              <a:gd name="connsiteY1246" fmla="*/ 4505265 h 6557032"/>
              <a:gd name="connsiteX1247" fmla="*/ 2858992 w 4610101"/>
              <a:gd name="connsiteY1247" fmla="*/ 4501620 h 6557032"/>
              <a:gd name="connsiteX1248" fmla="*/ 2889969 w 4610101"/>
              <a:gd name="connsiteY1248" fmla="*/ 4507087 h 6557032"/>
              <a:gd name="connsiteX1249" fmla="*/ 2889969 w 4610101"/>
              <a:gd name="connsiteY1249" fmla="*/ 4514375 h 6557032"/>
              <a:gd name="connsiteX1250" fmla="*/ 2851703 w 4610101"/>
              <a:gd name="connsiteY1250" fmla="*/ 4528953 h 6557032"/>
              <a:gd name="connsiteX1251" fmla="*/ 2842592 w 4610101"/>
              <a:gd name="connsiteY1251" fmla="*/ 4519842 h 6557032"/>
              <a:gd name="connsiteX1252" fmla="*/ 2095500 w 4610101"/>
              <a:gd name="connsiteY1252" fmla="*/ 4499797 h 6557032"/>
              <a:gd name="connsiteX1253" fmla="*/ 2095500 w 4610101"/>
              <a:gd name="connsiteY1253" fmla="*/ 4514375 h 6557032"/>
              <a:gd name="connsiteX1254" fmla="*/ 2079100 w 4610101"/>
              <a:gd name="connsiteY1254" fmla="*/ 4512552 h 6557032"/>
              <a:gd name="connsiteX1255" fmla="*/ 3361911 w 4610101"/>
              <a:gd name="connsiteY1255" fmla="*/ 4497976 h 6557032"/>
              <a:gd name="connsiteX1256" fmla="*/ 3363733 w 4610101"/>
              <a:gd name="connsiteY1256" fmla="*/ 4521664 h 6557032"/>
              <a:gd name="connsiteX1257" fmla="*/ 3347333 w 4610101"/>
              <a:gd name="connsiteY1257" fmla="*/ 4512553 h 6557032"/>
              <a:gd name="connsiteX1258" fmla="*/ 3145073 w 4610101"/>
              <a:gd name="connsiteY1258" fmla="*/ 4497976 h 6557032"/>
              <a:gd name="connsiteX1259" fmla="*/ 3166938 w 4610101"/>
              <a:gd name="connsiteY1259" fmla="*/ 4514375 h 6557032"/>
              <a:gd name="connsiteX1260" fmla="*/ 3181516 w 4610101"/>
              <a:gd name="connsiteY1260" fmla="*/ 4507086 h 6557032"/>
              <a:gd name="connsiteX1261" fmla="*/ 3181516 w 4610101"/>
              <a:gd name="connsiteY1261" fmla="*/ 4521663 h 6557032"/>
              <a:gd name="connsiteX1262" fmla="*/ 3166939 w 4610101"/>
              <a:gd name="connsiteY1262" fmla="*/ 4514376 h 6557032"/>
              <a:gd name="connsiteX1263" fmla="*/ 3159650 w 4610101"/>
              <a:gd name="connsiteY1263" fmla="*/ 4521664 h 6557032"/>
              <a:gd name="connsiteX1264" fmla="*/ 3152362 w 4610101"/>
              <a:gd name="connsiteY1264" fmla="*/ 4543531 h 6557032"/>
              <a:gd name="connsiteX1265" fmla="*/ 3137784 w 4610101"/>
              <a:gd name="connsiteY1265" fmla="*/ 4507087 h 6557032"/>
              <a:gd name="connsiteX1266" fmla="*/ 41910 w 4610101"/>
              <a:gd name="connsiteY1266" fmla="*/ 4497976 h 6557032"/>
              <a:gd name="connsiteX1267" fmla="*/ 51021 w 4610101"/>
              <a:gd name="connsiteY1267" fmla="*/ 4512553 h 6557032"/>
              <a:gd name="connsiteX1268" fmla="*/ 38265 w 4610101"/>
              <a:gd name="connsiteY1268" fmla="*/ 4519842 h 6557032"/>
              <a:gd name="connsiteX1269" fmla="*/ 27332 w 4610101"/>
              <a:gd name="connsiteY1269" fmla="*/ 4512553 h 6557032"/>
              <a:gd name="connsiteX1270" fmla="*/ 3414753 w 4610101"/>
              <a:gd name="connsiteY1270" fmla="*/ 4490687 h 6557032"/>
              <a:gd name="connsiteX1271" fmla="*/ 3416576 w 4610101"/>
              <a:gd name="connsiteY1271" fmla="*/ 4514376 h 6557032"/>
              <a:gd name="connsiteX1272" fmla="*/ 3400176 w 4610101"/>
              <a:gd name="connsiteY1272" fmla="*/ 4505265 h 6557032"/>
              <a:gd name="connsiteX1273" fmla="*/ 3473064 w 4610101"/>
              <a:gd name="connsiteY1273" fmla="*/ 4488865 h 6557032"/>
              <a:gd name="connsiteX1274" fmla="*/ 3470029 w 4610101"/>
              <a:gd name="connsiteY1274" fmla="*/ 4490686 h 6557032"/>
              <a:gd name="connsiteX1275" fmla="*/ 3476251 w 4610101"/>
              <a:gd name="connsiteY1275" fmla="*/ 4490686 h 6557032"/>
              <a:gd name="connsiteX1276" fmla="*/ 3441827 w 4610101"/>
              <a:gd name="connsiteY1276" fmla="*/ 4483919 h 6557032"/>
              <a:gd name="connsiteX1277" fmla="*/ 3438443 w 4610101"/>
              <a:gd name="connsiteY1277" fmla="*/ 4490686 h 6557032"/>
              <a:gd name="connsiteX1278" fmla="*/ 3456207 w 4610101"/>
              <a:gd name="connsiteY1278" fmla="*/ 4490686 h 6557032"/>
              <a:gd name="connsiteX1279" fmla="*/ 3892164 w 4610101"/>
              <a:gd name="connsiteY1279" fmla="*/ 4483399 h 6557032"/>
              <a:gd name="connsiteX1280" fmla="*/ 3883054 w 4610101"/>
              <a:gd name="connsiteY1280" fmla="*/ 4507087 h 6557032"/>
              <a:gd name="connsiteX1281" fmla="*/ 3855721 w 4610101"/>
              <a:gd name="connsiteY1281" fmla="*/ 4536242 h 6557032"/>
              <a:gd name="connsiteX1282" fmla="*/ 3846610 w 4610101"/>
              <a:gd name="connsiteY1282" fmla="*/ 4507087 h 6557032"/>
              <a:gd name="connsiteX1283" fmla="*/ 3883053 w 4610101"/>
              <a:gd name="connsiteY1283" fmla="*/ 4507087 h 6557032"/>
              <a:gd name="connsiteX1284" fmla="*/ 3875764 w 4610101"/>
              <a:gd name="connsiteY1284" fmla="*/ 4492510 h 6557032"/>
              <a:gd name="connsiteX1285" fmla="*/ 2104612 w 4610101"/>
              <a:gd name="connsiteY1285" fmla="*/ 4481575 h 6557032"/>
              <a:gd name="connsiteX1286" fmla="*/ 2119190 w 4610101"/>
              <a:gd name="connsiteY1286" fmla="*/ 4499797 h 6557032"/>
              <a:gd name="connsiteX1287" fmla="*/ 2095501 w 4610101"/>
              <a:gd name="connsiteY1287" fmla="*/ 4499797 h 6557032"/>
              <a:gd name="connsiteX1288" fmla="*/ 3327291 w 4610101"/>
              <a:gd name="connsiteY1288" fmla="*/ 4474288 h 6557032"/>
              <a:gd name="connsiteX1289" fmla="*/ 3356446 w 4610101"/>
              <a:gd name="connsiteY1289" fmla="*/ 4490688 h 6557032"/>
              <a:gd name="connsiteX1290" fmla="*/ 3318180 w 4610101"/>
              <a:gd name="connsiteY1290" fmla="*/ 4499799 h 6557032"/>
              <a:gd name="connsiteX1291" fmla="*/ 2791570 w 4610101"/>
              <a:gd name="connsiteY1291" fmla="*/ 4468820 h 6557032"/>
              <a:gd name="connsiteX1292" fmla="*/ 2782459 w 4610101"/>
              <a:gd name="connsiteY1292" fmla="*/ 4497975 h 6557032"/>
              <a:gd name="connsiteX1293" fmla="*/ 2798859 w 4610101"/>
              <a:gd name="connsiteY1293" fmla="*/ 4508908 h 6557032"/>
              <a:gd name="connsiteX1294" fmla="*/ 2791570 w 4610101"/>
              <a:gd name="connsiteY1294" fmla="*/ 4521663 h 6557032"/>
              <a:gd name="connsiteX1295" fmla="*/ 2797037 w 4610101"/>
              <a:gd name="connsiteY1295" fmla="*/ 4530774 h 6557032"/>
              <a:gd name="connsiteX1296" fmla="*/ 2775171 w 4610101"/>
              <a:gd name="connsiteY1296" fmla="*/ 4552640 h 6557032"/>
              <a:gd name="connsiteX1297" fmla="*/ 2753305 w 4610101"/>
              <a:gd name="connsiteY1297" fmla="*/ 4548996 h 6557032"/>
              <a:gd name="connsiteX1298" fmla="*/ 2736905 w 4610101"/>
              <a:gd name="connsiteY1298" fmla="*/ 4545351 h 6557032"/>
              <a:gd name="connsiteX1299" fmla="*/ 2729616 w 4610101"/>
              <a:gd name="connsiteY1299" fmla="*/ 4514375 h 6557032"/>
              <a:gd name="connsiteX1300" fmla="*/ 2729616 w 4610101"/>
              <a:gd name="connsiteY1300" fmla="*/ 4492509 h 6557032"/>
              <a:gd name="connsiteX1301" fmla="*/ 2910011 w 4610101"/>
              <a:gd name="connsiteY1301" fmla="*/ 4461533 h 6557032"/>
              <a:gd name="connsiteX1302" fmla="*/ 2926411 w 4610101"/>
              <a:gd name="connsiteY1302" fmla="*/ 4468822 h 6557032"/>
              <a:gd name="connsiteX1303" fmla="*/ 2926411 w 4610101"/>
              <a:gd name="connsiteY1303" fmla="*/ 4483398 h 6557032"/>
              <a:gd name="connsiteX1304" fmla="*/ 2942811 w 4610101"/>
              <a:gd name="connsiteY1304" fmla="*/ 4485220 h 6557032"/>
              <a:gd name="connsiteX1305" fmla="*/ 2926411 w 4610101"/>
              <a:gd name="connsiteY1305" fmla="*/ 4499798 h 6557032"/>
              <a:gd name="connsiteX1306" fmla="*/ 2926411 w 4610101"/>
              <a:gd name="connsiteY1306" fmla="*/ 4483399 h 6557032"/>
              <a:gd name="connsiteX1307" fmla="*/ 2910011 w 4610101"/>
              <a:gd name="connsiteY1307" fmla="*/ 4483399 h 6557032"/>
              <a:gd name="connsiteX1308" fmla="*/ 3039387 w 4610101"/>
              <a:gd name="connsiteY1308" fmla="*/ 4454244 h 6557032"/>
              <a:gd name="connsiteX1309" fmla="*/ 3053965 w 4610101"/>
              <a:gd name="connsiteY1309" fmla="*/ 4468822 h 6557032"/>
              <a:gd name="connsiteX1310" fmla="*/ 3075831 w 4610101"/>
              <a:gd name="connsiteY1310" fmla="*/ 4461533 h 6557032"/>
              <a:gd name="connsiteX1311" fmla="*/ 3075831 w 4610101"/>
              <a:gd name="connsiteY1311" fmla="*/ 4483399 h 6557032"/>
              <a:gd name="connsiteX1312" fmla="*/ 3039387 w 4610101"/>
              <a:gd name="connsiteY1312" fmla="*/ 4483399 h 6557032"/>
              <a:gd name="connsiteX1313" fmla="*/ 3030276 w 4610101"/>
              <a:gd name="connsiteY1313" fmla="*/ 4468822 h 6557032"/>
              <a:gd name="connsiteX1314" fmla="*/ 1093305 w 4610101"/>
              <a:gd name="connsiteY1314" fmla="*/ 4454243 h 6557032"/>
              <a:gd name="connsiteX1315" fmla="*/ 1091484 w 4610101"/>
              <a:gd name="connsiteY1315" fmla="*/ 4470643 h 6557032"/>
              <a:gd name="connsiteX1316" fmla="*/ 1076905 w 4610101"/>
              <a:gd name="connsiteY1316" fmla="*/ 4456066 h 6557032"/>
              <a:gd name="connsiteX1317" fmla="*/ 3491017 w 4610101"/>
              <a:gd name="connsiteY1317" fmla="*/ 4452421 h 6557032"/>
              <a:gd name="connsiteX1318" fmla="*/ 3491286 w 4610101"/>
              <a:gd name="connsiteY1318" fmla="*/ 4452421 h 6557032"/>
              <a:gd name="connsiteX1319" fmla="*/ 3491230 w 4610101"/>
              <a:gd name="connsiteY1319" fmla="*/ 4452605 h 6557032"/>
              <a:gd name="connsiteX1320" fmla="*/ 2902724 w 4610101"/>
              <a:gd name="connsiteY1320" fmla="*/ 4446955 h 6557032"/>
              <a:gd name="connsiteX1321" fmla="*/ 2910013 w 4610101"/>
              <a:gd name="connsiteY1321" fmla="*/ 4461533 h 6557032"/>
              <a:gd name="connsiteX1322" fmla="*/ 2910011 w 4610101"/>
              <a:gd name="connsiteY1322" fmla="*/ 4461533 h 6557032"/>
              <a:gd name="connsiteX1323" fmla="*/ 2895435 w 4610101"/>
              <a:gd name="connsiteY1323" fmla="*/ 4461533 h 6557032"/>
              <a:gd name="connsiteX1324" fmla="*/ 2893613 w 4610101"/>
              <a:gd name="connsiteY1324" fmla="*/ 4485221 h 6557032"/>
              <a:gd name="connsiteX1325" fmla="*/ 2880858 w 4610101"/>
              <a:gd name="connsiteY1325" fmla="*/ 4461533 h 6557032"/>
              <a:gd name="connsiteX1326" fmla="*/ 2971967 w 4610101"/>
              <a:gd name="connsiteY1326" fmla="*/ 4439666 h 6557032"/>
              <a:gd name="connsiteX1327" fmla="*/ 2977433 w 4610101"/>
              <a:gd name="connsiteY1327" fmla="*/ 4470643 h 6557032"/>
              <a:gd name="connsiteX1328" fmla="*/ 2964678 w 4610101"/>
              <a:gd name="connsiteY1328" fmla="*/ 4463355 h 6557032"/>
              <a:gd name="connsiteX1329" fmla="*/ 2950100 w 4610101"/>
              <a:gd name="connsiteY1329" fmla="*/ 4477932 h 6557032"/>
              <a:gd name="connsiteX1330" fmla="*/ 2971967 w 4610101"/>
              <a:gd name="connsiteY1330" fmla="*/ 4439666 h 6557032"/>
              <a:gd name="connsiteX1331" fmla="*/ 2350605 w 4610101"/>
              <a:gd name="connsiteY1331" fmla="*/ 4439666 h 6557032"/>
              <a:gd name="connsiteX1332" fmla="*/ 2357894 w 4610101"/>
              <a:gd name="connsiteY1332" fmla="*/ 4445133 h 6557032"/>
              <a:gd name="connsiteX1333" fmla="*/ 2350605 w 4610101"/>
              <a:gd name="connsiteY1333" fmla="*/ 4476110 h 6557032"/>
              <a:gd name="connsiteX1334" fmla="*/ 2330561 w 4610101"/>
              <a:gd name="connsiteY1334" fmla="*/ 4446955 h 6557032"/>
              <a:gd name="connsiteX1335" fmla="*/ 3762789 w 4610101"/>
              <a:gd name="connsiteY1335" fmla="*/ 4437843 h 6557032"/>
              <a:gd name="connsiteX1336" fmla="*/ 3777367 w 4610101"/>
              <a:gd name="connsiteY1336" fmla="*/ 4454243 h 6557032"/>
              <a:gd name="connsiteX1337" fmla="*/ 3762789 w 4610101"/>
              <a:gd name="connsiteY1337" fmla="*/ 4454243 h 6557032"/>
              <a:gd name="connsiteX1338" fmla="*/ 2465401 w 4610101"/>
              <a:gd name="connsiteY1338" fmla="*/ 4437843 h 6557032"/>
              <a:gd name="connsiteX1339" fmla="*/ 2479979 w 4610101"/>
              <a:gd name="connsiteY1339" fmla="*/ 4454243 h 6557032"/>
              <a:gd name="connsiteX1340" fmla="*/ 2465401 w 4610101"/>
              <a:gd name="connsiteY1340" fmla="*/ 4454243 h 6557032"/>
              <a:gd name="connsiteX1341" fmla="*/ 3671682 w 4610101"/>
              <a:gd name="connsiteY1341" fmla="*/ 4431972 h 6557032"/>
              <a:gd name="connsiteX1342" fmla="*/ 3671682 w 4610101"/>
              <a:gd name="connsiteY1342" fmla="*/ 4445133 h 6557032"/>
              <a:gd name="connsiteX1343" fmla="*/ 3688081 w 4610101"/>
              <a:gd name="connsiteY1343" fmla="*/ 4445133 h 6557032"/>
              <a:gd name="connsiteX1344" fmla="*/ 3680793 w 4610101"/>
              <a:gd name="connsiteY1344" fmla="*/ 4457888 h 6557032"/>
              <a:gd name="connsiteX1345" fmla="*/ 3649816 w 4610101"/>
              <a:gd name="connsiteY1345" fmla="*/ 4452422 h 6557032"/>
              <a:gd name="connsiteX1346" fmla="*/ 3649816 w 4610101"/>
              <a:gd name="connsiteY1346" fmla="*/ 4466999 h 6557032"/>
              <a:gd name="connsiteX1347" fmla="*/ 3635238 w 4610101"/>
              <a:gd name="connsiteY1347" fmla="*/ 4466999 h 6557032"/>
              <a:gd name="connsiteX1348" fmla="*/ 3657104 w 4610101"/>
              <a:gd name="connsiteY1348" fmla="*/ 4443311 h 6557032"/>
              <a:gd name="connsiteX1349" fmla="*/ 3671682 w 4610101"/>
              <a:gd name="connsiteY1349" fmla="*/ 4430555 h 6557032"/>
              <a:gd name="connsiteX1350" fmla="*/ 3673504 w 4610101"/>
              <a:gd name="connsiteY1350" fmla="*/ 4430555 h 6557032"/>
              <a:gd name="connsiteX1351" fmla="*/ 3671682 w 4610101"/>
              <a:gd name="connsiteY1351" fmla="*/ 4431972 h 6557032"/>
              <a:gd name="connsiteX1352" fmla="*/ 1069617 w 4610101"/>
              <a:gd name="connsiteY1352" fmla="*/ 4430555 h 6557032"/>
              <a:gd name="connsiteX1353" fmla="*/ 1038639 w 4610101"/>
              <a:gd name="connsiteY1353" fmla="*/ 4452422 h 6557032"/>
              <a:gd name="connsiteX1354" fmla="*/ 1069617 w 4610101"/>
              <a:gd name="connsiteY1354" fmla="*/ 4430555 h 6557032"/>
              <a:gd name="connsiteX1355" fmla="*/ 2753306 w 4610101"/>
              <a:gd name="connsiteY1355" fmla="*/ 4425089 h 6557032"/>
              <a:gd name="connsiteX1356" fmla="*/ 2775172 w 4610101"/>
              <a:gd name="connsiteY1356" fmla="*/ 4446955 h 6557032"/>
              <a:gd name="connsiteX1357" fmla="*/ 2753306 w 4610101"/>
              <a:gd name="connsiteY1357" fmla="*/ 4425089 h 6557032"/>
              <a:gd name="connsiteX1358" fmla="*/ 2654908 w 4610101"/>
              <a:gd name="connsiteY1358" fmla="*/ 4423267 h 6557032"/>
              <a:gd name="connsiteX1359" fmla="*/ 2676774 w 4610101"/>
              <a:gd name="connsiteY1359" fmla="*/ 4454244 h 6557032"/>
              <a:gd name="connsiteX1360" fmla="*/ 2654908 w 4610101"/>
              <a:gd name="connsiteY1360" fmla="*/ 4454244 h 6557032"/>
              <a:gd name="connsiteX1361" fmla="*/ 3808344 w 4610101"/>
              <a:gd name="connsiteY1361" fmla="*/ 4423266 h 6557032"/>
              <a:gd name="connsiteX1362" fmla="*/ 3846610 w 4610101"/>
              <a:gd name="connsiteY1362" fmla="*/ 4423266 h 6557032"/>
              <a:gd name="connsiteX1363" fmla="*/ 3846610 w 4610101"/>
              <a:gd name="connsiteY1363" fmla="*/ 4428733 h 6557032"/>
              <a:gd name="connsiteX1364" fmla="*/ 3808344 w 4610101"/>
              <a:gd name="connsiteY1364" fmla="*/ 4439666 h 6557032"/>
              <a:gd name="connsiteX1365" fmla="*/ 3740923 w 4610101"/>
              <a:gd name="connsiteY1365" fmla="*/ 4423266 h 6557032"/>
              <a:gd name="connsiteX1366" fmla="*/ 3757323 w 4610101"/>
              <a:gd name="connsiteY1366" fmla="*/ 4425089 h 6557032"/>
              <a:gd name="connsiteX1367" fmla="*/ 3742745 w 4610101"/>
              <a:gd name="connsiteY1367" fmla="*/ 4439666 h 6557032"/>
              <a:gd name="connsiteX1368" fmla="*/ 1000374 w 4610101"/>
              <a:gd name="connsiteY1368" fmla="*/ 4421444 h 6557032"/>
              <a:gd name="connsiteX1369" fmla="*/ 978507 w 4610101"/>
              <a:gd name="connsiteY1369" fmla="*/ 4443310 h 6557032"/>
              <a:gd name="connsiteX1370" fmla="*/ 1002196 w 4610101"/>
              <a:gd name="connsiteY1370" fmla="*/ 4445132 h 6557032"/>
              <a:gd name="connsiteX1371" fmla="*/ 3582395 w 4610101"/>
              <a:gd name="connsiteY1371" fmla="*/ 4415977 h 6557032"/>
              <a:gd name="connsiteX1372" fmla="*/ 3573284 w 4610101"/>
              <a:gd name="connsiteY1372" fmla="*/ 4432377 h 6557032"/>
              <a:gd name="connsiteX1373" fmla="*/ 3560528 w 4610101"/>
              <a:gd name="connsiteY1373" fmla="*/ 4424405 h 6557032"/>
              <a:gd name="connsiteX1374" fmla="*/ 3560528 w 4610101"/>
              <a:gd name="connsiteY1374" fmla="*/ 4445133 h 6557032"/>
              <a:gd name="connsiteX1375" fmla="*/ 3575106 w 4610101"/>
              <a:gd name="connsiteY1375" fmla="*/ 4454244 h 6557032"/>
              <a:gd name="connsiteX1376" fmla="*/ 3536840 w 4610101"/>
              <a:gd name="connsiteY1376" fmla="*/ 4454244 h 6557032"/>
              <a:gd name="connsiteX1377" fmla="*/ 3549396 w 4610101"/>
              <a:gd name="connsiteY1377" fmla="*/ 4429644 h 6557032"/>
              <a:gd name="connsiteX1378" fmla="*/ 3559578 w 4610101"/>
              <a:gd name="connsiteY1378" fmla="*/ 4423811 h 6557032"/>
              <a:gd name="connsiteX1379" fmla="*/ 3558706 w 4610101"/>
              <a:gd name="connsiteY1379" fmla="*/ 4423266 h 6557032"/>
              <a:gd name="connsiteX1380" fmla="*/ 3518429 w 4610101"/>
              <a:gd name="connsiteY1380" fmla="*/ 4413275 h 6557032"/>
              <a:gd name="connsiteX1381" fmla="*/ 3520440 w 4610101"/>
              <a:gd name="connsiteY1381" fmla="*/ 4417800 h 6557032"/>
              <a:gd name="connsiteX1382" fmla="*/ 3518481 w 4610101"/>
              <a:gd name="connsiteY1382" fmla="*/ 4416984 h 6557032"/>
              <a:gd name="connsiteX1383" fmla="*/ 3517821 w 4610101"/>
              <a:gd name="connsiteY1383" fmla="*/ 4413643 h 6557032"/>
              <a:gd name="connsiteX1384" fmla="*/ 4116290 w 4610101"/>
              <a:gd name="connsiteY1384" fmla="*/ 4406866 h 6557032"/>
              <a:gd name="connsiteX1385" fmla="*/ 4118113 w 4610101"/>
              <a:gd name="connsiteY1385" fmla="*/ 4423266 h 6557032"/>
              <a:gd name="connsiteX1386" fmla="*/ 4101713 w 4610101"/>
              <a:gd name="connsiteY1386" fmla="*/ 4421443 h 6557032"/>
              <a:gd name="connsiteX1387" fmla="*/ 1463205 w 4610101"/>
              <a:gd name="connsiteY1387" fmla="*/ 4403223 h 6557032"/>
              <a:gd name="connsiteX1388" fmla="*/ 1489172 w 4610101"/>
              <a:gd name="connsiteY1388" fmla="*/ 4407323 h 6557032"/>
              <a:gd name="connsiteX1389" fmla="*/ 1500560 w 4610101"/>
              <a:gd name="connsiteY1389" fmla="*/ 4423773 h 6557032"/>
              <a:gd name="connsiteX1390" fmla="*/ 1516049 w 4610101"/>
              <a:gd name="connsiteY1390" fmla="*/ 4432378 h 6557032"/>
              <a:gd name="connsiteX1391" fmla="*/ 1499649 w 4610101"/>
              <a:gd name="connsiteY1391" fmla="*/ 4446956 h 6557032"/>
              <a:gd name="connsiteX1392" fmla="*/ 1499649 w 4610101"/>
              <a:gd name="connsiteY1392" fmla="*/ 4426153 h 6557032"/>
              <a:gd name="connsiteX1393" fmla="*/ 1479605 w 4610101"/>
              <a:gd name="connsiteY1393" fmla="*/ 4437845 h 6557032"/>
              <a:gd name="connsiteX1394" fmla="*/ 1463205 w 4610101"/>
              <a:gd name="connsiteY1394" fmla="*/ 4425090 h 6557032"/>
              <a:gd name="connsiteX1395" fmla="*/ 1463205 w 4610101"/>
              <a:gd name="connsiteY1395" fmla="*/ 4403223 h 6557032"/>
              <a:gd name="connsiteX1396" fmla="*/ 3392888 w 4610101"/>
              <a:gd name="connsiteY1396" fmla="*/ 4401400 h 6557032"/>
              <a:gd name="connsiteX1397" fmla="*/ 3371022 w 4610101"/>
              <a:gd name="connsiteY1397" fmla="*/ 4423266 h 6557032"/>
              <a:gd name="connsiteX1398" fmla="*/ 3392888 w 4610101"/>
              <a:gd name="connsiteY1398" fmla="*/ 4401400 h 6557032"/>
              <a:gd name="connsiteX1399" fmla="*/ 2904546 w 4610101"/>
              <a:gd name="connsiteY1399" fmla="*/ 4392290 h 6557032"/>
              <a:gd name="connsiteX1400" fmla="*/ 2926413 w 4610101"/>
              <a:gd name="connsiteY1400" fmla="*/ 4392290 h 6557032"/>
              <a:gd name="connsiteX1401" fmla="*/ 2904546 w 4610101"/>
              <a:gd name="connsiteY1401" fmla="*/ 4408690 h 6557032"/>
              <a:gd name="connsiteX1402" fmla="*/ 2893613 w 4610101"/>
              <a:gd name="connsiteY1402" fmla="*/ 4432378 h 6557032"/>
              <a:gd name="connsiteX1403" fmla="*/ 2880858 w 4610101"/>
              <a:gd name="connsiteY1403" fmla="*/ 4415979 h 6557032"/>
              <a:gd name="connsiteX1404" fmla="*/ 2904546 w 4610101"/>
              <a:gd name="connsiteY1404" fmla="*/ 4392290 h 6557032"/>
              <a:gd name="connsiteX1405" fmla="*/ 3259869 w 4610101"/>
              <a:gd name="connsiteY1405" fmla="*/ 4386823 h 6557032"/>
              <a:gd name="connsiteX1406" fmla="*/ 3236181 w 4610101"/>
              <a:gd name="connsiteY1406" fmla="*/ 4394111 h 6557032"/>
              <a:gd name="connsiteX1407" fmla="*/ 3250759 w 4610101"/>
              <a:gd name="connsiteY1407" fmla="*/ 4415978 h 6557032"/>
              <a:gd name="connsiteX1408" fmla="*/ 3558706 w 4610101"/>
              <a:gd name="connsiteY1408" fmla="*/ 4386822 h 6557032"/>
              <a:gd name="connsiteX1409" fmla="*/ 3582395 w 4610101"/>
              <a:gd name="connsiteY1409" fmla="*/ 4386822 h 6557032"/>
              <a:gd name="connsiteX1410" fmla="*/ 3573284 w 4610101"/>
              <a:gd name="connsiteY1410" fmla="*/ 4403222 h 6557032"/>
              <a:gd name="connsiteX1411" fmla="*/ 1946083 w 4610101"/>
              <a:gd name="connsiteY1411" fmla="*/ 4385001 h 6557032"/>
              <a:gd name="connsiteX1412" fmla="*/ 1967948 w 4610101"/>
              <a:gd name="connsiteY1412" fmla="*/ 4385001 h 6557032"/>
              <a:gd name="connsiteX1413" fmla="*/ 1967948 w 4610101"/>
              <a:gd name="connsiteY1413" fmla="*/ 4406868 h 6557032"/>
              <a:gd name="connsiteX1414" fmla="*/ 1946083 w 4610101"/>
              <a:gd name="connsiteY1414" fmla="*/ 4406868 h 6557032"/>
              <a:gd name="connsiteX1415" fmla="*/ 3285380 w 4610101"/>
              <a:gd name="connsiteY1415" fmla="*/ 4385000 h 6557032"/>
              <a:gd name="connsiteX1416" fmla="*/ 3270803 w 4610101"/>
              <a:gd name="connsiteY1416" fmla="*/ 4399578 h 6557032"/>
              <a:gd name="connsiteX1417" fmla="*/ 3287202 w 4610101"/>
              <a:gd name="connsiteY1417" fmla="*/ 4410511 h 6557032"/>
              <a:gd name="connsiteX1418" fmla="*/ 2880857 w 4610101"/>
              <a:gd name="connsiteY1418" fmla="*/ 4385000 h 6557032"/>
              <a:gd name="connsiteX1419" fmla="*/ 2879035 w 4610101"/>
              <a:gd name="connsiteY1419" fmla="*/ 4403222 h 6557032"/>
              <a:gd name="connsiteX1420" fmla="*/ 2864457 w 4610101"/>
              <a:gd name="connsiteY1420" fmla="*/ 4386823 h 6557032"/>
              <a:gd name="connsiteX1421" fmla="*/ 1191703 w 4610101"/>
              <a:gd name="connsiteY1421" fmla="*/ 4385000 h 6557032"/>
              <a:gd name="connsiteX1422" fmla="*/ 1189880 w 4610101"/>
              <a:gd name="connsiteY1422" fmla="*/ 4403222 h 6557032"/>
              <a:gd name="connsiteX1423" fmla="*/ 1173481 w 4610101"/>
              <a:gd name="connsiteY1423" fmla="*/ 4386823 h 6557032"/>
              <a:gd name="connsiteX1424" fmla="*/ 3873943 w 4610101"/>
              <a:gd name="connsiteY1424" fmla="*/ 4377712 h 6557032"/>
              <a:gd name="connsiteX1425" fmla="*/ 3883054 w 4610101"/>
              <a:gd name="connsiteY1425" fmla="*/ 4392290 h 6557032"/>
              <a:gd name="connsiteX1426" fmla="*/ 3870298 w 4610101"/>
              <a:gd name="connsiteY1426" fmla="*/ 4399578 h 6557032"/>
              <a:gd name="connsiteX1427" fmla="*/ 3859365 w 4610101"/>
              <a:gd name="connsiteY1427" fmla="*/ 4392290 h 6557032"/>
              <a:gd name="connsiteX1428" fmla="*/ 2379761 w 4610101"/>
              <a:gd name="connsiteY1428" fmla="*/ 4372245 h 6557032"/>
              <a:gd name="connsiteX1429" fmla="*/ 2401627 w 4610101"/>
              <a:gd name="connsiteY1429" fmla="*/ 4374068 h 6557032"/>
              <a:gd name="connsiteX1430" fmla="*/ 2418026 w 4610101"/>
              <a:gd name="connsiteY1430" fmla="*/ 4386823 h 6557032"/>
              <a:gd name="connsiteX1431" fmla="*/ 2410738 w 4610101"/>
              <a:gd name="connsiteY1431" fmla="*/ 4401400 h 6557032"/>
              <a:gd name="connsiteX1432" fmla="*/ 2416204 w 4610101"/>
              <a:gd name="connsiteY1432" fmla="*/ 4423266 h 6557032"/>
              <a:gd name="connsiteX1433" fmla="*/ 2403449 w 4610101"/>
              <a:gd name="connsiteY1433" fmla="*/ 4439666 h 6557032"/>
              <a:gd name="connsiteX1434" fmla="*/ 2381583 w 4610101"/>
              <a:gd name="connsiteY1434" fmla="*/ 4439666 h 6557032"/>
              <a:gd name="connsiteX1435" fmla="*/ 2367005 w 4610101"/>
              <a:gd name="connsiteY1435" fmla="*/ 4408689 h 6557032"/>
              <a:gd name="connsiteX1436" fmla="*/ 2365183 w 4610101"/>
              <a:gd name="connsiteY1436" fmla="*/ 4408689 h 6557032"/>
              <a:gd name="connsiteX1437" fmla="*/ 2365183 w 4610101"/>
              <a:gd name="connsiteY1437" fmla="*/ 4403222 h 6557032"/>
              <a:gd name="connsiteX1438" fmla="*/ 2379761 w 4610101"/>
              <a:gd name="connsiteY1438" fmla="*/ 4372245 h 6557032"/>
              <a:gd name="connsiteX1439" fmla="*/ 1734710 w 4610101"/>
              <a:gd name="connsiteY1439" fmla="*/ 4370424 h 6557032"/>
              <a:gd name="connsiteX1440" fmla="*/ 1756575 w 4610101"/>
              <a:gd name="connsiteY1440" fmla="*/ 4379535 h 6557032"/>
              <a:gd name="connsiteX1441" fmla="*/ 1772976 w 4610101"/>
              <a:gd name="connsiteY1441" fmla="*/ 4370424 h 6557032"/>
              <a:gd name="connsiteX1442" fmla="*/ 1762043 w 4610101"/>
              <a:gd name="connsiteY1442" fmla="*/ 4403223 h 6557032"/>
              <a:gd name="connsiteX1443" fmla="*/ 1749287 w 4610101"/>
              <a:gd name="connsiteY1443" fmla="*/ 4385001 h 6557032"/>
              <a:gd name="connsiteX1444" fmla="*/ 1734710 w 4610101"/>
              <a:gd name="connsiteY1444" fmla="*/ 4394112 h 6557032"/>
              <a:gd name="connsiteX1445" fmla="*/ 406345 w 4610101"/>
              <a:gd name="connsiteY1445" fmla="*/ 4370424 h 6557032"/>
              <a:gd name="connsiteX1446" fmla="*/ 428211 w 4610101"/>
              <a:gd name="connsiteY1446" fmla="*/ 4370424 h 6557032"/>
              <a:gd name="connsiteX1447" fmla="*/ 428211 w 4610101"/>
              <a:gd name="connsiteY1447" fmla="*/ 4392290 h 6557032"/>
              <a:gd name="connsiteX1448" fmla="*/ 406345 w 4610101"/>
              <a:gd name="connsiteY1448" fmla="*/ 4392290 h 6557032"/>
              <a:gd name="connsiteX1449" fmla="*/ 406345 w 4610101"/>
              <a:gd name="connsiteY1449" fmla="*/ 4370424 h 6557032"/>
              <a:gd name="connsiteX1450" fmla="*/ 3203382 w 4610101"/>
              <a:gd name="connsiteY1450" fmla="*/ 4370423 h 6557032"/>
              <a:gd name="connsiteX1451" fmla="*/ 3165116 w 4610101"/>
              <a:gd name="connsiteY1451" fmla="*/ 4375890 h 6557032"/>
              <a:gd name="connsiteX1452" fmla="*/ 3135962 w 4610101"/>
              <a:gd name="connsiteY1452" fmla="*/ 4377712 h 6557032"/>
              <a:gd name="connsiteX1453" fmla="*/ 3135962 w 4610101"/>
              <a:gd name="connsiteY1453" fmla="*/ 4386823 h 6557032"/>
              <a:gd name="connsiteX1454" fmla="*/ 3159650 w 4610101"/>
              <a:gd name="connsiteY1454" fmla="*/ 4390467 h 6557032"/>
              <a:gd name="connsiteX1455" fmla="*/ 3174227 w 4610101"/>
              <a:gd name="connsiteY1455" fmla="*/ 4386823 h 6557032"/>
              <a:gd name="connsiteX1456" fmla="*/ 3188805 w 4610101"/>
              <a:gd name="connsiteY1456" fmla="*/ 4403222 h 6557032"/>
              <a:gd name="connsiteX1457" fmla="*/ 3203382 w 4610101"/>
              <a:gd name="connsiteY1457" fmla="*/ 4370423 h 6557032"/>
              <a:gd name="connsiteX1458" fmla="*/ 1634491 w 4610101"/>
              <a:gd name="connsiteY1458" fmla="*/ 4368602 h 6557032"/>
              <a:gd name="connsiteX1459" fmla="*/ 1636312 w 4610101"/>
              <a:gd name="connsiteY1459" fmla="*/ 4394113 h 6557032"/>
              <a:gd name="connsiteX1460" fmla="*/ 1619912 w 4610101"/>
              <a:gd name="connsiteY1460" fmla="*/ 4385002 h 6557032"/>
              <a:gd name="connsiteX1461" fmla="*/ 2563799 w 4610101"/>
              <a:gd name="connsiteY1461" fmla="*/ 4363135 h 6557032"/>
              <a:gd name="connsiteX1462" fmla="*/ 2561977 w 4610101"/>
              <a:gd name="connsiteY1462" fmla="*/ 4386824 h 6557032"/>
              <a:gd name="connsiteX1463" fmla="*/ 2547399 w 4610101"/>
              <a:gd name="connsiteY1463" fmla="*/ 4372246 h 6557032"/>
              <a:gd name="connsiteX1464" fmla="*/ 1703733 w 4610101"/>
              <a:gd name="connsiteY1464" fmla="*/ 4355845 h 6557032"/>
              <a:gd name="connsiteX1465" fmla="*/ 1701911 w 4610101"/>
              <a:gd name="connsiteY1465" fmla="*/ 4372245 h 6557032"/>
              <a:gd name="connsiteX1466" fmla="*/ 1687333 w 4610101"/>
              <a:gd name="connsiteY1466" fmla="*/ 4357667 h 6557032"/>
              <a:gd name="connsiteX1467" fmla="*/ 2505490 w 4610101"/>
              <a:gd name="connsiteY1467" fmla="*/ 4350380 h 6557032"/>
              <a:gd name="connsiteX1468" fmla="*/ 2481802 w 4610101"/>
              <a:gd name="connsiteY1468" fmla="*/ 4372246 h 6557032"/>
              <a:gd name="connsiteX1469" fmla="*/ 2472691 w 4610101"/>
              <a:gd name="connsiteY1469" fmla="*/ 4354025 h 6557032"/>
              <a:gd name="connsiteX1470" fmla="*/ 2882679 w 4610101"/>
              <a:gd name="connsiteY1470" fmla="*/ 4348558 h 6557032"/>
              <a:gd name="connsiteX1471" fmla="*/ 2886323 w 4610101"/>
              <a:gd name="connsiteY1471" fmla="*/ 4379535 h 6557032"/>
              <a:gd name="connsiteX1472" fmla="*/ 2866279 w 4610101"/>
              <a:gd name="connsiteY1472" fmla="*/ 4355847 h 6557032"/>
              <a:gd name="connsiteX1473" fmla="*/ 3695369 w 4610101"/>
              <a:gd name="connsiteY1473" fmla="*/ 4348557 h 6557032"/>
              <a:gd name="connsiteX1474" fmla="*/ 3695369 w 4610101"/>
              <a:gd name="connsiteY1474" fmla="*/ 4363135 h 6557032"/>
              <a:gd name="connsiteX1475" fmla="*/ 3678969 w 4610101"/>
              <a:gd name="connsiteY1475" fmla="*/ 4361313 h 6557032"/>
              <a:gd name="connsiteX1476" fmla="*/ 2789749 w 4610101"/>
              <a:gd name="connsiteY1476" fmla="*/ 4348557 h 6557032"/>
              <a:gd name="connsiteX1477" fmla="*/ 2758772 w 4610101"/>
              <a:gd name="connsiteY1477" fmla="*/ 4363135 h 6557032"/>
              <a:gd name="connsiteX1478" fmla="*/ 2789749 w 4610101"/>
              <a:gd name="connsiteY1478" fmla="*/ 4348557 h 6557032"/>
              <a:gd name="connsiteX1479" fmla="*/ 2835304 w 4610101"/>
              <a:gd name="connsiteY1479" fmla="*/ 4341269 h 6557032"/>
              <a:gd name="connsiteX1480" fmla="*/ 2835304 w 4610101"/>
              <a:gd name="connsiteY1480" fmla="*/ 4363135 h 6557032"/>
              <a:gd name="connsiteX1481" fmla="*/ 2835304 w 4610101"/>
              <a:gd name="connsiteY1481" fmla="*/ 4341269 h 6557032"/>
              <a:gd name="connsiteX1482" fmla="*/ 2419848 w 4610101"/>
              <a:gd name="connsiteY1482" fmla="*/ 4341269 h 6557032"/>
              <a:gd name="connsiteX1483" fmla="*/ 2450825 w 4610101"/>
              <a:gd name="connsiteY1483" fmla="*/ 4341269 h 6557032"/>
              <a:gd name="connsiteX1484" fmla="*/ 2441714 w 4610101"/>
              <a:gd name="connsiteY1484" fmla="*/ 4355847 h 6557032"/>
              <a:gd name="connsiteX1485" fmla="*/ 2458114 w 4610101"/>
              <a:gd name="connsiteY1485" fmla="*/ 4370424 h 6557032"/>
              <a:gd name="connsiteX1486" fmla="*/ 2436248 w 4610101"/>
              <a:gd name="connsiteY1486" fmla="*/ 4385001 h 6557032"/>
              <a:gd name="connsiteX1487" fmla="*/ 2412559 w 4610101"/>
              <a:gd name="connsiteY1487" fmla="*/ 4363135 h 6557032"/>
              <a:gd name="connsiteX1488" fmla="*/ 2381582 w 4610101"/>
              <a:gd name="connsiteY1488" fmla="*/ 4341268 h 6557032"/>
              <a:gd name="connsiteX1489" fmla="*/ 2405271 w 4610101"/>
              <a:gd name="connsiteY1489" fmla="*/ 4341268 h 6557032"/>
              <a:gd name="connsiteX1490" fmla="*/ 2396160 w 4610101"/>
              <a:gd name="connsiteY1490" fmla="*/ 4357668 h 6557032"/>
              <a:gd name="connsiteX1491" fmla="*/ 2911834 w 4610101"/>
              <a:gd name="connsiteY1491" fmla="*/ 4339447 h 6557032"/>
              <a:gd name="connsiteX1492" fmla="*/ 2933700 w 4610101"/>
              <a:gd name="connsiteY1492" fmla="*/ 4339447 h 6557032"/>
              <a:gd name="connsiteX1493" fmla="*/ 2964677 w 4610101"/>
              <a:gd name="connsiteY1493" fmla="*/ 4370424 h 6557032"/>
              <a:gd name="connsiteX1494" fmla="*/ 2961033 w 4610101"/>
              <a:gd name="connsiteY1494" fmla="*/ 4394112 h 6557032"/>
              <a:gd name="connsiteX1495" fmla="*/ 2957388 w 4610101"/>
              <a:gd name="connsiteY1495" fmla="*/ 4375891 h 6557032"/>
              <a:gd name="connsiteX1496" fmla="*/ 2926411 w 4610101"/>
              <a:gd name="connsiteY1496" fmla="*/ 4390468 h 6557032"/>
              <a:gd name="connsiteX1497" fmla="*/ 2895434 w 4610101"/>
              <a:gd name="connsiteY1497" fmla="*/ 4375891 h 6557032"/>
              <a:gd name="connsiteX1498" fmla="*/ 2895434 w 4610101"/>
              <a:gd name="connsiteY1498" fmla="*/ 4368602 h 6557032"/>
              <a:gd name="connsiteX1499" fmla="*/ 2919123 w 4610101"/>
              <a:gd name="connsiteY1499" fmla="*/ 4368602 h 6557032"/>
              <a:gd name="connsiteX1500" fmla="*/ 2911834 w 4610101"/>
              <a:gd name="connsiteY1500" fmla="*/ 4354025 h 6557032"/>
              <a:gd name="connsiteX1501" fmla="*/ 2928233 w 4610101"/>
              <a:gd name="connsiteY1501" fmla="*/ 4352203 h 6557032"/>
              <a:gd name="connsiteX1502" fmla="*/ 965752 w 4610101"/>
              <a:gd name="connsiteY1502" fmla="*/ 4339446 h 6557032"/>
              <a:gd name="connsiteX1503" fmla="*/ 987618 w 4610101"/>
              <a:gd name="connsiteY1503" fmla="*/ 4341269 h 6557032"/>
              <a:gd name="connsiteX1504" fmla="*/ 1018596 w 4610101"/>
              <a:gd name="connsiteY1504" fmla="*/ 4370423 h 6557032"/>
              <a:gd name="connsiteX1505" fmla="*/ 1011307 w 4610101"/>
              <a:gd name="connsiteY1505" fmla="*/ 4392289 h 6557032"/>
              <a:gd name="connsiteX1506" fmla="*/ 1033174 w 4610101"/>
              <a:gd name="connsiteY1506" fmla="*/ 4401400 h 6557032"/>
              <a:gd name="connsiteX1507" fmla="*/ 1025885 w 4610101"/>
              <a:gd name="connsiteY1507" fmla="*/ 4415978 h 6557032"/>
              <a:gd name="connsiteX1508" fmla="*/ 1033174 w 4610101"/>
              <a:gd name="connsiteY1508" fmla="*/ 4430555 h 6557032"/>
              <a:gd name="connsiteX1509" fmla="*/ 1033174 w 4610101"/>
              <a:gd name="connsiteY1509" fmla="*/ 4452421 h 6557032"/>
              <a:gd name="connsiteX1510" fmla="*/ 1000374 w 4610101"/>
              <a:gd name="connsiteY1510" fmla="*/ 4452421 h 6557032"/>
              <a:gd name="connsiteX1511" fmla="*/ 1011307 w 4610101"/>
              <a:gd name="connsiteY1511" fmla="*/ 4499798 h 6557032"/>
              <a:gd name="connsiteX1512" fmla="*/ 978507 w 4610101"/>
              <a:gd name="connsiteY1512" fmla="*/ 4528952 h 6557032"/>
              <a:gd name="connsiteX1513" fmla="*/ 989441 w 4610101"/>
              <a:gd name="connsiteY1513" fmla="*/ 4539885 h 6557032"/>
              <a:gd name="connsiteX1514" fmla="*/ 983974 w 4610101"/>
              <a:gd name="connsiteY1514" fmla="*/ 4548996 h 6557032"/>
              <a:gd name="connsiteX1515" fmla="*/ 952997 w 4610101"/>
              <a:gd name="connsiteY1515" fmla="*/ 4541708 h 6557032"/>
              <a:gd name="connsiteX1516" fmla="*/ 960286 w 4610101"/>
              <a:gd name="connsiteY1516" fmla="*/ 4527130 h 6557032"/>
              <a:gd name="connsiteX1517" fmla="*/ 938419 w 4610101"/>
              <a:gd name="connsiteY1517" fmla="*/ 4525308 h 6557032"/>
              <a:gd name="connsiteX1518" fmla="*/ 922020 w 4610101"/>
              <a:gd name="connsiteY1518" fmla="*/ 4510731 h 6557032"/>
              <a:gd name="connsiteX1519" fmla="*/ 929309 w 4610101"/>
              <a:gd name="connsiteY1519" fmla="*/ 4496153 h 6557032"/>
              <a:gd name="connsiteX1520" fmla="*/ 922020 w 4610101"/>
              <a:gd name="connsiteY1520" fmla="*/ 4488865 h 6557032"/>
              <a:gd name="connsiteX1521" fmla="*/ 929309 w 4610101"/>
              <a:gd name="connsiteY1521" fmla="*/ 4474287 h 6557032"/>
              <a:gd name="connsiteX1522" fmla="*/ 929309 w 4610101"/>
              <a:gd name="connsiteY1522" fmla="*/ 4452421 h 6557032"/>
              <a:gd name="connsiteX1523" fmla="*/ 914731 w 4610101"/>
              <a:gd name="connsiteY1523" fmla="*/ 4445132 h 6557032"/>
              <a:gd name="connsiteX1524" fmla="*/ 922020 w 4610101"/>
              <a:gd name="connsiteY1524" fmla="*/ 4430555 h 6557032"/>
              <a:gd name="connsiteX1525" fmla="*/ 922020 w 4610101"/>
              <a:gd name="connsiteY1525" fmla="*/ 4415978 h 6557032"/>
              <a:gd name="connsiteX1526" fmla="*/ 918376 w 4610101"/>
              <a:gd name="connsiteY1526" fmla="*/ 4408689 h 6557032"/>
              <a:gd name="connsiteX1527" fmla="*/ 922020 w 4610101"/>
              <a:gd name="connsiteY1527" fmla="*/ 4385001 h 6557032"/>
              <a:gd name="connsiteX1528" fmla="*/ 943886 w 4610101"/>
              <a:gd name="connsiteY1528" fmla="*/ 4354024 h 6557032"/>
              <a:gd name="connsiteX1529" fmla="*/ 965752 w 4610101"/>
              <a:gd name="connsiteY1529" fmla="*/ 4339446 h 6557032"/>
              <a:gd name="connsiteX1530" fmla="*/ 3469419 w 4610101"/>
              <a:gd name="connsiteY1530" fmla="*/ 4333980 h 6557032"/>
              <a:gd name="connsiteX1531" fmla="*/ 3476708 w 4610101"/>
              <a:gd name="connsiteY1531" fmla="*/ 4348557 h 6557032"/>
              <a:gd name="connsiteX1532" fmla="*/ 3454842 w 4610101"/>
              <a:gd name="connsiteY1532" fmla="*/ 4348557 h 6557032"/>
              <a:gd name="connsiteX1533" fmla="*/ 3467597 w 4610101"/>
              <a:gd name="connsiteY1533" fmla="*/ 4364957 h 6557032"/>
              <a:gd name="connsiteX1534" fmla="*/ 3476708 w 4610101"/>
              <a:gd name="connsiteY1534" fmla="*/ 4348557 h 6557032"/>
              <a:gd name="connsiteX1535" fmla="*/ 3493108 w 4610101"/>
              <a:gd name="connsiteY1535" fmla="*/ 4335802 h 6557032"/>
              <a:gd name="connsiteX1536" fmla="*/ 2662197 w 4610101"/>
              <a:gd name="connsiteY1536" fmla="*/ 4333980 h 6557032"/>
              <a:gd name="connsiteX1537" fmla="*/ 2685885 w 4610101"/>
              <a:gd name="connsiteY1537" fmla="*/ 4341269 h 6557032"/>
              <a:gd name="connsiteX1538" fmla="*/ 2674952 w 4610101"/>
              <a:gd name="connsiteY1538" fmla="*/ 4364957 h 6557032"/>
              <a:gd name="connsiteX1539" fmla="*/ 2653086 w 4610101"/>
              <a:gd name="connsiteY1539" fmla="*/ 4343091 h 6557032"/>
              <a:gd name="connsiteX1540" fmla="*/ 3801055 w 4610101"/>
              <a:gd name="connsiteY1540" fmla="*/ 4333979 h 6557032"/>
              <a:gd name="connsiteX1541" fmla="*/ 3817455 w 4610101"/>
              <a:gd name="connsiteY1541" fmla="*/ 4333979 h 6557032"/>
              <a:gd name="connsiteX1542" fmla="*/ 3802877 w 4610101"/>
              <a:gd name="connsiteY1542" fmla="*/ 4350379 h 6557032"/>
              <a:gd name="connsiteX1543" fmla="*/ 3718251 w 4610101"/>
              <a:gd name="connsiteY1543" fmla="*/ 4329275 h 6557032"/>
              <a:gd name="connsiteX1544" fmla="*/ 3709948 w 4610101"/>
              <a:gd name="connsiteY1544" fmla="*/ 4355847 h 6557032"/>
              <a:gd name="connsiteX1545" fmla="*/ 3723841 w 4610101"/>
              <a:gd name="connsiteY1545" fmla="*/ 4369740 h 6557032"/>
              <a:gd name="connsiteX1546" fmla="*/ 3739101 w 4610101"/>
              <a:gd name="connsiteY1546" fmla="*/ 4344913 h 6557032"/>
              <a:gd name="connsiteX1547" fmla="*/ 3853899 w 4610101"/>
              <a:gd name="connsiteY1547" fmla="*/ 4317581 h 6557032"/>
              <a:gd name="connsiteX1548" fmla="*/ 3875765 w 4610101"/>
              <a:gd name="connsiteY1548" fmla="*/ 4317581 h 6557032"/>
              <a:gd name="connsiteX1549" fmla="*/ 3848432 w 4610101"/>
              <a:gd name="connsiteY1549" fmla="*/ 4348558 h 6557032"/>
              <a:gd name="connsiteX1550" fmla="*/ 770779 w 4610101"/>
              <a:gd name="connsiteY1550" fmla="*/ 4308470 h 6557032"/>
              <a:gd name="connsiteX1551" fmla="*/ 783535 w 4610101"/>
              <a:gd name="connsiteY1551" fmla="*/ 4324870 h 6557032"/>
              <a:gd name="connsiteX1552" fmla="*/ 768957 w 4610101"/>
              <a:gd name="connsiteY1552" fmla="*/ 4333981 h 6557032"/>
              <a:gd name="connsiteX1553" fmla="*/ 3564173 w 4610101"/>
              <a:gd name="connsiteY1553" fmla="*/ 4301181 h 6557032"/>
              <a:gd name="connsiteX1554" fmla="*/ 3542306 w 4610101"/>
              <a:gd name="connsiteY1554" fmla="*/ 4323047 h 6557032"/>
              <a:gd name="connsiteX1555" fmla="*/ 3565995 w 4610101"/>
              <a:gd name="connsiteY1555" fmla="*/ 4333980 h 6557032"/>
              <a:gd name="connsiteX1556" fmla="*/ 1055038 w 4610101"/>
              <a:gd name="connsiteY1556" fmla="*/ 4295715 h 6557032"/>
              <a:gd name="connsiteX1557" fmla="*/ 1069616 w 4610101"/>
              <a:gd name="connsiteY1557" fmla="*/ 4295715 h 6557032"/>
              <a:gd name="connsiteX1558" fmla="*/ 1076904 w 4610101"/>
              <a:gd name="connsiteY1558" fmla="*/ 4317581 h 6557032"/>
              <a:gd name="connsiteX1559" fmla="*/ 1055038 w 4610101"/>
              <a:gd name="connsiteY1559" fmla="*/ 4317581 h 6557032"/>
              <a:gd name="connsiteX1560" fmla="*/ 2186609 w 4610101"/>
              <a:gd name="connsiteY1560" fmla="*/ 4288426 h 6557032"/>
              <a:gd name="connsiteX1561" fmla="*/ 2193898 w 4610101"/>
              <a:gd name="connsiteY1561" fmla="*/ 4319403 h 6557032"/>
              <a:gd name="connsiteX1562" fmla="*/ 2164743 w 4610101"/>
              <a:gd name="connsiteY1562" fmla="*/ 4310292 h 6557032"/>
              <a:gd name="connsiteX1563" fmla="*/ 2155633 w 4610101"/>
              <a:gd name="connsiteY1563" fmla="*/ 4326691 h 6557032"/>
              <a:gd name="connsiteX1564" fmla="*/ 2141055 w 4610101"/>
              <a:gd name="connsiteY1564" fmla="*/ 4310291 h 6557032"/>
              <a:gd name="connsiteX1565" fmla="*/ 2164743 w 4610101"/>
              <a:gd name="connsiteY1565" fmla="*/ 4310291 h 6557032"/>
              <a:gd name="connsiteX1566" fmla="*/ 1807596 w 4610101"/>
              <a:gd name="connsiteY1566" fmla="*/ 4288426 h 6557032"/>
              <a:gd name="connsiteX1567" fmla="*/ 1814886 w 4610101"/>
              <a:gd name="connsiteY1567" fmla="*/ 4295715 h 6557032"/>
              <a:gd name="connsiteX1568" fmla="*/ 1807596 w 4610101"/>
              <a:gd name="connsiteY1568" fmla="*/ 4324870 h 6557032"/>
              <a:gd name="connsiteX1569" fmla="*/ 1785730 w 4610101"/>
              <a:gd name="connsiteY1569" fmla="*/ 4308470 h 6557032"/>
              <a:gd name="connsiteX1570" fmla="*/ 903798 w 4610101"/>
              <a:gd name="connsiteY1570" fmla="*/ 4288426 h 6557032"/>
              <a:gd name="connsiteX1571" fmla="*/ 911088 w 4610101"/>
              <a:gd name="connsiteY1571" fmla="*/ 4303003 h 6557032"/>
              <a:gd name="connsiteX1572" fmla="*/ 903798 w 4610101"/>
              <a:gd name="connsiteY1572" fmla="*/ 4324870 h 6557032"/>
              <a:gd name="connsiteX1573" fmla="*/ 881932 w 4610101"/>
              <a:gd name="connsiteY1573" fmla="*/ 4295715 h 6557032"/>
              <a:gd name="connsiteX1574" fmla="*/ 2787927 w 4610101"/>
              <a:gd name="connsiteY1574" fmla="*/ 4286603 h 6557032"/>
              <a:gd name="connsiteX1575" fmla="*/ 2797038 w 4610101"/>
              <a:gd name="connsiteY1575" fmla="*/ 4303003 h 6557032"/>
              <a:gd name="connsiteX1576" fmla="*/ 2773349 w 4610101"/>
              <a:gd name="connsiteY1576" fmla="*/ 4301181 h 6557032"/>
              <a:gd name="connsiteX1577" fmla="*/ 3731813 w 4610101"/>
              <a:gd name="connsiteY1577" fmla="*/ 4281137 h 6557032"/>
              <a:gd name="connsiteX1578" fmla="*/ 3746390 w 4610101"/>
              <a:gd name="connsiteY1578" fmla="*/ 4295714 h 6557032"/>
              <a:gd name="connsiteX1579" fmla="*/ 3748212 w 4610101"/>
              <a:gd name="connsiteY1579" fmla="*/ 4317580 h 6557032"/>
              <a:gd name="connsiteX1580" fmla="*/ 3731813 w 4610101"/>
              <a:gd name="connsiteY1580" fmla="*/ 4281137 h 6557032"/>
              <a:gd name="connsiteX1581" fmla="*/ 3596972 w 4610101"/>
              <a:gd name="connsiteY1581" fmla="*/ 4281137 h 6557032"/>
              <a:gd name="connsiteX1582" fmla="*/ 3573284 w 4610101"/>
              <a:gd name="connsiteY1582" fmla="*/ 4293892 h 6557032"/>
              <a:gd name="connsiteX1583" fmla="*/ 3596972 w 4610101"/>
              <a:gd name="connsiteY1583" fmla="*/ 4297536 h 6557032"/>
              <a:gd name="connsiteX1584" fmla="*/ 1018596 w 4610101"/>
              <a:gd name="connsiteY1584" fmla="*/ 4281137 h 6557032"/>
              <a:gd name="connsiteX1585" fmla="*/ 1033174 w 4610101"/>
              <a:gd name="connsiteY1585" fmla="*/ 4303003 h 6557032"/>
              <a:gd name="connsiteX1586" fmla="*/ 1016774 w 4610101"/>
              <a:gd name="connsiteY1586" fmla="*/ 4333980 h 6557032"/>
              <a:gd name="connsiteX1587" fmla="*/ 996729 w 4610101"/>
              <a:gd name="connsiteY1587" fmla="*/ 4317581 h 6557032"/>
              <a:gd name="connsiteX1588" fmla="*/ 996729 w 4610101"/>
              <a:gd name="connsiteY1588" fmla="*/ 4295715 h 6557032"/>
              <a:gd name="connsiteX1589" fmla="*/ 2487267 w 4610101"/>
              <a:gd name="connsiteY1589" fmla="*/ 4281136 h 6557032"/>
              <a:gd name="connsiteX1590" fmla="*/ 2503667 w 4610101"/>
              <a:gd name="connsiteY1590" fmla="*/ 4281136 h 6557032"/>
              <a:gd name="connsiteX1591" fmla="*/ 2501845 w 4610101"/>
              <a:gd name="connsiteY1591" fmla="*/ 4297536 h 6557032"/>
              <a:gd name="connsiteX1592" fmla="*/ 2999299 w 4610101"/>
              <a:gd name="connsiteY1592" fmla="*/ 4279315 h 6557032"/>
              <a:gd name="connsiteX1593" fmla="*/ 2984721 w 4610101"/>
              <a:gd name="connsiteY1593" fmla="*/ 4293892 h 6557032"/>
              <a:gd name="connsiteX1594" fmla="*/ 3008410 w 4610101"/>
              <a:gd name="connsiteY1594" fmla="*/ 4295714 h 6557032"/>
              <a:gd name="connsiteX1595" fmla="*/ 2179321 w 4610101"/>
              <a:gd name="connsiteY1595" fmla="*/ 4264737 h 6557032"/>
              <a:gd name="connsiteX1596" fmla="*/ 2201187 w 4610101"/>
              <a:gd name="connsiteY1596" fmla="*/ 4279315 h 6557032"/>
              <a:gd name="connsiteX1597" fmla="*/ 2179321 w 4610101"/>
              <a:gd name="connsiteY1597" fmla="*/ 4264737 h 6557032"/>
              <a:gd name="connsiteX1598" fmla="*/ 2919123 w 4610101"/>
              <a:gd name="connsiteY1598" fmla="*/ 4259271 h 6557032"/>
              <a:gd name="connsiteX1599" fmla="*/ 2900901 w 4610101"/>
              <a:gd name="connsiteY1599" fmla="*/ 4272026 h 6557032"/>
              <a:gd name="connsiteX1600" fmla="*/ 2888146 w 4610101"/>
              <a:gd name="connsiteY1600" fmla="*/ 4266559 h 6557032"/>
              <a:gd name="connsiteX1601" fmla="*/ 2888146 w 4610101"/>
              <a:gd name="connsiteY1601" fmla="*/ 4281137 h 6557032"/>
              <a:gd name="connsiteX1602" fmla="*/ 2902724 w 4610101"/>
              <a:gd name="connsiteY1602" fmla="*/ 4281137 h 6557032"/>
              <a:gd name="connsiteX1603" fmla="*/ 2910012 w 4610101"/>
              <a:gd name="connsiteY1603" fmla="*/ 4303003 h 6557032"/>
              <a:gd name="connsiteX1604" fmla="*/ 2910012 w 4610101"/>
              <a:gd name="connsiteY1604" fmla="*/ 4281137 h 6557032"/>
              <a:gd name="connsiteX1605" fmla="*/ 2268608 w 4610101"/>
              <a:gd name="connsiteY1605" fmla="*/ 4257449 h 6557032"/>
              <a:gd name="connsiteX1606" fmla="*/ 2286830 w 4610101"/>
              <a:gd name="connsiteY1606" fmla="*/ 4266560 h 6557032"/>
              <a:gd name="connsiteX1607" fmla="*/ 2270430 w 4610101"/>
              <a:gd name="connsiteY1607" fmla="*/ 4279316 h 6557032"/>
              <a:gd name="connsiteX1608" fmla="*/ 2261319 w 4610101"/>
              <a:gd name="connsiteY1608" fmla="*/ 4272027 h 6557032"/>
              <a:gd name="connsiteX1609" fmla="*/ 3822921 w 4610101"/>
              <a:gd name="connsiteY1609" fmla="*/ 4257448 h 6557032"/>
              <a:gd name="connsiteX1610" fmla="*/ 3821046 w 4610101"/>
              <a:gd name="connsiteY1610" fmla="*/ 4271725 h 6557032"/>
              <a:gd name="connsiteX1611" fmla="*/ 3818105 w 4610101"/>
              <a:gd name="connsiteY1611" fmla="*/ 4267682 h 6557032"/>
              <a:gd name="connsiteX1612" fmla="*/ 3689903 w 4610101"/>
              <a:gd name="connsiteY1612" fmla="*/ 4257448 h 6557032"/>
              <a:gd name="connsiteX1613" fmla="*/ 3664392 w 4610101"/>
              <a:gd name="connsiteY1613" fmla="*/ 4259271 h 6557032"/>
              <a:gd name="connsiteX1614" fmla="*/ 3678969 w 4610101"/>
              <a:gd name="connsiteY1614" fmla="*/ 4273848 h 6557032"/>
              <a:gd name="connsiteX1615" fmla="*/ 3821019 w 4610101"/>
              <a:gd name="connsiteY1615" fmla="*/ 4251530 h 6557032"/>
              <a:gd name="connsiteX1616" fmla="*/ 3821099 w 4610101"/>
              <a:gd name="connsiteY1616" fmla="*/ 4251982 h 6557032"/>
              <a:gd name="connsiteX1617" fmla="*/ 3820783 w 4610101"/>
              <a:gd name="connsiteY1617" fmla="*/ 4251733 h 6557032"/>
              <a:gd name="connsiteX1618" fmla="*/ 3884875 w 4610101"/>
              <a:gd name="connsiteY1618" fmla="*/ 4250160 h 6557032"/>
              <a:gd name="connsiteX1619" fmla="*/ 3892164 w 4610101"/>
              <a:gd name="connsiteY1619" fmla="*/ 4264738 h 6557032"/>
              <a:gd name="connsiteX1620" fmla="*/ 3928608 w 4610101"/>
              <a:gd name="connsiteY1620" fmla="*/ 4272026 h 6557032"/>
              <a:gd name="connsiteX1621" fmla="*/ 3899453 w 4610101"/>
              <a:gd name="connsiteY1621" fmla="*/ 4281137 h 6557032"/>
              <a:gd name="connsiteX1622" fmla="*/ 3884875 w 4610101"/>
              <a:gd name="connsiteY1622" fmla="*/ 4250160 h 6557032"/>
              <a:gd name="connsiteX1623" fmla="*/ 3642526 w 4610101"/>
              <a:gd name="connsiteY1623" fmla="*/ 4250160 h 6557032"/>
              <a:gd name="connsiteX1624" fmla="*/ 3642526 w 4610101"/>
              <a:gd name="connsiteY1624" fmla="*/ 4264737 h 6557032"/>
              <a:gd name="connsiteX1625" fmla="*/ 3657103 w 4610101"/>
              <a:gd name="connsiteY1625" fmla="*/ 4264737 h 6557032"/>
              <a:gd name="connsiteX1626" fmla="*/ 3578750 w 4610101"/>
              <a:gd name="connsiteY1626" fmla="*/ 4250160 h 6557032"/>
              <a:gd name="connsiteX1627" fmla="*/ 3609727 w 4610101"/>
              <a:gd name="connsiteY1627" fmla="*/ 4281137 h 6557032"/>
              <a:gd name="connsiteX1628" fmla="*/ 3617016 w 4610101"/>
              <a:gd name="connsiteY1628" fmla="*/ 4270204 h 6557032"/>
              <a:gd name="connsiteX1629" fmla="*/ 3578750 w 4610101"/>
              <a:gd name="connsiteY1629" fmla="*/ 4250160 h 6557032"/>
              <a:gd name="connsiteX1630" fmla="*/ 2828014 w 4610101"/>
              <a:gd name="connsiteY1630" fmla="*/ 4250159 h 6557032"/>
              <a:gd name="connsiteX1631" fmla="*/ 2844414 w 4610101"/>
              <a:gd name="connsiteY1631" fmla="*/ 4251982 h 6557032"/>
              <a:gd name="connsiteX1632" fmla="*/ 2829837 w 4610101"/>
              <a:gd name="connsiteY1632" fmla="*/ 4266559 h 6557032"/>
              <a:gd name="connsiteX1633" fmla="*/ 2494557 w 4610101"/>
              <a:gd name="connsiteY1633" fmla="*/ 4248338 h 6557032"/>
              <a:gd name="connsiteX1634" fmla="*/ 2496380 w 4610101"/>
              <a:gd name="connsiteY1634" fmla="*/ 4272027 h 6557032"/>
              <a:gd name="connsiteX1635" fmla="*/ 2470869 w 4610101"/>
              <a:gd name="connsiteY1635" fmla="*/ 4270205 h 6557032"/>
              <a:gd name="connsiteX1636" fmla="*/ 1388496 w 4610101"/>
              <a:gd name="connsiteY1636" fmla="*/ 4248338 h 6557032"/>
              <a:gd name="connsiteX1637" fmla="*/ 1401252 w 4610101"/>
              <a:gd name="connsiteY1637" fmla="*/ 4264738 h 6557032"/>
              <a:gd name="connsiteX1638" fmla="*/ 1386674 w 4610101"/>
              <a:gd name="connsiteY1638" fmla="*/ 4273849 h 6557032"/>
              <a:gd name="connsiteX1639" fmla="*/ 1076904 w 4610101"/>
              <a:gd name="connsiteY1639" fmla="*/ 4248338 h 6557032"/>
              <a:gd name="connsiteX1640" fmla="*/ 1091484 w 4610101"/>
              <a:gd name="connsiteY1640" fmla="*/ 4272027 h 6557032"/>
              <a:gd name="connsiteX1641" fmla="*/ 1076904 w 4610101"/>
              <a:gd name="connsiteY1641" fmla="*/ 4288426 h 6557032"/>
              <a:gd name="connsiteX1642" fmla="*/ 1053216 w 4610101"/>
              <a:gd name="connsiteY1642" fmla="*/ 4270205 h 6557032"/>
              <a:gd name="connsiteX1643" fmla="*/ 1295566 w 4610101"/>
              <a:gd name="connsiteY1643" fmla="*/ 4242872 h 6557032"/>
              <a:gd name="connsiteX1644" fmla="*/ 1319255 w 4610101"/>
              <a:gd name="connsiteY1644" fmla="*/ 4266560 h 6557032"/>
              <a:gd name="connsiteX1645" fmla="*/ 1319255 w 4610101"/>
              <a:gd name="connsiteY1645" fmla="*/ 4288427 h 6557032"/>
              <a:gd name="connsiteX1646" fmla="*/ 1297388 w 4610101"/>
              <a:gd name="connsiteY1646" fmla="*/ 4286604 h 6557032"/>
              <a:gd name="connsiteX1647" fmla="*/ 1280988 w 4610101"/>
              <a:gd name="connsiteY1647" fmla="*/ 4273849 h 6557032"/>
              <a:gd name="connsiteX1648" fmla="*/ 1295566 w 4610101"/>
              <a:gd name="connsiteY1648" fmla="*/ 4242872 h 6557032"/>
              <a:gd name="connsiteX1649" fmla="*/ 4163667 w 4610101"/>
              <a:gd name="connsiteY1649" fmla="*/ 4235582 h 6557032"/>
              <a:gd name="connsiteX1650" fmla="*/ 4178245 w 4610101"/>
              <a:gd name="connsiteY1650" fmla="*/ 4250160 h 6557032"/>
              <a:gd name="connsiteX1651" fmla="*/ 4163667 w 4610101"/>
              <a:gd name="connsiteY1651" fmla="*/ 4250160 h 6557032"/>
              <a:gd name="connsiteX1652" fmla="*/ 2685885 w 4610101"/>
              <a:gd name="connsiteY1652" fmla="*/ 4235582 h 6557032"/>
              <a:gd name="connsiteX1653" fmla="*/ 2707752 w 4610101"/>
              <a:gd name="connsiteY1653" fmla="*/ 4235582 h 6557032"/>
              <a:gd name="connsiteX1654" fmla="*/ 2707752 w 4610101"/>
              <a:gd name="connsiteY1654" fmla="*/ 4250160 h 6557032"/>
              <a:gd name="connsiteX1655" fmla="*/ 2685885 w 4610101"/>
              <a:gd name="connsiteY1655" fmla="*/ 4235582 h 6557032"/>
              <a:gd name="connsiteX1656" fmla="*/ 2933700 w 4610101"/>
              <a:gd name="connsiteY1656" fmla="*/ 4228294 h 6557032"/>
              <a:gd name="connsiteX1657" fmla="*/ 2955566 w 4610101"/>
              <a:gd name="connsiteY1657" fmla="*/ 4250160 h 6557032"/>
              <a:gd name="connsiteX1658" fmla="*/ 2933700 w 4610101"/>
              <a:gd name="connsiteY1658" fmla="*/ 4228294 h 6557032"/>
              <a:gd name="connsiteX1659" fmla="*/ 2276579 w 4610101"/>
              <a:gd name="connsiteY1659" fmla="*/ 4227838 h 6557032"/>
              <a:gd name="connsiteX1660" fmla="*/ 2285007 w 4610101"/>
              <a:gd name="connsiteY1660" fmla="*/ 4235583 h 6557032"/>
              <a:gd name="connsiteX1661" fmla="*/ 2268607 w 4610101"/>
              <a:gd name="connsiteY1661" fmla="*/ 4257449 h 6557032"/>
              <a:gd name="connsiteX1662" fmla="*/ 2246741 w 4610101"/>
              <a:gd name="connsiteY1662" fmla="*/ 4235583 h 6557032"/>
              <a:gd name="connsiteX1663" fmla="*/ 2261319 w 4610101"/>
              <a:gd name="connsiteY1663" fmla="*/ 4228294 h 6557032"/>
              <a:gd name="connsiteX1664" fmla="*/ 2276579 w 4610101"/>
              <a:gd name="connsiteY1664" fmla="*/ 4227838 h 6557032"/>
              <a:gd name="connsiteX1665" fmla="*/ 1590758 w 4610101"/>
              <a:gd name="connsiteY1665" fmla="*/ 4226472 h 6557032"/>
              <a:gd name="connsiteX1666" fmla="*/ 1621736 w 4610101"/>
              <a:gd name="connsiteY1666" fmla="*/ 4237405 h 6557032"/>
              <a:gd name="connsiteX1667" fmla="*/ 1599869 w 4610101"/>
              <a:gd name="connsiteY1667" fmla="*/ 4259271 h 6557032"/>
              <a:gd name="connsiteX1668" fmla="*/ 224128 w 4610101"/>
              <a:gd name="connsiteY1668" fmla="*/ 4226471 h 6557032"/>
              <a:gd name="connsiteX1669" fmla="*/ 233239 w 4610101"/>
              <a:gd name="connsiteY1669" fmla="*/ 4242871 h 6557032"/>
              <a:gd name="connsiteX1670" fmla="*/ 209550 w 4610101"/>
              <a:gd name="connsiteY1670" fmla="*/ 4241049 h 6557032"/>
              <a:gd name="connsiteX1671" fmla="*/ 3567817 w 4610101"/>
              <a:gd name="connsiteY1671" fmla="*/ 4221005 h 6557032"/>
              <a:gd name="connsiteX1672" fmla="*/ 3551417 w 4610101"/>
              <a:gd name="connsiteY1672" fmla="*/ 4222827 h 6557032"/>
              <a:gd name="connsiteX1673" fmla="*/ 3565995 w 4610101"/>
              <a:gd name="connsiteY1673" fmla="*/ 4237404 h 6557032"/>
              <a:gd name="connsiteX1674" fmla="*/ 646872 w 4610101"/>
              <a:gd name="connsiteY1674" fmla="*/ 4219183 h 6557032"/>
              <a:gd name="connsiteX1675" fmla="*/ 670560 w 4610101"/>
              <a:gd name="connsiteY1675" fmla="*/ 4242872 h 6557032"/>
              <a:gd name="connsiteX1676" fmla="*/ 646872 w 4610101"/>
              <a:gd name="connsiteY1676" fmla="*/ 4242872 h 6557032"/>
              <a:gd name="connsiteX1677" fmla="*/ 3950474 w 4610101"/>
              <a:gd name="connsiteY1677" fmla="*/ 4213717 h 6557032"/>
              <a:gd name="connsiteX1678" fmla="*/ 3957762 w 4610101"/>
              <a:gd name="connsiteY1678" fmla="*/ 4226472 h 6557032"/>
              <a:gd name="connsiteX1679" fmla="*/ 3950474 w 4610101"/>
              <a:gd name="connsiteY1679" fmla="*/ 4237406 h 6557032"/>
              <a:gd name="connsiteX1680" fmla="*/ 3935896 w 4610101"/>
              <a:gd name="connsiteY1680" fmla="*/ 4221006 h 6557032"/>
              <a:gd name="connsiteX1681" fmla="*/ 2405270 w 4610101"/>
              <a:gd name="connsiteY1681" fmla="*/ 4213717 h 6557032"/>
              <a:gd name="connsiteX1682" fmla="*/ 2428959 w 4610101"/>
              <a:gd name="connsiteY1682" fmla="*/ 4213717 h 6557032"/>
              <a:gd name="connsiteX1683" fmla="*/ 2419848 w 4610101"/>
              <a:gd name="connsiteY1683" fmla="*/ 4242872 h 6557032"/>
              <a:gd name="connsiteX1684" fmla="*/ 2405270 w 4610101"/>
              <a:gd name="connsiteY1684" fmla="*/ 4213717 h 6557032"/>
              <a:gd name="connsiteX1685" fmla="*/ 2676775 w 4610101"/>
              <a:gd name="connsiteY1685" fmla="*/ 4206428 h 6557032"/>
              <a:gd name="connsiteX1686" fmla="*/ 2654909 w 4610101"/>
              <a:gd name="connsiteY1686" fmla="*/ 4228294 h 6557032"/>
              <a:gd name="connsiteX1687" fmla="*/ 2660375 w 4610101"/>
              <a:gd name="connsiteY1687" fmla="*/ 4241049 h 6557032"/>
              <a:gd name="connsiteX1688" fmla="*/ 2638509 w 4610101"/>
              <a:gd name="connsiteY1688" fmla="*/ 4241049 h 6557032"/>
              <a:gd name="connsiteX1689" fmla="*/ 2638509 w 4610101"/>
              <a:gd name="connsiteY1689" fmla="*/ 4219183 h 6557032"/>
              <a:gd name="connsiteX1690" fmla="*/ 2676775 w 4610101"/>
              <a:gd name="connsiteY1690" fmla="*/ 4206428 h 6557032"/>
              <a:gd name="connsiteX1691" fmla="*/ 1598046 w 4610101"/>
              <a:gd name="connsiteY1691" fmla="*/ 4204605 h 6557032"/>
              <a:gd name="connsiteX1692" fmla="*/ 1621735 w 4610101"/>
              <a:gd name="connsiteY1692" fmla="*/ 4206428 h 6557032"/>
              <a:gd name="connsiteX1693" fmla="*/ 1607158 w 4610101"/>
              <a:gd name="connsiteY1693" fmla="*/ 4219183 h 6557032"/>
              <a:gd name="connsiteX1694" fmla="*/ 2015325 w 4610101"/>
              <a:gd name="connsiteY1694" fmla="*/ 4199138 h 6557032"/>
              <a:gd name="connsiteX1695" fmla="*/ 2037191 w 4610101"/>
              <a:gd name="connsiteY1695" fmla="*/ 4206427 h 6557032"/>
              <a:gd name="connsiteX1696" fmla="*/ 2059057 w 4610101"/>
              <a:gd name="connsiteY1696" fmla="*/ 4206427 h 6557032"/>
              <a:gd name="connsiteX1697" fmla="*/ 2059057 w 4610101"/>
              <a:gd name="connsiteY1697" fmla="*/ 4228293 h 6557032"/>
              <a:gd name="connsiteX1698" fmla="*/ 2051768 w 4610101"/>
              <a:gd name="connsiteY1698" fmla="*/ 4242871 h 6557032"/>
              <a:gd name="connsiteX1699" fmla="*/ 2059057 w 4610101"/>
              <a:gd name="connsiteY1699" fmla="*/ 4257448 h 6557032"/>
              <a:gd name="connsiteX1700" fmla="*/ 2028080 w 4610101"/>
              <a:gd name="connsiteY1700" fmla="*/ 4272025 h 6557032"/>
              <a:gd name="connsiteX1701" fmla="*/ 2009858 w 4610101"/>
              <a:gd name="connsiteY1701" fmla="*/ 4273847 h 6557032"/>
              <a:gd name="connsiteX1702" fmla="*/ 2000747 w 4610101"/>
              <a:gd name="connsiteY1702" fmla="*/ 4221004 h 6557032"/>
              <a:gd name="connsiteX1703" fmla="*/ 2015325 w 4610101"/>
              <a:gd name="connsiteY1703" fmla="*/ 4221004 h 6557032"/>
              <a:gd name="connsiteX1704" fmla="*/ 2015325 w 4610101"/>
              <a:gd name="connsiteY1704" fmla="*/ 4199138 h 6557032"/>
              <a:gd name="connsiteX1705" fmla="*/ 3596972 w 4610101"/>
              <a:gd name="connsiteY1705" fmla="*/ 4197317 h 6557032"/>
              <a:gd name="connsiteX1706" fmla="*/ 3575106 w 4610101"/>
              <a:gd name="connsiteY1706" fmla="*/ 4235582 h 6557032"/>
              <a:gd name="connsiteX1707" fmla="*/ 3596972 w 4610101"/>
              <a:gd name="connsiteY1707" fmla="*/ 4197317 h 6557032"/>
              <a:gd name="connsiteX1708" fmla="*/ 1778441 w 4610101"/>
              <a:gd name="connsiteY1708" fmla="*/ 4190028 h 6557032"/>
              <a:gd name="connsiteX1709" fmla="*/ 1800307 w 4610101"/>
              <a:gd name="connsiteY1709" fmla="*/ 4190028 h 6557032"/>
              <a:gd name="connsiteX1710" fmla="*/ 1778441 w 4610101"/>
              <a:gd name="connsiteY1710" fmla="*/ 4228294 h 6557032"/>
              <a:gd name="connsiteX1711" fmla="*/ 1062328 w 4610101"/>
              <a:gd name="connsiteY1711" fmla="*/ 4190028 h 6557032"/>
              <a:gd name="connsiteX1712" fmla="*/ 1062328 w 4610101"/>
              <a:gd name="connsiteY1712" fmla="*/ 4211894 h 6557032"/>
              <a:gd name="connsiteX1713" fmla="*/ 1031350 w 4610101"/>
              <a:gd name="connsiteY1713" fmla="*/ 4195495 h 6557032"/>
              <a:gd name="connsiteX1714" fmla="*/ 3914029 w 4610101"/>
              <a:gd name="connsiteY1714" fmla="*/ 4182739 h 6557032"/>
              <a:gd name="connsiteX1715" fmla="*/ 3928607 w 4610101"/>
              <a:gd name="connsiteY1715" fmla="*/ 4197317 h 6557032"/>
              <a:gd name="connsiteX1716" fmla="*/ 3914029 w 4610101"/>
              <a:gd name="connsiteY1716" fmla="*/ 4197317 h 6557032"/>
              <a:gd name="connsiteX1717" fmla="*/ 2357893 w 4610101"/>
              <a:gd name="connsiteY1717" fmla="*/ 4173629 h 6557032"/>
              <a:gd name="connsiteX1718" fmla="*/ 2359716 w 4610101"/>
              <a:gd name="connsiteY1718" fmla="*/ 4197318 h 6557032"/>
              <a:gd name="connsiteX1719" fmla="*/ 2343316 w 4610101"/>
              <a:gd name="connsiteY1719" fmla="*/ 4188207 h 6557032"/>
              <a:gd name="connsiteX1720" fmla="*/ 2893613 w 4610101"/>
              <a:gd name="connsiteY1720" fmla="*/ 4173628 h 6557032"/>
              <a:gd name="connsiteX1721" fmla="*/ 2879035 w 4610101"/>
              <a:gd name="connsiteY1721" fmla="*/ 4188206 h 6557032"/>
              <a:gd name="connsiteX1722" fmla="*/ 2895435 w 4610101"/>
              <a:gd name="connsiteY1722" fmla="*/ 4199139 h 6557032"/>
              <a:gd name="connsiteX1723" fmla="*/ 3859366 w 4610101"/>
              <a:gd name="connsiteY1723" fmla="*/ 4166339 h 6557032"/>
              <a:gd name="connsiteX1724" fmla="*/ 3868477 w 4610101"/>
              <a:gd name="connsiteY1724" fmla="*/ 4182739 h 6557032"/>
              <a:gd name="connsiteX1725" fmla="*/ 3844788 w 4610101"/>
              <a:gd name="connsiteY1725" fmla="*/ 4180917 h 6557032"/>
              <a:gd name="connsiteX1726" fmla="*/ 2647619 w 4610101"/>
              <a:gd name="connsiteY1726" fmla="*/ 4159052 h 6557032"/>
              <a:gd name="connsiteX1727" fmla="*/ 2656730 w 4610101"/>
              <a:gd name="connsiteY1727" fmla="*/ 4173630 h 6557032"/>
              <a:gd name="connsiteX1728" fmla="*/ 2678596 w 4610101"/>
              <a:gd name="connsiteY1728" fmla="*/ 4173630 h 6557032"/>
              <a:gd name="connsiteX1729" fmla="*/ 2625753 w 4610101"/>
              <a:gd name="connsiteY1729" fmla="*/ 4195496 h 6557032"/>
              <a:gd name="connsiteX1730" fmla="*/ 2647619 w 4610101"/>
              <a:gd name="connsiteY1730" fmla="*/ 4173630 h 6557032"/>
              <a:gd name="connsiteX1731" fmla="*/ 1122459 w 4610101"/>
              <a:gd name="connsiteY1731" fmla="*/ 4151762 h 6557032"/>
              <a:gd name="connsiteX1732" fmla="*/ 1144325 w 4610101"/>
              <a:gd name="connsiteY1732" fmla="*/ 4155407 h 6557032"/>
              <a:gd name="connsiteX1733" fmla="*/ 1168013 w 4610101"/>
              <a:gd name="connsiteY1733" fmla="*/ 4159051 h 6557032"/>
              <a:gd name="connsiteX1734" fmla="*/ 1168013 w 4610101"/>
              <a:gd name="connsiteY1734" fmla="*/ 4204606 h 6557032"/>
              <a:gd name="connsiteX1735" fmla="*/ 1160724 w 4610101"/>
              <a:gd name="connsiteY1735" fmla="*/ 4242872 h 6557032"/>
              <a:gd name="connsiteX1736" fmla="*/ 1138858 w 4610101"/>
              <a:gd name="connsiteY1736" fmla="*/ 4228294 h 6557032"/>
              <a:gd name="connsiteX1737" fmla="*/ 1106059 w 4610101"/>
              <a:gd name="connsiteY1737" fmla="*/ 4241050 h 6557032"/>
              <a:gd name="connsiteX1738" fmla="*/ 1091482 w 4610101"/>
              <a:gd name="connsiteY1738" fmla="*/ 4255627 h 6557032"/>
              <a:gd name="connsiteX1739" fmla="*/ 1091482 w 4610101"/>
              <a:gd name="connsiteY1739" fmla="*/ 4226472 h 6557032"/>
              <a:gd name="connsiteX1740" fmla="*/ 1075082 w 4610101"/>
              <a:gd name="connsiteY1740" fmla="*/ 4217361 h 6557032"/>
              <a:gd name="connsiteX1741" fmla="*/ 1089660 w 4610101"/>
              <a:gd name="connsiteY1741" fmla="*/ 4204606 h 6557032"/>
              <a:gd name="connsiteX1742" fmla="*/ 1084193 w 4610101"/>
              <a:gd name="connsiteY1742" fmla="*/ 4173629 h 6557032"/>
              <a:gd name="connsiteX1743" fmla="*/ 1107881 w 4610101"/>
              <a:gd name="connsiteY1743" fmla="*/ 4173629 h 6557032"/>
              <a:gd name="connsiteX1744" fmla="*/ 1098770 w 4610101"/>
              <a:gd name="connsiteY1744" fmla="*/ 4159051 h 6557032"/>
              <a:gd name="connsiteX1745" fmla="*/ 4067092 w 4610101"/>
              <a:gd name="connsiteY1745" fmla="*/ 4149941 h 6557032"/>
              <a:gd name="connsiteX1746" fmla="*/ 4079847 w 4610101"/>
              <a:gd name="connsiteY1746" fmla="*/ 4166341 h 6557032"/>
              <a:gd name="connsiteX1747" fmla="*/ 4065270 w 4610101"/>
              <a:gd name="connsiteY1747" fmla="*/ 4175452 h 6557032"/>
              <a:gd name="connsiteX1748" fmla="*/ 3919498 w 4610101"/>
              <a:gd name="connsiteY1748" fmla="*/ 4149941 h 6557032"/>
              <a:gd name="connsiteX1749" fmla="*/ 3928609 w 4610101"/>
              <a:gd name="connsiteY1749" fmla="*/ 4166341 h 6557032"/>
              <a:gd name="connsiteX1750" fmla="*/ 3915853 w 4610101"/>
              <a:gd name="connsiteY1750" fmla="*/ 4173630 h 6557032"/>
              <a:gd name="connsiteX1751" fmla="*/ 3904920 w 4610101"/>
              <a:gd name="connsiteY1751" fmla="*/ 4166341 h 6557032"/>
              <a:gd name="connsiteX1752" fmla="*/ 2501846 w 4610101"/>
              <a:gd name="connsiteY1752" fmla="*/ 4149941 h 6557032"/>
              <a:gd name="connsiteX1753" fmla="*/ 2510957 w 4610101"/>
              <a:gd name="connsiteY1753" fmla="*/ 4166341 h 6557032"/>
              <a:gd name="connsiteX1754" fmla="*/ 2496379 w 4610101"/>
              <a:gd name="connsiteY1754" fmla="*/ 4173630 h 6557032"/>
              <a:gd name="connsiteX1755" fmla="*/ 2487268 w 4610101"/>
              <a:gd name="connsiteY1755" fmla="*/ 4166341 h 6557032"/>
              <a:gd name="connsiteX1756" fmla="*/ 918376 w 4610101"/>
              <a:gd name="connsiteY1756" fmla="*/ 4149941 h 6557032"/>
              <a:gd name="connsiteX1757" fmla="*/ 918376 w 4610101"/>
              <a:gd name="connsiteY1757" fmla="*/ 4175452 h 6557032"/>
              <a:gd name="connsiteX1758" fmla="*/ 901976 w 4610101"/>
              <a:gd name="connsiteY1758" fmla="*/ 4166341 h 6557032"/>
              <a:gd name="connsiteX1759" fmla="*/ 701537 w 4610101"/>
              <a:gd name="connsiteY1759" fmla="*/ 4146296 h 6557032"/>
              <a:gd name="connsiteX1760" fmla="*/ 690604 w 4610101"/>
              <a:gd name="connsiteY1760" fmla="*/ 4177273 h 6557032"/>
              <a:gd name="connsiteX1761" fmla="*/ 676026 w 4610101"/>
              <a:gd name="connsiteY1761" fmla="*/ 4162696 h 6557032"/>
              <a:gd name="connsiteX1762" fmla="*/ 692426 w 4610101"/>
              <a:gd name="connsiteY1762" fmla="*/ 4157229 h 6557032"/>
              <a:gd name="connsiteX1763" fmla="*/ 701537 w 4610101"/>
              <a:gd name="connsiteY1763" fmla="*/ 4146296 h 6557032"/>
              <a:gd name="connsiteX1764" fmla="*/ 3476708 w 4610101"/>
              <a:gd name="connsiteY1764" fmla="*/ 4144473 h 6557032"/>
              <a:gd name="connsiteX1765" fmla="*/ 3476708 w 4610101"/>
              <a:gd name="connsiteY1765" fmla="*/ 4159051 h 6557032"/>
              <a:gd name="connsiteX1766" fmla="*/ 3491286 w 4610101"/>
              <a:gd name="connsiteY1766" fmla="*/ 4159051 h 6557032"/>
              <a:gd name="connsiteX1767" fmla="*/ 3671681 w 4610101"/>
              <a:gd name="connsiteY1767" fmla="*/ 4142651 h 6557032"/>
              <a:gd name="connsiteX1768" fmla="*/ 3649815 w 4610101"/>
              <a:gd name="connsiteY1768" fmla="*/ 4171806 h 6557032"/>
              <a:gd name="connsiteX1769" fmla="*/ 3664392 w 4610101"/>
              <a:gd name="connsiteY1769" fmla="*/ 4193672 h 6557032"/>
              <a:gd name="connsiteX1770" fmla="*/ 3640704 w 4610101"/>
              <a:gd name="connsiteY1770" fmla="*/ 4215538 h 6557032"/>
              <a:gd name="connsiteX1771" fmla="*/ 3627949 w 4610101"/>
              <a:gd name="connsiteY1771" fmla="*/ 4217360 h 6557032"/>
              <a:gd name="connsiteX1772" fmla="*/ 3606082 w 4610101"/>
              <a:gd name="connsiteY1772" fmla="*/ 4217360 h 6557032"/>
              <a:gd name="connsiteX1773" fmla="*/ 3606082 w 4610101"/>
              <a:gd name="connsiteY1773" fmla="*/ 4224649 h 6557032"/>
              <a:gd name="connsiteX1774" fmla="*/ 3627949 w 4610101"/>
              <a:gd name="connsiteY1774" fmla="*/ 4224649 h 6557032"/>
              <a:gd name="connsiteX1775" fmla="*/ 3627949 w 4610101"/>
              <a:gd name="connsiteY1775" fmla="*/ 4239226 h 6557032"/>
              <a:gd name="connsiteX1776" fmla="*/ 3649815 w 4610101"/>
              <a:gd name="connsiteY1776" fmla="*/ 4231938 h 6557032"/>
              <a:gd name="connsiteX1777" fmla="*/ 3671681 w 4610101"/>
              <a:gd name="connsiteY1777" fmla="*/ 4239226 h 6557032"/>
              <a:gd name="connsiteX1778" fmla="*/ 3664392 w 4610101"/>
              <a:gd name="connsiteY1778" fmla="*/ 4222827 h 6557032"/>
              <a:gd name="connsiteX1779" fmla="*/ 3688080 w 4610101"/>
              <a:gd name="connsiteY1779" fmla="*/ 4222827 h 6557032"/>
              <a:gd name="connsiteX1780" fmla="*/ 3666214 w 4610101"/>
              <a:gd name="connsiteY1780" fmla="*/ 4191850 h 6557032"/>
              <a:gd name="connsiteX1781" fmla="*/ 3680792 w 4610101"/>
              <a:gd name="connsiteY1781" fmla="*/ 4182739 h 6557032"/>
              <a:gd name="connsiteX1782" fmla="*/ 3704480 w 4610101"/>
              <a:gd name="connsiteY1782" fmla="*/ 4211894 h 6557032"/>
              <a:gd name="connsiteX1783" fmla="*/ 3733635 w 4610101"/>
              <a:gd name="connsiteY1783" fmla="*/ 4204605 h 6557032"/>
              <a:gd name="connsiteX1784" fmla="*/ 3733635 w 4610101"/>
              <a:gd name="connsiteY1784" fmla="*/ 4199139 h 6557032"/>
              <a:gd name="connsiteX1785" fmla="*/ 3702658 w 4610101"/>
              <a:gd name="connsiteY1785" fmla="*/ 4193672 h 6557032"/>
              <a:gd name="connsiteX1786" fmla="*/ 3709947 w 4610101"/>
              <a:gd name="connsiteY1786" fmla="*/ 4177273 h 6557032"/>
              <a:gd name="connsiteX1787" fmla="*/ 3724524 w 4610101"/>
              <a:gd name="connsiteY1787" fmla="*/ 4186384 h 6557032"/>
              <a:gd name="connsiteX1788" fmla="*/ 3731813 w 4610101"/>
              <a:gd name="connsiteY1788" fmla="*/ 4155407 h 6557032"/>
              <a:gd name="connsiteX1789" fmla="*/ 3709947 w 4610101"/>
              <a:gd name="connsiteY1789" fmla="*/ 4155407 h 6557032"/>
              <a:gd name="connsiteX1790" fmla="*/ 3717235 w 4610101"/>
              <a:gd name="connsiteY1790" fmla="*/ 4169984 h 6557032"/>
              <a:gd name="connsiteX1791" fmla="*/ 3709947 w 4610101"/>
              <a:gd name="connsiteY1791" fmla="*/ 4177273 h 6557032"/>
              <a:gd name="connsiteX1792" fmla="*/ 3693547 w 4610101"/>
              <a:gd name="connsiteY1792" fmla="*/ 4164517 h 6557032"/>
              <a:gd name="connsiteX1793" fmla="*/ 3673503 w 4610101"/>
              <a:gd name="connsiteY1793" fmla="*/ 4179095 h 6557032"/>
              <a:gd name="connsiteX1794" fmla="*/ 3666214 w 4610101"/>
              <a:gd name="connsiteY1794" fmla="*/ 4169984 h 6557032"/>
              <a:gd name="connsiteX1795" fmla="*/ 3680792 w 4610101"/>
              <a:gd name="connsiteY1795" fmla="*/ 4149940 h 6557032"/>
              <a:gd name="connsiteX1796" fmla="*/ 2820726 w 4610101"/>
              <a:gd name="connsiteY1796" fmla="*/ 4137185 h 6557032"/>
              <a:gd name="connsiteX1797" fmla="*/ 2820726 w 4610101"/>
              <a:gd name="connsiteY1797" fmla="*/ 4159051 h 6557032"/>
              <a:gd name="connsiteX1798" fmla="*/ 2835303 w 4610101"/>
              <a:gd name="connsiteY1798" fmla="*/ 4137185 h 6557032"/>
              <a:gd name="connsiteX1799" fmla="*/ 2585666 w 4610101"/>
              <a:gd name="connsiteY1799" fmla="*/ 4129897 h 6557032"/>
              <a:gd name="connsiteX1800" fmla="*/ 2558333 w 4610101"/>
              <a:gd name="connsiteY1800" fmla="*/ 4166341 h 6557032"/>
              <a:gd name="connsiteX1801" fmla="*/ 2549222 w 4610101"/>
              <a:gd name="connsiteY1801" fmla="*/ 4144475 h 6557032"/>
              <a:gd name="connsiteX1802" fmla="*/ 1251833 w 4610101"/>
              <a:gd name="connsiteY1802" fmla="*/ 4129897 h 6557032"/>
              <a:gd name="connsiteX1803" fmla="*/ 1295566 w 4610101"/>
              <a:gd name="connsiteY1803" fmla="*/ 4129897 h 6557032"/>
              <a:gd name="connsiteX1804" fmla="*/ 1304677 w 4610101"/>
              <a:gd name="connsiteY1804" fmla="*/ 4153586 h 6557032"/>
              <a:gd name="connsiteX1805" fmla="*/ 1295566 w 4610101"/>
              <a:gd name="connsiteY1805" fmla="*/ 4168163 h 6557032"/>
              <a:gd name="connsiteX1806" fmla="*/ 1302855 w 4610101"/>
              <a:gd name="connsiteY1806" fmla="*/ 4182740 h 6557032"/>
              <a:gd name="connsiteX1807" fmla="*/ 1280988 w 4610101"/>
              <a:gd name="connsiteY1807" fmla="*/ 4182740 h 6557032"/>
              <a:gd name="connsiteX1808" fmla="*/ 1268233 w 4610101"/>
              <a:gd name="connsiteY1808" fmla="*/ 4180918 h 6557032"/>
              <a:gd name="connsiteX1809" fmla="*/ 1251833 w 4610101"/>
              <a:gd name="connsiteY1809" fmla="*/ 4168163 h 6557032"/>
              <a:gd name="connsiteX1810" fmla="*/ 1251833 w 4610101"/>
              <a:gd name="connsiteY1810" fmla="*/ 4129897 h 6557032"/>
              <a:gd name="connsiteX1811" fmla="*/ 3635237 w 4610101"/>
              <a:gd name="connsiteY1811" fmla="*/ 4129896 h 6557032"/>
              <a:gd name="connsiteX1812" fmla="*/ 3622482 w 4610101"/>
              <a:gd name="connsiteY1812" fmla="*/ 4142651 h 6557032"/>
              <a:gd name="connsiteX1813" fmla="*/ 3620660 w 4610101"/>
              <a:gd name="connsiteY1813" fmla="*/ 4160873 h 6557032"/>
              <a:gd name="connsiteX1814" fmla="*/ 3642526 w 4610101"/>
              <a:gd name="connsiteY1814" fmla="*/ 4160873 h 6557032"/>
              <a:gd name="connsiteX1815" fmla="*/ 3635237 w 4610101"/>
              <a:gd name="connsiteY1815" fmla="*/ 4129896 h 6557032"/>
              <a:gd name="connsiteX1816" fmla="*/ 1619913 w 4610101"/>
              <a:gd name="connsiteY1816" fmla="*/ 4129896 h 6557032"/>
              <a:gd name="connsiteX1817" fmla="*/ 1636312 w 4610101"/>
              <a:gd name="connsiteY1817" fmla="*/ 4169985 h 6557032"/>
              <a:gd name="connsiteX1818" fmla="*/ 1658178 w 4610101"/>
              <a:gd name="connsiteY1818" fmla="*/ 4146297 h 6557032"/>
              <a:gd name="connsiteX1819" fmla="*/ 1678222 w 4610101"/>
              <a:gd name="connsiteY1819" fmla="*/ 4137185 h 6557032"/>
              <a:gd name="connsiteX1820" fmla="*/ 1709199 w 4610101"/>
              <a:gd name="connsiteY1820" fmla="*/ 4151764 h 6557032"/>
              <a:gd name="connsiteX1821" fmla="*/ 1723776 w 4610101"/>
              <a:gd name="connsiteY1821" fmla="*/ 4144474 h 6557032"/>
              <a:gd name="connsiteX1822" fmla="*/ 1738354 w 4610101"/>
              <a:gd name="connsiteY1822" fmla="*/ 4175452 h 6557032"/>
              <a:gd name="connsiteX1823" fmla="*/ 1734710 w 4610101"/>
              <a:gd name="connsiteY1823" fmla="*/ 4197318 h 6557032"/>
              <a:gd name="connsiteX1824" fmla="*/ 1729243 w 4610101"/>
              <a:gd name="connsiteY1824" fmla="*/ 4219184 h 6557032"/>
              <a:gd name="connsiteX1825" fmla="*/ 1700088 w 4610101"/>
              <a:gd name="connsiteY1825" fmla="*/ 4244694 h 6557032"/>
              <a:gd name="connsiteX1826" fmla="*/ 1685511 w 4610101"/>
              <a:gd name="connsiteY1826" fmla="*/ 4235583 h 6557032"/>
              <a:gd name="connsiteX1827" fmla="*/ 1670933 w 4610101"/>
              <a:gd name="connsiteY1827" fmla="*/ 4242872 h 6557032"/>
              <a:gd name="connsiteX1828" fmla="*/ 1632669 w 4610101"/>
              <a:gd name="connsiteY1828" fmla="*/ 4211895 h 6557032"/>
              <a:gd name="connsiteX1829" fmla="*/ 1639956 w 4610101"/>
              <a:gd name="connsiteY1829" fmla="*/ 4191851 h 6557032"/>
              <a:gd name="connsiteX1830" fmla="*/ 1625380 w 4610101"/>
              <a:gd name="connsiteY1830" fmla="*/ 4175452 h 6557032"/>
              <a:gd name="connsiteX1831" fmla="*/ 1610802 w 4610101"/>
              <a:gd name="connsiteY1831" fmla="*/ 4182740 h 6557032"/>
              <a:gd name="connsiteX1832" fmla="*/ 1596225 w 4610101"/>
              <a:gd name="connsiteY1832" fmla="*/ 4160874 h 6557032"/>
              <a:gd name="connsiteX1833" fmla="*/ 1619913 w 4610101"/>
              <a:gd name="connsiteY1833" fmla="*/ 4129896 h 6557032"/>
              <a:gd name="connsiteX1834" fmla="*/ 2381582 w 4610101"/>
              <a:gd name="connsiteY1834" fmla="*/ 4115319 h 6557032"/>
              <a:gd name="connsiteX1835" fmla="*/ 2407093 w 4610101"/>
              <a:gd name="connsiteY1835" fmla="*/ 4115319 h 6557032"/>
              <a:gd name="connsiteX1836" fmla="*/ 2390693 w 4610101"/>
              <a:gd name="connsiteY1836" fmla="*/ 4129896 h 6557032"/>
              <a:gd name="connsiteX1837" fmla="*/ 3799233 w 4610101"/>
              <a:gd name="connsiteY1837" fmla="*/ 4113497 h 6557032"/>
              <a:gd name="connsiteX1838" fmla="*/ 3822922 w 4610101"/>
              <a:gd name="connsiteY1838" fmla="*/ 4113497 h 6557032"/>
              <a:gd name="connsiteX1839" fmla="*/ 3852076 w 4610101"/>
              <a:gd name="connsiteY1839" fmla="*/ 4135363 h 6557032"/>
              <a:gd name="connsiteX1840" fmla="*/ 3830210 w 4610101"/>
              <a:gd name="connsiteY1840" fmla="*/ 4144474 h 6557032"/>
              <a:gd name="connsiteX1841" fmla="*/ 3808344 w 4610101"/>
              <a:gd name="connsiteY1841" fmla="*/ 4142652 h 6557032"/>
              <a:gd name="connsiteX1842" fmla="*/ 2631220 w 4610101"/>
              <a:gd name="connsiteY1842" fmla="*/ 4113497 h 6557032"/>
              <a:gd name="connsiteX1843" fmla="*/ 2609354 w 4610101"/>
              <a:gd name="connsiteY1843" fmla="*/ 4151763 h 6557032"/>
              <a:gd name="connsiteX1844" fmla="*/ 2602065 w 4610101"/>
              <a:gd name="connsiteY1844" fmla="*/ 4129897 h 6557032"/>
              <a:gd name="connsiteX1845" fmla="*/ 2631220 w 4610101"/>
              <a:gd name="connsiteY1845" fmla="*/ 4113497 h 6557032"/>
              <a:gd name="connsiteX1846" fmla="*/ 1689155 w 4610101"/>
              <a:gd name="connsiteY1846" fmla="*/ 4113497 h 6557032"/>
              <a:gd name="connsiteX1847" fmla="*/ 1711021 w 4610101"/>
              <a:gd name="connsiteY1847" fmla="*/ 4113497 h 6557032"/>
              <a:gd name="connsiteX1848" fmla="*/ 1709199 w 4610101"/>
              <a:gd name="connsiteY1848" fmla="*/ 4139008 h 6557032"/>
              <a:gd name="connsiteX1849" fmla="*/ 752558 w 4610101"/>
              <a:gd name="connsiteY1849" fmla="*/ 4106209 h 6557032"/>
              <a:gd name="connsiteX1850" fmla="*/ 759846 w 4610101"/>
              <a:gd name="connsiteY1850" fmla="*/ 4120786 h 6557032"/>
              <a:gd name="connsiteX1851" fmla="*/ 747091 w 4610101"/>
              <a:gd name="connsiteY1851" fmla="*/ 4128075 h 6557032"/>
              <a:gd name="connsiteX1852" fmla="*/ 736158 w 4610101"/>
              <a:gd name="connsiteY1852" fmla="*/ 4120786 h 6557032"/>
              <a:gd name="connsiteX1853" fmla="*/ 2835303 w 4610101"/>
              <a:gd name="connsiteY1853" fmla="*/ 4098919 h 6557032"/>
              <a:gd name="connsiteX1854" fmla="*/ 2837125 w 4610101"/>
              <a:gd name="connsiteY1854" fmla="*/ 4115319 h 6557032"/>
              <a:gd name="connsiteX1855" fmla="*/ 2851703 w 4610101"/>
              <a:gd name="connsiteY1855" fmla="*/ 4100741 h 6557032"/>
              <a:gd name="connsiteX1856" fmla="*/ 3899452 w 4610101"/>
              <a:gd name="connsiteY1856" fmla="*/ 4091630 h 6557032"/>
              <a:gd name="connsiteX1857" fmla="*/ 3914030 w 4610101"/>
              <a:gd name="connsiteY1857" fmla="*/ 4106208 h 6557032"/>
              <a:gd name="connsiteX1858" fmla="*/ 3899452 w 4610101"/>
              <a:gd name="connsiteY1858" fmla="*/ 4106208 h 6557032"/>
              <a:gd name="connsiteX1859" fmla="*/ 3813811 w 4610101"/>
              <a:gd name="connsiteY1859" fmla="*/ 4089808 h 6557032"/>
              <a:gd name="connsiteX1860" fmla="*/ 3822922 w 4610101"/>
              <a:gd name="connsiteY1860" fmla="*/ 4106208 h 6557032"/>
              <a:gd name="connsiteX1861" fmla="*/ 3799233 w 4610101"/>
              <a:gd name="connsiteY1861" fmla="*/ 4106208 h 6557032"/>
              <a:gd name="connsiteX1862" fmla="*/ 2396160 w 4610101"/>
              <a:gd name="connsiteY1862" fmla="*/ 4089808 h 6557032"/>
              <a:gd name="connsiteX1863" fmla="*/ 2405271 w 4610101"/>
              <a:gd name="connsiteY1863" fmla="*/ 4106208 h 6557032"/>
              <a:gd name="connsiteX1864" fmla="*/ 2381582 w 4610101"/>
              <a:gd name="connsiteY1864" fmla="*/ 4106208 h 6557032"/>
              <a:gd name="connsiteX1865" fmla="*/ 1146148 w 4610101"/>
              <a:gd name="connsiteY1865" fmla="*/ 4084342 h 6557032"/>
              <a:gd name="connsiteX1866" fmla="*/ 1198991 w 4610101"/>
              <a:gd name="connsiteY1866" fmla="*/ 4084342 h 6557032"/>
              <a:gd name="connsiteX1867" fmla="*/ 1198991 w 4610101"/>
              <a:gd name="connsiteY1867" fmla="*/ 4129897 h 6557032"/>
              <a:gd name="connsiteX1868" fmla="*/ 1168013 w 4610101"/>
              <a:gd name="connsiteY1868" fmla="*/ 4137185 h 6557032"/>
              <a:gd name="connsiteX1869" fmla="*/ 1146148 w 4610101"/>
              <a:gd name="connsiteY1869" fmla="*/ 4129897 h 6557032"/>
              <a:gd name="connsiteX1870" fmla="*/ 1146148 w 4610101"/>
              <a:gd name="connsiteY1870" fmla="*/ 4084342 h 6557032"/>
              <a:gd name="connsiteX1871" fmla="*/ 1703732 w 4610101"/>
              <a:gd name="connsiteY1871" fmla="*/ 4082520 h 6557032"/>
              <a:gd name="connsiteX1872" fmla="*/ 1734710 w 4610101"/>
              <a:gd name="connsiteY1872" fmla="*/ 4093453 h 6557032"/>
              <a:gd name="connsiteX1873" fmla="*/ 1711021 w 4610101"/>
              <a:gd name="connsiteY1873" fmla="*/ 4113497 h 6557032"/>
              <a:gd name="connsiteX1874" fmla="*/ 819978 w 4610101"/>
              <a:gd name="connsiteY1874" fmla="*/ 4082520 h 6557032"/>
              <a:gd name="connsiteX1875" fmla="*/ 829090 w 4610101"/>
              <a:gd name="connsiteY1875" fmla="*/ 4113497 h 6557032"/>
              <a:gd name="connsiteX1876" fmla="*/ 796290 w 4610101"/>
              <a:gd name="connsiteY1876" fmla="*/ 4104386 h 6557032"/>
              <a:gd name="connsiteX1877" fmla="*/ 1415830 w 4610101"/>
              <a:gd name="connsiteY1877" fmla="*/ 4075231 h 6557032"/>
              <a:gd name="connsiteX1878" fmla="*/ 1417652 w 4610101"/>
              <a:gd name="connsiteY1878" fmla="*/ 4091631 h 6557032"/>
              <a:gd name="connsiteX1879" fmla="*/ 1401252 w 4610101"/>
              <a:gd name="connsiteY1879" fmla="*/ 4089809 h 6557032"/>
              <a:gd name="connsiteX1880" fmla="*/ 2525535 w 4610101"/>
              <a:gd name="connsiteY1880" fmla="*/ 4069765 h 6557032"/>
              <a:gd name="connsiteX1881" fmla="*/ 2525535 w 4610101"/>
              <a:gd name="connsiteY1881" fmla="*/ 4091631 h 6557032"/>
              <a:gd name="connsiteX1882" fmla="*/ 2503668 w 4610101"/>
              <a:gd name="connsiteY1882" fmla="*/ 4091631 h 6557032"/>
              <a:gd name="connsiteX1883" fmla="*/ 2525535 w 4610101"/>
              <a:gd name="connsiteY1883" fmla="*/ 4069765 h 6557032"/>
              <a:gd name="connsiteX1884" fmla="*/ 1437696 w 4610101"/>
              <a:gd name="connsiteY1884" fmla="*/ 4067943 h 6557032"/>
              <a:gd name="connsiteX1885" fmla="*/ 1439518 w 4610101"/>
              <a:gd name="connsiteY1885" fmla="*/ 4091632 h 6557032"/>
              <a:gd name="connsiteX1886" fmla="*/ 1423118 w 4610101"/>
              <a:gd name="connsiteY1886" fmla="*/ 4082521 h 6557032"/>
              <a:gd name="connsiteX1887" fmla="*/ 3748430 w 4610101"/>
              <a:gd name="connsiteY1887" fmla="*/ 4067021 h 6557032"/>
              <a:gd name="connsiteX1888" fmla="*/ 3745878 w 4610101"/>
              <a:gd name="connsiteY1888" fmla="*/ 4074253 h 6557032"/>
              <a:gd name="connsiteX1889" fmla="*/ 3742746 w 4610101"/>
              <a:gd name="connsiteY1889" fmla="*/ 4075231 h 6557032"/>
              <a:gd name="connsiteX1890" fmla="*/ 2864458 w 4610101"/>
              <a:gd name="connsiteY1890" fmla="*/ 4062476 h 6557032"/>
              <a:gd name="connsiteX1891" fmla="*/ 2873569 w 4610101"/>
              <a:gd name="connsiteY1891" fmla="*/ 4077053 h 6557032"/>
              <a:gd name="connsiteX1892" fmla="*/ 2889968 w 4610101"/>
              <a:gd name="connsiteY1892" fmla="*/ 4064298 h 6557032"/>
              <a:gd name="connsiteX1893" fmla="*/ 3666214 w 4610101"/>
              <a:gd name="connsiteY1893" fmla="*/ 4060654 h 6557032"/>
              <a:gd name="connsiteX1894" fmla="*/ 3673503 w 4610101"/>
              <a:gd name="connsiteY1894" fmla="*/ 4091630 h 6557032"/>
              <a:gd name="connsiteX1895" fmla="*/ 3688080 w 4610101"/>
              <a:gd name="connsiteY1895" fmla="*/ 4060654 h 6557032"/>
              <a:gd name="connsiteX1896" fmla="*/ 1809420 w 4610101"/>
              <a:gd name="connsiteY1896" fmla="*/ 4055188 h 6557032"/>
              <a:gd name="connsiteX1897" fmla="*/ 1840397 w 4610101"/>
              <a:gd name="connsiteY1897" fmla="*/ 4069766 h 6557032"/>
              <a:gd name="connsiteX1898" fmla="*/ 1831285 w 4610101"/>
              <a:gd name="connsiteY1898" fmla="*/ 4106209 h 6557032"/>
              <a:gd name="connsiteX1899" fmla="*/ 1802130 w 4610101"/>
              <a:gd name="connsiteY1899" fmla="*/ 4106209 h 6557032"/>
              <a:gd name="connsiteX1900" fmla="*/ 1793019 w 4610101"/>
              <a:gd name="connsiteY1900" fmla="*/ 4069766 h 6557032"/>
              <a:gd name="connsiteX1901" fmla="*/ 1809420 w 4610101"/>
              <a:gd name="connsiteY1901" fmla="*/ 4069766 h 6557032"/>
              <a:gd name="connsiteX1902" fmla="*/ 2518245 w 4610101"/>
              <a:gd name="connsiteY1902" fmla="*/ 4053364 h 6557032"/>
              <a:gd name="connsiteX1903" fmla="*/ 2541934 w 4610101"/>
              <a:gd name="connsiteY1903" fmla="*/ 4055187 h 6557032"/>
              <a:gd name="connsiteX1904" fmla="*/ 2525534 w 4610101"/>
              <a:gd name="connsiteY1904" fmla="*/ 4069764 h 6557032"/>
              <a:gd name="connsiteX1905" fmla="*/ 4313087 w 4610101"/>
              <a:gd name="connsiteY1905" fmla="*/ 4031498 h 6557032"/>
              <a:gd name="connsiteX1906" fmla="*/ 4320376 w 4610101"/>
              <a:gd name="connsiteY1906" fmla="*/ 4046077 h 6557032"/>
              <a:gd name="connsiteX1907" fmla="*/ 4313087 w 4610101"/>
              <a:gd name="connsiteY1907" fmla="*/ 4055188 h 6557032"/>
              <a:gd name="connsiteX1908" fmla="*/ 4296687 w 4610101"/>
              <a:gd name="connsiteY1908" fmla="*/ 4040610 h 6557032"/>
              <a:gd name="connsiteX1909" fmla="*/ 2443536 w 4610101"/>
              <a:gd name="connsiteY1909" fmla="*/ 4024210 h 6557032"/>
              <a:gd name="connsiteX1910" fmla="*/ 2465402 w 4610101"/>
              <a:gd name="connsiteY1910" fmla="*/ 4046077 h 6557032"/>
              <a:gd name="connsiteX1911" fmla="*/ 2443536 w 4610101"/>
              <a:gd name="connsiteY1911" fmla="*/ 4046077 h 6557032"/>
              <a:gd name="connsiteX1912" fmla="*/ 1379386 w 4610101"/>
              <a:gd name="connsiteY1912" fmla="*/ 4022388 h 6557032"/>
              <a:gd name="connsiteX1913" fmla="*/ 1362987 w 4610101"/>
              <a:gd name="connsiteY1913" fmla="*/ 4062477 h 6557032"/>
              <a:gd name="connsiteX1914" fmla="*/ 1339299 w 4610101"/>
              <a:gd name="connsiteY1914" fmla="*/ 4038789 h 6557032"/>
              <a:gd name="connsiteX1915" fmla="*/ 1379386 w 4610101"/>
              <a:gd name="connsiteY1915" fmla="*/ 4022388 h 6557032"/>
              <a:gd name="connsiteX1916" fmla="*/ 3813810 w 4610101"/>
              <a:gd name="connsiteY1916" fmla="*/ 4015555 h 6557032"/>
              <a:gd name="connsiteX1917" fmla="*/ 3832032 w 4610101"/>
              <a:gd name="connsiteY1917" fmla="*/ 4024211 h 6557032"/>
              <a:gd name="connsiteX1918" fmla="*/ 3853898 w 4610101"/>
              <a:gd name="connsiteY1918" fmla="*/ 4024211 h 6557032"/>
              <a:gd name="connsiteX1919" fmla="*/ 3853898 w 4610101"/>
              <a:gd name="connsiteY1919" fmla="*/ 4038788 h 6557032"/>
              <a:gd name="connsiteX1920" fmla="*/ 3883053 w 4610101"/>
              <a:gd name="connsiteY1920" fmla="*/ 4046077 h 6557032"/>
              <a:gd name="connsiteX1921" fmla="*/ 3846610 w 4610101"/>
              <a:gd name="connsiteY1921" fmla="*/ 4060655 h 6557032"/>
              <a:gd name="connsiteX1922" fmla="*/ 3837499 w 4610101"/>
              <a:gd name="connsiteY1922" fmla="*/ 4031500 h 6557032"/>
              <a:gd name="connsiteX1923" fmla="*/ 3822921 w 4610101"/>
              <a:gd name="connsiteY1923" fmla="*/ 4031500 h 6557032"/>
              <a:gd name="connsiteX1924" fmla="*/ 3801055 w 4610101"/>
              <a:gd name="connsiteY1924" fmla="*/ 4031500 h 6557032"/>
              <a:gd name="connsiteX1925" fmla="*/ 3813810 w 4610101"/>
              <a:gd name="connsiteY1925" fmla="*/ 4015555 h 6557032"/>
              <a:gd name="connsiteX1926" fmla="*/ 3935895 w 4610101"/>
              <a:gd name="connsiteY1926" fmla="*/ 4009632 h 6557032"/>
              <a:gd name="connsiteX1927" fmla="*/ 3952295 w 4610101"/>
              <a:gd name="connsiteY1927" fmla="*/ 4009632 h 6557032"/>
              <a:gd name="connsiteX1928" fmla="*/ 3935895 w 4610101"/>
              <a:gd name="connsiteY1928" fmla="*/ 4031499 h 6557032"/>
              <a:gd name="connsiteX1929" fmla="*/ 2547400 w 4610101"/>
              <a:gd name="connsiteY1929" fmla="*/ 4009632 h 6557032"/>
              <a:gd name="connsiteX1930" fmla="*/ 2571089 w 4610101"/>
              <a:gd name="connsiteY1930" fmla="*/ 4009632 h 6557032"/>
              <a:gd name="connsiteX1931" fmla="*/ 2561978 w 4610101"/>
              <a:gd name="connsiteY1931" fmla="*/ 4026032 h 6557032"/>
              <a:gd name="connsiteX1932" fmla="*/ 956641 w 4610101"/>
              <a:gd name="connsiteY1932" fmla="*/ 4007810 h 6557032"/>
              <a:gd name="connsiteX1933" fmla="*/ 994907 w 4610101"/>
              <a:gd name="connsiteY1933" fmla="*/ 4022388 h 6557032"/>
              <a:gd name="connsiteX1934" fmla="*/ 985796 w 4610101"/>
              <a:gd name="connsiteY1934" fmla="*/ 4007810 h 6557032"/>
              <a:gd name="connsiteX1935" fmla="*/ 1038640 w 4610101"/>
              <a:gd name="connsiteY1935" fmla="*/ 4036965 h 6557032"/>
              <a:gd name="connsiteX1936" fmla="*/ 1038640 w 4610101"/>
              <a:gd name="connsiteY1936" fmla="*/ 4051543 h 6557032"/>
              <a:gd name="connsiteX1937" fmla="*/ 1038640 w 4610101"/>
              <a:gd name="connsiteY1937" fmla="*/ 4066120 h 6557032"/>
              <a:gd name="connsiteX1938" fmla="*/ 1047751 w 4610101"/>
              <a:gd name="connsiteY1938" fmla="*/ 4080697 h 6557032"/>
              <a:gd name="connsiteX1939" fmla="*/ 1038640 w 4610101"/>
              <a:gd name="connsiteY1939" fmla="*/ 4102563 h 6557032"/>
              <a:gd name="connsiteX1940" fmla="*/ 1053217 w 4610101"/>
              <a:gd name="connsiteY1940" fmla="*/ 4111674 h 6557032"/>
              <a:gd name="connsiteX1941" fmla="*/ 1044106 w 4610101"/>
              <a:gd name="connsiteY1941" fmla="*/ 4126252 h 6557032"/>
              <a:gd name="connsiteX1942" fmla="*/ 1073262 w 4610101"/>
              <a:gd name="connsiteY1942" fmla="*/ 4162695 h 6557032"/>
              <a:gd name="connsiteX1943" fmla="*/ 1058684 w 4610101"/>
              <a:gd name="connsiteY1943" fmla="*/ 4171806 h 6557032"/>
              <a:gd name="connsiteX1944" fmla="*/ 1044106 w 4610101"/>
              <a:gd name="connsiteY1944" fmla="*/ 4164517 h 6557032"/>
              <a:gd name="connsiteX1945" fmla="*/ 1034995 w 4610101"/>
              <a:gd name="connsiteY1945" fmla="*/ 4179095 h 6557032"/>
              <a:gd name="connsiteX1946" fmla="*/ 1005840 w 4610101"/>
              <a:gd name="connsiteY1946" fmla="*/ 4173628 h 6557032"/>
              <a:gd name="connsiteX1947" fmla="*/ 980330 w 4610101"/>
              <a:gd name="connsiteY1947" fmla="*/ 4195494 h 6557032"/>
              <a:gd name="connsiteX1948" fmla="*/ 983974 w 4610101"/>
              <a:gd name="connsiteY1948" fmla="*/ 4210072 h 6557032"/>
              <a:gd name="connsiteX1949" fmla="*/ 980330 w 4610101"/>
              <a:gd name="connsiteY1949" fmla="*/ 4233760 h 6557032"/>
              <a:gd name="connsiteX1950" fmla="*/ 982152 w 4610101"/>
              <a:gd name="connsiteY1950" fmla="*/ 4179095 h 6557032"/>
              <a:gd name="connsiteX1951" fmla="*/ 965752 w 4610101"/>
              <a:gd name="connsiteY1951" fmla="*/ 4166339 h 6557032"/>
              <a:gd name="connsiteX1952" fmla="*/ 943886 w 4610101"/>
              <a:gd name="connsiteY1952" fmla="*/ 4139007 h 6557032"/>
              <a:gd name="connsiteX1953" fmla="*/ 920197 w 4610101"/>
              <a:gd name="connsiteY1953" fmla="*/ 4135362 h 6557032"/>
              <a:gd name="connsiteX1954" fmla="*/ 920197 w 4610101"/>
              <a:gd name="connsiteY1954" fmla="*/ 4113496 h 6557032"/>
              <a:gd name="connsiteX1955" fmla="*/ 942064 w 4610101"/>
              <a:gd name="connsiteY1955" fmla="*/ 4113496 h 6557032"/>
              <a:gd name="connsiteX1956" fmla="*/ 934775 w 4610101"/>
              <a:gd name="connsiteY1956" fmla="*/ 4084341 h 6557032"/>
              <a:gd name="connsiteX1957" fmla="*/ 896509 w 4610101"/>
              <a:gd name="connsiteY1957" fmla="*/ 4098919 h 6557032"/>
              <a:gd name="connsiteX1958" fmla="*/ 949352 w 4610101"/>
              <a:gd name="connsiteY1958" fmla="*/ 4051543 h 6557032"/>
              <a:gd name="connsiteX1959" fmla="*/ 942064 w 4610101"/>
              <a:gd name="connsiteY1959" fmla="*/ 4036965 h 6557032"/>
              <a:gd name="connsiteX1960" fmla="*/ 958463 w 4610101"/>
              <a:gd name="connsiteY1960" fmla="*/ 4036965 h 6557032"/>
              <a:gd name="connsiteX1961" fmla="*/ 951174 w 4610101"/>
              <a:gd name="connsiteY1961" fmla="*/ 4016921 h 6557032"/>
              <a:gd name="connsiteX1962" fmla="*/ 2292295 w 4610101"/>
              <a:gd name="connsiteY1962" fmla="*/ 4002344 h 6557032"/>
              <a:gd name="connsiteX1963" fmla="*/ 2299584 w 4610101"/>
              <a:gd name="connsiteY1963" fmla="*/ 4016922 h 6557032"/>
              <a:gd name="connsiteX1964" fmla="*/ 2319628 w 4610101"/>
              <a:gd name="connsiteY1964" fmla="*/ 4018744 h 6557032"/>
              <a:gd name="connsiteX1965" fmla="*/ 2312339 w 4610101"/>
              <a:gd name="connsiteY1965" fmla="*/ 4033322 h 6557032"/>
              <a:gd name="connsiteX1966" fmla="*/ 2319628 w 4610101"/>
              <a:gd name="connsiteY1966" fmla="*/ 4055188 h 6557032"/>
              <a:gd name="connsiteX1967" fmla="*/ 2286828 w 4610101"/>
              <a:gd name="connsiteY1967" fmla="*/ 4084343 h 6557032"/>
              <a:gd name="connsiteX1968" fmla="*/ 2283184 w 4610101"/>
              <a:gd name="connsiteY1968" fmla="*/ 4100743 h 6557032"/>
              <a:gd name="connsiteX1969" fmla="*/ 2268607 w 4610101"/>
              <a:gd name="connsiteY1969" fmla="*/ 4078877 h 6557032"/>
              <a:gd name="connsiteX1970" fmla="*/ 2254029 w 4610101"/>
              <a:gd name="connsiteY1970" fmla="*/ 4071588 h 6557032"/>
              <a:gd name="connsiteX1971" fmla="*/ 2254029 w 4610101"/>
              <a:gd name="connsiteY1971" fmla="*/ 4033322 h 6557032"/>
              <a:gd name="connsiteX1972" fmla="*/ 2270429 w 4610101"/>
              <a:gd name="connsiteY1972" fmla="*/ 4011455 h 6557032"/>
              <a:gd name="connsiteX1973" fmla="*/ 3979627 w 4610101"/>
              <a:gd name="connsiteY1973" fmla="*/ 4000522 h 6557032"/>
              <a:gd name="connsiteX1974" fmla="*/ 3981450 w 4610101"/>
              <a:gd name="connsiteY1974" fmla="*/ 4016922 h 6557032"/>
              <a:gd name="connsiteX1975" fmla="*/ 3965050 w 4610101"/>
              <a:gd name="connsiteY1975" fmla="*/ 4015100 h 6557032"/>
              <a:gd name="connsiteX1976" fmla="*/ 2826192 w 4610101"/>
              <a:gd name="connsiteY1976" fmla="*/ 4000522 h 6557032"/>
              <a:gd name="connsiteX1977" fmla="*/ 2811615 w 4610101"/>
              <a:gd name="connsiteY1977" fmla="*/ 4015099 h 6557032"/>
              <a:gd name="connsiteX1978" fmla="*/ 2828014 w 4610101"/>
              <a:gd name="connsiteY1978" fmla="*/ 4026032 h 6557032"/>
              <a:gd name="connsiteX1979" fmla="*/ 3830210 w 4610101"/>
              <a:gd name="connsiteY1979" fmla="*/ 3995055 h 6557032"/>
              <a:gd name="connsiteX1980" fmla="*/ 3868476 w 4610101"/>
              <a:gd name="connsiteY1980" fmla="*/ 3995055 h 6557032"/>
              <a:gd name="connsiteX1981" fmla="*/ 3830210 w 4610101"/>
              <a:gd name="connsiteY1981" fmla="*/ 4016922 h 6557032"/>
              <a:gd name="connsiteX1982" fmla="*/ 2208476 w 4610101"/>
              <a:gd name="connsiteY1982" fmla="*/ 3993233 h 6557032"/>
              <a:gd name="connsiteX1983" fmla="*/ 2237631 w 4610101"/>
              <a:gd name="connsiteY1983" fmla="*/ 4029678 h 6557032"/>
              <a:gd name="connsiteX1984" fmla="*/ 2208476 w 4610101"/>
              <a:gd name="connsiteY1984" fmla="*/ 4038789 h 6557032"/>
              <a:gd name="connsiteX1985" fmla="*/ 2206654 w 4610101"/>
              <a:gd name="connsiteY1985" fmla="*/ 4016923 h 6557032"/>
              <a:gd name="connsiteX1986" fmla="*/ 2192076 w 4610101"/>
              <a:gd name="connsiteY1986" fmla="*/ 4002345 h 6557032"/>
              <a:gd name="connsiteX1987" fmla="*/ 2797037 w 4610101"/>
              <a:gd name="connsiteY1987" fmla="*/ 3985944 h 6557032"/>
              <a:gd name="connsiteX1988" fmla="*/ 2773349 w 4610101"/>
              <a:gd name="connsiteY1988" fmla="*/ 3987767 h 6557032"/>
              <a:gd name="connsiteX1989" fmla="*/ 2795215 w 4610101"/>
              <a:gd name="connsiteY1989" fmla="*/ 4009633 h 6557032"/>
              <a:gd name="connsiteX1990" fmla="*/ 1536092 w 4610101"/>
              <a:gd name="connsiteY1990" fmla="*/ 3985944 h 6557032"/>
              <a:gd name="connsiteX1991" fmla="*/ 1537915 w 4610101"/>
              <a:gd name="connsiteY1991" fmla="*/ 4007811 h 6557032"/>
              <a:gd name="connsiteX1992" fmla="*/ 1550672 w 4610101"/>
              <a:gd name="connsiteY1992" fmla="*/ 4022389 h 6557032"/>
              <a:gd name="connsiteX1993" fmla="*/ 1543381 w 4610101"/>
              <a:gd name="connsiteY1993" fmla="*/ 4033322 h 6557032"/>
              <a:gd name="connsiteX1994" fmla="*/ 1503293 w 4610101"/>
              <a:gd name="connsiteY1994" fmla="*/ 3995056 h 6557032"/>
              <a:gd name="connsiteX1995" fmla="*/ 3647993 w 4610101"/>
              <a:gd name="connsiteY1995" fmla="*/ 3980478 h 6557032"/>
              <a:gd name="connsiteX1996" fmla="*/ 3657103 w 4610101"/>
              <a:gd name="connsiteY1996" fmla="*/ 4002344 h 6557032"/>
              <a:gd name="connsiteX1997" fmla="*/ 3673503 w 4610101"/>
              <a:gd name="connsiteY1997" fmla="*/ 3987767 h 6557032"/>
              <a:gd name="connsiteX1998" fmla="*/ 3859365 w 4610101"/>
              <a:gd name="connsiteY1998" fmla="*/ 3969545 h 6557032"/>
              <a:gd name="connsiteX1999" fmla="*/ 3861187 w 4610101"/>
              <a:gd name="connsiteY1999" fmla="*/ 3985945 h 6557032"/>
              <a:gd name="connsiteX2000" fmla="*/ 3844787 w 4610101"/>
              <a:gd name="connsiteY2000" fmla="*/ 3984122 h 6557032"/>
              <a:gd name="connsiteX2001" fmla="*/ 3682614 w 4610101"/>
              <a:gd name="connsiteY2001" fmla="*/ 3969545 h 6557032"/>
              <a:gd name="connsiteX2002" fmla="*/ 3680792 w 4610101"/>
              <a:gd name="connsiteY2002" fmla="*/ 3995055 h 6557032"/>
              <a:gd name="connsiteX2003" fmla="*/ 3695369 w 4610101"/>
              <a:gd name="connsiteY2003" fmla="*/ 3985944 h 6557032"/>
              <a:gd name="connsiteX2004" fmla="*/ 2561978 w 4610101"/>
              <a:gd name="connsiteY2004" fmla="*/ 3969545 h 6557032"/>
              <a:gd name="connsiteX2005" fmla="*/ 2571089 w 4610101"/>
              <a:gd name="connsiteY2005" fmla="*/ 3985945 h 6557032"/>
              <a:gd name="connsiteX2006" fmla="*/ 2547400 w 4610101"/>
              <a:gd name="connsiteY2006" fmla="*/ 3984122 h 6557032"/>
              <a:gd name="connsiteX2007" fmla="*/ 3647993 w 4610101"/>
              <a:gd name="connsiteY2007" fmla="*/ 3954967 h 6557032"/>
              <a:gd name="connsiteX2008" fmla="*/ 3657103 w 4610101"/>
              <a:gd name="connsiteY2008" fmla="*/ 3969545 h 6557032"/>
              <a:gd name="connsiteX2009" fmla="*/ 3673503 w 4610101"/>
              <a:gd name="connsiteY2009" fmla="*/ 3956789 h 6557032"/>
              <a:gd name="connsiteX2010" fmla="*/ 2489091 w 4610101"/>
              <a:gd name="connsiteY2010" fmla="*/ 3954967 h 6557032"/>
              <a:gd name="connsiteX2011" fmla="*/ 2494557 w 4610101"/>
              <a:gd name="connsiteY2011" fmla="*/ 3987767 h 6557032"/>
              <a:gd name="connsiteX2012" fmla="*/ 2470869 w 4610101"/>
              <a:gd name="connsiteY2012" fmla="*/ 3965901 h 6557032"/>
              <a:gd name="connsiteX2013" fmla="*/ 973041 w 4610101"/>
              <a:gd name="connsiteY2013" fmla="*/ 3947678 h 6557032"/>
              <a:gd name="connsiteX2014" fmla="*/ 996729 w 4610101"/>
              <a:gd name="connsiteY2014" fmla="*/ 3956790 h 6557032"/>
              <a:gd name="connsiteX2015" fmla="*/ 973041 w 4610101"/>
              <a:gd name="connsiteY2015" fmla="*/ 3980478 h 6557032"/>
              <a:gd name="connsiteX2016" fmla="*/ 2155632 w 4610101"/>
              <a:gd name="connsiteY2016" fmla="*/ 3938567 h 6557032"/>
              <a:gd name="connsiteX2017" fmla="*/ 2155632 w 4610101"/>
              <a:gd name="connsiteY2017" fmla="*/ 3964079 h 6557032"/>
              <a:gd name="connsiteX2018" fmla="*/ 2139232 w 4610101"/>
              <a:gd name="connsiteY2018" fmla="*/ 3954968 h 6557032"/>
              <a:gd name="connsiteX2019" fmla="*/ 4088959 w 4610101"/>
              <a:gd name="connsiteY2019" fmla="*/ 3934923 h 6557032"/>
              <a:gd name="connsiteX2020" fmla="*/ 4057982 w 4610101"/>
              <a:gd name="connsiteY2020" fmla="*/ 3956790 h 6557032"/>
              <a:gd name="connsiteX2021" fmla="*/ 4088959 w 4610101"/>
              <a:gd name="connsiteY2021" fmla="*/ 3934923 h 6557032"/>
              <a:gd name="connsiteX2022" fmla="*/ 2684062 w 4610101"/>
              <a:gd name="connsiteY2022" fmla="*/ 3933101 h 6557032"/>
              <a:gd name="connsiteX2023" fmla="*/ 2700462 w 4610101"/>
              <a:gd name="connsiteY2023" fmla="*/ 3940391 h 6557032"/>
              <a:gd name="connsiteX2024" fmla="*/ 2692319 w 4610101"/>
              <a:gd name="connsiteY2024" fmla="*/ 3955048 h 6557032"/>
              <a:gd name="connsiteX2025" fmla="*/ 2713218 w 4610101"/>
              <a:gd name="connsiteY2025" fmla="*/ 3956790 h 6557032"/>
              <a:gd name="connsiteX2026" fmla="*/ 2729618 w 4610101"/>
              <a:gd name="connsiteY2026" fmla="*/ 3976834 h 6557032"/>
              <a:gd name="connsiteX2027" fmla="*/ 2705930 w 4610101"/>
              <a:gd name="connsiteY2027" fmla="*/ 3985945 h 6557032"/>
              <a:gd name="connsiteX2028" fmla="*/ 2698242 w 4610101"/>
              <a:gd name="connsiteY2028" fmla="*/ 3964164 h 6557032"/>
              <a:gd name="connsiteX2029" fmla="*/ 2691933 w 4610101"/>
              <a:gd name="connsiteY2029" fmla="*/ 3955743 h 6557032"/>
              <a:gd name="connsiteX2030" fmla="*/ 2691351 w 4610101"/>
              <a:gd name="connsiteY2030" fmla="*/ 3956790 h 6557032"/>
              <a:gd name="connsiteX2031" fmla="*/ 2064524 w 4610101"/>
              <a:gd name="connsiteY2031" fmla="*/ 3933101 h 6557032"/>
              <a:gd name="connsiteX2032" fmla="*/ 2088212 w 4610101"/>
              <a:gd name="connsiteY2032" fmla="*/ 3933101 h 6557032"/>
              <a:gd name="connsiteX2033" fmla="*/ 2086390 w 4610101"/>
              <a:gd name="connsiteY2033" fmla="*/ 3954968 h 6557032"/>
              <a:gd name="connsiteX2034" fmla="*/ 2064524 w 4610101"/>
              <a:gd name="connsiteY2034" fmla="*/ 3971368 h 6557032"/>
              <a:gd name="connsiteX2035" fmla="*/ 2057235 w 4610101"/>
              <a:gd name="connsiteY2035" fmla="*/ 3947679 h 6557032"/>
              <a:gd name="connsiteX2036" fmla="*/ 2073635 w 4610101"/>
              <a:gd name="connsiteY2036" fmla="*/ 3947679 h 6557032"/>
              <a:gd name="connsiteX2037" fmla="*/ 1652713 w 4610101"/>
              <a:gd name="connsiteY2037" fmla="*/ 3933101 h 6557032"/>
              <a:gd name="connsiteX2038" fmla="*/ 1641778 w 4610101"/>
              <a:gd name="connsiteY2038" fmla="*/ 3965901 h 6557032"/>
              <a:gd name="connsiteX2039" fmla="*/ 1619912 w 4610101"/>
              <a:gd name="connsiteY2039" fmla="*/ 3942213 h 6557032"/>
              <a:gd name="connsiteX2040" fmla="*/ 1281662 w 4610101"/>
              <a:gd name="connsiteY2040" fmla="*/ 3926210 h 6557032"/>
              <a:gd name="connsiteX2041" fmla="*/ 1281672 w 4610101"/>
              <a:gd name="connsiteY2041" fmla="*/ 3926268 h 6557032"/>
              <a:gd name="connsiteX2042" fmla="*/ 1281643 w 4610101"/>
              <a:gd name="connsiteY2042" fmla="*/ 3926211 h 6557032"/>
              <a:gd name="connsiteX2043" fmla="*/ 3629771 w 4610101"/>
              <a:gd name="connsiteY2043" fmla="*/ 3925813 h 6557032"/>
              <a:gd name="connsiteX2044" fmla="*/ 3596972 w 4610101"/>
              <a:gd name="connsiteY2044" fmla="*/ 3931279 h 6557032"/>
              <a:gd name="connsiteX2045" fmla="*/ 3606082 w 4610101"/>
              <a:gd name="connsiteY2045" fmla="*/ 3949501 h 6557032"/>
              <a:gd name="connsiteX2046" fmla="*/ 694249 w 4610101"/>
              <a:gd name="connsiteY2046" fmla="*/ 3925812 h 6557032"/>
              <a:gd name="connsiteX2047" fmla="*/ 683316 w 4610101"/>
              <a:gd name="connsiteY2047" fmla="*/ 3942212 h 6557032"/>
              <a:gd name="connsiteX2048" fmla="*/ 668738 w 4610101"/>
              <a:gd name="connsiteY2048" fmla="*/ 3927635 h 6557032"/>
              <a:gd name="connsiteX2049" fmla="*/ 2033547 w 4610101"/>
              <a:gd name="connsiteY2049" fmla="*/ 3923990 h 6557032"/>
              <a:gd name="connsiteX2050" fmla="*/ 2035369 w 4610101"/>
              <a:gd name="connsiteY2050" fmla="*/ 3940390 h 6557032"/>
              <a:gd name="connsiteX2051" fmla="*/ 2018969 w 4610101"/>
              <a:gd name="connsiteY2051" fmla="*/ 3938567 h 6557032"/>
              <a:gd name="connsiteX2052" fmla="*/ 1876839 w 4610101"/>
              <a:gd name="connsiteY2052" fmla="*/ 3918524 h 6557032"/>
              <a:gd name="connsiteX2053" fmla="*/ 1907817 w 4610101"/>
              <a:gd name="connsiteY2053" fmla="*/ 3949501 h 6557032"/>
              <a:gd name="connsiteX2054" fmla="*/ 1907817 w 4610101"/>
              <a:gd name="connsiteY2054" fmla="*/ 3987767 h 6557032"/>
              <a:gd name="connsiteX2055" fmla="*/ 1885950 w 4610101"/>
              <a:gd name="connsiteY2055" fmla="*/ 3987767 h 6557032"/>
              <a:gd name="connsiteX2056" fmla="*/ 1871373 w 4610101"/>
              <a:gd name="connsiteY2056" fmla="*/ 3985945 h 6557032"/>
              <a:gd name="connsiteX2057" fmla="*/ 1854973 w 4610101"/>
              <a:gd name="connsiteY2057" fmla="*/ 3964079 h 6557032"/>
              <a:gd name="connsiteX2058" fmla="*/ 1876839 w 4610101"/>
              <a:gd name="connsiteY2058" fmla="*/ 3918524 h 6557032"/>
              <a:gd name="connsiteX2059" fmla="*/ 1379385 w 4610101"/>
              <a:gd name="connsiteY2059" fmla="*/ 3918524 h 6557032"/>
              <a:gd name="connsiteX2060" fmla="*/ 1401251 w 4610101"/>
              <a:gd name="connsiteY2060" fmla="*/ 3940391 h 6557032"/>
              <a:gd name="connsiteX2061" fmla="*/ 1379385 w 4610101"/>
              <a:gd name="connsiteY2061" fmla="*/ 3918524 h 6557032"/>
              <a:gd name="connsiteX2062" fmla="*/ 2826192 w 4610101"/>
              <a:gd name="connsiteY2062" fmla="*/ 3914880 h 6557032"/>
              <a:gd name="connsiteX2063" fmla="*/ 2804326 w 4610101"/>
              <a:gd name="connsiteY2063" fmla="*/ 3929457 h 6557032"/>
              <a:gd name="connsiteX2064" fmla="*/ 2811615 w 4610101"/>
              <a:gd name="connsiteY2064" fmla="*/ 3951323 h 6557032"/>
              <a:gd name="connsiteX2065" fmla="*/ 2804326 w 4610101"/>
              <a:gd name="connsiteY2065" fmla="*/ 3965900 h 6557032"/>
              <a:gd name="connsiteX2066" fmla="*/ 2813437 w 4610101"/>
              <a:gd name="connsiteY2066" fmla="*/ 3971367 h 6557032"/>
              <a:gd name="connsiteX2067" fmla="*/ 2828014 w 4610101"/>
              <a:gd name="connsiteY2067" fmla="*/ 3958612 h 6557032"/>
              <a:gd name="connsiteX2068" fmla="*/ 2857169 w 4610101"/>
              <a:gd name="connsiteY2068" fmla="*/ 3965900 h 6557032"/>
              <a:gd name="connsiteX2069" fmla="*/ 2857169 w 4610101"/>
              <a:gd name="connsiteY2069" fmla="*/ 3944034 h 6557032"/>
              <a:gd name="connsiteX2070" fmla="*/ 2835303 w 4610101"/>
              <a:gd name="connsiteY2070" fmla="*/ 3927635 h 6557032"/>
              <a:gd name="connsiteX2071" fmla="*/ 2829837 w 4610101"/>
              <a:gd name="connsiteY2071" fmla="*/ 3945857 h 6557032"/>
              <a:gd name="connsiteX2072" fmla="*/ 3801055 w 4610101"/>
              <a:gd name="connsiteY2072" fmla="*/ 3911235 h 6557032"/>
              <a:gd name="connsiteX2073" fmla="*/ 3784656 w 4610101"/>
              <a:gd name="connsiteY2073" fmla="*/ 3913057 h 6557032"/>
              <a:gd name="connsiteX2074" fmla="*/ 3799233 w 4610101"/>
              <a:gd name="connsiteY2074" fmla="*/ 3927635 h 6557032"/>
              <a:gd name="connsiteX2075" fmla="*/ 2886324 w 4610101"/>
              <a:gd name="connsiteY2075" fmla="*/ 3909413 h 6557032"/>
              <a:gd name="connsiteX2076" fmla="*/ 2864458 w 4610101"/>
              <a:gd name="connsiteY2076" fmla="*/ 3931279 h 6557032"/>
              <a:gd name="connsiteX2077" fmla="*/ 2888146 w 4610101"/>
              <a:gd name="connsiteY2077" fmla="*/ 3933101 h 6557032"/>
              <a:gd name="connsiteX2078" fmla="*/ 2503668 w 4610101"/>
              <a:gd name="connsiteY2078" fmla="*/ 3903946 h 6557032"/>
              <a:gd name="connsiteX2079" fmla="*/ 2516424 w 4610101"/>
              <a:gd name="connsiteY2079" fmla="*/ 3903946 h 6557032"/>
              <a:gd name="connsiteX2080" fmla="*/ 2525535 w 4610101"/>
              <a:gd name="connsiteY2080" fmla="*/ 3925813 h 6557032"/>
              <a:gd name="connsiteX2081" fmla="*/ 2503668 w 4610101"/>
              <a:gd name="connsiteY2081" fmla="*/ 3925813 h 6557032"/>
              <a:gd name="connsiteX2082" fmla="*/ 1439518 w 4610101"/>
              <a:gd name="connsiteY2082" fmla="*/ 3903946 h 6557032"/>
              <a:gd name="connsiteX2083" fmla="*/ 1439518 w 4610101"/>
              <a:gd name="connsiteY2083" fmla="*/ 3927635 h 6557032"/>
              <a:gd name="connsiteX2084" fmla="*/ 1441340 w 4610101"/>
              <a:gd name="connsiteY2084" fmla="*/ 3940391 h 6557032"/>
              <a:gd name="connsiteX2085" fmla="*/ 1463206 w 4610101"/>
              <a:gd name="connsiteY2085" fmla="*/ 3965901 h 6557032"/>
              <a:gd name="connsiteX2086" fmla="*/ 1454095 w 4610101"/>
              <a:gd name="connsiteY2086" fmla="*/ 3980478 h 6557032"/>
              <a:gd name="connsiteX2087" fmla="*/ 1461384 w 4610101"/>
              <a:gd name="connsiteY2087" fmla="*/ 3993234 h 6557032"/>
              <a:gd name="connsiteX2088" fmla="*/ 1432229 w 4610101"/>
              <a:gd name="connsiteY2088" fmla="*/ 4016922 h 6557032"/>
              <a:gd name="connsiteX2089" fmla="*/ 1401252 w 4610101"/>
              <a:gd name="connsiteY2089" fmla="*/ 3964079 h 6557032"/>
              <a:gd name="connsiteX2090" fmla="*/ 1410363 w 4610101"/>
              <a:gd name="connsiteY2090" fmla="*/ 3953146 h 6557032"/>
              <a:gd name="connsiteX2091" fmla="*/ 1424940 w 4610101"/>
              <a:gd name="connsiteY2091" fmla="*/ 3949502 h 6557032"/>
              <a:gd name="connsiteX2092" fmla="*/ 1417652 w 4610101"/>
              <a:gd name="connsiteY2092" fmla="*/ 3934923 h 6557032"/>
              <a:gd name="connsiteX2093" fmla="*/ 1432229 w 4610101"/>
              <a:gd name="connsiteY2093" fmla="*/ 3934923 h 6557032"/>
              <a:gd name="connsiteX2094" fmla="*/ 1439518 w 4610101"/>
              <a:gd name="connsiteY2094" fmla="*/ 3903946 h 6557032"/>
              <a:gd name="connsiteX2095" fmla="*/ 4214688 w 4610101"/>
              <a:gd name="connsiteY2095" fmla="*/ 3902124 h 6557032"/>
              <a:gd name="connsiteX2096" fmla="*/ 4214688 w 4610101"/>
              <a:gd name="connsiteY2096" fmla="*/ 3925814 h 6557032"/>
              <a:gd name="connsiteX2097" fmla="*/ 4198288 w 4610101"/>
              <a:gd name="connsiteY2097" fmla="*/ 3916703 h 6557032"/>
              <a:gd name="connsiteX2098" fmla="*/ 2044480 w 4610101"/>
              <a:gd name="connsiteY2098" fmla="*/ 3896658 h 6557032"/>
              <a:gd name="connsiteX2099" fmla="*/ 2066346 w 4610101"/>
              <a:gd name="connsiteY2099" fmla="*/ 3896658 h 6557032"/>
              <a:gd name="connsiteX2100" fmla="*/ 2066346 w 4610101"/>
              <a:gd name="connsiteY2100" fmla="*/ 3911235 h 6557032"/>
              <a:gd name="connsiteX2101" fmla="*/ 2044480 w 4610101"/>
              <a:gd name="connsiteY2101" fmla="*/ 3896658 h 6557032"/>
              <a:gd name="connsiteX2102" fmla="*/ 2487269 w 4610101"/>
              <a:gd name="connsiteY2102" fmla="*/ 3894835 h 6557032"/>
              <a:gd name="connsiteX2103" fmla="*/ 2496380 w 4610101"/>
              <a:gd name="connsiteY2103" fmla="*/ 3911235 h 6557032"/>
              <a:gd name="connsiteX2104" fmla="*/ 2470869 w 4610101"/>
              <a:gd name="connsiteY2104" fmla="*/ 3909413 h 6557032"/>
              <a:gd name="connsiteX2105" fmla="*/ 1310144 w 4610101"/>
              <a:gd name="connsiteY2105" fmla="*/ 3894835 h 6557032"/>
              <a:gd name="connsiteX2106" fmla="*/ 1288277 w 4610101"/>
              <a:gd name="connsiteY2106" fmla="*/ 3925813 h 6557032"/>
              <a:gd name="connsiteX2107" fmla="*/ 1281662 w 4610101"/>
              <a:gd name="connsiteY2107" fmla="*/ 3926210 h 6557032"/>
              <a:gd name="connsiteX2108" fmla="*/ 1281358 w 4610101"/>
              <a:gd name="connsiteY2108" fmla="*/ 3924276 h 6557032"/>
              <a:gd name="connsiteX2109" fmla="*/ 1273699 w 4610101"/>
              <a:gd name="connsiteY2109" fmla="*/ 3918525 h 6557032"/>
              <a:gd name="connsiteX2110" fmla="*/ 1310144 w 4610101"/>
              <a:gd name="connsiteY2110" fmla="*/ 3894835 h 6557032"/>
              <a:gd name="connsiteX2111" fmla="*/ 3784656 w 4610101"/>
              <a:gd name="connsiteY2111" fmla="*/ 3887547 h 6557032"/>
              <a:gd name="connsiteX2112" fmla="*/ 3770078 w 4610101"/>
              <a:gd name="connsiteY2112" fmla="*/ 3902124 h 6557032"/>
              <a:gd name="connsiteX2113" fmla="*/ 3793766 w 4610101"/>
              <a:gd name="connsiteY2113" fmla="*/ 3903947 h 6557032"/>
              <a:gd name="connsiteX2114" fmla="*/ 2427136 w 4610101"/>
              <a:gd name="connsiteY2114" fmla="*/ 3887547 h 6557032"/>
              <a:gd name="connsiteX2115" fmla="*/ 2458113 w 4610101"/>
              <a:gd name="connsiteY2115" fmla="*/ 3894837 h 6557032"/>
              <a:gd name="connsiteX2116" fmla="*/ 2427136 w 4610101"/>
              <a:gd name="connsiteY2116" fmla="*/ 3909414 h 6557032"/>
              <a:gd name="connsiteX2117" fmla="*/ 2427136 w 4610101"/>
              <a:gd name="connsiteY2117" fmla="*/ 3887547 h 6557032"/>
              <a:gd name="connsiteX2118" fmla="*/ 1475961 w 4610101"/>
              <a:gd name="connsiteY2118" fmla="*/ 3887547 h 6557032"/>
              <a:gd name="connsiteX2119" fmla="*/ 1501471 w 4610101"/>
              <a:gd name="connsiteY2119" fmla="*/ 3887547 h 6557032"/>
              <a:gd name="connsiteX2120" fmla="*/ 1494182 w 4610101"/>
              <a:gd name="connsiteY2120" fmla="*/ 3900302 h 6557032"/>
              <a:gd name="connsiteX2121" fmla="*/ 1516049 w 4610101"/>
              <a:gd name="connsiteY2121" fmla="*/ 3916702 h 6557032"/>
              <a:gd name="connsiteX2122" fmla="*/ 1516049 w 4610101"/>
              <a:gd name="connsiteY2122" fmla="*/ 3938568 h 6557032"/>
              <a:gd name="connsiteX2123" fmla="*/ 1494182 w 4610101"/>
              <a:gd name="connsiteY2123" fmla="*/ 3954968 h 6557032"/>
              <a:gd name="connsiteX2124" fmla="*/ 1501471 w 4610101"/>
              <a:gd name="connsiteY2124" fmla="*/ 3969545 h 6557032"/>
              <a:gd name="connsiteX2125" fmla="*/ 1477784 w 4610101"/>
              <a:gd name="connsiteY2125" fmla="*/ 3969545 h 6557032"/>
              <a:gd name="connsiteX2126" fmla="*/ 1485072 w 4610101"/>
              <a:gd name="connsiteY2126" fmla="*/ 3954968 h 6557032"/>
              <a:gd name="connsiteX2127" fmla="*/ 1475961 w 4610101"/>
              <a:gd name="connsiteY2127" fmla="*/ 3944034 h 6557032"/>
              <a:gd name="connsiteX2128" fmla="*/ 1463206 w 4610101"/>
              <a:gd name="connsiteY2128" fmla="*/ 3940390 h 6557032"/>
              <a:gd name="connsiteX2129" fmla="*/ 1461383 w 4610101"/>
              <a:gd name="connsiteY2129" fmla="*/ 3902124 h 6557032"/>
              <a:gd name="connsiteX2130" fmla="*/ 1485072 w 4610101"/>
              <a:gd name="connsiteY2130" fmla="*/ 3902124 h 6557032"/>
              <a:gd name="connsiteX2131" fmla="*/ 4014250 w 4610101"/>
              <a:gd name="connsiteY2131" fmla="*/ 3885725 h 6557032"/>
              <a:gd name="connsiteX2132" fmla="*/ 4027005 w 4610101"/>
              <a:gd name="connsiteY2132" fmla="*/ 3902126 h 6557032"/>
              <a:gd name="connsiteX2133" fmla="*/ 4012427 w 4610101"/>
              <a:gd name="connsiteY2133" fmla="*/ 3911237 h 6557032"/>
              <a:gd name="connsiteX2134" fmla="*/ 1915105 w 4610101"/>
              <a:gd name="connsiteY2134" fmla="*/ 3874791 h 6557032"/>
              <a:gd name="connsiteX2135" fmla="*/ 1969771 w 4610101"/>
              <a:gd name="connsiteY2135" fmla="*/ 3874791 h 6557032"/>
              <a:gd name="connsiteX2136" fmla="*/ 1960661 w 4610101"/>
              <a:gd name="connsiteY2136" fmla="*/ 3903947 h 6557032"/>
              <a:gd name="connsiteX2137" fmla="*/ 1915105 w 4610101"/>
              <a:gd name="connsiteY2137" fmla="*/ 3874791 h 6557032"/>
              <a:gd name="connsiteX2138" fmla="*/ 2397981 w 4610101"/>
              <a:gd name="connsiteY2138" fmla="*/ 3872969 h 6557032"/>
              <a:gd name="connsiteX2139" fmla="*/ 2396159 w 4610101"/>
              <a:gd name="connsiteY2139" fmla="*/ 3889369 h 6557032"/>
              <a:gd name="connsiteX2140" fmla="*/ 2381581 w 4610101"/>
              <a:gd name="connsiteY2140" fmla="*/ 3874791 h 6557032"/>
              <a:gd name="connsiteX2141" fmla="*/ 1802131 w 4610101"/>
              <a:gd name="connsiteY2141" fmla="*/ 3872969 h 6557032"/>
              <a:gd name="connsiteX2142" fmla="*/ 1800309 w 4610101"/>
              <a:gd name="connsiteY2142" fmla="*/ 3896659 h 6557032"/>
              <a:gd name="connsiteX2143" fmla="*/ 1771154 w 4610101"/>
              <a:gd name="connsiteY2143" fmla="*/ 3887548 h 6557032"/>
              <a:gd name="connsiteX2144" fmla="*/ 1802131 w 4610101"/>
              <a:gd name="connsiteY2144" fmla="*/ 3872969 h 6557032"/>
              <a:gd name="connsiteX2145" fmla="*/ 1213568 w 4610101"/>
              <a:gd name="connsiteY2145" fmla="*/ 3872969 h 6557032"/>
              <a:gd name="connsiteX2146" fmla="*/ 1235435 w 4610101"/>
              <a:gd name="connsiteY2146" fmla="*/ 3887548 h 6557032"/>
              <a:gd name="connsiteX2147" fmla="*/ 1229969 w 4610101"/>
              <a:gd name="connsiteY2147" fmla="*/ 3923991 h 6557032"/>
              <a:gd name="connsiteX2148" fmla="*/ 1191703 w 4610101"/>
              <a:gd name="connsiteY2148" fmla="*/ 3909414 h 6557032"/>
              <a:gd name="connsiteX2149" fmla="*/ 1191703 w 4610101"/>
              <a:gd name="connsiteY2149" fmla="*/ 3887548 h 6557032"/>
              <a:gd name="connsiteX2150" fmla="*/ 1213568 w 4610101"/>
              <a:gd name="connsiteY2150" fmla="*/ 3872969 h 6557032"/>
              <a:gd name="connsiteX2151" fmla="*/ 2715040 w 4610101"/>
              <a:gd name="connsiteY2151" fmla="*/ 3865681 h 6557032"/>
              <a:gd name="connsiteX2152" fmla="*/ 2736906 w 4610101"/>
              <a:gd name="connsiteY2152" fmla="*/ 3880259 h 6557032"/>
              <a:gd name="connsiteX2153" fmla="*/ 2715040 w 4610101"/>
              <a:gd name="connsiteY2153" fmla="*/ 3880259 h 6557032"/>
              <a:gd name="connsiteX2154" fmla="*/ 798112 w 4610101"/>
              <a:gd name="connsiteY2154" fmla="*/ 3865681 h 6557032"/>
              <a:gd name="connsiteX2155" fmla="*/ 814512 w 4610101"/>
              <a:gd name="connsiteY2155" fmla="*/ 3867504 h 6557032"/>
              <a:gd name="connsiteX2156" fmla="*/ 799934 w 4610101"/>
              <a:gd name="connsiteY2156" fmla="*/ 3882081 h 6557032"/>
              <a:gd name="connsiteX2157" fmla="*/ 4065270 w 4610101"/>
              <a:gd name="connsiteY2157" fmla="*/ 3858392 h 6557032"/>
              <a:gd name="connsiteX2158" fmla="*/ 4081670 w 4610101"/>
              <a:gd name="connsiteY2158" fmla="*/ 3860215 h 6557032"/>
              <a:gd name="connsiteX2159" fmla="*/ 4067092 w 4610101"/>
              <a:gd name="connsiteY2159" fmla="*/ 3874792 h 6557032"/>
              <a:gd name="connsiteX2160" fmla="*/ 3952296 w 4610101"/>
              <a:gd name="connsiteY2160" fmla="*/ 3858392 h 6557032"/>
              <a:gd name="connsiteX2161" fmla="*/ 3974163 w 4610101"/>
              <a:gd name="connsiteY2161" fmla="*/ 3858392 h 6557032"/>
              <a:gd name="connsiteX2162" fmla="*/ 3957763 w 4610101"/>
              <a:gd name="connsiteY2162" fmla="*/ 3889370 h 6557032"/>
              <a:gd name="connsiteX2163" fmla="*/ 3815632 w 4610101"/>
              <a:gd name="connsiteY2163" fmla="*/ 3858392 h 6557032"/>
              <a:gd name="connsiteX2164" fmla="*/ 3808344 w 4610101"/>
              <a:gd name="connsiteY2164" fmla="*/ 3880258 h 6557032"/>
              <a:gd name="connsiteX2165" fmla="*/ 3799233 w 4610101"/>
              <a:gd name="connsiteY2165" fmla="*/ 3902124 h 6557032"/>
              <a:gd name="connsiteX2166" fmla="*/ 3822921 w 4610101"/>
              <a:gd name="connsiteY2166" fmla="*/ 3887547 h 6557032"/>
              <a:gd name="connsiteX2167" fmla="*/ 2479980 w 4610101"/>
              <a:gd name="connsiteY2167" fmla="*/ 3858392 h 6557032"/>
              <a:gd name="connsiteX2168" fmla="*/ 2523712 w 4610101"/>
              <a:gd name="connsiteY2168" fmla="*/ 3882082 h 6557032"/>
              <a:gd name="connsiteX2169" fmla="*/ 2501846 w 4610101"/>
              <a:gd name="connsiteY2169" fmla="*/ 3889370 h 6557032"/>
              <a:gd name="connsiteX2170" fmla="*/ 2501846 w 4610101"/>
              <a:gd name="connsiteY2170" fmla="*/ 3874793 h 6557032"/>
              <a:gd name="connsiteX2171" fmla="*/ 2472691 w 4610101"/>
              <a:gd name="connsiteY2171" fmla="*/ 3882082 h 6557032"/>
              <a:gd name="connsiteX2172" fmla="*/ 4025183 w 4610101"/>
              <a:gd name="connsiteY2172" fmla="*/ 3843815 h 6557032"/>
              <a:gd name="connsiteX2173" fmla="*/ 4050694 w 4610101"/>
              <a:gd name="connsiteY2173" fmla="*/ 3843815 h 6557032"/>
              <a:gd name="connsiteX2174" fmla="*/ 4041583 w 4610101"/>
              <a:gd name="connsiteY2174" fmla="*/ 3860215 h 6557032"/>
              <a:gd name="connsiteX2175" fmla="*/ 2230342 w 4610101"/>
              <a:gd name="connsiteY2175" fmla="*/ 3843815 h 6557032"/>
              <a:gd name="connsiteX2176" fmla="*/ 2255853 w 4610101"/>
              <a:gd name="connsiteY2176" fmla="*/ 3843815 h 6557032"/>
              <a:gd name="connsiteX2177" fmla="*/ 2244920 w 4610101"/>
              <a:gd name="connsiteY2177" fmla="*/ 3860215 h 6557032"/>
              <a:gd name="connsiteX2178" fmla="*/ 2337963 w 4610101"/>
              <a:gd name="connsiteY2178" fmla="*/ 3843132 h 6557032"/>
              <a:gd name="connsiteX2179" fmla="*/ 2346504 w 4610101"/>
              <a:gd name="connsiteY2179" fmla="*/ 3843360 h 6557032"/>
              <a:gd name="connsiteX2180" fmla="*/ 2345138 w 4610101"/>
              <a:gd name="connsiteY2180" fmla="*/ 3865681 h 6557032"/>
              <a:gd name="connsiteX2181" fmla="*/ 2359715 w 4610101"/>
              <a:gd name="connsiteY2181" fmla="*/ 3872970 h 6557032"/>
              <a:gd name="connsiteX2182" fmla="*/ 2357893 w 4610101"/>
              <a:gd name="connsiteY2182" fmla="*/ 3894836 h 6557032"/>
              <a:gd name="connsiteX2183" fmla="*/ 2345138 w 4610101"/>
              <a:gd name="connsiteY2183" fmla="*/ 3911235 h 6557032"/>
              <a:gd name="connsiteX2184" fmla="*/ 2330560 w 4610101"/>
              <a:gd name="connsiteY2184" fmla="*/ 3911235 h 6557032"/>
              <a:gd name="connsiteX2185" fmla="*/ 2323272 w 4610101"/>
              <a:gd name="connsiteY2185" fmla="*/ 3911235 h 6557032"/>
              <a:gd name="connsiteX2186" fmla="*/ 2308694 w 4610101"/>
              <a:gd name="connsiteY2186" fmla="*/ 3911235 h 6557032"/>
              <a:gd name="connsiteX2187" fmla="*/ 2301406 w 4610101"/>
              <a:gd name="connsiteY2187" fmla="*/ 3914880 h 6557032"/>
              <a:gd name="connsiteX2188" fmla="*/ 2277717 w 4610101"/>
              <a:gd name="connsiteY2188" fmla="*/ 3911235 h 6557032"/>
              <a:gd name="connsiteX2189" fmla="*/ 2277717 w 4610101"/>
              <a:gd name="connsiteY2189" fmla="*/ 3872970 h 6557032"/>
              <a:gd name="connsiteX2190" fmla="*/ 2301406 w 4610101"/>
              <a:gd name="connsiteY2190" fmla="*/ 3872970 h 6557032"/>
              <a:gd name="connsiteX2191" fmla="*/ 2323272 w 4610101"/>
              <a:gd name="connsiteY2191" fmla="*/ 3851104 h 6557032"/>
              <a:gd name="connsiteX2192" fmla="*/ 2337963 w 4610101"/>
              <a:gd name="connsiteY2192" fmla="*/ 3843132 h 6557032"/>
              <a:gd name="connsiteX2193" fmla="*/ 1302855 w 4610101"/>
              <a:gd name="connsiteY2193" fmla="*/ 3841993 h 6557032"/>
              <a:gd name="connsiteX2194" fmla="*/ 1295566 w 4610101"/>
              <a:gd name="connsiteY2194" fmla="*/ 3872971 h 6557032"/>
              <a:gd name="connsiteX2195" fmla="*/ 1279166 w 4610101"/>
              <a:gd name="connsiteY2195" fmla="*/ 3863860 h 6557032"/>
              <a:gd name="connsiteX2196" fmla="*/ 2547400 w 4610101"/>
              <a:gd name="connsiteY2196" fmla="*/ 3836526 h 6557032"/>
              <a:gd name="connsiteX2197" fmla="*/ 2563799 w 4610101"/>
              <a:gd name="connsiteY2197" fmla="*/ 3849282 h 6557032"/>
              <a:gd name="connsiteX2198" fmla="*/ 2556511 w 4610101"/>
              <a:gd name="connsiteY2198" fmla="*/ 3863860 h 6557032"/>
              <a:gd name="connsiteX2199" fmla="*/ 2520067 w 4610101"/>
              <a:gd name="connsiteY2199" fmla="*/ 3843816 h 6557032"/>
              <a:gd name="connsiteX2200" fmla="*/ 1583469 w 4610101"/>
              <a:gd name="connsiteY2200" fmla="*/ 3836526 h 6557032"/>
              <a:gd name="connsiteX2201" fmla="*/ 1598047 w 4610101"/>
              <a:gd name="connsiteY2201" fmla="*/ 3851105 h 6557032"/>
              <a:gd name="connsiteX2202" fmla="*/ 1588935 w 4610101"/>
              <a:gd name="connsiteY2202" fmla="*/ 3867504 h 6557032"/>
              <a:gd name="connsiteX2203" fmla="*/ 1567069 w 4610101"/>
              <a:gd name="connsiteY2203" fmla="*/ 3845638 h 6557032"/>
              <a:gd name="connsiteX2204" fmla="*/ 1583469 w 4610101"/>
              <a:gd name="connsiteY2204" fmla="*/ 3836526 h 6557032"/>
              <a:gd name="connsiteX2205" fmla="*/ 2722327 w 4610101"/>
              <a:gd name="connsiteY2205" fmla="*/ 3827415 h 6557032"/>
              <a:gd name="connsiteX2206" fmla="*/ 2736905 w 4610101"/>
              <a:gd name="connsiteY2206" fmla="*/ 3827415 h 6557032"/>
              <a:gd name="connsiteX2207" fmla="*/ 2722327 w 4610101"/>
              <a:gd name="connsiteY2207" fmla="*/ 3841993 h 6557032"/>
              <a:gd name="connsiteX2208" fmla="*/ 4012428 w 4610101"/>
              <a:gd name="connsiteY2208" fmla="*/ 3820126 h 6557032"/>
              <a:gd name="connsiteX2209" fmla="*/ 4019716 w 4610101"/>
              <a:gd name="connsiteY2209" fmla="*/ 3841994 h 6557032"/>
              <a:gd name="connsiteX2210" fmla="*/ 4012428 w 4610101"/>
              <a:gd name="connsiteY2210" fmla="*/ 3872970 h 6557032"/>
              <a:gd name="connsiteX2211" fmla="*/ 4012428 w 4610101"/>
              <a:gd name="connsiteY2211" fmla="*/ 3820126 h 6557032"/>
              <a:gd name="connsiteX2212" fmla="*/ 3793766 w 4610101"/>
              <a:gd name="connsiteY2212" fmla="*/ 3820126 h 6557032"/>
              <a:gd name="connsiteX2213" fmla="*/ 3770078 w 4610101"/>
              <a:gd name="connsiteY2213" fmla="*/ 3821949 h 6557032"/>
              <a:gd name="connsiteX2214" fmla="*/ 3784656 w 4610101"/>
              <a:gd name="connsiteY2214" fmla="*/ 3836526 h 6557032"/>
              <a:gd name="connsiteX2215" fmla="*/ 3760967 w 4610101"/>
              <a:gd name="connsiteY2215" fmla="*/ 3820126 h 6557032"/>
              <a:gd name="connsiteX2216" fmla="*/ 3739101 w 4610101"/>
              <a:gd name="connsiteY2216" fmla="*/ 3841993 h 6557032"/>
              <a:gd name="connsiteX2217" fmla="*/ 3762790 w 4610101"/>
              <a:gd name="connsiteY2217" fmla="*/ 3843815 h 6557032"/>
              <a:gd name="connsiteX2218" fmla="*/ 2388871 w 4610101"/>
              <a:gd name="connsiteY2218" fmla="*/ 3812838 h 6557032"/>
              <a:gd name="connsiteX2219" fmla="*/ 2396159 w 4610101"/>
              <a:gd name="connsiteY2219" fmla="*/ 3825594 h 6557032"/>
              <a:gd name="connsiteX2220" fmla="*/ 2388871 w 4610101"/>
              <a:gd name="connsiteY2220" fmla="*/ 3836528 h 6557032"/>
              <a:gd name="connsiteX2221" fmla="*/ 2374293 w 4610101"/>
              <a:gd name="connsiteY2221" fmla="*/ 3821950 h 6557032"/>
              <a:gd name="connsiteX2222" fmla="*/ 1862262 w 4610101"/>
              <a:gd name="connsiteY2222" fmla="*/ 3812838 h 6557032"/>
              <a:gd name="connsiteX2223" fmla="*/ 1853151 w 4610101"/>
              <a:gd name="connsiteY2223" fmla="*/ 3829238 h 6557032"/>
              <a:gd name="connsiteX2224" fmla="*/ 1838573 w 4610101"/>
              <a:gd name="connsiteY2224" fmla="*/ 3814661 h 6557032"/>
              <a:gd name="connsiteX2225" fmla="*/ 1754753 w 4610101"/>
              <a:gd name="connsiteY2225" fmla="*/ 3811015 h 6557032"/>
              <a:gd name="connsiteX2226" fmla="*/ 1771154 w 4610101"/>
              <a:gd name="connsiteY2226" fmla="*/ 3834705 h 6557032"/>
              <a:gd name="connsiteX2227" fmla="*/ 1732887 w 4610101"/>
              <a:gd name="connsiteY2227" fmla="*/ 3832883 h 6557032"/>
              <a:gd name="connsiteX2228" fmla="*/ 4087138 w 4610101"/>
              <a:gd name="connsiteY2228" fmla="*/ 3803727 h 6557032"/>
              <a:gd name="connsiteX2229" fmla="*/ 4094426 w 4610101"/>
              <a:gd name="connsiteY2229" fmla="*/ 3820127 h 6557032"/>
              <a:gd name="connsiteX2230" fmla="*/ 4063449 w 4610101"/>
              <a:gd name="connsiteY2230" fmla="*/ 3818305 h 6557032"/>
              <a:gd name="connsiteX2231" fmla="*/ 2345139 w 4610101"/>
              <a:gd name="connsiteY2231" fmla="*/ 3798260 h 6557032"/>
              <a:gd name="connsiteX2232" fmla="*/ 2343317 w 4610101"/>
              <a:gd name="connsiteY2232" fmla="*/ 3836527 h 6557032"/>
              <a:gd name="connsiteX2233" fmla="*/ 2305051 w 4610101"/>
              <a:gd name="connsiteY2233" fmla="*/ 3800084 h 6557032"/>
              <a:gd name="connsiteX2234" fmla="*/ 2751483 w 4610101"/>
              <a:gd name="connsiteY2234" fmla="*/ 3790972 h 6557032"/>
              <a:gd name="connsiteX2235" fmla="*/ 2753305 w 4610101"/>
              <a:gd name="connsiteY2235" fmla="*/ 3807371 h 6557032"/>
              <a:gd name="connsiteX2236" fmla="*/ 2767882 w 4610101"/>
              <a:gd name="connsiteY2236" fmla="*/ 3792794 h 6557032"/>
              <a:gd name="connsiteX2237" fmla="*/ 4010605 w 4610101"/>
              <a:gd name="connsiteY2237" fmla="*/ 3789149 h 6557032"/>
              <a:gd name="connsiteX2238" fmla="*/ 4012427 w 4610101"/>
              <a:gd name="connsiteY2238" fmla="*/ 3812839 h 6557032"/>
              <a:gd name="connsiteX2239" fmla="*/ 3996027 w 4610101"/>
              <a:gd name="connsiteY2239" fmla="*/ 3803728 h 6557032"/>
              <a:gd name="connsiteX2240" fmla="*/ 1552492 w 4610101"/>
              <a:gd name="connsiteY2240" fmla="*/ 3789149 h 6557032"/>
              <a:gd name="connsiteX2241" fmla="*/ 1559781 w 4610101"/>
              <a:gd name="connsiteY2241" fmla="*/ 3820127 h 6557032"/>
              <a:gd name="connsiteX2242" fmla="*/ 1536092 w 4610101"/>
              <a:gd name="connsiteY2242" fmla="*/ 3820127 h 6557032"/>
              <a:gd name="connsiteX2243" fmla="*/ 1541331 w 4610101"/>
              <a:gd name="connsiteY2243" fmla="*/ 3804182 h 6557032"/>
              <a:gd name="connsiteX2244" fmla="*/ 1540487 w 4610101"/>
              <a:gd name="connsiteY2244" fmla="*/ 3802976 h 6557032"/>
              <a:gd name="connsiteX2245" fmla="*/ 1539737 w 4610101"/>
              <a:gd name="connsiteY2245" fmla="*/ 3801905 h 6557032"/>
              <a:gd name="connsiteX2246" fmla="*/ 1552492 w 4610101"/>
              <a:gd name="connsiteY2246" fmla="*/ 3789149 h 6557032"/>
              <a:gd name="connsiteX2247" fmla="*/ 4161846 w 4610101"/>
              <a:gd name="connsiteY2247" fmla="*/ 3783683 h 6557032"/>
              <a:gd name="connsiteX2248" fmla="*/ 4185535 w 4610101"/>
              <a:gd name="connsiteY2248" fmla="*/ 3783683 h 6557032"/>
              <a:gd name="connsiteX2249" fmla="*/ 4176424 w 4610101"/>
              <a:gd name="connsiteY2249" fmla="*/ 3798261 h 6557032"/>
              <a:gd name="connsiteX2250" fmla="*/ 1357519 w 4610101"/>
              <a:gd name="connsiteY2250" fmla="*/ 3781861 h 6557032"/>
              <a:gd name="connsiteX2251" fmla="*/ 1379385 w 4610101"/>
              <a:gd name="connsiteY2251" fmla="*/ 3781861 h 6557032"/>
              <a:gd name="connsiteX2252" fmla="*/ 1379385 w 4610101"/>
              <a:gd name="connsiteY2252" fmla="*/ 3803728 h 6557032"/>
              <a:gd name="connsiteX2253" fmla="*/ 1357519 w 4610101"/>
              <a:gd name="connsiteY2253" fmla="*/ 3803728 h 6557032"/>
              <a:gd name="connsiteX2254" fmla="*/ 2623931 w 4610101"/>
              <a:gd name="connsiteY2254" fmla="*/ 3778216 h 6557032"/>
              <a:gd name="connsiteX2255" fmla="*/ 2602064 w 4610101"/>
              <a:gd name="connsiteY2255" fmla="*/ 3800082 h 6557032"/>
              <a:gd name="connsiteX2256" fmla="*/ 2607531 w 4610101"/>
              <a:gd name="connsiteY2256" fmla="*/ 3831059 h 6557032"/>
              <a:gd name="connsiteX2257" fmla="*/ 2583843 w 4610101"/>
              <a:gd name="connsiteY2257" fmla="*/ 3831059 h 6557032"/>
              <a:gd name="connsiteX2258" fmla="*/ 2591131 w 4610101"/>
              <a:gd name="connsiteY2258" fmla="*/ 3858393 h 6557032"/>
              <a:gd name="connsiteX2259" fmla="*/ 2578376 w 4610101"/>
              <a:gd name="connsiteY2259" fmla="*/ 3872970 h 6557032"/>
              <a:gd name="connsiteX2260" fmla="*/ 2585665 w 4610101"/>
              <a:gd name="connsiteY2260" fmla="*/ 3883903 h 6557032"/>
              <a:gd name="connsiteX2261" fmla="*/ 2607531 w 4610101"/>
              <a:gd name="connsiteY2261" fmla="*/ 3860215 h 6557032"/>
              <a:gd name="connsiteX2262" fmla="*/ 2645797 w 4610101"/>
              <a:gd name="connsiteY2262" fmla="*/ 3874792 h 6557032"/>
              <a:gd name="connsiteX2263" fmla="*/ 2638508 w 4610101"/>
              <a:gd name="connsiteY2263" fmla="*/ 3887548 h 6557032"/>
              <a:gd name="connsiteX2264" fmla="*/ 2667663 w 4610101"/>
              <a:gd name="connsiteY2264" fmla="*/ 3913058 h 6557032"/>
              <a:gd name="connsiteX2265" fmla="*/ 2691351 w 4610101"/>
              <a:gd name="connsiteY2265" fmla="*/ 3903947 h 6557032"/>
              <a:gd name="connsiteX2266" fmla="*/ 2682240 w 4610101"/>
              <a:gd name="connsiteY2266" fmla="*/ 3933102 h 6557032"/>
              <a:gd name="connsiteX2267" fmla="*/ 2676773 w 4610101"/>
              <a:gd name="connsiteY2267" fmla="*/ 3933102 h 6557032"/>
              <a:gd name="connsiteX2268" fmla="*/ 2669486 w 4610101"/>
              <a:gd name="connsiteY2268" fmla="*/ 3940391 h 6557032"/>
              <a:gd name="connsiteX2269" fmla="*/ 2664019 w 4610101"/>
              <a:gd name="connsiteY2269" fmla="*/ 3954968 h 6557032"/>
              <a:gd name="connsiteX2270" fmla="*/ 2654908 w 4610101"/>
              <a:gd name="connsiteY2270" fmla="*/ 3933101 h 6557032"/>
              <a:gd name="connsiteX2271" fmla="*/ 2674951 w 4610101"/>
              <a:gd name="connsiteY2271" fmla="*/ 3933101 h 6557032"/>
              <a:gd name="connsiteX2272" fmla="*/ 2667663 w 4610101"/>
              <a:gd name="connsiteY2272" fmla="*/ 3918525 h 6557032"/>
              <a:gd name="connsiteX2273" fmla="*/ 2645797 w 4610101"/>
              <a:gd name="connsiteY2273" fmla="*/ 3925813 h 6557032"/>
              <a:gd name="connsiteX2274" fmla="*/ 2600242 w 4610101"/>
              <a:gd name="connsiteY2274" fmla="*/ 3956790 h 6557032"/>
              <a:gd name="connsiteX2275" fmla="*/ 2547399 w 4610101"/>
              <a:gd name="connsiteY2275" fmla="*/ 3887548 h 6557032"/>
              <a:gd name="connsiteX2276" fmla="*/ 2525533 w 4610101"/>
              <a:gd name="connsiteY2276" fmla="*/ 3903947 h 6557032"/>
              <a:gd name="connsiteX2277" fmla="*/ 2534644 w 4610101"/>
              <a:gd name="connsiteY2277" fmla="*/ 3872970 h 6557032"/>
              <a:gd name="connsiteX2278" fmla="*/ 2549221 w 4610101"/>
              <a:gd name="connsiteY2278" fmla="*/ 3880259 h 6557032"/>
              <a:gd name="connsiteX2279" fmla="*/ 2556510 w 4610101"/>
              <a:gd name="connsiteY2279" fmla="*/ 3865681 h 6557032"/>
              <a:gd name="connsiteX2280" fmla="*/ 2572910 w 4610101"/>
              <a:gd name="connsiteY2280" fmla="*/ 3872970 h 6557032"/>
              <a:gd name="connsiteX2281" fmla="*/ 2561977 w 4610101"/>
              <a:gd name="connsiteY2281" fmla="*/ 3854748 h 6557032"/>
              <a:gd name="connsiteX2282" fmla="*/ 2571088 w 4610101"/>
              <a:gd name="connsiteY2282" fmla="*/ 3831059 h 6557032"/>
              <a:gd name="connsiteX2283" fmla="*/ 2547399 w 4610101"/>
              <a:gd name="connsiteY2283" fmla="*/ 3801904 h 6557032"/>
              <a:gd name="connsiteX2284" fmla="*/ 2569265 w 4610101"/>
              <a:gd name="connsiteY2284" fmla="*/ 3798260 h 6557032"/>
              <a:gd name="connsiteX2285" fmla="*/ 2456291 w 4610101"/>
              <a:gd name="connsiteY2285" fmla="*/ 3772750 h 6557032"/>
              <a:gd name="connsiteX2286" fmla="*/ 2458113 w 4610101"/>
              <a:gd name="connsiteY2286" fmla="*/ 3798262 h 6557032"/>
              <a:gd name="connsiteX2287" fmla="*/ 2441713 w 4610101"/>
              <a:gd name="connsiteY2287" fmla="*/ 3789151 h 6557032"/>
              <a:gd name="connsiteX2288" fmla="*/ 2767882 w 4610101"/>
              <a:gd name="connsiteY2288" fmla="*/ 3767284 h 6557032"/>
              <a:gd name="connsiteX2289" fmla="*/ 2767882 w 4610101"/>
              <a:gd name="connsiteY2289" fmla="*/ 3781861 h 6557032"/>
              <a:gd name="connsiteX2290" fmla="*/ 2782460 w 4610101"/>
              <a:gd name="connsiteY2290" fmla="*/ 3781861 h 6557032"/>
              <a:gd name="connsiteX2291" fmla="*/ 3974163 w 4610101"/>
              <a:gd name="connsiteY2291" fmla="*/ 3767283 h 6557032"/>
              <a:gd name="connsiteX2292" fmla="*/ 3965052 w 4610101"/>
              <a:gd name="connsiteY2292" fmla="*/ 3783683 h 6557032"/>
              <a:gd name="connsiteX2293" fmla="*/ 3950474 w 4610101"/>
              <a:gd name="connsiteY2293" fmla="*/ 3769106 h 6557032"/>
              <a:gd name="connsiteX2294" fmla="*/ 1129748 w 4610101"/>
              <a:gd name="connsiteY2294" fmla="*/ 3767283 h 6557032"/>
              <a:gd name="connsiteX2295" fmla="*/ 1166194 w 4610101"/>
              <a:gd name="connsiteY2295" fmla="*/ 3790973 h 6557032"/>
              <a:gd name="connsiteX2296" fmla="*/ 1151614 w 4610101"/>
              <a:gd name="connsiteY2296" fmla="*/ 3790973 h 6557032"/>
              <a:gd name="connsiteX2297" fmla="*/ 1151614 w 4610101"/>
              <a:gd name="connsiteY2297" fmla="*/ 3805550 h 6557032"/>
              <a:gd name="connsiteX2298" fmla="*/ 1129748 w 4610101"/>
              <a:gd name="connsiteY2298" fmla="*/ 3767283 h 6557032"/>
              <a:gd name="connsiteX2299" fmla="*/ 2656730 w 4610101"/>
              <a:gd name="connsiteY2299" fmla="*/ 3758173 h 6557032"/>
              <a:gd name="connsiteX2300" fmla="*/ 2654908 w 4610101"/>
              <a:gd name="connsiteY2300" fmla="*/ 3783683 h 6557032"/>
              <a:gd name="connsiteX2301" fmla="*/ 2669485 w 4610101"/>
              <a:gd name="connsiteY2301" fmla="*/ 3774572 h 6557032"/>
              <a:gd name="connsiteX2302" fmla="*/ 2578377 w 4610101"/>
              <a:gd name="connsiteY2302" fmla="*/ 3752706 h 6557032"/>
              <a:gd name="connsiteX2303" fmla="*/ 2633042 w 4610101"/>
              <a:gd name="connsiteY2303" fmla="*/ 3752706 h 6557032"/>
              <a:gd name="connsiteX2304" fmla="*/ 2623932 w 4610101"/>
              <a:gd name="connsiteY2304" fmla="*/ 3774573 h 6557032"/>
              <a:gd name="connsiteX2305" fmla="*/ 2623932 w 4610101"/>
              <a:gd name="connsiteY2305" fmla="*/ 3759996 h 6557032"/>
              <a:gd name="connsiteX2306" fmla="*/ 2592955 w 4610101"/>
              <a:gd name="connsiteY2306" fmla="*/ 3774573 h 6557032"/>
              <a:gd name="connsiteX2307" fmla="*/ 2589310 w 4610101"/>
              <a:gd name="connsiteY2307" fmla="*/ 3761818 h 6557032"/>
              <a:gd name="connsiteX2308" fmla="*/ 2578377 w 4610101"/>
              <a:gd name="connsiteY2308" fmla="*/ 3752706 h 6557032"/>
              <a:gd name="connsiteX2309" fmla="*/ 1328365 w 4610101"/>
              <a:gd name="connsiteY2309" fmla="*/ 3752706 h 6557032"/>
              <a:gd name="connsiteX2310" fmla="*/ 1317431 w 4610101"/>
              <a:gd name="connsiteY2310" fmla="*/ 3776396 h 6557032"/>
              <a:gd name="connsiteX2311" fmla="*/ 1295565 w 4610101"/>
              <a:gd name="connsiteY2311" fmla="*/ 3754530 h 6557032"/>
              <a:gd name="connsiteX2312" fmla="*/ 2297762 w 4610101"/>
              <a:gd name="connsiteY2312" fmla="*/ 3750884 h 6557032"/>
              <a:gd name="connsiteX2313" fmla="*/ 2299584 w 4610101"/>
              <a:gd name="connsiteY2313" fmla="*/ 3776396 h 6557032"/>
              <a:gd name="connsiteX2314" fmla="*/ 2283184 w 4610101"/>
              <a:gd name="connsiteY2314" fmla="*/ 3765462 h 6557032"/>
              <a:gd name="connsiteX2315" fmla="*/ 940241 w 4610101"/>
              <a:gd name="connsiteY2315" fmla="*/ 3745417 h 6557032"/>
              <a:gd name="connsiteX2316" fmla="*/ 994906 w 4610101"/>
              <a:gd name="connsiteY2316" fmla="*/ 3772750 h 6557032"/>
              <a:gd name="connsiteX2317" fmla="*/ 1025883 w 4610101"/>
              <a:gd name="connsiteY2317" fmla="*/ 3767283 h 6557032"/>
              <a:gd name="connsiteX2318" fmla="*/ 1025883 w 4610101"/>
              <a:gd name="connsiteY2318" fmla="*/ 3783683 h 6557032"/>
              <a:gd name="connsiteX2319" fmla="*/ 1038639 w 4610101"/>
              <a:gd name="connsiteY2319" fmla="*/ 3776394 h 6557032"/>
              <a:gd name="connsiteX2320" fmla="*/ 1067793 w 4610101"/>
              <a:gd name="connsiteY2320" fmla="*/ 3807371 h 6557032"/>
              <a:gd name="connsiteX2321" fmla="*/ 1076904 w 4610101"/>
              <a:gd name="connsiteY2321" fmla="*/ 3831060 h 6557032"/>
              <a:gd name="connsiteX2322" fmla="*/ 1071438 w 4610101"/>
              <a:gd name="connsiteY2322" fmla="*/ 3843815 h 6557032"/>
              <a:gd name="connsiteX2323" fmla="*/ 1084193 w 4610101"/>
              <a:gd name="connsiteY2323" fmla="*/ 3867504 h 6557032"/>
              <a:gd name="connsiteX2324" fmla="*/ 1080549 w 4610101"/>
              <a:gd name="connsiteY2324" fmla="*/ 3882081 h 6557032"/>
              <a:gd name="connsiteX2325" fmla="*/ 1082371 w 4610101"/>
              <a:gd name="connsiteY2325" fmla="*/ 3907592 h 6557032"/>
              <a:gd name="connsiteX2326" fmla="*/ 1060505 w 4610101"/>
              <a:gd name="connsiteY2326" fmla="*/ 3882081 h 6557032"/>
              <a:gd name="connsiteX2327" fmla="*/ 1036818 w 4610101"/>
              <a:gd name="connsiteY2327" fmla="*/ 3898481 h 6557032"/>
              <a:gd name="connsiteX2328" fmla="*/ 1053216 w 4610101"/>
              <a:gd name="connsiteY2328" fmla="*/ 3920347 h 6557032"/>
              <a:gd name="connsiteX2329" fmla="*/ 1038639 w 4610101"/>
              <a:gd name="connsiteY2329" fmla="*/ 3927636 h 6557032"/>
              <a:gd name="connsiteX2330" fmla="*/ 1038639 w 4610101"/>
              <a:gd name="connsiteY2330" fmla="*/ 3949502 h 6557032"/>
              <a:gd name="connsiteX2331" fmla="*/ 1045927 w 4610101"/>
              <a:gd name="connsiteY2331" fmla="*/ 3956790 h 6557032"/>
              <a:gd name="connsiteX2332" fmla="*/ 1038639 w 4610101"/>
              <a:gd name="connsiteY2332" fmla="*/ 3971368 h 6557032"/>
              <a:gd name="connsiteX2333" fmla="*/ 1031350 w 4610101"/>
              <a:gd name="connsiteY2333" fmla="*/ 3985945 h 6557032"/>
              <a:gd name="connsiteX2334" fmla="*/ 1024061 w 4610101"/>
              <a:gd name="connsiteY2334" fmla="*/ 3954968 h 6557032"/>
              <a:gd name="connsiteX2335" fmla="*/ 1031350 w 4610101"/>
              <a:gd name="connsiteY2335" fmla="*/ 3925813 h 6557032"/>
              <a:gd name="connsiteX2336" fmla="*/ 1000374 w 4610101"/>
              <a:gd name="connsiteY2336" fmla="*/ 3914880 h 6557032"/>
              <a:gd name="connsiteX2337" fmla="*/ 985796 w 4610101"/>
              <a:gd name="connsiteY2337" fmla="*/ 3923991 h 6557032"/>
              <a:gd name="connsiteX2338" fmla="*/ 971219 w 4610101"/>
              <a:gd name="connsiteY2338" fmla="*/ 3923991 h 6557032"/>
              <a:gd name="connsiteX2339" fmla="*/ 965752 w 4610101"/>
              <a:gd name="connsiteY2339" fmla="*/ 3929458 h 6557032"/>
              <a:gd name="connsiteX2340" fmla="*/ 969396 w 4610101"/>
              <a:gd name="connsiteY2340" fmla="*/ 3938568 h 6557032"/>
              <a:gd name="connsiteX2341" fmla="*/ 949352 w 4610101"/>
              <a:gd name="connsiteY2341" fmla="*/ 3953146 h 6557032"/>
              <a:gd name="connsiteX2342" fmla="*/ 932953 w 4610101"/>
              <a:gd name="connsiteY2342" fmla="*/ 3940391 h 6557032"/>
              <a:gd name="connsiteX2343" fmla="*/ 932953 w 4610101"/>
              <a:gd name="connsiteY2343" fmla="*/ 3918525 h 6557032"/>
              <a:gd name="connsiteX2344" fmla="*/ 949352 w 4610101"/>
              <a:gd name="connsiteY2344" fmla="*/ 3909414 h 6557032"/>
              <a:gd name="connsiteX2345" fmla="*/ 932953 w 4610101"/>
              <a:gd name="connsiteY2345" fmla="*/ 3894836 h 6557032"/>
              <a:gd name="connsiteX2346" fmla="*/ 940241 w 4610101"/>
              <a:gd name="connsiteY2346" fmla="*/ 3882081 h 6557032"/>
              <a:gd name="connsiteX2347" fmla="*/ 918375 w 4610101"/>
              <a:gd name="connsiteY2347" fmla="*/ 3865682 h 6557032"/>
              <a:gd name="connsiteX2348" fmla="*/ 942063 w 4610101"/>
              <a:gd name="connsiteY2348" fmla="*/ 3843815 h 6557032"/>
              <a:gd name="connsiteX2349" fmla="*/ 934775 w 4610101"/>
              <a:gd name="connsiteY2349" fmla="*/ 3812838 h 6557032"/>
              <a:gd name="connsiteX2350" fmla="*/ 971219 w 4610101"/>
              <a:gd name="connsiteY2350" fmla="*/ 3776394 h 6557032"/>
              <a:gd name="connsiteX2351" fmla="*/ 2503667 w 4610101"/>
              <a:gd name="connsiteY2351" fmla="*/ 3738130 h 6557032"/>
              <a:gd name="connsiteX2352" fmla="*/ 2489092 w 4610101"/>
              <a:gd name="connsiteY2352" fmla="*/ 3745418 h 6557032"/>
              <a:gd name="connsiteX2353" fmla="*/ 2510956 w 4610101"/>
              <a:gd name="connsiteY2353" fmla="*/ 3752706 h 6557032"/>
              <a:gd name="connsiteX2354" fmla="*/ 1854973 w 4610101"/>
              <a:gd name="connsiteY2354" fmla="*/ 3738128 h 6557032"/>
              <a:gd name="connsiteX2355" fmla="*/ 1898706 w 4610101"/>
              <a:gd name="connsiteY2355" fmla="*/ 3745418 h 6557032"/>
              <a:gd name="connsiteX2356" fmla="*/ 1876839 w 4610101"/>
              <a:gd name="connsiteY2356" fmla="*/ 3776395 h 6557032"/>
              <a:gd name="connsiteX2357" fmla="*/ 1854973 w 4610101"/>
              <a:gd name="connsiteY2357" fmla="*/ 3738128 h 6557032"/>
              <a:gd name="connsiteX2358" fmla="*/ 2794532 w 4610101"/>
              <a:gd name="connsiteY2358" fmla="*/ 3729701 h 6557032"/>
              <a:gd name="connsiteX2359" fmla="*/ 2789749 w 4610101"/>
              <a:gd name="connsiteY2359" fmla="*/ 3738129 h 6557032"/>
              <a:gd name="connsiteX2360" fmla="*/ 2775171 w 4610101"/>
              <a:gd name="connsiteY2360" fmla="*/ 3730840 h 6557032"/>
              <a:gd name="connsiteX2361" fmla="*/ 2758772 w 4610101"/>
              <a:gd name="connsiteY2361" fmla="*/ 3752706 h 6557032"/>
              <a:gd name="connsiteX2362" fmla="*/ 2767882 w 4610101"/>
              <a:gd name="connsiteY2362" fmla="*/ 3759995 h 6557032"/>
              <a:gd name="connsiteX2363" fmla="*/ 2789749 w 4610101"/>
              <a:gd name="connsiteY2363" fmla="*/ 3738129 h 6557032"/>
              <a:gd name="connsiteX2364" fmla="*/ 2811615 w 4610101"/>
              <a:gd name="connsiteY2364" fmla="*/ 3738129 h 6557032"/>
              <a:gd name="connsiteX2365" fmla="*/ 2804326 w 4610101"/>
              <a:gd name="connsiteY2365" fmla="*/ 3752706 h 6557032"/>
              <a:gd name="connsiteX2366" fmla="*/ 2820384 w 4610101"/>
              <a:gd name="connsiteY2366" fmla="*/ 3759843 h 6557032"/>
              <a:gd name="connsiteX2367" fmla="*/ 2818903 w 4610101"/>
              <a:gd name="connsiteY2367" fmla="*/ 3761817 h 6557032"/>
              <a:gd name="connsiteX2368" fmla="*/ 2821637 w 4610101"/>
              <a:gd name="connsiteY2368" fmla="*/ 3761817 h 6557032"/>
              <a:gd name="connsiteX2369" fmla="*/ 2828014 w 4610101"/>
              <a:gd name="connsiteY2369" fmla="*/ 3774572 h 6557032"/>
              <a:gd name="connsiteX2370" fmla="*/ 2804326 w 4610101"/>
              <a:gd name="connsiteY2370" fmla="*/ 3774572 h 6557032"/>
              <a:gd name="connsiteX2371" fmla="*/ 2804326 w 4610101"/>
              <a:gd name="connsiteY2371" fmla="*/ 3781861 h 6557032"/>
              <a:gd name="connsiteX2372" fmla="*/ 2835303 w 4610101"/>
              <a:gd name="connsiteY2372" fmla="*/ 3781861 h 6557032"/>
              <a:gd name="connsiteX2373" fmla="*/ 2835303 w 4610101"/>
              <a:gd name="connsiteY2373" fmla="*/ 3761817 h 6557032"/>
              <a:gd name="connsiteX2374" fmla="*/ 2821637 w 4610101"/>
              <a:gd name="connsiteY2374" fmla="*/ 3761817 h 6557032"/>
              <a:gd name="connsiteX2375" fmla="*/ 2820726 w 4610101"/>
              <a:gd name="connsiteY2375" fmla="*/ 3759995 h 6557032"/>
              <a:gd name="connsiteX2376" fmla="*/ 2820384 w 4610101"/>
              <a:gd name="connsiteY2376" fmla="*/ 3759843 h 6557032"/>
              <a:gd name="connsiteX2377" fmla="*/ 2835303 w 4610101"/>
              <a:gd name="connsiteY2377" fmla="*/ 3739951 h 6557032"/>
              <a:gd name="connsiteX2378" fmla="*/ 2811615 w 4610101"/>
              <a:gd name="connsiteY2378" fmla="*/ 3730840 h 6557032"/>
              <a:gd name="connsiteX2379" fmla="*/ 2794532 w 4610101"/>
              <a:gd name="connsiteY2379" fmla="*/ 3729701 h 6557032"/>
              <a:gd name="connsiteX2380" fmla="*/ 3770078 w 4610101"/>
              <a:gd name="connsiteY2380" fmla="*/ 3729018 h 6557032"/>
              <a:gd name="connsiteX2381" fmla="*/ 3746390 w 4610101"/>
              <a:gd name="connsiteY2381" fmla="*/ 3736307 h 6557032"/>
              <a:gd name="connsiteX2382" fmla="*/ 3760967 w 4610101"/>
              <a:gd name="connsiteY2382" fmla="*/ 3750884 h 6557032"/>
              <a:gd name="connsiteX2383" fmla="*/ 2609353 w 4610101"/>
              <a:gd name="connsiteY2383" fmla="*/ 3721729 h 6557032"/>
              <a:gd name="connsiteX2384" fmla="*/ 2607531 w 4610101"/>
              <a:gd name="connsiteY2384" fmla="*/ 3738129 h 6557032"/>
              <a:gd name="connsiteX2385" fmla="*/ 2592953 w 4610101"/>
              <a:gd name="connsiteY2385" fmla="*/ 3723552 h 6557032"/>
              <a:gd name="connsiteX2386" fmla="*/ 2095501 w 4610101"/>
              <a:gd name="connsiteY2386" fmla="*/ 3721729 h 6557032"/>
              <a:gd name="connsiteX2387" fmla="*/ 2119190 w 4610101"/>
              <a:gd name="connsiteY2387" fmla="*/ 3721729 h 6557032"/>
              <a:gd name="connsiteX2388" fmla="*/ 2119190 w 4610101"/>
              <a:gd name="connsiteY2388" fmla="*/ 3738129 h 6557032"/>
              <a:gd name="connsiteX2389" fmla="*/ 2095501 w 4610101"/>
              <a:gd name="connsiteY2389" fmla="*/ 3721729 h 6557032"/>
              <a:gd name="connsiteX2390" fmla="*/ 1936972 w 4610101"/>
              <a:gd name="connsiteY2390" fmla="*/ 3721729 h 6557032"/>
              <a:gd name="connsiteX2391" fmla="*/ 1953371 w 4610101"/>
              <a:gd name="connsiteY2391" fmla="*/ 3723552 h 6557032"/>
              <a:gd name="connsiteX2392" fmla="*/ 1938793 w 4610101"/>
              <a:gd name="connsiteY2392" fmla="*/ 3738129 h 6557032"/>
              <a:gd name="connsiteX2393" fmla="*/ 1893238 w 4610101"/>
              <a:gd name="connsiteY2393" fmla="*/ 3721729 h 6557032"/>
              <a:gd name="connsiteX2394" fmla="*/ 1909639 w 4610101"/>
              <a:gd name="connsiteY2394" fmla="*/ 3723552 h 6557032"/>
              <a:gd name="connsiteX2395" fmla="*/ 1893238 w 4610101"/>
              <a:gd name="connsiteY2395" fmla="*/ 3738129 h 6557032"/>
              <a:gd name="connsiteX2396" fmla="*/ 1712843 w 4610101"/>
              <a:gd name="connsiteY2396" fmla="*/ 3721729 h 6557032"/>
              <a:gd name="connsiteX2397" fmla="*/ 1718310 w 4610101"/>
              <a:gd name="connsiteY2397" fmla="*/ 3756350 h 6557032"/>
              <a:gd name="connsiteX2398" fmla="*/ 1740176 w 4610101"/>
              <a:gd name="connsiteY2398" fmla="*/ 3756350 h 6557032"/>
              <a:gd name="connsiteX2399" fmla="*/ 1718310 w 4610101"/>
              <a:gd name="connsiteY2399" fmla="*/ 3780040 h 6557032"/>
              <a:gd name="connsiteX2400" fmla="*/ 1692799 w 4610101"/>
              <a:gd name="connsiteY2400" fmla="*/ 3801906 h 6557032"/>
              <a:gd name="connsiteX2401" fmla="*/ 1709199 w 4610101"/>
              <a:gd name="connsiteY2401" fmla="*/ 3814661 h 6557032"/>
              <a:gd name="connsiteX2402" fmla="*/ 1709199 w 4610101"/>
              <a:gd name="connsiteY2402" fmla="*/ 3851105 h 6557032"/>
              <a:gd name="connsiteX2403" fmla="*/ 1696444 w 4610101"/>
              <a:gd name="connsiteY2403" fmla="*/ 3858393 h 6557032"/>
              <a:gd name="connsiteX2404" fmla="*/ 1701910 w 4610101"/>
              <a:gd name="connsiteY2404" fmla="*/ 3889370 h 6557032"/>
              <a:gd name="connsiteX2405" fmla="*/ 1680044 w 4610101"/>
              <a:gd name="connsiteY2405" fmla="*/ 3889370 h 6557032"/>
              <a:gd name="connsiteX2406" fmla="*/ 1649067 w 4610101"/>
              <a:gd name="connsiteY2406" fmla="*/ 3858393 h 6557032"/>
              <a:gd name="connsiteX2407" fmla="*/ 1649067 w 4610101"/>
              <a:gd name="connsiteY2407" fmla="*/ 3836527 h 6557032"/>
              <a:gd name="connsiteX2408" fmla="*/ 1680044 w 4610101"/>
              <a:gd name="connsiteY2408" fmla="*/ 3798261 h 6557032"/>
              <a:gd name="connsiteX2409" fmla="*/ 1680044 w 4610101"/>
              <a:gd name="connsiteY2409" fmla="*/ 3776394 h 6557032"/>
              <a:gd name="connsiteX2410" fmla="*/ 1656356 w 4610101"/>
              <a:gd name="connsiteY2410" fmla="*/ 3758173 h 6557032"/>
              <a:gd name="connsiteX2411" fmla="*/ 1681866 w 4610101"/>
              <a:gd name="connsiteY2411" fmla="*/ 3730840 h 6557032"/>
              <a:gd name="connsiteX2412" fmla="*/ 1109704 w 4610101"/>
              <a:gd name="connsiteY2412" fmla="*/ 3712618 h 6557032"/>
              <a:gd name="connsiteX2413" fmla="*/ 1122459 w 4610101"/>
              <a:gd name="connsiteY2413" fmla="*/ 3729019 h 6557032"/>
              <a:gd name="connsiteX2414" fmla="*/ 1100593 w 4610101"/>
              <a:gd name="connsiteY2414" fmla="*/ 3743596 h 6557032"/>
              <a:gd name="connsiteX2415" fmla="*/ 3733635 w 4610101"/>
              <a:gd name="connsiteY2415" fmla="*/ 3699863 h 6557032"/>
              <a:gd name="connsiteX2416" fmla="*/ 3709947 w 4610101"/>
              <a:gd name="connsiteY2416" fmla="*/ 3701685 h 6557032"/>
              <a:gd name="connsiteX2417" fmla="*/ 3731813 w 4610101"/>
              <a:gd name="connsiteY2417" fmla="*/ 3723551 h 6557032"/>
              <a:gd name="connsiteX2418" fmla="*/ 2186610 w 4610101"/>
              <a:gd name="connsiteY2418" fmla="*/ 3699863 h 6557032"/>
              <a:gd name="connsiteX2419" fmla="*/ 2195721 w 4610101"/>
              <a:gd name="connsiteY2419" fmla="*/ 3723552 h 6557032"/>
              <a:gd name="connsiteX2420" fmla="*/ 2188432 w 4610101"/>
              <a:gd name="connsiteY2420" fmla="*/ 3738129 h 6557032"/>
              <a:gd name="connsiteX2421" fmla="*/ 2223053 w 4610101"/>
              <a:gd name="connsiteY2421" fmla="*/ 3769106 h 6557032"/>
              <a:gd name="connsiteX2422" fmla="*/ 2224876 w 4610101"/>
              <a:gd name="connsiteY2422" fmla="*/ 3820127 h 6557032"/>
              <a:gd name="connsiteX2423" fmla="*/ 2203010 w 4610101"/>
              <a:gd name="connsiteY2423" fmla="*/ 3836526 h 6557032"/>
              <a:gd name="connsiteX2424" fmla="*/ 2210298 w 4610101"/>
              <a:gd name="connsiteY2424" fmla="*/ 3851104 h 6557032"/>
              <a:gd name="connsiteX2425" fmla="*/ 2188432 w 4610101"/>
              <a:gd name="connsiteY2425" fmla="*/ 3851104 h 6557032"/>
              <a:gd name="connsiteX2426" fmla="*/ 2173855 w 4610101"/>
              <a:gd name="connsiteY2426" fmla="*/ 3843815 h 6557032"/>
              <a:gd name="connsiteX2427" fmla="*/ 2159277 w 4610101"/>
              <a:gd name="connsiteY2427" fmla="*/ 3851104 h 6557032"/>
              <a:gd name="connsiteX2428" fmla="*/ 2150166 w 4610101"/>
              <a:gd name="connsiteY2428" fmla="*/ 3836526 h 6557032"/>
              <a:gd name="connsiteX2429" fmla="*/ 2137411 w 4610101"/>
              <a:gd name="connsiteY2429" fmla="*/ 3843815 h 6557032"/>
              <a:gd name="connsiteX2430" fmla="*/ 2111901 w 4610101"/>
              <a:gd name="connsiteY2430" fmla="*/ 3821949 h 6557032"/>
              <a:gd name="connsiteX2431" fmla="*/ 2119190 w 4610101"/>
              <a:gd name="connsiteY2431" fmla="*/ 3807371 h 6557032"/>
              <a:gd name="connsiteX2432" fmla="*/ 2088213 w 4610101"/>
              <a:gd name="connsiteY2432" fmla="*/ 3790972 h 6557032"/>
              <a:gd name="connsiteX2433" fmla="*/ 2073635 w 4610101"/>
              <a:gd name="connsiteY2433" fmla="*/ 3800083 h 6557032"/>
              <a:gd name="connsiteX2434" fmla="*/ 2059058 w 4610101"/>
              <a:gd name="connsiteY2434" fmla="*/ 3792794 h 6557032"/>
              <a:gd name="connsiteX2435" fmla="*/ 2035369 w 4610101"/>
              <a:gd name="connsiteY2435" fmla="*/ 3792794 h 6557032"/>
              <a:gd name="connsiteX2436" fmla="*/ 2042658 w 4610101"/>
              <a:gd name="connsiteY2436" fmla="*/ 3805549 h 6557032"/>
              <a:gd name="connsiteX2437" fmla="*/ 2018971 w 4610101"/>
              <a:gd name="connsiteY2437" fmla="*/ 3814660 h 6557032"/>
              <a:gd name="connsiteX2438" fmla="*/ 2004392 w 4610101"/>
              <a:gd name="connsiteY2438" fmla="*/ 3807371 h 6557032"/>
              <a:gd name="connsiteX2439" fmla="*/ 2004392 w 4610101"/>
              <a:gd name="connsiteY2439" fmla="*/ 3821949 h 6557032"/>
              <a:gd name="connsiteX2440" fmla="*/ 1989814 w 4610101"/>
              <a:gd name="connsiteY2440" fmla="*/ 3821949 h 6557032"/>
              <a:gd name="connsiteX2441" fmla="*/ 1997103 w 4610101"/>
              <a:gd name="connsiteY2441" fmla="*/ 3790972 h 6557032"/>
              <a:gd name="connsiteX2442" fmla="*/ 1969770 w 4610101"/>
              <a:gd name="connsiteY2442" fmla="*/ 3754528 h 6557032"/>
              <a:gd name="connsiteX2443" fmla="*/ 2015325 w 4610101"/>
              <a:gd name="connsiteY2443" fmla="*/ 3701685 h 6557032"/>
              <a:gd name="connsiteX2444" fmla="*/ 2037193 w 4610101"/>
              <a:gd name="connsiteY2444" fmla="*/ 3705330 h 6557032"/>
              <a:gd name="connsiteX2445" fmla="*/ 2066348 w 4610101"/>
              <a:gd name="connsiteY2445" fmla="*/ 3716263 h 6557032"/>
              <a:gd name="connsiteX2446" fmla="*/ 2080924 w 4610101"/>
              <a:gd name="connsiteY2446" fmla="*/ 3703508 h 6557032"/>
              <a:gd name="connsiteX2447" fmla="*/ 2091857 w 4610101"/>
              <a:gd name="connsiteY2447" fmla="*/ 3710796 h 6557032"/>
              <a:gd name="connsiteX2448" fmla="*/ 2069991 w 4610101"/>
              <a:gd name="connsiteY2448" fmla="*/ 3732662 h 6557032"/>
              <a:gd name="connsiteX2449" fmla="*/ 2097323 w 4610101"/>
              <a:gd name="connsiteY2449" fmla="*/ 3761817 h 6557032"/>
              <a:gd name="connsiteX2450" fmla="*/ 2090035 w 4610101"/>
              <a:gd name="connsiteY2450" fmla="*/ 3783683 h 6557032"/>
              <a:gd name="connsiteX2451" fmla="*/ 2111901 w 4610101"/>
              <a:gd name="connsiteY2451" fmla="*/ 3792794 h 6557032"/>
              <a:gd name="connsiteX2452" fmla="*/ 2115545 w 4610101"/>
              <a:gd name="connsiteY2452" fmla="*/ 3770928 h 6557032"/>
              <a:gd name="connsiteX2453" fmla="*/ 2128300 w 4610101"/>
              <a:gd name="connsiteY2453" fmla="*/ 3739951 h 6557032"/>
              <a:gd name="connsiteX2454" fmla="*/ 2150166 w 4610101"/>
              <a:gd name="connsiteY2454" fmla="*/ 3730840 h 6557032"/>
              <a:gd name="connsiteX2455" fmla="*/ 2173855 w 4610101"/>
              <a:gd name="connsiteY2455" fmla="*/ 3729018 h 6557032"/>
              <a:gd name="connsiteX2456" fmla="*/ 2157455 w 4610101"/>
              <a:gd name="connsiteY2456" fmla="*/ 3707152 h 6557032"/>
              <a:gd name="connsiteX2457" fmla="*/ 2186610 w 4610101"/>
              <a:gd name="connsiteY2457" fmla="*/ 3699863 h 6557032"/>
              <a:gd name="connsiteX2458" fmla="*/ 2864458 w 4610101"/>
              <a:gd name="connsiteY2458" fmla="*/ 3698041 h 6557032"/>
              <a:gd name="connsiteX2459" fmla="*/ 2858991 w 4610101"/>
              <a:gd name="connsiteY2459" fmla="*/ 3730840 h 6557032"/>
              <a:gd name="connsiteX2460" fmla="*/ 2880857 w 4610101"/>
              <a:gd name="connsiteY2460" fmla="*/ 3707152 h 6557032"/>
              <a:gd name="connsiteX2461" fmla="*/ 2561977 w 4610101"/>
              <a:gd name="connsiteY2461" fmla="*/ 3698041 h 6557032"/>
              <a:gd name="connsiteX2462" fmla="*/ 2563799 w 4610101"/>
              <a:gd name="connsiteY2462" fmla="*/ 3714441 h 6557032"/>
              <a:gd name="connsiteX2463" fmla="*/ 2547399 w 4610101"/>
              <a:gd name="connsiteY2463" fmla="*/ 3712619 h 6557032"/>
              <a:gd name="connsiteX2464" fmla="*/ 2481801 w 4610101"/>
              <a:gd name="connsiteY2464" fmla="*/ 3698041 h 6557032"/>
              <a:gd name="connsiteX2465" fmla="*/ 2510956 w 4610101"/>
              <a:gd name="connsiteY2465" fmla="*/ 3718086 h 6557032"/>
              <a:gd name="connsiteX2466" fmla="*/ 2543755 w 4610101"/>
              <a:gd name="connsiteY2466" fmla="*/ 3723553 h 6557032"/>
              <a:gd name="connsiteX2467" fmla="*/ 2510957 w 4610101"/>
              <a:gd name="connsiteY2467" fmla="*/ 3752707 h 6557032"/>
              <a:gd name="connsiteX2468" fmla="*/ 2481802 w 4610101"/>
              <a:gd name="connsiteY2468" fmla="*/ 3767284 h 6557032"/>
              <a:gd name="connsiteX2469" fmla="*/ 2472691 w 4610101"/>
              <a:gd name="connsiteY2469" fmla="*/ 3752707 h 6557032"/>
              <a:gd name="connsiteX2470" fmla="*/ 2489089 w 4610101"/>
              <a:gd name="connsiteY2470" fmla="*/ 3745418 h 6557032"/>
              <a:gd name="connsiteX2471" fmla="*/ 2472690 w 4610101"/>
              <a:gd name="connsiteY2471" fmla="*/ 3729019 h 6557032"/>
              <a:gd name="connsiteX2472" fmla="*/ 2481801 w 4610101"/>
              <a:gd name="connsiteY2472" fmla="*/ 3698041 h 6557032"/>
              <a:gd name="connsiteX2473" fmla="*/ 2244919 w 4610101"/>
              <a:gd name="connsiteY2473" fmla="*/ 3698041 h 6557032"/>
              <a:gd name="connsiteX2474" fmla="*/ 2246741 w 4610101"/>
              <a:gd name="connsiteY2474" fmla="*/ 3714441 h 6557032"/>
              <a:gd name="connsiteX2475" fmla="*/ 2230341 w 4610101"/>
              <a:gd name="connsiteY2475" fmla="*/ 3712619 h 6557032"/>
              <a:gd name="connsiteX2476" fmla="*/ 4147269 w 4610101"/>
              <a:gd name="connsiteY2476" fmla="*/ 3692574 h 6557032"/>
              <a:gd name="connsiteX2477" fmla="*/ 4172780 w 4610101"/>
              <a:gd name="connsiteY2477" fmla="*/ 3694397 h 6557032"/>
              <a:gd name="connsiteX2478" fmla="*/ 4156380 w 4610101"/>
              <a:gd name="connsiteY2478" fmla="*/ 3707152 h 6557032"/>
              <a:gd name="connsiteX2479" fmla="*/ 3884874 w 4610101"/>
              <a:gd name="connsiteY2479" fmla="*/ 3692574 h 6557032"/>
              <a:gd name="connsiteX2480" fmla="*/ 3899452 w 4610101"/>
              <a:gd name="connsiteY2480" fmla="*/ 3692574 h 6557032"/>
              <a:gd name="connsiteX2481" fmla="*/ 3899452 w 4610101"/>
              <a:gd name="connsiteY2481" fmla="*/ 3714442 h 6557032"/>
              <a:gd name="connsiteX2482" fmla="*/ 3884874 w 4610101"/>
              <a:gd name="connsiteY2482" fmla="*/ 3692574 h 6557032"/>
              <a:gd name="connsiteX2483" fmla="*/ 2503668 w 4610101"/>
              <a:gd name="connsiteY2483" fmla="*/ 3692574 h 6557032"/>
              <a:gd name="connsiteX2484" fmla="*/ 2527357 w 4610101"/>
              <a:gd name="connsiteY2484" fmla="*/ 3694397 h 6557032"/>
              <a:gd name="connsiteX2485" fmla="*/ 2510957 w 4610101"/>
              <a:gd name="connsiteY2485" fmla="*/ 3707152 h 6557032"/>
              <a:gd name="connsiteX2486" fmla="*/ 2261319 w 4610101"/>
              <a:gd name="connsiteY2486" fmla="*/ 3692574 h 6557032"/>
              <a:gd name="connsiteX2487" fmla="*/ 2299585 w 4610101"/>
              <a:gd name="connsiteY2487" fmla="*/ 3692574 h 6557032"/>
              <a:gd name="connsiteX2488" fmla="*/ 2261319 w 4610101"/>
              <a:gd name="connsiteY2488" fmla="*/ 3714442 h 6557032"/>
              <a:gd name="connsiteX2489" fmla="*/ 1823996 w 4610101"/>
              <a:gd name="connsiteY2489" fmla="*/ 3692574 h 6557032"/>
              <a:gd name="connsiteX2490" fmla="*/ 1849507 w 4610101"/>
              <a:gd name="connsiteY2490" fmla="*/ 3694397 h 6557032"/>
              <a:gd name="connsiteX2491" fmla="*/ 1833107 w 4610101"/>
              <a:gd name="connsiteY2491" fmla="*/ 3707152 h 6557032"/>
              <a:gd name="connsiteX2492" fmla="*/ 2685884 w 4610101"/>
              <a:gd name="connsiteY2492" fmla="*/ 3690752 h 6557032"/>
              <a:gd name="connsiteX2493" fmla="*/ 2700461 w 4610101"/>
              <a:gd name="connsiteY2493" fmla="*/ 3690752 h 6557032"/>
              <a:gd name="connsiteX2494" fmla="*/ 2715039 w 4610101"/>
              <a:gd name="connsiteY2494" fmla="*/ 3721730 h 6557032"/>
              <a:gd name="connsiteX2495" fmla="*/ 2694995 w 4610101"/>
              <a:gd name="connsiteY2495" fmla="*/ 3721730 h 6557032"/>
              <a:gd name="connsiteX2496" fmla="*/ 2694995 w 4610101"/>
              <a:gd name="connsiteY2496" fmla="*/ 3741774 h 6557032"/>
              <a:gd name="connsiteX2497" fmla="*/ 2673129 w 4610101"/>
              <a:gd name="connsiteY2497" fmla="*/ 3741774 h 6557032"/>
              <a:gd name="connsiteX2498" fmla="*/ 2656729 w 4610101"/>
              <a:gd name="connsiteY2498" fmla="*/ 3719908 h 6557032"/>
              <a:gd name="connsiteX2499" fmla="*/ 2664018 w 4610101"/>
              <a:gd name="connsiteY2499" fmla="*/ 3712619 h 6557032"/>
              <a:gd name="connsiteX2500" fmla="*/ 2685884 w 4610101"/>
              <a:gd name="connsiteY2500" fmla="*/ 3690752 h 6557032"/>
              <a:gd name="connsiteX2501" fmla="*/ 1905994 w 4610101"/>
              <a:gd name="connsiteY2501" fmla="*/ 3690752 h 6557032"/>
              <a:gd name="connsiteX2502" fmla="*/ 1913282 w 4610101"/>
              <a:gd name="connsiteY2502" fmla="*/ 3705331 h 6557032"/>
              <a:gd name="connsiteX2503" fmla="*/ 1907816 w 4610101"/>
              <a:gd name="connsiteY2503" fmla="*/ 3714442 h 6557032"/>
              <a:gd name="connsiteX2504" fmla="*/ 1891417 w 4610101"/>
              <a:gd name="connsiteY2504" fmla="*/ 3705331 h 6557032"/>
              <a:gd name="connsiteX2505" fmla="*/ 2110079 w 4610101"/>
              <a:gd name="connsiteY2505" fmla="*/ 3683463 h 6557032"/>
              <a:gd name="connsiteX2506" fmla="*/ 2119190 w 4610101"/>
              <a:gd name="connsiteY2506" fmla="*/ 3699863 h 6557032"/>
              <a:gd name="connsiteX2507" fmla="*/ 2093679 w 4610101"/>
              <a:gd name="connsiteY2507" fmla="*/ 3698041 h 6557032"/>
              <a:gd name="connsiteX2508" fmla="*/ 954819 w 4610101"/>
              <a:gd name="connsiteY2508" fmla="*/ 3679819 h 6557032"/>
              <a:gd name="connsiteX2509" fmla="*/ 971221 w 4610101"/>
              <a:gd name="connsiteY2509" fmla="*/ 3692575 h 6557032"/>
              <a:gd name="connsiteX2510" fmla="*/ 963932 w 4610101"/>
              <a:gd name="connsiteY2510" fmla="*/ 3723553 h 6557032"/>
              <a:gd name="connsiteX2511" fmla="*/ 932953 w 4610101"/>
              <a:gd name="connsiteY2511" fmla="*/ 3714442 h 6557032"/>
              <a:gd name="connsiteX2512" fmla="*/ 932953 w 4610101"/>
              <a:gd name="connsiteY2512" fmla="*/ 3692575 h 6557032"/>
              <a:gd name="connsiteX2513" fmla="*/ 4356819 w 4610101"/>
              <a:gd name="connsiteY2513" fmla="*/ 3677997 h 6557032"/>
              <a:gd name="connsiteX2514" fmla="*/ 4382330 w 4610101"/>
              <a:gd name="connsiteY2514" fmla="*/ 3677997 h 6557032"/>
              <a:gd name="connsiteX2515" fmla="*/ 4373219 w 4610101"/>
              <a:gd name="connsiteY2515" fmla="*/ 3694397 h 6557032"/>
              <a:gd name="connsiteX2516" fmla="*/ 1741999 w 4610101"/>
              <a:gd name="connsiteY2516" fmla="*/ 3676175 h 6557032"/>
              <a:gd name="connsiteX2517" fmla="*/ 1734710 w 4610101"/>
              <a:gd name="connsiteY2517" fmla="*/ 3707153 h 6557032"/>
              <a:gd name="connsiteX2518" fmla="*/ 1711021 w 4610101"/>
              <a:gd name="connsiteY2518" fmla="*/ 3698042 h 6557032"/>
              <a:gd name="connsiteX2519" fmla="*/ 1448628 w 4610101"/>
              <a:gd name="connsiteY2519" fmla="*/ 3676175 h 6557032"/>
              <a:gd name="connsiteX2520" fmla="*/ 1470495 w 4610101"/>
              <a:gd name="connsiteY2520" fmla="*/ 3676175 h 6557032"/>
              <a:gd name="connsiteX2521" fmla="*/ 1470495 w 4610101"/>
              <a:gd name="connsiteY2521" fmla="*/ 3759995 h 6557032"/>
              <a:gd name="connsiteX2522" fmla="*/ 1417651 w 4610101"/>
              <a:gd name="connsiteY2522" fmla="*/ 3712619 h 6557032"/>
              <a:gd name="connsiteX2523" fmla="*/ 1417651 w 4610101"/>
              <a:gd name="connsiteY2523" fmla="*/ 3690753 h 6557032"/>
              <a:gd name="connsiteX2524" fmla="*/ 1448628 w 4610101"/>
              <a:gd name="connsiteY2524" fmla="*/ 3676175 h 6557032"/>
              <a:gd name="connsiteX2525" fmla="*/ 2556511 w 4610101"/>
              <a:gd name="connsiteY2525" fmla="*/ 3668886 h 6557032"/>
              <a:gd name="connsiteX2526" fmla="*/ 2571089 w 4610101"/>
              <a:gd name="connsiteY2526" fmla="*/ 3685286 h 6557032"/>
              <a:gd name="connsiteX2527" fmla="*/ 2547400 w 4610101"/>
              <a:gd name="connsiteY2527" fmla="*/ 3683463 h 6557032"/>
              <a:gd name="connsiteX2528" fmla="*/ 3799233 w 4610101"/>
              <a:gd name="connsiteY2528" fmla="*/ 3663420 h 6557032"/>
              <a:gd name="connsiteX2529" fmla="*/ 3777367 w 4610101"/>
              <a:gd name="connsiteY2529" fmla="*/ 3672531 h 6557032"/>
              <a:gd name="connsiteX2530" fmla="*/ 3777367 w 4610101"/>
              <a:gd name="connsiteY2530" fmla="*/ 3701685 h 6557032"/>
              <a:gd name="connsiteX2531" fmla="*/ 3784656 w 4610101"/>
              <a:gd name="connsiteY2531" fmla="*/ 3708974 h 6557032"/>
              <a:gd name="connsiteX2532" fmla="*/ 3770078 w 4610101"/>
              <a:gd name="connsiteY2532" fmla="*/ 3716263 h 6557032"/>
              <a:gd name="connsiteX2533" fmla="*/ 3770078 w 4610101"/>
              <a:gd name="connsiteY2533" fmla="*/ 3699863 h 6557032"/>
              <a:gd name="connsiteX2534" fmla="*/ 3746390 w 4610101"/>
              <a:gd name="connsiteY2534" fmla="*/ 3718085 h 6557032"/>
              <a:gd name="connsiteX2535" fmla="*/ 3784656 w 4610101"/>
              <a:gd name="connsiteY2535" fmla="*/ 3732662 h 6557032"/>
              <a:gd name="connsiteX2536" fmla="*/ 3799233 w 4610101"/>
              <a:gd name="connsiteY2536" fmla="*/ 3741773 h 6557032"/>
              <a:gd name="connsiteX2537" fmla="*/ 3790122 w 4610101"/>
              <a:gd name="connsiteY2537" fmla="*/ 3761817 h 6557032"/>
              <a:gd name="connsiteX2538" fmla="*/ 3813810 w 4610101"/>
              <a:gd name="connsiteY2538" fmla="*/ 3754528 h 6557032"/>
              <a:gd name="connsiteX2539" fmla="*/ 3813810 w 4610101"/>
              <a:gd name="connsiteY2539" fmla="*/ 3708974 h 6557032"/>
              <a:gd name="connsiteX2540" fmla="*/ 3806522 w 4610101"/>
              <a:gd name="connsiteY2540" fmla="*/ 3730840 h 6557032"/>
              <a:gd name="connsiteX2541" fmla="*/ 3784656 w 4610101"/>
              <a:gd name="connsiteY2541" fmla="*/ 3730840 h 6557032"/>
              <a:gd name="connsiteX2542" fmla="*/ 3784656 w 4610101"/>
              <a:gd name="connsiteY2542" fmla="*/ 3708974 h 6557032"/>
              <a:gd name="connsiteX2543" fmla="*/ 3806522 w 4610101"/>
              <a:gd name="connsiteY2543" fmla="*/ 3677997 h 6557032"/>
              <a:gd name="connsiteX2544" fmla="*/ 3799233 w 4610101"/>
              <a:gd name="connsiteY2544" fmla="*/ 3663420 h 6557032"/>
              <a:gd name="connsiteX2545" fmla="*/ 1357519 w 4610101"/>
              <a:gd name="connsiteY2545" fmla="*/ 3663419 h 6557032"/>
              <a:gd name="connsiteX2546" fmla="*/ 1357519 w 4610101"/>
              <a:gd name="connsiteY2546" fmla="*/ 3685286 h 6557032"/>
              <a:gd name="connsiteX2547" fmla="*/ 1335653 w 4610101"/>
              <a:gd name="connsiteY2547" fmla="*/ 3670709 h 6557032"/>
              <a:gd name="connsiteX2548" fmla="*/ 2525534 w 4610101"/>
              <a:gd name="connsiteY2548" fmla="*/ 3661597 h 6557032"/>
              <a:gd name="connsiteX2549" fmla="*/ 2532822 w 4610101"/>
              <a:gd name="connsiteY2549" fmla="*/ 3676176 h 6557032"/>
              <a:gd name="connsiteX2550" fmla="*/ 2523711 w 4610101"/>
              <a:gd name="connsiteY2550" fmla="*/ 3685287 h 6557032"/>
              <a:gd name="connsiteX2551" fmla="*/ 2510956 w 4610101"/>
              <a:gd name="connsiteY2551" fmla="*/ 3670709 h 6557032"/>
              <a:gd name="connsiteX2552" fmla="*/ 1922393 w 4610101"/>
              <a:gd name="connsiteY2552" fmla="*/ 3661597 h 6557032"/>
              <a:gd name="connsiteX2553" fmla="*/ 1936972 w 4610101"/>
              <a:gd name="connsiteY2553" fmla="*/ 3661597 h 6557032"/>
              <a:gd name="connsiteX2554" fmla="*/ 1935148 w 4610101"/>
              <a:gd name="connsiteY2554" fmla="*/ 3685287 h 6557032"/>
              <a:gd name="connsiteX2555" fmla="*/ 3476708 w 4610101"/>
              <a:gd name="connsiteY2555" fmla="*/ 3654309 h 6557032"/>
              <a:gd name="connsiteX2556" fmla="*/ 3476708 w 4610101"/>
              <a:gd name="connsiteY2556" fmla="*/ 3668886 h 6557032"/>
              <a:gd name="connsiteX2557" fmla="*/ 3491286 w 4610101"/>
              <a:gd name="connsiteY2557" fmla="*/ 3654309 h 6557032"/>
              <a:gd name="connsiteX2558" fmla="*/ 2828014 w 4610101"/>
              <a:gd name="connsiteY2558" fmla="*/ 3654309 h 6557032"/>
              <a:gd name="connsiteX2559" fmla="*/ 2828014 w 4610101"/>
              <a:gd name="connsiteY2559" fmla="*/ 3685286 h 6557032"/>
              <a:gd name="connsiteX2560" fmla="*/ 2828014 w 4610101"/>
              <a:gd name="connsiteY2560" fmla="*/ 3654309 h 6557032"/>
              <a:gd name="connsiteX2561" fmla="*/ 2472691 w 4610101"/>
              <a:gd name="connsiteY2561" fmla="*/ 3654309 h 6557032"/>
              <a:gd name="connsiteX2562" fmla="*/ 2479980 w 4610101"/>
              <a:gd name="connsiteY2562" fmla="*/ 3668888 h 6557032"/>
              <a:gd name="connsiteX2563" fmla="*/ 2470869 w 4610101"/>
              <a:gd name="connsiteY2563" fmla="*/ 3677999 h 6557032"/>
              <a:gd name="connsiteX2564" fmla="*/ 2458113 w 4610101"/>
              <a:gd name="connsiteY2564" fmla="*/ 3661599 h 6557032"/>
              <a:gd name="connsiteX2565" fmla="*/ 4154556 w 4610101"/>
              <a:gd name="connsiteY2565" fmla="*/ 3647020 h 6557032"/>
              <a:gd name="connsiteX2566" fmla="*/ 4172778 w 4610101"/>
              <a:gd name="connsiteY2566" fmla="*/ 3648843 h 6557032"/>
              <a:gd name="connsiteX2567" fmla="*/ 4156379 w 4610101"/>
              <a:gd name="connsiteY2567" fmla="*/ 3663420 h 6557032"/>
              <a:gd name="connsiteX2568" fmla="*/ 2261318 w 4610101"/>
              <a:gd name="connsiteY2568" fmla="*/ 3647020 h 6557032"/>
              <a:gd name="connsiteX2569" fmla="*/ 2261318 w 4610101"/>
              <a:gd name="connsiteY2569" fmla="*/ 3663420 h 6557032"/>
              <a:gd name="connsiteX2570" fmla="*/ 2244918 w 4610101"/>
              <a:gd name="connsiteY2570" fmla="*/ 3648843 h 6557032"/>
              <a:gd name="connsiteX2571" fmla="*/ 2142877 w 4610101"/>
              <a:gd name="connsiteY2571" fmla="*/ 3647020 h 6557032"/>
              <a:gd name="connsiteX2572" fmla="*/ 2164743 w 4610101"/>
              <a:gd name="connsiteY2572" fmla="*/ 3647020 h 6557032"/>
              <a:gd name="connsiteX2573" fmla="*/ 2160188 w 4610101"/>
              <a:gd name="connsiteY2573" fmla="*/ 3661143 h 6557032"/>
              <a:gd name="connsiteX2574" fmla="*/ 2161099 w 4610101"/>
              <a:gd name="connsiteY2574" fmla="*/ 3667064 h 6557032"/>
              <a:gd name="connsiteX2575" fmla="*/ 2161099 w 4610101"/>
              <a:gd name="connsiteY2575" fmla="*/ 3667065 h 6557032"/>
              <a:gd name="connsiteX2576" fmla="*/ 2150166 w 4610101"/>
              <a:gd name="connsiteY2576" fmla="*/ 3668888 h 6557032"/>
              <a:gd name="connsiteX2577" fmla="*/ 1900528 w 4610101"/>
              <a:gd name="connsiteY2577" fmla="*/ 3647020 h 6557032"/>
              <a:gd name="connsiteX2578" fmla="*/ 1898706 w 4610101"/>
              <a:gd name="connsiteY2578" fmla="*/ 3663420 h 6557032"/>
              <a:gd name="connsiteX2579" fmla="*/ 1884128 w 4610101"/>
              <a:gd name="connsiteY2579" fmla="*/ 3648843 h 6557032"/>
              <a:gd name="connsiteX2580" fmla="*/ 1499649 w 4610101"/>
              <a:gd name="connsiteY2580" fmla="*/ 3647020 h 6557032"/>
              <a:gd name="connsiteX2581" fmla="*/ 1516049 w 4610101"/>
              <a:gd name="connsiteY2581" fmla="*/ 3648843 h 6557032"/>
              <a:gd name="connsiteX2582" fmla="*/ 1501471 w 4610101"/>
              <a:gd name="connsiteY2582" fmla="*/ 3663420 h 6557032"/>
              <a:gd name="connsiteX2583" fmla="*/ 2893613 w 4610101"/>
              <a:gd name="connsiteY2583" fmla="*/ 3645198 h 6557032"/>
              <a:gd name="connsiteX2584" fmla="*/ 2879035 w 4610101"/>
              <a:gd name="connsiteY2584" fmla="*/ 3659775 h 6557032"/>
              <a:gd name="connsiteX2585" fmla="*/ 2895435 w 4610101"/>
              <a:gd name="connsiteY2585" fmla="*/ 3661597 h 6557032"/>
              <a:gd name="connsiteX2586" fmla="*/ 3649815 w 4610101"/>
              <a:gd name="connsiteY2586" fmla="*/ 3639731 h 6557032"/>
              <a:gd name="connsiteX2587" fmla="*/ 3649815 w 4610101"/>
              <a:gd name="connsiteY2587" fmla="*/ 3661597 h 6557032"/>
              <a:gd name="connsiteX2588" fmla="*/ 3666214 w 4610101"/>
              <a:gd name="connsiteY2588" fmla="*/ 3652487 h 6557032"/>
              <a:gd name="connsiteX2589" fmla="*/ 2795215 w 4610101"/>
              <a:gd name="connsiteY2589" fmla="*/ 3639731 h 6557032"/>
              <a:gd name="connsiteX2590" fmla="*/ 2778816 w 4610101"/>
              <a:gd name="connsiteY2590" fmla="*/ 3652487 h 6557032"/>
              <a:gd name="connsiteX2591" fmla="*/ 2766060 w 4610101"/>
              <a:gd name="connsiteY2591" fmla="*/ 3645198 h 6557032"/>
              <a:gd name="connsiteX2592" fmla="*/ 2766060 w 4610101"/>
              <a:gd name="connsiteY2592" fmla="*/ 3668886 h 6557032"/>
              <a:gd name="connsiteX2593" fmla="*/ 2751483 w 4610101"/>
              <a:gd name="connsiteY2593" fmla="*/ 3699863 h 6557032"/>
              <a:gd name="connsiteX2594" fmla="*/ 2773349 w 4610101"/>
              <a:gd name="connsiteY2594" fmla="*/ 3716263 h 6557032"/>
              <a:gd name="connsiteX2595" fmla="*/ 2782460 w 4610101"/>
              <a:gd name="connsiteY2595" fmla="*/ 3692574 h 6557032"/>
              <a:gd name="connsiteX2596" fmla="*/ 2773349 w 4610101"/>
              <a:gd name="connsiteY2596" fmla="*/ 3661597 h 6557032"/>
              <a:gd name="connsiteX2597" fmla="*/ 2804326 w 4610101"/>
              <a:gd name="connsiteY2597" fmla="*/ 3667064 h 6557032"/>
              <a:gd name="connsiteX2598" fmla="*/ 2809793 w 4610101"/>
              <a:gd name="connsiteY2598" fmla="*/ 3659775 h 6557032"/>
              <a:gd name="connsiteX2599" fmla="*/ 2352428 w 4610101"/>
              <a:gd name="connsiteY2599" fmla="*/ 3639731 h 6557032"/>
              <a:gd name="connsiteX2600" fmla="*/ 2357894 w 4610101"/>
              <a:gd name="connsiteY2600" fmla="*/ 3652487 h 6557032"/>
              <a:gd name="connsiteX2601" fmla="*/ 2350606 w 4610101"/>
              <a:gd name="connsiteY2601" fmla="*/ 3663421 h 6557032"/>
              <a:gd name="connsiteX2602" fmla="*/ 2336028 w 4610101"/>
              <a:gd name="connsiteY2602" fmla="*/ 3648843 h 6557032"/>
              <a:gd name="connsiteX2603" fmla="*/ 3855721 w 4610101"/>
              <a:gd name="connsiteY2603" fmla="*/ 3637909 h 6557032"/>
              <a:gd name="connsiteX2604" fmla="*/ 3868476 w 4610101"/>
              <a:gd name="connsiteY2604" fmla="*/ 3654309 h 6557032"/>
              <a:gd name="connsiteX2605" fmla="*/ 3846610 w 4610101"/>
              <a:gd name="connsiteY2605" fmla="*/ 3654309 h 6557032"/>
              <a:gd name="connsiteX2606" fmla="*/ 2321450 w 4610101"/>
              <a:gd name="connsiteY2606" fmla="*/ 3637909 h 6557032"/>
              <a:gd name="connsiteX2607" fmla="*/ 2321450 w 4610101"/>
              <a:gd name="connsiteY2607" fmla="*/ 3654309 h 6557032"/>
              <a:gd name="connsiteX2608" fmla="*/ 2305050 w 4610101"/>
              <a:gd name="connsiteY2608" fmla="*/ 3652487 h 6557032"/>
              <a:gd name="connsiteX2609" fmla="*/ 1250011 w 4610101"/>
              <a:gd name="connsiteY2609" fmla="*/ 3637909 h 6557032"/>
              <a:gd name="connsiteX2610" fmla="*/ 1288277 w 4610101"/>
              <a:gd name="connsiteY2610" fmla="*/ 3676175 h 6557032"/>
              <a:gd name="connsiteX2611" fmla="*/ 1280988 w 4610101"/>
              <a:gd name="connsiteY2611" fmla="*/ 3699863 h 6557032"/>
              <a:gd name="connsiteX2612" fmla="*/ 1288277 w 4610101"/>
              <a:gd name="connsiteY2612" fmla="*/ 3714441 h 6557032"/>
              <a:gd name="connsiteX2613" fmla="*/ 1286455 w 4610101"/>
              <a:gd name="connsiteY2613" fmla="*/ 3714441 h 6557032"/>
              <a:gd name="connsiteX2614" fmla="*/ 1286455 w 4610101"/>
              <a:gd name="connsiteY2614" fmla="*/ 3730840 h 6557032"/>
              <a:gd name="connsiteX2615" fmla="*/ 1279166 w 4610101"/>
              <a:gd name="connsiteY2615" fmla="*/ 3745418 h 6557032"/>
              <a:gd name="connsiteX2616" fmla="*/ 1255478 w 4610101"/>
              <a:gd name="connsiteY2616" fmla="*/ 3769106 h 6557032"/>
              <a:gd name="connsiteX2617" fmla="*/ 1271877 w 4610101"/>
              <a:gd name="connsiteY2617" fmla="*/ 3790972 h 6557032"/>
              <a:gd name="connsiteX2618" fmla="*/ 1262766 w 4610101"/>
              <a:gd name="connsiteY2618" fmla="*/ 3805549 h 6557032"/>
              <a:gd name="connsiteX2619" fmla="*/ 1268233 w 4610101"/>
              <a:gd name="connsiteY2619" fmla="*/ 3818305 h 6557032"/>
              <a:gd name="connsiteX2620" fmla="*/ 1264589 w 4610101"/>
              <a:gd name="connsiteY2620" fmla="*/ 3834704 h 6557032"/>
              <a:gd name="connsiteX2621" fmla="*/ 1233611 w 4610101"/>
              <a:gd name="connsiteY2621" fmla="*/ 3834704 h 6557032"/>
              <a:gd name="connsiteX2622" fmla="*/ 1202636 w 4610101"/>
              <a:gd name="connsiteY2622" fmla="*/ 3847459 h 6557032"/>
              <a:gd name="connsiteX2623" fmla="*/ 1219034 w 4610101"/>
              <a:gd name="connsiteY2623" fmla="*/ 3832882 h 6557032"/>
              <a:gd name="connsiteX2624" fmla="*/ 1213568 w 4610101"/>
              <a:gd name="connsiteY2624" fmla="*/ 3820127 h 6557032"/>
              <a:gd name="connsiteX2625" fmla="*/ 1226323 w 4610101"/>
              <a:gd name="connsiteY2625" fmla="*/ 3796439 h 6557032"/>
              <a:gd name="connsiteX2626" fmla="*/ 1220856 w 4610101"/>
              <a:gd name="connsiteY2626" fmla="*/ 3783683 h 6557032"/>
              <a:gd name="connsiteX2627" fmla="*/ 1233611 w 4610101"/>
              <a:gd name="connsiteY2627" fmla="*/ 3752706 h 6557032"/>
              <a:gd name="connsiteX2628" fmla="*/ 1202636 w 4610101"/>
              <a:gd name="connsiteY2628" fmla="*/ 3752706 h 6557032"/>
              <a:gd name="connsiteX2629" fmla="*/ 1188057 w 4610101"/>
              <a:gd name="connsiteY2629" fmla="*/ 3745418 h 6557032"/>
              <a:gd name="connsiteX2630" fmla="*/ 1157080 w 4610101"/>
              <a:gd name="connsiteY2630" fmla="*/ 3758173 h 6557032"/>
              <a:gd name="connsiteX2631" fmla="*/ 1180769 w 4610101"/>
              <a:gd name="connsiteY2631" fmla="*/ 3736307 h 6557032"/>
              <a:gd name="connsiteX2632" fmla="*/ 1180769 w 4610101"/>
              <a:gd name="connsiteY2632" fmla="*/ 3714441 h 6557032"/>
              <a:gd name="connsiteX2633" fmla="*/ 1158902 w 4610101"/>
              <a:gd name="connsiteY2633" fmla="*/ 3714441 h 6557032"/>
              <a:gd name="connsiteX2634" fmla="*/ 1188057 w 4610101"/>
              <a:gd name="connsiteY2634" fmla="*/ 3690752 h 6557032"/>
              <a:gd name="connsiteX2635" fmla="*/ 1197168 w 4610101"/>
              <a:gd name="connsiteY2635" fmla="*/ 3668886 h 6557032"/>
              <a:gd name="connsiteX2636" fmla="*/ 1197168 w 4610101"/>
              <a:gd name="connsiteY2636" fmla="*/ 3654309 h 6557032"/>
              <a:gd name="connsiteX2637" fmla="*/ 1211745 w 4610101"/>
              <a:gd name="connsiteY2637" fmla="*/ 3661598 h 6557032"/>
              <a:gd name="connsiteX2638" fmla="*/ 1220856 w 4610101"/>
              <a:gd name="connsiteY2638" fmla="*/ 3648842 h 6557032"/>
              <a:gd name="connsiteX2639" fmla="*/ 3926785 w 4610101"/>
              <a:gd name="connsiteY2639" fmla="*/ 3634265 h 6557032"/>
              <a:gd name="connsiteX2640" fmla="*/ 3935896 w 4610101"/>
              <a:gd name="connsiteY2640" fmla="*/ 3641554 h 6557032"/>
              <a:gd name="connsiteX2641" fmla="*/ 3919497 w 4610101"/>
              <a:gd name="connsiteY2641" fmla="*/ 3661598 h 6557032"/>
              <a:gd name="connsiteX2642" fmla="*/ 3935896 w 4610101"/>
              <a:gd name="connsiteY2642" fmla="*/ 3663420 h 6557032"/>
              <a:gd name="connsiteX2643" fmla="*/ 3935896 w 4610101"/>
              <a:gd name="connsiteY2643" fmla="*/ 3677998 h 6557032"/>
              <a:gd name="connsiteX2644" fmla="*/ 3972340 w 4610101"/>
              <a:gd name="connsiteY2644" fmla="*/ 3663420 h 6557032"/>
              <a:gd name="connsiteX2645" fmla="*/ 3981450 w 4610101"/>
              <a:gd name="connsiteY2645" fmla="*/ 3668887 h 6557032"/>
              <a:gd name="connsiteX2646" fmla="*/ 3974162 w 4610101"/>
              <a:gd name="connsiteY2646" fmla="*/ 3692575 h 6557032"/>
              <a:gd name="connsiteX2647" fmla="*/ 3935896 w 4610101"/>
              <a:gd name="connsiteY2647" fmla="*/ 3685286 h 6557032"/>
              <a:gd name="connsiteX2648" fmla="*/ 3945007 w 4610101"/>
              <a:gd name="connsiteY2648" fmla="*/ 3699864 h 6557032"/>
              <a:gd name="connsiteX2649" fmla="*/ 3921319 w 4610101"/>
              <a:gd name="connsiteY2649" fmla="*/ 3699864 h 6557032"/>
              <a:gd name="connsiteX2650" fmla="*/ 3928608 w 4610101"/>
              <a:gd name="connsiteY2650" fmla="*/ 3687108 h 6557032"/>
              <a:gd name="connsiteX2651" fmla="*/ 3906741 w 4610101"/>
              <a:gd name="connsiteY2651" fmla="*/ 3670709 h 6557032"/>
              <a:gd name="connsiteX2652" fmla="*/ 3906741 w 4610101"/>
              <a:gd name="connsiteY2652" fmla="*/ 3648843 h 6557032"/>
              <a:gd name="connsiteX2653" fmla="*/ 2858991 w 4610101"/>
              <a:gd name="connsiteY2653" fmla="*/ 3632443 h 6557032"/>
              <a:gd name="connsiteX2654" fmla="*/ 2851703 w 4610101"/>
              <a:gd name="connsiteY2654" fmla="*/ 3661597 h 6557032"/>
              <a:gd name="connsiteX2655" fmla="*/ 2871747 w 4610101"/>
              <a:gd name="connsiteY2655" fmla="*/ 3639731 h 6557032"/>
              <a:gd name="connsiteX2656" fmla="*/ 2186610 w 4610101"/>
              <a:gd name="connsiteY2656" fmla="*/ 3623332 h 6557032"/>
              <a:gd name="connsiteX2657" fmla="*/ 2179321 w 4610101"/>
              <a:gd name="connsiteY2657" fmla="*/ 3654310 h 6557032"/>
              <a:gd name="connsiteX2658" fmla="*/ 2170211 w 4610101"/>
              <a:gd name="connsiteY2658" fmla="*/ 3643377 h 6557032"/>
              <a:gd name="connsiteX2659" fmla="*/ 2155633 w 4610101"/>
              <a:gd name="connsiteY2659" fmla="*/ 3637910 h 6557032"/>
              <a:gd name="connsiteX2660" fmla="*/ 2186610 w 4610101"/>
              <a:gd name="connsiteY2660" fmla="*/ 3623332 h 6557032"/>
              <a:gd name="connsiteX2661" fmla="*/ 3673503 w 4610101"/>
              <a:gd name="connsiteY2661" fmla="*/ 3617865 h 6557032"/>
              <a:gd name="connsiteX2662" fmla="*/ 3673503 w 4610101"/>
              <a:gd name="connsiteY2662" fmla="*/ 3632443 h 6557032"/>
              <a:gd name="connsiteX2663" fmla="*/ 3688080 w 4610101"/>
              <a:gd name="connsiteY2663" fmla="*/ 3632443 h 6557032"/>
              <a:gd name="connsiteX2664" fmla="*/ 3649815 w 4610101"/>
              <a:gd name="connsiteY2664" fmla="*/ 3694397 h 6557032"/>
              <a:gd name="connsiteX2665" fmla="*/ 3688080 w 4610101"/>
              <a:gd name="connsiteY2665" fmla="*/ 3725373 h 6557032"/>
              <a:gd name="connsiteX2666" fmla="*/ 3682614 w 4610101"/>
              <a:gd name="connsiteY2666" fmla="*/ 3694397 h 6557032"/>
              <a:gd name="connsiteX2667" fmla="*/ 3697191 w 4610101"/>
              <a:gd name="connsiteY2667" fmla="*/ 3694397 h 6557032"/>
              <a:gd name="connsiteX2668" fmla="*/ 3682614 w 4610101"/>
              <a:gd name="connsiteY2668" fmla="*/ 3685286 h 6557032"/>
              <a:gd name="connsiteX2669" fmla="*/ 3704480 w 4610101"/>
              <a:gd name="connsiteY2669" fmla="*/ 3677997 h 6557032"/>
              <a:gd name="connsiteX2670" fmla="*/ 3720880 w 4610101"/>
              <a:gd name="connsiteY2670" fmla="*/ 3656131 h 6557032"/>
              <a:gd name="connsiteX2671" fmla="*/ 3697191 w 4610101"/>
              <a:gd name="connsiteY2671" fmla="*/ 3656131 h 6557032"/>
              <a:gd name="connsiteX2672" fmla="*/ 3704480 w 4610101"/>
              <a:gd name="connsiteY2672" fmla="*/ 3625154 h 6557032"/>
              <a:gd name="connsiteX2673" fmla="*/ 2208476 w 4610101"/>
              <a:gd name="connsiteY2673" fmla="*/ 3608754 h 6557032"/>
              <a:gd name="connsiteX2674" fmla="*/ 2239453 w 4610101"/>
              <a:gd name="connsiteY2674" fmla="*/ 3623333 h 6557032"/>
              <a:gd name="connsiteX2675" fmla="*/ 2246741 w 4610101"/>
              <a:gd name="connsiteY2675" fmla="*/ 3639732 h 6557032"/>
              <a:gd name="connsiteX2676" fmla="*/ 2230341 w 4610101"/>
              <a:gd name="connsiteY2676" fmla="*/ 3637909 h 6557032"/>
              <a:gd name="connsiteX2677" fmla="*/ 2239452 w 4610101"/>
              <a:gd name="connsiteY2677" fmla="*/ 3623333 h 6557032"/>
              <a:gd name="connsiteX2678" fmla="*/ 2223053 w 4610101"/>
              <a:gd name="connsiteY2678" fmla="*/ 3623333 h 6557032"/>
              <a:gd name="connsiteX2679" fmla="*/ 2210298 w 4610101"/>
              <a:gd name="connsiteY2679" fmla="*/ 3630621 h 6557032"/>
              <a:gd name="connsiteX2680" fmla="*/ 2201187 w 4610101"/>
              <a:gd name="connsiteY2680" fmla="*/ 3623333 h 6557032"/>
              <a:gd name="connsiteX2681" fmla="*/ 3919498 w 4610101"/>
              <a:gd name="connsiteY2681" fmla="*/ 3606932 h 6557032"/>
              <a:gd name="connsiteX2682" fmla="*/ 3928609 w 4610101"/>
              <a:gd name="connsiteY2682" fmla="*/ 3623332 h 6557032"/>
              <a:gd name="connsiteX2683" fmla="*/ 3904920 w 4610101"/>
              <a:gd name="connsiteY2683" fmla="*/ 3623332 h 6557032"/>
              <a:gd name="connsiteX2684" fmla="*/ 2764238 w 4610101"/>
              <a:gd name="connsiteY2684" fmla="*/ 3606932 h 6557032"/>
              <a:gd name="connsiteX2685" fmla="*/ 2751483 w 4610101"/>
              <a:gd name="connsiteY2685" fmla="*/ 3623332 h 6557032"/>
              <a:gd name="connsiteX2686" fmla="*/ 2736906 w 4610101"/>
              <a:gd name="connsiteY2686" fmla="*/ 3623332 h 6557032"/>
              <a:gd name="connsiteX2687" fmla="*/ 2715040 w 4610101"/>
              <a:gd name="connsiteY2687" fmla="*/ 3661597 h 6557032"/>
              <a:gd name="connsiteX2688" fmla="*/ 2729617 w 4610101"/>
              <a:gd name="connsiteY2688" fmla="*/ 3668886 h 6557032"/>
              <a:gd name="connsiteX2689" fmla="*/ 2746016 w 4610101"/>
              <a:gd name="connsiteY2689" fmla="*/ 3632443 h 6557032"/>
              <a:gd name="connsiteX2690" fmla="*/ 2751483 w 4610101"/>
              <a:gd name="connsiteY2690" fmla="*/ 3623332 h 6557032"/>
              <a:gd name="connsiteX2691" fmla="*/ 2766060 w 4610101"/>
              <a:gd name="connsiteY2691" fmla="*/ 3630620 h 6557032"/>
              <a:gd name="connsiteX2692" fmla="*/ 2315984 w 4610101"/>
              <a:gd name="connsiteY2692" fmla="*/ 3606932 h 6557032"/>
              <a:gd name="connsiteX2693" fmla="*/ 2330561 w 4610101"/>
              <a:gd name="connsiteY2693" fmla="*/ 3625155 h 6557032"/>
              <a:gd name="connsiteX2694" fmla="*/ 2308695 w 4610101"/>
              <a:gd name="connsiteY2694" fmla="*/ 3632444 h 6557032"/>
              <a:gd name="connsiteX2695" fmla="*/ 1973416 w 4610101"/>
              <a:gd name="connsiteY2695" fmla="*/ 3606932 h 6557032"/>
              <a:gd name="connsiteX2696" fmla="*/ 1975237 w 4610101"/>
              <a:gd name="connsiteY2696" fmla="*/ 3623332 h 6557032"/>
              <a:gd name="connsiteX2697" fmla="*/ 1958837 w 4610101"/>
              <a:gd name="connsiteY2697" fmla="*/ 3623332 h 6557032"/>
              <a:gd name="connsiteX2698" fmla="*/ 4072560 w 4610101"/>
              <a:gd name="connsiteY2698" fmla="*/ 3601465 h 6557032"/>
              <a:gd name="connsiteX2699" fmla="*/ 4087137 w 4610101"/>
              <a:gd name="connsiteY2699" fmla="*/ 3608754 h 6557032"/>
              <a:gd name="connsiteX2700" fmla="*/ 4103536 w 4610101"/>
              <a:gd name="connsiteY2700" fmla="*/ 3601465 h 6557032"/>
              <a:gd name="connsiteX2701" fmla="*/ 4101714 w 4610101"/>
              <a:gd name="connsiteY2701" fmla="*/ 3617865 h 6557032"/>
              <a:gd name="connsiteX2702" fmla="*/ 4087138 w 4610101"/>
              <a:gd name="connsiteY2702" fmla="*/ 3608755 h 6557032"/>
              <a:gd name="connsiteX2703" fmla="*/ 4082155 w 4610101"/>
              <a:gd name="connsiteY2703" fmla="*/ 3617182 h 6557032"/>
              <a:gd name="connsiteX2704" fmla="*/ 4063449 w 4610101"/>
              <a:gd name="connsiteY2704" fmla="*/ 3623333 h 6557032"/>
              <a:gd name="connsiteX2705" fmla="*/ 2676774 w 4610101"/>
              <a:gd name="connsiteY2705" fmla="*/ 3601465 h 6557032"/>
              <a:gd name="connsiteX2706" fmla="*/ 2667663 w 4610101"/>
              <a:gd name="connsiteY2706" fmla="*/ 3617865 h 6557032"/>
              <a:gd name="connsiteX2707" fmla="*/ 2653086 w 4610101"/>
              <a:gd name="connsiteY2707" fmla="*/ 3603288 h 6557032"/>
              <a:gd name="connsiteX2708" fmla="*/ 2080923 w 4610101"/>
              <a:gd name="connsiteY2708" fmla="*/ 3601465 h 6557032"/>
              <a:gd name="connsiteX2709" fmla="*/ 2111900 w 4610101"/>
              <a:gd name="connsiteY2709" fmla="*/ 3617865 h 6557032"/>
              <a:gd name="connsiteX2710" fmla="*/ 2124655 w 4610101"/>
              <a:gd name="connsiteY2710" fmla="*/ 3606932 h 6557032"/>
              <a:gd name="connsiteX2711" fmla="*/ 2102790 w 4610101"/>
              <a:gd name="connsiteY2711" fmla="*/ 3659775 h 6557032"/>
              <a:gd name="connsiteX2712" fmla="*/ 2066346 w 4610101"/>
              <a:gd name="connsiteY2712" fmla="*/ 3614221 h 6557032"/>
              <a:gd name="connsiteX2713" fmla="*/ 2080923 w 4610101"/>
              <a:gd name="connsiteY2713" fmla="*/ 3623332 h 6557032"/>
              <a:gd name="connsiteX2714" fmla="*/ 1816707 w 4610101"/>
              <a:gd name="connsiteY2714" fmla="*/ 3601465 h 6557032"/>
              <a:gd name="connsiteX2715" fmla="*/ 1849507 w 4610101"/>
              <a:gd name="connsiteY2715" fmla="*/ 3603289 h 6557032"/>
              <a:gd name="connsiteX2716" fmla="*/ 1825818 w 4610101"/>
              <a:gd name="connsiteY2716" fmla="*/ 3625155 h 6557032"/>
              <a:gd name="connsiteX2717" fmla="*/ 1771154 w 4610101"/>
              <a:gd name="connsiteY2717" fmla="*/ 3601465 h 6557032"/>
              <a:gd name="connsiteX2718" fmla="*/ 1778441 w 4610101"/>
              <a:gd name="connsiteY2718" fmla="*/ 3623333 h 6557032"/>
              <a:gd name="connsiteX2719" fmla="*/ 1756575 w 4610101"/>
              <a:gd name="connsiteY2719" fmla="*/ 3623333 h 6557032"/>
              <a:gd name="connsiteX2720" fmla="*/ 1771154 w 4610101"/>
              <a:gd name="connsiteY2720" fmla="*/ 3601465 h 6557032"/>
              <a:gd name="connsiteX2721" fmla="*/ 1712844 w 4610101"/>
              <a:gd name="connsiteY2721" fmla="*/ 3601465 h 6557032"/>
              <a:gd name="connsiteX2722" fmla="*/ 1701911 w 4610101"/>
              <a:gd name="connsiteY2722" fmla="*/ 3617865 h 6557032"/>
              <a:gd name="connsiteX2723" fmla="*/ 1687333 w 4610101"/>
              <a:gd name="connsiteY2723" fmla="*/ 3603288 h 6557032"/>
              <a:gd name="connsiteX2724" fmla="*/ 3642526 w 4610101"/>
              <a:gd name="connsiteY2724" fmla="*/ 3594177 h 6557032"/>
              <a:gd name="connsiteX2725" fmla="*/ 3618838 w 4610101"/>
              <a:gd name="connsiteY2725" fmla="*/ 3595999 h 6557032"/>
              <a:gd name="connsiteX2726" fmla="*/ 3633415 w 4610101"/>
              <a:gd name="connsiteY2726" fmla="*/ 3610576 h 6557032"/>
              <a:gd name="connsiteX2727" fmla="*/ 2014414 w 4610101"/>
              <a:gd name="connsiteY2727" fmla="*/ 3594177 h 6557032"/>
              <a:gd name="connsiteX2728" fmla="*/ 2028080 w 4610101"/>
              <a:gd name="connsiteY2728" fmla="*/ 3601465 h 6557032"/>
              <a:gd name="connsiteX2729" fmla="*/ 2049946 w 4610101"/>
              <a:gd name="connsiteY2729" fmla="*/ 3594177 h 6557032"/>
              <a:gd name="connsiteX2730" fmla="*/ 2059057 w 4610101"/>
              <a:gd name="connsiteY2730" fmla="*/ 3617866 h 6557032"/>
              <a:gd name="connsiteX2731" fmla="*/ 2059057 w 4610101"/>
              <a:gd name="connsiteY2731" fmla="*/ 3625154 h 6557032"/>
              <a:gd name="connsiteX2732" fmla="*/ 2051769 w 4610101"/>
              <a:gd name="connsiteY2732" fmla="*/ 3647021 h 6557032"/>
              <a:gd name="connsiteX2733" fmla="*/ 2028080 w 4610101"/>
              <a:gd name="connsiteY2733" fmla="*/ 3639732 h 6557032"/>
              <a:gd name="connsiteX2734" fmla="*/ 2006214 w 4610101"/>
              <a:gd name="connsiteY2734" fmla="*/ 3608755 h 6557032"/>
              <a:gd name="connsiteX2735" fmla="*/ 2014414 w 4610101"/>
              <a:gd name="connsiteY2735" fmla="*/ 3594177 h 6557032"/>
              <a:gd name="connsiteX2736" fmla="*/ 3595150 w 4610101"/>
              <a:gd name="connsiteY2736" fmla="*/ 3592355 h 6557032"/>
              <a:gd name="connsiteX2737" fmla="*/ 3580572 w 4610101"/>
              <a:gd name="connsiteY2737" fmla="*/ 3606932 h 6557032"/>
              <a:gd name="connsiteX2738" fmla="*/ 3596972 w 4610101"/>
              <a:gd name="connsiteY2738" fmla="*/ 3616043 h 6557032"/>
              <a:gd name="connsiteX2739" fmla="*/ 2727795 w 4610101"/>
              <a:gd name="connsiteY2739" fmla="*/ 3585066 h 6557032"/>
              <a:gd name="connsiteX2740" fmla="*/ 2711395 w 4610101"/>
              <a:gd name="connsiteY2740" fmla="*/ 3599644 h 6557032"/>
              <a:gd name="connsiteX2741" fmla="*/ 2736906 w 4610101"/>
              <a:gd name="connsiteY2741" fmla="*/ 3601466 h 6557032"/>
              <a:gd name="connsiteX2742" fmla="*/ 2148343 w 4610101"/>
              <a:gd name="connsiteY2742" fmla="*/ 3579599 h 6557032"/>
              <a:gd name="connsiteX2743" fmla="*/ 2164743 w 4610101"/>
              <a:gd name="connsiteY2743" fmla="*/ 3594177 h 6557032"/>
              <a:gd name="connsiteX2744" fmla="*/ 2148343 w 4610101"/>
              <a:gd name="connsiteY2744" fmla="*/ 3594177 h 6557032"/>
              <a:gd name="connsiteX2745" fmla="*/ 3535018 w 4610101"/>
              <a:gd name="connsiteY2745" fmla="*/ 3577778 h 6557032"/>
              <a:gd name="connsiteX2746" fmla="*/ 3520440 w 4610101"/>
              <a:gd name="connsiteY2746" fmla="*/ 3592355 h 6557032"/>
              <a:gd name="connsiteX2747" fmla="*/ 3535018 w 4610101"/>
              <a:gd name="connsiteY2747" fmla="*/ 3599644 h 6557032"/>
              <a:gd name="connsiteX2748" fmla="*/ 3544129 w 4610101"/>
              <a:gd name="connsiteY2748" fmla="*/ 3594177 h 6557032"/>
              <a:gd name="connsiteX2749" fmla="*/ 1793019 w 4610101"/>
              <a:gd name="connsiteY2749" fmla="*/ 3577777 h 6557032"/>
              <a:gd name="connsiteX2750" fmla="*/ 1800307 w 4610101"/>
              <a:gd name="connsiteY2750" fmla="*/ 3592355 h 6557032"/>
              <a:gd name="connsiteX2751" fmla="*/ 1793019 w 4610101"/>
              <a:gd name="connsiteY2751" fmla="*/ 3601466 h 6557032"/>
              <a:gd name="connsiteX2752" fmla="*/ 1778441 w 4610101"/>
              <a:gd name="connsiteY2752" fmla="*/ 3592355 h 6557032"/>
              <a:gd name="connsiteX2753" fmla="*/ 630473 w 4610101"/>
              <a:gd name="connsiteY2753" fmla="*/ 3577777 h 6557032"/>
              <a:gd name="connsiteX2754" fmla="*/ 639583 w 4610101"/>
              <a:gd name="connsiteY2754" fmla="*/ 3592355 h 6557032"/>
              <a:gd name="connsiteX2755" fmla="*/ 632296 w 4610101"/>
              <a:gd name="connsiteY2755" fmla="*/ 3601466 h 6557032"/>
              <a:gd name="connsiteX2756" fmla="*/ 615895 w 4610101"/>
              <a:gd name="connsiteY2756" fmla="*/ 3592355 h 6557032"/>
              <a:gd name="connsiteX2757" fmla="*/ 2352427 w 4610101"/>
              <a:gd name="connsiteY2757" fmla="*/ 3570488 h 6557032"/>
              <a:gd name="connsiteX2758" fmla="*/ 2390693 w 4610101"/>
              <a:gd name="connsiteY2758" fmla="*/ 3570488 h 6557032"/>
              <a:gd name="connsiteX2759" fmla="*/ 2390693 w 4610101"/>
              <a:gd name="connsiteY2759" fmla="*/ 3592355 h 6557032"/>
              <a:gd name="connsiteX2760" fmla="*/ 2352427 w 4610101"/>
              <a:gd name="connsiteY2760" fmla="*/ 3570488 h 6557032"/>
              <a:gd name="connsiteX2761" fmla="*/ 1953827 w 4610101"/>
              <a:gd name="connsiteY2761" fmla="*/ 3570034 h 6557032"/>
              <a:gd name="connsiteX2762" fmla="*/ 1967948 w 4610101"/>
              <a:gd name="connsiteY2762" fmla="*/ 3579600 h 6557032"/>
              <a:gd name="connsiteX2763" fmla="*/ 1967948 w 4610101"/>
              <a:gd name="connsiteY2763" fmla="*/ 3579599 h 6557032"/>
              <a:gd name="connsiteX2764" fmla="*/ 1982527 w 4610101"/>
              <a:gd name="connsiteY2764" fmla="*/ 3594177 h 6557032"/>
              <a:gd name="connsiteX2765" fmla="*/ 1967948 w 4610101"/>
              <a:gd name="connsiteY2765" fmla="*/ 3594177 h 6557032"/>
              <a:gd name="connsiteX2766" fmla="*/ 1967948 w 4610101"/>
              <a:gd name="connsiteY2766" fmla="*/ 3579603 h 6557032"/>
              <a:gd name="connsiteX2767" fmla="*/ 1960659 w 4610101"/>
              <a:gd name="connsiteY2767" fmla="*/ 3601467 h 6557032"/>
              <a:gd name="connsiteX2768" fmla="*/ 1946083 w 4610101"/>
              <a:gd name="connsiteY2768" fmla="*/ 3601467 h 6557032"/>
              <a:gd name="connsiteX2769" fmla="*/ 1936972 w 4610101"/>
              <a:gd name="connsiteY2769" fmla="*/ 3579601 h 6557032"/>
              <a:gd name="connsiteX2770" fmla="*/ 1953827 w 4610101"/>
              <a:gd name="connsiteY2770" fmla="*/ 3570034 h 6557032"/>
              <a:gd name="connsiteX2771" fmla="*/ 3416577 w 4610101"/>
              <a:gd name="connsiteY2771" fmla="*/ 3563200 h 6557032"/>
              <a:gd name="connsiteX2772" fmla="*/ 3392888 w 4610101"/>
              <a:gd name="connsiteY2772" fmla="*/ 3565022 h 6557032"/>
              <a:gd name="connsiteX2773" fmla="*/ 3407466 w 4610101"/>
              <a:gd name="connsiteY2773" fmla="*/ 3579600 h 6557032"/>
              <a:gd name="connsiteX2774" fmla="*/ 2330560 w 4610101"/>
              <a:gd name="connsiteY2774" fmla="*/ 3563200 h 6557032"/>
              <a:gd name="connsiteX2775" fmla="*/ 2337849 w 4610101"/>
              <a:gd name="connsiteY2775" fmla="*/ 3586890 h 6557032"/>
              <a:gd name="connsiteX2776" fmla="*/ 2321449 w 4610101"/>
              <a:gd name="connsiteY2776" fmla="*/ 3577779 h 6557032"/>
              <a:gd name="connsiteX2777" fmla="*/ 4132691 w 4610101"/>
              <a:gd name="connsiteY2777" fmla="*/ 3557733 h 6557032"/>
              <a:gd name="connsiteX2778" fmla="*/ 4154557 w 4610101"/>
              <a:gd name="connsiteY2778" fmla="*/ 3557733 h 6557032"/>
              <a:gd name="connsiteX2779" fmla="*/ 4154557 w 4610101"/>
              <a:gd name="connsiteY2779" fmla="*/ 3579600 h 6557032"/>
              <a:gd name="connsiteX2780" fmla="*/ 4132691 w 4610101"/>
              <a:gd name="connsiteY2780" fmla="*/ 3579600 h 6557032"/>
              <a:gd name="connsiteX2781" fmla="*/ 4132691 w 4610101"/>
              <a:gd name="connsiteY2781" fmla="*/ 3557733 h 6557032"/>
              <a:gd name="connsiteX2782" fmla="*/ 3724523 w 4610101"/>
              <a:gd name="connsiteY2782" fmla="*/ 3557733 h 6557032"/>
              <a:gd name="connsiteX2783" fmla="*/ 3746390 w 4610101"/>
              <a:gd name="connsiteY2783" fmla="*/ 3557733 h 6557032"/>
              <a:gd name="connsiteX2784" fmla="*/ 3764611 w 4610101"/>
              <a:gd name="connsiteY2784" fmla="*/ 3579599 h 6557032"/>
              <a:gd name="connsiteX2785" fmla="*/ 3757322 w 4610101"/>
              <a:gd name="connsiteY2785" fmla="*/ 3599643 h 6557032"/>
              <a:gd name="connsiteX2786" fmla="*/ 3784655 w 4610101"/>
              <a:gd name="connsiteY2786" fmla="*/ 3632442 h 6557032"/>
              <a:gd name="connsiteX2787" fmla="*/ 3757750 w 4610101"/>
              <a:gd name="connsiteY2787" fmla="*/ 3626805 h 6557032"/>
              <a:gd name="connsiteX2788" fmla="*/ 3746954 w 4610101"/>
              <a:gd name="connsiteY2788" fmla="*/ 3618309 h 6557032"/>
              <a:gd name="connsiteX2789" fmla="*/ 3739102 w 4610101"/>
              <a:gd name="connsiteY2789" fmla="*/ 3632443 h 6557032"/>
              <a:gd name="connsiteX2790" fmla="*/ 3724524 w 4610101"/>
              <a:gd name="connsiteY2790" fmla="*/ 3616043 h 6557032"/>
              <a:gd name="connsiteX2791" fmla="*/ 3744113 w 4610101"/>
              <a:gd name="connsiteY2791" fmla="*/ 3616043 h 6557032"/>
              <a:gd name="connsiteX2792" fmla="*/ 3737279 w 4610101"/>
              <a:gd name="connsiteY2792" fmla="*/ 3610576 h 6557032"/>
              <a:gd name="connsiteX2793" fmla="*/ 3746390 w 4610101"/>
              <a:gd name="connsiteY2793" fmla="*/ 3595999 h 6557032"/>
              <a:gd name="connsiteX2794" fmla="*/ 3724523 w 4610101"/>
              <a:gd name="connsiteY2794" fmla="*/ 3557733 h 6557032"/>
              <a:gd name="connsiteX2795" fmla="*/ 4019717 w 4610101"/>
              <a:gd name="connsiteY2795" fmla="*/ 3555911 h 6557032"/>
              <a:gd name="connsiteX2796" fmla="*/ 4010606 w 4610101"/>
              <a:gd name="connsiteY2796" fmla="*/ 3572311 h 6557032"/>
              <a:gd name="connsiteX2797" fmla="*/ 3996028 w 4610101"/>
              <a:gd name="connsiteY2797" fmla="*/ 3557734 h 6557032"/>
              <a:gd name="connsiteX2798" fmla="*/ 1499649 w 4610101"/>
              <a:gd name="connsiteY2798" fmla="*/ 3555911 h 6557032"/>
              <a:gd name="connsiteX2799" fmla="*/ 1521516 w 4610101"/>
              <a:gd name="connsiteY2799" fmla="*/ 3572312 h 6557032"/>
              <a:gd name="connsiteX2800" fmla="*/ 1492360 w 4610101"/>
              <a:gd name="connsiteY2800" fmla="*/ 3579601 h 6557032"/>
              <a:gd name="connsiteX2801" fmla="*/ 1060505 w 4610101"/>
              <a:gd name="connsiteY2801" fmla="*/ 3550445 h 6557032"/>
              <a:gd name="connsiteX2802" fmla="*/ 1091484 w 4610101"/>
              <a:gd name="connsiteY2802" fmla="*/ 3555912 h 6557032"/>
              <a:gd name="connsiteX2803" fmla="*/ 1091484 w 4610101"/>
              <a:gd name="connsiteY2803" fmla="*/ 3577778 h 6557032"/>
              <a:gd name="connsiteX2804" fmla="*/ 1084195 w 4610101"/>
              <a:gd name="connsiteY2804" fmla="*/ 3594177 h 6557032"/>
              <a:gd name="connsiteX2805" fmla="*/ 1091484 w 4610101"/>
              <a:gd name="connsiteY2805" fmla="*/ 3606932 h 6557032"/>
              <a:gd name="connsiteX2806" fmla="*/ 1064151 w 4610101"/>
              <a:gd name="connsiteY2806" fmla="*/ 3614221 h 6557032"/>
              <a:gd name="connsiteX2807" fmla="*/ 1038639 w 4610101"/>
              <a:gd name="connsiteY2807" fmla="*/ 3594177 h 6557032"/>
              <a:gd name="connsiteX2808" fmla="*/ 1038639 w 4610101"/>
              <a:gd name="connsiteY2808" fmla="*/ 3572311 h 6557032"/>
              <a:gd name="connsiteX2809" fmla="*/ 3203382 w 4610101"/>
              <a:gd name="connsiteY2809" fmla="*/ 3546800 h 6557032"/>
              <a:gd name="connsiteX2810" fmla="*/ 3188805 w 4610101"/>
              <a:gd name="connsiteY2810" fmla="*/ 3561378 h 6557032"/>
              <a:gd name="connsiteX2811" fmla="*/ 3205204 w 4610101"/>
              <a:gd name="connsiteY2811" fmla="*/ 3570489 h 6557032"/>
              <a:gd name="connsiteX2812" fmla="*/ 3830209 w 4610101"/>
              <a:gd name="connsiteY2812" fmla="*/ 3541334 h 6557032"/>
              <a:gd name="connsiteX2813" fmla="*/ 3839320 w 4610101"/>
              <a:gd name="connsiteY2813" fmla="*/ 3546802 h 6557032"/>
              <a:gd name="connsiteX2814" fmla="*/ 3846609 w 4610101"/>
              <a:gd name="connsiteY2814" fmla="*/ 3555912 h 6557032"/>
              <a:gd name="connsiteX2815" fmla="*/ 3830209 w 4610101"/>
              <a:gd name="connsiteY2815" fmla="*/ 3563201 h 6557032"/>
              <a:gd name="connsiteX2816" fmla="*/ 3527729 w 4610101"/>
              <a:gd name="connsiteY2816" fmla="*/ 3541334 h 6557032"/>
              <a:gd name="connsiteX2817" fmla="*/ 3505863 w 4610101"/>
              <a:gd name="connsiteY2817" fmla="*/ 3555911 h 6557032"/>
              <a:gd name="connsiteX2818" fmla="*/ 3513152 w 4610101"/>
              <a:gd name="connsiteY2818" fmla="*/ 3572311 h 6557032"/>
              <a:gd name="connsiteX2819" fmla="*/ 3527729 w 4610101"/>
              <a:gd name="connsiteY2819" fmla="*/ 3541334 h 6557032"/>
              <a:gd name="connsiteX2820" fmla="*/ 1989814 w 4610101"/>
              <a:gd name="connsiteY2820" fmla="*/ 3541334 h 6557032"/>
              <a:gd name="connsiteX2821" fmla="*/ 2006214 w 4610101"/>
              <a:gd name="connsiteY2821" fmla="*/ 3541334 h 6557032"/>
              <a:gd name="connsiteX2822" fmla="*/ 1989814 w 4610101"/>
              <a:gd name="connsiteY2822" fmla="*/ 3563201 h 6557032"/>
              <a:gd name="connsiteX2823" fmla="*/ 1809420 w 4610101"/>
              <a:gd name="connsiteY2823" fmla="*/ 3541334 h 6557032"/>
              <a:gd name="connsiteX2824" fmla="*/ 1825818 w 4610101"/>
              <a:gd name="connsiteY2824" fmla="*/ 3548624 h 6557032"/>
              <a:gd name="connsiteX2825" fmla="*/ 1811241 w 4610101"/>
              <a:gd name="connsiteY2825" fmla="*/ 3570490 h 6557032"/>
              <a:gd name="connsiteX2826" fmla="*/ 1802130 w 4610101"/>
              <a:gd name="connsiteY2826" fmla="*/ 3548624 h 6557032"/>
              <a:gd name="connsiteX2827" fmla="*/ 3770079 w 4610101"/>
              <a:gd name="connsiteY2827" fmla="*/ 3534045 h 6557032"/>
              <a:gd name="connsiteX2828" fmla="*/ 3806522 w 4610101"/>
              <a:gd name="connsiteY2828" fmla="*/ 3565023 h 6557032"/>
              <a:gd name="connsiteX2829" fmla="*/ 3753679 w 4610101"/>
              <a:gd name="connsiteY2829" fmla="*/ 3546801 h 6557032"/>
              <a:gd name="connsiteX2830" fmla="*/ 3152361 w 4610101"/>
              <a:gd name="connsiteY2830" fmla="*/ 3534045 h 6557032"/>
              <a:gd name="connsiteX2831" fmla="*/ 3152361 w 4610101"/>
              <a:gd name="connsiteY2831" fmla="*/ 3555911 h 6557032"/>
              <a:gd name="connsiteX2832" fmla="*/ 3166939 w 4610101"/>
              <a:gd name="connsiteY2832" fmla="*/ 3555911 h 6557032"/>
              <a:gd name="connsiteX2833" fmla="*/ 3152361 w 4610101"/>
              <a:gd name="connsiteY2833" fmla="*/ 3534045 h 6557032"/>
              <a:gd name="connsiteX2834" fmla="*/ 3001121 w 4610101"/>
              <a:gd name="connsiteY2834" fmla="*/ 3534045 h 6557032"/>
              <a:gd name="connsiteX2835" fmla="*/ 2984721 w 4610101"/>
              <a:gd name="connsiteY2835" fmla="*/ 3535868 h 6557032"/>
              <a:gd name="connsiteX2836" fmla="*/ 2999299 w 4610101"/>
              <a:gd name="connsiteY2836" fmla="*/ 3550445 h 6557032"/>
              <a:gd name="connsiteX2837" fmla="*/ 3739102 w 4610101"/>
              <a:gd name="connsiteY2837" fmla="*/ 3532223 h 6557032"/>
              <a:gd name="connsiteX2838" fmla="*/ 3748213 w 4610101"/>
              <a:gd name="connsiteY2838" fmla="*/ 3548623 h 6557032"/>
              <a:gd name="connsiteX2839" fmla="*/ 3724524 w 4610101"/>
              <a:gd name="connsiteY2839" fmla="*/ 3546800 h 6557032"/>
              <a:gd name="connsiteX2840" fmla="*/ 2806148 w 4610101"/>
              <a:gd name="connsiteY2840" fmla="*/ 3532223 h 6557032"/>
              <a:gd name="connsiteX2841" fmla="*/ 2811615 w 4610101"/>
              <a:gd name="connsiteY2841" fmla="*/ 3563200 h 6557032"/>
              <a:gd name="connsiteX2842" fmla="*/ 2797037 w 4610101"/>
              <a:gd name="connsiteY2842" fmla="*/ 3555911 h 6557032"/>
              <a:gd name="connsiteX2843" fmla="*/ 2798860 w 4610101"/>
              <a:gd name="connsiteY2843" fmla="*/ 3579600 h 6557032"/>
              <a:gd name="connsiteX2844" fmla="*/ 2813437 w 4610101"/>
              <a:gd name="connsiteY2844" fmla="*/ 3563200 h 6557032"/>
              <a:gd name="connsiteX2845" fmla="*/ 2828014 w 4610101"/>
              <a:gd name="connsiteY2845" fmla="*/ 3532223 h 6557032"/>
              <a:gd name="connsiteX2846" fmla="*/ 1567070 w 4610101"/>
              <a:gd name="connsiteY2846" fmla="*/ 3532223 h 6557032"/>
              <a:gd name="connsiteX2847" fmla="*/ 1576181 w 4610101"/>
              <a:gd name="connsiteY2847" fmla="*/ 3548623 h 6557032"/>
              <a:gd name="connsiteX2848" fmla="*/ 1550670 w 4610101"/>
              <a:gd name="connsiteY2848" fmla="*/ 3546800 h 6557032"/>
              <a:gd name="connsiteX2849" fmla="*/ 2006214 w 4610101"/>
              <a:gd name="connsiteY2849" fmla="*/ 3526756 h 6557032"/>
              <a:gd name="connsiteX2850" fmla="*/ 2018741 w 4610101"/>
              <a:gd name="connsiteY2850" fmla="*/ 3529945 h 6557032"/>
              <a:gd name="connsiteX2851" fmla="*/ 2024435 w 4610101"/>
              <a:gd name="connsiteY2851" fmla="*/ 3530401 h 6557032"/>
              <a:gd name="connsiteX2852" fmla="*/ 2024436 w 4610101"/>
              <a:gd name="connsiteY2852" fmla="*/ 3530401 h 6557032"/>
              <a:gd name="connsiteX2853" fmla="*/ 2028080 w 4610101"/>
              <a:gd name="connsiteY2853" fmla="*/ 3541334 h 6557032"/>
              <a:gd name="connsiteX2854" fmla="*/ 2006214 w 4610101"/>
              <a:gd name="connsiteY2854" fmla="*/ 3541334 h 6557032"/>
              <a:gd name="connsiteX2855" fmla="*/ 1681866 w 4610101"/>
              <a:gd name="connsiteY2855" fmla="*/ 3526756 h 6557032"/>
              <a:gd name="connsiteX2856" fmla="*/ 1696444 w 4610101"/>
              <a:gd name="connsiteY2856" fmla="*/ 3526756 h 6557032"/>
              <a:gd name="connsiteX2857" fmla="*/ 1696444 w 4610101"/>
              <a:gd name="connsiteY2857" fmla="*/ 3526756 h 6557032"/>
              <a:gd name="connsiteX2858" fmla="*/ 1681866 w 4610101"/>
              <a:gd name="connsiteY2858" fmla="*/ 3541334 h 6557032"/>
              <a:gd name="connsiteX2859" fmla="*/ 3467597 w 4610101"/>
              <a:gd name="connsiteY2859" fmla="*/ 3524934 h 6557032"/>
              <a:gd name="connsiteX2860" fmla="*/ 3453020 w 4610101"/>
              <a:gd name="connsiteY2860" fmla="*/ 3539512 h 6557032"/>
              <a:gd name="connsiteX2861" fmla="*/ 3467597 w 4610101"/>
              <a:gd name="connsiteY2861" fmla="*/ 3546800 h 6557032"/>
              <a:gd name="connsiteX2862" fmla="*/ 3476708 w 4610101"/>
              <a:gd name="connsiteY2862" fmla="*/ 3541334 h 6557032"/>
              <a:gd name="connsiteX2863" fmla="*/ 2549222 w 4610101"/>
              <a:gd name="connsiteY2863" fmla="*/ 3524934 h 6557032"/>
              <a:gd name="connsiteX2864" fmla="*/ 2536466 w 4610101"/>
              <a:gd name="connsiteY2864" fmla="*/ 3541334 h 6557032"/>
              <a:gd name="connsiteX2865" fmla="*/ 2534644 w 4610101"/>
              <a:gd name="connsiteY2865" fmla="*/ 3541334 h 6557032"/>
              <a:gd name="connsiteX2866" fmla="*/ 2521889 w 4610101"/>
              <a:gd name="connsiteY2866" fmla="*/ 3541334 h 6557032"/>
              <a:gd name="connsiteX2867" fmla="*/ 2507312 w 4610101"/>
              <a:gd name="connsiteY2867" fmla="*/ 3563200 h 6557032"/>
              <a:gd name="connsiteX2868" fmla="*/ 2507312 w 4610101"/>
              <a:gd name="connsiteY2868" fmla="*/ 3548623 h 6557032"/>
              <a:gd name="connsiteX2869" fmla="*/ 2476335 w 4610101"/>
              <a:gd name="connsiteY2869" fmla="*/ 3548623 h 6557032"/>
              <a:gd name="connsiteX2870" fmla="*/ 2476335 w 4610101"/>
              <a:gd name="connsiteY2870" fmla="*/ 3570489 h 6557032"/>
              <a:gd name="connsiteX2871" fmla="*/ 2492734 w 4610101"/>
              <a:gd name="connsiteY2871" fmla="*/ 3570489 h 6557032"/>
              <a:gd name="connsiteX2872" fmla="*/ 2483624 w 4610101"/>
              <a:gd name="connsiteY2872" fmla="*/ 3592355 h 6557032"/>
              <a:gd name="connsiteX2873" fmla="*/ 2505490 w 4610101"/>
              <a:gd name="connsiteY2873" fmla="*/ 3594177 h 6557032"/>
              <a:gd name="connsiteX2874" fmla="*/ 2521889 w 4610101"/>
              <a:gd name="connsiteY2874" fmla="*/ 3608754 h 6557032"/>
              <a:gd name="connsiteX2875" fmla="*/ 2536466 w 4610101"/>
              <a:gd name="connsiteY2875" fmla="*/ 3577778 h 6557032"/>
              <a:gd name="connsiteX2876" fmla="*/ 2529178 w 4610101"/>
              <a:gd name="connsiteY2876" fmla="*/ 3565022 h 6557032"/>
              <a:gd name="connsiteX2877" fmla="*/ 2534644 w 4610101"/>
              <a:gd name="connsiteY2877" fmla="*/ 3555911 h 6557032"/>
              <a:gd name="connsiteX2878" fmla="*/ 2534644 w 4610101"/>
              <a:gd name="connsiteY2878" fmla="*/ 3541334 h 6557032"/>
              <a:gd name="connsiteX2879" fmla="*/ 2541933 w 4610101"/>
              <a:gd name="connsiteY2879" fmla="*/ 3563200 h 6557032"/>
              <a:gd name="connsiteX2880" fmla="*/ 2549222 w 4610101"/>
              <a:gd name="connsiteY2880" fmla="*/ 3524934 h 6557032"/>
              <a:gd name="connsiteX2881" fmla="*/ 2873569 w 4610101"/>
              <a:gd name="connsiteY2881" fmla="*/ 3519468 h 6557032"/>
              <a:gd name="connsiteX2882" fmla="*/ 2873569 w 4610101"/>
              <a:gd name="connsiteY2882" fmla="*/ 3541334 h 6557032"/>
              <a:gd name="connsiteX2883" fmla="*/ 2888146 w 4610101"/>
              <a:gd name="connsiteY2883" fmla="*/ 3541334 h 6557032"/>
              <a:gd name="connsiteX2884" fmla="*/ 2888146 w 4610101"/>
              <a:gd name="connsiteY2884" fmla="*/ 3519468 h 6557032"/>
              <a:gd name="connsiteX2885" fmla="*/ 1189880 w 4610101"/>
              <a:gd name="connsiteY2885" fmla="*/ 3519468 h 6557032"/>
              <a:gd name="connsiteX2886" fmla="*/ 1220858 w 4610101"/>
              <a:gd name="connsiteY2886" fmla="*/ 3586889 h 6557032"/>
              <a:gd name="connsiteX2887" fmla="*/ 1198991 w 4610101"/>
              <a:gd name="connsiteY2887" fmla="*/ 3594177 h 6557032"/>
              <a:gd name="connsiteX2888" fmla="*/ 1191703 w 4610101"/>
              <a:gd name="connsiteY2888" fmla="*/ 3643376 h 6557032"/>
              <a:gd name="connsiteX2889" fmla="*/ 1197169 w 4610101"/>
              <a:gd name="connsiteY2889" fmla="*/ 3652487 h 6557032"/>
              <a:gd name="connsiteX2890" fmla="*/ 1166191 w 4610101"/>
              <a:gd name="connsiteY2890" fmla="*/ 3683464 h 6557032"/>
              <a:gd name="connsiteX2891" fmla="*/ 1120637 w 4610101"/>
              <a:gd name="connsiteY2891" fmla="*/ 3683464 h 6557032"/>
              <a:gd name="connsiteX2892" fmla="*/ 1129748 w 4610101"/>
              <a:gd name="connsiteY2892" fmla="*/ 3654309 h 6557032"/>
              <a:gd name="connsiteX2893" fmla="*/ 1113348 w 4610101"/>
              <a:gd name="connsiteY2893" fmla="*/ 3654309 h 6557032"/>
              <a:gd name="connsiteX2894" fmla="*/ 1124281 w 4610101"/>
              <a:gd name="connsiteY2894" fmla="*/ 3610577 h 6557032"/>
              <a:gd name="connsiteX2895" fmla="*/ 1138859 w 4610101"/>
              <a:gd name="connsiteY2895" fmla="*/ 3594177 h 6557032"/>
              <a:gd name="connsiteX2896" fmla="*/ 1129748 w 4610101"/>
              <a:gd name="connsiteY2896" fmla="*/ 3579600 h 6557032"/>
              <a:gd name="connsiteX2897" fmla="*/ 1131570 w 4610101"/>
              <a:gd name="connsiteY2897" fmla="*/ 3559556 h 6557032"/>
              <a:gd name="connsiteX2898" fmla="*/ 1160725 w 4610101"/>
              <a:gd name="connsiteY2898" fmla="*/ 3528579 h 6557032"/>
              <a:gd name="connsiteX2899" fmla="*/ 2962855 w 4610101"/>
              <a:gd name="connsiteY2899" fmla="*/ 3517646 h 6557032"/>
              <a:gd name="connsiteX2900" fmla="*/ 2948278 w 4610101"/>
              <a:gd name="connsiteY2900" fmla="*/ 3548623 h 6557032"/>
              <a:gd name="connsiteX2901" fmla="*/ 2971966 w 4610101"/>
              <a:gd name="connsiteY2901" fmla="*/ 3546800 h 6557032"/>
              <a:gd name="connsiteX2902" fmla="*/ 2280013 w 4610101"/>
              <a:gd name="connsiteY2902" fmla="*/ 3517646 h 6557032"/>
              <a:gd name="connsiteX2903" fmla="*/ 2285007 w 4610101"/>
              <a:gd name="connsiteY2903" fmla="*/ 3517646 h 6557032"/>
              <a:gd name="connsiteX2904" fmla="*/ 2276123 w 4610101"/>
              <a:gd name="connsiteY2904" fmla="*/ 3528011 h 6557032"/>
              <a:gd name="connsiteX2905" fmla="*/ 2279199 w 4610101"/>
              <a:gd name="connsiteY2905" fmla="*/ 3520294 h 6557032"/>
              <a:gd name="connsiteX2906" fmla="*/ 2280451 w 4610101"/>
              <a:gd name="connsiteY2906" fmla="*/ 3518329 h 6557032"/>
              <a:gd name="connsiteX2907" fmla="*/ 1922394 w 4610101"/>
              <a:gd name="connsiteY2907" fmla="*/ 3517646 h 6557032"/>
              <a:gd name="connsiteX2908" fmla="*/ 1946083 w 4610101"/>
              <a:gd name="connsiteY2908" fmla="*/ 3534047 h 6557032"/>
              <a:gd name="connsiteX2909" fmla="*/ 1922394 w 4610101"/>
              <a:gd name="connsiteY2909" fmla="*/ 3555913 h 6557032"/>
              <a:gd name="connsiteX2910" fmla="*/ 1922394 w 4610101"/>
              <a:gd name="connsiteY2910" fmla="*/ 3517646 h 6557032"/>
              <a:gd name="connsiteX2911" fmla="*/ 1884129 w 4610101"/>
              <a:gd name="connsiteY2911" fmla="*/ 3517646 h 6557032"/>
              <a:gd name="connsiteX2912" fmla="*/ 1862262 w 4610101"/>
              <a:gd name="connsiteY2912" fmla="*/ 3555913 h 6557032"/>
              <a:gd name="connsiteX2913" fmla="*/ 1853151 w 4610101"/>
              <a:gd name="connsiteY2913" fmla="*/ 3523114 h 6557032"/>
              <a:gd name="connsiteX2914" fmla="*/ 1807598 w 4610101"/>
              <a:gd name="connsiteY2914" fmla="*/ 3517646 h 6557032"/>
              <a:gd name="connsiteX2915" fmla="*/ 1816707 w 4610101"/>
              <a:gd name="connsiteY2915" fmla="*/ 3534046 h 6557032"/>
              <a:gd name="connsiteX2916" fmla="*/ 1793019 w 4610101"/>
              <a:gd name="connsiteY2916" fmla="*/ 3532224 h 6557032"/>
              <a:gd name="connsiteX2917" fmla="*/ 2181143 w 4610101"/>
              <a:gd name="connsiteY2917" fmla="*/ 3515824 h 6557032"/>
              <a:gd name="connsiteX2918" fmla="*/ 2181143 w 4610101"/>
              <a:gd name="connsiteY2918" fmla="*/ 3537690 h 6557032"/>
              <a:gd name="connsiteX2919" fmla="*/ 2171812 w 4610101"/>
              <a:gd name="connsiteY2919" fmla="*/ 3537690 h 6557032"/>
              <a:gd name="connsiteX2920" fmla="*/ 2173399 w 4610101"/>
              <a:gd name="connsiteY2920" fmla="*/ 3539056 h 6557032"/>
              <a:gd name="connsiteX2921" fmla="*/ 2176132 w 4610101"/>
              <a:gd name="connsiteY2921" fmla="*/ 3547769 h 6557032"/>
              <a:gd name="connsiteX2922" fmla="*/ 2177248 w 4610101"/>
              <a:gd name="connsiteY2922" fmla="*/ 3561853 h 6557032"/>
              <a:gd name="connsiteX2923" fmla="*/ 2188431 w 4610101"/>
              <a:gd name="connsiteY2923" fmla="*/ 3552267 h 6557032"/>
              <a:gd name="connsiteX2924" fmla="*/ 2181143 w 4610101"/>
              <a:gd name="connsiteY2924" fmla="*/ 3537690 h 6557032"/>
              <a:gd name="connsiteX2925" fmla="*/ 2195720 w 4610101"/>
              <a:gd name="connsiteY2925" fmla="*/ 3537690 h 6557032"/>
              <a:gd name="connsiteX2926" fmla="*/ 2195720 w 4610101"/>
              <a:gd name="connsiteY2926" fmla="*/ 3515824 h 6557032"/>
              <a:gd name="connsiteX2927" fmla="*/ 2121011 w 4610101"/>
              <a:gd name="connsiteY2927" fmla="*/ 3514001 h 6557032"/>
              <a:gd name="connsiteX2928" fmla="*/ 2122273 w 4610101"/>
              <a:gd name="connsiteY2928" fmla="*/ 3514562 h 6557032"/>
              <a:gd name="connsiteX2929" fmla="*/ 2121315 w 4610101"/>
              <a:gd name="connsiteY2929" fmla="*/ 3515520 h 6557032"/>
              <a:gd name="connsiteX2930" fmla="*/ 3649815 w 4610101"/>
              <a:gd name="connsiteY2930" fmla="*/ 3510357 h 6557032"/>
              <a:gd name="connsiteX2931" fmla="*/ 3673504 w 4610101"/>
              <a:gd name="connsiteY2931" fmla="*/ 3510357 h 6557032"/>
              <a:gd name="connsiteX2932" fmla="*/ 3649815 w 4610101"/>
              <a:gd name="connsiteY2932" fmla="*/ 3534047 h 6557032"/>
              <a:gd name="connsiteX2933" fmla="*/ 3589683 w 4610101"/>
              <a:gd name="connsiteY2933" fmla="*/ 3510357 h 6557032"/>
              <a:gd name="connsiteX2934" fmla="*/ 3611549 w 4610101"/>
              <a:gd name="connsiteY2934" fmla="*/ 3510357 h 6557032"/>
              <a:gd name="connsiteX2935" fmla="*/ 3611549 w 4610101"/>
              <a:gd name="connsiteY2935" fmla="*/ 3532224 h 6557032"/>
              <a:gd name="connsiteX2936" fmla="*/ 3589683 w 4610101"/>
              <a:gd name="connsiteY2936" fmla="*/ 3532224 h 6557032"/>
              <a:gd name="connsiteX2937" fmla="*/ 3046675 w 4610101"/>
              <a:gd name="connsiteY2937" fmla="*/ 3510357 h 6557032"/>
              <a:gd name="connsiteX2938" fmla="*/ 3022987 w 4610101"/>
              <a:gd name="connsiteY2938" fmla="*/ 3512179 h 6557032"/>
              <a:gd name="connsiteX2939" fmla="*/ 3037564 w 4610101"/>
              <a:gd name="connsiteY2939" fmla="*/ 3526757 h 6557032"/>
              <a:gd name="connsiteX2940" fmla="*/ 1689155 w 4610101"/>
              <a:gd name="connsiteY2940" fmla="*/ 3510357 h 6557032"/>
              <a:gd name="connsiteX2941" fmla="*/ 1712844 w 4610101"/>
              <a:gd name="connsiteY2941" fmla="*/ 3512180 h 6557032"/>
              <a:gd name="connsiteX2942" fmla="*/ 1696444 w 4610101"/>
              <a:gd name="connsiteY2942" fmla="*/ 3526757 h 6557032"/>
              <a:gd name="connsiteX2943" fmla="*/ 1696444 w 4610101"/>
              <a:gd name="connsiteY2943" fmla="*/ 3526756 h 6557032"/>
              <a:gd name="connsiteX2944" fmla="*/ 1696444 w 4610101"/>
              <a:gd name="connsiteY2944" fmla="*/ 3526756 h 6557032"/>
              <a:gd name="connsiteX2945" fmla="*/ 1696444 w 4610101"/>
              <a:gd name="connsiteY2945" fmla="*/ 3526756 h 6557032"/>
              <a:gd name="connsiteX2946" fmla="*/ 1439518 w 4610101"/>
              <a:gd name="connsiteY2946" fmla="*/ 3510357 h 6557032"/>
              <a:gd name="connsiteX2947" fmla="*/ 1455917 w 4610101"/>
              <a:gd name="connsiteY2947" fmla="*/ 3512180 h 6557032"/>
              <a:gd name="connsiteX2948" fmla="*/ 1441340 w 4610101"/>
              <a:gd name="connsiteY2948" fmla="*/ 3526757 h 6557032"/>
              <a:gd name="connsiteX2949" fmla="*/ 2151988 w 4610101"/>
              <a:gd name="connsiteY2949" fmla="*/ 3506713 h 6557032"/>
              <a:gd name="connsiteX2950" fmla="*/ 2154719 w 4610101"/>
              <a:gd name="connsiteY2950" fmla="*/ 3510357 h 6557032"/>
              <a:gd name="connsiteX2951" fmla="*/ 2145914 w 4610101"/>
              <a:gd name="connsiteY2951" fmla="*/ 3510357 h 6557032"/>
              <a:gd name="connsiteX2952" fmla="*/ 3883052 w 4610101"/>
              <a:gd name="connsiteY2952" fmla="*/ 3503068 h 6557032"/>
              <a:gd name="connsiteX2953" fmla="*/ 3897629 w 4610101"/>
              <a:gd name="connsiteY2953" fmla="*/ 3534046 h 6557032"/>
              <a:gd name="connsiteX2954" fmla="*/ 3883052 w 4610101"/>
              <a:gd name="connsiteY2954" fmla="*/ 3503068 h 6557032"/>
              <a:gd name="connsiteX2955" fmla="*/ 1280988 w 4610101"/>
              <a:gd name="connsiteY2955" fmla="*/ 3503068 h 6557032"/>
              <a:gd name="connsiteX2956" fmla="*/ 1288278 w 4610101"/>
              <a:gd name="connsiteY2956" fmla="*/ 3534046 h 6557032"/>
              <a:gd name="connsiteX2957" fmla="*/ 1259122 w 4610101"/>
              <a:gd name="connsiteY2957" fmla="*/ 3512180 h 6557032"/>
              <a:gd name="connsiteX2958" fmla="*/ 2155632 w 4610101"/>
              <a:gd name="connsiteY2958" fmla="*/ 3499425 h 6557032"/>
              <a:gd name="connsiteX2959" fmla="*/ 2155632 w 4610101"/>
              <a:gd name="connsiteY2959" fmla="*/ 3506433 h 6557032"/>
              <a:gd name="connsiteX2960" fmla="*/ 2151988 w 4610101"/>
              <a:gd name="connsiteY2960" fmla="*/ 3506713 h 6557032"/>
              <a:gd name="connsiteX2961" fmla="*/ 2427136 w 4610101"/>
              <a:gd name="connsiteY2961" fmla="*/ 3499424 h 6557032"/>
              <a:gd name="connsiteX2962" fmla="*/ 2396159 w 4610101"/>
              <a:gd name="connsiteY2962" fmla="*/ 3506713 h 6557032"/>
              <a:gd name="connsiteX2963" fmla="*/ 2396159 w 4610101"/>
              <a:gd name="connsiteY2963" fmla="*/ 3512179 h 6557032"/>
              <a:gd name="connsiteX2964" fmla="*/ 2419847 w 4610101"/>
              <a:gd name="connsiteY2964" fmla="*/ 3512179 h 6557032"/>
              <a:gd name="connsiteX2965" fmla="*/ 2412559 w 4610101"/>
              <a:gd name="connsiteY2965" fmla="*/ 3524934 h 6557032"/>
              <a:gd name="connsiteX2966" fmla="*/ 2427136 w 4610101"/>
              <a:gd name="connsiteY2966" fmla="*/ 3541334 h 6557032"/>
              <a:gd name="connsiteX2967" fmla="*/ 2441713 w 4610101"/>
              <a:gd name="connsiteY2967" fmla="*/ 3537690 h 6557032"/>
              <a:gd name="connsiteX2968" fmla="*/ 2465402 w 4610101"/>
              <a:gd name="connsiteY2968" fmla="*/ 3541334 h 6557032"/>
              <a:gd name="connsiteX2969" fmla="*/ 3935895 w 4610101"/>
              <a:gd name="connsiteY2969" fmla="*/ 3495780 h 6557032"/>
              <a:gd name="connsiteX2970" fmla="*/ 3954117 w 4610101"/>
              <a:gd name="connsiteY2970" fmla="*/ 3497602 h 6557032"/>
              <a:gd name="connsiteX2971" fmla="*/ 3935895 w 4610101"/>
              <a:gd name="connsiteY2971" fmla="*/ 3510357 h 6557032"/>
              <a:gd name="connsiteX2972" fmla="*/ 3664393 w 4610101"/>
              <a:gd name="connsiteY2972" fmla="*/ 3495780 h 6557032"/>
              <a:gd name="connsiteX2973" fmla="*/ 3689904 w 4610101"/>
              <a:gd name="connsiteY2973" fmla="*/ 3497602 h 6557032"/>
              <a:gd name="connsiteX2974" fmla="*/ 3673504 w 4610101"/>
              <a:gd name="connsiteY2974" fmla="*/ 3510357 h 6557032"/>
              <a:gd name="connsiteX2975" fmla="*/ 1115170 w 4610101"/>
              <a:gd name="connsiteY2975" fmla="*/ 3495780 h 6557032"/>
              <a:gd name="connsiteX2976" fmla="*/ 1138860 w 4610101"/>
              <a:gd name="connsiteY2976" fmla="*/ 3495780 h 6557032"/>
              <a:gd name="connsiteX2977" fmla="*/ 1129748 w 4610101"/>
              <a:gd name="connsiteY2977" fmla="*/ 3548624 h 6557032"/>
              <a:gd name="connsiteX2978" fmla="*/ 1093304 w 4610101"/>
              <a:gd name="connsiteY2978" fmla="*/ 3517647 h 6557032"/>
              <a:gd name="connsiteX2979" fmla="*/ 1115170 w 4610101"/>
              <a:gd name="connsiteY2979" fmla="*/ 3495780 h 6557032"/>
              <a:gd name="connsiteX2980" fmla="*/ 3695370 w 4610101"/>
              <a:gd name="connsiteY2980" fmla="*/ 3493957 h 6557032"/>
              <a:gd name="connsiteX2981" fmla="*/ 3717236 w 4610101"/>
              <a:gd name="connsiteY2981" fmla="*/ 3510357 h 6557032"/>
              <a:gd name="connsiteX2982" fmla="*/ 3708125 w 4610101"/>
              <a:gd name="connsiteY2982" fmla="*/ 3523112 h 6557032"/>
              <a:gd name="connsiteX2983" fmla="*/ 3713592 w 4610101"/>
              <a:gd name="connsiteY2983" fmla="*/ 3544978 h 6557032"/>
              <a:gd name="connsiteX2984" fmla="*/ 3700837 w 4610101"/>
              <a:gd name="connsiteY2984" fmla="*/ 3561378 h 6557032"/>
              <a:gd name="connsiteX2985" fmla="*/ 3664393 w 4610101"/>
              <a:gd name="connsiteY2985" fmla="*/ 3546800 h 6557032"/>
              <a:gd name="connsiteX2986" fmla="*/ 3671682 w 4610101"/>
              <a:gd name="connsiteY2986" fmla="*/ 3524934 h 6557032"/>
              <a:gd name="connsiteX2987" fmla="*/ 3686259 w 4610101"/>
              <a:gd name="connsiteY2987" fmla="*/ 3524934 h 6557032"/>
              <a:gd name="connsiteX2988" fmla="*/ 3678970 w 4610101"/>
              <a:gd name="connsiteY2988" fmla="*/ 3539512 h 6557032"/>
              <a:gd name="connsiteX2989" fmla="*/ 3702659 w 4610101"/>
              <a:gd name="connsiteY2989" fmla="*/ 3537689 h 6557032"/>
              <a:gd name="connsiteX2990" fmla="*/ 3686259 w 4610101"/>
              <a:gd name="connsiteY2990" fmla="*/ 3524934 h 6557032"/>
              <a:gd name="connsiteX2991" fmla="*/ 2713217 w 4610101"/>
              <a:gd name="connsiteY2991" fmla="*/ 3493957 h 6557032"/>
              <a:gd name="connsiteX2992" fmla="*/ 2698640 w 4610101"/>
              <a:gd name="connsiteY2992" fmla="*/ 3508535 h 6557032"/>
              <a:gd name="connsiteX2993" fmla="*/ 2715040 w 4610101"/>
              <a:gd name="connsiteY2993" fmla="*/ 3510357 h 6557032"/>
              <a:gd name="connsiteX2994" fmla="*/ 1494183 w 4610101"/>
              <a:gd name="connsiteY2994" fmla="*/ 3493957 h 6557032"/>
              <a:gd name="connsiteX2995" fmla="*/ 1514228 w 4610101"/>
              <a:gd name="connsiteY2995" fmla="*/ 3517647 h 6557032"/>
              <a:gd name="connsiteX2996" fmla="*/ 1497827 w 4610101"/>
              <a:gd name="connsiteY2996" fmla="*/ 3535868 h 6557032"/>
              <a:gd name="connsiteX2997" fmla="*/ 1475961 w 4610101"/>
              <a:gd name="connsiteY2997" fmla="*/ 3512180 h 6557032"/>
              <a:gd name="connsiteX2998" fmla="*/ 1492361 w 4610101"/>
              <a:gd name="connsiteY2998" fmla="*/ 3510358 h 6557032"/>
              <a:gd name="connsiteX2999" fmla="*/ 1598047 w 4610101"/>
              <a:gd name="connsiteY2999" fmla="*/ 3488491 h 6557032"/>
              <a:gd name="connsiteX3000" fmla="*/ 1598047 w 4610101"/>
              <a:gd name="connsiteY3000" fmla="*/ 3488492 h 6557032"/>
              <a:gd name="connsiteX3001" fmla="*/ 1598047 w 4610101"/>
              <a:gd name="connsiteY3001" fmla="*/ 3510357 h 6557032"/>
              <a:gd name="connsiteX3002" fmla="*/ 1621735 w 4610101"/>
              <a:gd name="connsiteY3002" fmla="*/ 3512180 h 6557032"/>
              <a:gd name="connsiteX3003" fmla="*/ 1607158 w 4610101"/>
              <a:gd name="connsiteY3003" fmla="*/ 3524935 h 6557032"/>
              <a:gd name="connsiteX3004" fmla="*/ 1598047 w 4610101"/>
              <a:gd name="connsiteY3004" fmla="*/ 3510358 h 6557032"/>
              <a:gd name="connsiteX3005" fmla="*/ 1581647 w 4610101"/>
              <a:gd name="connsiteY3005" fmla="*/ 3501247 h 6557032"/>
              <a:gd name="connsiteX3006" fmla="*/ 3731812 w 4610101"/>
              <a:gd name="connsiteY3006" fmla="*/ 3488491 h 6557032"/>
              <a:gd name="connsiteX3007" fmla="*/ 3739100 w 4610101"/>
              <a:gd name="connsiteY3007" fmla="*/ 3510358 h 6557032"/>
              <a:gd name="connsiteX3008" fmla="*/ 3762789 w 4610101"/>
              <a:gd name="connsiteY3008" fmla="*/ 3510358 h 6557032"/>
              <a:gd name="connsiteX3009" fmla="*/ 3755500 w 4610101"/>
              <a:gd name="connsiteY3009" fmla="*/ 3495780 h 6557032"/>
              <a:gd name="connsiteX3010" fmla="*/ 3793766 w 4610101"/>
              <a:gd name="connsiteY3010" fmla="*/ 3534047 h 6557032"/>
              <a:gd name="connsiteX3011" fmla="*/ 3771900 w 4610101"/>
              <a:gd name="connsiteY3011" fmla="*/ 3534047 h 6557032"/>
              <a:gd name="connsiteX3012" fmla="*/ 3771900 w 4610101"/>
              <a:gd name="connsiteY3012" fmla="*/ 3519469 h 6557032"/>
              <a:gd name="connsiteX3013" fmla="*/ 3740923 w 4610101"/>
              <a:gd name="connsiteY3013" fmla="*/ 3526758 h 6557032"/>
              <a:gd name="connsiteX3014" fmla="*/ 3726345 w 4610101"/>
              <a:gd name="connsiteY3014" fmla="*/ 3519469 h 6557032"/>
              <a:gd name="connsiteX3015" fmla="*/ 3498574 w 4610101"/>
              <a:gd name="connsiteY3015" fmla="*/ 3488491 h 6557032"/>
              <a:gd name="connsiteX3016" fmla="*/ 3498574 w 4610101"/>
              <a:gd name="connsiteY3016" fmla="*/ 3510357 h 6557032"/>
              <a:gd name="connsiteX3017" fmla="*/ 3520440 w 4610101"/>
              <a:gd name="connsiteY3017" fmla="*/ 3488491 h 6557032"/>
              <a:gd name="connsiteX3018" fmla="*/ 2753305 w 4610101"/>
              <a:gd name="connsiteY3018" fmla="*/ 3488491 h 6557032"/>
              <a:gd name="connsiteX3019" fmla="*/ 2742372 w 4610101"/>
              <a:gd name="connsiteY3019" fmla="*/ 3499424 h 6557032"/>
              <a:gd name="connsiteX3020" fmla="*/ 2727795 w 4610101"/>
              <a:gd name="connsiteY3020" fmla="*/ 3506713 h 6557032"/>
              <a:gd name="connsiteX3021" fmla="*/ 2727795 w 4610101"/>
              <a:gd name="connsiteY3021" fmla="*/ 3521290 h 6557032"/>
              <a:gd name="connsiteX3022" fmla="*/ 2722328 w 4610101"/>
              <a:gd name="connsiteY3022" fmla="*/ 3526757 h 6557032"/>
              <a:gd name="connsiteX3023" fmla="*/ 2713217 w 4610101"/>
              <a:gd name="connsiteY3023" fmla="*/ 3521290 h 6557032"/>
              <a:gd name="connsiteX3024" fmla="*/ 2713217 w 4610101"/>
              <a:gd name="connsiteY3024" fmla="*/ 3543156 h 6557032"/>
              <a:gd name="connsiteX3025" fmla="*/ 2705929 w 4610101"/>
              <a:gd name="connsiteY3025" fmla="*/ 3543156 h 6557032"/>
              <a:gd name="connsiteX3026" fmla="*/ 2691351 w 4610101"/>
              <a:gd name="connsiteY3026" fmla="*/ 3528579 h 6557032"/>
              <a:gd name="connsiteX3027" fmla="*/ 2691351 w 4610101"/>
              <a:gd name="connsiteY3027" fmla="*/ 3543156 h 6557032"/>
              <a:gd name="connsiteX3028" fmla="*/ 2705929 w 4610101"/>
              <a:gd name="connsiteY3028" fmla="*/ 3543156 h 6557032"/>
              <a:gd name="connsiteX3029" fmla="*/ 2684063 w 4610101"/>
              <a:gd name="connsiteY3029" fmla="*/ 3550445 h 6557032"/>
              <a:gd name="connsiteX3030" fmla="*/ 2684063 w 4610101"/>
              <a:gd name="connsiteY3030" fmla="*/ 3570489 h 6557032"/>
              <a:gd name="connsiteX3031" fmla="*/ 2709573 w 4610101"/>
              <a:gd name="connsiteY3031" fmla="*/ 3581422 h 6557032"/>
              <a:gd name="connsiteX3032" fmla="*/ 2727795 w 4610101"/>
              <a:gd name="connsiteY3032" fmla="*/ 3566844 h 6557032"/>
              <a:gd name="connsiteX3033" fmla="*/ 2711395 w 4610101"/>
              <a:gd name="connsiteY3033" fmla="*/ 3544978 h 6557032"/>
              <a:gd name="connsiteX3034" fmla="*/ 2718684 w 4610101"/>
              <a:gd name="connsiteY3034" fmla="*/ 3539512 h 6557032"/>
              <a:gd name="connsiteX3035" fmla="*/ 2749661 w 4610101"/>
              <a:gd name="connsiteY3035" fmla="*/ 3544978 h 6557032"/>
              <a:gd name="connsiteX3036" fmla="*/ 2747839 w 4610101"/>
              <a:gd name="connsiteY3036" fmla="*/ 3523112 h 6557032"/>
              <a:gd name="connsiteX3037" fmla="*/ 2742372 w 4610101"/>
              <a:gd name="connsiteY3037" fmla="*/ 3514001 h 6557032"/>
              <a:gd name="connsiteX3038" fmla="*/ 2742372 w 4610101"/>
              <a:gd name="connsiteY3038" fmla="*/ 3499424 h 6557032"/>
              <a:gd name="connsiteX3039" fmla="*/ 2749661 w 4610101"/>
              <a:gd name="connsiteY3039" fmla="*/ 3506713 h 6557032"/>
              <a:gd name="connsiteX3040" fmla="*/ 2764238 w 4610101"/>
              <a:gd name="connsiteY3040" fmla="*/ 3499424 h 6557032"/>
              <a:gd name="connsiteX3041" fmla="*/ 2773349 w 4610101"/>
              <a:gd name="connsiteY3041" fmla="*/ 3515824 h 6557032"/>
              <a:gd name="connsiteX3042" fmla="*/ 2786104 w 4610101"/>
              <a:gd name="connsiteY3042" fmla="*/ 3501246 h 6557032"/>
              <a:gd name="connsiteX3043" fmla="*/ 2778816 w 4610101"/>
              <a:gd name="connsiteY3043" fmla="*/ 3492135 h 6557032"/>
              <a:gd name="connsiteX3044" fmla="*/ 2764238 w 4610101"/>
              <a:gd name="connsiteY3044" fmla="*/ 3499424 h 6557032"/>
              <a:gd name="connsiteX3045" fmla="*/ 2753305 w 4610101"/>
              <a:gd name="connsiteY3045" fmla="*/ 3488491 h 6557032"/>
              <a:gd name="connsiteX3046" fmla="*/ 2594776 w 4610101"/>
              <a:gd name="connsiteY3046" fmla="*/ 3488491 h 6557032"/>
              <a:gd name="connsiteX3047" fmla="*/ 2594776 w 4610101"/>
              <a:gd name="connsiteY3047" fmla="*/ 3510357 h 6557032"/>
              <a:gd name="connsiteX3048" fmla="*/ 2583843 w 4610101"/>
              <a:gd name="connsiteY3048" fmla="*/ 3515824 h 6557032"/>
              <a:gd name="connsiteX3049" fmla="*/ 2578377 w 4610101"/>
              <a:gd name="connsiteY3049" fmla="*/ 3524934 h 6557032"/>
              <a:gd name="connsiteX3050" fmla="*/ 2563799 w 4610101"/>
              <a:gd name="connsiteY3050" fmla="*/ 3539512 h 6557032"/>
              <a:gd name="connsiteX3051" fmla="*/ 2587487 w 4610101"/>
              <a:gd name="connsiteY3051" fmla="*/ 3539512 h 6557032"/>
              <a:gd name="connsiteX3052" fmla="*/ 2580199 w 4610101"/>
              <a:gd name="connsiteY3052" fmla="*/ 3524934 h 6557032"/>
              <a:gd name="connsiteX3053" fmla="*/ 2594776 w 4610101"/>
              <a:gd name="connsiteY3053" fmla="*/ 3524934 h 6557032"/>
              <a:gd name="connsiteX3054" fmla="*/ 2594776 w 4610101"/>
              <a:gd name="connsiteY3054" fmla="*/ 3510357 h 6557032"/>
              <a:gd name="connsiteX3055" fmla="*/ 2640330 w 4610101"/>
              <a:gd name="connsiteY3055" fmla="*/ 3503068 h 6557032"/>
              <a:gd name="connsiteX3056" fmla="*/ 2618464 w 4610101"/>
              <a:gd name="connsiteY3056" fmla="*/ 3488491 h 6557032"/>
              <a:gd name="connsiteX3057" fmla="*/ 2616642 w 4610101"/>
              <a:gd name="connsiteY3057" fmla="*/ 3504891 h 6557032"/>
              <a:gd name="connsiteX3058" fmla="*/ 2314161 w 4610101"/>
              <a:gd name="connsiteY3058" fmla="*/ 3488491 h 6557032"/>
              <a:gd name="connsiteX3059" fmla="*/ 2290473 w 4610101"/>
              <a:gd name="connsiteY3059" fmla="*/ 3490313 h 6557032"/>
              <a:gd name="connsiteX3060" fmla="*/ 2305050 w 4610101"/>
              <a:gd name="connsiteY3060" fmla="*/ 3504891 h 6557032"/>
              <a:gd name="connsiteX3061" fmla="*/ 1756576 w 4610101"/>
              <a:gd name="connsiteY3061" fmla="*/ 3488491 h 6557032"/>
              <a:gd name="connsiteX3062" fmla="*/ 1771154 w 4610101"/>
              <a:gd name="connsiteY3062" fmla="*/ 3503069 h 6557032"/>
              <a:gd name="connsiteX3063" fmla="*/ 1749287 w 4610101"/>
              <a:gd name="connsiteY3063" fmla="*/ 3503069 h 6557032"/>
              <a:gd name="connsiteX3064" fmla="*/ 1636312 w 4610101"/>
              <a:gd name="connsiteY3064" fmla="*/ 3488491 h 6557032"/>
              <a:gd name="connsiteX3065" fmla="*/ 1650889 w 4610101"/>
              <a:gd name="connsiteY3065" fmla="*/ 3497603 h 6557032"/>
              <a:gd name="connsiteX3066" fmla="*/ 1665468 w 4610101"/>
              <a:gd name="connsiteY3066" fmla="*/ 3497603 h 6557032"/>
              <a:gd name="connsiteX3067" fmla="*/ 1659056 w 4610101"/>
              <a:gd name="connsiteY3067" fmla="*/ 3510425 h 6557032"/>
              <a:gd name="connsiteX3068" fmla="*/ 1681867 w 4610101"/>
              <a:gd name="connsiteY3068" fmla="*/ 3512180 h 6557032"/>
              <a:gd name="connsiteX3069" fmla="*/ 1667289 w 4610101"/>
              <a:gd name="connsiteY3069" fmla="*/ 3524935 h 6557032"/>
              <a:gd name="connsiteX3070" fmla="*/ 1658685 w 4610101"/>
              <a:gd name="connsiteY3070" fmla="*/ 3511168 h 6557032"/>
              <a:gd name="connsiteX3071" fmla="*/ 1658178 w 4610101"/>
              <a:gd name="connsiteY3071" fmla="*/ 3512181 h 6557032"/>
              <a:gd name="connsiteX3072" fmla="*/ 1643602 w 4610101"/>
              <a:gd name="connsiteY3072" fmla="*/ 3512181 h 6557032"/>
              <a:gd name="connsiteX3073" fmla="*/ 1643602 w 4610101"/>
              <a:gd name="connsiteY3073" fmla="*/ 3526758 h 6557032"/>
              <a:gd name="connsiteX3074" fmla="*/ 1636312 w 4610101"/>
              <a:gd name="connsiteY3074" fmla="*/ 3488491 h 6557032"/>
              <a:gd name="connsiteX3075" fmla="*/ 3799233 w 4610101"/>
              <a:gd name="connsiteY3075" fmla="*/ 3483024 h 6557032"/>
              <a:gd name="connsiteX3076" fmla="*/ 3839321 w 4610101"/>
              <a:gd name="connsiteY3076" fmla="*/ 3483024 h 6557032"/>
              <a:gd name="connsiteX3077" fmla="*/ 3832032 w 4610101"/>
              <a:gd name="connsiteY3077" fmla="*/ 3510357 h 6557032"/>
              <a:gd name="connsiteX3078" fmla="*/ 3842965 w 4610101"/>
              <a:gd name="connsiteY3078" fmla="*/ 3524934 h 6557032"/>
              <a:gd name="connsiteX3079" fmla="*/ 3830210 w 4610101"/>
              <a:gd name="connsiteY3079" fmla="*/ 3541334 h 6557032"/>
              <a:gd name="connsiteX3080" fmla="*/ 3813811 w 4610101"/>
              <a:gd name="connsiteY3080" fmla="*/ 3534045 h 6557032"/>
              <a:gd name="connsiteX3081" fmla="*/ 3821099 w 4610101"/>
              <a:gd name="connsiteY3081" fmla="*/ 3521290 h 6557032"/>
              <a:gd name="connsiteX3082" fmla="*/ 3799233 w 4610101"/>
              <a:gd name="connsiteY3082" fmla="*/ 3504891 h 6557032"/>
              <a:gd name="connsiteX3083" fmla="*/ 3799233 w 4610101"/>
              <a:gd name="connsiteY3083" fmla="*/ 3483024 h 6557032"/>
              <a:gd name="connsiteX3084" fmla="*/ 3921318 w 4610101"/>
              <a:gd name="connsiteY3084" fmla="*/ 3481202 h 6557032"/>
              <a:gd name="connsiteX3085" fmla="*/ 3935896 w 4610101"/>
              <a:gd name="connsiteY3085" fmla="*/ 3481202 h 6557032"/>
              <a:gd name="connsiteX3086" fmla="*/ 3935896 w 4610101"/>
              <a:gd name="connsiteY3086" fmla="*/ 3495780 h 6557032"/>
              <a:gd name="connsiteX3087" fmla="*/ 2857169 w 4610101"/>
              <a:gd name="connsiteY3087" fmla="*/ 3481202 h 6557032"/>
              <a:gd name="connsiteX3088" fmla="*/ 2871747 w 4610101"/>
              <a:gd name="connsiteY3088" fmla="*/ 3512179 h 6557032"/>
              <a:gd name="connsiteX3089" fmla="*/ 2857169 w 4610101"/>
              <a:gd name="connsiteY3089" fmla="*/ 3481202 h 6557032"/>
              <a:gd name="connsiteX3090" fmla="*/ 3651636 w 4610101"/>
              <a:gd name="connsiteY3090" fmla="*/ 3479380 h 6557032"/>
              <a:gd name="connsiteX3091" fmla="*/ 3664392 w 4610101"/>
              <a:gd name="connsiteY3091" fmla="*/ 3495781 h 6557032"/>
              <a:gd name="connsiteX3092" fmla="*/ 3649814 w 4610101"/>
              <a:gd name="connsiteY3092" fmla="*/ 3503070 h 6557032"/>
              <a:gd name="connsiteX3093" fmla="*/ 2368827 w 4610101"/>
              <a:gd name="connsiteY3093" fmla="*/ 3479380 h 6557032"/>
              <a:gd name="connsiteX3094" fmla="*/ 2383404 w 4610101"/>
              <a:gd name="connsiteY3094" fmla="*/ 3517646 h 6557032"/>
              <a:gd name="connsiteX3095" fmla="*/ 2388871 w 4610101"/>
              <a:gd name="connsiteY3095" fmla="*/ 3510357 h 6557032"/>
              <a:gd name="connsiteX3096" fmla="*/ 2383404 w 4610101"/>
              <a:gd name="connsiteY3096" fmla="*/ 3479380 h 6557032"/>
              <a:gd name="connsiteX3097" fmla="*/ 3906742 w 4610101"/>
              <a:gd name="connsiteY3097" fmla="*/ 3473913 h 6557032"/>
              <a:gd name="connsiteX3098" fmla="*/ 3912209 w 4610101"/>
              <a:gd name="connsiteY3098" fmla="*/ 3486669 h 6557032"/>
              <a:gd name="connsiteX3099" fmla="*/ 3906742 w 4610101"/>
              <a:gd name="connsiteY3099" fmla="*/ 3493957 h 6557032"/>
              <a:gd name="connsiteX3100" fmla="*/ 3875765 w 4610101"/>
              <a:gd name="connsiteY3100" fmla="*/ 3488491 h 6557032"/>
              <a:gd name="connsiteX3101" fmla="*/ 3875765 w 4610101"/>
              <a:gd name="connsiteY3101" fmla="*/ 3481202 h 6557032"/>
              <a:gd name="connsiteX3102" fmla="*/ 3476708 w 4610101"/>
              <a:gd name="connsiteY3102" fmla="*/ 3473913 h 6557032"/>
              <a:gd name="connsiteX3103" fmla="*/ 3476708 w 4610101"/>
              <a:gd name="connsiteY3103" fmla="*/ 3488491 h 6557032"/>
              <a:gd name="connsiteX3104" fmla="*/ 3454842 w 4610101"/>
              <a:gd name="connsiteY3104" fmla="*/ 3488491 h 6557032"/>
              <a:gd name="connsiteX3105" fmla="*/ 3462131 w 4610101"/>
              <a:gd name="connsiteY3105" fmla="*/ 3519468 h 6557032"/>
              <a:gd name="connsiteX3106" fmla="*/ 3471242 w 4610101"/>
              <a:gd name="connsiteY3106" fmla="*/ 3497602 h 6557032"/>
              <a:gd name="connsiteX3107" fmla="*/ 3476708 w 4610101"/>
              <a:gd name="connsiteY3107" fmla="*/ 3488491 h 6557032"/>
              <a:gd name="connsiteX3108" fmla="*/ 3491286 w 4610101"/>
              <a:gd name="connsiteY3108" fmla="*/ 3473913 h 6557032"/>
              <a:gd name="connsiteX3109" fmla="*/ 2246741 w 4610101"/>
              <a:gd name="connsiteY3109" fmla="*/ 3472091 h 6557032"/>
              <a:gd name="connsiteX3110" fmla="*/ 2230341 w 4610101"/>
              <a:gd name="connsiteY3110" fmla="*/ 3473913 h 6557032"/>
              <a:gd name="connsiteX3111" fmla="*/ 2244919 w 4610101"/>
              <a:gd name="connsiteY3111" fmla="*/ 3488491 h 6557032"/>
              <a:gd name="connsiteX3112" fmla="*/ 1794841 w 4610101"/>
              <a:gd name="connsiteY3112" fmla="*/ 3466625 h 6557032"/>
              <a:gd name="connsiteX3113" fmla="*/ 1816707 w 4610101"/>
              <a:gd name="connsiteY3113" fmla="*/ 3466625 h 6557032"/>
              <a:gd name="connsiteX3114" fmla="*/ 1794841 w 4610101"/>
              <a:gd name="connsiteY3114" fmla="*/ 3481203 h 6557032"/>
              <a:gd name="connsiteX3115" fmla="*/ 3059430 w 4610101"/>
              <a:gd name="connsiteY3115" fmla="*/ 3464803 h 6557032"/>
              <a:gd name="connsiteX3116" fmla="*/ 3044853 w 4610101"/>
              <a:gd name="connsiteY3116" fmla="*/ 3479380 h 6557032"/>
              <a:gd name="connsiteX3117" fmla="*/ 3068541 w 4610101"/>
              <a:gd name="connsiteY3117" fmla="*/ 3481202 h 6557032"/>
              <a:gd name="connsiteX3118" fmla="*/ 2924590 w 4610101"/>
              <a:gd name="connsiteY3118" fmla="*/ 3464803 h 6557032"/>
              <a:gd name="connsiteX3119" fmla="*/ 2910012 w 4610101"/>
              <a:gd name="connsiteY3119" fmla="*/ 3479380 h 6557032"/>
              <a:gd name="connsiteX3120" fmla="*/ 2924590 w 4610101"/>
              <a:gd name="connsiteY3120" fmla="*/ 3486669 h 6557032"/>
              <a:gd name="connsiteX3121" fmla="*/ 2933700 w 4610101"/>
              <a:gd name="connsiteY3121" fmla="*/ 3481202 h 6557032"/>
              <a:gd name="connsiteX3122" fmla="*/ 2893613 w 4610101"/>
              <a:gd name="connsiteY3122" fmla="*/ 3464803 h 6557032"/>
              <a:gd name="connsiteX3123" fmla="*/ 2879035 w 4610101"/>
              <a:gd name="connsiteY3123" fmla="*/ 3479380 h 6557032"/>
              <a:gd name="connsiteX3124" fmla="*/ 2895435 w 4610101"/>
              <a:gd name="connsiteY3124" fmla="*/ 3488491 h 6557032"/>
              <a:gd name="connsiteX3125" fmla="*/ 2532822 w 4610101"/>
              <a:gd name="connsiteY3125" fmla="*/ 3464803 h 6557032"/>
              <a:gd name="connsiteX3126" fmla="*/ 2516423 w 4610101"/>
              <a:gd name="connsiteY3126" fmla="*/ 3479380 h 6557032"/>
              <a:gd name="connsiteX3127" fmla="*/ 2541933 w 4610101"/>
              <a:gd name="connsiteY3127" fmla="*/ 3481202 h 6557032"/>
              <a:gd name="connsiteX3128" fmla="*/ 2350605 w 4610101"/>
              <a:gd name="connsiteY3128" fmla="*/ 3464803 h 6557032"/>
              <a:gd name="connsiteX3129" fmla="*/ 2336027 w 4610101"/>
              <a:gd name="connsiteY3129" fmla="*/ 3479380 h 6557032"/>
              <a:gd name="connsiteX3130" fmla="*/ 2359716 w 4610101"/>
              <a:gd name="connsiteY3130" fmla="*/ 3481202 h 6557032"/>
              <a:gd name="connsiteX3131" fmla="*/ 3997850 w 4610101"/>
              <a:gd name="connsiteY3131" fmla="*/ 3462980 h 6557032"/>
              <a:gd name="connsiteX3132" fmla="*/ 4019716 w 4610101"/>
              <a:gd name="connsiteY3132" fmla="*/ 3479381 h 6557032"/>
              <a:gd name="connsiteX3133" fmla="*/ 4005139 w 4610101"/>
              <a:gd name="connsiteY3133" fmla="*/ 3510358 h 6557032"/>
              <a:gd name="connsiteX3134" fmla="*/ 4003317 w 4610101"/>
              <a:gd name="connsiteY3134" fmla="*/ 3488492 h 6557032"/>
              <a:gd name="connsiteX3135" fmla="*/ 3988739 w 4610101"/>
              <a:gd name="connsiteY3135" fmla="*/ 3473914 h 6557032"/>
              <a:gd name="connsiteX3136" fmla="*/ 1703734 w 4610101"/>
              <a:gd name="connsiteY3136" fmla="*/ 3459336 h 6557032"/>
              <a:gd name="connsiteX3137" fmla="*/ 1703734 w 4610101"/>
              <a:gd name="connsiteY3137" fmla="*/ 3497603 h 6557032"/>
              <a:gd name="connsiteX3138" fmla="*/ 1681867 w 4610101"/>
              <a:gd name="connsiteY3138" fmla="*/ 3483025 h 6557032"/>
              <a:gd name="connsiteX3139" fmla="*/ 1665467 w 4610101"/>
              <a:gd name="connsiteY3139" fmla="*/ 3495781 h 6557032"/>
              <a:gd name="connsiteX3140" fmla="*/ 1658178 w 4610101"/>
              <a:gd name="connsiteY3140" fmla="*/ 3479381 h 6557032"/>
              <a:gd name="connsiteX3141" fmla="*/ 1687333 w 4610101"/>
              <a:gd name="connsiteY3141" fmla="*/ 3472092 h 6557032"/>
              <a:gd name="connsiteX3142" fmla="*/ 3620661 w 4610101"/>
              <a:gd name="connsiteY3142" fmla="*/ 3457515 h 6557032"/>
              <a:gd name="connsiteX3143" fmla="*/ 3620661 w 4610101"/>
              <a:gd name="connsiteY3143" fmla="*/ 3479381 h 6557032"/>
              <a:gd name="connsiteX3144" fmla="*/ 3637060 w 4610101"/>
              <a:gd name="connsiteY3144" fmla="*/ 3470271 h 6557032"/>
              <a:gd name="connsiteX3145" fmla="*/ 2993832 w 4610101"/>
              <a:gd name="connsiteY3145" fmla="*/ 3457514 h 6557032"/>
              <a:gd name="connsiteX3146" fmla="*/ 2970144 w 4610101"/>
              <a:gd name="connsiteY3146" fmla="*/ 3459336 h 6557032"/>
              <a:gd name="connsiteX3147" fmla="*/ 2984721 w 4610101"/>
              <a:gd name="connsiteY3147" fmla="*/ 3473913 h 6557032"/>
              <a:gd name="connsiteX3148" fmla="*/ 2775171 w 4610101"/>
              <a:gd name="connsiteY3148" fmla="*/ 3457514 h 6557032"/>
              <a:gd name="connsiteX3149" fmla="*/ 2775171 w 4610101"/>
              <a:gd name="connsiteY3149" fmla="*/ 3481202 h 6557032"/>
              <a:gd name="connsiteX3150" fmla="*/ 2798860 w 4610101"/>
              <a:gd name="connsiteY3150" fmla="*/ 3479380 h 6557032"/>
              <a:gd name="connsiteX3151" fmla="*/ 2751483 w 4610101"/>
              <a:gd name="connsiteY3151" fmla="*/ 3457514 h 6557032"/>
              <a:gd name="connsiteX3152" fmla="*/ 2713217 w 4610101"/>
              <a:gd name="connsiteY3152" fmla="*/ 3479380 h 6557032"/>
              <a:gd name="connsiteX3153" fmla="*/ 2751483 w 4610101"/>
              <a:gd name="connsiteY3153" fmla="*/ 3457514 h 6557032"/>
              <a:gd name="connsiteX3154" fmla="*/ 2418025 w 4610101"/>
              <a:gd name="connsiteY3154" fmla="*/ 3457514 h 6557032"/>
              <a:gd name="connsiteX3155" fmla="*/ 2403448 w 4610101"/>
              <a:gd name="connsiteY3155" fmla="*/ 3472091 h 6557032"/>
              <a:gd name="connsiteX3156" fmla="*/ 2419847 w 4610101"/>
              <a:gd name="connsiteY3156" fmla="*/ 3481202 h 6557032"/>
              <a:gd name="connsiteX3157" fmla="*/ 1612624 w 4610101"/>
              <a:gd name="connsiteY3157" fmla="*/ 3457514 h 6557032"/>
              <a:gd name="connsiteX3158" fmla="*/ 1619914 w 4610101"/>
              <a:gd name="connsiteY3158" fmla="*/ 3488492 h 6557032"/>
              <a:gd name="connsiteX3159" fmla="*/ 1598047 w 4610101"/>
              <a:gd name="connsiteY3159" fmla="*/ 3488492 h 6557032"/>
              <a:gd name="connsiteX3160" fmla="*/ 1598047 w 4610101"/>
              <a:gd name="connsiteY3160" fmla="*/ 3488491 h 6557032"/>
              <a:gd name="connsiteX3161" fmla="*/ 1598047 w 4610101"/>
              <a:gd name="connsiteY3161" fmla="*/ 3488491 h 6557032"/>
              <a:gd name="connsiteX3162" fmla="*/ 1590758 w 4610101"/>
              <a:gd name="connsiteY3162" fmla="*/ 3473915 h 6557032"/>
              <a:gd name="connsiteX3163" fmla="*/ 1576181 w 4610101"/>
              <a:gd name="connsiteY3163" fmla="*/ 3450225 h 6557032"/>
              <a:gd name="connsiteX3164" fmla="*/ 1567070 w 4610101"/>
              <a:gd name="connsiteY3164" fmla="*/ 3466625 h 6557032"/>
              <a:gd name="connsiteX3165" fmla="*/ 1550670 w 4610101"/>
              <a:gd name="connsiteY3165" fmla="*/ 3452047 h 6557032"/>
              <a:gd name="connsiteX3166" fmla="*/ 1501472 w 4610101"/>
              <a:gd name="connsiteY3166" fmla="*/ 3450225 h 6557032"/>
              <a:gd name="connsiteX3167" fmla="*/ 1490539 w 4610101"/>
              <a:gd name="connsiteY3167" fmla="*/ 3466625 h 6557032"/>
              <a:gd name="connsiteX3168" fmla="*/ 1475961 w 4610101"/>
              <a:gd name="connsiteY3168" fmla="*/ 3452047 h 6557032"/>
              <a:gd name="connsiteX3169" fmla="*/ 1146148 w 4610101"/>
              <a:gd name="connsiteY3169" fmla="*/ 3450225 h 6557032"/>
              <a:gd name="connsiteX3170" fmla="*/ 1168013 w 4610101"/>
              <a:gd name="connsiteY3170" fmla="*/ 3450225 h 6557032"/>
              <a:gd name="connsiteX3171" fmla="*/ 1168013 w 4610101"/>
              <a:gd name="connsiteY3171" fmla="*/ 3481203 h 6557032"/>
              <a:gd name="connsiteX3172" fmla="*/ 1155259 w 4610101"/>
              <a:gd name="connsiteY3172" fmla="*/ 3481203 h 6557032"/>
              <a:gd name="connsiteX3173" fmla="*/ 3815633 w 4610101"/>
              <a:gd name="connsiteY3173" fmla="*/ 3446581 h 6557032"/>
              <a:gd name="connsiteX3174" fmla="*/ 3839322 w 4610101"/>
              <a:gd name="connsiteY3174" fmla="*/ 3450227 h 6557032"/>
              <a:gd name="connsiteX3175" fmla="*/ 3835677 w 4610101"/>
              <a:gd name="connsiteY3175" fmla="*/ 3473915 h 6557032"/>
              <a:gd name="connsiteX3176" fmla="*/ 3832033 w 4610101"/>
              <a:gd name="connsiteY3176" fmla="*/ 3457515 h 6557032"/>
              <a:gd name="connsiteX3177" fmla="*/ 3801056 w 4610101"/>
              <a:gd name="connsiteY3177" fmla="*/ 3472093 h 6557032"/>
              <a:gd name="connsiteX3178" fmla="*/ 3793767 w 4610101"/>
              <a:gd name="connsiteY3178" fmla="*/ 3450227 h 6557032"/>
              <a:gd name="connsiteX3179" fmla="*/ 2532822 w 4610101"/>
              <a:gd name="connsiteY3179" fmla="*/ 3442937 h 6557032"/>
              <a:gd name="connsiteX3180" fmla="*/ 2556510 w 4610101"/>
              <a:gd name="connsiteY3180" fmla="*/ 3472091 h 6557032"/>
              <a:gd name="connsiteX3181" fmla="*/ 2571088 w 4610101"/>
              <a:gd name="connsiteY3181" fmla="*/ 3464803 h 6557032"/>
              <a:gd name="connsiteX3182" fmla="*/ 2532822 w 4610101"/>
              <a:gd name="connsiteY3182" fmla="*/ 3442937 h 6557032"/>
              <a:gd name="connsiteX3183" fmla="*/ 3770078 w 4610101"/>
              <a:gd name="connsiteY3183" fmla="*/ 3435648 h 6557032"/>
              <a:gd name="connsiteX3184" fmla="*/ 3793766 w 4610101"/>
              <a:gd name="connsiteY3184" fmla="*/ 3435648 h 6557032"/>
              <a:gd name="connsiteX3185" fmla="*/ 3793767 w 4610101"/>
              <a:gd name="connsiteY3185" fmla="*/ 3435648 h 6557032"/>
              <a:gd name="connsiteX3186" fmla="*/ 3793767 w 4610101"/>
              <a:gd name="connsiteY3186" fmla="*/ 3450226 h 6557032"/>
              <a:gd name="connsiteX3187" fmla="*/ 3779189 w 4610101"/>
              <a:gd name="connsiteY3187" fmla="*/ 3450226 h 6557032"/>
              <a:gd name="connsiteX3188" fmla="*/ 3514974 w 4610101"/>
              <a:gd name="connsiteY3188" fmla="*/ 3435648 h 6557032"/>
              <a:gd name="connsiteX3189" fmla="*/ 3502219 w 4610101"/>
              <a:gd name="connsiteY3189" fmla="*/ 3442937 h 6557032"/>
              <a:gd name="connsiteX3190" fmla="*/ 3516796 w 4610101"/>
              <a:gd name="connsiteY3190" fmla="*/ 3466625 h 6557032"/>
              <a:gd name="connsiteX3191" fmla="*/ 3545951 w 4610101"/>
              <a:gd name="connsiteY3191" fmla="*/ 3442937 h 6557032"/>
              <a:gd name="connsiteX3192" fmla="*/ 3514974 w 4610101"/>
              <a:gd name="connsiteY3192" fmla="*/ 3435648 h 6557032"/>
              <a:gd name="connsiteX3193" fmla="*/ 2993832 w 4610101"/>
              <a:gd name="connsiteY3193" fmla="*/ 3435648 h 6557032"/>
              <a:gd name="connsiteX3194" fmla="*/ 2993832 w 4610101"/>
              <a:gd name="connsiteY3194" fmla="*/ 3450225 h 6557032"/>
              <a:gd name="connsiteX3195" fmla="*/ 3010232 w 4610101"/>
              <a:gd name="connsiteY3195" fmla="*/ 3448403 h 6557032"/>
              <a:gd name="connsiteX3196" fmla="*/ 2390693 w 4610101"/>
              <a:gd name="connsiteY3196" fmla="*/ 3435648 h 6557032"/>
              <a:gd name="connsiteX3197" fmla="*/ 2381582 w 4610101"/>
              <a:gd name="connsiteY3197" fmla="*/ 3450225 h 6557032"/>
              <a:gd name="connsiteX3198" fmla="*/ 2407092 w 4610101"/>
              <a:gd name="connsiteY3198" fmla="*/ 3448403 h 6557032"/>
              <a:gd name="connsiteX3199" fmla="*/ 2818903 w 4610101"/>
              <a:gd name="connsiteY3199" fmla="*/ 3433826 h 6557032"/>
              <a:gd name="connsiteX3200" fmla="*/ 2802504 w 4610101"/>
              <a:gd name="connsiteY3200" fmla="*/ 3448403 h 6557032"/>
              <a:gd name="connsiteX3201" fmla="*/ 2828014 w 4610101"/>
              <a:gd name="connsiteY3201" fmla="*/ 3450225 h 6557032"/>
              <a:gd name="connsiteX3202" fmla="*/ 830911 w 4610101"/>
              <a:gd name="connsiteY3202" fmla="*/ 3433825 h 6557032"/>
              <a:gd name="connsiteX3203" fmla="*/ 843667 w 4610101"/>
              <a:gd name="connsiteY3203" fmla="*/ 3450226 h 6557032"/>
              <a:gd name="connsiteX3204" fmla="*/ 829089 w 4610101"/>
              <a:gd name="connsiteY3204" fmla="*/ 3459337 h 6557032"/>
              <a:gd name="connsiteX3205" fmla="*/ 3318179 w 4610101"/>
              <a:gd name="connsiteY3205" fmla="*/ 3428359 h 6557032"/>
              <a:gd name="connsiteX3206" fmla="*/ 3318179 w 4610101"/>
              <a:gd name="connsiteY3206" fmla="*/ 3450225 h 6557032"/>
              <a:gd name="connsiteX3207" fmla="*/ 3332756 w 4610101"/>
              <a:gd name="connsiteY3207" fmla="*/ 3450225 h 6557032"/>
              <a:gd name="connsiteX3208" fmla="*/ 3332756 w 4610101"/>
              <a:gd name="connsiteY3208" fmla="*/ 3493957 h 6557032"/>
              <a:gd name="connsiteX3209" fmla="*/ 3354623 w 4610101"/>
              <a:gd name="connsiteY3209" fmla="*/ 3493957 h 6557032"/>
              <a:gd name="connsiteX3210" fmla="*/ 3354623 w 4610101"/>
              <a:gd name="connsiteY3210" fmla="*/ 3457514 h 6557032"/>
              <a:gd name="connsiteX3211" fmla="*/ 3340045 w 4610101"/>
              <a:gd name="connsiteY3211" fmla="*/ 3450225 h 6557032"/>
              <a:gd name="connsiteX3212" fmla="*/ 3318179 w 4610101"/>
              <a:gd name="connsiteY3212" fmla="*/ 3428359 h 6557032"/>
              <a:gd name="connsiteX3213" fmla="*/ 3258047 w 4610101"/>
              <a:gd name="connsiteY3213" fmla="*/ 3428359 h 6557032"/>
              <a:gd name="connsiteX3214" fmla="*/ 3241648 w 4610101"/>
              <a:gd name="connsiteY3214" fmla="*/ 3430181 h 6557032"/>
              <a:gd name="connsiteX3215" fmla="*/ 3256225 w 4610101"/>
              <a:gd name="connsiteY3215" fmla="*/ 3444759 h 6557032"/>
              <a:gd name="connsiteX3216" fmla="*/ 2691351 w 4610101"/>
              <a:gd name="connsiteY3216" fmla="*/ 3428359 h 6557032"/>
              <a:gd name="connsiteX3217" fmla="*/ 2676774 w 4610101"/>
              <a:gd name="connsiteY3217" fmla="*/ 3450225 h 6557032"/>
              <a:gd name="connsiteX3218" fmla="*/ 2691351 w 4610101"/>
              <a:gd name="connsiteY3218" fmla="*/ 3450225 h 6557032"/>
              <a:gd name="connsiteX3219" fmla="*/ 2510956 w 4610101"/>
              <a:gd name="connsiteY3219" fmla="*/ 3428359 h 6557032"/>
              <a:gd name="connsiteX3220" fmla="*/ 2510956 w 4610101"/>
              <a:gd name="connsiteY3220" fmla="*/ 3442937 h 6557032"/>
              <a:gd name="connsiteX3221" fmla="*/ 2525534 w 4610101"/>
              <a:gd name="connsiteY3221" fmla="*/ 3428359 h 6557032"/>
              <a:gd name="connsiteX3222" fmla="*/ 3708125 w 4610101"/>
              <a:gd name="connsiteY3222" fmla="*/ 3426537 h 6557032"/>
              <a:gd name="connsiteX3223" fmla="*/ 3702659 w 4610101"/>
              <a:gd name="connsiteY3223" fmla="*/ 3459337 h 6557032"/>
              <a:gd name="connsiteX3224" fmla="*/ 3686259 w 4610101"/>
              <a:gd name="connsiteY3224" fmla="*/ 3448404 h 6557032"/>
              <a:gd name="connsiteX3225" fmla="*/ 1346587 w 4610101"/>
              <a:gd name="connsiteY3225" fmla="*/ 3422210 h 6557032"/>
              <a:gd name="connsiteX3226" fmla="*/ 1370276 w 4610101"/>
              <a:gd name="connsiteY3226" fmla="*/ 3428360 h 6557032"/>
              <a:gd name="connsiteX3227" fmla="*/ 1348410 w 4610101"/>
              <a:gd name="connsiteY3227" fmla="*/ 3435649 h 6557032"/>
              <a:gd name="connsiteX3228" fmla="*/ 1348410 w 4610101"/>
              <a:gd name="connsiteY3228" fmla="*/ 3450226 h 6557032"/>
              <a:gd name="connsiteX3229" fmla="*/ 1333831 w 4610101"/>
              <a:gd name="connsiteY3229" fmla="*/ 3450226 h 6557032"/>
              <a:gd name="connsiteX3230" fmla="*/ 1346587 w 4610101"/>
              <a:gd name="connsiteY3230" fmla="*/ 3422210 h 6557032"/>
              <a:gd name="connsiteX3231" fmla="*/ 3952297 w 4610101"/>
              <a:gd name="connsiteY3231" fmla="*/ 3421070 h 6557032"/>
              <a:gd name="connsiteX3232" fmla="*/ 3943186 w 4610101"/>
              <a:gd name="connsiteY3232" fmla="*/ 3444760 h 6557032"/>
              <a:gd name="connsiteX3233" fmla="*/ 3926786 w 4610101"/>
              <a:gd name="connsiteY3233" fmla="*/ 3430182 h 6557032"/>
              <a:gd name="connsiteX3234" fmla="*/ 3793766 w 4610101"/>
              <a:gd name="connsiteY3234" fmla="*/ 3421070 h 6557032"/>
              <a:gd name="connsiteX3235" fmla="*/ 3810166 w 4610101"/>
              <a:gd name="connsiteY3235" fmla="*/ 3422893 h 6557032"/>
              <a:gd name="connsiteX3236" fmla="*/ 3793766 w 4610101"/>
              <a:gd name="connsiteY3236" fmla="*/ 3435648 h 6557032"/>
              <a:gd name="connsiteX3237" fmla="*/ 3770078 w 4610101"/>
              <a:gd name="connsiteY3237" fmla="*/ 3421070 h 6557032"/>
              <a:gd name="connsiteX3238" fmla="*/ 3770078 w 4610101"/>
              <a:gd name="connsiteY3238" fmla="*/ 3435648 h 6557032"/>
              <a:gd name="connsiteX3239" fmla="*/ 3770078 w 4610101"/>
              <a:gd name="connsiteY3239" fmla="*/ 3435649 h 6557032"/>
              <a:gd name="connsiteX3240" fmla="*/ 3755501 w 4610101"/>
              <a:gd name="connsiteY3240" fmla="*/ 3442937 h 6557032"/>
              <a:gd name="connsiteX3241" fmla="*/ 3748212 w 4610101"/>
              <a:gd name="connsiteY3241" fmla="*/ 3428360 h 6557032"/>
              <a:gd name="connsiteX3242" fmla="*/ 594028 w 4610101"/>
              <a:gd name="connsiteY3242" fmla="*/ 3421070 h 6557032"/>
              <a:gd name="connsiteX3243" fmla="*/ 612250 w 4610101"/>
              <a:gd name="connsiteY3243" fmla="*/ 3422893 h 6557032"/>
              <a:gd name="connsiteX3244" fmla="*/ 595850 w 4610101"/>
              <a:gd name="connsiteY3244" fmla="*/ 3437470 h 6557032"/>
              <a:gd name="connsiteX3245" fmla="*/ 2645797 w 4610101"/>
              <a:gd name="connsiteY3245" fmla="*/ 3417426 h 6557032"/>
              <a:gd name="connsiteX3246" fmla="*/ 2623931 w 4610101"/>
              <a:gd name="connsiteY3246" fmla="*/ 3426537 h 6557032"/>
              <a:gd name="connsiteX3247" fmla="*/ 2640330 w 4610101"/>
              <a:gd name="connsiteY3247" fmla="*/ 3442937 h 6557032"/>
              <a:gd name="connsiteX3248" fmla="*/ 3296313 w 4610101"/>
              <a:gd name="connsiteY3248" fmla="*/ 3413782 h 6557032"/>
              <a:gd name="connsiteX3249" fmla="*/ 3296313 w 4610101"/>
              <a:gd name="connsiteY3249" fmla="*/ 3428359 h 6557032"/>
              <a:gd name="connsiteX3250" fmla="*/ 3310890 w 4610101"/>
              <a:gd name="connsiteY3250" fmla="*/ 3413782 h 6557032"/>
              <a:gd name="connsiteX3251" fmla="*/ 3219782 w 4610101"/>
              <a:gd name="connsiteY3251" fmla="*/ 3413782 h 6557032"/>
              <a:gd name="connsiteX3252" fmla="*/ 3219782 w 4610101"/>
              <a:gd name="connsiteY3252" fmla="*/ 3428359 h 6557032"/>
              <a:gd name="connsiteX3253" fmla="*/ 3234359 w 4610101"/>
              <a:gd name="connsiteY3253" fmla="*/ 3413782 h 6557032"/>
              <a:gd name="connsiteX3254" fmla="*/ 2080923 w 4610101"/>
              <a:gd name="connsiteY3254" fmla="*/ 3406493 h 6557032"/>
              <a:gd name="connsiteX3255" fmla="*/ 2042657 w 4610101"/>
              <a:gd name="connsiteY3255" fmla="*/ 3428359 h 6557032"/>
              <a:gd name="connsiteX3256" fmla="*/ 2028080 w 4610101"/>
              <a:gd name="connsiteY3256" fmla="*/ 3432004 h 6557032"/>
              <a:gd name="connsiteX3257" fmla="*/ 2004392 w 4610101"/>
              <a:gd name="connsiteY3257" fmla="*/ 3430181 h 6557032"/>
              <a:gd name="connsiteX3258" fmla="*/ 2020791 w 4610101"/>
              <a:gd name="connsiteY3258" fmla="*/ 3452047 h 6557032"/>
              <a:gd name="connsiteX3259" fmla="*/ 2033546 w 4610101"/>
              <a:gd name="connsiteY3259" fmla="*/ 3446581 h 6557032"/>
              <a:gd name="connsiteX3260" fmla="*/ 2049946 w 4610101"/>
              <a:gd name="connsiteY3260" fmla="*/ 3450225 h 6557032"/>
              <a:gd name="connsiteX3261" fmla="*/ 2088212 w 4610101"/>
              <a:gd name="connsiteY3261" fmla="*/ 3457514 h 6557032"/>
              <a:gd name="connsiteX3262" fmla="*/ 2064524 w 4610101"/>
              <a:gd name="connsiteY3262" fmla="*/ 3466625 h 6557032"/>
              <a:gd name="connsiteX3263" fmla="*/ 2049946 w 4610101"/>
              <a:gd name="connsiteY3263" fmla="*/ 3459336 h 6557032"/>
              <a:gd name="connsiteX3264" fmla="*/ 2018969 w 4610101"/>
              <a:gd name="connsiteY3264" fmla="*/ 3473913 h 6557032"/>
              <a:gd name="connsiteX3265" fmla="*/ 2049946 w 4610101"/>
              <a:gd name="connsiteY3265" fmla="*/ 3481202 h 6557032"/>
              <a:gd name="connsiteX3266" fmla="*/ 2071812 w 4610101"/>
              <a:gd name="connsiteY3266" fmla="*/ 3495780 h 6557032"/>
              <a:gd name="connsiteX3267" fmla="*/ 2102790 w 4610101"/>
              <a:gd name="connsiteY3267" fmla="*/ 3481202 h 6557032"/>
              <a:gd name="connsiteX3268" fmla="*/ 2097323 w 4610101"/>
              <a:gd name="connsiteY3268" fmla="*/ 3452047 h 6557032"/>
              <a:gd name="connsiteX3269" fmla="*/ 2111900 w 4610101"/>
              <a:gd name="connsiteY3269" fmla="*/ 3433826 h 6557032"/>
              <a:gd name="connsiteX3270" fmla="*/ 2080923 w 4610101"/>
              <a:gd name="connsiteY3270" fmla="*/ 3428359 h 6557032"/>
              <a:gd name="connsiteX3271" fmla="*/ 2080923 w 4610101"/>
              <a:gd name="connsiteY3271" fmla="*/ 3406493 h 6557032"/>
              <a:gd name="connsiteX3272" fmla="*/ 2006214 w 4610101"/>
              <a:gd name="connsiteY3272" fmla="*/ 3406493 h 6557032"/>
              <a:gd name="connsiteX3273" fmla="*/ 1975237 w 4610101"/>
              <a:gd name="connsiteY3273" fmla="*/ 3421071 h 6557032"/>
              <a:gd name="connsiteX3274" fmla="*/ 2006214 w 4610101"/>
              <a:gd name="connsiteY3274" fmla="*/ 3406493 h 6557032"/>
              <a:gd name="connsiteX3275" fmla="*/ 1665467 w 4610101"/>
              <a:gd name="connsiteY3275" fmla="*/ 3406493 h 6557032"/>
              <a:gd name="connsiteX3276" fmla="*/ 1665467 w 4610101"/>
              <a:gd name="connsiteY3276" fmla="*/ 3421071 h 6557032"/>
              <a:gd name="connsiteX3277" fmla="*/ 1681867 w 4610101"/>
              <a:gd name="connsiteY3277" fmla="*/ 3419248 h 6557032"/>
              <a:gd name="connsiteX3278" fmla="*/ 1536092 w 4610101"/>
              <a:gd name="connsiteY3278" fmla="*/ 3406493 h 6557032"/>
              <a:gd name="connsiteX3279" fmla="*/ 1559781 w 4610101"/>
              <a:gd name="connsiteY3279" fmla="*/ 3426538 h 6557032"/>
              <a:gd name="connsiteX3280" fmla="*/ 1543381 w 4610101"/>
              <a:gd name="connsiteY3280" fmla="*/ 3435649 h 6557032"/>
              <a:gd name="connsiteX3281" fmla="*/ 3445731 w 4610101"/>
              <a:gd name="connsiteY3281" fmla="*/ 3404671 h 6557032"/>
              <a:gd name="connsiteX3282" fmla="*/ 3445731 w 4610101"/>
              <a:gd name="connsiteY3282" fmla="*/ 3419248 h 6557032"/>
              <a:gd name="connsiteX3283" fmla="*/ 3467597 w 4610101"/>
              <a:gd name="connsiteY3283" fmla="*/ 3426537 h 6557032"/>
              <a:gd name="connsiteX3284" fmla="*/ 3476708 w 4610101"/>
              <a:gd name="connsiteY3284" fmla="*/ 3410137 h 6557032"/>
              <a:gd name="connsiteX3285" fmla="*/ 1920572 w 4610101"/>
              <a:gd name="connsiteY3285" fmla="*/ 3404671 h 6557032"/>
              <a:gd name="connsiteX3286" fmla="*/ 1927861 w 4610101"/>
              <a:gd name="connsiteY3286" fmla="*/ 3435648 h 6557032"/>
              <a:gd name="connsiteX3287" fmla="*/ 1946083 w 4610101"/>
              <a:gd name="connsiteY3287" fmla="*/ 3424715 h 6557032"/>
              <a:gd name="connsiteX3288" fmla="*/ 1583469 w 4610101"/>
              <a:gd name="connsiteY3288" fmla="*/ 3404671 h 6557032"/>
              <a:gd name="connsiteX3289" fmla="*/ 1605336 w 4610101"/>
              <a:gd name="connsiteY3289" fmla="*/ 3428360 h 6557032"/>
              <a:gd name="connsiteX3290" fmla="*/ 1574358 w 4610101"/>
              <a:gd name="connsiteY3290" fmla="*/ 3419249 h 6557032"/>
              <a:gd name="connsiteX3291" fmla="*/ 2937345 w 4610101"/>
              <a:gd name="connsiteY3291" fmla="*/ 3402849 h 6557032"/>
              <a:gd name="connsiteX3292" fmla="*/ 2922767 w 4610101"/>
              <a:gd name="connsiteY3292" fmla="*/ 3417426 h 6557032"/>
              <a:gd name="connsiteX3293" fmla="*/ 2948278 w 4610101"/>
              <a:gd name="connsiteY3293" fmla="*/ 3419248 h 6557032"/>
              <a:gd name="connsiteX3294" fmla="*/ 3394710 w 4610101"/>
              <a:gd name="connsiteY3294" fmla="*/ 3399205 h 6557032"/>
              <a:gd name="connsiteX3295" fmla="*/ 3363734 w 4610101"/>
              <a:gd name="connsiteY3295" fmla="*/ 3421071 h 6557032"/>
              <a:gd name="connsiteX3296" fmla="*/ 3372844 w 4610101"/>
              <a:gd name="connsiteY3296" fmla="*/ 3430181 h 6557032"/>
              <a:gd name="connsiteX3297" fmla="*/ 3394710 w 4610101"/>
              <a:gd name="connsiteY3297" fmla="*/ 3399205 h 6557032"/>
              <a:gd name="connsiteX3298" fmla="*/ 2751483 w 4610101"/>
              <a:gd name="connsiteY3298" fmla="*/ 3397382 h 6557032"/>
              <a:gd name="connsiteX3299" fmla="*/ 2698640 w 4610101"/>
              <a:gd name="connsiteY3299" fmla="*/ 3435648 h 6557032"/>
              <a:gd name="connsiteX3300" fmla="*/ 2707751 w 4610101"/>
              <a:gd name="connsiteY3300" fmla="*/ 3444759 h 6557032"/>
              <a:gd name="connsiteX3301" fmla="*/ 2720506 w 4610101"/>
              <a:gd name="connsiteY3301" fmla="*/ 3428359 h 6557032"/>
              <a:gd name="connsiteX3302" fmla="*/ 2751483 w 4610101"/>
              <a:gd name="connsiteY3302" fmla="*/ 3397382 h 6557032"/>
              <a:gd name="connsiteX3303" fmla="*/ 2133766 w 4610101"/>
              <a:gd name="connsiteY3303" fmla="*/ 3397382 h 6557032"/>
              <a:gd name="connsiteX3304" fmla="*/ 2110078 w 4610101"/>
              <a:gd name="connsiteY3304" fmla="*/ 3399205 h 6557032"/>
              <a:gd name="connsiteX3305" fmla="*/ 2124655 w 4610101"/>
              <a:gd name="connsiteY3305" fmla="*/ 3413782 h 6557032"/>
              <a:gd name="connsiteX3306" fmla="*/ 3837498 w 4610101"/>
              <a:gd name="connsiteY3306" fmla="*/ 3388271 h 6557032"/>
              <a:gd name="connsiteX3307" fmla="*/ 3837498 w 4610101"/>
              <a:gd name="connsiteY3307" fmla="*/ 3413783 h 6557032"/>
              <a:gd name="connsiteX3308" fmla="*/ 3821098 w 4610101"/>
              <a:gd name="connsiteY3308" fmla="*/ 3404672 h 6557032"/>
              <a:gd name="connsiteX3309" fmla="*/ 3671681 w 4610101"/>
              <a:gd name="connsiteY3309" fmla="*/ 3388271 h 6557032"/>
              <a:gd name="connsiteX3310" fmla="*/ 3671681 w 4610101"/>
              <a:gd name="connsiteY3310" fmla="*/ 3413783 h 6557032"/>
              <a:gd name="connsiteX3311" fmla="*/ 3655281 w 4610101"/>
              <a:gd name="connsiteY3311" fmla="*/ 3404672 h 6557032"/>
              <a:gd name="connsiteX3312" fmla="*/ 3852076 w 4610101"/>
              <a:gd name="connsiteY3312" fmla="*/ 3384627 h 6557032"/>
              <a:gd name="connsiteX3313" fmla="*/ 3883053 w 4610101"/>
              <a:gd name="connsiteY3313" fmla="*/ 3390095 h 6557032"/>
              <a:gd name="connsiteX3314" fmla="*/ 3852076 w 4610101"/>
              <a:gd name="connsiteY3314" fmla="*/ 3406494 h 6557032"/>
              <a:gd name="connsiteX3315" fmla="*/ 3791945 w 4610101"/>
              <a:gd name="connsiteY3315" fmla="*/ 3382805 h 6557032"/>
              <a:gd name="connsiteX3316" fmla="*/ 3815633 w 4610101"/>
              <a:gd name="connsiteY3316" fmla="*/ 3390095 h 6557032"/>
              <a:gd name="connsiteX3317" fmla="*/ 3799234 w 4610101"/>
              <a:gd name="connsiteY3317" fmla="*/ 3413783 h 6557032"/>
              <a:gd name="connsiteX3318" fmla="*/ 3551417 w 4610101"/>
              <a:gd name="connsiteY3318" fmla="*/ 3382805 h 6557032"/>
              <a:gd name="connsiteX3319" fmla="*/ 3567816 w 4610101"/>
              <a:gd name="connsiteY3319" fmla="*/ 3390095 h 6557032"/>
              <a:gd name="connsiteX3320" fmla="*/ 3567816 w 4610101"/>
              <a:gd name="connsiteY3320" fmla="*/ 3413783 h 6557032"/>
              <a:gd name="connsiteX3321" fmla="*/ 3565995 w 4610101"/>
              <a:gd name="connsiteY3321" fmla="*/ 3413783 h 6557032"/>
              <a:gd name="connsiteX3322" fmla="*/ 3551417 w 4610101"/>
              <a:gd name="connsiteY3322" fmla="*/ 3413783 h 6557032"/>
              <a:gd name="connsiteX3323" fmla="*/ 3547772 w 4610101"/>
              <a:gd name="connsiteY3323" fmla="*/ 3397384 h 6557032"/>
              <a:gd name="connsiteX3324" fmla="*/ 3099518 w 4610101"/>
              <a:gd name="connsiteY3324" fmla="*/ 3382805 h 6557032"/>
              <a:gd name="connsiteX3325" fmla="*/ 3099518 w 4610101"/>
              <a:gd name="connsiteY3325" fmla="*/ 3397382 h 6557032"/>
              <a:gd name="connsiteX3326" fmla="*/ 3114096 w 4610101"/>
              <a:gd name="connsiteY3326" fmla="*/ 3382805 h 6557032"/>
              <a:gd name="connsiteX3327" fmla="*/ 2888146 w 4610101"/>
              <a:gd name="connsiteY3327" fmla="*/ 3382805 h 6557032"/>
              <a:gd name="connsiteX3328" fmla="*/ 2864458 w 4610101"/>
              <a:gd name="connsiteY3328" fmla="*/ 3384627 h 6557032"/>
              <a:gd name="connsiteX3329" fmla="*/ 2879035 w 4610101"/>
              <a:gd name="connsiteY3329" fmla="*/ 3399205 h 6557032"/>
              <a:gd name="connsiteX3330" fmla="*/ 1093304 w 4610101"/>
              <a:gd name="connsiteY3330" fmla="*/ 3382805 h 6557032"/>
              <a:gd name="connsiteX3331" fmla="*/ 1107882 w 4610101"/>
              <a:gd name="connsiteY3331" fmla="*/ 3397383 h 6557032"/>
              <a:gd name="connsiteX3332" fmla="*/ 1093304 w 4610101"/>
              <a:gd name="connsiteY3332" fmla="*/ 3397383 h 6557032"/>
              <a:gd name="connsiteX3333" fmla="*/ 2961830 w 4610101"/>
              <a:gd name="connsiteY3333" fmla="*/ 3382122 h 6557032"/>
              <a:gd name="connsiteX3334" fmla="*/ 2942811 w 4610101"/>
              <a:gd name="connsiteY3334" fmla="*/ 3382805 h 6557032"/>
              <a:gd name="connsiteX3335" fmla="*/ 2964677 w 4610101"/>
              <a:gd name="connsiteY3335" fmla="*/ 3390094 h 6557032"/>
              <a:gd name="connsiteX3336" fmla="*/ 2979255 w 4610101"/>
              <a:gd name="connsiteY3336" fmla="*/ 3404671 h 6557032"/>
              <a:gd name="connsiteX3337" fmla="*/ 2961830 w 4610101"/>
              <a:gd name="connsiteY3337" fmla="*/ 3382122 h 6557032"/>
              <a:gd name="connsiteX3338" fmla="*/ 2496379 w 4610101"/>
              <a:gd name="connsiteY3338" fmla="*/ 3375516 h 6557032"/>
              <a:gd name="connsiteX3339" fmla="*/ 2496379 w 4610101"/>
              <a:gd name="connsiteY3339" fmla="*/ 3390094 h 6557032"/>
              <a:gd name="connsiteX3340" fmla="*/ 2512778 w 4610101"/>
              <a:gd name="connsiteY3340" fmla="*/ 3388271 h 6557032"/>
              <a:gd name="connsiteX3341" fmla="*/ 1900528 w 4610101"/>
              <a:gd name="connsiteY3341" fmla="*/ 3370050 h 6557032"/>
              <a:gd name="connsiteX3342" fmla="*/ 1893239 w 4610101"/>
              <a:gd name="connsiteY3342" fmla="*/ 3377338 h 6557032"/>
              <a:gd name="connsiteX3343" fmla="*/ 1913283 w 4610101"/>
              <a:gd name="connsiteY3343" fmla="*/ 3388271 h 6557032"/>
              <a:gd name="connsiteX3344" fmla="*/ 1936972 w 4610101"/>
              <a:gd name="connsiteY3344" fmla="*/ 3391916 h 6557032"/>
              <a:gd name="connsiteX3345" fmla="*/ 1900528 w 4610101"/>
              <a:gd name="connsiteY3345" fmla="*/ 3370050 h 6557032"/>
              <a:gd name="connsiteX3346" fmla="*/ 3974162 w 4610101"/>
              <a:gd name="connsiteY3346" fmla="*/ 3360969 h 6557032"/>
              <a:gd name="connsiteX3347" fmla="*/ 3996028 w 4610101"/>
              <a:gd name="connsiteY3347" fmla="*/ 3375517 h 6557032"/>
              <a:gd name="connsiteX3348" fmla="*/ 3974162 w 4610101"/>
              <a:gd name="connsiteY3348" fmla="*/ 3375517 h 6557032"/>
              <a:gd name="connsiteX3349" fmla="*/ 3733635 w 4610101"/>
              <a:gd name="connsiteY3349" fmla="*/ 3359154 h 6557032"/>
              <a:gd name="connsiteX3350" fmla="*/ 3726347 w 4610101"/>
              <a:gd name="connsiteY3350" fmla="*/ 3373732 h 6557032"/>
              <a:gd name="connsiteX3351" fmla="*/ 3748213 w 4610101"/>
              <a:gd name="connsiteY3351" fmla="*/ 3373732 h 6557032"/>
              <a:gd name="connsiteX3352" fmla="*/ 3740924 w 4610101"/>
              <a:gd name="connsiteY3352" fmla="*/ 3404672 h 6557032"/>
              <a:gd name="connsiteX3353" fmla="*/ 3733635 w 4610101"/>
              <a:gd name="connsiteY3353" fmla="*/ 3382805 h 6557032"/>
              <a:gd name="connsiteX3354" fmla="*/ 3719058 w 4610101"/>
              <a:gd name="connsiteY3354" fmla="*/ 3377339 h 6557032"/>
              <a:gd name="connsiteX3355" fmla="*/ 3709947 w 4610101"/>
              <a:gd name="connsiteY3355" fmla="*/ 3366441 h 6557032"/>
              <a:gd name="connsiteX3356" fmla="*/ 1332010 w 4610101"/>
              <a:gd name="connsiteY3356" fmla="*/ 3359140 h 6557032"/>
              <a:gd name="connsiteX3357" fmla="*/ 1333832 w 4610101"/>
              <a:gd name="connsiteY3357" fmla="*/ 3382805 h 6557032"/>
              <a:gd name="connsiteX3358" fmla="*/ 1317432 w 4610101"/>
              <a:gd name="connsiteY3358" fmla="*/ 3373719 h 6557032"/>
              <a:gd name="connsiteX3359" fmla="*/ 1747465 w 4610101"/>
              <a:gd name="connsiteY3359" fmla="*/ 3359117 h 6557032"/>
              <a:gd name="connsiteX3360" fmla="*/ 1734710 w 4610101"/>
              <a:gd name="connsiteY3360" fmla="*/ 3375516 h 6557032"/>
              <a:gd name="connsiteX3361" fmla="*/ 1756576 w 4610101"/>
              <a:gd name="connsiteY3361" fmla="*/ 3375516 h 6557032"/>
              <a:gd name="connsiteX3362" fmla="*/ 1749287 w 4610101"/>
              <a:gd name="connsiteY3362" fmla="*/ 3390094 h 6557032"/>
              <a:gd name="connsiteX3363" fmla="*/ 1772976 w 4610101"/>
              <a:gd name="connsiteY3363" fmla="*/ 3428359 h 6557032"/>
              <a:gd name="connsiteX3364" fmla="*/ 1787553 w 4610101"/>
              <a:gd name="connsiteY3364" fmla="*/ 3421071 h 6557032"/>
              <a:gd name="connsiteX3365" fmla="*/ 1802130 w 4610101"/>
              <a:gd name="connsiteY3365" fmla="*/ 3437470 h 6557032"/>
              <a:gd name="connsiteX3366" fmla="*/ 1802130 w 4610101"/>
              <a:gd name="connsiteY3366" fmla="*/ 3413782 h 6557032"/>
              <a:gd name="connsiteX3367" fmla="*/ 1787553 w 4610101"/>
              <a:gd name="connsiteY3367" fmla="*/ 3421071 h 6557032"/>
              <a:gd name="connsiteX3368" fmla="*/ 1780265 w 4610101"/>
              <a:gd name="connsiteY3368" fmla="*/ 3390094 h 6557032"/>
              <a:gd name="connsiteX3369" fmla="*/ 1802130 w 4610101"/>
              <a:gd name="connsiteY3369" fmla="*/ 3390094 h 6557032"/>
              <a:gd name="connsiteX3370" fmla="*/ 1765687 w 4610101"/>
              <a:gd name="connsiteY3370" fmla="*/ 3380983 h 6557032"/>
              <a:gd name="connsiteX3371" fmla="*/ 1756576 w 4610101"/>
              <a:gd name="connsiteY3371" fmla="*/ 3375516 h 6557032"/>
              <a:gd name="connsiteX3372" fmla="*/ 2676774 w 4610101"/>
              <a:gd name="connsiteY3372" fmla="*/ 3353650 h 6557032"/>
              <a:gd name="connsiteX3373" fmla="*/ 2653086 w 4610101"/>
              <a:gd name="connsiteY3373" fmla="*/ 3355472 h 6557032"/>
              <a:gd name="connsiteX3374" fmla="*/ 2667663 w 4610101"/>
              <a:gd name="connsiteY3374" fmla="*/ 3370050 h 6557032"/>
              <a:gd name="connsiteX3375" fmla="*/ 2806148 w 4610101"/>
              <a:gd name="connsiteY3375" fmla="*/ 3351828 h 6557032"/>
              <a:gd name="connsiteX3376" fmla="*/ 2828014 w 4610101"/>
              <a:gd name="connsiteY3376" fmla="*/ 3366405 h 6557032"/>
              <a:gd name="connsiteX3377" fmla="*/ 2828014 w 4610101"/>
              <a:gd name="connsiteY3377" fmla="*/ 3351828 h 6557032"/>
              <a:gd name="connsiteX3378" fmla="*/ 1982527 w 4610101"/>
              <a:gd name="connsiteY3378" fmla="*/ 3351828 h 6557032"/>
              <a:gd name="connsiteX3379" fmla="*/ 1958837 w 4610101"/>
              <a:gd name="connsiteY3379" fmla="*/ 3353650 h 6557032"/>
              <a:gd name="connsiteX3380" fmla="*/ 1973416 w 4610101"/>
              <a:gd name="connsiteY3380" fmla="*/ 3368228 h 6557032"/>
              <a:gd name="connsiteX3381" fmla="*/ 3181516 w 4610101"/>
              <a:gd name="connsiteY3381" fmla="*/ 3344539 h 6557032"/>
              <a:gd name="connsiteX3382" fmla="*/ 3172405 w 4610101"/>
              <a:gd name="connsiteY3382" fmla="*/ 3368228 h 6557032"/>
              <a:gd name="connsiteX3383" fmla="*/ 3165116 w 4610101"/>
              <a:gd name="connsiteY3383" fmla="*/ 3390094 h 6557032"/>
              <a:gd name="connsiteX3384" fmla="*/ 3186982 w 4610101"/>
              <a:gd name="connsiteY3384" fmla="*/ 3353650 h 6557032"/>
              <a:gd name="connsiteX3385" fmla="*/ 1822174 w 4610101"/>
              <a:gd name="connsiteY3385" fmla="*/ 3342717 h 6557032"/>
              <a:gd name="connsiteX3386" fmla="*/ 1807598 w 4610101"/>
              <a:gd name="connsiteY3386" fmla="*/ 3357294 h 6557032"/>
              <a:gd name="connsiteX3387" fmla="*/ 1823996 w 4610101"/>
              <a:gd name="connsiteY3387" fmla="*/ 3359117 h 6557032"/>
              <a:gd name="connsiteX3388" fmla="*/ 1732888 w 4610101"/>
              <a:gd name="connsiteY3388" fmla="*/ 3342717 h 6557032"/>
              <a:gd name="connsiteX3389" fmla="*/ 1718310 w 4610101"/>
              <a:gd name="connsiteY3389" fmla="*/ 3357294 h 6557032"/>
              <a:gd name="connsiteX3390" fmla="*/ 1734710 w 4610101"/>
              <a:gd name="connsiteY3390" fmla="*/ 3359117 h 6557032"/>
              <a:gd name="connsiteX3391" fmla="*/ 3618838 w 4610101"/>
              <a:gd name="connsiteY3391" fmla="*/ 3339103 h 6557032"/>
              <a:gd name="connsiteX3392" fmla="*/ 3633415 w 4610101"/>
              <a:gd name="connsiteY3392" fmla="*/ 3339103 h 6557032"/>
              <a:gd name="connsiteX3393" fmla="*/ 3664392 w 4610101"/>
              <a:gd name="connsiteY3393" fmla="*/ 3370092 h 6557032"/>
              <a:gd name="connsiteX3394" fmla="*/ 3695369 w 4610101"/>
              <a:gd name="connsiteY3394" fmla="*/ 3360983 h 6557032"/>
              <a:gd name="connsiteX3395" fmla="*/ 3709946 w 4610101"/>
              <a:gd name="connsiteY3395" fmla="*/ 3368271 h 6557032"/>
              <a:gd name="connsiteX3396" fmla="*/ 3702657 w 4610101"/>
              <a:gd name="connsiteY3396" fmla="*/ 3390094 h 6557032"/>
              <a:gd name="connsiteX3397" fmla="*/ 3717235 w 4610101"/>
              <a:gd name="connsiteY3397" fmla="*/ 3390094 h 6557032"/>
              <a:gd name="connsiteX3398" fmla="*/ 3702657 w 4610101"/>
              <a:gd name="connsiteY3398" fmla="*/ 3404672 h 6557032"/>
              <a:gd name="connsiteX3399" fmla="*/ 3688080 w 4610101"/>
              <a:gd name="connsiteY3399" fmla="*/ 3382805 h 6557032"/>
              <a:gd name="connsiteX3400" fmla="*/ 3664392 w 4610101"/>
              <a:gd name="connsiteY3400" fmla="*/ 3373738 h 6557032"/>
              <a:gd name="connsiteX3401" fmla="*/ 3647992 w 4610101"/>
              <a:gd name="connsiteY3401" fmla="*/ 3382805 h 6557032"/>
              <a:gd name="connsiteX3402" fmla="*/ 3635238 w 4610101"/>
              <a:gd name="connsiteY3402" fmla="*/ 3382805 h 6557032"/>
              <a:gd name="connsiteX3403" fmla="*/ 3635238 w 4610101"/>
              <a:gd name="connsiteY3403" fmla="*/ 3402850 h 6557032"/>
              <a:gd name="connsiteX3404" fmla="*/ 3678970 w 4610101"/>
              <a:gd name="connsiteY3404" fmla="*/ 3424716 h 6557032"/>
              <a:gd name="connsiteX3405" fmla="*/ 3673504 w 4610101"/>
              <a:gd name="connsiteY3405" fmla="*/ 3455693 h 6557032"/>
              <a:gd name="connsiteX3406" fmla="*/ 3635238 w 4610101"/>
              <a:gd name="connsiteY3406" fmla="*/ 3486670 h 6557032"/>
              <a:gd name="connsiteX3407" fmla="*/ 3633416 w 4610101"/>
              <a:gd name="connsiteY3407" fmla="*/ 3510358 h 6557032"/>
              <a:gd name="connsiteX3408" fmla="*/ 3618839 w 4610101"/>
              <a:gd name="connsiteY3408" fmla="*/ 3493959 h 6557032"/>
              <a:gd name="connsiteX3409" fmla="*/ 3604261 w 4610101"/>
              <a:gd name="connsiteY3409" fmla="*/ 3503070 h 6557032"/>
              <a:gd name="connsiteX3410" fmla="*/ 3589684 w 4610101"/>
              <a:gd name="connsiteY3410" fmla="*/ 3503070 h 6557032"/>
              <a:gd name="connsiteX3411" fmla="*/ 3604261 w 4610101"/>
              <a:gd name="connsiteY3411" fmla="*/ 3483026 h 6557032"/>
              <a:gd name="connsiteX3412" fmla="*/ 3575105 w 4610101"/>
              <a:gd name="connsiteY3412" fmla="*/ 3450227 h 6557032"/>
              <a:gd name="connsiteX3413" fmla="*/ 3596972 w 4610101"/>
              <a:gd name="connsiteY3413" fmla="*/ 3450227 h 6557032"/>
              <a:gd name="connsiteX3414" fmla="*/ 3595150 w 4610101"/>
              <a:gd name="connsiteY3414" fmla="*/ 3442938 h 6557032"/>
              <a:gd name="connsiteX3415" fmla="*/ 3573283 w 4610101"/>
              <a:gd name="connsiteY3415" fmla="*/ 3433827 h 6557032"/>
              <a:gd name="connsiteX3416" fmla="*/ 3596972 w 4610101"/>
              <a:gd name="connsiteY3416" fmla="*/ 3432005 h 6557032"/>
              <a:gd name="connsiteX3417" fmla="*/ 3580572 w 4610101"/>
              <a:gd name="connsiteY3417" fmla="*/ 3417428 h 6557032"/>
              <a:gd name="connsiteX3418" fmla="*/ 3587861 w 4610101"/>
              <a:gd name="connsiteY3418" fmla="*/ 3404673 h 6557032"/>
              <a:gd name="connsiteX3419" fmla="*/ 3575105 w 4610101"/>
              <a:gd name="connsiteY3419" fmla="*/ 3386451 h 6557032"/>
              <a:gd name="connsiteX3420" fmla="*/ 3596972 w 4610101"/>
              <a:gd name="connsiteY3420" fmla="*/ 3395562 h 6557032"/>
              <a:gd name="connsiteX3421" fmla="*/ 3618839 w 4610101"/>
              <a:gd name="connsiteY3421" fmla="*/ 3393739 h 6557032"/>
              <a:gd name="connsiteX3422" fmla="*/ 3633319 w 4610101"/>
              <a:gd name="connsiteY3422" fmla="*/ 3382476 h 6557032"/>
              <a:gd name="connsiteX3423" fmla="*/ 3624304 w 4610101"/>
              <a:gd name="connsiteY3423" fmla="*/ 3351865 h 6557032"/>
              <a:gd name="connsiteX3424" fmla="*/ 3611549 w 4610101"/>
              <a:gd name="connsiteY3424" fmla="*/ 3368271 h 6557032"/>
              <a:gd name="connsiteX3425" fmla="*/ 3575105 w 4610101"/>
              <a:gd name="connsiteY3425" fmla="*/ 3344579 h 6557032"/>
              <a:gd name="connsiteX3426" fmla="*/ 3602438 w 4610101"/>
              <a:gd name="connsiteY3426" fmla="*/ 3351865 h 6557032"/>
              <a:gd name="connsiteX3427" fmla="*/ 1684600 w 4610101"/>
              <a:gd name="connsiteY3427" fmla="*/ 3337934 h 6557032"/>
              <a:gd name="connsiteX3428" fmla="*/ 1660001 w 4610101"/>
              <a:gd name="connsiteY3428" fmla="*/ 3339073 h 6557032"/>
              <a:gd name="connsiteX3429" fmla="*/ 1681867 w 4610101"/>
              <a:gd name="connsiteY3429" fmla="*/ 3346361 h 6557032"/>
              <a:gd name="connsiteX3430" fmla="*/ 1696444 w 4610101"/>
              <a:gd name="connsiteY3430" fmla="*/ 3346361 h 6557032"/>
              <a:gd name="connsiteX3431" fmla="*/ 1689157 w 4610101"/>
              <a:gd name="connsiteY3431" fmla="*/ 3353650 h 6557032"/>
              <a:gd name="connsiteX3432" fmla="*/ 1696444 w 4610101"/>
              <a:gd name="connsiteY3432" fmla="*/ 3382805 h 6557032"/>
              <a:gd name="connsiteX3433" fmla="*/ 1721955 w 4610101"/>
              <a:gd name="connsiteY3433" fmla="*/ 3371872 h 6557032"/>
              <a:gd name="connsiteX3434" fmla="*/ 1705555 w 4610101"/>
              <a:gd name="connsiteY3434" fmla="*/ 3368228 h 6557032"/>
              <a:gd name="connsiteX3435" fmla="*/ 1712844 w 4610101"/>
              <a:gd name="connsiteY3435" fmla="*/ 3353650 h 6557032"/>
              <a:gd name="connsiteX3436" fmla="*/ 1698266 w 4610101"/>
              <a:gd name="connsiteY3436" fmla="*/ 3346361 h 6557032"/>
              <a:gd name="connsiteX3437" fmla="*/ 1684600 w 4610101"/>
              <a:gd name="connsiteY3437" fmla="*/ 3337934 h 6557032"/>
              <a:gd name="connsiteX3438" fmla="*/ 4125401 w 4610101"/>
              <a:gd name="connsiteY3438" fmla="*/ 3337265 h 6557032"/>
              <a:gd name="connsiteX3439" fmla="*/ 4139979 w 4610101"/>
              <a:gd name="connsiteY3439" fmla="*/ 3351845 h 6557032"/>
              <a:gd name="connsiteX3440" fmla="*/ 4125401 w 4610101"/>
              <a:gd name="connsiteY3440" fmla="*/ 3351845 h 6557032"/>
              <a:gd name="connsiteX3441" fmla="*/ 3008410 w 4610101"/>
              <a:gd name="connsiteY3441" fmla="*/ 3337250 h 6557032"/>
              <a:gd name="connsiteX3442" fmla="*/ 2984721 w 4610101"/>
              <a:gd name="connsiteY3442" fmla="*/ 3339073 h 6557032"/>
              <a:gd name="connsiteX3443" fmla="*/ 2999299 w 4610101"/>
              <a:gd name="connsiteY3443" fmla="*/ 3353650 h 6557032"/>
              <a:gd name="connsiteX3444" fmla="*/ 3538663 w 4610101"/>
              <a:gd name="connsiteY3444" fmla="*/ 3335459 h 6557032"/>
              <a:gd name="connsiteX3445" fmla="*/ 3567818 w 4610101"/>
              <a:gd name="connsiteY3445" fmla="*/ 3368271 h 6557032"/>
              <a:gd name="connsiteX3446" fmla="*/ 3544129 w 4610101"/>
              <a:gd name="connsiteY3446" fmla="*/ 3368271 h 6557032"/>
              <a:gd name="connsiteX3447" fmla="*/ 3551418 w 4610101"/>
              <a:gd name="connsiteY3447" fmla="*/ 3382805 h 6557032"/>
              <a:gd name="connsiteX3448" fmla="*/ 3551417 w 4610101"/>
              <a:gd name="connsiteY3448" fmla="*/ 3382805 h 6557032"/>
              <a:gd name="connsiteX3449" fmla="*/ 3536841 w 4610101"/>
              <a:gd name="connsiteY3449" fmla="*/ 3382805 h 6557032"/>
              <a:gd name="connsiteX3450" fmla="*/ 3529552 w 4610101"/>
              <a:gd name="connsiteY3450" fmla="*/ 3397382 h 6557032"/>
              <a:gd name="connsiteX3451" fmla="*/ 3522263 w 4610101"/>
              <a:gd name="connsiteY3451" fmla="*/ 3382805 h 6557032"/>
              <a:gd name="connsiteX3452" fmla="*/ 3536841 w 4610101"/>
              <a:gd name="connsiteY3452" fmla="*/ 3375516 h 6557032"/>
              <a:gd name="connsiteX3453" fmla="*/ 3529552 w 4610101"/>
              <a:gd name="connsiteY3453" fmla="*/ 3360983 h 6557032"/>
              <a:gd name="connsiteX3454" fmla="*/ 3544129 w 4610101"/>
              <a:gd name="connsiteY3454" fmla="*/ 3360983 h 6557032"/>
              <a:gd name="connsiteX3455" fmla="*/ 3859365 w 4610101"/>
              <a:gd name="connsiteY3455" fmla="*/ 3331811 h 6557032"/>
              <a:gd name="connsiteX3456" fmla="*/ 3892164 w 4610101"/>
              <a:gd name="connsiteY3456" fmla="*/ 3337277 h 6557032"/>
              <a:gd name="connsiteX3457" fmla="*/ 3883054 w 4610101"/>
              <a:gd name="connsiteY3457" fmla="*/ 3353680 h 6557032"/>
              <a:gd name="connsiteX3458" fmla="*/ 1997103 w 4610101"/>
              <a:gd name="connsiteY3458" fmla="*/ 3322673 h 6557032"/>
              <a:gd name="connsiteX3459" fmla="*/ 1973416 w 4610101"/>
              <a:gd name="connsiteY3459" fmla="*/ 3324495 h 6557032"/>
              <a:gd name="connsiteX3460" fmla="*/ 1987992 w 4610101"/>
              <a:gd name="connsiteY3460" fmla="*/ 3339073 h 6557032"/>
              <a:gd name="connsiteX3461" fmla="*/ 3979628 w 4610101"/>
              <a:gd name="connsiteY3461" fmla="*/ 3320881 h 6557032"/>
              <a:gd name="connsiteX3462" fmla="*/ 3988739 w 4610101"/>
              <a:gd name="connsiteY3462" fmla="*/ 3335459 h 6557032"/>
              <a:gd name="connsiteX3463" fmla="*/ 3981451 w 4610101"/>
              <a:gd name="connsiteY3463" fmla="*/ 3346389 h 6557032"/>
              <a:gd name="connsiteX3464" fmla="*/ 3965051 w 4610101"/>
              <a:gd name="connsiteY3464" fmla="*/ 3335459 h 6557032"/>
              <a:gd name="connsiteX3465" fmla="*/ 3644349 w 4610101"/>
              <a:gd name="connsiteY3465" fmla="*/ 3320874 h 6557032"/>
              <a:gd name="connsiteX3466" fmla="*/ 3657104 w 4610101"/>
              <a:gd name="connsiteY3466" fmla="*/ 3337270 h 6557032"/>
              <a:gd name="connsiteX3467" fmla="*/ 3635238 w 4610101"/>
              <a:gd name="connsiteY3467" fmla="*/ 3337270 h 6557032"/>
              <a:gd name="connsiteX3468" fmla="*/ 3602438 w 4610101"/>
              <a:gd name="connsiteY3468" fmla="*/ 3320868 h 6557032"/>
              <a:gd name="connsiteX3469" fmla="*/ 3604260 w 4610101"/>
              <a:gd name="connsiteY3469" fmla="*/ 3337265 h 6557032"/>
              <a:gd name="connsiteX3470" fmla="*/ 3587860 w 4610101"/>
              <a:gd name="connsiteY3470" fmla="*/ 3335443 h 6557032"/>
              <a:gd name="connsiteX3471" fmla="*/ 3097696 w 4610101"/>
              <a:gd name="connsiteY3471" fmla="*/ 3320851 h 6557032"/>
              <a:gd name="connsiteX3472" fmla="*/ 3083119 w 4610101"/>
              <a:gd name="connsiteY3472" fmla="*/ 3335428 h 6557032"/>
              <a:gd name="connsiteX3473" fmla="*/ 3097696 w 4610101"/>
              <a:gd name="connsiteY3473" fmla="*/ 3344539 h 6557032"/>
              <a:gd name="connsiteX3474" fmla="*/ 3106807 w 4610101"/>
              <a:gd name="connsiteY3474" fmla="*/ 3337250 h 6557032"/>
              <a:gd name="connsiteX3475" fmla="*/ 3544129 w 4610101"/>
              <a:gd name="connsiteY3475" fmla="*/ 3313590 h 6557032"/>
              <a:gd name="connsiteX3476" fmla="*/ 3575106 w 4610101"/>
              <a:gd name="connsiteY3476" fmla="*/ 3322704 h 6557032"/>
              <a:gd name="connsiteX3477" fmla="*/ 3565995 w 4610101"/>
              <a:gd name="connsiteY3477" fmla="*/ 3339096 h 6557032"/>
              <a:gd name="connsiteX3478" fmla="*/ 2924590 w 4610101"/>
              <a:gd name="connsiteY3478" fmla="*/ 3313562 h 6557032"/>
              <a:gd name="connsiteX3479" fmla="*/ 2910012 w 4610101"/>
              <a:gd name="connsiteY3479" fmla="*/ 3328140 h 6557032"/>
              <a:gd name="connsiteX3480" fmla="*/ 2926412 w 4610101"/>
              <a:gd name="connsiteY3480" fmla="*/ 3329962 h 6557032"/>
              <a:gd name="connsiteX3481" fmla="*/ 3717236 w 4610101"/>
              <a:gd name="connsiteY3481" fmla="*/ 3299008 h 6557032"/>
              <a:gd name="connsiteX3482" fmla="*/ 3715413 w 4610101"/>
              <a:gd name="connsiteY3482" fmla="*/ 3324526 h 6557032"/>
              <a:gd name="connsiteX3483" fmla="*/ 3693547 w 4610101"/>
              <a:gd name="connsiteY3483" fmla="*/ 3300834 h 6557032"/>
              <a:gd name="connsiteX3484" fmla="*/ 3575106 w 4610101"/>
              <a:gd name="connsiteY3484" fmla="*/ 3299008 h 6557032"/>
              <a:gd name="connsiteX3485" fmla="*/ 3598795 w 4610101"/>
              <a:gd name="connsiteY3485" fmla="*/ 3300832 h 6557032"/>
              <a:gd name="connsiteX3486" fmla="*/ 3575106 w 4610101"/>
              <a:gd name="connsiteY3486" fmla="*/ 3322704 h 6557032"/>
              <a:gd name="connsiteX3487" fmla="*/ 3225248 w 4610101"/>
              <a:gd name="connsiteY3487" fmla="*/ 3298985 h 6557032"/>
              <a:gd name="connsiteX3488" fmla="*/ 3210671 w 4610101"/>
              <a:gd name="connsiteY3488" fmla="*/ 3313562 h 6557032"/>
              <a:gd name="connsiteX3489" fmla="*/ 3227071 w 4610101"/>
              <a:gd name="connsiteY3489" fmla="*/ 3315384 h 6557032"/>
              <a:gd name="connsiteX3490" fmla="*/ 3520441 w 4610101"/>
              <a:gd name="connsiteY3490" fmla="*/ 3284446 h 6557032"/>
              <a:gd name="connsiteX3491" fmla="*/ 3536841 w 4610101"/>
              <a:gd name="connsiteY3491" fmla="*/ 3300842 h 6557032"/>
              <a:gd name="connsiteX3492" fmla="*/ 3529552 w 4610101"/>
              <a:gd name="connsiteY3492" fmla="*/ 3322713 h 6557032"/>
              <a:gd name="connsiteX3493" fmla="*/ 3522264 w 4610101"/>
              <a:gd name="connsiteY3493" fmla="*/ 3308130 h 6557032"/>
              <a:gd name="connsiteX3494" fmla="*/ 3498575 w 4610101"/>
              <a:gd name="connsiteY3494" fmla="*/ 3306308 h 6557032"/>
              <a:gd name="connsiteX3495" fmla="*/ 3912208 w 4610101"/>
              <a:gd name="connsiteY3495" fmla="*/ 3277154 h 6557032"/>
              <a:gd name="connsiteX3496" fmla="*/ 3945007 w 4610101"/>
              <a:gd name="connsiteY3496" fmla="*/ 3286265 h 6557032"/>
              <a:gd name="connsiteX3497" fmla="*/ 3923141 w 4610101"/>
              <a:gd name="connsiteY3497" fmla="*/ 3306306 h 6557032"/>
              <a:gd name="connsiteX3498" fmla="*/ 3536839 w 4610101"/>
              <a:gd name="connsiteY3498" fmla="*/ 3277136 h 6557032"/>
              <a:gd name="connsiteX3499" fmla="*/ 3551416 w 4610101"/>
              <a:gd name="connsiteY3499" fmla="*/ 3291716 h 6557032"/>
              <a:gd name="connsiteX3500" fmla="*/ 3536839 w 4610101"/>
              <a:gd name="connsiteY3500" fmla="*/ 3291716 h 6557032"/>
              <a:gd name="connsiteX3501" fmla="*/ 3227071 w 4610101"/>
              <a:gd name="connsiteY3501" fmla="*/ 3269831 h 6557032"/>
              <a:gd name="connsiteX3502" fmla="*/ 3203382 w 4610101"/>
              <a:gd name="connsiteY3502" fmla="*/ 3271653 h 6557032"/>
              <a:gd name="connsiteX3503" fmla="*/ 3217960 w 4610101"/>
              <a:gd name="connsiteY3503" fmla="*/ 3286230 h 6557032"/>
              <a:gd name="connsiteX3504" fmla="*/ 3024809 w 4610101"/>
              <a:gd name="connsiteY3504" fmla="*/ 3269831 h 6557032"/>
              <a:gd name="connsiteX3505" fmla="*/ 3024809 w 4610101"/>
              <a:gd name="connsiteY3505" fmla="*/ 3291696 h 6557032"/>
              <a:gd name="connsiteX3506" fmla="*/ 3046675 w 4610101"/>
              <a:gd name="connsiteY3506" fmla="*/ 3269831 h 6557032"/>
              <a:gd name="connsiteX3507" fmla="*/ 3363734 w 4610101"/>
              <a:gd name="connsiteY3507" fmla="*/ 3268009 h 6557032"/>
              <a:gd name="connsiteX3508" fmla="*/ 3332756 w 4610101"/>
              <a:gd name="connsiteY3508" fmla="*/ 3277119 h 6557032"/>
              <a:gd name="connsiteX3509" fmla="*/ 3340045 w 4610101"/>
              <a:gd name="connsiteY3509" fmla="*/ 3291696 h 6557032"/>
              <a:gd name="connsiteX3510" fmla="*/ 3325468 w 4610101"/>
              <a:gd name="connsiteY3510" fmla="*/ 3291696 h 6557032"/>
              <a:gd name="connsiteX3511" fmla="*/ 3325468 w 4610101"/>
              <a:gd name="connsiteY3511" fmla="*/ 3306274 h 6557032"/>
              <a:gd name="connsiteX3512" fmla="*/ 3303602 w 4610101"/>
              <a:gd name="connsiteY3512" fmla="*/ 3306274 h 6557032"/>
              <a:gd name="connsiteX3513" fmla="*/ 3287202 w 4610101"/>
              <a:gd name="connsiteY3513" fmla="*/ 3328140 h 6557032"/>
              <a:gd name="connsiteX3514" fmla="*/ 3256225 w 4610101"/>
              <a:gd name="connsiteY3514" fmla="*/ 3320851 h 6557032"/>
              <a:gd name="connsiteX3515" fmla="*/ 3263514 w 4610101"/>
              <a:gd name="connsiteY3515" fmla="*/ 3308096 h 6557032"/>
              <a:gd name="connsiteX3516" fmla="*/ 3241648 w 4610101"/>
              <a:gd name="connsiteY3516" fmla="*/ 3291696 h 6557032"/>
              <a:gd name="connsiteX3517" fmla="*/ 3250759 w 4610101"/>
              <a:gd name="connsiteY3517" fmla="*/ 3313562 h 6557032"/>
              <a:gd name="connsiteX3518" fmla="*/ 3243470 w 4610101"/>
              <a:gd name="connsiteY3518" fmla="*/ 3328140 h 6557032"/>
              <a:gd name="connsiteX3519" fmla="*/ 3267158 w 4610101"/>
              <a:gd name="connsiteY3519" fmla="*/ 3328140 h 6557032"/>
              <a:gd name="connsiteX3520" fmla="*/ 3258047 w 4610101"/>
              <a:gd name="connsiteY3520" fmla="*/ 3342717 h 6557032"/>
              <a:gd name="connsiteX3521" fmla="*/ 3227071 w 4610101"/>
              <a:gd name="connsiteY3521" fmla="*/ 3350006 h 6557032"/>
              <a:gd name="connsiteX3522" fmla="*/ 3236181 w 4610101"/>
              <a:gd name="connsiteY3522" fmla="*/ 3366405 h 6557032"/>
              <a:gd name="connsiteX3523" fmla="*/ 3258047 w 4610101"/>
              <a:gd name="connsiteY3523" fmla="*/ 3342717 h 6557032"/>
              <a:gd name="connsiteX3524" fmla="*/ 3272625 w 4610101"/>
              <a:gd name="connsiteY3524" fmla="*/ 3350006 h 6557032"/>
              <a:gd name="connsiteX3525" fmla="*/ 3273367 w 4610101"/>
              <a:gd name="connsiteY3525" fmla="*/ 3350748 h 6557032"/>
              <a:gd name="connsiteX3526" fmla="*/ 3287202 w 4610101"/>
              <a:gd name="connsiteY3526" fmla="*/ 3329989 h 6557032"/>
              <a:gd name="connsiteX3527" fmla="*/ 3296313 w 4610101"/>
              <a:gd name="connsiteY3527" fmla="*/ 3335459 h 6557032"/>
              <a:gd name="connsiteX3528" fmla="*/ 3303602 w 4610101"/>
              <a:gd name="connsiteY3528" fmla="*/ 3344569 h 6557032"/>
              <a:gd name="connsiteX3529" fmla="*/ 3289025 w 4610101"/>
              <a:gd name="connsiteY3529" fmla="*/ 3353683 h 6557032"/>
              <a:gd name="connsiteX3530" fmla="*/ 3274713 w 4610101"/>
              <a:gd name="connsiteY3530" fmla="*/ 3352094 h 6557032"/>
              <a:gd name="connsiteX3531" fmla="*/ 3287202 w 4610101"/>
              <a:gd name="connsiteY3531" fmla="*/ 3364583 h 6557032"/>
              <a:gd name="connsiteX3532" fmla="*/ 3294491 w 4610101"/>
              <a:gd name="connsiteY3532" fmla="*/ 3402849 h 6557032"/>
              <a:gd name="connsiteX3533" fmla="*/ 3294491 w 4610101"/>
              <a:gd name="connsiteY3533" fmla="*/ 3388271 h 6557032"/>
              <a:gd name="connsiteX3534" fmla="*/ 3325468 w 4610101"/>
              <a:gd name="connsiteY3534" fmla="*/ 3388271 h 6557032"/>
              <a:gd name="connsiteX3535" fmla="*/ 3356445 w 4610101"/>
              <a:gd name="connsiteY3535" fmla="*/ 3380983 h 6557032"/>
              <a:gd name="connsiteX3536" fmla="*/ 3332756 w 4610101"/>
              <a:gd name="connsiteY3536" fmla="*/ 3380983 h 6557032"/>
              <a:gd name="connsiteX3537" fmla="*/ 3340045 w 4610101"/>
              <a:gd name="connsiteY3537" fmla="*/ 3368228 h 6557032"/>
              <a:gd name="connsiteX3538" fmla="*/ 3336401 w 4610101"/>
              <a:gd name="connsiteY3538" fmla="*/ 3353650 h 6557032"/>
              <a:gd name="connsiteX3539" fmla="*/ 3336401 w 4610101"/>
              <a:gd name="connsiteY3539" fmla="*/ 3341841 h 6557032"/>
              <a:gd name="connsiteX3540" fmla="*/ 3334579 w 4610101"/>
              <a:gd name="connsiteY3540" fmla="*/ 3344574 h 6557032"/>
              <a:gd name="connsiteX3541" fmla="*/ 3303602 w 4610101"/>
              <a:gd name="connsiteY3541" fmla="*/ 3344574 h 6557032"/>
              <a:gd name="connsiteX3542" fmla="*/ 3334579 w 4610101"/>
              <a:gd name="connsiteY3542" fmla="*/ 3322713 h 6557032"/>
              <a:gd name="connsiteX3543" fmla="*/ 3349157 w 4610101"/>
              <a:gd name="connsiteY3543" fmla="*/ 3322713 h 6557032"/>
              <a:gd name="connsiteX3544" fmla="*/ 3338247 w 4610101"/>
              <a:gd name="connsiteY3544" fmla="*/ 3339073 h 6557032"/>
              <a:gd name="connsiteX3545" fmla="*/ 3350978 w 4610101"/>
              <a:gd name="connsiteY3545" fmla="*/ 3339073 h 6557032"/>
              <a:gd name="connsiteX3546" fmla="*/ 3387422 w 4610101"/>
              <a:gd name="connsiteY3546" fmla="*/ 3326318 h 6557032"/>
              <a:gd name="connsiteX3547" fmla="*/ 3394710 w 4610101"/>
              <a:gd name="connsiteY3547" fmla="*/ 3330691 h 6557032"/>
              <a:gd name="connsiteX3548" fmla="*/ 3394710 w 4610101"/>
              <a:gd name="connsiteY3548" fmla="*/ 3333606 h 6557032"/>
              <a:gd name="connsiteX3549" fmla="*/ 3395166 w 4610101"/>
              <a:gd name="connsiteY3549" fmla="*/ 3333834 h 6557032"/>
              <a:gd name="connsiteX3550" fmla="*/ 3381955 w 4610101"/>
              <a:gd name="connsiteY3550" fmla="*/ 3353650 h 6557032"/>
              <a:gd name="connsiteX3551" fmla="*/ 3389244 w 4610101"/>
              <a:gd name="connsiteY3551" fmla="*/ 3364583 h 6557032"/>
              <a:gd name="connsiteX3552" fmla="*/ 3409288 w 4610101"/>
              <a:gd name="connsiteY3552" fmla="*/ 3340895 h 6557032"/>
              <a:gd name="connsiteX3553" fmla="*/ 3395166 w 4610101"/>
              <a:gd name="connsiteY3553" fmla="*/ 3333834 h 6557032"/>
              <a:gd name="connsiteX3554" fmla="*/ 3396532 w 4610101"/>
              <a:gd name="connsiteY3554" fmla="*/ 3331784 h 6557032"/>
              <a:gd name="connsiteX3555" fmla="*/ 3394710 w 4610101"/>
              <a:gd name="connsiteY3555" fmla="*/ 3330691 h 6557032"/>
              <a:gd name="connsiteX3556" fmla="*/ 3394710 w 4610101"/>
              <a:gd name="connsiteY3556" fmla="*/ 3319029 h 6557032"/>
              <a:gd name="connsiteX3557" fmla="*/ 3401999 w 4610101"/>
              <a:gd name="connsiteY3557" fmla="*/ 3306274 h 6557032"/>
              <a:gd name="connsiteX3558" fmla="*/ 3396532 w 4610101"/>
              <a:gd name="connsiteY3558" fmla="*/ 3298985 h 6557032"/>
              <a:gd name="connsiteX3559" fmla="*/ 3365556 w 4610101"/>
              <a:gd name="connsiteY3559" fmla="*/ 3306274 h 6557032"/>
              <a:gd name="connsiteX3560" fmla="*/ 3372844 w 4610101"/>
              <a:gd name="connsiteY3560" fmla="*/ 3320851 h 6557032"/>
              <a:gd name="connsiteX3561" fmla="*/ 3350978 w 4610101"/>
              <a:gd name="connsiteY3561" fmla="*/ 3320851 h 6557032"/>
              <a:gd name="connsiteX3562" fmla="*/ 3334579 w 4610101"/>
              <a:gd name="connsiteY3562" fmla="*/ 3306274 h 6557032"/>
              <a:gd name="connsiteX3563" fmla="*/ 3341867 w 4610101"/>
              <a:gd name="connsiteY3563" fmla="*/ 3291696 h 6557032"/>
              <a:gd name="connsiteX3564" fmla="*/ 3354623 w 4610101"/>
              <a:gd name="connsiteY3564" fmla="*/ 3298985 h 6557032"/>
              <a:gd name="connsiteX3565" fmla="*/ 1501471 w 4610101"/>
              <a:gd name="connsiteY3565" fmla="*/ 3264368 h 6557032"/>
              <a:gd name="connsiteX3566" fmla="*/ 1516049 w 4610101"/>
              <a:gd name="connsiteY3566" fmla="*/ 3273480 h 6557032"/>
              <a:gd name="connsiteX3567" fmla="*/ 1503293 w 4610101"/>
              <a:gd name="connsiteY3567" fmla="*/ 3275302 h 6557032"/>
              <a:gd name="connsiteX3568" fmla="*/ 1501471 w 4610101"/>
              <a:gd name="connsiteY3568" fmla="*/ 3271656 h 6557032"/>
              <a:gd name="connsiteX3569" fmla="*/ 1503293 w 4610101"/>
              <a:gd name="connsiteY3569" fmla="*/ 3269836 h 6557032"/>
              <a:gd name="connsiteX3570" fmla="*/ 1501471 w 4610101"/>
              <a:gd name="connsiteY3570" fmla="*/ 3264368 h 6557032"/>
              <a:gd name="connsiteX3571" fmla="*/ 3671682 w 4610101"/>
              <a:gd name="connsiteY3571" fmla="*/ 3262569 h 6557032"/>
              <a:gd name="connsiteX3572" fmla="*/ 3702659 w 4610101"/>
              <a:gd name="connsiteY3572" fmla="*/ 3269861 h 6557032"/>
              <a:gd name="connsiteX3573" fmla="*/ 3677148 w 4610101"/>
              <a:gd name="connsiteY3573" fmla="*/ 3277158 h 6557032"/>
              <a:gd name="connsiteX3574" fmla="*/ 3684437 w 4610101"/>
              <a:gd name="connsiteY3574" fmla="*/ 3306309 h 6557032"/>
              <a:gd name="connsiteX3575" fmla="*/ 3678970 w 4610101"/>
              <a:gd name="connsiteY3575" fmla="*/ 3315421 h 6557032"/>
              <a:gd name="connsiteX3576" fmla="*/ 3671682 w 4610101"/>
              <a:gd name="connsiteY3576" fmla="*/ 3262569 h 6557032"/>
              <a:gd name="connsiteX3577" fmla="*/ 3544129 w 4610101"/>
              <a:gd name="connsiteY3577" fmla="*/ 3231590 h 6557032"/>
              <a:gd name="connsiteX3578" fmla="*/ 3551418 w 4610101"/>
              <a:gd name="connsiteY3578" fmla="*/ 3260747 h 6557032"/>
              <a:gd name="connsiteX3579" fmla="*/ 3522263 w 4610101"/>
              <a:gd name="connsiteY3579" fmla="*/ 3268044 h 6557032"/>
              <a:gd name="connsiteX3580" fmla="*/ 3513153 w 4610101"/>
              <a:gd name="connsiteY3580" fmla="*/ 3262569 h 6557032"/>
              <a:gd name="connsiteX3581" fmla="*/ 3506320 w 4610101"/>
              <a:gd name="connsiteY3581" fmla="*/ 3273759 h 6557032"/>
              <a:gd name="connsiteX3582" fmla="*/ 3469420 w 4610101"/>
              <a:gd name="connsiteY3582" fmla="*/ 3240696 h 6557032"/>
              <a:gd name="connsiteX3583" fmla="*/ 3476709 w 4610101"/>
              <a:gd name="connsiteY3583" fmla="*/ 3231592 h 6557032"/>
              <a:gd name="connsiteX3584" fmla="*/ 3513152 w 4610101"/>
              <a:gd name="connsiteY3584" fmla="*/ 3262569 h 6557032"/>
              <a:gd name="connsiteX3585" fmla="*/ 3693548 w 4610101"/>
              <a:gd name="connsiteY3585" fmla="*/ 3231586 h 6557032"/>
              <a:gd name="connsiteX3586" fmla="*/ 3700837 w 4610101"/>
              <a:gd name="connsiteY3586" fmla="*/ 3264385 h 6557032"/>
              <a:gd name="connsiteX3587" fmla="*/ 3678970 w 4610101"/>
              <a:gd name="connsiteY3587" fmla="*/ 3240693 h 6557032"/>
              <a:gd name="connsiteX3588" fmla="*/ 3618839 w 4610101"/>
              <a:gd name="connsiteY3588" fmla="*/ 3229758 h 6557032"/>
              <a:gd name="connsiteX3589" fmla="*/ 3627950 w 4610101"/>
              <a:gd name="connsiteY3589" fmla="*/ 3246159 h 6557032"/>
              <a:gd name="connsiteX3590" fmla="*/ 3602439 w 4610101"/>
              <a:gd name="connsiteY3590" fmla="*/ 3246159 h 6557032"/>
              <a:gd name="connsiteX3591" fmla="*/ 1694622 w 4610101"/>
              <a:gd name="connsiteY3591" fmla="*/ 3229745 h 6557032"/>
              <a:gd name="connsiteX3592" fmla="*/ 1698266 w 4610101"/>
              <a:gd name="connsiteY3592" fmla="*/ 3240677 h 6557032"/>
              <a:gd name="connsiteX3593" fmla="*/ 1694622 w 4610101"/>
              <a:gd name="connsiteY3593" fmla="*/ 3246146 h 6557032"/>
              <a:gd name="connsiteX3594" fmla="*/ 1690978 w 4610101"/>
              <a:gd name="connsiteY3594" fmla="*/ 3240677 h 6557032"/>
              <a:gd name="connsiteX3595" fmla="*/ 1692800 w 4610101"/>
              <a:gd name="connsiteY3595" fmla="*/ 3237034 h 6557032"/>
              <a:gd name="connsiteX3596" fmla="*/ 1689155 w 4610101"/>
              <a:gd name="connsiteY3596" fmla="*/ 3235212 h 6557032"/>
              <a:gd name="connsiteX3597" fmla="*/ 1694622 w 4610101"/>
              <a:gd name="connsiteY3597" fmla="*/ 3229745 h 6557032"/>
              <a:gd name="connsiteX3598" fmla="*/ 1175302 w 4610101"/>
              <a:gd name="connsiteY3598" fmla="*/ 3224283 h 6557032"/>
              <a:gd name="connsiteX3599" fmla="*/ 1173481 w 4610101"/>
              <a:gd name="connsiteY3599" fmla="*/ 3240687 h 6557032"/>
              <a:gd name="connsiteX3600" fmla="*/ 1158902 w 4610101"/>
              <a:gd name="connsiteY3600" fmla="*/ 3226109 h 6557032"/>
              <a:gd name="connsiteX3601" fmla="*/ 1182592 w 4610101"/>
              <a:gd name="connsiteY3601" fmla="*/ 3215177 h 6557032"/>
              <a:gd name="connsiteX3602" fmla="*/ 1213567 w 4610101"/>
              <a:gd name="connsiteY3602" fmla="*/ 3231592 h 6557032"/>
              <a:gd name="connsiteX3603" fmla="*/ 1228145 w 4610101"/>
              <a:gd name="connsiteY3603" fmla="*/ 3224292 h 6557032"/>
              <a:gd name="connsiteX3604" fmla="*/ 1228145 w 4610101"/>
              <a:gd name="connsiteY3604" fmla="*/ 3238878 h 6557032"/>
              <a:gd name="connsiteX3605" fmla="*/ 1244544 w 4610101"/>
              <a:gd name="connsiteY3605" fmla="*/ 3238878 h 6557032"/>
              <a:gd name="connsiteX3606" fmla="*/ 1237256 w 4610101"/>
              <a:gd name="connsiteY3606" fmla="*/ 3253460 h 6557032"/>
              <a:gd name="connsiteX3607" fmla="*/ 1253655 w 4610101"/>
              <a:gd name="connsiteY3607" fmla="*/ 3275329 h 6557032"/>
              <a:gd name="connsiteX3608" fmla="*/ 1275522 w 4610101"/>
              <a:gd name="connsiteY3608" fmla="*/ 3284446 h 6557032"/>
              <a:gd name="connsiteX3609" fmla="*/ 1244544 w 4610101"/>
              <a:gd name="connsiteY3609" fmla="*/ 3306311 h 6557032"/>
              <a:gd name="connsiteX3610" fmla="*/ 1198990 w 4610101"/>
              <a:gd name="connsiteY3610" fmla="*/ 3351865 h 6557032"/>
              <a:gd name="connsiteX3611" fmla="*/ 1198990 w 4610101"/>
              <a:gd name="connsiteY3611" fmla="*/ 3337283 h 6557032"/>
              <a:gd name="connsiteX3612" fmla="*/ 1158902 w 4610101"/>
              <a:gd name="connsiteY3612" fmla="*/ 3306311 h 6557032"/>
              <a:gd name="connsiteX3613" fmla="*/ 1160724 w 4610101"/>
              <a:gd name="connsiteY3613" fmla="*/ 3269861 h 6557032"/>
              <a:gd name="connsiteX3614" fmla="*/ 1175302 w 4610101"/>
              <a:gd name="connsiteY3614" fmla="*/ 3255282 h 6557032"/>
              <a:gd name="connsiteX3615" fmla="*/ 1206279 w 4610101"/>
              <a:gd name="connsiteY3615" fmla="*/ 3244341 h 6557032"/>
              <a:gd name="connsiteX3616" fmla="*/ 1144326 w 4610101"/>
              <a:gd name="connsiteY3616" fmla="*/ 3215171 h 6557032"/>
              <a:gd name="connsiteX3617" fmla="*/ 1146148 w 4610101"/>
              <a:gd name="connsiteY3617" fmla="*/ 3231581 h 6557032"/>
              <a:gd name="connsiteX3618" fmla="*/ 1129748 w 4610101"/>
              <a:gd name="connsiteY3618" fmla="*/ 3229758 h 6557032"/>
              <a:gd name="connsiteX3619" fmla="*/ 1392141 w 4610101"/>
              <a:gd name="connsiteY3619" fmla="*/ 3215167 h 6557032"/>
              <a:gd name="connsiteX3620" fmla="*/ 1490540 w 4610101"/>
              <a:gd name="connsiteY3620" fmla="*/ 3222457 h 6557032"/>
              <a:gd name="connsiteX3621" fmla="*/ 1490540 w 4610101"/>
              <a:gd name="connsiteY3621" fmla="*/ 3231568 h 6557032"/>
              <a:gd name="connsiteX3622" fmla="*/ 1492362 w 4610101"/>
              <a:gd name="connsiteY3622" fmla="*/ 3231568 h 6557032"/>
              <a:gd name="connsiteX3623" fmla="*/ 1492362 w 4610101"/>
              <a:gd name="connsiteY3623" fmla="*/ 3237035 h 6557032"/>
              <a:gd name="connsiteX3624" fmla="*/ 1486895 w 4610101"/>
              <a:gd name="connsiteY3624" fmla="*/ 3235213 h 6557032"/>
              <a:gd name="connsiteX3625" fmla="*/ 1488717 w 4610101"/>
              <a:gd name="connsiteY3625" fmla="*/ 3238856 h 6557032"/>
              <a:gd name="connsiteX3626" fmla="*/ 1477784 w 4610101"/>
              <a:gd name="connsiteY3626" fmla="*/ 3242502 h 6557032"/>
              <a:gd name="connsiteX3627" fmla="*/ 1465028 w 4610101"/>
              <a:gd name="connsiteY3627" fmla="*/ 3233390 h 6557032"/>
              <a:gd name="connsiteX3628" fmla="*/ 1439518 w 4610101"/>
              <a:gd name="connsiteY3628" fmla="*/ 3233390 h 6557032"/>
              <a:gd name="connsiteX3629" fmla="*/ 1452273 w 4610101"/>
              <a:gd name="connsiteY3629" fmla="*/ 3247968 h 6557032"/>
              <a:gd name="connsiteX3630" fmla="*/ 1434051 w 4610101"/>
              <a:gd name="connsiteY3630" fmla="*/ 3262548 h 6557032"/>
              <a:gd name="connsiteX3631" fmla="*/ 1430407 w 4610101"/>
              <a:gd name="connsiteY3631" fmla="*/ 3269834 h 6557032"/>
              <a:gd name="connsiteX3632" fmla="*/ 1468673 w 4610101"/>
              <a:gd name="connsiteY3632" fmla="*/ 3253434 h 6557032"/>
              <a:gd name="connsiteX3633" fmla="*/ 1481428 w 4610101"/>
              <a:gd name="connsiteY3633" fmla="*/ 3249790 h 6557032"/>
              <a:gd name="connsiteX3634" fmla="*/ 1484460 w 4610101"/>
              <a:gd name="connsiteY3634" fmla="*/ 3250397 h 6557032"/>
              <a:gd name="connsiteX3635" fmla="*/ 1479605 w 4610101"/>
              <a:gd name="connsiteY3635" fmla="*/ 3247968 h 6557032"/>
              <a:gd name="connsiteX3636" fmla="*/ 1486895 w 4610101"/>
              <a:gd name="connsiteY3636" fmla="*/ 3244322 h 6557032"/>
              <a:gd name="connsiteX3637" fmla="*/ 1488716 w 4610101"/>
              <a:gd name="connsiteY3637" fmla="*/ 3246146 h 6557032"/>
              <a:gd name="connsiteX3638" fmla="*/ 1490537 w 4610101"/>
              <a:gd name="connsiteY3638" fmla="*/ 3251612 h 6557032"/>
              <a:gd name="connsiteX3639" fmla="*/ 1490539 w 4610101"/>
              <a:gd name="connsiteY3639" fmla="*/ 3251612 h 6557032"/>
              <a:gd name="connsiteX3640" fmla="*/ 1490538 w 4610101"/>
              <a:gd name="connsiteY3640" fmla="*/ 3251614 h 6557032"/>
              <a:gd name="connsiteX3641" fmla="*/ 1490538 w 4610101"/>
              <a:gd name="connsiteY3641" fmla="*/ 3253434 h 6557032"/>
              <a:gd name="connsiteX3642" fmla="*/ 1489810 w 4610101"/>
              <a:gd name="connsiteY3642" fmla="*/ 3253072 h 6557032"/>
              <a:gd name="connsiteX3643" fmla="*/ 1486895 w 4610101"/>
              <a:gd name="connsiteY3643" fmla="*/ 3258902 h 6557032"/>
              <a:gd name="connsiteX3644" fmla="*/ 1494183 w 4610101"/>
              <a:gd name="connsiteY3644" fmla="*/ 3258902 h 6557032"/>
              <a:gd name="connsiteX3645" fmla="*/ 1494183 w 4610101"/>
              <a:gd name="connsiteY3645" fmla="*/ 3262546 h 6557032"/>
              <a:gd name="connsiteX3646" fmla="*/ 1488717 w 4610101"/>
              <a:gd name="connsiteY3646" fmla="*/ 3266190 h 6557032"/>
              <a:gd name="connsiteX3647" fmla="*/ 1492361 w 4610101"/>
              <a:gd name="connsiteY3647" fmla="*/ 3269834 h 6557032"/>
              <a:gd name="connsiteX3648" fmla="*/ 1472316 w 4610101"/>
              <a:gd name="connsiteY3648" fmla="*/ 3268012 h 6557032"/>
              <a:gd name="connsiteX3649" fmla="*/ 1466850 w 4610101"/>
              <a:gd name="connsiteY3649" fmla="*/ 3269834 h 6557032"/>
              <a:gd name="connsiteX3650" fmla="*/ 1479606 w 4610101"/>
              <a:gd name="connsiteY3650" fmla="*/ 3278946 h 6557032"/>
              <a:gd name="connsiteX3651" fmla="*/ 1454095 w 4610101"/>
              <a:gd name="connsiteY3651" fmla="*/ 3315384 h 6557032"/>
              <a:gd name="connsiteX3652" fmla="*/ 1463206 w 4610101"/>
              <a:gd name="connsiteY3652" fmla="*/ 3313562 h 6557032"/>
              <a:gd name="connsiteX3653" fmla="*/ 1486895 w 4610101"/>
              <a:gd name="connsiteY3653" fmla="*/ 3288057 h 6557032"/>
              <a:gd name="connsiteX3654" fmla="*/ 1488717 w 4610101"/>
              <a:gd name="connsiteY3654" fmla="*/ 3277124 h 6557032"/>
              <a:gd name="connsiteX3655" fmla="*/ 1492361 w 4610101"/>
              <a:gd name="connsiteY3655" fmla="*/ 3271656 h 6557032"/>
              <a:gd name="connsiteX3656" fmla="*/ 1494183 w 4610101"/>
              <a:gd name="connsiteY3656" fmla="*/ 3278946 h 6557032"/>
              <a:gd name="connsiteX3657" fmla="*/ 1483250 w 4610101"/>
              <a:gd name="connsiteY3657" fmla="*/ 3308095 h 6557032"/>
              <a:gd name="connsiteX3658" fmla="*/ 1496006 w 4610101"/>
              <a:gd name="connsiteY3658" fmla="*/ 3286234 h 6557032"/>
              <a:gd name="connsiteX3659" fmla="*/ 1497828 w 4610101"/>
              <a:gd name="connsiteY3659" fmla="*/ 3302629 h 6557032"/>
              <a:gd name="connsiteX3660" fmla="*/ 1514228 w 4610101"/>
              <a:gd name="connsiteY3660" fmla="*/ 3329961 h 6557032"/>
              <a:gd name="connsiteX3661" fmla="*/ 1496006 w 4610101"/>
              <a:gd name="connsiteY3661" fmla="*/ 3331784 h 6557032"/>
              <a:gd name="connsiteX3662" fmla="*/ 1490539 w 4610101"/>
              <a:gd name="connsiteY3662" fmla="*/ 3328139 h 6557032"/>
              <a:gd name="connsiteX3663" fmla="*/ 1488717 w 4610101"/>
              <a:gd name="connsiteY3663" fmla="*/ 3331784 h 6557032"/>
              <a:gd name="connsiteX3664" fmla="*/ 1450451 w 4610101"/>
              <a:gd name="connsiteY3664" fmla="*/ 3344539 h 6557032"/>
              <a:gd name="connsiteX3665" fmla="*/ 1432229 w 4610101"/>
              <a:gd name="connsiteY3665" fmla="*/ 3348183 h 6557032"/>
              <a:gd name="connsiteX3666" fmla="*/ 1424940 w 4610101"/>
              <a:gd name="connsiteY3666" fmla="*/ 3351827 h 6557032"/>
              <a:gd name="connsiteX3667" fmla="*/ 1403074 w 4610101"/>
              <a:gd name="connsiteY3667" fmla="*/ 3351827 h 6557032"/>
              <a:gd name="connsiteX3668" fmla="*/ 1410362 w 4610101"/>
              <a:gd name="connsiteY3668" fmla="*/ 3308095 h 6557032"/>
              <a:gd name="connsiteX3669" fmla="*/ 1386674 w 4610101"/>
              <a:gd name="connsiteY3669" fmla="*/ 3291701 h 6557032"/>
              <a:gd name="connsiteX3670" fmla="*/ 1381208 w 4610101"/>
              <a:gd name="connsiteY3670" fmla="*/ 3322673 h 6557032"/>
              <a:gd name="connsiteX3671" fmla="*/ 1342942 w 4610101"/>
              <a:gd name="connsiteY3671" fmla="*/ 3306273 h 6557032"/>
              <a:gd name="connsiteX3672" fmla="*/ 1359342 w 4610101"/>
              <a:gd name="connsiteY3672" fmla="*/ 3284413 h 6557032"/>
              <a:gd name="connsiteX3673" fmla="*/ 1381208 w 4610101"/>
              <a:gd name="connsiteY3673" fmla="*/ 3277124 h 6557032"/>
              <a:gd name="connsiteX3674" fmla="*/ 1352053 w 4610101"/>
              <a:gd name="connsiteY3674" fmla="*/ 3258902 h 6557032"/>
              <a:gd name="connsiteX3675" fmla="*/ 1328365 w 4610101"/>
              <a:gd name="connsiteY3675" fmla="*/ 3262546 h 6557032"/>
              <a:gd name="connsiteX3676" fmla="*/ 1328365 w 4610101"/>
              <a:gd name="connsiteY3676" fmla="*/ 3247968 h 6557032"/>
              <a:gd name="connsiteX3677" fmla="*/ 1324720 w 4610101"/>
              <a:gd name="connsiteY3677" fmla="*/ 3247968 h 6557032"/>
              <a:gd name="connsiteX3678" fmla="*/ 1335653 w 4610101"/>
              <a:gd name="connsiteY3678" fmla="*/ 3240678 h 6557032"/>
              <a:gd name="connsiteX3679" fmla="*/ 1339299 w 4610101"/>
              <a:gd name="connsiteY3679" fmla="*/ 3237032 h 6557032"/>
              <a:gd name="connsiteX3680" fmla="*/ 1353875 w 4610101"/>
              <a:gd name="connsiteY3680" fmla="*/ 3240678 h 6557032"/>
              <a:gd name="connsiteX3681" fmla="*/ 1344764 w 4610101"/>
              <a:gd name="connsiteY3681" fmla="*/ 3233388 h 6557032"/>
              <a:gd name="connsiteX3682" fmla="*/ 1383030 w 4610101"/>
              <a:gd name="connsiteY3682" fmla="*/ 3218811 h 6557032"/>
              <a:gd name="connsiteX3683" fmla="*/ 1393963 w 4610101"/>
              <a:gd name="connsiteY3683" fmla="*/ 3222455 h 6557032"/>
              <a:gd name="connsiteX3684" fmla="*/ 1415829 w 4610101"/>
              <a:gd name="connsiteY3684" fmla="*/ 3249790 h 6557032"/>
              <a:gd name="connsiteX3685" fmla="*/ 1434037 w 4610101"/>
              <a:gd name="connsiteY3685" fmla="*/ 3262535 h 6557032"/>
              <a:gd name="connsiteX3686" fmla="*/ 1411047 w 4610101"/>
              <a:gd name="connsiteY3686" fmla="*/ 3242957 h 6557032"/>
              <a:gd name="connsiteX3687" fmla="*/ 1392141 w 4610101"/>
              <a:gd name="connsiteY3687" fmla="*/ 3215167 h 6557032"/>
              <a:gd name="connsiteX3688" fmla="*/ 1220856 w 4610101"/>
              <a:gd name="connsiteY3688" fmla="*/ 3209701 h 6557032"/>
              <a:gd name="connsiteX3689" fmla="*/ 1244545 w 4610101"/>
              <a:gd name="connsiteY3689" fmla="*/ 3211525 h 6557032"/>
              <a:gd name="connsiteX3690" fmla="*/ 1228145 w 4610101"/>
              <a:gd name="connsiteY3690" fmla="*/ 3224289 h 6557032"/>
              <a:gd name="connsiteX3691" fmla="*/ 3830209 w 4610101"/>
              <a:gd name="connsiteY3691" fmla="*/ 3209699 h 6557032"/>
              <a:gd name="connsiteX3692" fmla="*/ 3846609 w 4610101"/>
              <a:gd name="connsiteY3692" fmla="*/ 3224283 h 6557032"/>
              <a:gd name="connsiteX3693" fmla="*/ 3830209 w 4610101"/>
              <a:gd name="connsiteY3693" fmla="*/ 3224283 h 6557032"/>
              <a:gd name="connsiteX3694" fmla="*/ 1324721 w 4610101"/>
              <a:gd name="connsiteY3694" fmla="*/ 3207877 h 6557032"/>
              <a:gd name="connsiteX3695" fmla="*/ 1364809 w 4610101"/>
              <a:gd name="connsiteY3695" fmla="*/ 3213345 h 6557032"/>
              <a:gd name="connsiteX3696" fmla="*/ 1348410 w 4610101"/>
              <a:gd name="connsiteY3696" fmla="*/ 3224279 h 6557032"/>
              <a:gd name="connsiteX3697" fmla="*/ 1326543 w 4610101"/>
              <a:gd name="connsiteY3697" fmla="*/ 3240677 h 6557032"/>
              <a:gd name="connsiteX3698" fmla="*/ 1324721 w 4610101"/>
              <a:gd name="connsiteY3698" fmla="*/ 3238855 h 6557032"/>
              <a:gd name="connsiteX3699" fmla="*/ 1319254 w 4610101"/>
              <a:gd name="connsiteY3699" fmla="*/ 3244322 h 6557032"/>
              <a:gd name="connsiteX3700" fmla="*/ 1315610 w 4610101"/>
              <a:gd name="connsiteY3700" fmla="*/ 3242500 h 6557032"/>
              <a:gd name="connsiteX3701" fmla="*/ 1311966 w 4610101"/>
              <a:gd name="connsiteY3701" fmla="*/ 3233388 h 6557032"/>
              <a:gd name="connsiteX3702" fmla="*/ 1306499 w 4610101"/>
              <a:gd name="connsiteY3702" fmla="*/ 3227922 h 6557032"/>
              <a:gd name="connsiteX3703" fmla="*/ 1297388 w 4610101"/>
              <a:gd name="connsiteY3703" fmla="*/ 3233388 h 6557032"/>
              <a:gd name="connsiteX3704" fmla="*/ 1297388 w 4610101"/>
              <a:gd name="connsiteY3704" fmla="*/ 3231567 h 6557032"/>
              <a:gd name="connsiteX3705" fmla="*/ 1310144 w 4610101"/>
              <a:gd name="connsiteY3705" fmla="*/ 3215167 h 6557032"/>
              <a:gd name="connsiteX3706" fmla="*/ 1324721 w 4610101"/>
              <a:gd name="connsiteY3706" fmla="*/ 3222455 h 6557032"/>
              <a:gd name="connsiteX3707" fmla="*/ 1324721 w 4610101"/>
              <a:gd name="connsiteY3707" fmla="*/ 3207877 h 6557032"/>
              <a:gd name="connsiteX3708" fmla="*/ 1665240 w 4610101"/>
              <a:gd name="connsiteY3708" fmla="*/ 3206967 h 6557032"/>
              <a:gd name="connsiteX3709" fmla="*/ 1681868 w 4610101"/>
              <a:gd name="connsiteY3709" fmla="*/ 3226101 h 6557032"/>
              <a:gd name="connsiteX3710" fmla="*/ 1683690 w 4610101"/>
              <a:gd name="connsiteY3710" fmla="*/ 3229745 h 6557032"/>
              <a:gd name="connsiteX3711" fmla="*/ 1683690 w 4610101"/>
              <a:gd name="connsiteY3711" fmla="*/ 3237034 h 6557032"/>
              <a:gd name="connsiteX3712" fmla="*/ 1645424 w 4610101"/>
              <a:gd name="connsiteY3712" fmla="*/ 3260724 h 6557032"/>
              <a:gd name="connsiteX3713" fmla="*/ 1621735 w 4610101"/>
              <a:gd name="connsiteY3713" fmla="*/ 3273480 h 6557032"/>
              <a:gd name="connsiteX3714" fmla="*/ 1590758 w 4610101"/>
              <a:gd name="connsiteY3714" fmla="*/ 3293525 h 6557032"/>
              <a:gd name="connsiteX3715" fmla="*/ 1570714 w 4610101"/>
              <a:gd name="connsiteY3715" fmla="*/ 3306275 h 6557032"/>
              <a:gd name="connsiteX3716" fmla="*/ 1548848 w 4610101"/>
              <a:gd name="connsiteY3716" fmla="*/ 3317208 h 6557032"/>
              <a:gd name="connsiteX3717" fmla="*/ 1526982 w 4610101"/>
              <a:gd name="connsiteY3717" fmla="*/ 3328141 h 6557032"/>
              <a:gd name="connsiteX3718" fmla="*/ 1525159 w 4610101"/>
              <a:gd name="connsiteY3718" fmla="*/ 3324497 h 6557032"/>
              <a:gd name="connsiteX3719" fmla="*/ 1532448 w 4610101"/>
              <a:gd name="connsiteY3719" fmla="*/ 3324497 h 6557032"/>
              <a:gd name="connsiteX3720" fmla="*/ 1532448 w 4610101"/>
              <a:gd name="connsiteY3720" fmla="*/ 3322675 h 6557032"/>
              <a:gd name="connsiteX3721" fmla="*/ 1526982 w 4610101"/>
              <a:gd name="connsiteY3721" fmla="*/ 3320852 h 6557032"/>
              <a:gd name="connsiteX3722" fmla="*/ 1530626 w 4610101"/>
              <a:gd name="connsiteY3722" fmla="*/ 3315386 h 6557032"/>
              <a:gd name="connsiteX3723" fmla="*/ 1523337 w 4610101"/>
              <a:gd name="connsiteY3723" fmla="*/ 3309919 h 6557032"/>
              <a:gd name="connsiteX3724" fmla="*/ 1506938 w 4610101"/>
              <a:gd name="connsiteY3724" fmla="*/ 3284414 h 6557032"/>
              <a:gd name="connsiteX3725" fmla="*/ 1523337 w 4610101"/>
              <a:gd name="connsiteY3725" fmla="*/ 3282592 h 6557032"/>
              <a:gd name="connsiteX3726" fmla="*/ 1530626 w 4610101"/>
              <a:gd name="connsiteY3726" fmla="*/ 3284414 h 6557032"/>
              <a:gd name="connsiteX3727" fmla="*/ 1557959 w 4610101"/>
              <a:gd name="connsiteY3727" fmla="*/ 3280769 h 6557032"/>
              <a:gd name="connsiteX3728" fmla="*/ 1541559 w 4610101"/>
              <a:gd name="connsiteY3728" fmla="*/ 3268014 h 6557032"/>
              <a:gd name="connsiteX3729" fmla="*/ 1521515 w 4610101"/>
              <a:gd name="connsiteY3729" fmla="*/ 3262548 h 6557032"/>
              <a:gd name="connsiteX3730" fmla="*/ 1505117 w 4610101"/>
              <a:gd name="connsiteY3730" fmla="*/ 3262548 h 6557032"/>
              <a:gd name="connsiteX3731" fmla="*/ 1510582 w 4610101"/>
              <a:gd name="connsiteY3731" fmla="*/ 3246146 h 6557032"/>
              <a:gd name="connsiteX3732" fmla="*/ 1514226 w 4610101"/>
              <a:gd name="connsiteY3732" fmla="*/ 3244324 h 6557032"/>
              <a:gd name="connsiteX3733" fmla="*/ 1508760 w 4610101"/>
              <a:gd name="connsiteY3733" fmla="*/ 3235213 h 6557032"/>
              <a:gd name="connsiteX3734" fmla="*/ 1503293 w 4610101"/>
              <a:gd name="connsiteY3734" fmla="*/ 3233390 h 6557032"/>
              <a:gd name="connsiteX3735" fmla="*/ 1505117 w 4610101"/>
              <a:gd name="connsiteY3735" fmla="*/ 3233390 h 6557032"/>
              <a:gd name="connsiteX3736" fmla="*/ 1505117 w 4610101"/>
              <a:gd name="connsiteY3736" fmla="*/ 3224279 h 6557032"/>
              <a:gd name="connsiteX3737" fmla="*/ 1539737 w 4610101"/>
              <a:gd name="connsiteY3737" fmla="*/ 3220635 h 6557032"/>
              <a:gd name="connsiteX3738" fmla="*/ 1539737 w 4610101"/>
              <a:gd name="connsiteY3738" fmla="*/ 3224279 h 6557032"/>
              <a:gd name="connsiteX3739" fmla="*/ 1554314 w 4610101"/>
              <a:gd name="connsiteY3739" fmla="*/ 3220635 h 6557032"/>
              <a:gd name="connsiteX3740" fmla="*/ 1576180 w 4610101"/>
              <a:gd name="connsiteY3740" fmla="*/ 3216989 h 6557032"/>
              <a:gd name="connsiteX3741" fmla="*/ 1570714 w 4610101"/>
              <a:gd name="connsiteY3741" fmla="*/ 3247968 h 6557032"/>
              <a:gd name="connsiteX3742" fmla="*/ 1590758 w 4610101"/>
              <a:gd name="connsiteY3742" fmla="*/ 3215167 h 6557032"/>
              <a:gd name="connsiteX3743" fmla="*/ 1614447 w 4610101"/>
              <a:gd name="connsiteY3743" fmla="*/ 3213345 h 6557032"/>
              <a:gd name="connsiteX3744" fmla="*/ 1636312 w 4610101"/>
              <a:gd name="connsiteY3744" fmla="*/ 3215167 h 6557032"/>
              <a:gd name="connsiteX3745" fmla="*/ 1636312 w 4610101"/>
              <a:gd name="connsiteY3745" fmla="*/ 3209701 h 6557032"/>
              <a:gd name="connsiteX3746" fmla="*/ 1665240 w 4610101"/>
              <a:gd name="connsiteY3746" fmla="*/ 3206967 h 6557032"/>
              <a:gd name="connsiteX3747" fmla="*/ 3853898 w 4610101"/>
              <a:gd name="connsiteY3747" fmla="*/ 3202411 h 6557032"/>
              <a:gd name="connsiteX3748" fmla="*/ 3868476 w 4610101"/>
              <a:gd name="connsiteY3748" fmla="*/ 3216995 h 6557032"/>
              <a:gd name="connsiteX3749" fmla="*/ 3853898 w 4610101"/>
              <a:gd name="connsiteY3749" fmla="*/ 3216995 h 6557032"/>
              <a:gd name="connsiteX3750" fmla="*/ 1288277 w 4610101"/>
              <a:gd name="connsiteY3750" fmla="*/ 3202411 h 6557032"/>
              <a:gd name="connsiteX3751" fmla="*/ 1297388 w 4610101"/>
              <a:gd name="connsiteY3751" fmla="*/ 3204233 h 6557032"/>
              <a:gd name="connsiteX3752" fmla="*/ 1306499 w 4610101"/>
              <a:gd name="connsiteY3752" fmla="*/ 3213343 h 6557032"/>
              <a:gd name="connsiteX3753" fmla="*/ 1295566 w 4610101"/>
              <a:gd name="connsiteY3753" fmla="*/ 3224276 h 6557032"/>
              <a:gd name="connsiteX3754" fmla="*/ 1295566 w 4610101"/>
              <a:gd name="connsiteY3754" fmla="*/ 3216989 h 6557032"/>
              <a:gd name="connsiteX3755" fmla="*/ 1280988 w 4610101"/>
              <a:gd name="connsiteY3755" fmla="*/ 3216989 h 6557032"/>
              <a:gd name="connsiteX3756" fmla="*/ 1288277 w 4610101"/>
              <a:gd name="connsiteY3756" fmla="*/ 3202411 h 6557032"/>
              <a:gd name="connsiteX3757" fmla="*/ 1574358 w 4610101"/>
              <a:gd name="connsiteY3757" fmla="*/ 3200587 h 6557032"/>
              <a:gd name="connsiteX3758" fmla="*/ 1578003 w 4610101"/>
              <a:gd name="connsiteY3758" fmla="*/ 3200587 h 6557032"/>
              <a:gd name="connsiteX3759" fmla="*/ 1574358 w 4610101"/>
              <a:gd name="connsiteY3759" fmla="*/ 3202411 h 6557032"/>
              <a:gd name="connsiteX3760" fmla="*/ 1574358 w 4610101"/>
              <a:gd name="connsiteY3760" fmla="*/ 3200587 h 6557032"/>
              <a:gd name="connsiteX3761" fmla="*/ 1873195 w 4610101"/>
              <a:gd name="connsiteY3761" fmla="*/ 3198768 h 6557032"/>
              <a:gd name="connsiteX3762" fmla="*/ 1875017 w 4610101"/>
              <a:gd name="connsiteY3762" fmla="*/ 3200589 h 6557032"/>
              <a:gd name="connsiteX3763" fmla="*/ 1871372 w 4610101"/>
              <a:gd name="connsiteY3763" fmla="*/ 3200589 h 6557032"/>
              <a:gd name="connsiteX3764" fmla="*/ 1873195 w 4610101"/>
              <a:gd name="connsiteY3764" fmla="*/ 3198768 h 6557032"/>
              <a:gd name="connsiteX3765" fmla="*/ 1712845 w 4610101"/>
              <a:gd name="connsiteY3765" fmla="*/ 3198767 h 6557032"/>
              <a:gd name="connsiteX3766" fmla="*/ 1694622 w 4610101"/>
              <a:gd name="connsiteY3766" fmla="*/ 3213345 h 6557032"/>
              <a:gd name="connsiteX3767" fmla="*/ 1681867 w 4610101"/>
              <a:gd name="connsiteY3767" fmla="*/ 3207877 h 6557032"/>
              <a:gd name="connsiteX3768" fmla="*/ 1681867 w 4610101"/>
              <a:gd name="connsiteY3768" fmla="*/ 3204233 h 6557032"/>
              <a:gd name="connsiteX3769" fmla="*/ 1712845 w 4610101"/>
              <a:gd name="connsiteY3769" fmla="*/ 3198767 h 6557032"/>
              <a:gd name="connsiteX3770" fmla="*/ 1596225 w 4610101"/>
              <a:gd name="connsiteY3770" fmla="*/ 3198767 h 6557032"/>
              <a:gd name="connsiteX3771" fmla="*/ 1599869 w 4610101"/>
              <a:gd name="connsiteY3771" fmla="*/ 3200587 h 6557032"/>
              <a:gd name="connsiteX3772" fmla="*/ 1592580 w 4610101"/>
              <a:gd name="connsiteY3772" fmla="*/ 3202411 h 6557032"/>
              <a:gd name="connsiteX3773" fmla="*/ 1596225 w 4610101"/>
              <a:gd name="connsiteY3773" fmla="*/ 3198767 h 6557032"/>
              <a:gd name="connsiteX3774" fmla="*/ 3649815 w 4610101"/>
              <a:gd name="connsiteY3774" fmla="*/ 3195125 h 6557032"/>
              <a:gd name="connsiteX3775" fmla="*/ 3671681 w 4610101"/>
              <a:gd name="connsiteY3775" fmla="*/ 3218820 h 6557032"/>
              <a:gd name="connsiteX3776" fmla="*/ 3642526 w 4610101"/>
              <a:gd name="connsiteY3776" fmla="*/ 3209701 h 6557032"/>
              <a:gd name="connsiteX3777" fmla="*/ 1716488 w 4610101"/>
              <a:gd name="connsiteY3777" fmla="*/ 3195123 h 6557032"/>
              <a:gd name="connsiteX3778" fmla="*/ 1758397 w 4610101"/>
              <a:gd name="connsiteY3778" fmla="*/ 3196945 h 6557032"/>
              <a:gd name="connsiteX3779" fmla="*/ 1705554 w 4610101"/>
              <a:gd name="connsiteY3779" fmla="*/ 3222457 h 6557032"/>
              <a:gd name="connsiteX3780" fmla="*/ 1701910 w 4610101"/>
              <a:gd name="connsiteY3780" fmla="*/ 3220635 h 6557032"/>
              <a:gd name="connsiteX3781" fmla="*/ 1698266 w 4610101"/>
              <a:gd name="connsiteY3781" fmla="*/ 3222457 h 6557032"/>
              <a:gd name="connsiteX3782" fmla="*/ 1692799 w 4610101"/>
              <a:gd name="connsiteY3782" fmla="*/ 3218811 h 6557032"/>
              <a:gd name="connsiteX3783" fmla="*/ 1696444 w 4610101"/>
              <a:gd name="connsiteY3783" fmla="*/ 3218811 h 6557032"/>
              <a:gd name="connsiteX3784" fmla="*/ 1692799 w 4610101"/>
              <a:gd name="connsiteY3784" fmla="*/ 3215169 h 6557032"/>
              <a:gd name="connsiteX3785" fmla="*/ 1716488 w 4610101"/>
              <a:gd name="connsiteY3785" fmla="*/ 3195123 h 6557032"/>
              <a:gd name="connsiteX3786" fmla="*/ 3565995 w 4610101"/>
              <a:gd name="connsiteY3786" fmla="*/ 3193304 h 6557032"/>
              <a:gd name="connsiteX3787" fmla="*/ 3565995 w 4610101"/>
              <a:gd name="connsiteY3787" fmla="*/ 3216998 h 6557032"/>
              <a:gd name="connsiteX3788" fmla="*/ 3549595 w 4610101"/>
              <a:gd name="connsiteY3788" fmla="*/ 3207879 h 6557032"/>
              <a:gd name="connsiteX3789" fmla="*/ 3325468 w 4610101"/>
              <a:gd name="connsiteY3789" fmla="*/ 3193304 h 6557032"/>
              <a:gd name="connsiteX3790" fmla="*/ 3323645 w 4610101"/>
              <a:gd name="connsiteY3790" fmla="*/ 3218820 h 6557032"/>
              <a:gd name="connsiteX3791" fmla="*/ 3309068 w 4610101"/>
              <a:gd name="connsiteY3791" fmla="*/ 3202413 h 6557032"/>
              <a:gd name="connsiteX3792" fmla="*/ 3436621 w 4610101"/>
              <a:gd name="connsiteY3792" fmla="*/ 3187840 h 6557032"/>
              <a:gd name="connsiteX3793" fmla="*/ 3445732 w 4610101"/>
              <a:gd name="connsiteY3793" fmla="*/ 3193306 h 6557032"/>
              <a:gd name="connsiteX3794" fmla="*/ 3400177 w 4610101"/>
              <a:gd name="connsiteY3794" fmla="*/ 3224292 h 6557032"/>
              <a:gd name="connsiteX3795" fmla="*/ 3678970 w 4610101"/>
              <a:gd name="connsiteY3795" fmla="*/ 3187838 h 6557032"/>
              <a:gd name="connsiteX3796" fmla="*/ 3704481 w 4610101"/>
              <a:gd name="connsiteY3796" fmla="*/ 3195125 h 6557032"/>
              <a:gd name="connsiteX3797" fmla="*/ 3688081 w 4610101"/>
              <a:gd name="connsiteY3797" fmla="*/ 3209703 h 6557032"/>
              <a:gd name="connsiteX3798" fmla="*/ 1450453 w 4610101"/>
              <a:gd name="connsiteY3798" fmla="*/ 3182367 h 6557032"/>
              <a:gd name="connsiteX3799" fmla="*/ 1444985 w 4610101"/>
              <a:gd name="connsiteY3799" fmla="*/ 3200589 h 6557032"/>
              <a:gd name="connsiteX3800" fmla="*/ 1393963 w 4610101"/>
              <a:gd name="connsiteY3800" fmla="*/ 3204233 h 6557032"/>
              <a:gd name="connsiteX3801" fmla="*/ 1412185 w 4610101"/>
              <a:gd name="connsiteY3801" fmla="*/ 3202411 h 6557032"/>
              <a:gd name="connsiteX3802" fmla="*/ 1415829 w 4610101"/>
              <a:gd name="connsiteY3802" fmla="*/ 3200589 h 6557032"/>
              <a:gd name="connsiteX3803" fmla="*/ 1412185 w 4610101"/>
              <a:gd name="connsiteY3803" fmla="*/ 3198767 h 6557032"/>
              <a:gd name="connsiteX3804" fmla="*/ 1450453 w 4610101"/>
              <a:gd name="connsiteY3804" fmla="*/ 3182367 h 6557032"/>
              <a:gd name="connsiteX3805" fmla="*/ 3239826 w 4610101"/>
              <a:gd name="connsiteY3805" fmla="*/ 3180543 h 6557032"/>
              <a:gd name="connsiteX3806" fmla="*/ 3227071 w 4610101"/>
              <a:gd name="connsiteY3806" fmla="*/ 3209699 h 6557032"/>
              <a:gd name="connsiteX3807" fmla="*/ 3241648 w 4610101"/>
              <a:gd name="connsiteY3807" fmla="*/ 3209699 h 6557032"/>
              <a:gd name="connsiteX3808" fmla="*/ 3241648 w 4610101"/>
              <a:gd name="connsiteY3808" fmla="*/ 3213343 h 6557032"/>
              <a:gd name="connsiteX3809" fmla="*/ 3161471 w 4610101"/>
              <a:gd name="connsiteY3809" fmla="*/ 3198765 h 6557032"/>
              <a:gd name="connsiteX3810" fmla="*/ 3239826 w 4610101"/>
              <a:gd name="connsiteY3810" fmla="*/ 3180543 h 6557032"/>
              <a:gd name="connsiteX3811" fmla="*/ 1887772 w 4610101"/>
              <a:gd name="connsiteY3811" fmla="*/ 3178724 h 6557032"/>
              <a:gd name="connsiteX3812" fmla="*/ 1882306 w 4610101"/>
              <a:gd name="connsiteY3812" fmla="*/ 3187833 h 6557032"/>
              <a:gd name="connsiteX3813" fmla="*/ 1882306 w 4610101"/>
              <a:gd name="connsiteY3813" fmla="*/ 3182367 h 6557032"/>
              <a:gd name="connsiteX3814" fmla="*/ 1887772 w 4610101"/>
              <a:gd name="connsiteY3814" fmla="*/ 3178724 h 6557032"/>
              <a:gd name="connsiteX3815" fmla="*/ 2979255 w 4610101"/>
              <a:gd name="connsiteY3815" fmla="*/ 3178721 h 6557032"/>
              <a:gd name="connsiteX3816" fmla="*/ 2979255 w 4610101"/>
              <a:gd name="connsiteY3816" fmla="*/ 3200587 h 6557032"/>
              <a:gd name="connsiteX3817" fmla="*/ 3010232 w 4610101"/>
              <a:gd name="connsiteY3817" fmla="*/ 3193299 h 6557032"/>
              <a:gd name="connsiteX3818" fmla="*/ 2979255 w 4610101"/>
              <a:gd name="connsiteY3818" fmla="*/ 3178721 h 6557032"/>
              <a:gd name="connsiteX3819" fmla="*/ 3015698 w 4610101"/>
              <a:gd name="connsiteY3819" fmla="*/ 3171434 h 6557032"/>
              <a:gd name="connsiteX3820" fmla="*/ 3019343 w 4610101"/>
              <a:gd name="connsiteY3820" fmla="*/ 3195121 h 6557032"/>
              <a:gd name="connsiteX3821" fmla="*/ 3030276 w 4610101"/>
              <a:gd name="connsiteY3821" fmla="*/ 3207877 h 6557032"/>
              <a:gd name="connsiteX3822" fmla="*/ 3039387 w 4610101"/>
              <a:gd name="connsiteY3822" fmla="*/ 3186011 h 6557032"/>
              <a:gd name="connsiteX3823" fmla="*/ 3024809 w 4610101"/>
              <a:gd name="connsiteY3823" fmla="*/ 3182367 h 6557032"/>
              <a:gd name="connsiteX3824" fmla="*/ 3015698 w 4610101"/>
              <a:gd name="connsiteY3824" fmla="*/ 3171434 h 6557032"/>
              <a:gd name="connsiteX3825" fmla="*/ 1605336 w 4610101"/>
              <a:gd name="connsiteY3825" fmla="*/ 3169614 h 6557032"/>
              <a:gd name="connsiteX3826" fmla="*/ 1607158 w 4610101"/>
              <a:gd name="connsiteY3826" fmla="*/ 3176902 h 6557032"/>
              <a:gd name="connsiteX3827" fmla="*/ 1601691 w 4610101"/>
              <a:gd name="connsiteY3827" fmla="*/ 3176902 h 6557032"/>
              <a:gd name="connsiteX3828" fmla="*/ 1603514 w 4610101"/>
              <a:gd name="connsiteY3828" fmla="*/ 3175082 h 6557032"/>
              <a:gd name="connsiteX3829" fmla="*/ 1599869 w 4610101"/>
              <a:gd name="connsiteY3829" fmla="*/ 3173258 h 6557032"/>
              <a:gd name="connsiteX3830" fmla="*/ 1605336 w 4610101"/>
              <a:gd name="connsiteY3830" fmla="*/ 3169614 h 6557032"/>
              <a:gd name="connsiteX3831" fmla="*/ 3270802 w 4610101"/>
              <a:gd name="connsiteY3831" fmla="*/ 3167790 h 6557032"/>
              <a:gd name="connsiteX3832" fmla="*/ 3270802 w 4610101"/>
              <a:gd name="connsiteY3832" fmla="*/ 3173256 h 6557032"/>
              <a:gd name="connsiteX3833" fmla="*/ 3270802 w 4610101"/>
              <a:gd name="connsiteY3833" fmla="*/ 3180543 h 6557032"/>
              <a:gd name="connsiteX3834" fmla="*/ 3254402 w 4610101"/>
              <a:gd name="connsiteY3834" fmla="*/ 3202411 h 6557032"/>
              <a:gd name="connsiteX3835" fmla="*/ 3263513 w 4610101"/>
              <a:gd name="connsiteY3835" fmla="*/ 3173256 h 6557032"/>
              <a:gd name="connsiteX3836" fmla="*/ 3270802 w 4610101"/>
              <a:gd name="connsiteY3836" fmla="*/ 3167790 h 6557032"/>
              <a:gd name="connsiteX3837" fmla="*/ 1297388 w 4610101"/>
              <a:gd name="connsiteY3837" fmla="*/ 3164146 h 6557032"/>
              <a:gd name="connsiteX3838" fmla="*/ 1310144 w 4610101"/>
              <a:gd name="connsiteY3838" fmla="*/ 3171434 h 6557032"/>
              <a:gd name="connsiteX3839" fmla="*/ 1311966 w 4610101"/>
              <a:gd name="connsiteY3839" fmla="*/ 3169614 h 6557032"/>
              <a:gd name="connsiteX3840" fmla="*/ 1335655 w 4610101"/>
              <a:gd name="connsiteY3840" fmla="*/ 3171434 h 6557032"/>
              <a:gd name="connsiteX3841" fmla="*/ 1321077 w 4610101"/>
              <a:gd name="connsiteY3841" fmla="*/ 3191479 h 6557032"/>
              <a:gd name="connsiteX3842" fmla="*/ 1319254 w 4610101"/>
              <a:gd name="connsiteY3842" fmla="*/ 3196945 h 6557032"/>
              <a:gd name="connsiteX3843" fmla="*/ 1311966 w 4610101"/>
              <a:gd name="connsiteY3843" fmla="*/ 3195123 h 6557032"/>
              <a:gd name="connsiteX3844" fmla="*/ 1301033 w 4610101"/>
              <a:gd name="connsiteY3844" fmla="*/ 3187835 h 6557032"/>
              <a:gd name="connsiteX3845" fmla="*/ 3334579 w 4610101"/>
              <a:gd name="connsiteY3845" fmla="*/ 3164144 h 6557032"/>
              <a:gd name="connsiteX3846" fmla="*/ 3341868 w 4610101"/>
              <a:gd name="connsiteY3846" fmla="*/ 3164144 h 6557032"/>
              <a:gd name="connsiteX3847" fmla="*/ 3341868 w 4610101"/>
              <a:gd name="connsiteY3847" fmla="*/ 3167790 h 6557032"/>
              <a:gd name="connsiteX3848" fmla="*/ 3325468 w 4610101"/>
              <a:gd name="connsiteY3848" fmla="*/ 3175078 h 6557032"/>
              <a:gd name="connsiteX3849" fmla="*/ 3334579 w 4610101"/>
              <a:gd name="connsiteY3849" fmla="*/ 3184189 h 6557032"/>
              <a:gd name="connsiteX3850" fmla="*/ 3343690 w 4610101"/>
              <a:gd name="connsiteY3850" fmla="*/ 3180544 h 6557032"/>
              <a:gd name="connsiteX3851" fmla="*/ 3343690 w 4610101"/>
              <a:gd name="connsiteY3851" fmla="*/ 3186012 h 6557032"/>
              <a:gd name="connsiteX3852" fmla="*/ 3305424 w 4610101"/>
              <a:gd name="connsiteY3852" fmla="*/ 3180544 h 6557032"/>
              <a:gd name="connsiteX3853" fmla="*/ 3305424 w 4610101"/>
              <a:gd name="connsiteY3853" fmla="*/ 3202411 h 6557032"/>
              <a:gd name="connsiteX3854" fmla="*/ 3290846 w 4610101"/>
              <a:gd name="connsiteY3854" fmla="*/ 3202411 h 6557032"/>
              <a:gd name="connsiteX3855" fmla="*/ 3298136 w 4610101"/>
              <a:gd name="connsiteY3855" fmla="*/ 3173256 h 6557032"/>
              <a:gd name="connsiteX3856" fmla="*/ 3299958 w 4610101"/>
              <a:gd name="connsiteY3856" fmla="*/ 3169612 h 6557032"/>
              <a:gd name="connsiteX3857" fmla="*/ 3305424 w 4610101"/>
              <a:gd name="connsiteY3857" fmla="*/ 3175078 h 6557032"/>
              <a:gd name="connsiteX3858" fmla="*/ 3334579 w 4610101"/>
              <a:gd name="connsiteY3858" fmla="*/ 3164144 h 6557032"/>
              <a:gd name="connsiteX3859" fmla="*/ 3852076 w 4610101"/>
              <a:gd name="connsiteY3859" fmla="*/ 3158695 h 6557032"/>
              <a:gd name="connsiteX3860" fmla="*/ 3892164 w 4610101"/>
              <a:gd name="connsiteY3860" fmla="*/ 3171447 h 6557032"/>
              <a:gd name="connsiteX3861" fmla="*/ 3883053 w 4610101"/>
              <a:gd name="connsiteY3861" fmla="*/ 3187840 h 6557032"/>
              <a:gd name="connsiteX3862" fmla="*/ 3613372 w 4610101"/>
              <a:gd name="connsiteY3862" fmla="*/ 3156871 h 6557032"/>
              <a:gd name="connsiteX3863" fmla="*/ 3635238 w 4610101"/>
              <a:gd name="connsiteY3863" fmla="*/ 3156871 h 6557032"/>
              <a:gd name="connsiteX3864" fmla="*/ 3635238 w 4610101"/>
              <a:gd name="connsiteY3864" fmla="*/ 3171444 h 6557032"/>
              <a:gd name="connsiteX3865" fmla="*/ 3613372 w 4610101"/>
              <a:gd name="connsiteY3865" fmla="*/ 3156871 h 6557032"/>
              <a:gd name="connsiteX3866" fmla="*/ 1718310 w 4610101"/>
              <a:gd name="connsiteY3866" fmla="*/ 3156858 h 6557032"/>
              <a:gd name="connsiteX3867" fmla="*/ 1723777 w 4610101"/>
              <a:gd name="connsiteY3867" fmla="*/ 3162325 h 6557032"/>
              <a:gd name="connsiteX3868" fmla="*/ 1718310 w 4610101"/>
              <a:gd name="connsiteY3868" fmla="*/ 3156858 h 6557032"/>
              <a:gd name="connsiteX3869" fmla="*/ 3106807 w 4610101"/>
              <a:gd name="connsiteY3869" fmla="*/ 3156856 h 6557032"/>
              <a:gd name="connsiteX3870" fmla="*/ 3106807 w 4610101"/>
              <a:gd name="connsiteY3870" fmla="*/ 3178721 h 6557032"/>
              <a:gd name="connsiteX3871" fmla="*/ 3128673 w 4610101"/>
              <a:gd name="connsiteY3871" fmla="*/ 3178721 h 6557032"/>
              <a:gd name="connsiteX3872" fmla="*/ 3128673 w 4610101"/>
              <a:gd name="connsiteY3872" fmla="*/ 3156856 h 6557032"/>
              <a:gd name="connsiteX3873" fmla="*/ 1144326 w 4610101"/>
              <a:gd name="connsiteY3873" fmla="*/ 3155051 h 6557032"/>
              <a:gd name="connsiteX3874" fmla="*/ 1151614 w 4610101"/>
              <a:gd name="connsiteY3874" fmla="*/ 3169625 h 6557032"/>
              <a:gd name="connsiteX3875" fmla="*/ 1144326 w 4610101"/>
              <a:gd name="connsiteY3875" fmla="*/ 3180554 h 6557032"/>
              <a:gd name="connsiteX3876" fmla="*/ 1129748 w 4610101"/>
              <a:gd name="connsiteY3876" fmla="*/ 3169625 h 6557032"/>
              <a:gd name="connsiteX3877" fmla="*/ 1729243 w 4610101"/>
              <a:gd name="connsiteY3877" fmla="*/ 3151395 h 6557032"/>
              <a:gd name="connsiteX3878" fmla="*/ 1741998 w 4610101"/>
              <a:gd name="connsiteY3878" fmla="*/ 3153217 h 6557032"/>
              <a:gd name="connsiteX3879" fmla="*/ 1738354 w 4610101"/>
              <a:gd name="connsiteY3879" fmla="*/ 3158682 h 6557032"/>
              <a:gd name="connsiteX3880" fmla="*/ 1734710 w 4610101"/>
              <a:gd name="connsiteY3880" fmla="*/ 3153217 h 6557032"/>
              <a:gd name="connsiteX3881" fmla="*/ 1729243 w 4610101"/>
              <a:gd name="connsiteY3881" fmla="*/ 3156862 h 6557032"/>
              <a:gd name="connsiteX3882" fmla="*/ 1729243 w 4610101"/>
              <a:gd name="connsiteY3882" fmla="*/ 3151395 h 6557032"/>
              <a:gd name="connsiteX3883" fmla="*/ 3197916 w 4610101"/>
              <a:gd name="connsiteY3883" fmla="*/ 3151390 h 6557032"/>
              <a:gd name="connsiteX3884" fmla="*/ 3166939 w 4610101"/>
              <a:gd name="connsiteY3884" fmla="*/ 3158678 h 6557032"/>
              <a:gd name="connsiteX3885" fmla="*/ 3166939 w 4610101"/>
              <a:gd name="connsiteY3885" fmla="*/ 3180544 h 6557032"/>
              <a:gd name="connsiteX3886" fmla="*/ 3197916 w 4610101"/>
              <a:gd name="connsiteY3886" fmla="*/ 3165966 h 6557032"/>
              <a:gd name="connsiteX3887" fmla="*/ 3212493 w 4610101"/>
              <a:gd name="connsiteY3887" fmla="*/ 3158678 h 6557032"/>
              <a:gd name="connsiteX3888" fmla="*/ 3385601 w 4610101"/>
              <a:gd name="connsiteY3888" fmla="*/ 3149590 h 6557032"/>
              <a:gd name="connsiteX3889" fmla="*/ 3385601 w 4610101"/>
              <a:gd name="connsiteY3889" fmla="*/ 3164161 h 6557032"/>
              <a:gd name="connsiteX3890" fmla="*/ 3407467 w 4610101"/>
              <a:gd name="connsiteY3890" fmla="*/ 3164161 h 6557032"/>
              <a:gd name="connsiteX3891" fmla="*/ 3392889 w 4610101"/>
              <a:gd name="connsiteY3891" fmla="*/ 3186020 h 6557032"/>
              <a:gd name="connsiteX3892" fmla="*/ 3371023 w 4610101"/>
              <a:gd name="connsiteY3892" fmla="*/ 3156875 h 6557032"/>
              <a:gd name="connsiteX3893" fmla="*/ 4305797 w 4610101"/>
              <a:gd name="connsiteY3893" fmla="*/ 3149581 h 6557032"/>
              <a:gd name="connsiteX3894" fmla="*/ 4322197 w 4610101"/>
              <a:gd name="connsiteY3894" fmla="*/ 3149581 h 6557032"/>
              <a:gd name="connsiteX3895" fmla="*/ 4307619 w 4610101"/>
              <a:gd name="connsiteY3895" fmla="*/ 3165976 h 6557032"/>
              <a:gd name="connsiteX3896" fmla="*/ 1226323 w 4610101"/>
              <a:gd name="connsiteY3896" fmla="*/ 3147762 h 6557032"/>
              <a:gd name="connsiteX3897" fmla="*/ 1228145 w 4610101"/>
              <a:gd name="connsiteY3897" fmla="*/ 3171444 h 6557032"/>
              <a:gd name="connsiteX3898" fmla="*/ 1211745 w 4610101"/>
              <a:gd name="connsiteY3898" fmla="*/ 3162337 h 6557032"/>
              <a:gd name="connsiteX3899" fmla="*/ 3336401 w 4610101"/>
              <a:gd name="connsiteY3899" fmla="*/ 3136811 h 6557032"/>
              <a:gd name="connsiteX3900" fmla="*/ 3338223 w 4610101"/>
              <a:gd name="connsiteY3900" fmla="*/ 3138635 h 6557032"/>
              <a:gd name="connsiteX3901" fmla="*/ 3332756 w 4610101"/>
              <a:gd name="connsiteY3901" fmla="*/ 3145922 h 6557032"/>
              <a:gd name="connsiteX3902" fmla="*/ 3305424 w 4610101"/>
              <a:gd name="connsiteY3902" fmla="*/ 3162322 h 6557032"/>
              <a:gd name="connsiteX3903" fmla="*/ 3310890 w 4610101"/>
              <a:gd name="connsiteY3903" fmla="*/ 3156856 h 6557032"/>
              <a:gd name="connsiteX3904" fmla="*/ 3301779 w 4610101"/>
              <a:gd name="connsiteY3904" fmla="*/ 3151389 h 6557032"/>
              <a:gd name="connsiteX3905" fmla="*/ 3336401 w 4610101"/>
              <a:gd name="connsiteY3905" fmla="*/ 3136811 h 6557032"/>
              <a:gd name="connsiteX3906" fmla="*/ 1251834 w 4610101"/>
              <a:gd name="connsiteY3906" fmla="*/ 3133196 h 6557032"/>
              <a:gd name="connsiteX3907" fmla="*/ 1259122 w 4610101"/>
              <a:gd name="connsiteY3907" fmla="*/ 3149590 h 6557032"/>
              <a:gd name="connsiteX3908" fmla="*/ 1275524 w 4610101"/>
              <a:gd name="connsiteY3908" fmla="*/ 3151412 h 6557032"/>
              <a:gd name="connsiteX3909" fmla="*/ 1259122 w 4610101"/>
              <a:gd name="connsiteY3909" fmla="*/ 3164163 h 6557032"/>
              <a:gd name="connsiteX3910" fmla="*/ 1251834 w 4610101"/>
              <a:gd name="connsiteY3910" fmla="*/ 3186020 h 6557032"/>
              <a:gd name="connsiteX3911" fmla="*/ 1237256 w 4610101"/>
              <a:gd name="connsiteY3911" fmla="*/ 3147770 h 6557032"/>
              <a:gd name="connsiteX3912" fmla="*/ 1251834 w 4610101"/>
              <a:gd name="connsiteY3912" fmla="*/ 3147770 h 6557032"/>
              <a:gd name="connsiteX3913" fmla="*/ 1295565 w 4610101"/>
              <a:gd name="connsiteY3913" fmla="*/ 3133192 h 6557032"/>
              <a:gd name="connsiteX3914" fmla="*/ 1326543 w 4610101"/>
              <a:gd name="connsiteY3914" fmla="*/ 3133192 h 6557032"/>
              <a:gd name="connsiteX3915" fmla="*/ 1326543 w 4610101"/>
              <a:gd name="connsiteY3915" fmla="*/ 3149569 h 6557032"/>
              <a:gd name="connsiteX3916" fmla="*/ 1333831 w 4610101"/>
              <a:gd name="connsiteY3916" fmla="*/ 3142281 h 6557032"/>
              <a:gd name="connsiteX3917" fmla="*/ 1346586 w 4610101"/>
              <a:gd name="connsiteY3917" fmla="*/ 3145925 h 6557032"/>
              <a:gd name="connsiteX3918" fmla="*/ 1341120 w 4610101"/>
              <a:gd name="connsiteY3918" fmla="*/ 3158681 h 6557032"/>
              <a:gd name="connsiteX3919" fmla="*/ 1326542 w 4610101"/>
              <a:gd name="connsiteY3919" fmla="*/ 3151390 h 6557032"/>
              <a:gd name="connsiteX3920" fmla="*/ 1326542 w 4610101"/>
              <a:gd name="connsiteY3920" fmla="*/ 3149588 h 6557032"/>
              <a:gd name="connsiteX3921" fmla="*/ 1295565 w 4610101"/>
              <a:gd name="connsiteY3921" fmla="*/ 3142300 h 6557032"/>
              <a:gd name="connsiteX3922" fmla="*/ 3152361 w 4610101"/>
              <a:gd name="connsiteY3922" fmla="*/ 3133169 h 6557032"/>
              <a:gd name="connsiteX3923" fmla="*/ 3141428 w 4610101"/>
              <a:gd name="connsiteY3923" fmla="*/ 3158678 h 6557032"/>
              <a:gd name="connsiteX3924" fmla="*/ 3152361 w 4610101"/>
              <a:gd name="connsiteY3924" fmla="*/ 3178721 h 6557032"/>
              <a:gd name="connsiteX3925" fmla="*/ 1160725 w 4610101"/>
              <a:gd name="connsiteY3925" fmla="*/ 3125911 h 6557032"/>
              <a:gd name="connsiteX3926" fmla="*/ 1178946 w 4610101"/>
              <a:gd name="connsiteY3926" fmla="*/ 3145946 h 6557032"/>
              <a:gd name="connsiteX3927" fmla="*/ 1206280 w 4610101"/>
              <a:gd name="connsiteY3927" fmla="*/ 3178734 h 6557032"/>
              <a:gd name="connsiteX3928" fmla="*/ 1182592 w 4610101"/>
              <a:gd name="connsiteY3928" fmla="*/ 3155054 h 6557032"/>
              <a:gd name="connsiteX3929" fmla="*/ 1162547 w 4610101"/>
              <a:gd name="connsiteY3929" fmla="*/ 3171447 h 6557032"/>
              <a:gd name="connsiteX3930" fmla="*/ 1157080 w 4610101"/>
              <a:gd name="connsiteY3930" fmla="*/ 3142306 h 6557032"/>
              <a:gd name="connsiteX3931" fmla="*/ 3378312 w 4610101"/>
              <a:gd name="connsiteY3931" fmla="*/ 3125907 h 6557032"/>
              <a:gd name="connsiteX3932" fmla="*/ 3402000 w 4610101"/>
              <a:gd name="connsiteY3932" fmla="*/ 3135014 h 6557032"/>
              <a:gd name="connsiteX3933" fmla="*/ 3385601 w 4610101"/>
              <a:gd name="connsiteY3933" fmla="*/ 3149588 h 6557032"/>
              <a:gd name="connsiteX3934" fmla="*/ 3380134 w 4610101"/>
              <a:gd name="connsiteY3934" fmla="*/ 3140478 h 6557032"/>
              <a:gd name="connsiteX3935" fmla="*/ 3371023 w 4610101"/>
              <a:gd name="connsiteY3935" fmla="*/ 3133192 h 6557032"/>
              <a:gd name="connsiteX3936" fmla="*/ 3356445 w 4610101"/>
              <a:gd name="connsiteY3936" fmla="*/ 3125898 h 6557032"/>
              <a:gd name="connsiteX3937" fmla="*/ 3371023 w 4610101"/>
              <a:gd name="connsiteY3937" fmla="*/ 3133186 h 6557032"/>
              <a:gd name="connsiteX3938" fmla="*/ 3347334 w 4610101"/>
              <a:gd name="connsiteY3938" fmla="*/ 3140473 h 6557032"/>
              <a:gd name="connsiteX3939" fmla="*/ 3416576 w 4610101"/>
              <a:gd name="connsiteY3939" fmla="*/ 3098588 h 6557032"/>
              <a:gd name="connsiteX3940" fmla="*/ 3431154 w 4610101"/>
              <a:gd name="connsiteY3940" fmla="*/ 3107696 h 6557032"/>
              <a:gd name="connsiteX3941" fmla="*/ 3425687 w 4610101"/>
              <a:gd name="connsiteY3941" fmla="*/ 3111340 h 6557032"/>
              <a:gd name="connsiteX3942" fmla="*/ 3416576 w 4610101"/>
              <a:gd name="connsiteY3942" fmla="*/ 3098588 h 6557032"/>
              <a:gd name="connsiteX3943" fmla="*/ 1326543 w 4610101"/>
              <a:gd name="connsiteY3943" fmla="*/ 3096753 h 6557032"/>
              <a:gd name="connsiteX3944" fmla="*/ 1333831 w 4610101"/>
              <a:gd name="connsiteY3944" fmla="*/ 3111327 h 6557032"/>
              <a:gd name="connsiteX3945" fmla="*/ 1310143 w 4610101"/>
              <a:gd name="connsiteY3945" fmla="*/ 3109503 h 6557032"/>
              <a:gd name="connsiteX3946" fmla="*/ 1204457 w 4610101"/>
              <a:gd name="connsiteY3946" fmla="*/ 3094934 h 6557032"/>
              <a:gd name="connsiteX3947" fmla="*/ 1206279 w 4610101"/>
              <a:gd name="connsiteY3947" fmla="*/ 3118614 h 6557032"/>
              <a:gd name="connsiteX3948" fmla="*/ 1189879 w 4610101"/>
              <a:gd name="connsiteY3948" fmla="*/ 3109505 h 6557032"/>
              <a:gd name="connsiteX3949" fmla="*/ 1115170 w 4610101"/>
              <a:gd name="connsiteY3949" fmla="*/ 3089474 h 6557032"/>
              <a:gd name="connsiteX3950" fmla="*/ 1138858 w 4610101"/>
              <a:gd name="connsiteY3950" fmla="*/ 3089474 h 6557032"/>
              <a:gd name="connsiteX3951" fmla="*/ 1116992 w 4610101"/>
              <a:gd name="connsiteY3951" fmla="*/ 3113157 h 6557032"/>
              <a:gd name="connsiteX3952" fmla="*/ 3536839 w 4610101"/>
              <a:gd name="connsiteY3952" fmla="*/ 3089463 h 6557032"/>
              <a:gd name="connsiteX3953" fmla="*/ 3553239 w 4610101"/>
              <a:gd name="connsiteY3953" fmla="*/ 3089463 h 6557032"/>
              <a:gd name="connsiteX3954" fmla="*/ 3538661 w 4610101"/>
              <a:gd name="connsiteY3954" fmla="*/ 3105859 h 6557032"/>
              <a:gd name="connsiteX3955" fmla="*/ 3753679 w 4610101"/>
              <a:gd name="connsiteY3955" fmla="*/ 3087659 h 6557032"/>
              <a:gd name="connsiteX3956" fmla="*/ 3793767 w 4610101"/>
              <a:gd name="connsiteY3956" fmla="*/ 3104052 h 6557032"/>
              <a:gd name="connsiteX3957" fmla="*/ 3777367 w 4610101"/>
              <a:gd name="connsiteY3957" fmla="*/ 3125911 h 6557032"/>
              <a:gd name="connsiteX3958" fmla="*/ 3746390 w 4610101"/>
              <a:gd name="connsiteY3958" fmla="*/ 3105874 h 6557032"/>
              <a:gd name="connsiteX3959" fmla="*/ 3762790 w 4610101"/>
              <a:gd name="connsiteY3959" fmla="*/ 3102230 h 6557032"/>
              <a:gd name="connsiteX3960" fmla="*/ 1381208 w 4610101"/>
              <a:gd name="connsiteY3960" fmla="*/ 3087625 h 6557032"/>
              <a:gd name="connsiteX3961" fmla="*/ 1384854 w 4610101"/>
              <a:gd name="connsiteY3961" fmla="*/ 3093090 h 6557032"/>
              <a:gd name="connsiteX3962" fmla="*/ 1383030 w 4610101"/>
              <a:gd name="connsiteY3962" fmla="*/ 3091268 h 6557032"/>
              <a:gd name="connsiteX3963" fmla="*/ 1381208 w 4610101"/>
              <a:gd name="connsiteY3963" fmla="*/ 3087625 h 6557032"/>
              <a:gd name="connsiteX3964" fmla="*/ 4056161 w 4610101"/>
              <a:gd name="connsiteY3964" fmla="*/ 3080367 h 6557032"/>
              <a:gd name="connsiteX3965" fmla="*/ 4065272 w 4610101"/>
              <a:gd name="connsiteY3965" fmla="*/ 3089476 h 6557032"/>
              <a:gd name="connsiteX3966" fmla="*/ 4056161 w 4610101"/>
              <a:gd name="connsiteY3966" fmla="*/ 3104048 h 6557032"/>
              <a:gd name="connsiteX3967" fmla="*/ 4041583 w 4610101"/>
              <a:gd name="connsiteY3967" fmla="*/ 3094940 h 6557032"/>
              <a:gd name="connsiteX3968" fmla="*/ 1235434 w 4610101"/>
              <a:gd name="connsiteY3968" fmla="*/ 3080358 h 6557032"/>
              <a:gd name="connsiteX3969" fmla="*/ 1242722 w 4610101"/>
              <a:gd name="connsiteY3969" fmla="*/ 3096755 h 6557032"/>
              <a:gd name="connsiteX3970" fmla="*/ 1219034 w 4610101"/>
              <a:gd name="connsiteY3970" fmla="*/ 3094934 h 6557032"/>
              <a:gd name="connsiteX3971" fmla="*/ 1280988 w 4610101"/>
              <a:gd name="connsiteY3971" fmla="*/ 3074909 h 6557032"/>
              <a:gd name="connsiteX3972" fmla="*/ 1304676 w 4610101"/>
              <a:gd name="connsiteY3972" fmla="*/ 3074909 h 6557032"/>
              <a:gd name="connsiteX3973" fmla="*/ 1297388 w 4610101"/>
              <a:gd name="connsiteY3973" fmla="*/ 3089481 h 6557032"/>
              <a:gd name="connsiteX3974" fmla="*/ 1290099 w 4610101"/>
              <a:gd name="connsiteY3974" fmla="*/ 3118623 h 6557032"/>
              <a:gd name="connsiteX3975" fmla="*/ 1280988 w 4610101"/>
              <a:gd name="connsiteY3975" fmla="*/ 3096766 h 6557032"/>
              <a:gd name="connsiteX3976" fmla="*/ 1280988 w 4610101"/>
              <a:gd name="connsiteY3976" fmla="*/ 3074909 h 6557032"/>
              <a:gd name="connsiteX3977" fmla="*/ 4522635 w 4610101"/>
              <a:gd name="connsiteY3977" fmla="*/ 3074896 h 6557032"/>
              <a:gd name="connsiteX3978" fmla="*/ 4548147 w 4610101"/>
              <a:gd name="connsiteY3978" fmla="*/ 3074896 h 6557032"/>
              <a:gd name="connsiteX3979" fmla="*/ 4539036 w 4610101"/>
              <a:gd name="connsiteY3979" fmla="*/ 3089470 h 6557032"/>
              <a:gd name="connsiteX3980" fmla="*/ 4200112 w 4610101"/>
              <a:gd name="connsiteY3980" fmla="*/ 3073083 h 6557032"/>
              <a:gd name="connsiteX3981" fmla="*/ 4207400 w 4610101"/>
              <a:gd name="connsiteY3981" fmla="*/ 3094940 h 6557032"/>
              <a:gd name="connsiteX3982" fmla="*/ 4185534 w 4610101"/>
              <a:gd name="connsiteY3982" fmla="*/ 3094940 h 6557032"/>
              <a:gd name="connsiteX3983" fmla="*/ 4200112 w 4610101"/>
              <a:gd name="connsiteY3983" fmla="*/ 3073083 h 6557032"/>
              <a:gd name="connsiteX3984" fmla="*/ 3394711 w 4610101"/>
              <a:gd name="connsiteY3984" fmla="*/ 3073083 h 6557032"/>
              <a:gd name="connsiteX3985" fmla="*/ 3416577 w 4610101"/>
              <a:gd name="connsiteY3985" fmla="*/ 3073083 h 6557032"/>
              <a:gd name="connsiteX3986" fmla="*/ 3416577 w 4610101"/>
              <a:gd name="connsiteY3986" fmla="*/ 3104050 h 6557032"/>
              <a:gd name="connsiteX3987" fmla="*/ 3394711 w 4610101"/>
              <a:gd name="connsiteY3987" fmla="*/ 3073083 h 6557032"/>
              <a:gd name="connsiteX3988" fmla="*/ 3443909 w 4610101"/>
              <a:gd name="connsiteY3988" fmla="*/ 3071253 h 6557032"/>
              <a:gd name="connsiteX3989" fmla="*/ 3445731 w 4610101"/>
              <a:gd name="connsiteY3989" fmla="*/ 3096756 h 6557032"/>
              <a:gd name="connsiteX3990" fmla="*/ 3429331 w 4610101"/>
              <a:gd name="connsiteY3990" fmla="*/ 3087648 h 6557032"/>
              <a:gd name="connsiteX3991" fmla="*/ 3356444 w 4610101"/>
              <a:gd name="connsiteY3991" fmla="*/ 3065746 h 6557032"/>
              <a:gd name="connsiteX3992" fmla="*/ 3381955 w 4610101"/>
              <a:gd name="connsiteY3992" fmla="*/ 3080324 h 6557032"/>
              <a:gd name="connsiteX3993" fmla="*/ 3374666 w 4610101"/>
              <a:gd name="connsiteY3993" fmla="*/ 3080324 h 6557032"/>
              <a:gd name="connsiteX3994" fmla="*/ 3361911 w 4610101"/>
              <a:gd name="connsiteY3994" fmla="*/ 3073036 h 6557032"/>
              <a:gd name="connsiteX3995" fmla="*/ 3356444 w 4610101"/>
              <a:gd name="connsiteY3995" fmla="*/ 3065746 h 6557032"/>
              <a:gd name="connsiteX3996" fmla="*/ 1069616 w 4610101"/>
              <a:gd name="connsiteY3996" fmla="*/ 3058503 h 6557032"/>
              <a:gd name="connsiteX3997" fmla="*/ 1076904 w 4610101"/>
              <a:gd name="connsiteY3997" fmla="*/ 3080364 h 6557032"/>
              <a:gd name="connsiteX3998" fmla="*/ 1055038 w 4610101"/>
              <a:gd name="connsiteY3998" fmla="*/ 3080364 h 6557032"/>
              <a:gd name="connsiteX3999" fmla="*/ 1060505 w 4610101"/>
              <a:gd name="connsiteY3999" fmla="*/ 3063969 h 6557032"/>
              <a:gd name="connsiteX4000" fmla="*/ 1069616 w 4610101"/>
              <a:gd name="connsiteY4000" fmla="*/ 3058503 h 6557032"/>
              <a:gd name="connsiteX4001" fmla="*/ 993085 w 4610101"/>
              <a:gd name="connsiteY4001" fmla="*/ 3056696 h 6557032"/>
              <a:gd name="connsiteX4002" fmla="*/ 1002196 w 4610101"/>
              <a:gd name="connsiteY4002" fmla="*/ 3071270 h 6557032"/>
              <a:gd name="connsiteX4003" fmla="*/ 1014951 w 4610101"/>
              <a:gd name="connsiteY4003" fmla="*/ 3063982 h 6557032"/>
              <a:gd name="connsiteX4004" fmla="*/ 1038639 w 4610101"/>
              <a:gd name="connsiteY4004" fmla="*/ 3093127 h 6557032"/>
              <a:gd name="connsiteX4005" fmla="*/ 1069616 w 4610101"/>
              <a:gd name="connsiteY4005" fmla="*/ 3093127 h 6557032"/>
              <a:gd name="connsiteX4006" fmla="*/ 1107882 w 4610101"/>
              <a:gd name="connsiteY4006" fmla="*/ 3138662 h 6557032"/>
              <a:gd name="connsiteX4007" fmla="*/ 1100593 w 4610101"/>
              <a:gd name="connsiteY4007" fmla="*/ 3153233 h 6557032"/>
              <a:gd name="connsiteX4008" fmla="*/ 1122459 w 4610101"/>
              <a:gd name="connsiteY4008" fmla="*/ 3153233 h 6557032"/>
              <a:gd name="connsiteX4009" fmla="*/ 1115171 w 4610101"/>
              <a:gd name="connsiteY4009" fmla="*/ 3176914 h 6557032"/>
              <a:gd name="connsiteX4010" fmla="*/ 1124282 w 4610101"/>
              <a:gd name="connsiteY4010" fmla="*/ 3191484 h 6557032"/>
              <a:gd name="connsiteX4011" fmla="*/ 1115171 w 4610101"/>
              <a:gd name="connsiteY4011" fmla="*/ 3206057 h 6557032"/>
              <a:gd name="connsiteX4012" fmla="*/ 1122459 w 4610101"/>
              <a:gd name="connsiteY4012" fmla="*/ 3220647 h 6557032"/>
              <a:gd name="connsiteX4013" fmla="*/ 1115171 w 4610101"/>
              <a:gd name="connsiteY4013" fmla="*/ 3227940 h 6557032"/>
              <a:gd name="connsiteX4014" fmla="*/ 1122459 w 4610101"/>
              <a:gd name="connsiteY4014" fmla="*/ 3242520 h 6557032"/>
              <a:gd name="connsiteX4015" fmla="*/ 1122459 w 4610101"/>
              <a:gd name="connsiteY4015" fmla="*/ 3264395 h 6557032"/>
              <a:gd name="connsiteX4016" fmla="*/ 1100593 w 4610101"/>
              <a:gd name="connsiteY4016" fmla="*/ 3280798 h 6557032"/>
              <a:gd name="connsiteX4017" fmla="*/ 1106060 w 4610101"/>
              <a:gd name="connsiteY4017" fmla="*/ 3293563 h 6557032"/>
              <a:gd name="connsiteX4018" fmla="*/ 1102946 w 4610101"/>
              <a:gd name="connsiteY4018" fmla="*/ 3307573 h 6557032"/>
              <a:gd name="connsiteX4019" fmla="*/ 1138860 w 4610101"/>
              <a:gd name="connsiteY4019" fmla="*/ 3299017 h 6557032"/>
              <a:gd name="connsiteX4020" fmla="*/ 1137039 w 4610101"/>
              <a:gd name="connsiteY4020" fmla="*/ 3329996 h 6557032"/>
              <a:gd name="connsiteX4021" fmla="*/ 1100593 w 4610101"/>
              <a:gd name="connsiteY4021" fmla="*/ 3322715 h 6557032"/>
              <a:gd name="connsiteX4022" fmla="*/ 1100593 w 4610101"/>
              <a:gd name="connsiteY4022" fmla="*/ 3310184 h 6557032"/>
              <a:gd name="connsiteX4023" fmla="*/ 1087838 w 4610101"/>
              <a:gd name="connsiteY4023" fmla="*/ 3311780 h 6557032"/>
              <a:gd name="connsiteX4024" fmla="*/ 1064151 w 4610101"/>
              <a:gd name="connsiteY4024" fmla="*/ 3340928 h 6557032"/>
              <a:gd name="connsiteX4025" fmla="*/ 1040462 w 4610101"/>
              <a:gd name="connsiteY4025" fmla="*/ 3340928 h 6557032"/>
              <a:gd name="connsiteX4026" fmla="*/ 1047750 w 4610101"/>
              <a:gd name="connsiteY4026" fmla="*/ 3355517 h 6557032"/>
              <a:gd name="connsiteX4027" fmla="*/ 1002196 w 4610101"/>
              <a:gd name="connsiteY4027" fmla="*/ 3370095 h 6557032"/>
              <a:gd name="connsiteX4028" fmla="*/ 991263 w 4610101"/>
              <a:gd name="connsiteY4028" fmla="*/ 3370095 h 6557032"/>
              <a:gd name="connsiteX4029" fmla="*/ 976686 w 4610101"/>
              <a:gd name="connsiteY4029" fmla="*/ 3377342 h 6557032"/>
              <a:gd name="connsiteX4030" fmla="*/ 954819 w 4610101"/>
              <a:gd name="connsiteY4030" fmla="*/ 3377342 h 6557032"/>
              <a:gd name="connsiteX4031" fmla="*/ 901976 w 4610101"/>
              <a:gd name="connsiteY4031" fmla="*/ 3346398 h 6557032"/>
              <a:gd name="connsiteX4032" fmla="*/ 887399 w 4610101"/>
              <a:gd name="connsiteY4032" fmla="*/ 3353696 h 6557032"/>
              <a:gd name="connsiteX4033" fmla="*/ 856422 w 4610101"/>
              <a:gd name="connsiteY4033" fmla="*/ 3339103 h 6557032"/>
              <a:gd name="connsiteX4034" fmla="*/ 856422 w 4610101"/>
              <a:gd name="connsiteY4034" fmla="*/ 3324535 h 6557032"/>
              <a:gd name="connsiteX4035" fmla="*/ 841845 w 4610101"/>
              <a:gd name="connsiteY4035" fmla="*/ 3324535 h 6557032"/>
              <a:gd name="connsiteX4036" fmla="*/ 840022 w 4610101"/>
              <a:gd name="connsiteY4036" fmla="*/ 3302667 h 6557032"/>
              <a:gd name="connsiteX4037" fmla="*/ 827267 w 4610101"/>
              <a:gd name="connsiteY4037" fmla="*/ 3286268 h 6557032"/>
              <a:gd name="connsiteX4038" fmla="*/ 805401 w 4610101"/>
              <a:gd name="connsiteY4038" fmla="*/ 3293563 h 6557032"/>
              <a:gd name="connsiteX4039" fmla="*/ 798112 w 4610101"/>
              <a:gd name="connsiteY4039" fmla="*/ 3293563 h 6557032"/>
              <a:gd name="connsiteX4040" fmla="*/ 774424 w 4610101"/>
              <a:gd name="connsiteY4040" fmla="*/ 3284446 h 6557032"/>
              <a:gd name="connsiteX4041" fmla="*/ 798112 w 4610101"/>
              <a:gd name="connsiteY4041" fmla="*/ 3255282 h 6557032"/>
              <a:gd name="connsiteX4042" fmla="*/ 819979 w 4610101"/>
              <a:gd name="connsiteY4042" fmla="*/ 3255282 h 6557032"/>
              <a:gd name="connsiteX4043" fmla="*/ 819979 w 4610101"/>
              <a:gd name="connsiteY4043" fmla="*/ 3233414 h 6557032"/>
              <a:gd name="connsiteX4044" fmla="*/ 807223 w 4610101"/>
              <a:gd name="connsiteY4044" fmla="*/ 3227940 h 6557032"/>
              <a:gd name="connsiteX4045" fmla="*/ 807223 w 4610101"/>
              <a:gd name="connsiteY4045" fmla="*/ 3191484 h 6557032"/>
              <a:gd name="connsiteX4046" fmla="*/ 821801 w 4610101"/>
              <a:gd name="connsiteY4046" fmla="*/ 3182376 h 6557032"/>
              <a:gd name="connsiteX4047" fmla="*/ 814512 w 4610101"/>
              <a:gd name="connsiteY4047" fmla="*/ 3167807 h 6557032"/>
              <a:gd name="connsiteX4048" fmla="*/ 823623 w 4610101"/>
              <a:gd name="connsiteY4048" fmla="*/ 3156877 h 6557032"/>
              <a:gd name="connsiteX4049" fmla="*/ 838200 w 4610101"/>
              <a:gd name="connsiteY4049" fmla="*/ 3153233 h 6557032"/>
              <a:gd name="connsiteX4050" fmla="*/ 830912 w 4610101"/>
              <a:gd name="connsiteY4050" fmla="*/ 3140482 h 6557032"/>
              <a:gd name="connsiteX4051" fmla="*/ 889222 w 4610101"/>
              <a:gd name="connsiteY4051" fmla="*/ 3078555 h 6557032"/>
              <a:gd name="connsiteX4052" fmla="*/ 942064 w 4610101"/>
              <a:gd name="connsiteY4052" fmla="*/ 3063982 h 6557032"/>
              <a:gd name="connsiteX4053" fmla="*/ 956642 w 4610101"/>
              <a:gd name="connsiteY4053" fmla="*/ 3063982 h 6557032"/>
              <a:gd name="connsiteX4054" fmla="*/ 971219 w 4610101"/>
              <a:gd name="connsiteY4054" fmla="*/ 3063982 h 6557032"/>
              <a:gd name="connsiteX4055" fmla="*/ 993085 w 4610101"/>
              <a:gd name="connsiteY4055" fmla="*/ 3056696 h 6557032"/>
              <a:gd name="connsiteX4056" fmla="*/ 1059993 w 4610101"/>
              <a:gd name="connsiteY4056" fmla="*/ 3056283 h 6557032"/>
              <a:gd name="connsiteX4057" fmla="*/ 1060506 w 4610101"/>
              <a:gd name="connsiteY4057" fmla="*/ 3063967 h 6557032"/>
              <a:gd name="connsiteX4058" fmla="*/ 1059993 w 4610101"/>
              <a:gd name="connsiteY4058" fmla="*/ 3056283 h 6557032"/>
              <a:gd name="connsiteX4059" fmla="*/ 1220856 w 4610101"/>
              <a:gd name="connsiteY4059" fmla="*/ 3053046 h 6557032"/>
              <a:gd name="connsiteX4060" fmla="*/ 1229969 w 4610101"/>
              <a:gd name="connsiteY4060" fmla="*/ 3058512 h 6557032"/>
              <a:gd name="connsiteX4061" fmla="*/ 1198990 w 4610101"/>
              <a:gd name="connsiteY4061" fmla="*/ 3080369 h 6557032"/>
              <a:gd name="connsiteX4062" fmla="*/ 1220856 w 4610101"/>
              <a:gd name="connsiteY4062" fmla="*/ 3053046 h 6557032"/>
              <a:gd name="connsiteX4063" fmla="*/ 3303601 w 4610101"/>
              <a:gd name="connsiteY4063" fmla="*/ 3045703 h 6557032"/>
              <a:gd name="connsiteX4064" fmla="*/ 3316357 w 4610101"/>
              <a:gd name="connsiteY4064" fmla="*/ 3054815 h 6557032"/>
              <a:gd name="connsiteX4065" fmla="*/ 3285380 w 4610101"/>
              <a:gd name="connsiteY4065" fmla="*/ 3058459 h 6557032"/>
              <a:gd name="connsiteX4066" fmla="*/ 3248936 w 4610101"/>
              <a:gd name="connsiteY4066" fmla="*/ 3074858 h 6557032"/>
              <a:gd name="connsiteX4067" fmla="*/ 3258047 w 4610101"/>
              <a:gd name="connsiteY4067" fmla="*/ 3076680 h 6557032"/>
              <a:gd name="connsiteX4068" fmla="*/ 3292668 w 4610101"/>
              <a:gd name="connsiteY4068" fmla="*/ 3063924 h 6557032"/>
              <a:gd name="connsiteX4069" fmla="*/ 3305423 w 4610101"/>
              <a:gd name="connsiteY4069" fmla="*/ 3062102 h 6557032"/>
              <a:gd name="connsiteX4070" fmla="*/ 3259869 w 4610101"/>
              <a:gd name="connsiteY4070" fmla="*/ 3085792 h 6557032"/>
              <a:gd name="connsiteX4071" fmla="*/ 3263514 w 4610101"/>
              <a:gd name="connsiteY4071" fmla="*/ 3096724 h 6557032"/>
              <a:gd name="connsiteX4072" fmla="*/ 3310890 w 4610101"/>
              <a:gd name="connsiteY4072" fmla="*/ 3089436 h 6557032"/>
              <a:gd name="connsiteX4073" fmla="*/ 3321823 w 4610101"/>
              <a:gd name="connsiteY4073" fmla="*/ 3087614 h 6557032"/>
              <a:gd name="connsiteX4074" fmla="*/ 3325467 w 4610101"/>
              <a:gd name="connsiteY4074" fmla="*/ 3093080 h 6557032"/>
              <a:gd name="connsiteX4075" fmla="*/ 3294491 w 4610101"/>
              <a:gd name="connsiteY4075" fmla="*/ 3100370 h 6557032"/>
              <a:gd name="connsiteX4076" fmla="*/ 3289024 w 4610101"/>
              <a:gd name="connsiteY4076" fmla="*/ 3094902 h 6557032"/>
              <a:gd name="connsiteX4077" fmla="*/ 3283557 w 4610101"/>
              <a:gd name="connsiteY4077" fmla="*/ 3104013 h 6557032"/>
              <a:gd name="connsiteX4078" fmla="*/ 3278091 w 4610101"/>
              <a:gd name="connsiteY4078" fmla="*/ 3105835 h 6557032"/>
              <a:gd name="connsiteX4079" fmla="*/ 3281735 w 4610101"/>
              <a:gd name="connsiteY4079" fmla="*/ 3114945 h 6557032"/>
              <a:gd name="connsiteX4080" fmla="*/ 3292668 w 4610101"/>
              <a:gd name="connsiteY4080" fmla="*/ 3113123 h 6557032"/>
              <a:gd name="connsiteX4081" fmla="*/ 3294491 w 4610101"/>
              <a:gd name="connsiteY4081" fmla="*/ 3114945 h 6557032"/>
              <a:gd name="connsiteX4082" fmla="*/ 3296313 w 4610101"/>
              <a:gd name="connsiteY4082" fmla="*/ 3113123 h 6557032"/>
              <a:gd name="connsiteX4083" fmla="*/ 3336401 w 4610101"/>
              <a:gd name="connsiteY4083" fmla="*/ 3109479 h 6557032"/>
              <a:gd name="connsiteX4084" fmla="*/ 3352800 w 4610101"/>
              <a:gd name="connsiteY4084" fmla="*/ 3109479 h 6557032"/>
              <a:gd name="connsiteX4085" fmla="*/ 3350978 w 4610101"/>
              <a:gd name="connsiteY4085" fmla="*/ 3111301 h 6557032"/>
              <a:gd name="connsiteX4086" fmla="*/ 3299957 w 4610101"/>
              <a:gd name="connsiteY4086" fmla="*/ 3124057 h 6557032"/>
              <a:gd name="connsiteX4087" fmla="*/ 3307246 w 4610101"/>
              <a:gd name="connsiteY4087" fmla="*/ 3129523 h 6557032"/>
              <a:gd name="connsiteX4088" fmla="*/ 3336401 w 4610101"/>
              <a:gd name="connsiteY4088" fmla="*/ 3124057 h 6557032"/>
              <a:gd name="connsiteX4089" fmla="*/ 3332756 w 4610101"/>
              <a:gd name="connsiteY4089" fmla="*/ 3125879 h 6557032"/>
              <a:gd name="connsiteX4090" fmla="*/ 3299957 w 4610101"/>
              <a:gd name="connsiteY4090" fmla="*/ 3138635 h 6557032"/>
              <a:gd name="connsiteX4091" fmla="*/ 3261691 w 4610101"/>
              <a:gd name="connsiteY4091" fmla="*/ 3133169 h 6557032"/>
              <a:gd name="connsiteX4092" fmla="*/ 3265336 w 4610101"/>
              <a:gd name="connsiteY4092" fmla="*/ 3125879 h 6557032"/>
              <a:gd name="connsiteX4093" fmla="*/ 3259869 w 4610101"/>
              <a:gd name="connsiteY4093" fmla="*/ 3116767 h 6557032"/>
              <a:gd name="connsiteX4094" fmla="*/ 3236181 w 4610101"/>
              <a:gd name="connsiteY4094" fmla="*/ 3125879 h 6557032"/>
              <a:gd name="connsiteX4095" fmla="*/ 3197915 w 4610101"/>
              <a:gd name="connsiteY4095" fmla="*/ 3111301 h 6557032"/>
              <a:gd name="connsiteX4096" fmla="*/ 3208848 w 4610101"/>
              <a:gd name="connsiteY4096" fmla="*/ 3100370 h 6557032"/>
              <a:gd name="connsiteX4097" fmla="*/ 3214315 w 4610101"/>
              <a:gd name="connsiteY4097" fmla="*/ 3100370 h 6557032"/>
              <a:gd name="connsiteX4098" fmla="*/ 3214315 w 4610101"/>
              <a:gd name="connsiteY4098" fmla="*/ 3094902 h 6557032"/>
              <a:gd name="connsiteX4099" fmla="*/ 3303601 w 4610101"/>
              <a:gd name="connsiteY4099" fmla="*/ 3045703 h 6557032"/>
              <a:gd name="connsiteX4100" fmla="*/ 3360431 w 4610101"/>
              <a:gd name="connsiteY4100" fmla="*/ 3044680 h 6557032"/>
              <a:gd name="connsiteX4101" fmla="*/ 3349157 w 4610101"/>
              <a:gd name="connsiteY4101" fmla="*/ 3058458 h 6557032"/>
              <a:gd name="connsiteX4102" fmla="*/ 3367377 w 4610101"/>
              <a:gd name="connsiteY4102" fmla="*/ 3058458 h 6557032"/>
              <a:gd name="connsiteX4103" fmla="*/ 3367377 w 4610101"/>
              <a:gd name="connsiteY4103" fmla="*/ 3053055 h 6557032"/>
              <a:gd name="connsiteX4104" fmla="*/ 3360088 w 4610101"/>
              <a:gd name="connsiteY4104" fmla="*/ 3047589 h 6557032"/>
              <a:gd name="connsiteX4105" fmla="*/ 3489863 w 4610101"/>
              <a:gd name="connsiteY4105" fmla="*/ 3043804 h 6557032"/>
              <a:gd name="connsiteX4106" fmla="*/ 3498575 w 4610101"/>
              <a:gd name="connsiteY4106" fmla="*/ 3051233 h 6557032"/>
              <a:gd name="connsiteX4107" fmla="*/ 3491287 w 4610101"/>
              <a:gd name="connsiteY4107" fmla="*/ 3082197 h 6557032"/>
              <a:gd name="connsiteX4108" fmla="*/ 3478531 w 4610101"/>
              <a:gd name="connsiteY4108" fmla="*/ 3074912 h 6557032"/>
              <a:gd name="connsiteX4109" fmla="*/ 3469426 w 4610101"/>
              <a:gd name="connsiteY4109" fmla="*/ 3080371 h 6557032"/>
              <a:gd name="connsiteX4110" fmla="*/ 3476709 w 4610101"/>
              <a:gd name="connsiteY4110" fmla="*/ 3096753 h 6557032"/>
              <a:gd name="connsiteX4111" fmla="*/ 3453020 w 4610101"/>
              <a:gd name="connsiteY4111" fmla="*/ 3094931 h 6557032"/>
              <a:gd name="connsiteX4112" fmla="*/ 3469409 w 4610101"/>
              <a:gd name="connsiteY4112" fmla="*/ 3080367 h 6557032"/>
              <a:gd name="connsiteX4113" fmla="*/ 3460310 w 4610101"/>
              <a:gd name="connsiteY4113" fmla="*/ 3073089 h 6557032"/>
              <a:gd name="connsiteX4114" fmla="*/ 3467598 w 4610101"/>
              <a:gd name="connsiteY4114" fmla="*/ 3060338 h 6557032"/>
              <a:gd name="connsiteX4115" fmla="*/ 3454843 w 4610101"/>
              <a:gd name="connsiteY4115" fmla="*/ 3043945 h 6557032"/>
              <a:gd name="connsiteX4116" fmla="*/ 3476709 w 4610101"/>
              <a:gd name="connsiteY4116" fmla="*/ 3043945 h 6557032"/>
              <a:gd name="connsiteX4117" fmla="*/ 3489863 w 4610101"/>
              <a:gd name="connsiteY4117" fmla="*/ 3043804 h 6557032"/>
              <a:gd name="connsiteX4118" fmla="*/ 4493481 w 4610101"/>
              <a:gd name="connsiteY4118" fmla="*/ 3029350 h 6557032"/>
              <a:gd name="connsiteX4119" fmla="*/ 4518993 w 4610101"/>
              <a:gd name="connsiteY4119" fmla="*/ 3029350 h 6557032"/>
              <a:gd name="connsiteX4120" fmla="*/ 4502592 w 4610101"/>
              <a:gd name="connsiteY4120" fmla="*/ 3043924 h 6557032"/>
              <a:gd name="connsiteX4121" fmla="*/ 3611550 w 4610101"/>
              <a:gd name="connsiteY4121" fmla="*/ 3022084 h 6557032"/>
              <a:gd name="connsiteX4122" fmla="*/ 3644349 w 4610101"/>
              <a:gd name="connsiteY4122" fmla="*/ 3029369 h 6557032"/>
              <a:gd name="connsiteX4123" fmla="*/ 3626128 w 4610101"/>
              <a:gd name="connsiteY4123" fmla="*/ 3053048 h 6557032"/>
              <a:gd name="connsiteX4124" fmla="*/ 3602439 w 4610101"/>
              <a:gd name="connsiteY4124" fmla="*/ 3029369 h 6557032"/>
              <a:gd name="connsiteX4125" fmla="*/ 1220858 w 4610101"/>
              <a:gd name="connsiteY4125" fmla="*/ 3020262 h 6557032"/>
              <a:gd name="connsiteX4126" fmla="*/ 1250013 w 4610101"/>
              <a:gd name="connsiteY4126" fmla="*/ 3042121 h 6557032"/>
              <a:gd name="connsiteX4127" fmla="*/ 1235434 w 4610101"/>
              <a:gd name="connsiteY4127" fmla="*/ 3049406 h 6557032"/>
              <a:gd name="connsiteX4128" fmla="*/ 1235434 w 4610101"/>
              <a:gd name="connsiteY4128" fmla="*/ 3033015 h 6557032"/>
              <a:gd name="connsiteX4129" fmla="*/ 1213568 w 4610101"/>
              <a:gd name="connsiteY4129" fmla="*/ 3042121 h 6557032"/>
              <a:gd name="connsiteX4130" fmla="*/ 1204457 w 4610101"/>
              <a:gd name="connsiteY4130" fmla="*/ 3027550 h 6557032"/>
              <a:gd name="connsiteX4131" fmla="*/ 1220858 w 4610101"/>
              <a:gd name="connsiteY4131" fmla="*/ 3020262 h 6557032"/>
              <a:gd name="connsiteX4132" fmla="*/ 3558707 w 4610101"/>
              <a:gd name="connsiteY4132" fmla="*/ 3020251 h 6557032"/>
              <a:gd name="connsiteX4133" fmla="*/ 3565996 w 4610101"/>
              <a:gd name="connsiteY4133" fmla="*/ 3034827 h 6557032"/>
              <a:gd name="connsiteX4134" fmla="*/ 3558707 w 4610101"/>
              <a:gd name="connsiteY4134" fmla="*/ 3043934 h 6557032"/>
              <a:gd name="connsiteX4135" fmla="*/ 3542307 w 4610101"/>
              <a:gd name="connsiteY4135" fmla="*/ 3034827 h 6557032"/>
              <a:gd name="connsiteX4136" fmla="*/ 1047750 w 4610101"/>
              <a:gd name="connsiteY4136" fmla="*/ 3020234 h 6557032"/>
              <a:gd name="connsiteX4137" fmla="*/ 1062328 w 4610101"/>
              <a:gd name="connsiteY4137" fmla="*/ 3036629 h 6557032"/>
              <a:gd name="connsiteX4138" fmla="*/ 1047750 w 4610101"/>
              <a:gd name="connsiteY4138" fmla="*/ 3036629 h 6557032"/>
              <a:gd name="connsiteX4139" fmla="*/ 3285379 w 4610101"/>
              <a:gd name="connsiteY4139" fmla="*/ 3020194 h 6557032"/>
              <a:gd name="connsiteX4140" fmla="*/ 3343690 w 4610101"/>
              <a:gd name="connsiteY4140" fmla="*/ 3058461 h 6557032"/>
              <a:gd name="connsiteX4141" fmla="*/ 3354623 w 4610101"/>
              <a:gd name="connsiteY4141" fmla="*/ 3065751 h 6557032"/>
              <a:gd name="connsiteX4142" fmla="*/ 3350978 w 4610101"/>
              <a:gd name="connsiteY4142" fmla="*/ 3067570 h 6557032"/>
              <a:gd name="connsiteX4143" fmla="*/ 3349156 w 4610101"/>
              <a:gd name="connsiteY4143" fmla="*/ 3065751 h 6557032"/>
              <a:gd name="connsiteX4144" fmla="*/ 3285379 w 4610101"/>
              <a:gd name="connsiteY4144" fmla="*/ 3020194 h 6557032"/>
              <a:gd name="connsiteX4145" fmla="*/ 3243470 w 4610101"/>
              <a:gd name="connsiteY4145" fmla="*/ 3020194 h 6557032"/>
              <a:gd name="connsiteX4146" fmla="*/ 3243470 w 4610101"/>
              <a:gd name="connsiteY4146" fmla="*/ 3042059 h 6557032"/>
              <a:gd name="connsiteX4147" fmla="*/ 3259869 w 4610101"/>
              <a:gd name="connsiteY4147" fmla="*/ 3032949 h 6557032"/>
              <a:gd name="connsiteX4148" fmla="*/ 1144326 w 4610101"/>
              <a:gd name="connsiteY4148" fmla="*/ 3005686 h 6557032"/>
              <a:gd name="connsiteX4149" fmla="*/ 1151614 w 4610101"/>
              <a:gd name="connsiteY4149" fmla="*/ 3036655 h 6557032"/>
              <a:gd name="connsiteX4150" fmla="*/ 1129748 w 4610101"/>
              <a:gd name="connsiteY4150" fmla="*/ 3036655 h 6557032"/>
              <a:gd name="connsiteX4151" fmla="*/ 1144326 w 4610101"/>
              <a:gd name="connsiteY4151" fmla="*/ 3005686 h 6557032"/>
              <a:gd name="connsiteX4152" fmla="*/ 1153436 w 4610101"/>
              <a:gd name="connsiteY4152" fmla="*/ 3005657 h 6557032"/>
              <a:gd name="connsiteX4153" fmla="*/ 1168014 w 4610101"/>
              <a:gd name="connsiteY4153" fmla="*/ 3020236 h 6557032"/>
              <a:gd name="connsiteX4154" fmla="*/ 1153436 w 4610101"/>
              <a:gd name="connsiteY4154" fmla="*/ 3020236 h 6557032"/>
              <a:gd name="connsiteX4155" fmla="*/ 1322899 w 4610101"/>
              <a:gd name="connsiteY4155" fmla="*/ 3001972 h 6557032"/>
              <a:gd name="connsiteX4156" fmla="*/ 1319254 w 4610101"/>
              <a:gd name="connsiteY4156" fmla="*/ 3012906 h 6557032"/>
              <a:gd name="connsiteX4157" fmla="*/ 1330188 w 4610101"/>
              <a:gd name="connsiteY4157" fmla="*/ 3016550 h 6557032"/>
              <a:gd name="connsiteX4158" fmla="*/ 1326543 w 4610101"/>
              <a:gd name="connsiteY4158" fmla="*/ 3011084 h 6557032"/>
              <a:gd name="connsiteX4159" fmla="*/ 1322899 w 4610101"/>
              <a:gd name="connsiteY4159" fmla="*/ 3001972 h 6557032"/>
              <a:gd name="connsiteX4160" fmla="*/ 3651636 w 4610101"/>
              <a:gd name="connsiteY4160" fmla="*/ 3000223 h 6557032"/>
              <a:gd name="connsiteX4161" fmla="*/ 3653459 w 4610101"/>
              <a:gd name="connsiteY4161" fmla="*/ 3009337 h 6557032"/>
              <a:gd name="connsiteX4162" fmla="*/ 3662569 w 4610101"/>
              <a:gd name="connsiteY4162" fmla="*/ 3020266 h 6557032"/>
              <a:gd name="connsiteX4163" fmla="*/ 3660747 w 4610101"/>
              <a:gd name="connsiteY4163" fmla="*/ 3022090 h 6557032"/>
              <a:gd name="connsiteX4164" fmla="*/ 3649814 w 4610101"/>
              <a:gd name="connsiteY4164" fmla="*/ 3020266 h 6557032"/>
              <a:gd name="connsiteX4165" fmla="*/ 3651636 w 4610101"/>
              <a:gd name="connsiteY4165" fmla="*/ 3016624 h 6557032"/>
              <a:gd name="connsiteX4166" fmla="*/ 3649814 w 4610101"/>
              <a:gd name="connsiteY4166" fmla="*/ 3011159 h 6557032"/>
              <a:gd name="connsiteX4167" fmla="*/ 3257052 w 4610101"/>
              <a:gd name="connsiteY4167" fmla="*/ 2995652 h 6557032"/>
              <a:gd name="connsiteX4168" fmla="*/ 3268253 w 4610101"/>
              <a:gd name="connsiteY4168" fmla="*/ 2997372 h 6557032"/>
              <a:gd name="connsiteX4169" fmla="*/ 3261009 w 4610101"/>
              <a:gd name="connsiteY4169" fmla="*/ 2996506 h 6557032"/>
              <a:gd name="connsiteX4170" fmla="*/ 3250758 w 4610101"/>
              <a:gd name="connsiteY4170" fmla="*/ 2994684 h 6557032"/>
              <a:gd name="connsiteX4171" fmla="*/ 3252581 w 4610101"/>
              <a:gd name="connsiteY4171" fmla="*/ 2994684 h 6557032"/>
              <a:gd name="connsiteX4172" fmla="*/ 3257052 w 4610101"/>
              <a:gd name="connsiteY4172" fmla="*/ 2995652 h 6557032"/>
              <a:gd name="connsiteX4173" fmla="*/ 1042283 w 4610101"/>
              <a:gd name="connsiteY4173" fmla="*/ 2985592 h 6557032"/>
              <a:gd name="connsiteX4174" fmla="*/ 1042283 w 4610101"/>
              <a:gd name="connsiteY4174" fmla="*/ 2992882 h 6557032"/>
              <a:gd name="connsiteX4175" fmla="*/ 1040461 w 4610101"/>
              <a:gd name="connsiteY4175" fmla="*/ 2991060 h 6557032"/>
              <a:gd name="connsiteX4176" fmla="*/ 1042283 w 4610101"/>
              <a:gd name="connsiteY4176" fmla="*/ 2985592 h 6557032"/>
              <a:gd name="connsiteX4177" fmla="*/ 3635237 w 4610101"/>
              <a:gd name="connsiteY4177" fmla="*/ 2978366 h 6557032"/>
              <a:gd name="connsiteX4178" fmla="*/ 3637059 w 4610101"/>
              <a:gd name="connsiteY4178" fmla="*/ 2980185 h 6557032"/>
              <a:gd name="connsiteX4179" fmla="*/ 3635237 w 4610101"/>
              <a:gd name="connsiteY4179" fmla="*/ 2987476 h 6557032"/>
              <a:gd name="connsiteX4180" fmla="*/ 3637059 w 4610101"/>
              <a:gd name="connsiteY4180" fmla="*/ 2992941 h 6557032"/>
              <a:gd name="connsiteX4181" fmla="*/ 3635237 w 4610101"/>
              <a:gd name="connsiteY4181" fmla="*/ 2998405 h 6557032"/>
              <a:gd name="connsiteX4182" fmla="*/ 3637059 w 4610101"/>
              <a:gd name="connsiteY4182" fmla="*/ 3009337 h 6557032"/>
              <a:gd name="connsiteX4183" fmla="*/ 3629770 w 4610101"/>
              <a:gd name="connsiteY4183" fmla="*/ 3016624 h 6557032"/>
              <a:gd name="connsiteX4184" fmla="*/ 3624304 w 4610101"/>
              <a:gd name="connsiteY4184" fmla="*/ 3007515 h 6557032"/>
              <a:gd name="connsiteX4185" fmla="*/ 3629770 w 4610101"/>
              <a:gd name="connsiteY4185" fmla="*/ 3002051 h 6557032"/>
              <a:gd name="connsiteX4186" fmla="*/ 3624304 w 4610101"/>
              <a:gd name="connsiteY4186" fmla="*/ 2994763 h 6557032"/>
              <a:gd name="connsiteX4187" fmla="*/ 3624304 w 4610101"/>
              <a:gd name="connsiteY4187" fmla="*/ 2987476 h 6557032"/>
              <a:gd name="connsiteX4188" fmla="*/ 3279913 w 4610101"/>
              <a:gd name="connsiteY4188" fmla="*/ 2978366 h 6557032"/>
              <a:gd name="connsiteX4189" fmla="*/ 3281735 w 4610101"/>
              <a:gd name="connsiteY4189" fmla="*/ 2983832 h 6557032"/>
              <a:gd name="connsiteX4190" fmla="*/ 3272624 w 4610101"/>
              <a:gd name="connsiteY4190" fmla="*/ 2982010 h 6557032"/>
              <a:gd name="connsiteX4191" fmla="*/ 3314535 w 4610101"/>
              <a:gd name="connsiteY4191" fmla="*/ 2976463 h 6557032"/>
              <a:gd name="connsiteX4192" fmla="*/ 3321824 w 4610101"/>
              <a:gd name="connsiteY4192" fmla="*/ 2989216 h 6557032"/>
              <a:gd name="connsiteX4193" fmla="*/ 3332757 w 4610101"/>
              <a:gd name="connsiteY4193" fmla="*/ 2987397 h 6557032"/>
              <a:gd name="connsiteX4194" fmla="*/ 3336402 w 4610101"/>
              <a:gd name="connsiteY4194" fmla="*/ 2987397 h 6557032"/>
              <a:gd name="connsiteX4195" fmla="*/ 3341868 w 4610101"/>
              <a:gd name="connsiteY4195" fmla="*/ 2985575 h 6557032"/>
              <a:gd name="connsiteX4196" fmla="*/ 3352801 w 4610101"/>
              <a:gd name="connsiteY4196" fmla="*/ 2983751 h 6557032"/>
              <a:gd name="connsiteX4197" fmla="*/ 3352801 w 4610101"/>
              <a:gd name="connsiteY4197" fmla="*/ 2981931 h 6557032"/>
              <a:gd name="connsiteX4198" fmla="*/ 3361912 w 4610101"/>
              <a:gd name="connsiteY4198" fmla="*/ 2980107 h 6557032"/>
              <a:gd name="connsiteX4199" fmla="*/ 3361912 w 4610101"/>
              <a:gd name="connsiteY4199" fmla="*/ 2983751 h 6557032"/>
              <a:gd name="connsiteX4200" fmla="*/ 3372845 w 4610101"/>
              <a:gd name="connsiteY4200" fmla="*/ 2978285 h 6557032"/>
              <a:gd name="connsiteX4201" fmla="*/ 3378311 w 4610101"/>
              <a:gd name="connsiteY4201" fmla="*/ 2978285 h 6557032"/>
              <a:gd name="connsiteX4202" fmla="*/ 3378311 w 4610101"/>
              <a:gd name="connsiteY4202" fmla="*/ 2981931 h 6557032"/>
              <a:gd name="connsiteX4203" fmla="*/ 3347335 w 4610101"/>
              <a:gd name="connsiteY4203" fmla="*/ 2992863 h 6557032"/>
              <a:gd name="connsiteX4204" fmla="*/ 3356445 w 4610101"/>
              <a:gd name="connsiteY4204" fmla="*/ 2994684 h 6557032"/>
              <a:gd name="connsiteX4205" fmla="*/ 3380134 w 4610101"/>
              <a:gd name="connsiteY4205" fmla="*/ 2989216 h 6557032"/>
              <a:gd name="connsiteX4206" fmla="*/ 3318179 w 4610101"/>
              <a:gd name="connsiteY4206" fmla="*/ 3004764 h 6557032"/>
              <a:gd name="connsiteX4207" fmla="*/ 3318179 w 4610101"/>
              <a:gd name="connsiteY4207" fmla="*/ 3007515 h 6557032"/>
              <a:gd name="connsiteX4208" fmla="*/ 3325468 w 4610101"/>
              <a:gd name="connsiteY4208" fmla="*/ 3011161 h 6557032"/>
              <a:gd name="connsiteX4209" fmla="*/ 3329112 w 4610101"/>
              <a:gd name="connsiteY4209" fmla="*/ 3009337 h 6557032"/>
              <a:gd name="connsiteX4210" fmla="*/ 3334578 w 4610101"/>
              <a:gd name="connsiteY4210" fmla="*/ 3012980 h 6557032"/>
              <a:gd name="connsiteX4211" fmla="*/ 3334311 w 4610101"/>
              <a:gd name="connsiteY4211" fmla="*/ 3016550 h 6557032"/>
              <a:gd name="connsiteX4212" fmla="*/ 3335489 w 4610101"/>
              <a:gd name="connsiteY4212" fmla="*/ 3016550 h 6557032"/>
              <a:gd name="connsiteX4213" fmla="*/ 3385599 w 4610101"/>
              <a:gd name="connsiteY4213" fmla="*/ 3005616 h 6557032"/>
              <a:gd name="connsiteX4214" fmla="*/ 3401998 w 4610101"/>
              <a:gd name="connsiteY4214" fmla="*/ 3040239 h 6557032"/>
              <a:gd name="connsiteX4215" fmla="*/ 3371021 w 4610101"/>
              <a:gd name="connsiteY4215" fmla="*/ 3045705 h 6557032"/>
              <a:gd name="connsiteX4216" fmla="*/ 3381955 w 4610101"/>
              <a:gd name="connsiteY4216" fmla="*/ 3036593 h 6557032"/>
              <a:gd name="connsiteX4217" fmla="*/ 3385599 w 4610101"/>
              <a:gd name="connsiteY4217" fmla="*/ 3022016 h 6557032"/>
              <a:gd name="connsiteX4218" fmla="*/ 3372844 w 4610101"/>
              <a:gd name="connsiteY4218" fmla="*/ 3029306 h 6557032"/>
              <a:gd name="connsiteX4219" fmla="*/ 3358266 w 4610101"/>
              <a:gd name="connsiteY4219" fmla="*/ 3016550 h 6557032"/>
              <a:gd name="connsiteX4220" fmla="*/ 3349157 w 4610101"/>
              <a:gd name="connsiteY4220" fmla="*/ 3022623 h 6557032"/>
              <a:gd name="connsiteX4221" fmla="*/ 3349157 w 4610101"/>
              <a:gd name="connsiteY4221" fmla="*/ 3023908 h 6557032"/>
              <a:gd name="connsiteX4222" fmla="*/ 3347420 w 4610101"/>
              <a:gd name="connsiteY4222" fmla="*/ 3023908 h 6557032"/>
              <a:gd name="connsiteX4223" fmla="*/ 3361806 w 4610101"/>
              <a:gd name="connsiteY4223" fmla="*/ 3035417 h 6557032"/>
              <a:gd name="connsiteX4224" fmla="*/ 3361911 w 4610101"/>
              <a:gd name="connsiteY4224" fmla="*/ 3034837 h 6557032"/>
              <a:gd name="connsiteX4225" fmla="*/ 3369199 w 4610101"/>
              <a:gd name="connsiteY4225" fmla="*/ 3033018 h 6557032"/>
              <a:gd name="connsiteX4226" fmla="*/ 3371021 w 4610101"/>
              <a:gd name="connsiteY4226" fmla="*/ 3033018 h 6557032"/>
              <a:gd name="connsiteX4227" fmla="*/ 3371021 w 4610101"/>
              <a:gd name="connsiteY4227" fmla="*/ 3040303 h 6557032"/>
              <a:gd name="connsiteX4228" fmla="*/ 3372844 w 4610101"/>
              <a:gd name="connsiteY4228" fmla="*/ 3045767 h 6557032"/>
              <a:gd name="connsiteX4229" fmla="*/ 3371477 w 4610101"/>
              <a:gd name="connsiteY4229" fmla="*/ 3054417 h 6557032"/>
              <a:gd name="connsiteX4230" fmla="*/ 3368679 w 4610101"/>
              <a:gd name="connsiteY4230" fmla="*/ 3058458 h 6557032"/>
              <a:gd name="connsiteX4231" fmla="*/ 3385599 w 4610101"/>
              <a:gd name="connsiteY4231" fmla="*/ 3058458 h 6557032"/>
              <a:gd name="connsiteX4232" fmla="*/ 3385599 w 4610101"/>
              <a:gd name="connsiteY4232" fmla="*/ 3078502 h 6557032"/>
              <a:gd name="connsiteX4233" fmla="*/ 3358266 w 4610101"/>
              <a:gd name="connsiteY4233" fmla="*/ 3063925 h 6557032"/>
              <a:gd name="connsiteX4234" fmla="*/ 3349157 w 4610101"/>
              <a:gd name="connsiteY4234" fmla="*/ 3058459 h 6557032"/>
              <a:gd name="connsiteX4235" fmla="*/ 3349155 w 4610101"/>
              <a:gd name="connsiteY4235" fmla="*/ 3058461 h 6557032"/>
              <a:gd name="connsiteX4236" fmla="*/ 3292668 w 4610101"/>
              <a:gd name="connsiteY4236" fmla="*/ 3022016 h 6557032"/>
              <a:gd name="connsiteX4237" fmla="*/ 3285379 w 4610101"/>
              <a:gd name="connsiteY4237" fmla="*/ 3016550 h 6557032"/>
              <a:gd name="connsiteX4238" fmla="*/ 3323063 w 4610101"/>
              <a:gd name="connsiteY4238" fmla="*/ 3016550 h 6557032"/>
              <a:gd name="connsiteX4239" fmla="*/ 3323645 w 4610101"/>
              <a:gd name="connsiteY4239" fmla="*/ 3014802 h 6557032"/>
              <a:gd name="connsiteX4240" fmla="*/ 3314762 w 4610101"/>
              <a:gd name="connsiteY4240" fmla="*/ 3012068 h 6557032"/>
              <a:gd name="connsiteX4241" fmla="*/ 3312797 w 4610101"/>
              <a:gd name="connsiteY4241" fmla="*/ 3004212 h 6557032"/>
              <a:gd name="connsiteX4242" fmla="*/ 3312042 w 4610101"/>
              <a:gd name="connsiteY4242" fmla="*/ 3004097 h 6557032"/>
              <a:gd name="connsiteX4243" fmla="*/ 3307246 w 4610101"/>
              <a:gd name="connsiteY4243" fmla="*/ 3005695 h 6557032"/>
              <a:gd name="connsiteX4244" fmla="*/ 3305116 w 4610101"/>
              <a:gd name="connsiteY4244" fmla="*/ 3003033 h 6557032"/>
              <a:gd name="connsiteX4245" fmla="*/ 3268253 w 4610101"/>
              <a:gd name="connsiteY4245" fmla="*/ 2997372 h 6557032"/>
              <a:gd name="connsiteX4246" fmla="*/ 3276270 w 4610101"/>
              <a:gd name="connsiteY4246" fmla="*/ 2998328 h 6557032"/>
              <a:gd name="connsiteX4247" fmla="*/ 3270802 w 4610101"/>
              <a:gd name="connsiteY4247" fmla="*/ 2989216 h 6557032"/>
              <a:gd name="connsiteX4248" fmla="*/ 3314535 w 4610101"/>
              <a:gd name="connsiteY4248" fmla="*/ 2976463 h 6557032"/>
              <a:gd name="connsiteX4249" fmla="*/ 3243470 w 4610101"/>
              <a:gd name="connsiteY4249" fmla="*/ 2974643 h 6557032"/>
              <a:gd name="connsiteX4250" fmla="*/ 3246888 w 4610101"/>
              <a:gd name="connsiteY4250" fmla="*/ 2979427 h 6557032"/>
              <a:gd name="connsiteX4251" fmla="*/ 3249933 w 4610101"/>
              <a:gd name="connsiteY4251" fmla="*/ 2979702 h 6557032"/>
              <a:gd name="connsiteX4252" fmla="*/ 3248936 w 4610101"/>
              <a:gd name="connsiteY4252" fmla="*/ 2974722 h 6557032"/>
              <a:gd name="connsiteX4253" fmla="*/ 3248976 w 4610101"/>
              <a:gd name="connsiteY4253" fmla="*/ 2974643 h 6557032"/>
              <a:gd name="connsiteX4254" fmla="*/ 3338223 w 4610101"/>
              <a:gd name="connsiteY4254" fmla="*/ 2969175 h 6557032"/>
              <a:gd name="connsiteX4255" fmla="*/ 3340045 w 4610101"/>
              <a:gd name="connsiteY4255" fmla="*/ 2972821 h 6557032"/>
              <a:gd name="connsiteX4256" fmla="*/ 3338223 w 4610101"/>
              <a:gd name="connsiteY4256" fmla="*/ 2974641 h 6557032"/>
              <a:gd name="connsiteX4257" fmla="*/ 3321823 w 4610101"/>
              <a:gd name="connsiteY4257" fmla="*/ 2974641 h 6557032"/>
              <a:gd name="connsiteX4258" fmla="*/ 3338223 w 4610101"/>
              <a:gd name="connsiteY4258" fmla="*/ 2969175 h 6557032"/>
              <a:gd name="connsiteX4259" fmla="*/ 1290100 w 4610101"/>
              <a:gd name="connsiteY4259" fmla="*/ 2969173 h 6557032"/>
              <a:gd name="connsiteX4260" fmla="*/ 1299210 w 4610101"/>
              <a:gd name="connsiteY4260" fmla="*/ 2998328 h 6557032"/>
              <a:gd name="connsiteX4261" fmla="*/ 1311966 w 4610101"/>
              <a:gd name="connsiteY4261" fmla="*/ 2998328 h 6557032"/>
              <a:gd name="connsiteX4262" fmla="*/ 1315610 w 4610101"/>
              <a:gd name="connsiteY4262" fmla="*/ 2989216 h 6557032"/>
              <a:gd name="connsiteX4263" fmla="*/ 1313788 w 4610101"/>
              <a:gd name="connsiteY4263" fmla="*/ 2983751 h 6557032"/>
              <a:gd name="connsiteX4264" fmla="*/ 1315610 w 4610101"/>
              <a:gd name="connsiteY4264" fmla="*/ 2985572 h 6557032"/>
              <a:gd name="connsiteX4265" fmla="*/ 1321077 w 4610101"/>
              <a:gd name="connsiteY4265" fmla="*/ 2978285 h 6557032"/>
              <a:gd name="connsiteX4266" fmla="*/ 3643437 w 4610101"/>
              <a:gd name="connsiteY4266" fmla="*/ 2968802 h 6557032"/>
              <a:gd name="connsiteX4267" fmla="*/ 3646170 w 4610101"/>
              <a:gd name="connsiteY4267" fmla="*/ 2971085 h 6557032"/>
              <a:gd name="connsiteX4268" fmla="*/ 3642526 w 4610101"/>
              <a:gd name="connsiteY4268" fmla="*/ 2976544 h 6557032"/>
              <a:gd name="connsiteX4269" fmla="*/ 3635237 w 4610101"/>
              <a:gd name="connsiteY4269" fmla="*/ 2974722 h 6557032"/>
              <a:gd name="connsiteX4270" fmla="*/ 3640704 w 4610101"/>
              <a:gd name="connsiteY4270" fmla="*/ 2969256 h 6557032"/>
              <a:gd name="connsiteX4271" fmla="*/ 3643437 w 4610101"/>
              <a:gd name="connsiteY4271" fmla="*/ 2968802 h 6557032"/>
              <a:gd name="connsiteX4272" fmla="*/ 1076905 w 4610101"/>
              <a:gd name="connsiteY4272" fmla="*/ 2967360 h 6557032"/>
              <a:gd name="connsiteX4273" fmla="*/ 1076905 w 4610101"/>
              <a:gd name="connsiteY4273" fmla="*/ 3005627 h 6557032"/>
              <a:gd name="connsiteX4274" fmla="*/ 1051394 w 4610101"/>
              <a:gd name="connsiteY4274" fmla="*/ 2998337 h 6557032"/>
              <a:gd name="connsiteX4275" fmla="*/ 1060505 w 4610101"/>
              <a:gd name="connsiteY4275" fmla="*/ 2991049 h 6557032"/>
              <a:gd name="connsiteX4276" fmla="*/ 1062327 w 4610101"/>
              <a:gd name="connsiteY4276" fmla="*/ 2985581 h 6557032"/>
              <a:gd name="connsiteX4277" fmla="*/ 1069616 w 4610101"/>
              <a:gd name="connsiteY4277" fmla="*/ 2978293 h 6557032"/>
              <a:gd name="connsiteX4278" fmla="*/ 1076905 w 4610101"/>
              <a:gd name="connsiteY4278" fmla="*/ 2967360 h 6557032"/>
              <a:gd name="connsiteX4279" fmla="*/ 3538662 w 4610101"/>
              <a:gd name="connsiteY4279" fmla="*/ 2956515 h 6557032"/>
              <a:gd name="connsiteX4280" fmla="*/ 3544129 w 4610101"/>
              <a:gd name="connsiteY4280" fmla="*/ 2956515 h 6557032"/>
              <a:gd name="connsiteX4281" fmla="*/ 3538662 w 4610101"/>
              <a:gd name="connsiteY4281" fmla="*/ 2963788 h 6557032"/>
              <a:gd name="connsiteX4282" fmla="*/ 3262751 w 4610101"/>
              <a:gd name="connsiteY4282" fmla="*/ 2954320 h 6557032"/>
              <a:gd name="connsiteX4283" fmla="*/ 3261692 w 4610101"/>
              <a:gd name="connsiteY4283" fmla="*/ 2954600 h 6557032"/>
              <a:gd name="connsiteX4284" fmla="*/ 3261676 w 4610101"/>
              <a:gd name="connsiteY4284" fmla="*/ 2954655 h 6557032"/>
              <a:gd name="connsiteX4285" fmla="*/ 3261691 w 4610101"/>
              <a:gd name="connsiteY4285" fmla="*/ 2954676 h 6557032"/>
              <a:gd name="connsiteX4286" fmla="*/ 3567818 w 4610101"/>
              <a:gd name="connsiteY4286" fmla="*/ 2952835 h 6557032"/>
              <a:gd name="connsiteX4287" fmla="*/ 3565996 w 4610101"/>
              <a:gd name="connsiteY4287" fmla="*/ 2976529 h 6557032"/>
              <a:gd name="connsiteX4288" fmla="*/ 3542307 w 4610101"/>
              <a:gd name="connsiteY4288" fmla="*/ 2954664 h 6557032"/>
              <a:gd name="connsiteX4289" fmla="*/ 1235434 w 4610101"/>
              <a:gd name="connsiteY4289" fmla="*/ 2952773 h 6557032"/>
              <a:gd name="connsiteX4290" fmla="*/ 1235434 w 4610101"/>
              <a:gd name="connsiteY4290" fmla="*/ 2967351 h 6557032"/>
              <a:gd name="connsiteX4291" fmla="*/ 1250012 w 4610101"/>
              <a:gd name="connsiteY4291" fmla="*/ 2952773 h 6557032"/>
              <a:gd name="connsiteX4292" fmla="*/ 3813982 w 4610101"/>
              <a:gd name="connsiteY4292" fmla="*/ 2945413 h 6557032"/>
              <a:gd name="connsiteX4293" fmla="*/ 3824744 w 4610101"/>
              <a:gd name="connsiteY4293" fmla="*/ 2952844 h 6557032"/>
              <a:gd name="connsiteX4294" fmla="*/ 3806522 w 4610101"/>
              <a:gd name="connsiteY4294" fmla="*/ 2976540 h 6557032"/>
              <a:gd name="connsiteX4295" fmla="*/ 3784656 w 4610101"/>
              <a:gd name="connsiteY4295" fmla="*/ 2954674 h 6557032"/>
              <a:gd name="connsiteX4296" fmla="*/ 3801056 w 4610101"/>
              <a:gd name="connsiteY4296" fmla="*/ 2945565 h 6557032"/>
              <a:gd name="connsiteX4297" fmla="*/ 3813982 w 4610101"/>
              <a:gd name="connsiteY4297" fmla="*/ 2945413 h 6557032"/>
              <a:gd name="connsiteX4298" fmla="*/ 3724524 w 4610101"/>
              <a:gd name="connsiteY4298" fmla="*/ 2941935 h 6557032"/>
              <a:gd name="connsiteX4299" fmla="*/ 3729990 w 4610101"/>
              <a:gd name="connsiteY4299" fmla="*/ 2943766 h 6557032"/>
              <a:gd name="connsiteX4300" fmla="*/ 3724524 w 4610101"/>
              <a:gd name="connsiteY4300" fmla="*/ 2947397 h 6557032"/>
              <a:gd name="connsiteX4301" fmla="*/ 3720879 w 4610101"/>
              <a:gd name="connsiteY4301" fmla="*/ 2945571 h 6557032"/>
              <a:gd name="connsiteX4302" fmla="*/ 3505862 w 4610101"/>
              <a:gd name="connsiteY4302" fmla="*/ 2938251 h 6557032"/>
              <a:gd name="connsiteX4303" fmla="*/ 3524084 w 4610101"/>
              <a:gd name="connsiteY4303" fmla="*/ 2940080 h 6557032"/>
              <a:gd name="connsiteX4304" fmla="*/ 3507685 w 4610101"/>
              <a:gd name="connsiteY4304" fmla="*/ 2954647 h 6557032"/>
              <a:gd name="connsiteX4305" fmla="*/ 3443909 w 4610101"/>
              <a:gd name="connsiteY4305" fmla="*/ 2936431 h 6557032"/>
              <a:gd name="connsiteX4306" fmla="*/ 3445731 w 4610101"/>
              <a:gd name="connsiteY4306" fmla="*/ 2952823 h 6557032"/>
              <a:gd name="connsiteX4307" fmla="*/ 3429331 w 4610101"/>
              <a:gd name="connsiteY4307" fmla="*/ 2951009 h 6557032"/>
              <a:gd name="connsiteX4308" fmla="*/ 4056160 w 4610101"/>
              <a:gd name="connsiteY4308" fmla="*/ 2923684 h 6557032"/>
              <a:gd name="connsiteX4309" fmla="*/ 4081671 w 4610101"/>
              <a:gd name="connsiteY4309" fmla="*/ 2923684 h 6557032"/>
              <a:gd name="connsiteX4310" fmla="*/ 4065271 w 4610101"/>
              <a:gd name="connsiteY4310" fmla="*/ 2938260 h 6557032"/>
              <a:gd name="connsiteX4311" fmla="*/ 3146895 w 4610101"/>
              <a:gd name="connsiteY4311" fmla="*/ 2923625 h 6557032"/>
              <a:gd name="connsiteX4312" fmla="*/ 3137784 w 4610101"/>
              <a:gd name="connsiteY4312" fmla="*/ 2938200 h 6557032"/>
              <a:gd name="connsiteX4313" fmla="*/ 3146895 w 4610101"/>
              <a:gd name="connsiteY4313" fmla="*/ 2947312 h 6557032"/>
              <a:gd name="connsiteX4314" fmla="*/ 3161473 w 4610101"/>
              <a:gd name="connsiteY4314" fmla="*/ 2930912 h 6557032"/>
              <a:gd name="connsiteX4315" fmla="*/ 3422043 w 4610101"/>
              <a:gd name="connsiteY4315" fmla="*/ 2920068 h 6557032"/>
              <a:gd name="connsiteX4316" fmla="*/ 3425512 w 4610101"/>
              <a:gd name="connsiteY4316" fmla="*/ 2923865 h 6557032"/>
              <a:gd name="connsiteX4317" fmla="*/ 3425688 w 4610101"/>
              <a:gd name="connsiteY4317" fmla="*/ 2923710 h 6557032"/>
              <a:gd name="connsiteX4318" fmla="*/ 3425622 w 4610101"/>
              <a:gd name="connsiteY4318" fmla="*/ 2923987 h 6557032"/>
              <a:gd name="connsiteX4319" fmla="*/ 3426827 w 4610101"/>
              <a:gd name="connsiteY4319" fmla="*/ 2925312 h 6557032"/>
              <a:gd name="connsiteX4320" fmla="*/ 3424946 w 4610101"/>
              <a:gd name="connsiteY4320" fmla="*/ 2926838 h 6557032"/>
              <a:gd name="connsiteX4321" fmla="*/ 3416577 w 4610101"/>
              <a:gd name="connsiteY4321" fmla="*/ 2961970 h 6557032"/>
              <a:gd name="connsiteX4322" fmla="*/ 3416577 w 4610101"/>
              <a:gd name="connsiteY4322" fmla="*/ 2974722 h 6557032"/>
              <a:gd name="connsiteX4323" fmla="*/ 3447554 w 4610101"/>
              <a:gd name="connsiteY4323" fmla="*/ 3012980 h 6557032"/>
              <a:gd name="connsiteX4324" fmla="*/ 3409288 w 4610101"/>
              <a:gd name="connsiteY4324" fmla="*/ 2989297 h 6557032"/>
              <a:gd name="connsiteX4325" fmla="*/ 3415916 w 4610101"/>
              <a:gd name="connsiteY4325" fmla="*/ 2976041 h 6557032"/>
              <a:gd name="connsiteX4326" fmla="*/ 3399494 w 4610101"/>
              <a:gd name="connsiteY4326" fmla="*/ 2963554 h 6557032"/>
              <a:gd name="connsiteX4327" fmla="*/ 3394711 w 4610101"/>
              <a:gd name="connsiteY4327" fmla="*/ 2938292 h 6557032"/>
              <a:gd name="connsiteX4328" fmla="*/ 3413616 w 4610101"/>
              <a:gd name="connsiteY4328" fmla="*/ 2934416 h 6557032"/>
              <a:gd name="connsiteX4329" fmla="*/ 3422043 w 4610101"/>
              <a:gd name="connsiteY4329" fmla="*/ 2926957 h 6557032"/>
              <a:gd name="connsiteX4330" fmla="*/ 3095874 w 4610101"/>
              <a:gd name="connsiteY4330" fmla="*/ 2919981 h 6557032"/>
              <a:gd name="connsiteX4331" fmla="*/ 3094052 w 4610101"/>
              <a:gd name="connsiteY4331" fmla="*/ 2927266 h 6557032"/>
              <a:gd name="connsiteX4332" fmla="*/ 3097696 w 4610101"/>
              <a:gd name="connsiteY4332" fmla="*/ 2919981 h 6557032"/>
              <a:gd name="connsiteX4333" fmla="*/ 3095874 w 4610101"/>
              <a:gd name="connsiteY4333" fmla="*/ 2919981 h 6557032"/>
              <a:gd name="connsiteX4334" fmla="*/ 3115918 w 4610101"/>
              <a:gd name="connsiteY4334" fmla="*/ 2914513 h 6557032"/>
              <a:gd name="connsiteX4335" fmla="*/ 3114096 w 4610101"/>
              <a:gd name="connsiteY4335" fmla="*/ 2921801 h 6557032"/>
              <a:gd name="connsiteX4336" fmla="*/ 3117741 w 4610101"/>
              <a:gd name="connsiteY4336" fmla="*/ 2914513 h 6557032"/>
              <a:gd name="connsiteX4337" fmla="*/ 3115918 w 4610101"/>
              <a:gd name="connsiteY4337" fmla="*/ 2914513 h 6557032"/>
              <a:gd name="connsiteX4338" fmla="*/ 1295566 w 4610101"/>
              <a:gd name="connsiteY4338" fmla="*/ 2914509 h 6557032"/>
              <a:gd name="connsiteX4339" fmla="*/ 1266411 w 4610101"/>
              <a:gd name="connsiteY4339" fmla="*/ 2923620 h 6557032"/>
              <a:gd name="connsiteX4340" fmla="*/ 1288277 w 4610101"/>
              <a:gd name="connsiteY4340" fmla="*/ 2952773 h 6557032"/>
              <a:gd name="connsiteX4341" fmla="*/ 1288277 w 4610101"/>
              <a:gd name="connsiteY4341" fmla="*/ 2938198 h 6557032"/>
              <a:gd name="connsiteX4342" fmla="*/ 1301033 w 4610101"/>
              <a:gd name="connsiteY4342" fmla="*/ 2938198 h 6557032"/>
              <a:gd name="connsiteX4343" fmla="*/ 1297388 w 4610101"/>
              <a:gd name="connsiteY4343" fmla="*/ 2918154 h 6557032"/>
              <a:gd name="connsiteX4344" fmla="*/ 776246 w 4610101"/>
              <a:gd name="connsiteY4344" fmla="*/ 2909134 h 6557032"/>
              <a:gd name="connsiteX4345" fmla="*/ 783536 w 4610101"/>
              <a:gd name="connsiteY4345" fmla="*/ 2923706 h 6557032"/>
              <a:gd name="connsiteX4346" fmla="*/ 776246 w 4610101"/>
              <a:gd name="connsiteY4346" fmla="*/ 2945565 h 6557032"/>
              <a:gd name="connsiteX4347" fmla="*/ 754380 w 4610101"/>
              <a:gd name="connsiteY4347" fmla="*/ 2916422 h 6557032"/>
              <a:gd name="connsiteX4348" fmla="*/ 3892164 w 4610101"/>
              <a:gd name="connsiteY4348" fmla="*/ 2909115 h 6557032"/>
              <a:gd name="connsiteX4349" fmla="*/ 3914030 w 4610101"/>
              <a:gd name="connsiteY4349" fmla="*/ 2909115 h 6557032"/>
              <a:gd name="connsiteX4350" fmla="*/ 3904919 w 4610101"/>
              <a:gd name="connsiteY4350" fmla="*/ 2921869 h 6557032"/>
              <a:gd name="connsiteX4351" fmla="*/ 3892164 w 4610101"/>
              <a:gd name="connsiteY4351" fmla="*/ 2923690 h 6557032"/>
              <a:gd name="connsiteX4352" fmla="*/ 1591663 w 4610101"/>
              <a:gd name="connsiteY4352" fmla="*/ 2904945 h 6557032"/>
              <a:gd name="connsiteX4353" fmla="*/ 1590758 w 4610101"/>
              <a:gd name="connsiteY4353" fmla="*/ 2905399 h 6557032"/>
              <a:gd name="connsiteX4354" fmla="*/ 1592240 w 4610101"/>
              <a:gd name="connsiteY4354" fmla="*/ 2906385 h 6557032"/>
              <a:gd name="connsiteX4355" fmla="*/ 3132318 w 4610101"/>
              <a:gd name="connsiteY4355" fmla="*/ 2896291 h 6557032"/>
              <a:gd name="connsiteX4356" fmla="*/ 3134140 w 4610101"/>
              <a:gd name="connsiteY4356" fmla="*/ 2901757 h 6557032"/>
              <a:gd name="connsiteX4357" fmla="*/ 3135962 w 4610101"/>
              <a:gd name="connsiteY4357" fmla="*/ 2901757 h 6557032"/>
              <a:gd name="connsiteX4358" fmla="*/ 3132318 w 4610101"/>
              <a:gd name="connsiteY4358" fmla="*/ 2896291 h 6557032"/>
              <a:gd name="connsiteX4359" fmla="*/ 958464 w 4610101"/>
              <a:gd name="connsiteY4359" fmla="*/ 2892726 h 6557032"/>
              <a:gd name="connsiteX4360" fmla="*/ 947531 w 4610101"/>
              <a:gd name="connsiteY4360" fmla="*/ 2909115 h 6557032"/>
              <a:gd name="connsiteX4361" fmla="*/ 932953 w 4610101"/>
              <a:gd name="connsiteY4361" fmla="*/ 2894546 h 6557032"/>
              <a:gd name="connsiteX4362" fmla="*/ 1129748 w 4610101"/>
              <a:gd name="connsiteY4362" fmla="*/ 2892671 h 6557032"/>
              <a:gd name="connsiteX4363" fmla="*/ 1137037 w 4610101"/>
              <a:gd name="connsiteY4363" fmla="*/ 2892671 h 6557032"/>
              <a:gd name="connsiteX4364" fmla="*/ 1131570 w 4610101"/>
              <a:gd name="connsiteY4364" fmla="*/ 2896315 h 6557032"/>
              <a:gd name="connsiteX4365" fmla="*/ 3491286 w 4610101"/>
              <a:gd name="connsiteY4365" fmla="*/ 2885423 h 6557032"/>
              <a:gd name="connsiteX4366" fmla="*/ 3514974 w 4610101"/>
              <a:gd name="connsiteY4366" fmla="*/ 2887247 h 6557032"/>
              <a:gd name="connsiteX4367" fmla="*/ 3500397 w 4610101"/>
              <a:gd name="connsiteY4367" fmla="*/ 2900001 h 6557032"/>
              <a:gd name="connsiteX4368" fmla="*/ 1280989 w 4610101"/>
              <a:gd name="connsiteY4368" fmla="*/ 2885355 h 6557032"/>
              <a:gd name="connsiteX4369" fmla="*/ 1290100 w 4610101"/>
              <a:gd name="connsiteY4369" fmla="*/ 2894465 h 6557032"/>
              <a:gd name="connsiteX4370" fmla="*/ 1286455 w 4610101"/>
              <a:gd name="connsiteY4370" fmla="*/ 2887177 h 6557032"/>
              <a:gd name="connsiteX4371" fmla="*/ 1288277 w 4610101"/>
              <a:gd name="connsiteY4371" fmla="*/ 2885355 h 6557032"/>
              <a:gd name="connsiteX4372" fmla="*/ 661450 w 4610101"/>
              <a:gd name="connsiteY4372" fmla="*/ 2883644 h 6557032"/>
              <a:gd name="connsiteX4373" fmla="*/ 692428 w 4610101"/>
              <a:gd name="connsiteY4373" fmla="*/ 2890941 h 6557032"/>
              <a:gd name="connsiteX4374" fmla="*/ 677849 w 4610101"/>
              <a:gd name="connsiteY4374" fmla="*/ 2929178 h 6557032"/>
              <a:gd name="connsiteX4375" fmla="*/ 646872 w 4610101"/>
              <a:gd name="connsiteY4375" fmla="*/ 2907316 h 6557032"/>
              <a:gd name="connsiteX4376" fmla="*/ 661450 w 4610101"/>
              <a:gd name="connsiteY4376" fmla="*/ 2883644 h 6557032"/>
              <a:gd name="connsiteX4377" fmla="*/ 3553240 w 4610101"/>
              <a:gd name="connsiteY4377" fmla="*/ 2883633 h 6557032"/>
              <a:gd name="connsiteX4378" fmla="*/ 3580573 w 4610101"/>
              <a:gd name="connsiteY4378" fmla="*/ 2914600 h 6557032"/>
              <a:gd name="connsiteX4379" fmla="*/ 3573284 w 4610101"/>
              <a:gd name="connsiteY4379" fmla="*/ 2923706 h 6557032"/>
              <a:gd name="connsiteX4380" fmla="*/ 3542307 w 4610101"/>
              <a:gd name="connsiteY4380" fmla="*/ 2894567 h 6557032"/>
              <a:gd name="connsiteX4381" fmla="*/ 3416576 w 4610101"/>
              <a:gd name="connsiteY4381" fmla="*/ 2872702 h 6557032"/>
              <a:gd name="connsiteX4382" fmla="*/ 3423864 w 4610101"/>
              <a:gd name="connsiteY4382" fmla="*/ 2887286 h 6557032"/>
              <a:gd name="connsiteX4383" fmla="*/ 3412931 w 4610101"/>
              <a:gd name="connsiteY4383" fmla="*/ 2879996 h 6557032"/>
              <a:gd name="connsiteX4384" fmla="*/ 3374667 w 4610101"/>
              <a:gd name="connsiteY4384" fmla="*/ 2872604 h 6557032"/>
              <a:gd name="connsiteX4385" fmla="*/ 3389244 w 4610101"/>
              <a:gd name="connsiteY4385" fmla="*/ 2878072 h 6557032"/>
              <a:gd name="connsiteX4386" fmla="*/ 3401999 w 4610101"/>
              <a:gd name="connsiteY4386" fmla="*/ 2885359 h 6557032"/>
              <a:gd name="connsiteX4387" fmla="*/ 3405644 w 4610101"/>
              <a:gd name="connsiteY4387" fmla="*/ 2883538 h 6557032"/>
              <a:gd name="connsiteX4388" fmla="*/ 3414754 w 4610101"/>
              <a:gd name="connsiteY4388" fmla="*/ 2885359 h 6557032"/>
              <a:gd name="connsiteX4389" fmla="*/ 3412932 w 4610101"/>
              <a:gd name="connsiteY4389" fmla="*/ 2898113 h 6557032"/>
              <a:gd name="connsiteX4390" fmla="*/ 3349155 w 4610101"/>
              <a:gd name="connsiteY4390" fmla="*/ 2878072 h 6557032"/>
              <a:gd name="connsiteX4391" fmla="*/ 3025716 w 4610101"/>
              <a:gd name="connsiteY4391" fmla="*/ 2870322 h 6557032"/>
              <a:gd name="connsiteX4392" fmla="*/ 3066720 w 4610101"/>
              <a:gd name="connsiteY4392" fmla="*/ 2872599 h 6557032"/>
              <a:gd name="connsiteX4393" fmla="*/ 3066720 w 4610101"/>
              <a:gd name="connsiteY4393" fmla="*/ 2874422 h 6557032"/>
              <a:gd name="connsiteX4394" fmla="*/ 3299957 w 4610101"/>
              <a:gd name="connsiteY4394" fmla="*/ 2868954 h 6557032"/>
              <a:gd name="connsiteX4395" fmla="*/ 3320001 w 4610101"/>
              <a:gd name="connsiteY4395" fmla="*/ 2878066 h 6557032"/>
              <a:gd name="connsiteX4396" fmla="*/ 3320001 w 4610101"/>
              <a:gd name="connsiteY4396" fmla="*/ 2879887 h 6557032"/>
              <a:gd name="connsiteX4397" fmla="*/ 3312712 w 4610101"/>
              <a:gd name="connsiteY4397" fmla="*/ 2878066 h 6557032"/>
              <a:gd name="connsiteX4398" fmla="*/ 3292668 w 4610101"/>
              <a:gd name="connsiteY4398" fmla="*/ 2872599 h 6557032"/>
              <a:gd name="connsiteX4399" fmla="*/ 3299957 w 4610101"/>
              <a:gd name="connsiteY4399" fmla="*/ 2868954 h 6557032"/>
              <a:gd name="connsiteX4400" fmla="*/ 3000041 w 4610101"/>
              <a:gd name="connsiteY4400" fmla="*/ 2867754 h 6557032"/>
              <a:gd name="connsiteX4401" fmla="*/ 3025716 w 4610101"/>
              <a:gd name="connsiteY4401" fmla="*/ 2870322 h 6557032"/>
              <a:gd name="connsiteX4402" fmla="*/ 3001122 w 4610101"/>
              <a:gd name="connsiteY4402" fmla="*/ 2868956 h 6557032"/>
              <a:gd name="connsiteX4403" fmla="*/ 3447553 w 4610101"/>
              <a:gd name="connsiteY4403" fmla="*/ 2865388 h 6557032"/>
              <a:gd name="connsiteX4404" fmla="*/ 3446870 w 4610101"/>
              <a:gd name="connsiteY4404" fmla="*/ 2868806 h 6557032"/>
              <a:gd name="connsiteX4405" fmla="*/ 3445247 w 4610101"/>
              <a:gd name="connsiteY4405" fmla="*/ 2866671 h 6557032"/>
              <a:gd name="connsiteX4406" fmla="*/ 3496752 w 4610101"/>
              <a:gd name="connsiteY4406" fmla="*/ 2863562 h 6557032"/>
              <a:gd name="connsiteX4407" fmla="*/ 3522263 w 4610101"/>
              <a:gd name="connsiteY4407" fmla="*/ 2863562 h 6557032"/>
              <a:gd name="connsiteX4408" fmla="*/ 3513152 w 4610101"/>
              <a:gd name="connsiteY4408" fmla="*/ 2879968 h 6557032"/>
              <a:gd name="connsiteX4409" fmla="*/ 3323646 w 4610101"/>
              <a:gd name="connsiteY4409" fmla="*/ 2863494 h 6557032"/>
              <a:gd name="connsiteX4410" fmla="*/ 3327291 w 4610101"/>
              <a:gd name="connsiteY4410" fmla="*/ 2863494 h 6557032"/>
              <a:gd name="connsiteX4411" fmla="*/ 3325469 w 4610101"/>
              <a:gd name="connsiteY4411" fmla="*/ 2865318 h 6557032"/>
              <a:gd name="connsiteX4412" fmla="*/ 3323646 w 4610101"/>
              <a:gd name="connsiteY4412" fmla="*/ 2863494 h 6557032"/>
              <a:gd name="connsiteX4413" fmla="*/ 3230032 w 4610101"/>
              <a:gd name="connsiteY4413" fmla="*/ 2856888 h 6557032"/>
              <a:gd name="connsiteX4414" fmla="*/ 3290847 w 4610101"/>
              <a:gd name="connsiteY4414" fmla="*/ 2861670 h 6557032"/>
              <a:gd name="connsiteX4415" fmla="*/ 3285380 w 4610101"/>
              <a:gd name="connsiteY4415" fmla="*/ 2868958 h 6557032"/>
              <a:gd name="connsiteX4416" fmla="*/ 3256226 w 4610101"/>
              <a:gd name="connsiteY4416" fmla="*/ 2867138 h 6557032"/>
              <a:gd name="connsiteX4417" fmla="*/ 3225249 w 4610101"/>
              <a:gd name="connsiteY4417" fmla="*/ 2867138 h 6557032"/>
              <a:gd name="connsiteX4418" fmla="*/ 3225249 w 4610101"/>
              <a:gd name="connsiteY4418" fmla="*/ 2865314 h 6557032"/>
              <a:gd name="connsiteX4419" fmla="*/ 3219782 w 4610101"/>
              <a:gd name="connsiteY4419" fmla="*/ 2867138 h 6557032"/>
              <a:gd name="connsiteX4420" fmla="*/ 3192449 w 4610101"/>
              <a:gd name="connsiteY4420" fmla="*/ 2872602 h 6557032"/>
              <a:gd name="connsiteX4421" fmla="*/ 3185161 w 4610101"/>
              <a:gd name="connsiteY4421" fmla="*/ 2870782 h 6557032"/>
              <a:gd name="connsiteX4422" fmla="*/ 3185161 w 4610101"/>
              <a:gd name="connsiteY4422" fmla="*/ 2872602 h 6557032"/>
              <a:gd name="connsiteX4423" fmla="*/ 3185161 w 4610101"/>
              <a:gd name="connsiteY4423" fmla="*/ 2876248 h 6557032"/>
              <a:gd name="connsiteX4424" fmla="*/ 3179694 w 4610101"/>
              <a:gd name="connsiteY4424" fmla="*/ 2878070 h 6557032"/>
              <a:gd name="connsiteX4425" fmla="*/ 3177872 w 4610101"/>
              <a:gd name="connsiteY4425" fmla="*/ 2874424 h 6557032"/>
              <a:gd name="connsiteX4426" fmla="*/ 3176050 w 4610101"/>
              <a:gd name="connsiteY4426" fmla="*/ 2879891 h 6557032"/>
              <a:gd name="connsiteX4427" fmla="*/ 3156006 w 4610101"/>
              <a:gd name="connsiteY4427" fmla="*/ 2890823 h 6557032"/>
              <a:gd name="connsiteX4428" fmla="*/ 3154184 w 4610101"/>
              <a:gd name="connsiteY4428" fmla="*/ 2887179 h 6557032"/>
              <a:gd name="connsiteX4429" fmla="*/ 3148717 w 4610101"/>
              <a:gd name="connsiteY4429" fmla="*/ 2889003 h 6557032"/>
              <a:gd name="connsiteX4430" fmla="*/ 3150539 w 4610101"/>
              <a:gd name="connsiteY4430" fmla="*/ 2894469 h 6557032"/>
              <a:gd name="connsiteX4431" fmla="*/ 3146895 w 4610101"/>
              <a:gd name="connsiteY4431" fmla="*/ 2898113 h 6557032"/>
              <a:gd name="connsiteX4432" fmla="*/ 3150539 w 4610101"/>
              <a:gd name="connsiteY4432" fmla="*/ 2907223 h 6557032"/>
              <a:gd name="connsiteX4433" fmla="*/ 3259870 w 4610101"/>
              <a:gd name="connsiteY4433" fmla="*/ 2889003 h 6557032"/>
              <a:gd name="connsiteX4434" fmla="*/ 3310891 w 4610101"/>
              <a:gd name="connsiteY4434" fmla="*/ 2896291 h 6557032"/>
              <a:gd name="connsiteX4435" fmla="*/ 3245293 w 4610101"/>
              <a:gd name="connsiteY4435" fmla="*/ 2898113 h 6557032"/>
              <a:gd name="connsiteX4436" fmla="*/ 3156006 w 4610101"/>
              <a:gd name="connsiteY4436" fmla="*/ 2918157 h 6557032"/>
              <a:gd name="connsiteX4437" fmla="*/ 3163295 w 4610101"/>
              <a:gd name="connsiteY4437" fmla="*/ 2925444 h 6557032"/>
              <a:gd name="connsiteX4438" fmla="*/ 3265336 w 4610101"/>
              <a:gd name="connsiteY4438" fmla="*/ 2914513 h 6557032"/>
              <a:gd name="connsiteX4439" fmla="*/ 3318180 w 4610101"/>
              <a:gd name="connsiteY4439" fmla="*/ 2914513 h 6557032"/>
              <a:gd name="connsiteX4440" fmla="*/ 3312713 w 4610101"/>
              <a:gd name="connsiteY4440" fmla="*/ 2919981 h 6557032"/>
              <a:gd name="connsiteX4441" fmla="*/ 3216138 w 4610101"/>
              <a:gd name="connsiteY4441" fmla="*/ 2934554 h 6557032"/>
              <a:gd name="connsiteX4442" fmla="*/ 3221604 w 4610101"/>
              <a:gd name="connsiteY4442" fmla="*/ 2938200 h 6557032"/>
              <a:gd name="connsiteX4443" fmla="*/ 3298136 w 4610101"/>
              <a:gd name="connsiteY4443" fmla="*/ 2929090 h 6557032"/>
              <a:gd name="connsiteX4444" fmla="*/ 3312713 w 4610101"/>
              <a:gd name="connsiteY4444" fmla="*/ 2929090 h 6557032"/>
              <a:gd name="connsiteX4445" fmla="*/ 3274447 w 4610101"/>
              <a:gd name="connsiteY4445" fmla="*/ 2932734 h 6557032"/>
              <a:gd name="connsiteX4446" fmla="*/ 3228893 w 4610101"/>
              <a:gd name="connsiteY4446" fmla="*/ 2945490 h 6557032"/>
              <a:gd name="connsiteX4447" fmla="*/ 3234360 w 4610101"/>
              <a:gd name="connsiteY4447" fmla="*/ 2952778 h 6557032"/>
              <a:gd name="connsiteX4448" fmla="*/ 3236398 w 4610101"/>
              <a:gd name="connsiteY4448" fmla="*/ 2952449 h 6557032"/>
              <a:gd name="connsiteX4449" fmla="*/ 3239827 w 4610101"/>
              <a:gd name="connsiteY4449" fmla="*/ 2947397 h 6557032"/>
              <a:gd name="connsiteX4450" fmla="*/ 3239827 w 4610101"/>
              <a:gd name="connsiteY4450" fmla="*/ 2951904 h 6557032"/>
              <a:gd name="connsiteX4451" fmla="*/ 3256224 w 4610101"/>
              <a:gd name="connsiteY4451" fmla="*/ 2949279 h 6557032"/>
              <a:gd name="connsiteX4452" fmla="*/ 3256224 w 4610101"/>
              <a:gd name="connsiteY4452" fmla="*/ 2947397 h 6557032"/>
              <a:gd name="connsiteX4453" fmla="*/ 3257486 w 4610101"/>
              <a:gd name="connsiteY4453" fmla="*/ 2949076 h 6557032"/>
              <a:gd name="connsiteX4454" fmla="*/ 3279914 w 4610101"/>
              <a:gd name="connsiteY4454" fmla="*/ 2945490 h 6557032"/>
              <a:gd name="connsiteX4455" fmla="*/ 3296313 w 4610101"/>
              <a:gd name="connsiteY4455" fmla="*/ 2945490 h 6557032"/>
              <a:gd name="connsiteX4456" fmla="*/ 3267157 w 4610101"/>
              <a:gd name="connsiteY4456" fmla="*/ 2953161 h 6557032"/>
              <a:gd name="connsiteX4457" fmla="*/ 3267157 w 4610101"/>
              <a:gd name="connsiteY4457" fmla="*/ 2960138 h 6557032"/>
              <a:gd name="connsiteX4458" fmla="*/ 3267973 w 4610101"/>
              <a:gd name="connsiteY4458" fmla="*/ 2961500 h 6557032"/>
              <a:gd name="connsiteX4459" fmla="*/ 3314535 w 4610101"/>
              <a:gd name="connsiteY4459" fmla="*/ 2954600 h 6557032"/>
              <a:gd name="connsiteX4460" fmla="*/ 3314975 w 4610101"/>
              <a:gd name="connsiteY4460" fmla="*/ 2956356 h 6557032"/>
              <a:gd name="connsiteX4461" fmla="*/ 3327290 w 4610101"/>
              <a:gd name="connsiteY4461" fmla="*/ 2954595 h 6557032"/>
              <a:gd name="connsiteX4462" fmla="*/ 3341867 w 4610101"/>
              <a:gd name="connsiteY4462" fmla="*/ 2952773 h 6557032"/>
              <a:gd name="connsiteX4463" fmla="*/ 3321823 w 4610101"/>
              <a:gd name="connsiteY4463" fmla="*/ 2960063 h 6557032"/>
              <a:gd name="connsiteX4464" fmla="*/ 3315055 w 4610101"/>
              <a:gd name="connsiteY4464" fmla="*/ 2956679 h 6557032"/>
              <a:gd name="connsiteX4465" fmla="*/ 3316357 w 4610101"/>
              <a:gd name="connsiteY4465" fmla="*/ 2961887 h 6557032"/>
              <a:gd name="connsiteX4466" fmla="*/ 3305424 w 4610101"/>
              <a:gd name="connsiteY4466" fmla="*/ 2965531 h 6557032"/>
              <a:gd name="connsiteX4467" fmla="*/ 3276270 w 4610101"/>
              <a:gd name="connsiteY4467" fmla="*/ 2974643 h 6557032"/>
              <a:gd name="connsiteX4468" fmla="*/ 3255514 w 4610101"/>
              <a:gd name="connsiteY4468" fmla="*/ 2974643 h 6557032"/>
              <a:gd name="connsiteX4469" fmla="*/ 3258047 w 4610101"/>
              <a:gd name="connsiteY4469" fmla="*/ 2976540 h 6557032"/>
              <a:gd name="connsiteX4470" fmla="*/ 3258047 w 4610101"/>
              <a:gd name="connsiteY4470" fmla="*/ 2983829 h 6557032"/>
              <a:gd name="connsiteX4471" fmla="*/ 3250758 w 4610101"/>
              <a:gd name="connsiteY4471" fmla="*/ 2983829 h 6557032"/>
              <a:gd name="connsiteX4472" fmla="*/ 3250194 w 4610101"/>
              <a:gd name="connsiteY4472" fmla="*/ 2981010 h 6557032"/>
              <a:gd name="connsiteX4473" fmla="*/ 3202244 w 4610101"/>
              <a:gd name="connsiteY4473" fmla="*/ 2991271 h 6557032"/>
              <a:gd name="connsiteX4474" fmla="*/ 3148717 w 4610101"/>
              <a:gd name="connsiteY4474" fmla="*/ 2992864 h 6557032"/>
              <a:gd name="connsiteX4475" fmla="*/ 3101912 w 4610101"/>
              <a:gd name="connsiteY4475" fmla="*/ 2978387 h 6557032"/>
              <a:gd name="connsiteX4476" fmla="*/ 3102744 w 4610101"/>
              <a:gd name="connsiteY4476" fmla="*/ 2981074 h 6557032"/>
              <a:gd name="connsiteX4477" fmla="*/ 3102109 w 4610101"/>
              <a:gd name="connsiteY4477" fmla="*/ 2980642 h 6557032"/>
              <a:gd name="connsiteX4478" fmla="*/ 3102963 w 4610101"/>
              <a:gd name="connsiteY4478" fmla="*/ 2981782 h 6557032"/>
              <a:gd name="connsiteX4479" fmla="*/ 3102744 w 4610101"/>
              <a:gd name="connsiteY4479" fmla="*/ 2981074 h 6557032"/>
              <a:gd name="connsiteX4480" fmla="*/ 3106807 w 4610101"/>
              <a:gd name="connsiteY4480" fmla="*/ 2983832 h 6557032"/>
              <a:gd name="connsiteX4481" fmla="*/ 3099518 w 4610101"/>
              <a:gd name="connsiteY4481" fmla="*/ 2983832 h 6557032"/>
              <a:gd name="connsiteX4482" fmla="*/ 3092229 w 4610101"/>
              <a:gd name="connsiteY4482" fmla="*/ 2976540 h 6557032"/>
              <a:gd name="connsiteX4483" fmla="*/ 3095941 w 4610101"/>
              <a:gd name="connsiteY4483" fmla="*/ 2976540 h 6557032"/>
              <a:gd name="connsiteX4484" fmla="*/ 3094963 w 4610101"/>
              <a:gd name="connsiteY4484" fmla="*/ 2976237 h 6557032"/>
              <a:gd name="connsiteX4485" fmla="*/ 3046675 w 4610101"/>
              <a:gd name="connsiteY4485" fmla="*/ 2947312 h 6557032"/>
              <a:gd name="connsiteX4486" fmla="*/ 2970143 w 4610101"/>
              <a:gd name="connsiteY4486" fmla="*/ 2905401 h 6557032"/>
              <a:gd name="connsiteX4487" fmla="*/ 3159650 w 4610101"/>
              <a:gd name="connsiteY4487" fmla="*/ 2870782 h 6557032"/>
              <a:gd name="connsiteX4488" fmla="*/ 3168761 w 4610101"/>
              <a:gd name="connsiteY4488" fmla="*/ 2867138 h 6557032"/>
              <a:gd name="connsiteX4489" fmla="*/ 3170583 w 4610101"/>
              <a:gd name="connsiteY4489" fmla="*/ 2867138 h 6557032"/>
              <a:gd name="connsiteX4490" fmla="*/ 3230032 w 4610101"/>
              <a:gd name="connsiteY4490" fmla="*/ 2856888 h 6557032"/>
              <a:gd name="connsiteX4491" fmla="*/ 3453021 w 4610101"/>
              <a:gd name="connsiteY4491" fmla="*/ 2847171 h 6557032"/>
              <a:gd name="connsiteX4492" fmla="*/ 3460309 w 4610101"/>
              <a:gd name="connsiteY4492" fmla="*/ 2869035 h 6557032"/>
              <a:gd name="connsiteX4493" fmla="*/ 3447554 w 4610101"/>
              <a:gd name="connsiteY4493" fmla="*/ 2865388 h 6557032"/>
              <a:gd name="connsiteX4494" fmla="*/ 3447553 w 4610101"/>
              <a:gd name="connsiteY4494" fmla="*/ 2865388 h 6557032"/>
              <a:gd name="connsiteX4495" fmla="*/ 3438443 w 4610101"/>
              <a:gd name="connsiteY4495" fmla="*/ 2854461 h 6557032"/>
              <a:gd name="connsiteX4496" fmla="*/ 3400178 w 4610101"/>
              <a:gd name="connsiteY4496" fmla="*/ 2841729 h 6557032"/>
              <a:gd name="connsiteX4497" fmla="*/ 3438444 w 4610101"/>
              <a:gd name="connsiteY4497" fmla="*/ 2856306 h 6557032"/>
              <a:gd name="connsiteX4498" fmla="*/ 3431162 w 4610101"/>
              <a:gd name="connsiteY4498" fmla="*/ 2870863 h 6557032"/>
              <a:gd name="connsiteX4499" fmla="*/ 3447554 w 4610101"/>
              <a:gd name="connsiteY4499" fmla="*/ 2879975 h 6557032"/>
              <a:gd name="connsiteX4500" fmla="*/ 3432976 w 4610101"/>
              <a:gd name="connsiteY4500" fmla="*/ 2890919 h 6557032"/>
              <a:gd name="connsiteX4501" fmla="*/ 3423865 w 4610101"/>
              <a:gd name="connsiteY4501" fmla="*/ 2885439 h 6557032"/>
              <a:gd name="connsiteX4502" fmla="*/ 3431144 w 4610101"/>
              <a:gd name="connsiteY4502" fmla="*/ 2870878 h 6557032"/>
              <a:gd name="connsiteX4503" fmla="*/ 3392889 w 4610101"/>
              <a:gd name="connsiteY4503" fmla="*/ 2870878 h 6557032"/>
              <a:gd name="connsiteX4504" fmla="*/ 3400178 w 4610101"/>
              <a:gd name="connsiteY4504" fmla="*/ 2841729 h 6557032"/>
              <a:gd name="connsiteX4505" fmla="*/ 1095127 w 4610101"/>
              <a:gd name="connsiteY4505" fmla="*/ 2830725 h 6557032"/>
              <a:gd name="connsiteX4506" fmla="*/ 1109704 w 4610101"/>
              <a:gd name="connsiteY4506" fmla="*/ 2836190 h 6557032"/>
              <a:gd name="connsiteX4507" fmla="*/ 1116993 w 4610101"/>
              <a:gd name="connsiteY4507" fmla="*/ 2843476 h 6557032"/>
              <a:gd name="connsiteX4508" fmla="*/ 1111526 w 4610101"/>
              <a:gd name="connsiteY4508" fmla="*/ 2861698 h 6557032"/>
              <a:gd name="connsiteX4509" fmla="*/ 1127928 w 4610101"/>
              <a:gd name="connsiteY4509" fmla="*/ 2838010 h 6557032"/>
              <a:gd name="connsiteX4510" fmla="*/ 1129749 w 4610101"/>
              <a:gd name="connsiteY4510" fmla="*/ 2838010 h 6557032"/>
              <a:gd name="connsiteX4511" fmla="*/ 1133393 w 4610101"/>
              <a:gd name="connsiteY4511" fmla="*/ 2847122 h 6557032"/>
              <a:gd name="connsiteX4512" fmla="*/ 1147971 w 4610101"/>
              <a:gd name="connsiteY4512" fmla="*/ 2858054 h 6557032"/>
              <a:gd name="connsiteX4513" fmla="*/ 1138860 w 4610101"/>
              <a:gd name="connsiteY4513" fmla="*/ 2879917 h 6557032"/>
              <a:gd name="connsiteX4514" fmla="*/ 1133393 w 4610101"/>
              <a:gd name="connsiteY4514" fmla="*/ 2889027 h 6557032"/>
              <a:gd name="connsiteX4515" fmla="*/ 1095127 w 4610101"/>
              <a:gd name="connsiteY4515" fmla="*/ 2918180 h 6557032"/>
              <a:gd name="connsiteX4516" fmla="*/ 1071438 w 4610101"/>
              <a:gd name="connsiteY4516" fmla="*/ 2910890 h 6557032"/>
              <a:gd name="connsiteX4517" fmla="*/ 1078727 w 4610101"/>
              <a:gd name="connsiteY4517" fmla="*/ 2941865 h 6557032"/>
              <a:gd name="connsiteX4518" fmla="*/ 1071438 w 4610101"/>
              <a:gd name="connsiteY4518" fmla="*/ 2949155 h 6557032"/>
              <a:gd name="connsiteX4519" fmla="*/ 1075083 w 4610101"/>
              <a:gd name="connsiteY4519" fmla="*/ 2961906 h 6557032"/>
              <a:gd name="connsiteX4520" fmla="*/ 1060505 w 4610101"/>
              <a:gd name="connsiteY4520" fmla="*/ 2981948 h 6557032"/>
              <a:gd name="connsiteX4521" fmla="*/ 1056861 w 4610101"/>
              <a:gd name="connsiteY4521" fmla="*/ 2983770 h 6557032"/>
              <a:gd name="connsiteX4522" fmla="*/ 1049572 w 4610101"/>
              <a:gd name="connsiteY4522" fmla="*/ 2994704 h 6557032"/>
              <a:gd name="connsiteX4523" fmla="*/ 1044106 w 4610101"/>
              <a:gd name="connsiteY4523" fmla="*/ 2991060 h 6557032"/>
              <a:gd name="connsiteX4524" fmla="*/ 1055040 w 4610101"/>
              <a:gd name="connsiteY4524" fmla="*/ 2980126 h 6557032"/>
              <a:gd name="connsiteX4525" fmla="*/ 1053217 w 4610101"/>
              <a:gd name="connsiteY4525" fmla="*/ 2978306 h 6557032"/>
              <a:gd name="connsiteX4526" fmla="*/ 1056861 w 4610101"/>
              <a:gd name="connsiteY4526" fmla="*/ 2976482 h 6557032"/>
              <a:gd name="connsiteX4527" fmla="*/ 1053217 w 4610101"/>
              <a:gd name="connsiteY4527" fmla="*/ 2974660 h 6557032"/>
              <a:gd name="connsiteX4528" fmla="*/ 1053217 w 4610101"/>
              <a:gd name="connsiteY4528" fmla="*/ 2969194 h 6557032"/>
              <a:gd name="connsiteX4529" fmla="*/ 1049572 w 4610101"/>
              <a:gd name="connsiteY4529" fmla="*/ 2969194 h 6557032"/>
              <a:gd name="connsiteX4530" fmla="*/ 1047750 w 4610101"/>
              <a:gd name="connsiteY4530" fmla="*/ 2974660 h 6557032"/>
              <a:gd name="connsiteX4531" fmla="*/ 1042284 w 4610101"/>
              <a:gd name="connsiteY4531" fmla="*/ 2963731 h 6557032"/>
              <a:gd name="connsiteX4532" fmla="*/ 1051394 w 4610101"/>
              <a:gd name="connsiteY4532" fmla="*/ 2952797 h 6557032"/>
              <a:gd name="connsiteX4533" fmla="*/ 1065972 w 4610101"/>
              <a:gd name="connsiteY4533" fmla="*/ 2949155 h 6557032"/>
              <a:gd name="connsiteX4534" fmla="*/ 1060505 w 4610101"/>
              <a:gd name="connsiteY4534" fmla="*/ 2936399 h 6557032"/>
              <a:gd name="connsiteX4535" fmla="*/ 1065972 w 4610101"/>
              <a:gd name="connsiteY4535" fmla="*/ 2918180 h 6557032"/>
              <a:gd name="connsiteX4536" fmla="*/ 1042284 w 4610101"/>
              <a:gd name="connsiteY4536" fmla="*/ 2898139 h 6557032"/>
              <a:gd name="connsiteX4537" fmla="*/ 1034995 w 4610101"/>
              <a:gd name="connsiteY4537" fmla="*/ 2912714 h 6557032"/>
              <a:gd name="connsiteX4538" fmla="*/ 1027707 w 4610101"/>
              <a:gd name="connsiteY4538" fmla="*/ 2892671 h 6557032"/>
              <a:gd name="connsiteX4539" fmla="*/ 1040461 w 4610101"/>
              <a:gd name="connsiteY4539" fmla="*/ 2868988 h 6557032"/>
              <a:gd name="connsiteX4540" fmla="*/ 1036818 w 4610101"/>
              <a:gd name="connsiteY4540" fmla="*/ 2867164 h 6557032"/>
              <a:gd name="connsiteX4541" fmla="*/ 1040461 w 4610101"/>
              <a:gd name="connsiteY4541" fmla="*/ 2867164 h 6557032"/>
              <a:gd name="connsiteX4542" fmla="*/ 1042284 w 4610101"/>
              <a:gd name="connsiteY4542" fmla="*/ 2859876 h 6557032"/>
              <a:gd name="connsiteX4543" fmla="*/ 1073262 w 4610101"/>
              <a:gd name="connsiteY4543" fmla="*/ 2841654 h 6557032"/>
              <a:gd name="connsiteX4544" fmla="*/ 1095127 w 4610101"/>
              <a:gd name="connsiteY4544" fmla="*/ 2830725 h 6557032"/>
              <a:gd name="connsiteX4545" fmla="*/ 3547318 w 4610101"/>
              <a:gd name="connsiteY4545" fmla="*/ 2819180 h 6557032"/>
              <a:gd name="connsiteX4546" fmla="*/ 3560529 w 4610101"/>
              <a:gd name="connsiteY4546" fmla="*/ 2847193 h 6557032"/>
              <a:gd name="connsiteX4547" fmla="*/ 3575106 w 4610101"/>
              <a:gd name="connsiteY4547" fmla="*/ 2847193 h 6557032"/>
              <a:gd name="connsiteX4548" fmla="*/ 3558707 w 4610101"/>
              <a:gd name="connsiteY4548" fmla="*/ 2878176 h 6557032"/>
              <a:gd name="connsiteX4549" fmla="*/ 3527730 w 4610101"/>
              <a:gd name="connsiteY4549" fmla="*/ 2852652 h 6557032"/>
              <a:gd name="connsiteX4550" fmla="*/ 3535019 w 4610101"/>
              <a:gd name="connsiteY4550" fmla="*/ 2839907 h 6557032"/>
              <a:gd name="connsiteX4551" fmla="*/ 3520441 w 4610101"/>
              <a:gd name="connsiteY4551" fmla="*/ 2825321 h 6557032"/>
              <a:gd name="connsiteX4552" fmla="*/ 3547318 w 4610101"/>
              <a:gd name="connsiteY4552" fmla="*/ 2819180 h 6557032"/>
              <a:gd name="connsiteX4553" fmla="*/ 896509 w 4610101"/>
              <a:gd name="connsiteY4553" fmla="*/ 2818020 h 6557032"/>
              <a:gd name="connsiteX4554" fmla="*/ 911087 w 4610101"/>
              <a:gd name="connsiteY4554" fmla="*/ 2818020 h 6557032"/>
              <a:gd name="connsiteX4555" fmla="*/ 911087 w 4610101"/>
              <a:gd name="connsiteY4555" fmla="*/ 2832579 h 6557032"/>
              <a:gd name="connsiteX4556" fmla="*/ 896509 w 4610101"/>
              <a:gd name="connsiteY4556" fmla="*/ 2832579 h 6557032"/>
              <a:gd name="connsiteX4557" fmla="*/ 3476709 w 4610101"/>
              <a:gd name="connsiteY4557" fmla="*/ 2818009 h 6557032"/>
              <a:gd name="connsiteX4558" fmla="*/ 3454843 w 4610101"/>
              <a:gd name="connsiteY4558" fmla="*/ 2839875 h 6557032"/>
              <a:gd name="connsiteX4559" fmla="*/ 1120637 w 4610101"/>
              <a:gd name="connsiteY4559" fmla="*/ 2814304 h 6557032"/>
              <a:gd name="connsiteX4560" fmla="*/ 1115170 w 4610101"/>
              <a:gd name="connsiteY4560" fmla="*/ 2828880 h 6557032"/>
              <a:gd name="connsiteX4561" fmla="*/ 1109704 w 4610101"/>
              <a:gd name="connsiteY4561" fmla="*/ 2830701 h 6557032"/>
              <a:gd name="connsiteX4562" fmla="*/ 1102415 w 4610101"/>
              <a:gd name="connsiteY4562" fmla="*/ 2827057 h 6557032"/>
              <a:gd name="connsiteX4563" fmla="*/ 1120637 w 4610101"/>
              <a:gd name="connsiteY4563" fmla="*/ 2814304 h 6557032"/>
              <a:gd name="connsiteX4564" fmla="*/ 3436621 w 4610101"/>
              <a:gd name="connsiteY4564" fmla="*/ 2808893 h 6557032"/>
              <a:gd name="connsiteX4565" fmla="*/ 3445732 w 4610101"/>
              <a:gd name="connsiteY4565" fmla="*/ 2825295 h 6557032"/>
              <a:gd name="connsiteX4566" fmla="*/ 3422043 w 4610101"/>
              <a:gd name="connsiteY4566" fmla="*/ 2823475 h 6557032"/>
              <a:gd name="connsiteX4567" fmla="*/ 1060505 w 4610101"/>
              <a:gd name="connsiteY4567" fmla="*/ 2808861 h 6557032"/>
              <a:gd name="connsiteX4568" fmla="*/ 1045929 w 4610101"/>
              <a:gd name="connsiteY4568" fmla="*/ 2823437 h 6557032"/>
              <a:gd name="connsiteX4569" fmla="*/ 1071438 w 4610101"/>
              <a:gd name="connsiteY4569" fmla="*/ 2832546 h 6557032"/>
              <a:gd name="connsiteX4570" fmla="*/ 3076300 w 4610101"/>
              <a:gd name="connsiteY4570" fmla="*/ 2802989 h 6557032"/>
              <a:gd name="connsiteX4571" fmla="*/ 3046676 w 4610101"/>
              <a:gd name="connsiteY4571" fmla="*/ 2812469 h 6557032"/>
              <a:gd name="connsiteX4572" fmla="*/ 3053965 w 4610101"/>
              <a:gd name="connsiteY4572" fmla="*/ 2816113 h 6557032"/>
              <a:gd name="connsiteX4573" fmla="*/ 3073957 w 4610101"/>
              <a:gd name="connsiteY4573" fmla="*/ 2811314 h 6557032"/>
              <a:gd name="connsiteX4574" fmla="*/ 3070363 w 4610101"/>
              <a:gd name="connsiteY4574" fmla="*/ 2808913 h 6557032"/>
              <a:gd name="connsiteX4575" fmla="*/ 3143251 w 4610101"/>
              <a:gd name="connsiteY4575" fmla="*/ 2792425 h 6557032"/>
              <a:gd name="connsiteX4576" fmla="*/ 3146895 w 4610101"/>
              <a:gd name="connsiteY4576" fmla="*/ 2796069 h 6557032"/>
              <a:gd name="connsiteX4577" fmla="*/ 3132318 w 4610101"/>
              <a:gd name="connsiteY4577" fmla="*/ 2805179 h 6557032"/>
              <a:gd name="connsiteX4578" fmla="*/ 3135962 w 4610101"/>
              <a:gd name="connsiteY4578" fmla="*/ 2816113 h 6557032"/>
              <a:gd name="connsiteX4579" fmla="*/ 3185161 w 4610101"/>
              <a:gd name="connsiteY4579" fmla="*/ 2807001 h 6557032"/>
              <a:gd name="connsiteX4580" fmla="*/ 3210671 w 4610101"/>
              <a:gd name="connsiteY4580" fmla="*/ 2803357 h 6557032"/>
              <a:gd name="connsiteX4581" fmla="*/ 3212494 w 4610101"/>
              <a:gd name="connsiteY4581" fmla="*/ 2805179 h 6557032"/>
              <a:gd name="connsiteX4582" fmla="*/ 3172406 w 4610101"/>
              <a:gd name="connsiteY4582" fmla="*/ 2814291 h 6557032"/>
              <a:gd name="connsiteX4583" fmla="*/ 3181517 w 4610101"/>
              <a:gd name="connsiteY4583" fmla="*/ 2816113 h 6557032"/>
              <a:gd name="connsiteX4584" fmla="*/ 3212494 w 4610101"/>
              <a:gd name="connsiteY4584" fmla="*/ 2812469 h 6557032"/>
              <a:gd name="connsiteX4585" fmla="*/ 3214316 w 4610101"/>
              <a:gd name="connsiteY4585" fmla="*/ 2812469 h 6557032"/>
              <a:gd name="connsiteX4586" fmla="*/ 3148717 w 4610101"/>
              <a:gd name="connsiteY4586" fmla="*/ 2827047 h 6557032"/>
              <a:gd name="connsiteX4587" fmla="*/ 3159650 w 4610101"/>
              <a:gd name="connsiteY4587" fmla="*/ 2830691 h 6557032"/>
              <a:gd name="connsiteX4588" fmla="*/ 3207027 w 4610101"/>
              <a:gd name="connsiteY4588" fmla="*/ 2825223 h 6557032"/>
              <a:gd name="connsiteX4589" fmla="*/ 3205205 w 4610101"/>
              <a:gd name="connsiteY4589" fmla="*/ 2827047 h 6557032"/>
              <a:gd name="connsiteX4590" fmla="*/ 3183339 w 4610101"/>
              <a:gd name="connsiteY4590" fmla="*/ 2834335 h 6557032"/>
              <a:gd name="connsiteX4591" fmla="*/ 3188805 w 4610101"/>
              <a:gd name="connsiteY4591" fmla="*/ 2845268 h 6557032"/>
              <a:gd name="connsiteX4592" fmla="*/ 3201560 w 4610101"/>
              <a:gd name="connsiteY4592" fmla="*/ 2847090 h 6557032"/>
              <a:gd name="connsiteX4593" fmla="*/ 3179694 w 4610101"/>
              <a:gd name="connsiteY4593" fmla="*/ 2850734 h 6557032"/>
              <a:gd name="connsiteX4594" fmla="*/ 3156006 w 4610101"/>
              <a:gd name="connsiteY4594" fmla="*/ 2856200 h 6557032"/>
              <a:gd name="connsiteX4595" fmla="*/ 3064896 w 4610101"/>
              <a:gd name="connsiteY4595" fmla="*/ 2834335 h 6557032"/>
              <a:gd name="connsiteX4596" fmla="*/ 3098644 w 4610101"/>
              <a:gd name="connsiteY4596" fmla="*/ 2816283 h 6557032"/>
              <a:gd name="connsiteX4597" fmla="*/ 3097696 w 4610101"/>
              <a:gd name="connsiteY4597" fmla="*/ 2814385 h 6557032"/>
              <a:gd name="connsiteX4598" fmla="*/ 3101341 w 4610101"/>
              <a:gd name="connsiteY4598" fmla="*/ 2810743 h 6557032"/>
              <a:gd name="connsiteX4599" fmla="*/ 3103352 w 4610101"/>
              <a:gd name="connsiteY4599" fmla="*/ 2813767 h 6557032"/>
              <a:gd name="connsiteX4600" fmla="*/ 1056861 w 4610101"/>
              <a:gd name="connsiteY4600" fmla="*/ 2779708 h 6557032"/>
              <a:gd name="connsiteX4601" fmla="*/ 1086016 w 4610101"/>
              <a:gd name="connsiteY4601" fmla="*/ 2801571 h 6557032"/>
              <a:gd name="connsiteX4602" fmla="*/ 1087838 w 4610101"/>
              <a:gd name="connsiteY4602" fmla="*/ 2803395 h 6557032"/>
              <a:gd name="connsiteX4603" fmla="*/ 1095126 w 4610101"/>
              <a:gd name="connsiteY4603" fmla="*/ 2797928 h 6557032"/>
              <a:gd name="connsiteX4604" fmla="*/ 1100593 w 4610101"/>
              <a:gd name="connsiteY4604" fmla="*/ 2812505 h 6557032"/>
              <a:gd name="connsiteX4605" fmla="*/ 1107883 w 4610101"/>
              <a:gd name="connsiteY4605" fmla="*/ 2801571 h 6557032"/>
              <a:gd name="connsiteX4606" fmla="*/ 1109706 w 4610101"/>
              <a:gd name="connsiteY4606" fmla="*/ 2794286 h 6557032"/>
              <a:gd name="connsiteX4607" fmla="*/ 1118817 w 4610101"/>
              <a:gd name="connsiteY4607" fmla="*/ 2801571 h 6557032"/>
              <a:gd name="connsiteX4608" fmla="*/ 1115171 w 4610101"/>
              <a:gd name="connsiteY4608" fmla="*/ 2812505 h 6557032"/>
              <a:gd name="connsiteX4609" fmla="*/ 1073260 w 4610101"/>
              <a:gd name="connsiteY4609" fmla="*/ 2839834 h 6557032"/>
              <a:gd name="connsiteX4610" fmla="*/ 1073260 w 4610101"/>
              <a:gd name="connsiteY4610" fmla="*/ 2836190 h 6557032"/>
              <a:gd name="connsiteX4611" fmla="*/ 1067794 w 4610101"/>
              <a:gd name="connsiteY4611" fmla="*/ 2839834 h 6557032"/>
              <a:gd name="connsiteX4612" fmla="*/ 1029528 w 4610101"/>
              <a:gd name="connsiteY4612" fmla="*/ 2867166 h 6557032"/>
              <a:gd name="connsiteX4613" fmla="*/ 1022240 w 4610101"/>
              <a:gd name="connsiteY4613" fmla="*/ 2863520 h 6557032"/>
              <a:gd name="connsiteX4614" fmla="*/ 1018596 w 4610101"/>
              <a:gd name="connsiteY4614" fmla="*/ 2812505 h 6557032"/>
              <a:gd name="connsiteX4615" fmla="*/ 1036818 w 4610101"/>
              <a:gd name="connsiteY4615" fmla="*/ 2807039 h 6557032"/>
              <a:gd name="connsiteX4616" fmla="*/ 1045929 w 4610101"/>
              <a:gd name="connsiteY4616" fmla="*/ 2812505 h 6557032"/>
              <a:gd name="connsiteX4617" fmla="*/ 1044106 w 4610101"/>
              <a:gd name="connsiteY4617" fmla="*/ 2805215 h 6557032"/>
              <a:gd name="connsiteX4618" fmla="*/ 1047750 w 4610101"/>
              <a:gd name="connsiteY4618" fmla="*/ 2805215 h 6557032"/>
              <a:gd name="connsiteX4619" fmla="*/ 1045929 w 4610101"/>
              <a:gd name="connsiteY4619" fmla="*/ 2803395 h 6557032"/>
              <a:gd name="connsiteX4620" fmla="*/ 1056861 w 4610101"/>
              <a:gd name="connsiteY4620" fmla="*/ 2803395 h 6557032"/>
              <a:gd name="connsiteX4621" fmla="*/ 1058683 w 4610101"/>
              <a:gd name="connsiteY4621" fmla="*/ 2801571 h 6557032"/>
              <a:gd name="connsiteX4622" fmla="*/ 1047750 w 4610101"/>
              <a:gd name="connsiteY4622" fmla="*/ 2786996 h 6557032"/>
              <a:gd name="connsiteX4623" fmla="*/ 1064151 w 4610101"/>
              <a:gd name="connsiteY4623" fmla="*/ 2794286 h 6557032"/>
              <a:gd name="connsiteX4624" fmla="*/ 1056861 w 4610101"/>
              <a:gd name="connsiteY4624" fmla="*/ 2779708 h 6557032"/>
              <a:gd name="connsiteX4625" fmla="*/ 1095127 w 4610101"/>
              <a:gd name="connsiteY4625" fmla="*/ 2774234 h 6557032"/>
              <a:gd name="connsiteX4626" fmla="*/ 1096949 w 4610101"/>
              <a:gd name="connsiteY4626" fmla="*/ 2785165 h 6557032"/>
              <a:gd name="connsiteX4627" fmla="*/ 1091482 w 4610101"/>
              <a:gd name="connsiteY4627" fmla="*/ 2776055 h 6557032"/>
              <a:gd name="connsiteX4628" fmla="*/ 1095127 w 4610101"/>
              <a:gd name="connsiteY4628" fmla="*/ 2774234 h 6557032"/>
              <a:gd name="connsiteX4629" fmla="*/ 1104237 w 4610101"/>
              <a:gd name="connsiteY4629" fmla="*/ 2774232 h 6557032"/>
              <a:gd name="connsiteX4630" fmla="*/ 1111526 w 4610101"/>
              <a:gd name="connsiteY4630" fmla="*/ 2776055 h 6557032"/>
              <a:gd name="connsiteX4631" fmla="*/ 1104237 w 4610101"/>
              <a:gd name="connsiteY4631" fmla="*/ 2779699 h 6557032"/>
              <a:gd name="connsiteX4632" fmla="*/ 1106059 w 4610101"/>
              <a:gd name="connsiteY4632" fmla="*/ 2777876 h 6557032"/>
              <a:gd name="connsiteX4633" fmla="*/ 1104237 w 4610101"/>
              <a:gd name="connsiteY4633" fmla="*/ 2774232 h 6557032"/>
              <a:gd name="connsiteX4634" fmla="*/ 3042857 w 4610101"/>
              <a:gd name="connsiteY4634" fmla="*/ 2772855 h 6557032"/>
              <a:gd name="connsiteX4635" fmla="*/ 3025494 w 4610101"/>
              <a:gd name="connsiteY4635" fmla="*/ 2778530 h 6557032"/>
              <a:gd name="connsiteX4636" fmla="*/ 2982900 w 4610101"/>
              <a:gd name="connsiteY4636" fmla="*/ 2797892 h 6557032"/>
              <a:gd name="connsiteX4637" fmla="*/ 2990189 w 4610101"/>
              <a:gd name="connsiteY4637" fmla="*/ 2803357 h 6557032"/>
              <a:gd name="connsiteX4638" fmla="*/ 3048532 w 4610101"/>
              <a:gd name="connsiteY4638" fmla="*/ 2784933 h 6557032"/>
              <a:gd name="connsiteX4639" fmla="*/ 3041208 w 4610101"/>
              <a:gd name="connsiteY4639" fmla="*/ 2776156 h 6557032"/>
              <a:gd name="connsiteX4640" fmla="*/ 1051395 w 4610101"/>
              <a:gd name="connsiteY4640" fmla="*/ 2770577 h 6557032"/>
              <a:gd name="connsiteX4641" fmla="*/ 1047750 w 4610101"/>
              <a:gd name="connsiteY4641" fmla="*/ 2774221 h 6557032"/>
              <a:gd name="connsiteX4642" fmla="*/ 1051395 w 4610101"/>
              <a:gd name="connsiteY4642" fmla="*/ 2770577 h 6557032"/>
              <a:gd name="connsiteX4643" fmla="*/ 3356446 w 4610101"/>
              <a:gd name="connsiteY4643" fmla="*/ 2766923 h 6557032"/>
              <a:gd name="connsiteX4644" fmla="*/ 3354624 w 4610101"/>
              <a:gd name="connsiteY4644" fmla="*/ 2772390 h 6557032"/>
              <a:gd name="connsiteX4645" fmla="*/ 3371023 w 4610101"/>
              <a:gd name="connsiteY4645" fmla="*/ 2772390 h 6557032"/>
              <a:gd name="connsiteX4646" fmla="*/ 3363734 w 4610101"/>
              <a:gd name="connsiteY4646" fmla="*/ 2785146 h 6557032"/>
              <a:gd name="connsiteX4647" fmla="*/ 3378312 w 4610101"/>
              <a:gd name="connsiteY4647" fmla="*/ 2799722 h 6557032"/>
              <a:gd name="connsiteX4648" fmla="*/ 3407467 w 4610101"/>
              <a:gd name="connsiteY4648" fmla="*/ 2808834 h 6557032"/>
              <a:gd name="connsiteX4649" fmla="*/ 3403822 w 4610101"/>
              <a:gd name="connsiteY4649" fmla="*/ 2814300 h 6557032"/>
              <a:gd name="connsiteX4650" fmla="*/ 3332756 w 4610101"/>
              <a:gd name="connsiteY4650" fmla="*/ 2785146 h 6557032"/>
              <a:gd name="connsiteX4651" fmla="*/ 3356446 w 4610101"/>
              <a:gd name="connsiteY4651" fmla="*/ 2766923 h 6557032"/>
              <a:gd name="connsiteX4652" fmla="*/ 1089660 w 4610101"/>
              <a:gd name="connsiteY4652" fmla="*/ 2765122 h 6557032"/>
              <a:gd name="connsiteX4653" fmla="*/ 1095127 w 4610101"/>
              <a:gd name="connsiteY4653" fmla="*/ 2766945 h 6557032"/>
              <a:gd name="connsiteX4654" fmla="*/ 1095127 w 4610101"/>
              <a:gd name="connsiteY4654" fmla="*/ 2770590 h 6557032"/>
              <a:gd name="connsiteX4655" fmla="*/ 1087838 w 4610101"/>
              <a:gd name="connsiteY4655" fmla="*/ 2770590 h 6557032"/>
              <a:gd name="connsiteX4656" fmla="*/ 1089660 w 4610101"/>
              <a:gd name="connsiteY4656" fmla="*/ 2765122 h 6557032"/>
              <a:gd name="connsiteX4657" fmla="*/ 3573284 w 4610101"/>
              <a:gd name="connsiteY4657" fmla="*/ 2763390 h 6557032"/>
              <a:gd name="connsiteX4658" fmla="*/ 3580572 w 4610101"/>
              <a:gd name="connsiteY4658" fmla="*/ 2777950 h 6557032"/>
              <a:gd name="connsiteX4659" fmla="*/ 3573284 w 4610101"/>
              <a:gd name="connsiteY4659" fmla="*/ 2787056 h 6557032"/>
              <a:gd name="connsiteX4660" fmla="*/ 3558706 w 4610101"/>
              <a:gd name="connsiteY4660" fmla="*/ 2777950 h 6557032"/>
              <a:gd name="connsiteX4661" fmla="*/ 1105149 w 4610101"/>
              <a:gd name="connsiteY4661" fmla="*/ 2759198 h 6557032"/>
              <a:gd name="connsiteX4662" fmla="*/ 1111526 w 4610101"/>
              <a:gd name="connsiteY4662" fmla="*/ 2761476 h 6557032"/>
              <a:gd name="connsiteX4663" fmla="*/ 1106060 w 4610101"/>
              <a:gd name="connsiteY4663" fmla="*/ 2772410 h 6557032"/>
              <a:gd name="connsiteX4664" fmla="*/ 1104238 w 4610101"/>
              <a:gd name="connsiteY4664" fmla="*/ 2763298 h 6557032"/>
              <a:gd name="connsiteX4665" fmla="*/ 1098771 w 4610101"/>
              <a:gd name="connsiteY4665" fmla="*/ 2759654 h 6557032"/>
              <a:gd name="connsiteX4666" fmla="*/ 1105149 w 4610101"/>
              <a:gd name="connsiteY4666" fmla="*/ 2759198 h 6557032"/>
              <a:gd name="connsiteX4667" fmla="*/ 3513152 w 4610101"/>
              <a:gd name="connsiteY4667" fmla="*/ 2757898 h 6557032"/>
              <a:gd name="connsiteX4668" fmla="*/ 3536841 w 4610101"/>
              <a:gd name="connsiteY4668" fmla="*/ 2757898 h 6557032"/>
              <a:gd name="connsiteX4669" fmla="*/ 3527730 w 4610101"/>
              <a:gd name="connsiteY4669" fmla="*/ 2774294 h 6557032"/>
              <a:gd name="connsiteX4670" fmla="*/ 1051394 w 4610101"/>
              <a:gd name="connsiteY4670" fmla="*/ 2757823 h 6557032"/>
              <a:gd name="connsiteX4671" fmla="*/ 1056861 w 4610101"/>
              <a:gd name="connsiteY4671" fmla="*/ 2757823 h 6557032"/>
              <a:gd name="connsiteX4672" fmla="*/ 1049572 w 4610101"/>
              <a:gd name="connsiteY4672" fmla="*/ 2759643 h 6557032"/>
              <a:gd name="connsiteX4673" fmla="*/ 1051394 w 4610101"/>
              <a:gd name="connsiteY4673" fmla="*/ 2757823 h 6557032"/>
              <a:gd name="connsiteX4674" fmla="*/ 4214688 w 4610101"/>
              <a:gd name="connsiteY4674" fmla="*/ 2756080 h 6557032"/>
              <a:gd name="connsiteX4675" fmla="*/ 4214688 w 4610101"/>
              <a:gd name="connsiteY4675" fmla="*/ 2779761 h 6557032"/>
              <a:gd name="connsiteX4676" fmla="*/ 4198288 w 4610101"/>
              <a:gd name="connsiteY4676" fmla="*/ 2770656 h 6557032"/>
              <a:gd name="connsiteX4677" fmla="*/ 3453020 w 4610101"/>
              <a:gd name="connsiteY4677" fmla="*/ 2756068 h 6557032"/>
              <a:gd name="connsiteX4678" fmla="*/ 3478531 w 4610101"/>
              <a:gd name="connsiteY4678" fmla="*/ 2757887 h 6557032"/>
              <a:gd name="connsiteX4679" fmla="*/ 3462131 w 4610101"/>
              <a:gd name="connsiteY4679" fmla="*/ 2772467 h 6557032"/>
              <a:gd name="connsiteX4680" fmla="*/ 1110615 w 4610101"/>
              <a:gd name="connsiteY4680" fmla="*/ 2755555 h 6557032"/>
              <a:gd name="connsiteX4681" fmla="*/ 1115170 w 4610101"/>
              <a:gd name="connsiteY4681" fmla="*/ 2756010 h 6557032"/>
              <a:gd name="connsiteX4682" fmla="*/ 1106059 w 4610101"/>
              <a:gd name="connsiteY4682" fmla="*/ 2757832 h 6557032"/>
              <a:gd name="connsiteX4683" fmla="*/ 1110615 w 4610101"/>
              <a:gd name="connsiteY4683" fmla="*/ 2755555 h 6557032"/>
              <a:gd name="connsiteX4684" fmla="*/ 3409287 w 4610101"/>
              <a:gd name="connsiteY4684" fmla="*/ 2748817 h 6557032"/>
              <a:gd name="connsiteX4685" fmla="*/ 3412932 w 4610101"/>
              <a:gd name="connsiteY4685" fmla="*/ 2770682 h 6557032"/>
              <a:gd name="connsiteX4686" fmla="*/ 3418398 w 4610101"/>
              <a:gd name="connsiteY4686" fmla="*/ 2788888 h 6557032"/>
              <a:gd name="connsiteX4687" fmla="*/ 3438442 w 4610101"/>
              <a:gd name="connsiteY4687" fmla="*/ 2781622 h 6557032"/>
              <a:gd name="connsiteX4688" fmla="*/ 3447553 w 4610101"/>
              <a:gd name="connsiteY4688" fmla="*/ 2787075 h 6557032"/>
              <a:gd name="connsiteX4689" fmla="*/ 3416576 w 4610101"/>
              <a:gd name="connsiteY4689" fmla="*/ 2801642 h 6557032"/>
              <a:gd name="connsiteX4690" fmla="*/ 3378310 w 4610101"/>
              <a:gd name="connsiteY4690" fmla="*/ 2777974 h 6557032"/>
              <a:gd name="connsiteX4691" fmla="*/ 3378310 w 4610101"/>
              <a:gd name="connsiteY4691" fmla="*/ 2756114 h 6557032"/>
              <a:gd name="connsiteX4692" fmla="*/ 3059430 w 4610101"/>
              <a:gd name="connsiteY4692" fmla="*/ 2746997 h 6557032"/>
              <a:gd name="connsiteX4693" fmla="*/ 3066719 w 4610101"/>
              <a:gd name="connsiteY4693" fmla="*/ 2746997 h 6557032"/>
              <a:gd name="connsiteX4694" fmla="*/ 3064897 w 4610101"/>
              <a:gd name="connsiteY4694" fmla="*/ 2756114 h 6557032"/>
              <a:gd name="connsiteX4695" fmla="*/ 3074008 w 4610101"/>
              <a:gd name="connsiteY4695" fmla="*/ 2757927 h 6557032"/>
              <a:gd name="connsiteX4696" fmla="*/ 3079474 w 4610101"/>
              <a:gd name="connsiteY4696" fmla="*/ 2756114 h 6557032"/>
              <a:gd name="connsiteX4697" fmla="*/ 3088585 w 4610101"/>
              <a:gd name="connsiteY4697" fmla="*/ 2774330 h 6557032"/>
              <a:gd name="connsiteX4698" fmla="*/ 3083119 w 4610101"/>
              <a:gd name="connsiteY4698" fmla="*/ 2774330 h 6557032"/>
              <a:gd name="connsiteX4699" fmla="*/ 3083119 w 4610101"/>
              <a:gd name="connsiteY4699" fmla="*/ 2768864 h 6557032"/>
              <a:gd name="connsiteX4700" fmla="*/ 3077652 w 4610101"/>
              <a:gd name="connsiteY4700" fmla="*/ 2770682 h 6557032"/>
              <a:gd name="connsiteX4701" fmla="*/ 3072186 w 4610101"/>
              <a:gd name="connsiteY4701" fmla="*/ 2761578 h 6557032"/>
              <a:gd name="connsiteX4702" fmla="*/ 3059430 w 4610101"/>
              <a:gd name="connsiteY4702" fmla="*/ 2746997 h 6557032"/>
              <a:gd name="connsiteX4703" fmla="*/ 1038639 w 4610101"/>
              <a:gd name="connsiteY4703" fmla="*/ 2745066 h 6557032"/>
              <a:gd name="connsiteX4704" fmla="*/ 1042284 w 4610101"/>
              <a:gd name="connsiteY4704" fmla="*/ 2745066 h 6557032"/>
              <a:gd name="connsiteX4705" fmla="*/ 1040461 w 4610101"/>
              <a:gd name="connsiteY4705" fmla="*/ 2748711 h 6557032"/>
              <a:gd name="connsiteX4706" fmla="*/ 1038639 w 4610101"/>
              <a:gd name="connsiteY4706" fmla="*/ 2745066 h 6557032"/>
              <a:gd name="connsiteX4707" fmla="*/ 3438442 w 4610101"/>
              <a:gd name="connsiteY4707" fmla="*/ 2741477 h 6557032"/>
              <a:gd name="connsiteX4708" fmla="*/ 3453020 w 4610101"/>
              <a:gd name="connsiteY4708" fmla="*/ 2741477 h 6557032"/>
              <a:gd name="connsiteX4709" fmla="*/ 3453020 w 4610101"/>
              <a:gd name="connsiteY4709" fmla="*/ 2756059 h 6557032"/>
              <a:gd name="connsiteX4710" fmla="*/ 2997478 w 4610101"/>
              <a:gd name="connsiteY4710" fmla="*/ 2741402 h 6557032"/>
              <a:gd name="connsiteX4711" fmla="*/ 2930057 w 4610101"/>
              <a:gd name="connsiteY4711" fmla="*/ 2770558 h 6557032"/>
              <a:gd name="connsiteX4712" fmla="*/ 2935524 w 4610101"/>
              <a:gd name="connsiteY4712" fmla="*/ 2776024 h 6557032"/>
              <a:gd name="connsiteX4713" fmla="*/ 2975611 w 4610101"/>
              <a:gd name="connsiteY4713" fmla="*/ 2759624 h 6557032"/>
              <a:gd name="connsiteX4714" fmla="*/ 3002944 w 4610101"/>
              <a:gd name="connsiteY4714" fmla="*/ 2750514 h 6557032"/>
              <a:gd name="connsiteX4715" fmla="*/ 2970145 w 4610101"/>
              <a:gd name="connsiteY4715" fmla="*/ 2765092 h 6557032"/>
              <a:gd name="connsiteX4716" fmla="*/ 2973789 w 4610101"/>
              <a:gd name="connsiteY4716" fmla="*/ 2774202 h 6557032"/>
              <a:gd name="connsiteX4717" fmla="*/ 3012055 w 4610101"/>
              <a:gd name="connsiteY4717" fmla="*/ 2763268 h 6557032"/>
              <a:gd name="connsiteX4718" fmla="*/ 3019344 w 4610101"/>
              <a:gd name="connsiteY4718" fmla="*/ 2763268 h 6557032"/>
              <a:gd name="connsiteX4719" fmla="*/ 2977433 w 4610101"/>
              <a:gd name="connsiteY4719" fmla="*/ 2785136 h 6557032"/>
              <a:gd name="connsiteX4720" fmla="*/ 2982900 w 4610101"/>
              <a:gd name="connsiteY4720" fmla="*/ 2790602 h 6557032"/>
              <a:gd name="connsiteX4721" fmla="*/ 3068542 w 4610101"/>
              <a:gd name="connsiteY4721" fmla="*/ 2763268 h 6557032"/>
              <a:gd name="connsiteX4722" fmla="*/ 3070364 w 4610101"/>
              <a:gd name="connsiteY4722" fmla="*/ 2763268 h 6557032"/>
              <a:gd name="connsiteX4723" fmla="*/ 3072187 w 4610101"/>
              <a:gd name="connsiteY4723" fmla="*/ 2763268 h 6557032"/>
              <a:gd name="connsiteX4724" fmla="*/ 3043251 w 4610101"/>
              <a:gd name="connsiteY4724" fmla="*/ 2772727 h 6557032"/>
              <a:gd name="connsiteX4725" fmla="*/ 3053804 w 4610101"/>
              <a:gd name="connsiteY4725" fmla="*/ 2783267 h 6557032"/>
              <a:gd name="connsiteX4726" fmla="*/ 3059431 w 4610101"/>
              <a:gd name="connsiteY4726" fmla="*/ 2781490 h 6557032"/>
              <a:gd name="connsiteX4727" fmla="*/ 3115919 w 4610101"/>
              <a:gd name="connsiteY4727" fmla="*/ 2772380 h 6557032"/>
              <a:gd name="connsiteX4728" fmla="*/ 3137785 w 4610101"/>
              <a:gd name="connsiteY4728" fmla="*/ 2774202 h 6557032"/>
              <a:gd name="connsiteX4729" fmla="*/ 3135963 w 4610101"/>
              <a:gd name="connsiteY4729" fmla="*/ 2776024 h 6557032"/>
              <a:gd name="connsiteX4730" fmla="*/ 3064442 w 4610101"/>
              <a:gd name="connsiteY4730" fmla="*/ 2789236 h 6557032"/>
              <a:gd name="connsiteX4731" fmla="*/ 3060109 w 4610101"/>
              <a:gd name="connsiteY4731" fmla="*/ 2790584 h 6557032"/>
              <a:gd name="connsiteX4732" fmla="*/ 3063075 w 4610101"/>
              <a:gd name="connsiteY4732" fmla="*/ 2798004 h 6557032"/>
              <a:gd name="connsiteX4733" fmla="*/ 3049181 w 4610101"/>
              <a:gd name="connsiteY4733" fmla="*/ 2796638 h 6557032"/>
              <a:gd name="connsiteX4734" fmla="*/ 3049509 w 4610101"/>
              <a:gd name="connsiteY4734" fmla="*/ 2793883 h 6557032"/>
              <a:gd name="connsiteX4735" fmla="*/ 2995655 w 4610101"/>
              <a:gd name="connsiteY4735" fmla="*/ 2810647 h 6557032"/>
              <a:gd name="connsiteX4736" fmla="*/ 3001122 w 4610101"/>
              <a:gd name="connsiteY4736" fmla="*/ 2812469 h 6557032"/>
              <a:gd name="connsiteX4737" fmla="*/ 3063075 w 4610101"/>
              <a:gd name="connsiteY4737" fmla="*/ 2798171 h 6557032"/>
              <a:gd name="connsiteX4738" fmla="*/ 3063075 w 4610101"/>
              <a:gd name="connsiteY4738" fmla="*/ 2798008 h 6557032"/>
              <a:gd name="connsiteX4739" fmla="*/ 3063208 w 4610101"/>
              <a:gd name="connsiteY4739" fmla="*/ 2798141 h 6557032"/>
              <a:gd name="connsiteX4740" fmla="*/ 3119563 w 4610101"/>
              <a:gd name="connsiteY4740" fmla="*/ 2785136 h 6557032"/>
              <a:gd name="connsiteX4741" fmla="*/ 3092230 w 4610101"/>
              <a:gd name="connsiteY4741" fmla="*/ 2797892 h 6557032"/>
              <a:gd name="connsiteX4742" fmla="*/ 3081296 w 4610101"/>
              <a:gd name="connsiteY4742" fmla="*/ 2801390 h 6557032"/>
              <a:gd name="connsiteX4743" fmla="*/ 3081296 w 4610101"/>
              <a:gd name="connsiteY4743" fmla="*/ 2809554 h 6557032"/>
              <a:gd name="connsiteX4744" fmla="*/ 3099519 w 4610101"/>
              <a:gd name="connsiteY4744" fmla="*/ 2805179 h 6557032"/>
              <a:gd name="connsiteX4745" fmla="*/ 3081296 w 4610101"/>
              <a:gd name="connsiteY4745" fmla="*/ 2813279 h 6557032"/>
              <a:gd name="connsiteX4746" fmla="*/ 3081296 w 4610101"/>
              <a:gd name="connsiteY4746" fmla="*/ 2816222 h 6557032"/>
              <a:gd name="connsiteX4747" fmla="*/ 3078652 w 4610101"/>
              <a:gd name="connsiteY4747" fmla="*/ 2814453 h 6557032"/>
              <a:gd name="connsiteX4748" fmla="*/ 3033921 w 4610101"/>
              <a:gd name="connsiteY4748" fmla="*/ 2834335 h 6557032"/>
              <a:gd name="connsiteX4749" fmla="*/ 3035743 w 4610101"/>
              <a:gd name="connsiteY4749" fmla="*/ 2847090 h 6557032"/>
              <a:gd name="connsiteX4750" fmla="*/ 3057609 w 4610101"/>
              <a:gd name="connsiteY4750" fmla="*/ 2848912 h 6557032"/>
              <a:gd name="connsiteX4751" fmla="*/ 2999300 w 4610101"/>
              <a:gd name="connsiteY4751" fmla="*/ 2850734 h 6557032"/>
              <a:gd name="connsiteX4752" fmla="*/ 2999300 w 4610101"/>
              <a:gd name="connsiteY4752" fmla="*/ 2854378 h 6557032"/>
              <a:gd name="connsiteX4753" fmla="*/ 3061254 w 4610101"/>
              <a:gd name="connsiteY4753" fmla="*/ 2854378 h 6557032"/>
              <a:gd name="connsiteX4754" fmla="*/ 3031188 w 4610101"/>
              <a:gd name="connsiteY4754" fmla="*/ 2855746 h 6557032"/>
              <a:gd name="connsiteX4755" fmla="*/ 3010109 w 4610101"/>
              <a:gd name="connsiteY4755" fmla="*/ 2858619 h 6557032"/>
              <a:gd name="connsiteX4756" fmla="*/ 3010004 w 4610101"/>
              <a:gd name="connsiteY4756" fmla="*/ 2860630 h 6557032"/>
              <a:gd name="connsiteX4757" fmla="*/ 3008409 w 4610101"/>
              <a:gd name="connsiteY4757" fmla="*/ 2863586 h 6557032"/>
              <a:gd name="connsiteX4758" fmla="*/ 3001120 w 4610101"/>
              <a:gd name="connsiteY4758" fmla="*/ 2865410 h 6557032"/>
              <a:gd name="connsiteX4759" fmla="*/ 3000031 w 4610101"/>
              <a:gd name="connsiteY4759" fmla="*/ 2861057 h 6557032"/>
              <a:gd name="connsiteX4760" fmla="*/ 2997021 w 4610101"/>
              <a:gd name="connsiteY4760" fmla="*/ 2864400 h 6557032"/>
              <a:gd name="connsiteX4761" fmla="*/ 3000041 w 4610101"/>
              <a:gd name="connsiteY4761" fmla="*/ 2867754 h 6557032"/>
              <a:gd name="connsiteX4762" fmla="*/ 2952834 w 4610101"/>
              <a:gd name="connsiteY4762" fmla="*/ 2863034 h 6557032"/>
              <a:gd name="connsiteX4763" fmla="*/ 2849880 w 4610101"/>
              <a:gd name="connsiteY4763" fmla="*/ 2816113 h 6557032"/>
              <a:gd name="connsiteX4764" fmla="*/ 2973789 w 4610101"/>
              <a:gd name="connsiteY4764" fmla="*/ 2746870 h 6557032"/>
              <a:gd name="connsiteX4765" fmla="*/ 2997478 w 4610101"/>
              <a:gd name="connsiteY4765" fmla="*/ 2741402 h 6557032"/>
              <a:gd name="connsiteX4766" fmla="*/ 194974 w 4610101"/>
              <a:gd name="connsiteY4766" fmla="*/ 2737878 h 6557032"/>
              <a:gd name="connsiteX4767" fmla="*/ 216840 w 4610101"/>
              <a:gd name="connsiteY4767" fmla="*/ 2743341 h 6557032"/>
              <a:gd name="connsiteX4768" fmla="*/ 233240 w 4610101"/>
              <a:gd name="connsiteY4768" fmla="*/ 2757927 h 6557032"/>
              <a:gd name="connsiteX4769" fmla="*/ 225951 w 4610101"/>
              <a:gd name="connsiteY4769" fmla="*/ 2770682 h 6557032"/>
              <a:gd name="connsiteX4770" fmla="*/ 231417 w 4610101"/>
              <a:gd name="connsiteY4770" fmla="*/ 2788888 h 6557032"/>
              <a:gd name="connsiteX4771" fmla="*/ 193152 w 4610101"/>
              <a:gd name="connsiteY4771" fmla="*/ 2832600 h 6557032"/>
              <a:gd name="connsiteX4772" fmla="*/ 156707 w 4610101"/>
              <a:gd name="connsiteY4772" fmla="*/ 2821677 h 6557032"/>
              <a:gd name="connsiteX4773" fmla="*/ 140308 w 4610101"/>
              <a:gd name="connsiteY4773" fmla="*/ 2825321 h 6557032"/>
              <a:gd name="connsiteX4774" fmla="*/ 111153 w 4610101"/>
              <a:gd name="connsiteY4774" fmla="*/ 2861760 h 6557032"/>
              <a:gd name="connsiteX4775" fmla="*/ 103864 w 4610101"/>
              <a:gd name="connsiteY4775" fmla="*/ 2847199 h 6557032"/>
              <a:gd name="connsiteX4776" fmla="*/ 151241 w 4610101"/>
              <a:gd name="connsiteY4776" fmla="*/ 2816222 h 6557032"/>
              <a:gd name="connsiteX4777" fmla="*/ 142130 w 4610101"/>
              <a:gd name="connsiteY4777" fmla="*/ 2777974 h 6557032"/>
              <a:gd name="connsiteX4778" fmla="*/ 142130 w 4610101"/>
              <a:gd name="connsiteY4778" fmla="*/ 2763410 h 6557032"/>
              <a:gd name="connsiteX4779" fmla="*/ 134841 w 4610101"/>
              <a:gd name="connsiteY4779" fmla="*/ 2741524 h 6557032"/>
              <a:gd name="connsiteX4780" fmla="*/ 173107 w 4610101"/>
              <a:gd name="connsiteY4780" fmla="*/ 2741524 h 6557032"/>
              <a:gd name="connsiteX4781" fmla="*/ 187685 w 4610101"/>
              <a:gd name="connsiteY4781" fmla="*/ 2741524 h 6557032"/>
              <a:gd name="connsiteX4782" fmla="*/ 194974 w 4610101"/>
              <a:gd name="connsiteY4782" fmla="*/ 2737878 h 6557032"/>
              <a:gd name="connsiteX4783" fmla="*/ 3354167 w 4610101"/>
              <a:gd name="connsiteY4783" fmla="*/ 2732523 h 6557032"/>
              <a:gd name="connsiteX4784" fmla="*/ 3349156 w 4610101"/>
              <a:gd name="connsiteY4784" fmla="*/ 2734117 h 6557032"/>
              <a:gd name="connsiteX4785" fmla="*/ 3349156 w 4610101"/>
              <a:gd name="connsiteY4785" fmla="*/ 2735940 h 6557032"/>
              <a:gd name="connsiteX4786" fmla="*/ 3356444 w 4610101"/>
              <a:gd name="connsiteY4786" fmla="*/ 2737763 h 6557032"/>
              <a:gd name="connsiteX4787" fmla="*/ 3354167 w 4610101"/>
              <a:gd name="connsiteY4787" fmla="*/ 2732523 h 6557032"/>
              <a:gd name="connsiteX4788" fmla="*/ 3104986 w 4610101"/>
              <a:gd name="connsiteY4788" fmla="*/ 2732292 h 6557032"/>
              <a:gd name="connsiteX4789" fmla="*/ 3099519 w 4610101"/>
              <a:gd name="connsiteY4789" fmla="*/ 2734115 h 6557032"/>
              <a:gd name="connsiteX4790" fmla="*/ 3104986 w 4610101"/>
              <a:gd name="connsiteY4790" fmla="*/ 2737761 h 6557032"/>
              <a:gd name="connsiteX4791" fmla="*/ 3104986 w 4610101"/>
              <a:gd name="connsiteY4791" fmla="*/ 2732292 h 6557032"/>
              <a:gd name="connsiteX4792" fmla="*/ 1246185 w 4610101"/>
              <a:gd name="connsiteY4792" fmla="*/ 2731767 h 6557032"/>
              <a:gd name="connsiteX4793" fmla="*/ 1246139 w 4610101"/>
              <a:gd name="connsiteY4793" fmla="*/ 2732088 h 6557032"/>
              <a:gd name="connsiteX4794" fmla="*/ 1244545 w 4610101"/>
              <a:gd name="connsiteY4794" fmla="*/ 2732314 h 6557032"/>
              <a:gd name="connsiteX4795" fmla="*/ 3017522 w 4610101"/>
              <a:gd name="connsiteY4795" fmla="*/ 2728802 h 6557032"/>
              <a:gd name="connsiteX4796" fmla="*/ 3022988 w 4610101"/>
              <a:gd name="connsiteY4796" fmla="*/ 2734253 h 6557032"/>
              <a:gd name="connsiteX4797" fmla="*/ 3015699 w 4610101"/>
              <a:gd name="connsiteY4797" fmla="*/ 2734253 h 6557032"/>
              <a:gd name="connsiteX4798" fmla="*/ 3657104 w 4610101"/>
              <a:gd name="connsiteY4798" fmla="*/ 2728782 h 6557032"/>
              <a:gd name="connsiteX4799" fmla="*/ 3666214 w 4610101"/>
              <a:gd name="connsiteY4799" fmla="*/ 2736052 h 6557032"/>
              <a:gd name="connsiteX4800" fmla="*/ 3644348 w 4610101"/>
              <a:gd name="connsiteY4800" fmla="*/ 2757919 h 6557032"/>
              <a:gd name="connsiteX4801" fmla="*/ 3633415 w 4610101"/>
              <a:gd name="connsiteY4801" fmla="*/ 2746979 h 6557032"/>
              <a:gd name="connsiteX4802" fmla="*/ 1253656 w 4610101"/>
              <a:gd name="connsiteY4802" fmla="*/ 2728670 h 6557032"/>
              <a:gd name="connsiteX4803" fmla="*/ 1250012 w 4610101"/>
              <a:gd name="connsiteY4803" fmla="*/ 2732314 h 6557032"/>
              <a:gd name="connsiteX4804" fmla="*/ 1250012 w 4610101"/>
              <a:gd name="connsiteY4804" fmla="*/ 2730491 h 6557032"/>
              <a:gd name="connsiteX4805" fmla="*/ 1246185 w 4610101"/>
              <a:gd name="connsiteY4805" fmla="*/ 2731767 h 6557032"/>
              <a:gd name="connsiteX4806" fmla="*/ 1246367 w 4610101"/>
              <a:gd name="connsiteY4806" fmla="*/ 2730491 h 6557032"/>
              <a:gd name="connsiteX4807" fmla="*/ 1253656 w 4610101"/>
              <a:gd name="connsiteY4807" fmla="*/ 2728670 h 6557032"/>
              <a:gd name="connsiteX4808" fmla="*/ 3469420 w 4610101"/>
              <a:gd name="connsiteY4808" fmla="*/ 2726955 h 6557032"/>
              <a:gd name="connsiteX4809" fmla="*/ 3500397 w 4610101"/>
              <a:gd name="connsiteY4809" fmla="*/ 2734228 h 6557032"/>
              <a:gd name="connsiteX4810" fmla="*/ 3489464 w 4610101"/>
              <a:gd name="connsiteY4810" fmla="*/ 2750621 h 6557032"/>
              <a:gd name="connsiteX4811" fmla="*/ 1264589 w 4610101"/>
              <a:gd name="connsiteY4811" fmla="*/ 2726848 h 6557032"/>
              <a:gd name="connsiteX4812" fmla="*/ 1257300 w 4610101"/>
              <a:gd name="connsiteY4812" fmla="*/ 2730494 h 6557032"/>
              <a:gd name="connsiteX4813" fmla="*/ 1255478 w 4610101"/>
              <a:gd name="connsiteY4813" fmla="*/ 2728671 h 6557032"/>
              <a:gd name="connsiteX4814" fmla="*/ 1264589 w 4610101"/>
              <a:gd name="connsiteY4814" fmla="*/ 2726848 h 6557032"/>
              <a:gd name="connsiteX4815" fmla="*/ 3092231 w 4610101"/>
              <a:gd name="connsiteY4815" fmla="*/ 2726825 h 6557032"/>
              <a:gd name="connsiteX4816" fmla="*/ 3090409 w 4610101"/>
              <a:gd name="connsiteY4816" fmla="*/ 2732292 h 6557032"/>
              <a:gd name="connsiteX4817" fmla="*/ 3095875 w 4610101"/>
              <a:gd name="connsiteY4817" fmla="*/ 2732292 h 6557032"/>
              <a:gd name="connsiteX4818" fmla="*/ 3092231 w 4610101"/>
              <a:gd name="connsiteY4818" fmla="*/ 2726825 h 6557032"/>
              <a:gd name="connsiteX4819" fmla="*/ 1226323 w 4610101"/>
              <a:gd name="connsiteY4819" fmla="*/ 2721381 h 6557032"/>
              <a:gd name="connsiteX4820" fmla="*/ 1235434 w 4610101"/>
              <a:gd name="connsiteY4820" fmla="*/ 2726848 h 6557032"/>
              <a:gd name="connsiteX4821" fmla="*/ 1226323 w 4610101"/>
              <a:gd name="connsiteY4821" fmla="*/ 2721381 h 6557032"/>
              <a:gd name="connsiteX4822" fmla="*/ 3405643 w 4610101"/>
              <a:gd name="connsiteY4822" fmla="*/ 2721370 h 6557032"/>
              <a:gd name="connsiteX4823" fmla="*/ 3414754 w 4610101"/>
              <a:gd name="connsiteY4823" fmla="*/ 2732303 h 6557032"/>
              <a:gd name="connsiteX4824" fmla="*/ 3409287 w 4610101"/>
              <a:gd name="connsiteY4824" fmla="*/ 2741413 h 6557032"/>
              <a:gd name="connsiteX4825" fmla="*/ 3389243 w 4610101"/>
              <a:gd name="connsiteY4825" fmla="*/ 2734125 h 6557032"/>
              <a:gd name="connsiteX4826" fmla="*/ 3405643 w 4610101"/>
              <a:gd name="connsiteY4826" fmla="*/ 2721370 h 6557032"/>
              <a:gd name="connsiteX4827" fmla="*/ 3369199 w 4610101"/>
              <a:gd name="connsiteY4827" fmla="*/ 2719541 h 6557032"/>
              <a:gd name="connsiteX4828" fmla="*/ 3363733 w 4610101"/>
              <a:gd name="connsiteY4828" fmla="*/ 2721363 h 6557032"/>
              <a:gd name="connsiteX4829" fmla="*/ 3369199 w 4610101"/>
              <a:gd name="connsiteY4829" fmla="*/ 2725007 h 6557032"/>
              <a:gd name="connsiteX4830" fmla="*/ 3369199 w 4610101"/>
              <a:gd name="connsiteY4830" fmla="*/ 2719541 h 6557032"/>
              <a:gd name="connsiteX4831" fmla="*/ 3303601 w 4610101"/>
              <a:gd name="connsiteY4831" fmla="*/ 2719541 h 6557032"/>
              <a:gd name="connsiteX4832" fmla="*/ 3303601 w 4610101"/>
              <a:gd name="connsiteY4832" fmla="*/ 2741407 h 6557032"/>
              <a:gd name="connsiteX4833" fmla="*/ 3310890 w 4610101"/>
              <a:gd name="connsiteY4833" fmla="*/ 2763274 h 6557032"/>
              <a:gd name="connsiteX4834" fmla="*/ 3341867 w 4610101"/>
              <a:gd name="connsiteY4834" fmla="*/ 2741407 h 6557032"/>
              <a:gd name="connsiteX4835" fmla="*/ 3303601 w 4610101"/>
              <a:gd name="connsiteY4835" fmla="*/ 2719541 h 6557032"/>
              <a:gd name="connsiteX4836" fmla="*/ 3527730 w 4610101"/>
              <a:gd name="connsiteY4836" fmla="*/ 2717851 h 6557032"/>
              <a:gd name="connsiteX4837" fmla="*/ 3535018 w 4610101"/>
              <a:gd name="connsiteY4837" fmla="*/ 2732412 h 6557032"/>
              <a:gd name="connsiteX4838" fmla="*/ 3529552 w 4610101"/>
              <a:gd name="connsiteY4838" fmla="*/ 2743321 h 6557032"/>
              <a:gd name="connsiteX4839" fmla="*/ 3513152 w 4610101"/>
              <a:gd name="connsiteY4839" fmla="*/ 2732412 h 6557032"/>
              <a:gd name="connsiteX4840" fmla="*/ 1209923 w 4610101"/>
              <a:gd name="connsiteY4840" fmla="*/ 2715913 h 6557032"/>
              <a:gd name="connsiteX4841" fmla="*/ 1217212 w 4610101"/>
              <a:gd name="connsiteY4841" fmla="*/ 2715913 h 6557032"/>
              <a:gd name="connsiteX4842" fmla="*/ 1215390 w 4610101"/>
              <a:gd name="connsiteY4842" fmla="*/ 2719558 h 6557032"/>
              <a:gd name="connsiteX4843" fmla="*/ 1209923 w 4610101"/>
              <a:gd name="connsiteY4843" fmla="*/ 2715913 h 6557032"/>
              <a:gd name="connsiteX4844" fmla="*/ 1271877 w 4610101"/>
              <a:gd name="connsiteY4844" fmla="*/ 2715912 h 6557032"/>
              <a:gd name="connsiteX4845" fmla="*/ 1277343 w 4610101"/>
              <a:gd name="connsiteY4845" fmla="*/ 2719558 h 6557032"/>
              <a:gd name="connsiteX4846" fmla="*/ 1264588 w 4610101"/>
              <a:gd name="connsiteY4846" fmla="*/ 2721381 h 6557032"/>
              <a:gd name="connsiteX4847" fmla="*/ 1271877 w 4610101"/>
              <a:gd name="connsiteY4847" fmla="*/ 2715912 h 6557032"/>
              <a:gd name="connsiteX4848" fmla="*/ 3061254 w 4610101"/>
              <a:gd name="connsiteY4848" fmla="*/ 2714070 h 6557032"/>
              <a:gd name="connsiteX4849" fmla="*/ 3057609 w 4610101"/>
              <a:gd name="connsiteY4849" fmla="*/ 2721359 h 6557032"/>
              <a:gd name="connsiteX4850" fmla="*/ 3059431 w 4610101"/>
              <a:gd name="connsiteY4850" fmla="*/ 2721359 h 6557032"/>
              <a:gd name="connsiteX4851" fmla="*/ 3061254 w 4610101"/>
              <a:gd name="connsiteY4851" fmla="*/ 2714070 h 6557032"/>
              <a:gd name="connsiteX4852" fmla="*/ 3626128 w 4610101"/>
              <a:gd name="connsiteY4852" fmla="*/ 2712388 h 6557032"/>
              <a:gd name="connsiteX4853" fmla="*/ 3637061 w 4610101"/>
              <a:gd name="connsiteY4853" fmla="*/ 2721506 h 6557032"/>
              <a:gd name="connsiteX4854" fmla="*/ 3613372 w 4610101"/>
              <a:gd name="connsiteY4854" fmla="*/ 2743335 h 6557032"/>
              <a:gd name="connsiteX4855" fmla="*/ 3602439 w 4610101"/>
              <a:gd name="connsiteY4855" fmla="*/ 2732421 h 6557032"/>
              <a:gd name="connsiteX4856" fmla="*/ 3445732 w 4610101"/>
              <a:gd name="connsiteY4856" fmla="*/ 2712382 h 6557032"/>
              <a:gd name="connsiteX4857" fmla="*/ 3460309 w 4610101"/>
              <a:gd name="connsiteY4857" fmla="*/ 2712382 h 6557032"/>
              <a:gd name="connsiteX4858" fmla="*/ 3469420 w 4610101"/>
              <a:gd name="connsiteY4858" fmla="*/ 2726955 h 6557032"/>
              <a:gd name="connsiteX4859" fmla="*/ 3453021 w 4610101"/>
              <a:gd name="connsiteY4859" fmla="*/ 2734232 h 6557032"/>
              <a:gd name="connsiteX4860" fmla="*/ 1106059 w 4610101"/>
              <a:gd name="connsiteY4860" fmla="*/ 2710455 h 6557032"/>
              <a:gd name="connsiteX4861" fmla="*/ 1109704 w 4610101"/>
              <a:gd name="connsiteY4861" fmla="*/ 2712277 h 6557032"/>
              <a:gd name="connsiteX4862" fmla="*/ 1096948 w 4610101"/>
              <a:gd name="connsiteY4862" fmla="*/ 2715924 h 6557032"/>
              <a:gd name="connsiteX4863" fmla="*/ 1100593 w 4610101"/>
              <a:gd name="connsiteY4863" fmla="*/ 2712277 h 6557032"/>
              <a:gd name="connsiteX4864" fmla="*/ 1102415 w 4610101"/>
              <a:gd name="connsiteY4864" fmla="*/ 2714099 h 6557032"/>
              <a:gd name="connsiteX4865" fmla="*/ 1106059 w 4610101"/>
              <a:gd name="connsiteY4865" fmla="*/ 2710455 h 6557032"/>
              <a:gd name="connsiteX4866" fmla="*/ 3423866 w 4610101"/>
              <a:gd name="connsiteY4866" fmla="*/ 2710436 h 6557032"/>
              <a:gd name="connsiteX4867" fmla="*/ 3423866 w 4610101"/>
              <a:gd name="connsiteY4867" fmla="*/ 2712258 h 6557032"/>
              <a:gd name="connsiteX4868" fmla="*/ 3420221 w 4610101"/>
              <a:gd name="connsiteY4868" fmla="*/ 2712258 h 6557032"/>
              <a:gd name="connsiteX4869" fmla="*/ 3423866 w 4610101"/>
              <a:gd name="connsiteY4869" fmla="*/ 2710436 h 6557032"/>
              <a:gd name="connsiteX4870" fmla="*/ 3381955 w 4610101"/>
              <a:gd name="connsiteY4870" fmla="*/ 2710428 h 6557032"/>
              <a:gd name="connsiteX4871" fmla="*/ 3378310 w 4610101"/>
              <a:gd name="connsiteY4871" fmla="*/ 2712252 h 6557032"/>
              <a:gd name="connsiteX4872" fmla="*/ 3374666 w 4610101"/>
              <a:gd name="connsiteY4872" fmla="*/ 2714073 h 6557032"/>
              <a:gd name="connsiteX4873" fmla="*/ 3376488 w 4610101"/>
              <a:gd name="connsiteY4873" fmla="*/ 2717719 h 6557032"/>
              <a:gd name="connsiteX4874" fmla="*/ 3380132 w 4610101"/>
              <a:gd name="connsiteY4874" fmla="*/ 2719541 h 6557032"/>
              <a:gd name="connsiteX4875" fmla="*/ 3385599 w 4610101"/>
              <a:gd name="connsiteY4875" fmla="*/ 2715896 h 6557032"/>
              <a:gd name="connsiteX4876" fmla="*/ 3381955 w 4610101"/>
              <a:gd name="connsiteY4876" fmla="*/ 2710428 h 6557032"/>
              <a:gd name="connsiteX4877" fmla="*/ 3047359 w 4610101"/>
              <a:gd name="connsiteY4877" fmla="*/ 2708604 h 6557032"/>
              <a:gd name="connsiteX4878" fmla="*/ 3043032 w 4610101"/>
              <a:gd name="connsiteY4878" fmla="*/ 2710426 h 6557032"/>
              <a:gd name="connsiteX4879" fmla="*/ 3050320 w 4610101"/>
              <a:gd name="connsiteY4879" fmla="*/ 2714070 h 6557032"/>
              <a:gd name="connsiteX4880" fmla="*/ 3050320 w 4610101"/>
              <a:gd name="connsiteY4880" fmla="*/ 2712249 h 6557032"/>
              <a:gd name="connsiteX4881" fmla="*/ 3047359 w 4610101"/>
              <a:gd name="connsiteY4881" fmla="*/ 2708604 h 6557032"/>
              <a:gd name="connsiteX4882" fmla="*/ 1311966 w 4610101"/>
              <a:gd name="connsiteY4882" fmla="*/ 2706782 h 6557032"/>
              <a:gd name="connsiteX4883" fmla="*/ 1319254 w 4610101"/>
              <a:gd name="connsiteY4883" fmla="*/ 2706782 h 6557032"/>
              <a:gd name="connsiteX4884" fmla="*/ 1311966 w 4610101"/>
              <a:gd name="connsiteY4884" fmla="*/ 2706782 h 6557032"/>
              <a:gd name="connsiteX4885" fmla="*/ 1326728 w 4610101"/>
              <a:gd name="connsiteY4885" fmla="*/ 2706228 h 6557032"/>
              <a:gd name="connsiteX4886" fmla="*/ 1326543 w 4610101"/>
              <a:gd name="connsiteY4886" fmla="*/ 2706782 h 6557032"/>
              <a:gd name="connsiteX4887" fmla="*/ 1319254 w 4610101"/>
              <a:gd name="connsiteY4887" fmla="*/ 2706782 h 6557032"/>
              <a:gd name="connsiteX4888" fmla="*/ 3389243 w 4610101"/>
              <a:gd name="connsiteY4888" fmla="*/ 2703142 h 6557032"/>
              <a:gd name="connsiteX4889" fmla="*/ 3391066 w 4610101"/>
              <a:gd name="connsiteY4889" fmla="*/ 2708607 h 6557032"/>
              <a:gd name="connsiteX4890" fmla="*/ 3392888 w 4610101"/>
              <a:gd name="connsiteY4890" fmla="*/ 2708607 h 6557032"/>
              <a:gd name="connsiteX4891" fmla="*/ 3389243 w 4610101"/>
              <a:gd name="connsiteY4891" fmla="*/ 2703142 h 6557032"/>
              <a:gd name="connsiteX4892" fmla="*/ 3445731 w 4610101"/>
              <a:gd name="connsiteY4892" fmla="*/ 2695931 h 6557032"/>
              <a:gd name="connsiteX4893" fmla="*/ 3445731 w 4610101"/>
              <a:gd name="connsiteY4893" fmla="*/ 2712338 h 6557032"/>
              <a:gd name="connsiteX4894" fmla="*/ 3429331 w 4610101"/>
              <a:gd name="connsiteY4894" fmla="*/ 2710517 h 6557032"/>
              <a:gd name="connsiteX4895" fmla="*/ 3347333 w 4610101"/>
              <a:gd name="connsiteY4895" fmla="*/ 2695853 h 6557032"/>
              <a:gd name="connsiteX4896" fmla="*/ 3332756 w 4610101"/>
              <a:gd name="connsiteY4896" fmla="*/ 2712252 h 6557032"/>
              <a:gd name="connsiteX4897" fmla="*/ 3347333 w 4610101"/>
              <a:gd name="connsiteY4897" fmla="*/ 2719541 h 6557032"/>
              <a:gd name="connsiteX4898" fmla="*/ 3356444 w 4610101"/>
              <a:gd name="connsiteY4898" fmla="*/ 2712252 h 6557032"/>
              <a:gd name="connsiteX4899" fmla="*/ 1024061 w 4610101"/>
              <a:gd name="connsiteY4899" fmla="*/ 2690511 h 6557032"/>
              <a:gd name="connsiteX4900" fmla="*/ 1033173 w 4610101"/>
              <a:gd name="connsiteY4900" fmla="*/ 2695984 h 6557032"/>
              <a:gd name="connsiteX4901" fmla="*/ 1002195 w 4610101"/>
              <a:gd name="connsiteY4901" fmla="*/ 2719683 h 6557032"/>
              <a:gd name="connsiteX4902" fmla="*/ 1002195 w 4610101"/>
              <a:gd name="connsiteY4902" fmla="*/ 2705108 h 6557032"/>
              <a:gd name="connsiteX4903" fmla="*/ 1065972 w 4610101"/>
              <a:gd name="connsiteY4903" fmla="*/ 2690399 h 6557032"/>
              <a:gd name="connsiteX4904" fmla="*/ 1075083 w 4610101"/>
              <a:gd name="connsiteY4904" fmla="*/ 2695866 h 6557032"/>
              <a:gd name="connsiteX4905" fmla="*/ 1065972 w 4610101"/>
              <a:gd name="connsiteY4905" fmla="*/ 2704977 h 6557032"/>
              <a:gd name="connsiteX4906" fmla="*/ 1058683 w 4610101"/>
              <a:gd name="connsiteY4906" fmla="*/ 2692222 h 6557032"/>
              <a:gd name="connsiteX4907" fmla="*/ 1065972 w 4610101"/>
              <a:gd name="connsiteY4907" fmla="*/ 2690399 h 6557032"/>
              <a:gd name="connsiteX4908" fmla="*/ 994907 w 4610101"/>
              <a:gd name="connsiteY4908" fmla="*/ 2688670 h 6557032"/>
              <a:gd name="connsiteX4909" fmla="*/ 1002195 w 4610101"/>
              <a:gd name="connsiteY4909" fmla="*/ 2703262 h 6557032"/>
              <a:gd name="connsiteX4910" fmla="*/ 987618 w 4610101"/>
              <a:gd name="connsiteY4910" fmla="*/ 2710543 h 6557032"/>
              <a:gd name="connsiteX4911" fmla="*/ 978507 w 4610101"/>
              <a:gd name="connsiteY4911" fmla="*/ 2703262 h 6557032"/>
              <a:gd name="connsiteX4912" fmla="*/ 1096948 w 4610101"/>
              <a:gd name="connsiteY4912" fmla="*/ 2677658 h 6557032"/>
              <a:gd name="connsiteX4913" fmla="*/ 1096948 w 4610101"/>
              <a:gd name="connsiteY4913" fmla="*/ 2679482 h 6557032"/>
              <a:gd name="connsiteX4914" fmla="*/ 1087837 w 4610101"/>
              <a:gd name="connsiteY4914" fmla="*/ 2688592 h 6557032"/>
              <a:gd name="connsiteX4915" fmla="*/ 1089660 w 4610101"/>
              <a:gd name="connsiteY4915" fmla="*/ 2681305 h 6557032"/>
              <a:gd name="connsiteX4916" fmla="*/ 1096948 w 4610101"/>
              <a:gd name="connsiteY4916" fmla="*/ 2677658 h 6557032"/>
              <a:gd name="connsiteX4917" fmla="*/ 3422043 w 4610101"/>
              <a:gd name="connsiteY4917" fmla="*/ 2675811 h 6557032"/>
              <a:gd name="connsiteX4918" fmla="*/ 3425687 w 4610101"/>
              <a:gd name="connsiteY4918" fmla="*/ 2686743 h 6557032"/>
              <a:gd name="connsiteX4919" fmla="*/ 3422043 w 4610101"/>
              <a:gd name="connsiteY4919" fmla="*/ 2690387 h 6557032"/>
              <a:gd name="connsiteX4920" fmla="*/ 3422043 w 4610101"/>
              <a:gd name="connsiteY4920" fmla="*/ 2695854 h 6557032"/>
              <a:gd name="connsiteX4921" fmla="*/ 3411110 w 4610101"/>
              <a:gd name="connsiteY4921" fmla="*/ 2703144 h 6557032"/>
              <a:gd name="connsiteX4922" fmla="*/ 3411110 w 4610101"/>
              <a:gd name="connsiteY4922" fmla="*/ 2701321 h 6557032"/>
              <a:gd name="connsiteX4923" fmla="*/ 3414754 w 4610101"/>
              <a:gd name="connsiteY4923" fmla="*/ 2697676 h 6557032"/>
              <a:gd name="connsiteX4924" fmla="*/ 3409288 w 4610101"/>
              <a:gd name="connsiteY4924" fmla="*/ 2694032 h 6557032"/>
              <a:gd name="connsiteX4925" fmla="*/ 3407465 w 4610101"/>
              <a:gd name="connsiteY4925" fmla="*/ 2688566 h 6557032"/>
              <a:gd name="connsiteX4926" fmla="*/ 3411110 w 4610101"/>
              <a:gd name="connsiteY4926" fmla="*/ 2679455 h 6557032"/>
              <a:gd name="connsiteX4927" fmla="*/ 3422043 w 4610101"/>
              <a:gd name="connsiteY4927" fmla="*/ 2675811 h 6557032"/>
              <a:gd name="connsiteX4928" fmla="*/ 1086015 w 4610101"/>
              <a:gd name="connsiteY4928" fmla="*/ 2670366 h 6557032"/>
              <a:gd name="connsiteX4929" fmla="*/ 1091482 w 4610101"/>
              <a:gd name="connsiteY4929" fmla="*/ 2670366 h 6557032"/>
              <a:gd name="connsiteX4930" fmla="*/ 1087837 w 4610101"/>
              <a:gd name="connsiteY4930" fmla="*/ 2674013 h 6557032"/>
              <a:gd name="connsiteX4931" fmla="*/ 1086015 w 4610101"/>
              <a:gd name="connsiteY4931" fmla="*/ 2670366 h 6557032"/>
              <a:gd name="connsiteX4932" fmla="*/ 1062327 w 4610101"/>
              <a:gd name="connsiteY4932" fmla="*/ 2657608 h 6557032"/>
              <a:gd name="connsiteX4933" fmla="*/ 1080549 w 4610101"/>
              <a:gd name="connsiteY4933" fmla="*/ 2657608 h 6557032"/>
              <a:gd name="connsiteX4934" fmla="*/ 1082373 w 4610101"/>
              <a:gd name="connsiteY4934" fmla="*/ 2659430 h 6557032"/>
              <a:gd name="connsiteX4935" fmla="*/ 1078727 w 4610101"/>
              <a:gd name="connsiteY4935" fmla="*/ 2672189 h 6557032"/>
              <a:gd name="connsiteX4936" fmla="*/ 1060505 w 4610101"/>
              <a:gd name="connsiteY4936" fmla="*/ 2684948 h 6557032"/>
              <a:gd name="connsiteX4937" fmla="*/ 1065972 w 4610101"/>
              <a:gd name="connsiteY4937" fmla="*/ 2672189 h 6557032"/>
              <a:gd name="connsiteX4938" fmla="*/ 1049572 w 4610101"/>
              <a:gd name="connsiteY4938" fmla="*/ 2686771 h 6557032"/>
              <a:gd name="connsiteX4939" fmla="*/ 1049572 w 4610101"/>
              <a:gd name="connsiteY4939" fmla="*/ 2690414 h 6557032"/>
              <a:gd name="connsiteX4940" fmla="*/ 1047750 w 4610101"/>
              <a:gd name="connsiteY4940" fmla="*/ 2690414 h 6557032"/>
              <a:gd name="connsiteX4941" fmla="*/ 1040479 w 4610101"/>
              <a:gd name="connsiteY4941" fmla="*/ 2681323 h 6557032"/>
              <a:gd name="connsiteX4942" fmla="*/ 1040462 w 4610101"/>
              <a:gd name="connsiteY4942" fmla="*/ 2681356 h 6557032"/>
              <a:gd name="connsiteX4943" fmla="*/ 1024062 w 4610101"/>
              <a:gd name="connsiteY4943" fmla="*/ 2666767 h 6557032"/>
              <a:gd name="connsiteX4944" fmla="*/ 1047750 w 4610101"/>
              <a:gd name="connsiteY4944" fmla="*/ 2666767 h 6557032"/>
              <a:gd name="connsiteX4945" fmla="*/ 1040490 w 4610101"/>
              <a:gd name="connsiteY4945" fmla="*/ 2681303 h 6557032"/>
              <a:gd name="connsiteX4946" fmla="*/ 1053216 w 4610101"/>
              <a:gd name="connsiteY4946" fmla="*/ 2681303 h 6557032"/>
              <a:gd name="connsiteX4947" fmla="*/ 1111526 w 4610101"/>
              <a:gd name="connsiteY4947" fmla="*/ 2657603 h 6557032"/>
              <a:gd name="connsiteX4948" fmla="*/ 1107882 w 4610101"/>
              <a:gd name="connsiteY4948" fmla="*/ 2663072 h 6557032"/>
              <a:gd name="connsiteX4949" fmla="*/ 1107882 w 4610101"/>
              <a:gd name="connsiteY4949" fmla="*/ 2659426 h 6557032"/>
              <a:gd name="connsiteX4950" fmla="*/ 1111526 w 4610101"/>
              <a:gd name="connsiteY4950" fmla="*/ 2657603 h 6557032"/>
              <a:gd name="connsiteX4951" fmla="*/ 1095126 w 4610101"/>
              <a:gd name="connsiteY4951" fmla="*/ 2653958 h 6557032"/>
              <a:gd name="connsiteX4952" fmla="*/ 1100593 w 4610101"/>
              <a:gd name="connsiteY4952" fmla="*/ 2653958 h 6557032"/>
              <a:gd name="connsiteX4953" fmla="*/ 1100593 w 4610101"/>
              <a:gd name="connsiteY4953" fmla="*/ 2657603 h 6557032"/>
              <a:gd name="connsiteX4954" fmla="*/ 1096949 w 4610101"/>
              <a:gd name="connsiteY4954" fmla="*/ 2659424 h 6557032"/>
              <a:gd name="connsiteX4955" fmla="*/ 1093304 w 4610101"/>
              <a:gd name="connsiteY4955" fmla="*/ 2657603 h 6557032"/>
              <a:gd name="connsiteX4956" fmla="*/ 1095126 w 4610101"/>
              <a:gd name="connsiteY4956" fmla="*/ 2653958 h 6557032"/>
              <a:gd name="connsiteX4957" fmla="*/ 3387421 w 4610101"/>
              <a:gd name="connsiteY4957" fmla="*/ 2648475 h 6557032"/>
              <a:gd name="connsiteX4958" fmla="*/ 3372844 w 4610101"/>
              <a:gd name="connsiteY4958" fmla="*/ 2663052 h 6557032"/>
              <a:gd name="connsiteX4959" fmla="*/ 3376488 w 4610101"/>
              <a:gd name="connsiteY4959" fmla="*/ 2663052 h 6557032"/>
              <a:gd name="connsiteX4960" fmla="*/ 3356444 w 4610101"/>
              <a:gd name="connsiteY4960" fmla="*/ 2675808 h 6557032"/>
              <a:gd name="connsiteX4961" fmla="*/ 3363733 w 4610101"/>
              <a:gd name="connsiteY4961" fmla="*/ 2681274 h 6557032"/>
              <a:gd name="connsiteX4962" fmla="*/ 3447553 w 4610101"/>
              <a:gd name="connsiteY4962" fmla="*/ 2653942 h 6557032"/>
              <a:gd name="connsiteX4963" fmla="*/ 3451197 w 4610101"/>
              <a:gd name="connsiteY4963" fmla="*/ 2664873 h 6557032"/>
              <a:gd name="connsiteX4964" fmla="*/ 3438442 w 4610101"/>
              <a:gd name="connsiteY4964" fmla="*/ 2657586 h 6557032"/>
              <a:gd name="connsiteX4965" fmla="*/ 3422042 w 4610101"/>
              <a:gd name="connsiteY4965" fmla="*/ 2670341 h 6557032"/>
              <a:gd name="connsiteX4966" fmla="*/ 3412932 w 4610101"/>
              <a:gd name="connsiteY4966" fmla="*/ 2673985 h 6557032"/>
              <a:gd name="connsiteX4967" fmla="*/ 3405643 w 4610101"/>
              <a:gd name="connsiteY4967" fmla="*/ 2661229 h 6557032"/>
              <a:gd name="connsiteX4968" fmla="*/ 3385599 w 4610101"/>
              <a:gd name="connsiteY4968" fmla="*/ 2684920 h 6557032"/>
              <a:gd name="connsiteX4969" fmla="*/ 3407465 w 4610101"/>
              <a:gd name="connsiteY4969" fmla="*/ 2701318 h 6557032"/>
              <a:gd name="connsiteX4970" fmla="*/ 3314534 w 4610101"/>
              <a:gd name="connsiteY4970" fmla="*/ 2779672 h 6557032"/>
              <a:gd name="connsiteX4971" fmla="*/ 3316356 w 4610101"/>
              <a:gd name="connsiteY4971" fmla="*/ 2792429 h 6557032"/>
              <a:gd name="connsiteX4972" fmla="*/ 3396532 w 4610101"/>
              <a:gd name="connsiteY4972" fmla="*/ 2825227 h 6557032"/>
              <a:gd name="connsiteX4973" fmla="*/ 3392888 w 4610101"/>
              <a:gd name="connsiteY4973" fmla="*/ 2837983 h 6557032"/>
              <a:gd name="connsiteX4974" fmla="*/ 3385599 w 4610101"/>
              <a:gd name="connsiteY4974" fmla="*/ 2821583 h 6557032"/>
              <a:gd name="connsiteX4975" fmla="*/ 3354622 w 4610101"/>
              <a:gd name="connsiteY4975" fmla="*/ 2832515 h 6557032"/>
              <a:gd name="connsiteX4976" fmla="*/ 3332756 w 4610101"/>
              <a:gd name="connsiteY4976" fmla="*/ 2827049 h 6557032"/>
              <a:gd name="connsiteX4977" fmla="*/ 3310890 w 4610101"/>
              <a:gd name="connsiteY4977" fmla="*/ 2832515 h 6557032"/>
              <a:gd name="connsiteX4978" fmla="*/ 3298135 w 4610101"/>
              <a:gd name="connsiteY4978" fmla="*/ 2843448 h 6557032"/>
              <a:gd name="connsiteX4979" fmla="*/ 3294490 w 4610101"/>
              <a:gd name="connsiteY4979" fmla="*/ 2839807 h 6557032"/>
              <a:gd name="connsiteX4980" fmla="*/ 3294490 w 4610101"/>
              <a:gd name="connsiteY4980" fmla="*/ 2832515 h 6557032"/>
              <a:gd name="connsiteX4981" fmla="*/ 3287201 w 4610101"/>
              <a:gd name="connsiteY4981" fmla="*/ 2832515 h 6557032"/>
              <a:gd name="connsiteX4982" fmla="*/ 3267158 w 4610101"/>
              <a:gd name="connsiteY4982" fmla="*/ 2807005 h 6557032"/>
              <a:gd name="connsiteX4983" fmla="*/ 3201559 w 4610101"/>
              <a:gd name="connsiteY4983" fmla="*/ 2748697 h 6557032"/>
              <a:gd name="connsiteX4984" fmla="*/ 3256225 w 4610101"/>
              <a:gd name="connsiteY4984" fmla="*/ 2717719 h 6557032"/>
              <a:gd name="connsiteX4985" fmla="*/ 3305423 w 4610101"/>
              <a:gd name="connsiteY4985" fmla="*/ 2684920 h 6557032"/>
              <a:gd name="connsiteX4986" fmla="*/ 3292668 w 4610101"/>
              <a:gd name="connsiteY4986" fmla="*/ 2695853 h 6557032"/>
              <a:gd name="connsiteX4987" fmla="*/ 3296312 w 4610101"/>
              <a:gd name="connsiteY4987" fmla="*/ 2704963 h 6557032"/>
              <a:gd name="connsiteX4988" fmla="*/ 3332756 w 4610101"/>
              <a:gd name="connsiteY4988" fmla="*/ 2679452 h 6557032"/>
              <a:gd name="connsiteX4989" fmla="*/ 3341867 w 4610101"/>
              <a:gd name="connsiteY4989" fmla="*/ 2688562 h 6557032"/>
              <a:gd name="connsiteX4990" fmla="*/ 3343689 w 4610101"/>
              <a:gd name="connsiteY4990" fmla="*/ 2672163 h 6557032"/>
              <a:gd name="connsiteX4991" fmla="*/ 3383777 w 4610101"/>
              <a:gd name="connsiteY4991" fmla="*/ 2650295 h 6557032"/>
              <a:gd name="connsiteX4992" fmla="*/ 3387421 w 4610101"/>
              <a:gd name="connsiteY4992" fmla="*/ 2648475 h 6557032"/>
              <a:gd name="connsiteX4993" fmla="*/ 3414754 w 4610101"/>
              <a:gd name="connsiteY4993" fmla="*/ 2643011 h 6557032"/>
              <a:gd name="connsiteX4994" fmla="*/ 3447554 w 4610101"/>
              <a:gd name="connsiteY4994" fmla="*/ 2643011 h 6557032"/>
              <a:gd name="connsiteX4995" fmla="*/ 3447554 w 4610101"/>
              <a:gd name="connsiteY4995" fmla="*/ 2644832 h 6557032"/>
              <a:gd name="connsiteX4996" fmla="*/ 3392887 w 4610101"/>
              <a:gd name="connsiteY4996" fmla="*/ 2657589 h 6557032"/>
              <a:gd name="connsiteX4997" fmla="*/ 3392887 w 4610101"/>
              <a:gd name="connsiteY4997" fmla="*/ 2648476 h 6557032"/>
              <a:gd name="connsiteX4998" fmla="*/ 3414754 w 4610101"/>
              <a:gd name="connsiteY4998" fmla="*/ 2643011 h 6557032"/>
              <a:gd name="connsiteX4999" fmla="*/ 3150540 w 4610101"/>
              <a:gd name="connsiteY4999" fmla="*/ 2639359 h 6557032"/>
              <a:gd name="connsiteX5000" fmla="*/ 3152362 w 4610101"/>
              <a:gd name="connsiteY5000" fmla="*/ 2639359 h 6557032"/>
              <a:gd name="connsiteX5001" fmla="*/ 3159651 w 4610101"/>
              <a:gd name="connsiteY5001" fmla="*/ 2639359 h 6557032"/>
              <a:gd name="connsiteX5002" fmla="*/ 3074009 w 4610101"/>
              <a:gd name="connsiteY5002" fmla="*/ 2672159 h 6557032"/>
              <a:gd name="connsiteX5003" fmla="*/ 3077653 w 4610101"/>
              <a:gd name="connsiteY5003" fmla="*/ 2679448 h 6557032"/>
              <a:gd name="connsiteX5004" fmla="*/ 3212494 w 4610101"/>
              <a:gd name="connsiteY5004" fmla="*/ 2650293 h 6557032"/>
              <a:gd name="connsiteX5005" fmla="*/ 3283559 w 4610101"/>
              <a:gd name="connsiteY5005" fmla="*/ 2644827 h 6557032"/>
              <a:gd name="connsiteX5006" fmla="*/ 3234360 w 4610101"/>
              <a:gd name="connsiteY5006" fmla="*/ 2655761 h 6557032"/>
              <a:gd name="connsiteX5007" fmla="*/ 3108630 w 4610101"/>
              <a:gd name="connsiteY5007" fmla="*/ 2688560 h 6557032"/>
              <a:gd name="connsiteX5008" fmla="*/ 3110452 w 4610101"/>
              <a:gd name="connsiteY5008" fmla="*/ 2697671 h 6557032"/>
              <a:gd name="connsiteX5009" fmla="*/ 3230716 w 4610101"/>
              <a:gd name="connsiteY5009" fmla="*/ 2673982 h 6557032"/>
              <a:gd name="connsiteX5010" fmla="*/ 3292670 w 4610101"/>
              <a:gd name="connsiteY5010" fmla="*/ 2663048 h 6557032"/>
              <a:gd name="connsiteX5011" fmla="*/ 3276270 w 4610101"/>
              <a:gd name="connsiteY5011" fmla="*/ 2668515 h 6557032"/>
              <a:gd name="connsiteX5012" fmla="*/ 3221605 w 4610101"/>
              <a:gd name="connsiteY5012" fmla="*/ 2679448 h 6557032"/>
              <a:gd name="connsiteX5013" fmla="*/ 3130496 w 4610101"/>
              <a:gd name="connsiteY5013" fmla="*/ 2699492 h 6557032"/>
              <a:gd name="connsiteX5014" fmla="*/ 3134141 w 4610101"/>
              <a:gd name="connsiteY5014" fmla="*/ 2708604 h 6557032"/>
              <a:gd name="connsiteX5015" fmla="*/ 3145074 w 4610101"/>
              <a:gd name="connsiteY5015" fmla="*/ 2708604 h 6557032"/>
              <a:gd name="connsiteX5016" fmla="*/ 3126852 w 4610101"/>
              <a:gd name="connsiteY5016" fmla="*/ 2712249 h 6557032"/>
              <a:gd name="connsiteX5017" fmla="*/ 3134141 w 4610101"/>
              <a:gd name="connsiteY5017" fmla="*/ 2717715 h 6557032"/>
              <a:gd name="connsiteX5018" fmla="*/ 3186984 w 4610101"/>
              <a:gd name="connsiteY5018" fmla="*/ 2712249 h 6557032"/>
              <a:gd name="connsiteX5019" fmla="*/ 3234360 w 4610101"/>
              <a:gd name="connsiteY5019" fmla="*/ 2703136 h 6557032"/>
              <a:gd name="connsiteX5020" fmla="*/ 3248938 w 4610101"/>
              <a:gd name="connsiteY5020" fmla="*/ 2699492 h 6557032"/>
              <a:gd name="connsiteX5021" fmla="*/ 3228894 w 4610101"/>
              <a:gd name="connsiteY5021" fmla="*/ 2712249 h 6557032"/>
              <a:gd name="connsiteX5022" fmla="*/ 3186984 w 4610101"/>
              <a:gd name="connsiteY5022" fmla="*/ 2719537 h 6557032"/>
              <a:gd name="connsiteX5023" fmla="*/ 3135963 w 4610101"/>
              <a:gd name="connsiteY5023" fmla="*/ 2725003 h 6557032"/>
              <a:gd name="connsiteX5024" fmla="*/ 3135963 w 4610101"/>
              <a:gd name="connsiteY5024" fmla="*/ 2734115 h 6557032"/>
              <a:gd name="connsiteX5025" fmla="*/ 3181517 w 4610101"/>
              <a:gd name="connsiteY5025" fmla="*/ 2734115 h 6557032"/>
              <a:gd name="connsiteX5026" fmla="*/ 3186984 w 4610101"/>
              <a:gd name="connsiteY5026" fmla="*/ 2734115 h 6557032"/>
              <a:gd name="connsiteX5027" fmla="*/ 3183339 w 4610101"/>
              <a:gd name="connsiteY5027" fmla="*/ 2735937 h 6557032"/>
              <a:gd name="connsiteX5028" fmla="*/ 3181517 w 4610101"/>
              <a:gd name="connsiteY5028" fmla="*/ 2735937 h 6557032"/>
              <a:gd name="connsiteX5029" fmla="*/ 3174228 w 4610101"/>
              <a:gd name="connsiteY5029" fmla="*/ 2737761 h 6557032"/>
              <a:gd name="connsiteX5030" fmla="*/ 3172406 w 4610101"/>
              <a:gd name="connsiteY5030" fmla="*/ 2735937 h 6557032"/>
              <a:gd name="connsiteX5031" fmla="*/ 3170584 w 4610101"/>
              <a:gd name="connsiteY5031" fmla="*/ 2735937 h 6557032"/>
              <a:gd name="connsiteX5032" fmla="*/ 3168762 w 4610101"/>
              <a:gd name="connsiteY5032" fmla="*/ 2743226 h 6557032"/>
              <a:gd name="connsiteX5033" fmla="*/ 3170584 w 4610101"/>
              <a:gd name="connsiteY5033" fmla="*/ 2743226 h 6557032"/>
              <a:gd name="connsiteX5034" fmla="*/ 3172406 w 4610101"/>
              <a:gd name="connsiteY5034" fmla="*/ 2743226 h 6557032"/>
              <a:gd name="connsiteX5035" fmla="*/ 3148718 w 4610101"/>
              <a:gd name="connsiteY5035" fmla="*/ 2745047 h 6557032"/>
              <a:gd name="connsiteX5036" fmla="*/ 3145074 w 4610101"/>
              <a:gd name="connsiteY5036" fmla="*/ 2741405 h 6557032"/>
              <a:gd name="connsiteX5037" fmla="*/ 3141429 w 4610101"/>
              <a:gd name="connsiteY5037" fmla="*/ 2743226 h 6557032"/>
              <a:gd name="connsiteX5038" fmla="*/ 3141429 w 4610101"/>
              <a:gd name="connsiteY5038" fmla="*/ 2745047 h 6557032"/>
              <a:gd name="connsiteX5039" fmla="*/ 3130496 w 4610101"/>
              <a:gd name="connsiteY5039" fmla="*/ 2745047 h 6557032"/>
              <a:gd name="connsiteX5040" fmla="*/ 3128674 w 4610101"/>
              <a:gd name="connsiteY5040" fmla="*/ 2745047 h 6557032"/>
              <a:gd name="connsiteX5041" fmla="*/ 3126852 w 4610101"/>
              <a:gd name="connsiteY5041" fmla="*/ 2741405 h 6557032"/>
              <a:gd name="connsiteX5042" fmla="*/ 3125030 w 4610101"/>
              <a:gd name="connsiteY5042" fmla="*/ 2741405 h 6557032"/>
              <a:gd name="connsiteX5043" fmla="*/ 3121385 w 4610101"/>
              <a:gd name="connsiteY5043" fmla="*/ 2743226 h 6557032"/>
              <a:gd name="connsiteX5044" fmla="*/ 3115919 w 4610101"/>
              <a:gd name="connsiteY5044" fmla="*/ 2741405 h 6557032"/>
              <a:gd name="connsiteX5045" fmla="*/ 3114097 w 4610101"/>
              <a:gd name="connsiteY5045" fmla="*/ 2735937 h 6557032"/>
              <a:gd name="connsiteX5046" fmla="*/ 3112275 w 4610101"/>
              <a:gd name="connsiteY5046" fmla="*/ 2735937 h 6557032"/>
              <a:gd name="connsiteX5047" fmla="*/ 3108630 w 4610101"/>
              <a:gd name="connsiteY5047" fmla="*/ 2741405 h 6557032"/>
              <a:gd name="connsiteX5048" fmla="*/ 3106808 w 4610101"/>
              <a:gd name="connsiteY5048" fmla="*/ 2748693 h 6557032"/>
              <a:gd name="connsiteX5049" fmla="*/ 3115919 w 4610101"/>
              <a:gd name="connsiteY5049" fmla="*/ 2757804 h 6557032"/>
              <a:gd name="connsiteX5050" fmla="*/ 3042461 w 4610101"/>
              <a:gd name="connsiteY5050" fmla="*/ 2740041 h 6557032"/>
              <a:gd name="connsiteX5051" fmla="*/ 3032097 w 4610101"/>
              <a:gd name="connsiteY5051" fmla="*/ 2741524 h 6557032"/>
              <a:gd name="connsiteX5052" fmla="*/ 3032097 w 4610101"/>
              <a:gd name="connsiteY5052" fmla="*/ 2736065 h 6557032"/>
              <a:gd name="connsiteX5053" fmla="*/ 3033305 w 4610101"/>
              <a:gd name="connsiteY5053" fmla="*/ 2736065 h 6557032"/>
              <a:gd name="connsiteX5054" fmla="*/ 2970144 w 4610101"/>
              <a:gd name="connsiteY5054" fmla="*/ 2703136 h 6557032"/>
              <a:gd name="connsiteX5055" fmla="*/ 2920945 w 4610101"/>
              <a:gd name="connsiteY5055" fmla="*/ 2664871 h 6557032"/>
              <a:gd name="connsiteX5056" fmla="*/ 2933700 w 4610101"/>
              <a:gd name="connsiteY5056" fmla="*/ 2668515 h 6557032"/>
              <a:gd name="connsiteX5057" fmla="*/ 3104986 w 4610101"/>
              <a:gd name="connsiteY5057" fmla="*/ 2644827 h 6557032"/>
              <a:gd name="connsiteX5058" fmla="*/ 3128674 w 4610101"/>
              <a:gd name="connsiteY5058" fmla="*/ 2641183 h 6557032"/>
              <a:gd name="connsiteX5059" fmla="*/ 3150540 w 4610101"/>
              <a:gd name="connsiteY5059" fmla="*/ 2639359 h 6557032"/>
              <a:gd name="connsiteX5060" fmla="*/ 1109704 w 4610101"/>
              <a:gd name="connsiteY5060" fmla="*/ 2637556 h 6557032"/>
              <a:gd name="connsiteX5061" fmla="*/ 1107882 w 4610101"/>
              <a:gd name="connsiteY5061" fmla="*/ 2646668 h 6557032"/>
              <a:gd name="connsiteX5062" fmla="*/ 1102415 w 4610101"/>
              <a:gd name="connsiteY5062" fmla="*/ 2644845 h 6557032"/>
              <a:gd name="connsiteX5063" fmla="*/ 1109704 w 4610101"/>
              <a:gd name="connsiteY5063" fmla="*/ 2637556 h 6557032"/>
              <a:gd name="connsiteX5064" fmla="*/ 2875390 w 4610101"/>
              <a:gd name="connsiteY5064" fmla="*/ 2632072 h 6557032"/>
              <a:gd name="connsiteX5065" fmla="*/ 2873568 w 4610101"/>
              <a:gd name="connsiteY5065" fmla="*/ 2639359 h 6557032"/>
              <a:gd name="connsiteX5066" fmla="*/ 2875390 w 4610101"/>
              <a:gd name="connsiteY5066" fmla="*/ 2639359 h 6557032"/>
              <a:gd name="connsiteX5067" fmla="*/ 2875390 w 4610101"/>
              <a:gd name="connsiteY5067" fmla="*/ 2632072 h 6557032"/>
              <a:gd name="connsiteX5068" fmla="*/ 987618 w 4610101"/>
              <a:gd name="connsiteY5068" fmla="*/ 2630333 h 6557032"/>
              <a:gd name="connsiteX5069" fmla="*/ 1002196 w 4610101"/>
              <a:gd name="connsiteY5069" fmla="*/ 2637631 h 6557032"/>
              <a:gd name="connsiteX5070" fmla="*/ 971219 w 4610101"/>
              <a:gd name="connsiteY5070" fmla="*/ 2659490 h 6557032"/>
              <a:gd name="connsiteX5071" fmla="*/ 1014951 w 4610101"/>
              <a:gd name="connsiteY5071" fmla="*/ 2628445 h 6557032"/>
              <a:gd name="connsiteX5072" fmla="*/ 1017913 w 4610101"/>
              <a:gd name="connsiteY5072" fmla="*/ 2635053 h 6557032"/>
              <a:gd name="connsiteX5073" fmla="*/ 1018303 w 4610101"/>
              <a:gd name="connsiteY5073" fmla="*/ 2636265 h 6557032"/>
              <a:gd name="connsiteX5074" fmla="*/ 1091484 w 4610101"/>
              <a:gd name="connsiteY5074" fmla="*/ 2624798 h 6557032"/>
              <a:gd name="connsiteX5075" fmla="*/ 1096949 w 4610101"/>
              <a:gd name="connsiteY5075" fmla="*/ 2639379 h 6557032"/>
              <a:gd name="connsiteX5076" fmla="*/ 1089660 w 4610101"/>
              <a:gd name="connsiteY5076" fmla="*/ 2650312 h 6557032"/>
              <a:gd name="connsiteX5077" fmla="*/ 1087838 w 4610101"/>
              <a:gd name="connsiteY5077" fmla="*/ 2630266 h 6557032"/>
              <a:gd name="connsiteX5078" fmla="*/ 1091484 w 4610101"/>
              <a:gd name="connsiteY5078" fmla="*/ 2628449 h 6557032"/>
              <a:gd name="connsiteX5079" fmla="*/ 1091484 w 4610101"/>
              <a:gd name="connsiteY5079" fmla="*/ 2624798 h 6557032"/>
              <a:gd name="connsiteX5080" fmla="*/ 2862635 w 4610101"/>
              <a:gd name="connsiteY5080" fmla="*/ 2624783 h 6557032"/>
              <a:gd name="connsiteX5081" fmla="*/ 2862635 w 4610101"/>
              <a:gd name="connsiteY5081" fmla="*/ 2632072 h 6557032"/>
              <a:gd name="connsiteX5082" fmla="*/ 2868101 w 4610101"/>
              <a:gd name="connsiteY5082" fmla="*/ 2628427 h 6557032"/>
              <a:gd name="connsiteX5083" fmla="*/ 2862635 w 4610101"/>
              <a:gd name="connsiteY5083" fmla="*/ 2624783 h 6557032"/>
              <a:gd name="connsiteX5084" fmla="*/ 3784656 w 4610101"/>
              <a:gd name="connsiteY5084" fmla="*/ 2621247 h 6557032"/>
              <a:gd name="connsiteX5085" fmla="*/ 3822921 w 4610101"/>
              <a:gd name="connsiteY5085" fmla="*/ 2621247 h 6557032"/>
              <a:gd name="connsiteX5086" fmla="*/ 3859365 w 4610101"/>
              <a:gd name="connsiteY5086" fmla="*/ 2644914 h 6557032"/>
              <a:gd name="connsiteX5087" fmla="*/ 3864832 w 4610101"/>
              <a:gd name="connsiteY5087" fmla="*/ 2674099 h 6557032"/>
              <a:gd name="connsiteX5088" fmla="*/ 3859365 w 4610101"/>
              <a:gd name="connsiteY5088" fmla="*/ 2695996 h 6557032"/>
              <a:gd name="connsiteX5089" fmla="*/ 3844787 w 4610101"/>
              <a:gd name="connsiteY5089" fmla="*/ 2710582 h 6557032"/>
              <a:gd name="connsiteX5090" fmla="*/ 3815633 w 4610101"/>
              <a:gd name="connsiteY5090" fmla="*/ 2719703 h 6557032"/>
              <a:gd name="connsiteX5091" fmla="*/ 3770077 w 4610101"/>
              <a:gd name="connsiteY5091" fmla="*/ 2674099 h 6557032"/>
              <a:gd name="connsiteX5092" fmla="*/ 3777366 w 4610101"/>
              <a:gd name="connsiteY5092" fmla="*/ 2659501 h 6557032"/>
              <a:gd name="connsiteX5093" fmla="*/ 3770077 w 4610101"/>
              <a:gd name="connsiteY5093" fmla="*/ 2635822 h 6557032"/>
              <a:gd name="connsiteX5094" fmla="*/ 3784656 w 4610101"/>
              <a:gd name="connsiteY5094" fmla="*/ 2635822 h 6557032"/>
              <a:gd name="connsiteX5095" fmla="*/ 1069616 w 4610101"/>
              <a:gd name="connsiteY5095" fmla="*/ 2619335 h 6557032"/>
              <a:gd name="connsiteX5096" fmla="*/ 1076905 w 4610101"/>
              <a:gd name="connsiteY5096" fmla="*/ 2643022 h 6557032"/>
              <a:gd name="connsiteX5097" fmla="*/ 1075083 w 4610101"/>
              <a:gd name="connsiteY5097" fmla="*/ 2643022 h 6557032"/>
              <a:gd name="connsiteX5098" fmla="*/ 1045929 w 4610101"/>
              <a:gd name="connsiteY5098" fmla="*/ 2624798 h 6557032"/>
              <a:gd name="connsiteX5099" fmla="*/ 1067794 w 4610101"/>
              <a:gd name="connsiteY5099" fmla="*/ 2643022 h 6557032"/>
              <a:gd name="connsiteX5100" fmla="*/ 1065972 w 4610101"/>
              <a:gd name="connsiteY5100" fmla="*/ 2643022 h 6557032"/>
              <a:gd name="connsiteX5101" fmla="*/ 1071439 w 4610101"/>
              <a:gd name="connsiteY5101" fmla="*/ 2648491 h 6557032"/>
              <a:gd name="connsiteX5102" fmla="*/ 1047750 w 4610101"/>
              <a:gd name="connsiteY5102" fmla="*/ 2644845 h 6557032"/>
              <a:gd name="connsiteX5103" fmla="*/ 1056861 w 4610101"/>
              <a:gd name="connsiteY5103" fmla="*/ 2653958 h 6557032"/>
              <a:gd name="connsiteX5104" fmla="*/ 1022240 w 4610101"/>
              <a:gd name="connsiteY5104" fmla="*/ 2648491 h 6557032"/>
              <a:gd name="connsiteX5105" fmla="*/ 1018303 w 4610101"/>
              <a:gd name="connsiteY5105" fmla="*/ 2636265 h 6557032"/>
              <a:gd name="connsiteX5106" fmla="*/ 1020418 w 4610101"/>
              <a:gd name="connsiteY5106" fmla="*/ 2641200 h 6557032"/>
              <a:gd name="connsiteX5107" fmla="*/ 1020418 w 4610101"/>
              <a:gd name="connsiteY5107" fmla="*/ 2632087 h 6557032"/>
              <a:gd name="connsiteX5108" fmla="*/ 1027707 w 4610101"/>
              <a:gd name="connsiteY5108" fmla="*/ 2641200 h 6557032"/>
              <a:gd name="connsiteX5109" fmla="*/ 1027707 w 4610101"/>
              <a:gd name="connsiteY5109" fmla="*/ 2633914 h 6557032"/>
              <a:gd name="connsiteX5110" fmla="*/ 1034995 w 4610101"/>
              <a:gd name="connsiteY5110" fmla="*/ 2641200 h 6557032"/>
              <a:gd name="connsiteX5111" fmla="*/ 1033173 w 4610101"/>
              <a:gd name="connsiteY5111" fmla="*/ 2635734 h 6557032"/>
              <a:gd name="connsiteX5112" fmla="*/ 1036818 w 4610101"/>
              <a:gd name="connsiteY5112" fmla="*/ 2637556 h 6557032"/>
              <a:gd name="connsiteX5113" fmla="*/ 1036818 w 4610101"/>
              <a:gd name="connsiteY5113" fmla="*/ 2632087 h 6557032"/>
              <a:gd name="connsiteX5114" fmla="*/ 1040462 w 4610101"/>
              <a:gd name="connsiteY5114" fmla="*/ 2628445 h 6557032"/>
              <a:gd name="connsiteX5115" fmla="*/ 1020418 w 4610101"/>
              <a:gd name="connsiteY5115" fmla="*/ 2626627 h 6557032"/>
              <a:gd name="connsiteX5116" fmla="*/ 1022240 w 4610101"/>
              <a:gd name="connsiteY5116" fmla="*/ 2624798 h 6557032"/>
              <a:gd name="connsiteX5117" fmla="*/ 1016774 w 4610101"/>
              <a:gd name="connsiteY5117" fmla="*/ 2622977 h 6557032"/>
              <a:gd name="connsiteX5118" fmla="*/ 1055040 w 4610101"/>
              <a:gd name="connsiteY5118" fmla="*/ 2621158 h 6557032"/>
              <a:gd name="connsiteX5119" fmla="*/ 1060506 w 4610101"/>
              <a:gd name="connsiteY5119" fmla="*/ 2624798 h 6557032"/>
              <a:gd name="connsiteX5120" fmla="*/ 1058683 w 4610101"/>
              <a:gd name="connsiteY5120" fmla="*/ 2621158 h 6557032"/>
              <a:gd name="connsiteX5121" fmla="*/ 1069616 w 4610101"/>
              <a:gd name="connsiteY5121" fmla="*/ 2619335 h 6557032"/>
              <a:gd name="connsiteX5122" fmla="*/ 1142503 w 4610101"/>
              <a:gd name="connsiteY5122" fmla="*/ 2619333 h 6557032"/>
              <a:gd name="connsiteX5123" fmla="*/ 1144325 w 4610101"/>
              <a:gd name="connsiteY5123" fmla="*/ 2619333 h 6557032"/>
              <a:gd name="connsiteX5124" fmla="*/ 1142505 w 4610101"/>
              <a:gd name="connsiteY5124" fmla="*/ 2621153 h 6557032"/>
              <a:gd name="connsiteX5125" fmla="*/ 1153436 w 4610101"/>
              <a:gd name="connsiteY5125" fmla="*/ 2626622 h 6557032"/>
              <a:gd name="connsiteX5126" fmla="*/ 1140681 w 4610101"/>
              <a:gd name="connsiteY5126" fmla="*/ 2635729 h 6557032"/>
              <a:gd name="connsiteX5127" fmla="*/ 1142503 w 4610101"/>
              <a:gd name="connsiteY5127" fmla="*/ 2621153 h 6557032"/>
              <a:gd name="connsiteX5128" fmla="*/ 1162547 w 4610101"/>
              <a:gd name="connsiteY5128" fmla="*/ 2615685 h 6557032"/>
              <a:gd name="connsiteX5129" fmla="*/ 1160724 w 4610101"/>
              <a:gd name="connsiteY5129" fmla="*/ 2619335 h 6557032"/>
              <a:gd name="connsiteX5130" fmla="*/ 1158902 w 4610101"/>
              <a:gd name="connsiteY5130" fmla="*/ 2617512 h 6557032"/>
              <a:gd name="connsiteX5131" fmla="*/ 1162547 w 4610101"/>
              <a:gd name="connsiteY5131" fmla="*/ 2615685 h 6557032"/>
              <a:gd name="connsiteX5132" fmla="*/ 1130432 w 4610101"/>
              <a:gd name="connsiteY5132" fmla="*/ 2614554 h 6557032"/>
              <a:gd name="connsiteX5133" fmla="*/ 1138860 w 4610101"/>
              <a:gd name="connsiteY5133" fmla="*/ 2615691 h 6557032"/>
              <a:gd name="connsiteX5134" fmla="*/ 1131571 w 4610101"/>
              <a:gd name="connsiteY5134" fmla="*/ 2641200 h 6557032"/>
              <a:gd name="connsiteX5135" fmla="*/ 1124281 w 4610101"/>
              <a:gd name="connsiteY5135" fmla="*/ 2641200 h 6557032"/>
              <a:gd name="connsiteX5136" fmla="*/ 1122459 w 4610101"/>
              <a:gd name="connsiteY5136" fmla="*/ 2643022 h 6557032"/>
              <a:gd name="connsiteX5137" fmla="*/ 1126104 w 4610101"/>
              <a:gd name="connsiteY5137" fmla="*/ 2646668 h 6557032"/>
              <a:gd name="connsiteX5138" fmla="*/ 1126104 w 4610101"/>
              <a:gd name="connsiteY5138" fmla="*/ 2650312 h 6557032"/>
              <a:gd name="connsiteX5139" fmla="*/ 1124281 w 4610101"/>
              <a:gd name="connsiteY5139" fmla="*/ 2646668 h 6557032"/>
              <a:gd name="connsiteX5140" fmla="*/ 1120637 w 4610101"/>
              <a:gd name="connsiteY5140" fmla="*/ 2653958 h 6557032"/>
              <a:gd name="connsiteX5141" fmla="*/ 1116993 w 4610101"/>
              <a:gd name="connsiteY5141" fmla="*/ 2653958 h 6557032"/>
              <a:gd name="connsiteX5142" fmla="*/ 1120637 w 4610101"/>
              <a:gd name="connsiteY5142" fmla="*/ 2641200 h 6557032"/>
              <a:gd name="connsiteX5143" fmla="*/ 1115171 w 4610101"/>
              <a:gd name="connsiteY5143" fmla="*/ 2641200 h 6557032"/>
              <a:gd name="connsiteX5144" fmla="*/ 1115171 w 4610101"/>
              <a:gd name="connsiteY5144" fmla="*/ 2635734 h 6557032"/>
              <a:gd name="connsiteX5145" fmla="*/ 1111526 w 4610101"/>
              <a:gd name="connsiteY5145" fmla="*/ 2637556 h 6557032"/>
              <a:gd name="connsiteX5146" fmla="*/ 1111526 w 4610101"/>
              <a:gd name="connsiteY5146" fmla="*/ 2632087 h 6557032"/>
              <a:gd name="connsiteX5147" fmla="*/ 1100593 w 4610101"/>
              <a:gd name="connsiteY5147" fmla="*/ 2637556 h 6557032"/>
              <a:gd name="connsiteX5148" fmla="*/ 1102415 w 4610101"/>
              <a:gd name="connsiteY5148" fmla="*/ 2621158 h 6557032"/>
              <a:gd name="connsiteX5149" fmla="*/ 1109704 w 4610101"/>
              <a:gd name="connsiteY5149" fmla="*/ 2624798 h 6557032"/>
              <a:gd name="connsiteX5150" fmla="*/ 1104238 w 4610101"/>
              <a:gd name="connsiteY5150" fmla="*/ 2617521 h 6557032"/>
              <a:gd name="connsiteX5151" fmla="*/ 1118815 w 4610101"/>
              <a:gd name="connsiteY5151" fmla="*/ 2617521 h 6557032"/>
              <a:gd name="connsiteX5152" fmla="*/ 1120637 w 4610101"/>
              <a:gd name="connsiteY5152" fmla="*/ 2624798 h 6557032"/>
              <a:gd name="connsiteX5153" fmla="*/ 1122459 w 4610101"/>
              <a:gd name="connsiteY5153" fmla="*/ 2622977 h 6557032"/>
              <a:gd name="connsiteX5154" fmla="*/ 1120637 w 4610101"/>
              <a:gd name="connsiteY5154" fmla="*/ 2617521 h 6557032"/>
              <a:gd name="connsiteX5155" fmla="*/ 1130432 w 4610101"/>
              <a:gd name="connsiteY5155" fmla="*/ 2614554 h 6557032"/>
              <a:gd name="connsiteX5156" fmla="*/ 1301032 w 4610101"/>
              <a:gd name="connsiteY5156" fmla="*/ 2613868 h 6557032"/>
              <a:gd name="connsiteX5157" fmla="*/ 1304677 w 4610101"/>
              <a:gd name="connsiteY5157" fmla="*/ 2613868 h 6557032"/>
              <a:gd name="connsiteX5158" fmla="*/ 1301032 w 4610101"/>
              <a:gd name="connsiteY5158" fmla="*/ 2617517 h 6557032"/>
              <a:gd name="connsiteX5159" fmla="*/ 1301032 w 4610101"/>
              <a:gd name="connsiteY5159" fmla="*/ 2613868 h 6557032"/>
              <a:gd name="connsiteX5160" fmla="*/ 1155259 w 4610101"/>
              <a:gd name="connsiteY5160" fmla="*/ 2612047 h 6557032"/>
              <a:gd name="connsiteX5161" fmla="*/ 1157080 w 4610101"/>
              <a:gd name="connsiteY5161" fmla="*/ 2619335 h 6557032"/>
              <a:gd name="connsiteX5162" fmla="*/ 1151614 w 4610101"/>
              <a:gd name="connsiteY5162" fmla="*/ 2617517 h 6557032"/>
              <a:gd name="connsiteX5163" fmla="*/ 1151614 w 4610101"/>
              <a:gd name="connsiteY5163" fmla="*/ 2613868 h 6557032"/>
              <a:gd name="connsiteX5164" fmla="*/ 1147969 w 4610101"/>
              <a:gd name="connsiteY5164" fmla="*/ 2613868 h 6557032"/>
              <a:gd name="connsiteX5165" fmla="*/ 1155259 w 4610101"/>
              <a:gd name="connsiteY5165" fmla="*/ 2612047 h 6557032"/>
              <a:gd name="connsiteX5166" fmla="*/ 3589683 w 4610101"/>
              <a:gd name="connsiteY5166" fmla="*/ 2606677 h 6557032"/>
              <a:gd name="connsiteX5167" fmla="*/ 3620660 w 4610101"/>
              <a:gd name="connsiteY5167" fmla="*/ 2621238 h 6557032"/>
              <a:gd name="connsiteX5168" fmla="*/ 3604261 w 4610101"/>
              <a:gd name="connsiteY5168" fmla="*/ 2644906 h 6557032"/>
              <a:gd name="connsiteX5169" fmla="*/ 3589683 w 4610101"/>
              <a:gd name="connsiteY5169" fmla="*/ 2606677 h 6557032"/>
              <a:gd name="connsiteX5170" fmla="*/ 3536839 w 4610101"/>
              <a:gd name="connsiteY5170" fmla="*/ 2606634 h 6557032"/>
              <a:gd name="connsiteX5171" fmla="*/ 3553239 w 4610101"/>
              <a:gd name="connsiteY5171" fmla="*/ 2608461 h 6557032"/>
              <a:gd name="connsiteX5172" fmla="*/ 3538661 w 4610101"/>
              <a:gd name="connsiteY5172" fmla="*/ 2623023 h 6557032"/>
              <a:gd name="connsiteX5173" fmla="*/ 2848286 w 4610101"/>
              <a:gd name="connsiteY5173" fmla="*/ 2603373 h 6557032"/>
              <a:gd name="connsiteX5174" fmla="*/ 2842591 w 4610101"/>
              <a:gd name="connsiteY5174" fmla="*/ 2606561 h 6557032"/>
              <a:gd name="connsiteX5175" fmla="*/ 2849880 w 4610101"/>
              <a:gd name="connsiteY5175" fmla="*/ 2608382 h 6557032"/>
              <a:gd name="connsiteX5176" fmla="*/ 2848286 w 4610101"/>
              <a:gd name="connsiteY5176" fmla="*/ 2603373 h 6557032"/>
              <a:gd name="connsiteX5177" fmla="*/ 951175 w 4610101"/>
              <a:gd name="connsiteY5177" fmla="*/ 2599381 h 6557032"/>
              <a:gd name="connsiteX5178" fmla="*/ 940242 w 4610101"/>
              <a:gd name="connsiteY5178" fmla="*/ 2628516 h 6557032"/>
              <a:gd name="connsiteX5179" fmla="*/ 925664 w 4610101"/>
              <a:gd name="connsiteY5179" fmla="*/ 2619406 h 6557032"/>
              <a:gd name="connsiteX5180" fmla="*/ 3329113 w 4610101"/>
              <a:gd name="connsiteY5180" fmla="*/ 2599273 h 6557032"/>
              <a:gd name="connsiteX5181" fmla="*/ 3325468 w 4610101"/>
              <a:gd name="connsiteY5181" fmla="*/ 2601096 h 6557032"/>
              <a:gd name="connsiteX5182" fmla="*/ 3325468 w 4610101"/>
              <a:gd name="connsiteY5182" fmla="*/ 2604739 h 6557032"/>
              <a:gd name="connsiteX5183" fmla="*/ 3329113 w 4610101"/>
              <a:gd name="connsiteY5183" fmla="*/ 2606563 h 6557032"/>
              <a:gd name="connsiteX5184" fmla="*/ 3330935 w 4610101"/>
              <a:gd name="connsiteY5184" fmla="*/ 2606563 h 6557032"/>
              <a:gd name="connsiteX5185" fmla="*/ 3329113 w 4610101"/>
              <a:gd name="connsiteY5185" fmla="*/ 2599273 h 6557032"/>
              <a:gd name="connsiteX5186" fmla="*/ 3312713 w 4610101"/>
              <a:gd name="connsiteY5186" fmla="*/ 2599273 h 6557032"/>
              <a:gd name="connsiteX5187" fmla="*/ 3310891 w 4610101"/>
              <a:gd name="connsiteY5187" fmla="*/ 2606563 h 6557032"/>
              <a:gd name="connsiteX5188" fmla="*/ 3312713 w 4610101"/>
              <a:gd name="connsiteY5188" fmla="*/ 2599273 h 6557032"/>
              <a:gd name="connsiteX5189" fmla="*/ 3409288 w 4610101"/>
              <a:gd name="connsiteY5189" fmla="*/ 2597455 h 6557032"/>
              <a:gd name="connsiteX5190" fmla="*/ 3411110 w 4610101"/>
              <a:gd name="connsiteY5190" fmla="*/ 2599278 h 6557032"/>
              <a:gd name="connsiteX5191" fmla="*/ 3414754 w 4610101"/>
              <a:gd name="connsiteY5191" fmla="*/ 2601100 h 6557032"/>
              <a:gd name="connsiteX5192" fmla="*/ 3405643 w 4610101"/>
              <a:gd name="connsiteY5192" fmla="*/ 2599278 h 6557032"/>
              <a:gd name="connsiteX5193" fmla="*/ 3367378 w 4610101"/>
              <a:gd name="connsiteY5193" fmla="*/ 2597453 h 6557032"/>
              <a:gd name="connsiteX5194" fmla="*/ 3363734 w 4610101"/>
              <a:gd name="connsiteY5194" fmla="*/ 2604739 h 6557032"/>
              <a:gd name="connsiteX5195" fmla="*/ 3365556 w 4610101"/>
              <a:gd name="connsiteY5195" fmla="*/ 2604739 h 6557032"/>
              <a:gd name="connsiteX5196" fmla="*/ 3367378 w 4610101"/>
              <a:gd name="connsiteY5196" fmla="*/ 2597453 h 6557032"/>
              <a:gd name="connsiteX5197" fmla="*/ 3266931 w 4610101"/>
              <a:gd name="connsiteY5197" fmla="*/ 2597224 h 6557032"/>
              <a:gd name="connsiteX5198" fmla="*/ 3263514 w 4610101"/>
              <a:gd name="connsiteY5198" fmla="*/ 2599273 h 6557032"/>
              <a:gd name="connsiteX5199" fmla="*/ 3267159 w 4610101"/>
              <a:gd name="connsiteY5199" fmla="*/ 2604739 h 6557032"/>
              <a:gd name="connsiteX5200" fmla="*/ 3268981 w 4610101"/>
              <a:gd name="connsiteY5200" fmla="*/ 2599273 h 6557032"/>
              <a:gd name="connsiteX5201" fmla="*/ 3266931 w 4610101"/>
              <a:gd name="connsiteY5201" fmla="*/ 2597224 h 6557032"/>
              <a:gd name="connsiteX5202" fmla="*/ 1379385 w 4610101"/>
              <a:gd name="connsiteY5202" fmla="*/ 2595648 h 6557032"/>
              <a:gd name="connsiteX5203" fmla="*/ 1386674 w 4610101"/>
              <a:gd name="connsiteY5203" fmla="*/ 2599293 h 6557032"/>
              <a:gd name="connsiteX5204" fmla="*/ 1390319 w 4610101"/>
              <a:gd name="connsiteY5204" fmla="*/ 2604758 h 6557032"/>
              <a:gd name="connsiteX5205" fmla="*/ 1377563 w 4610101"/>
              <a:gd name="connsiteY5205" fmla="*/ 2599293 h 6557032"/>
              <a:gd name="connsiteX5206" fmla="*/ 1379385 w 4610101"/>
              <a:gd name="connsiteY5206" fmla="*/ 2595648 h 6557032"/>
              <a:gd name="connsiteX5207" fmla="*/ 3298136 w 4610101"/>
              <a:gd name="connsiteY5207" fmla="*/ 2593809 h 6557032"/>
              <a:gd name="connsiteX5208" fmla="*/ 3294491 w 4610101"/>
              <a:gd name="connsiteY5208" fmla="*/ 2601096 h 6557032"/>
              <a:gd name="connsiteX5209" fmla="*/ 3296313 w 4610101"/>
              <a:gd name="connsiteY5209" fmla="*/ 2601096 h 6557032"/>
              <a:gd name="connsiteX5210" fmla="*/ 3298136 w 4610101"/>
              <a:gd name="connsiteY5210" fmla="*/ 2593809 h 6557032"/>
              <a:gd name="connsiteX5211" fmla="*/ 3254404 w 4610101"/>
              <a:gd name="connsiteY5211" fmla="*/ 2591986 h 6557032"/>
              <a:gd name="connsiteX5212" fmla="*/ 3252581 w 4610101"/>
              <a:gd name="connsiteY5212" fmla="*/ 2599273 h 6557032"/>
              <a:gd name="connsiteX5213" fmla="*/ 3256226 w 4610101"/>
              <a:gd name="connsiteY5213" fmla="*/ 2591986 h 6557032"/>
              <a:gd name="connsiteX5214" fmla="*/ 3254404 w 4610101"/>
              <a:gd name="connsiteY5214" fmla="*/ 2591986 h 6557032"/>
              <a:gd name="connsiteX5215" fmla="*/ 3429332 w 4610101"/>
              <a:gd name="connsiteY5215" fmla="*/ 2590168 h 6557032"/>
              <a:gd name="connsiteX5216" fmla="*/ 3429332 w 4610101"/>
              <a:gd name="connsiteY5216" fmla="*/ 2591990 h 6557032"/>
              <a:gd name="connsiteX5217" fmla="*/ 3423865 w 4610101"/>
              <a:gd name="connsiteY5217" fmla="*/ 2591990 h 6557032"/>
              <a:gd name="connsiteX5218" fmla="*/ 3283330 w 4610101"/>
              <a:gd name="connsiteY5218" fmla="*/ 2588114 h 6557032"/>
              <a:gd name="connsiteX5219" fmla="*/ 3279914 w 4610101"/>
              <a:gd name="connsiteY5219" fmla="*/ 2590165 h 6557032"/>
              <a:gd name="connsiteX5220" fmla="*/ 3283558 w 4610101"/>
              <a:gd name="connsiteY5220" fmla="*/ 2595629 h 6557032"/>
              <a:gd name="connsiteX5221" fmla="*/ 3285380 w 4610101"/>
              <a:gd name="connsiteY5221" fmla="*/ 2590165 h 6557032"/>
              <a:gd name="connsiteX5222" fmla="*/ 3283330 w 4610101"/>
              <a:gd name="connsiteY5222" fmla="*/ 2588114 h 6557032"/>
              <a:gd name="connsiteX5223" fmla="*/ 3270803 w 4610101"/>
              <a:gd name="connsiteY5223" fmla="*/ 2586519 h 6557032"/>
              <a:gd name="connsiteX5224" fmla="*/ 3268981 w 4610101"/>
              <a:gd name="connsiteY5224" fmla="*/ 2593809 h 6557032"/>
              <a:gd name="connsiteX5225" fmla="*/ 3272625 w 4610101"/>
              <a:gd name="connsiteY5225" fmla="*/ 2586519 h 6557032"/>
              <a:gd name="connsiteX5226" fmla="*/ 3270803 w 4610101"/>
              <a:gd name="connsiteY5226" fmla="*/ 2586519 h 6557032"/>
              <a:gd name="connsiteX5227" fmla="*/ 3241420 w 4610101"/>
              <a:gd name="connsiteY5227" fmla="*/ 2586292 h 6557032"/>
              <a:gd name="connsiteX5228" fmla="*/ 3238004 w 4610101"/>
              <a:gd name="connsiteY5228" fmla="*/ 2588342 h 6557032"/>
              <a:gd name="connsiteX5229" fmla="*/ 3241648 w 4610101"/>
              <a:gd name="connsiteY5229" fmla="*/ 2593809 h 6557032"/>
              <a:gd name="connsiteX5230" fmla="*/ 3243470 w 4610101"/>
              <a:gd name="connsiteY5230" fmla="*/ 2588342 h 6557032"/>
              <a:gd name="connsiteX5231" fmla="*/ 3241420 w 4610101"/>
              <a:gd name="connsiteY5231" fmla="*/ 2586292 h 6557032"/>
              <a:gd name="connsiteX5232" fmla="*/ 1007663 w 4610101"/>
              <a:gd name="connsiteY5232" fmla="*/ 2581144 h 6557032"/>
              <a:gd name="connsiteX5233" fmla="*/ 1016774 w 4610101"/>
              <a:gd name="connsiteY5233" fmla="*/ 2599366 h 6557032"/>
              <a:gd name="connsiteX5234" fmla="*/ 993085 w 4610101"/>
              <a:gd name="connsiteY5234" fmla="*/ 2597541 h 6557032"/>
              <a:gd name="connsiteX5235" fmla="*/ 1304676 w 4610101"/>
              <a:gd name="connsiteY5235" fmla="*/ 2581069 h 6557032"/>
              <a:gd name="connsiteX5236" fmla="*/ 1304676 w 4610101"/>
              <a:gd name="connsiteY5236" fmla="*/ 2595650 h 6557032"/>
              <a:gd name="connsiteX5237" fmla="*/ 1293744 w 4610101"/>
              <a:gd name="connsiteY5237" fmla="*/ 2590180 h 6557032"/>
              <a:gd name="connsiteX5238" fmla="*/ 1299210 w 4610101"/>
              <a:gd name="connsiteY5238" fmla="*/ 2582893 h 6557032"/>
              <a:gd name="connsiteX5239" fmla="*/ 1301032 w 4610101"/>
              <a:gd name="connsiteY5239" fmla="*/ 2584715 h 6557032"/>
              <a:gd name="connsiteX5240" fmla="*/ 1304676 w 4610101"/>
              <a:gd name="connsiteY5240" fmla="*/ 2581069 h 6557032"/>
              <a:gd name="connsiteX5241" fmla="*/ 3493107 w 4610101"/>
              <a:gd name="connsiteY5241" fmla="*/ 2581055 h 6557032"/>
              <a:gd name="connsiteX5242" fmla="*/ 3502218 w 4610101"/>
              <a:gd name="connsiteY5242" fmla="*/ 2590165 h 6557032"/>
              <a:gd name="connsiteX5243" fmla="*/ 3496752 w 4610101"/>
              <a:gd name="connsiteY5243" fmla="*/ 2590165 h 6557032"/>
              <a:gd name="connsiteX5244" fmla="*/ 3493107 w 4610101"/>
              <a:gd name="connsiteY5244" fmla="*/ 2581055 h 6557032"/>
              <a:gd name="connsiteX5245" fmla="*/ 2957389 w 4610101"/>
              <a:gd name="connsiteY5245" fmla="*/ 2579376 h 6557032"/>
              <a:gd name="connsiteX5246" fmla="*/ 2962856 w 4610101"/>
              <a:gd name="connsiteY5246" fmla="*/ 2579376 h 6557032"/>
              <a:gd name="connsiteX5247" fmla="*/ 2962856 w 4610101"/>
              <a:gd name="connsiteY5247" fmla="*/ 2584844 h 6557032"/>
              <a:gd name="connsiteX5248" fmla="*/ 3254404 w 4610101"/>
              <a:gd name="connsiteY5248" fmla="*/ 2579230 h 6557032"/>
              <a:gd name="connsiteX5249" fmla="*/ 3252581 w 4610101"/>
              <a:gd name="connsiteY5249" fmla="*/ 2586519 h 6557032"/>
              <a:gd name="connsiteX5250" fmla="*/ 3256226 w 4610101"/>
              <a:gd name="connsiteY5250" fmla="*/ 2579230 h 6557032"/>
              <a:gd name="connsiteX5251" fmla="*/ 3254404 w 4610101"/>
              <a:gd name="connsiteY5251" fmla="*/ 2579230 h 6557032"/>
              <a:gd name="connsiteX5252" fmla="*/ 3395522 w 4610101"/>
              <a:gd name="connsiteY5252" fmla="*/ 2575959 h 6557032"/>
              <a:gd name="connsiteX5253" fmla="*/ 3414754 w 4610101"/>
              <a:gd name="connsiteY5253" fmla="*/ 2584702 h 6557032"/>
              <a:gd name="connsiteX5254" fmla="*/ 3403821 w 4610101"/>
              <a:gd name="connsiteY5254" fmla="*/ 2597458 h 6557032"/>
              <a:gd name="connsiteX5255" fmla="*/ 3389243 w 4610101"/>
              <a:gd name="connsiteY5255" fmla="*/ 2588346 h 6557032"/>
              <a:gd name="connsiteX5256" fmla="*/ 3398354 w 4610101"/>
              <a:gd name="connsiteY5256" fmla="*/ 2581058 h 6557032"/>
              <a:gd name="connsiteX5257" fmla="*/ 783535 w 4610101"/>
              <a:gd name="connsiteY5257" fmla="*/ 2575691 h 6557032"/>
              <a:gd name="connsiteX5258" fmla="*/ 805401 w 4610101"/>
              <a:gd name="connsiteY5258" fmla="*/ 2599376 h 6557032"/>
              <a:gd name="connsiteX5259" fmla="*/ 783535 w 4610101"/>
              <a:gd name="connsiteY5259" fmla="*/ 2599376 h 6557032"/>
              <a:gd name="connsiteX5260" fmla="*/ 1290099 w 4610101"/>
              <a:gd name="connsiteY5260" fmla="*/ 2573783 h 6557032"/>
              <a:gd name="connsiteX5261" fmla="*/ 1297388 w 4610101"/>
              <a:gd name="connsiteY5261" fmla="*/ 2575603 h 6557032"/>
              <a:gd name="connsiteX5262" fmla="*/ 1295566 w 4610101"/>
              <a:gd name="connsiteY5262" fmla="*/ 2582893 h 6557032"/>
              <a:gd name="connsiteX5263" fmla="*/ 1293744 w 4610101"/>
              <a:gd name="connsiteY5263" fmla="*/ 2579248 h 6557032"/>
              <a:gd name="connsiteX5264" fmla="*/ 1291921 w 4610101"/>
              <a:gd name="connsiteY5264" fmla="*/ 2581069 h 6557032"/>
              <a:gd name="connsiteX5265" fmla="*/ 1290099 w 4610101"/>
              <a:gd name="connsiteY5265" fmla="*/ 2573783 h 6557032"/>
              <a:gd name="connsiteX5266" fmla="*/ 3214316 w 4610101"/>
              <a:gd name="connsiteY5266" fmla="*/ 2573764 h 6557032"/>
              <a:gd name="connsiteX5267" fmla="*/ 3212494 w 4610101"/>
              <a:gd name="connsiteY5267" fmla="*/ 2581052 h 6557032"/>
              <a:gd name="connsiteX5268" fmla="*/ 3216138 w 4610101"/>
              <a:gd name="connsiteY5268" fmla="*/ 2573764 h 6557032"/>
              <a:gd name="connsiteX5269" fmla="*/ 3214316 w 4610101"/>
              <a:gd name="connsiteY5269" fmla="*/ 2573764 h 6557032"/>
              <a:gd name="connsiteX5270" fmla="*/ 3890341 w 4610101"/>
              <a:gd name="connsiteY5270" fmla="*/ 2570254 h 6557032"/>
              <a:gd name="connsiteX5271" fmla="*/ 3919496 w 4610101"/>
              <a:gd name="connsiteY5271" fmla="*/ 2577539 h 6557032"/>
              <a:gd name="connsiteX5272" fmla="*/ 3928607 w 4610101"/>
              <a:gd name="connsiteY5272" fmla="*/ 2615784 h 6557032"/>
              <a:gd name="connsiteX5273" fmla="*/ 3906741 w 4610101"/>
              <a:gd name="connsiteY5273" fmla="*/ 2630343 h 6557032"/>
              <a:gd name="connsiteX5274" fmla="*/ 3877586 w 4610101"/>
              <a:gd name="connsiteY5274" fmla="*/ 2613966 h 6557032"/>
              <a:gd name="connsiteX5275" fmla="*/ 3870297 w 4610101"/>
              <a:gd name="connsiteY5275" fmla="*/ 2583012 h 6557032"/>
              <a:gd name="connsiteX5276" fmla="*/ 3890341 w 4610101"/>
              <a:gd name="connsiteY5276" fmla="*/ 2570254 h 6557032"/>
              <a:gd name="connsiteX5277" fmla="*/ 3392305 w 4610101"/>
              <a:gd name="connsiteY5277" fmla="*/ 2570169 h 6557032"/>
              <a:gd name="connsiteX5278" fmla="*/ 3395522 w 4610101"/>
              <a:gd name="connsiteY5278" fmla="*/ 2575959 h 6557032"/>
              <a:gd name="connsiteX5279" fmla="*/ 3394710 w 4610101"/>
              <a:gd name="connsiteY5279" fmla="*/ 2575590 h 6557032"/>
              <a:gd name="connsiteX5280" fmla="*/ 3391749 w 4610101"/>
              <a:gd name="connsiteY5280" fmla="*/ 2571946 h 6557032"/>
              <a:gd name="connsiteX5281" fmla="*/ 971219 w 4610101"/>
              <a:gd name="connsiteY5281" fmla="*/ 2561150 h 6557032"/>
              <a:gd name="connsiteX5282" fmla="*/ 971219 w 4610101"/>
              <a:gd name="connsiteY5282" fmla="*/ 2599389 h 6557032"/>
              <a:gd name="connsiteX5283" fmla="*/ 962108 w 4610101"/>
              <a:gd name="connsiteY5283" fmla="*/ 2577520 h 6557032"/>
              <a:gd name="connsiteX5284" fmla="*/ 956641 w 4610101"/>
              <a:gd name="connsiteY5284" fmla="*/ 2568423 h 6557032"/>
              <a:gd name="connsiteX5285" fmla="*/ 934775 w 4610101"/>
              <a:gd name="connsiteY5285" fmla="*/ 2559273 h 6557032"/>
              <a:gd name="connsiteX5286" fmla="*/ 956641 w 4610101"/>
              <a:gd name="connsiteY5286" fmla="*/ 2568388 h 6557032"/>
              <a:gd name="connsiteX5287" fmla="*/ 942064 w 4610101"/>
              <a:gd name="connsiteY5287" fmla="*/ 2575669 h 6557032"/>
              <a:gd name="connsiteX5288" fmla="*/ 3480624 w 4610101"/>
              <a:gd name="connsiteY5288" fmla="*/ 2558950 h 6557032"/>
              <a:gd name="connsiteX5289" fmla="*/ 3480775 w 4610101"/>
              <a:gd name="connsiteY5289" fmla="*/ 2559222 h 6557032"/>
              <a:gd name="connsiteX5290" fmla="*/ 3480353 w 4610101"/>
              <a:gd name="connsiteY5290" fmla="*/ 2559191 h 6557032"/>
              <a:gd name="connsiteX5291" fmla="*/ 3418398 w 4610101"/>
              <a:gd name="connsiteY5291" fmla="*/ 2551900 h 6557032"/>
              <a:gd name="connsiteX5292" fmla="*/ 3440264 w 4610101"/>
              <a:gd name="connsiteY5292" fmla="*/ 2557365 h 6557032"/>
              <a:gd name="connsiteX5293" fmla="*/ 3442086 w 4610101"/>
              <a:gd name="connsiteY5293" fmla="*/ 2561010 h 6557032"/>
              <a:gd name="connsiteX5294" fmla="*/ 3414753 w 4610101"/>
              <a:gd name="connsiteY5294" fmla="*/ 2555544 h 6557032"/>
              <a:gd name="connsiteX5295" fmla="*/ 3418398 w 4610101"/>
              <a:gd name="connsiteY5295" fmla="*/ 2551900 h 6557032"/>
              <a:gd name="connsiteX5296" fmla="*/ 3228893 w 4610101"/>
              <a:gd name="connsiteY5296" fmla="*/ 2550076 h 6557032"/>
              <a:gd name="connsiteX5297" fmla="*/ 3227071 w 4610101"/>
              <a:gd name="connsiteY5297" fmla="*/ 2557364 h 6557032"/>
              <a:gd name="connsiteX5298" fmla="*/ 3230715 w 4610101"/>
              <a:gd name="connsiteY5298" fmla="*/ 2550076 h 6557032"/>
              <a:gd name="connsiteX5299" fmla="*/ 3228893 w 4610101"/>
              <a:gd name="connsiteY5299" fmla="*/ 2550076 h 6557032"/>
              <a:gd name="connsiteX5300" fmla="*/ 3287202 w 4610101"/>
              <a:gd name="connsiteY5300" fmla="*/ 2544609 h 6557032"/>
              <a:gd name="connsiteX5301" fmla="*/ 3270803 w 4610101"/>
              <a:gd name="connsiteY5301" fmla="*/ 2559186 h 6557032"/>
              <a:gd name="connsiteX5302" fmla="*/ 3296313 w 4610101"/>
              <a:gd name="connsiteY5302" fmla="*/ 2561008 h 6557032"/>
              <a:gd name="connsiteX5303" fmla="*/ 2949980 w 4610101"/>
              <a:gd name="connsiteY5303" fmla="*/ 2537717 h 6557032"/>
              <a:gd name="connsiteX5304" fmla="*/ 2949656 w 4610101"/>
              <a:gd name="connsiteY5304" fmla="*/ 2538364 h 6557032"/>
              <a:gd name="connsiteX5305" fmla="*/ 2950100 w 4610101"/>
              <a:gd name="connsiteY5305" fmla="*/ 2538003 h 6557032"/>
              <a:gd name="connsiteX5306" fmla="*/ 3538663 w 4610101"/>
              <a:gd name="connsiteY5306" fmla="*/ 2537438 h 6557032"/>
              <a:gd name="connsiteX5307" fmla="*/ 3551418 w 4610101"/>
              <a:gd name="connsiteY5307" fmla="*/ 2553840 h 6557032"/>
              <a:gd name="connsiteX5308" fmla="*/ 3529552 w 4610101"/>
              <a:gd name="connsiteY5308" fmla="*/ 2562947 h 6557032"/>
              <a:gd name="connsiteX5309" fmla="*/ 3312713 w 4610101"/>
              <a:gd name="connsiteY5309" fmla="*/ 2533820 h 6557032"/>
              <a:gd name="connsiteX5310" fmla="*/ 3318179 w 4610101"/>
              <a:gd name="connsiteY5310" fmla="*/ 2537477 h 6557032"/>
              <a:gd name="connsiteX5311" fmla="*/ 3314535 w 4610101"/>
              <a:gd name="connsiteY5311" fmla="*/ 2542943 h 6557032"/>
              <a:gd name="connsiteX5312" fmla="*/ 3309068 w 4610101"/>
              <a:gd name="connsiteY5312" fmla="*/ 2537477 h 6557032"/>
              <a:gd name="connsiteX5313" fmla="*/ 2915478 w 4610101"/>
              <a:gd name="connsiteY5313" fmla="*/ 2530188 h 6557032"/>
              <a:gd name="connsiteX5314" fmla="*/ 2919122 w 4610101"/>
              <a:gd name="connsiteY5314" fmla="*/ 2532005 h 6557032"/>
              <a:gd name="connsiteX5315" fmla="*/ 2915947 w 4610101"/>
              <a:gd name="connsiteY5315" fmla="*/ 2535183 h 6557032"/>
              <a:gd name="connsiteX5316" fmla="*/ 2920945 w 4610101"/>
              <a:gd name="connsiteY5316" fmla="*/ 2535496 h 6557032"/>
              <a:gd name="connsiteX5317" fmla="*/ 2922767 w 4610101"/>
              <a:gd name="connsiteY5317" fmla="*/ 2535496 h 6557032"/>
              <a:gd name="connsiteX5318" fmla="*/ 2940988 w 4610101"/>
              <a:gd name="connsiteY5318" fmla="*/ 2550074 h 6557032"/>
              <a:gd name="connsiteX5319" fmla="*/ 2937344 w 4610101"/>
              <a:gd name="connsiteY5319" fmla="*/ 2550074 h 6557032"/>
              <a:gd name="connsiteX5320" fmla="*/ 2902951 w 4610101"/>
              <a:gd name="connsiteY5320" fmla="*/ 2545518 h 6557032"/>
              <a:gd name="connsiteX5321" fmla="*/ 2876641 w 4610101"/>
              <a:gd name="connsiteY5321" fmla="*/ 2550598 h 6557032"/>
              <a:gd name="connsiteX5322" fmla="*/ 2877212 w 4610101"/>
              <a:gd name="connsiteY5322" fmla="*/ 2553886 h 6557032"/>
              <a:gd name="connsiteX5323" fmla="*/ 2871290 w 4610101"/>
              <a:gd name="connsiteY5323" fmla="*/ 2553202 h 6557032"/>
              <a:gd name="connsiteX5324" fmla="*/ 2870366 w 4610101"/>
              <a:gd name="connsiteY5324" fmla="*/ 2551810 h 6557032"/>
              <a:gd name="connsiteX5325" fmla="*/ 2869924 w 4610101"/>
              <a:gd name="connsiteY5325" fmla="*/ 2551896 h 6557032"/>
              <a:gd name="connsiteX5326" fmla="*/ 2873568 w 4610101"/>
              <a:gd name="connsiteY5326" fmla="*/ 2559185 h 6557032"/>
              <a:gd name="connsiteX5327" fmla="*/ 2909720 w 4610101"/>
              <a:gd name="connsiteY5327" fmla="*/ 2559184 h 6557032"/>
              <a:gd name="connsiteX5328" fmla="*/ 2910012 w 4610101"/>
              <a:gd name="connsiteY5328" fmla="*/ 2557530 h 6557032"/>
              <a:gd name="connsiteX5329" fmla="*/ 2912221 w 4610101"/>
              <a:gd name="connsiteY5329" fmla="*/ 2559184 h 6557032"/>
              <a:gd name="connsiteX5330" fmla="*/ 2915934 w 4610101"/>
              <a:gd name="connsiteY5330" fmla="*/ 2559184 h 6557032"/>
              <a:gd name="connsiteX5331" fmla="*/ 2928814 w 4610101"/>
              <a:gd name="connsiteY5331" fmla="*/ 2562738 h 6557032"/>
              <a:gd name="connsiteX5332" fmla="*/ 2930056 w 4610101"/>
              <a:gd name="connsiteY5332" fmla="*/ 2555700 h 6557032"/>
              <a:gd name="connsiteX5333" fmla="*/ 2937344 w 4610101"/>
              <a:gd name="connsiteY5333" fmla="*/ 2561172 h 6557032"/>
              <a:gd name="connsiteX5334" fmla="*/ 2936349 w 4610101"/>
              <a:gd name="connsiteY5334" fmla="*/ 2564816 h 6557032"/>
              <a:gd name="connsiteX5335" fmla="*/ 2955566 w 4610101"/>
              <a:gd name="connsiteY5335" fmla="*/ 2570118 h 6557032"/>
              <a:gd name="connsiteX5336" fmla="*/ 2936035 w 4610101"/>
              <a:gd name="connsiteY5336" fmla="*/ 2566267 h 6557032"/>
              <a:gd name="connsiteX5337" fmla="*/ 2937344 w 4610101"/>
              <a:gd name="connsiteY5337" fmla="*/ 2568442 h 6557032"/>
              <a:gd name="connsiteX5338" fmla="*/ 2928234 w 4610101"/>
              <a:gd name="connsiteY5338" fmla="*/ 2570259 h 6557032"/>
              <a:gd name="connsiteX5339" fmla="*/ 2924589 w 4610101"/>
              <a:gd name="connsiteY5339" fmla="*/ 2568442 h 6557032"/>
              <a:gd name="connsiteX5340" fmla="*/ 2927718 w 4610101"/>
              <a:gd name="connsiteY5340" fmla="*/ 2564626 h 6557032"/>
              <a:gd name="connsiteX5341" fmla="*/ 2923223 w 4610101"/>
              <a:gd name="connsiteY5341" fmla="*/ 2563740 h 6557032"/>
              <a:gd name="connsiteX5342" fmla="*/ 2917217 w 4610101"/>
              <a:gd name="connsiteY5342" fmla="*/ 2564663 h 6557032"/>
              <a:gd name="connsiteX5343" fmla="*/ 2917073 w 4610101"/>
              <a:gd name="connsiteY5343" fmla="*/ 2567537 h 6557032"/>
              <a:gd name="connsiteX5344" fmla="*/ 2915478 w 4610101"/>
              <a:gd name="connsiteY5344" fmla="*/ 2572086 h 6557032"/>
              <a:gd name="connsiteX5345" fmla="*/ 2904545 w 4610101"/>
              <a:gd name="connsiteY5345" fmla="*/ 2570254 h 6557032"/>
              <a:gd name="connsiteX5346" fmla="*/ 2907966 w 4610101"/>
              <a:gd name="connsiteY5346" fmla="*/ 2566086 h 6557032"/>
              <a:gd name="connsiteX5347" fmla="*/ 2893612 w 4610101"/>
              <a:gd name="connsiteY5347" fmla="*/ 2568295 h 6557032"/>
              <a:gd name="connsiteX5348" fmla="*/ 2899079 w 4610101"/>
              <a:gd name="connsiteY5348" fmla="*/ 2577406 h 6557032"/>
              <a:gd name="connsiteX5349" fmla="*/ 2921323 w 4610101"/>
              <a:gd name="connsiteY5349" fmla="*/ 2579054 h 6557032"/>
              <a:gd name="connsiteX5350" fmla="*/ 2920945 w 4610101"/>
              <a:gd name="connsiteY5350" fmla="*/ 2577539 h 6557032"/>
              <a:gd name="connsiteX5351" fmla="*/ 2928917 w 4610101"/>
              <a:gd name="connsiteY5351" fmla="*/ 2578677 h 6557032"/>
              <a:gd name="connsiteX5352" fmla="*/ 2929053 w 4610101"/>
              <a:gd name="connsiteY5352" fmla="*/ 2579626 h 6557032"/>
              <a:gd name="connsiteX5353" fmla="*/ 2948277 w 4610101"/>
              <a:gd name="connsiteY5353" fmla="*/ 2581050 h 6557032"/>
              <a:gd name="connsiteX5354" fmla="*/ 2990187 w 4610101"/>
              <a:gd name="connsiteY5354" fmla="*/ 2595628 h 6557032"/>
              <a:gd name="connsiteX5355" fmla="*/ 2992009 w 4610101"/>
              <a:gd name="connsiteY5355" fmla="*/ 2599271 h 6557032"/>
              <a:gd name="connsiteX5356" fmla="*/ 2931878 w 4610101"/>
              <a:gd name="connsiteY5356" fmla="*/ 2591984 h 6557032"/>
              <a:gd name="connsiteX5357" fmla="*/ 2939166 w 4610101"/>
              <a:gd name="connsiteY5357" fmla="*/ 2599271 h 6557032"/>
              <a:gd name="connsiteX5358" fmla="*/ 2995654 w 4610101"/>
              <a:gd name="connsiteY5358" fmla="*/ 2608382 h 6557032"/>
              <a:gd name="connsiteX5359" fmla="*/ 2995654 w 4610101"/>
              <a:gd name="connsiteY5359" fmla="*/ 2615672 h 6557032"/>
              <a:gd name="connsiteX5360" fmla="*/ 2935522 w 4610101"/>
              <a:gd name="connsiteY5360" fmla="*/ 2608382 h 6557032"/>
              <a:gd name="connsiteX5361" fmla="*/ 2937344 w 4610101"/>
              <a:gd name="connsiteY5361" fmla="*/ 2615672 h 6557032"/>
              <a:gd name="connsiteX5362" fmla="*/ 2958483 w 4610101"/>
              <a:gd name="connsiteY5362" fmla="*/ 2620444 h 6557032"/>
              <a:gd name="connsiteX5363" fmla="*/ 2961032 w 4610101"/>
              <a:gd name="connsiteY5363" fmla="*/ 2619426 h 6557032"/>
              <a:gd name="connsiteX5364" fmla="*/ 2961607 w 4610101"/>
              <a:gd name="connsiteY5364" fmla="*/ 2621150 h 6557032"/>
              <a:gd name="connsiteX5365" fmla="*/ 2982314 w 4610101"/>
              <a:gd name="connsiteY5365" fmla="*/ 2625826 h 6557032"/>
              <a:gd name="connsiteX5366" fmla="*/ 2981076 w 4610101"/>
              <a:gd name="connsiteY5366" fmla="*/ 2621247 h 6557032"/>
              <a:gd name="connsiteX5367" fmla="*/ 2992009 w 4610101"/>
              <a:gd name="connsiteY5367" fmla="*/ 2621247 h 6557032"/>
              <a:gd name="connsiteX5368" fmla="*/ 2987312 w 4610101"/>
              <a:gd name="connsiteY5368" fmla="*/ 2624513 h 6557032"/>
              <a:gd name="connsiteX5369" fmla="*/ 2987397 w 4610101"/>
              <a:gd name="connsiteY5369" fmla="*/ 2624061 h 6557032"/>
              <a:gd name="connsiteX5370" fmla="*/ 2987055 w 4610101"/>
              <a:gd name="connsiteY5370" fmla="*/ 2624687 h 6557032"/>
              <a:gd name="connsiteX5371" fmla="*/ 2987312 w 4610101"/>
              <a:gd name="connsiteY5371" fmla="*/ 2624513 h 6557032"/>
              <a:gd name="connsiteX5372" fmla="*/ 2986864 w 4610101"/>
              <a:gd name="connsiteY5372" fmla="*/ 2626853 h 6557032"/>
              <a:gd name="connsiteX5373" fmla="*/ 2993832 w 4610101"/>
              <a:gd name="connsiteY5373" fmla="*/ 2628427 h 6557032"/>
              <a:gd name="connsiteX5374" fmla="*/ 2992009 w 4610101"/>
              <a:gd name="connsiteY5374" fmla="*/ 2639359 h 6557032"/>
              <a:gd name="connsiteX5375" fmla="*/ 2942325 w 4610101"/>
              <a:gd name="connsiteY5375" fmla="*/ 2633515 h 6557032"/>
              <a:gd name="connsiteX5376" fmla="*/ 2948277 w 4610101"/>
              <a:gd name="connsiteY5376" fmla="*/ 2639467 h 6557032"/>
              <a:gd name="connsiteX5377" fmla="*/ 2937344 w 4610101"/>
              <a:gd name="connsiteY5377" fmla="*/ 2635825 h 6557032"/>
              <a:gd name="connsiteX5378" fmla="*/ 2939935 w 4610101"/>
              <a:gd name="connsiteY5378" fmla="*/ 2633234 h 6557032"/>
              <a:gd name="connsiteX5379" fmla="*/ 2930056 w 4610101"/>
              <a:gd name="connsiteY5379" fmla="*/ 2632072 h 6557032"/>
              <a:gd name="connsiteX5380" fmla="*/ 2937344 w 4610101"/>
              <a:gd name="connsiteY5380" fmla="*/ 2637537 h 6557032"/>
              <a:gd name="connsiteX5381" fmla="*/ 2953744 w 4610101"/>
              <a:gd name="connsiteY5381" fmla="*/ 2641182 h 6557032"/>
              <a:gd name="connsiteX5382" fmla="*/ 2926411 w 4610101"/>
              <a:gd name="connsiteY5382" fmla="*/ 2641182 h 6557032"/>
              <a:gd name="connsiteX5383" fmla="*/ 2922767 w 4610101"/>
              <a:gd name="connsiteY5383" fmla="*/ 2641182 h 6557032"/>
              <a:gd name="connsiteX5384" fmla="*/ 2917300 w 4610101"/>
              <a:gd name="connsiteY5384" fmla="*/ 2648470 h 6557032"/>
              <a:gd name="connsiteX5385" fmla="*/ 2926411 w 4610101"/>
              <a:gd name="connsiteY5385" fmla="*/ 2653938 h 6557032"/>
              <a:gd name="connsiteX5386" fmla="*/ 2897256 w 4610101"/>
              <a:gd name="connsiteY5386" fmla="*/ 2639359 h 6557032"/>
              <a:gd name="connsiteX5387" fmla="*/ 2886323 w 4610101"/>
              <a:gd name="connsiteY5387" fmla="*/ 2646649 h 6557032"/>
              <a:gd name="connsiteX5388" fmla="*/ 2888146 w 4610101"/>
              <a:gd name="connsiteY5388" fmla="*/ 2648470 h 6557032"/>
              <a:gd name="connsiteX5389" fmla="*/ 2889968 w 4610101"/>
              <a:gd name="connsiteY5389" fmla="*/ 2652116 h 6557032"/>
              <a:gd name="connsiteX5390" fmla="*/ 2957388 w 4610101"/>
              <a:gd name="connsiteY5390" fmla="*/ 2714069 h 6557032"/>
              <a:gd name="connsiteX5391" fmla="*/ 2740549 w 4610101"/>
              <a:gd name="connsiteY5391" fmla="*/ 2577406 h 6557032"/>
              <a:gd name="connsiteX5392" fmla="*/ 2812070 w 4610101"/>
              <a:gd name="connsiteY5392" fmla="*/ 2550757 h 6557032"/>
              <a:gd name="connsiteX5393" fmla="*/ 2869120 w 4610101"/>
              <a:gd name="connsiteY5393" fmla="*/ 2538532 h 6557032"/>
              <a:gd name="connsiteX5394" fmla="*/ 2869924 w 4610101"/>
              <a:gd name="connsiteY5394" fmla="*/ 2535665 h 6557032"/>
              <a:gd name="connsiteX5395" fmla="*/ 2874856 w 4610101"/>
              <a:gd name="connsiteY5395" fmla="*/ 2537303 h 6557032"/>
              <a:gd name="connsiteX5396" fmla="*/ 2891790 w 4610101"/>
              <a:gd name="connsiteY5396" fmla="*/ 2533674 h 6557032"/>
              <a:gd name="connsiteX5397" fmla="*/ 2911963 w 4610101"/>
              <a:gd name="connsiteY5397" fmla="*/ 2534934 h 6557032"/>
              <a:gd name="connsiteX5398" fmla="*/ 2910011 w 4610101"/>
              <a:gd name="connsiteY5398" fmla="*/ 2532005 h 6557032"/>
              <a:gd name="connsiteX5399" fmla="*/ 4019716 w 4610101"/>
              <a:gd name="connsiteY5399" fmla="*/ 2530118 h 6557032"/>
              <a:gd name="connsiteX5400" fmla="*/ 4036116 w 4610101"/>
              <a:gd name="connsiteY5400" fmla="*/ 2531938 h 6557032"/>
              <a:gd name="connsiteX5401" fmla="*/ 4021538 w 4610101"/>
              <a:gd name="connsiteY5401" fmla="*/ 2546518 h 6557032"/>
              <a:gd name="connsiteX5402" fmla="*/ 2935523 w 4610101"/>
              <a:gd name="connsiteY5402" fmla="*/ 2526386 h 6557032"/>
              <a:gd name="connsiteX5403" fmla="*/ 2935073 w 4610101"/>
              <a:gd name="connsiteY5403" fmla="*/ 2526552 h 6557032"/>
              <a:gd name="connsiteX5404" fmla="*/ 2937345 w 4610101"/>
              <a:gd name="connsiteY5404" fmla="*/ 2526552 h 6557032"/>
              <a:gd name="connsiteX5405" fmla="*/ 2937289 w 4610101"/>
              <a:gd name="connsiteY5405" fmla="*/ 2526386 h 6557032"/>
              <a:gd name="connsiteX5406" fmla="*/ 2931374 w 4610101"/>
              <a:gd name="connsiteY5406" fmla="*/ 2518762 h 6557032"/>
              <a:gd name="connsiteX5407" fmla="*/ 2930739 w 4610101"/>
              <a:gd name="connsiteY5407" fmla="*/ 2519515 h 6557032"/>
              <a:gd name="connsiteX5408" fmla="*/ 2930341 w 4610101"/>
              <a:gd name="connsiteY5408" fmla="*/ 2523615 h 6557032"/>
              <a:gd name="connsiteX5409" fmla="*/ 2930512 w 4610101"/>
              <a:gd name="connsiteY5409" fmla="*/ 2523653 h 6557032"/>
              <a:gd name="connsiteX5410" fmla="*/ 2931879 w 4610101"/>
              <a:gd name="connsiteY5410" fmla="*/ 2519097 h 6557032"/>
              <a:gd name="connsiteX5411" fmla="*/ 942064 w 4610101"/>
              <a:gd name="connsiteY5411" fmla="*/ 2515564 h 6557032"/>
              <a:gd name="connsiteX5412" fmla="*/ 958464 w 4610101"/>
              <a:gd name="connsiteY5412" fmla="*/ 2517380 h 6557032"/>
              <a:gd name="connsiteX5413" fmla="*/ 943886 w 4610101"/>
              <a:gd name="connsiteY5413" fmla="*/ 2531938 h 6557032"/>
              <a:gd name="connsiteX5414" fmla="*/ 3478531 w 4610101"/>
              <a:gd name="connsiteY5414" fmla="*/ 2515458 h 6557032"/>
              <a:gd name="connsiteX5415" fmla="*/ 3507686 w 4610101"/>
              <a:gd name="connsiteY5415" fmla="*/ 2539148 h 6557032"/>
              <a:gd name="connsiteX5416" fmla="*/ 3522263 w 4610101"/>
              <a:gd name="connsiteY5416" fmla="*/ 2568304 h 6557032"/>
              <a:gd name="connsiteX5417" fmla="*/ 3507686 w 4610101"/>
              <a:gd name="connsiteY5417" fmla="*/ 2568304 h 6557032"/>
              <a:gd name="connsiteX5418" fmla="*/ 3514974 w 4610101"/>
              <a:gd name="connsiteY5418" fmla="*/ 2591993 h 6557032"/>
              <a:gd name="connsiteX5419" fmla="*/ 3507686 w 4610101"/>
              <a:gd name="connsiteY5419" fmla="*/ 2591993 h 6557032"/>
              <a:gd name="connsiteX5420" fmla="*/ 3493108 w 4610101"/>
              <a:gd name="connsiteY5420" fmla="*/ 2575594 h 6557032"/>
              <a:gd name="connsiteX5421" fmla="*/ 3493108 w 4610101"/>
              <a:gd name="connsiteY5421" fmla="*/ 2568304 h 6557032"/>
              <a:gd name="connsiteX5422" fmla="*/ 3485820 w 4610101"/>
              <a:gd name="connsiteY5422" fmla="*/ 2568304 h 6557032"/>
              <a:gd name="connsiteX5423" fmla="*/ 3480775 w 4610101"/>
              <a:gd name="connsiteY5423" fmla="*/ 2559222 h 6557032"/>
              <a:gd name="connsiteX5424" fmla="*/ 3505864 w 4610101"/>
              <a:gd name="connsiteY5424" fmla="*/ 2561014 h 6557032"/>
              <a:gd name="connsiteX5425" fmla="*/ 3496753 w 4610101"/>
              <a:gd name="connsiteY5425" fmla="*/ 2544614 h 6557032"/>
              <a:gd name="connsiteX5426" fmla="*/ 3480624 w 4610101"/>
              <a:gd name="connsiteY5426" fmla="*/ 2558950 h 6557032"/>
              <a:gd name="connsiteX5427" fmla="*/ 3476709 w 4610101"/>
              <a:gd name="connsiteY5427" fmla="*/ 2551904 h 6557032"/>
              <a:gd name="connsiteX5428" fmla="*/ 3451197 w 4610101"/>
              <a:gd name="connsiteY5428" fmla="*/ 2520925 h 6557032"/>
              <a:gd name="connsiteX5429" fmla="*/ 2926412 w 4610101"/>
              <a:gd name="connsiteY5429" fmla="*/ 2515453 h 6557032"/>
              <a:gd name="connsiteX5430" fmla="*/ 2924590 w 4610101"/>
              <a:gd name="connsiteY5430" fmla="*/ 2522742 h 6557032"/>
              <a:gd name="connsiteX5431" fmla="*/ 2926412 w 4610101"/>
              <a:gd name="connsiteY5431" fmla="*/ 2522742 h 6557032"/>
              <a:gd name="connsiteX5432" fmla="*/ 2927467 w 4610101"/>
              <a:gd name="connsiteY5432" fmla="*/ 2522977 h 6557032"/>
              <a:gd name="connsiteX5433" fmla="*/ 2926411 w 4610101"/>
              <a:gd name="connsiteY5433" fmla="*/ 2521106 h 6557032"/>
              <a:gd name="connsiteX5434" fmla="*/ 2928006 w 4610101"/>
              <a:gd name="connsiteY5434" fmla="*/ 2520422 h 6557032"/>
              <a:gd name="connsiteX5435" fmla="*/ 2928186 w 4610101"/>
              <a:gd name="connsiteY5435" fmla="*/ 2516636 h 6557032"/>
              <a:gd name="connsiteX5436" fmla="*/ 2888147 w 4610101"/>
              <a:gd name="connsiteY5436" fmla="*/ 2501084 h 6557032"/>
              <a:gd name="connsiteX5437" fmla="*/ 2888147 w 4610101"/>
              <a:gd name="connsiteY5437" fmla="*/ 2513836 h 6557032"/>
              <a:gd name="connsiteX5438" fmla="*/ 2888147 w 4610101"/>
              <a:gd name="connsiteY5438" fmla="*/ 2501084 h 6557032"/>
              <a:gd name="connsiteX5439" fmla="*/ 2919123 w 4610101"/>
              <a:gd name="connsiteY5439" fmla="*/ 2500876 h 6557032"/>
              <a:gd name="connsiteX5440" fmla="*/ 2911835 w 4610101"/>
              <a:gd name="connsiteY5440" fmla="*/ 2502697 h 6557032"/>
              <a:gd name="connsiteX5441" fmla="*/ 2917301 w 4610101"/>
              <a:gd name="connsiteY5441" fmla="*/ 2508164 h 6557032"/>
              <a:gd name="connsiteX5442" fmla="*/ 2919123 w 4610101"/>
              <a:gd name="connsiteY5442" fmla="*/ 2500876 h 6557032"/>
              <a:gd name="connsiteX5443" fmla="*/ 1064151 w 4610101"/>
              <a:gd name="connsiteY5443" fmla="*/ 2500875 h 6557032"/>
              <a:gd name="connsiteX5444" fmla="*/ 1055040 w 4610101"/>
              <a:gd name="connsiteY5444" fmla="*/ 2515452 h 6557032"/>
              <a:gd name="connsiteX5445" fmla="*/ 1080549 w 4610101"/>
              <a:gd name="connsiteY5445" fmla="*/ 2513631 h 6557032"/>
              <a:gd name="connsiteX5446" fmla="*/ 4509882 w 4610101"/>
              <a:gd name="connsiteY5446" fmla="*/ 2493741 h 6557032"/>
              <a:gd name="connsiteX5447" fmla="*/ 4515348 w 4610101"/>
              <a:gd name="connsiteY5447" fmla="*/ 2506486 h 6557032"/>
              <a:gd name="connsiteX5448" fmla="*/ 4508059 w 4610101"/>
              <a:gd name="connsiteY5448" fmla="*/ 2517421 h 6557032"/>
              <a:gd name="connsiteX5449" fmla="*/ 4493481 w 4610101"/>
              <a:gd name="connsiteY5449" fmla="*/ 2502836 h 6557032"/>
              <a:gd name="connsiteX5450" fmla="*/ 3272626 w 4610101"/>
              <a:gd name="connsiteY5450" fmla="*/ 2484663 h 6557032"/>
              <a:gd name="connsiteX5451" fmla="*/ 3276270 w 4610101"/>
              <a:gd name="connsiteY5451" fmla="*/ 2490144 h 6557032"/>
              <a:gd name="connsiteX5452" fmla="*/ 3272626 w 4610101"/>
              <a:gd name="connsiteY5452" fmla="*/ 2491968 h 6557032"/>
              <a:gd name="connsiteX5453" fmla="*/ 3268981 w 4610101"/>
              <a:gd name="connsiteY5453" fmla="*/ 2490144 h 6557032"/>
              <a:gd name="connsiteX5454" fmla="*/ 2852342 w 4610101"/>
              <a:gd name="connsiteY5454" fmla="*/ 2480205 h 6557032"/>
              <a:gd name="connsiteX5455" fmla="*/ 2857168 w 4610101"/>
              <a:gd name="connsiteY5455" fmla="*/ 2485179 h 6557032"/>
              <a:gd name="connsiteX5456" fmla="*/ 2857168 w 4610101"/>
              <a:gd name="connsiteY5456" fmla="*/ 2481005 h 6557032"/>
              <a:gd name="connsiteX5457" fmla="*/ 3988739 w 4610101"/>
              <a:gd name="connsiteY5457" fmla="*/ 2479131 h 6557032"/>
              <a:gd name="connsiteX5458" fmla="*/ 4012428 w 4610101"/>
              <a:gd name="connsiteY5458" fmla="*/ 2479131 h 6557032"/>
              <a:gd name="connsiteX5459" fmla="*/ 4003317 w 4610101"/>
              <a:gd name="connsiteY5459" fmla="*/ 2493728 h 6557032"/>
              <a:gd name="connsiteX5460" fmla="*/ 599922 w 4610101"/>
              <a:gd name="connsiteY5460" fmla="*/ 2477221 h 6557032"/>
              <a:gd name="connsiteX5461" fmla="*/ 610429 w 4610101"/>
              <a:gd name="connsiteY5461" fmla="*/ 2484663 h 6557032"/>
              <a:gd name="connsiteX5462" fmla="*/ 603140 w 4610101"/>
              <a:gd name="connsiteY5462" fmla="*/ 2506523 h 6557032"/>
              <a:gd name="connsiteX5463" fmla="*/ 581273 w 4610101"/>
              <a:gd name="connsiteY5463" fmla="*/ 2506523 h 6557032"/>
              <a:gd name="connsiteX5464" fmla="*/ 572162 w 4610101"/>
              <a:gd name="connsiteY5464" fmla="*/ 2484663 h 6557032"/>
              <a:gd name="connsiteX5465" fmla="*/ 586741 w 4610101"/>
              <a:gd name="connsiteY5465" fmla="*/ 2477361 h 6557032"/>
              <a:gd name="connsiteX5466" fmla="*/ 599922 w 4610101"/>
              <a:gd name="connsiteY5466" fmla="*/ 2477221 h 6557032"/>
              <a:gd name="connsiteX5467" fmla="*/ 978508 w 4610101"/>
              <a:gd name="connsiteY5467" fmla="*/ 2475459 h 6557032"/>
              <a:gd name="connsiteX5468" fmla="*/ 980330 w 4610101"/>
              <a:gd name="connsiteY5468" fmla="*/ 2493694 h 6557032"/>
              <a:gd name="connsiteX5469" fmla="*/ 963930 w 4610101"/>
              <a:gd name="connsiteY5469" fmla="*/ 2491874 h 6557032"/>
              <a:gd name="connsiteX5470" fmla="*/ 1038639 w 4610101"/>
              <a:gd name="connsiteY5470" fmla="*/ 2469898 h 6557032"/>
              <a:gd name="connsiteX5471" fmla="*/ 1024062 w 4610101"/>
              <a:gd name="connsiteY5471" fmla="*/ 2484476 h 6557032"/>
              <a:gd name="connsiteX5472" fmla="*/ 1040462 w 4610101"/>
              <a:gd name="connsiteY5472" fmla="*/ 2486297 h 6557032"/>
              <a:gd name="connsiteX5473" fmla="*/ 3620659 w 4610101"/>
              <a:gd name="connsiteY5473" fmla="*/ 2455446 h 6557032"/>
              <a:gd name="connsiteX5474" fmla="*/ 3635237 w 4610101"/>
              <a:gd name="connsiteY5474" fmla="*/ 2455446 h 6557032"/>
              <a:gd name="connsiteX5475" fmla="*/ 3635237 w 4610101"/>
              <a:gd name="connsiteY5475" fmla="*/ 2477331 h 6557032"/>
              <a:gd name="connsiteX5476" fmla="*/ 3620659 w 4610101"/>
              <a:gd name="connsiteY5476" fmla="*/ 2477331 h 6557032"/>
              <a:gd name="connsiteX5477" fmla="*/ 974864 w 4610101"/>
              <a:gd name="connsiteY5477" fmla="*/ 2455446 h 6557032"/>
              <a:gd name="connsiteX5478" fmla="*/ 943886 w 4610101"/>
              <a:gd name="connsiteY5478" fmla="*/ 2486460 h 6557032"/>
              <a:gd name="connsiteX5479" fmla="*/ 974864 w 4610101"/>
              <a:gd name="connsiteY5479" fmla="*/ 2455446 h 6557032"/>
              <a:gd name="connsiteX5480" fmla="*/ 3416576 w 4610101"/>
              <a:gd name="connsiteY5480" fmla="*/ 2449861 h 6557032"/>
              <a:gd name="connsiteX5481" fmla="*/ 3423864 w 4610101"/>
              <a:gd name="connsiteY5481" fmla="*/ 2451685 h 6557032"/>
              <a:gd name="connsiteX5482" fmla="*/ 3411109 w 4610101"/>
              <a:gd name="connsiteY5482" fmla="*/ 2457151 h 6557032"/>
              <a:gd name="connsiteX5483" fmla="*/ 3709948 w 4610101"/>
              <a:gd name="connsiteY5483" fmla="*/ 2440843 h 6557032"/>
              <a:gd name="connsiteX5484" fmla="*/ 3717236 w 4610101"/>
              <a:gd name="connsiteY5484" fmla="*/ 2462719 h 6557032"/>
              <a:gd name="connsiteX5485" fmla="*/ 3695370 w 4610101"/>
              <a:gd name="connsiteY5485" fmla="*/ 2462719 h 6557032"/>
              <a:gd name="connsiteX5486" fmla="*/ 3700837 w 4610101"/>
              <a:gd name="connsiteY5486" fmla="*/ 2446308 h 6557032"/>
              <a:gd name="connsiteX5487" fmla="*/ 3709948 w 4610101"/>
              <a:gd name="connsiteY5487" fmla="*/ 2440843 h 6557032"/>
              <a:gd name="connsiteX5488" fmla="*/ 3700324 w 4610101"/>
              <a:gd name="connsiteY5488" fmla="*/ 2438364 h 6557032"/>
              <a:gd name="connsiteX5489" fmla="*/ 3700836 w 4610101"/>
              <a:gd name="connsiteY5489" fmla="*/ 2446308 h 6557032"/>
              <a:gd name="connsiteX5490" fmla="*/ 3700324 w 4610101"/>
              <a:gd name="connsiteY5490" fmla="*/ 2438364 h 6557032"/>
              <a:gd name="connsiteX5491" fmla="*/ 3403821 w 4610101"/>
              <a:gd name="connsiteY5491" fmla="*/ 2427993 h 6557032"/>
              <a:gd name="connsiteX5492" fmla="*/ 3401998 w 4610101"/>
              <a:gd name="connsiteY5492" fmla="*/ 2435282 h 6557032"/>
              <a:gd name="connsiteX5493" fmla="*/ 3378310 w 4610101"/>
              <a:gd name="connsiteY5493" fmla="*/ 2448037 h 6557032"/>
              <a:gd name="connsiteX5494" fmla="*/ 3385599 w 4610101"/>
              <a:gd name="connsiteY5494" fmla="*/ 2458970 h 6557032"/>
              <a:gd name="connsiteX5495" fmla="*/ 3394710 w 4610101"/>
              <a:gd name="connsiteY5495" fmla="*/ 2457148 h 6557032"/>
              <a:gd name="connsiteX5496" fmla="*/ 3392888 w 4610101"/>
              <a:gd name="connsiteY5496" fmla="*/ 2460793 h 6557032"/>
              <a:gd name="connsiteX5497" fmla="*/ 3400176 w 4610101"/>
              <a:gd name="connsiteY5497" fmla="*/ 2471725 h 6557032"/>
              <a:gd name="connsiteX5498" fmla="*/ 3401998 w 4610101"/>
              <a:gd name="connsiteY5498" fmla="*/ 2471725 h 6557032"/>
              <a:gd name="connsiteX5499" fmla="*/ 3428029 w 4610101"/>
              <a:gd name="connsiteY5499" fmla="*/ 2464785 h 6557032"/>
              <a:gd name="connsiteX5500" fmla="*/ 3427509 w 4610101"/>
              <a:gd name="connsiteY5500" fmla="*/ 2464438 h 6557032"/>
              <a:gd name="connsiteX5501" fmla="*/ 3453020 w 4610101"/>
              <a:gd name="connsiteY5501" fmla="*/ 2458971 h 6557032"/>
              <a:gd name="connsiteX5502" fmla="*/ 3438442 w 4610101"/>
              <a:gd name="connsiteY5502" fmla="*/ 2471726 h 6557032"/>
              <a:gd name="connsiteX5503" fmla="*/ 3429331 w 4610101"/>
              <a:gd name="connsiteY5503" fmla="*/ 2465653 h 6557032"/>
              <a:gd name="connsiteX5504" fmla="*/ 3429331 w 4610101"/>
              <a:gd name="connsiteY5504" fmla="*/ 2480836 h 6557032"/>
              <a:gd name="connsiteX5505" fmla="*/ 3398354 w 4610101"/>
              <a:gd name="connsiteY5505" fmla="*/ 2480836 h 6557032"/>
              <a:gd name="connsiteX5506" fmla="*/ 3398354 w 4610101"/>
              <a:gd name="connsiteY5506" fmla="*/ 2502704 h 6557032"/>
              <a:gd name="connsiteX5507" fmla="*/ 3412932 w 4610101"/>
              <a:gd name="connsiteY5507" fmla="*/ 2502704 h 6557032"/>
              <a:gd name="connsiteX5508" fmla="*/ 3412932 w 4610101"/>
              <a:gd name="connsiteY5508" fmla="*/ 2488126 h 6557032"/>
              <a:gd name="connsiteX5509" fmla="*/ 3416576 w 4610101"/>
              <a:gd name="connsiteY5509" fmla="*/ 2489947 h 6557032"/>
              <a:gd name="connsiteX5510" fmla="*/ 3414754 w 4610101"/>
              <a:gd name="connsiteY5510" fmla="*/ 2489947 h 6557032"/>
              <a:gd name="connsiteX5511" fmla="*/ 3422043 w 4610101"/>
              <a:gd name="connsiteY5511" fmla="*/ 2497236 h 6557032"/>
              <a:gd name="connsiteX5512" fmla="*/ 3431153 w 4610101"/>
              <a:gd name="connsiteY5512" fmla="*/ 2493592 h 6557032"/>
              <a:gd name="connsiteX5513" fmla="*/ 3434798 w 4610101"/>
              <a:gd name="connsiteY5513" fmla="*/ 2495413 h 6557032"/>
              <a:gd name="connsiteX5514" fmla="*/ 3436620 w 4610101"/>
              <a:gd name="connsiteY5514" fmla="*/ 2499059 h 6557032"/>
              <a:gd name="connsiteX5515" fmla="*/ 3414754 w 4610101"/>
              <a:gd name="connsiteY5515" fmla="*/ 2511814 h 6557032"/>
              <a:gd name="connsiteX5516" fmla="*/ 3422043 w 4610101"/>
              <a:gd name="connsiteY5516" fmla="*/ 2517281 h 6557032"/>
              <a:gd name="connsiteX5517" fmla="*/ 3432975 w 4610101"/>
              <a:gd name="connsiteY5517" fmla="*/ 2511814 h 6557032"/>
              <a:gd name="connsiteX5518" fmla="*/ 3431153 w 4610101"/>
              <a:gd name="connsiteY5518" fmla="*/ 2520924 h 6557032"/>
              <a:gd name="connsiteX5519" fmla="*/ 3436620 w 4610101"/>
              <a:gd name="connsiteY5519" fmla="*/ 2528215 h 6557032"/>
              <a:gd name="connsiteX5520" fmla="*/ 3411109 w 4610101"/>
              <a:gd name="connsiteY5520" fmla="*/ 2531859 h 6557032"/>
              <a:gd name="connsiteX5521" fmla="*/ 3416576 w 4610101"/>
              <a:gd name="connsiteY5521" fmla="*/ 2539148 h 6557032"/>
              <a:gd name="connsiteX5522" fmla="*/ 3432975 w 4610101"/>
              <a:gd name="connsiteY5522" fmla="*/ 2539148 h 6557032"/>
              <a:gd name="connsiteX5523" fmla="*/ 3447553 w 4610101"/>
              <a:gd name="connsiteY5523" fmla="*/ 2540969 h 6557032"/>
              <a:gd name="connsiteX5524" fmla="*/ 3454842 w 4610101"/>
              <a:gd name="connsiteY5524" fmla="*/ 2550081 h 6557032"/>
              <a:gd name="connsiteX5525" fmla="*/ 3449375 w 4610101"/>
              <a:gd name="connsiteY5525" fmla="*/ 2550081 h 6557032"/>
              <a:gd name="connsiteX5526" fmla="*/ 3447553 w 4610101"/>
              <a:gd name="connsiteY5526" fmla="*/ 2548259 h 6557032"/>
              <a:gd name="connsiteX5527" fmla="*/ 3447553 w 4610101"/>
              <a:gd name="connsiteY5527" fmla="*/ 2550081 h 6557032"/>
              <a:gd name="connsiteX5528" fmla="*/ 3438442 w 4610101"/>
              <a:gd name="connsiteY5528" fmla="*/ 2548259 h 6557032"/>
              <a:gd name="connsiteX5529" fmla="*/ 3416576 w 4610101"/>
              <a:gd name="connsiteY5529" fmla="*/ 2544614 h 6557032"/>
              <a:gd name="connsiteX5530" fmla="*/ 3418398 w 4610101"/>
              <a:gd name="connsiteY5530" fmla="*/ 2548259 h 6557032"/>
              <a:gd name="connsiteX5531" fmla="*/ 3398354 w 4610101"/>
              <a:gd name="connsiteY5531" fmla="*/ 2553725 h 6557032"/>
              <a:gd name="connsiteX5532" fmla="*/ 3394710 w 4610101"/>
              <a:gd name="connsiteY5532" fmla="*/ 2553725 h 6557032"/>
              <a:gd name="connsiteX5533" fmla="*/ 3394710 w 4610101"/>
              <a:gd name="connsiteY5533" fmla="*/ 2539148 h 6557032"/>
              <a:gd name="connsiteX5534" fmla="*/ 3380132 w 4610101"/>
              <a:gd name="connsiteY5534" fmla="*/ 2548259 h 6557032"/>
              <a:gd name="connsiteX5535" fmla="*/ 3372844 w 4610101"/>
              <a:gd name="connsiteY5535" fmla="*/ 2548259 h 6557032"/>
              <a:gd name="connsiteX5536" fmla="*/ 3350978 w 4610101"/>
              <a:gd name="connsiteY5536" fmla="*/ 2533680 h 6557032"/>
              <a:gd name="connsiteX5537" fmla="*/ 3350978 w 4610101"/>
              <a:gd name="connsiteY5537" fmla="*/ 2548259 h 6557032"/>
              <a:gd name="connsiteX5538" fmla="*/ 3372844 w 4610101"/>
              <a:gd name="connsiteY5538" fmla="*/ 2548259 h 6557032"/>
              <a:gd name="connsiteX5539" fmla="*/ 3365555 w 4610101"/>
              <a:gd name="connsiteY5539" fmla="*/ 2562835 h 6557032"/>
              <a:gd name="connsiteX5540" fmla="*/ 3380132 w 4610101"/>
              <a:gd name="connsiteY5540" fmla="*/ 2562835 h 6557032"/>
              <a:gd name="connsiteX5541" fmla="*/ 3380132 w 4610101"/>
              <a:gd name="connsiteY5541" fmla="*/ 2548259 h 6557032"/>
              <a:gd name="connsiteX5542" fmla="*/ 3392888 w 4610101"/>
              <a:gd name="connsiteY5542" fmla="*/ 2553725 h 6557032"/>
              <a:gd name="connsiteX5543" fmla="*/ 3394710 w 4610101"/>
              <a:gd name="connsiteY5543" fmla="*/ 2555546 h 6557032"/>
              <a:gd name="connsiteX5544" fmla="*/ 3409287 w 4610101"/>
              <a:gd name="connsiteY5544" fmla="*/ 2561014 h 6557032"/>
              <a:gd name="connsiteX5545" fmla="*/ 3438442 w 4610101"/>
              <a:gd name="connsiteY5545" fmla="*/ 2570125 h 6557032"/>
              <a:gd name="connsiteX5546" fmla="*/ 3425687 w 4610101"/>
              <a:gd name="connsiteY5546" fmla="*/ 2570125 h 6557032"/>
              <a:gd name="connsiteX5547" fmla="*/ 3422043 w 4610101"/>
              <a:gd name="connsiteY5547" fmla="*/ 2573768 h 6557032"/>
              <a:gd name="connsiteX5548" fmla="*/ 3392888 w 4610101"/>
              <a:gd name="connsiteY5548" fmla="*/ 2568302 h 6557032"/>
              <a:gd name="connsiteX5549" fmla="*/ 3392305 w 4610101"/>
              <a:gd name="connsiteY5549" fmla="*/ 2570169 h 6557032"/>
              <a:gd name="connsiteX5550" fmla="*/ 3389243 w 4610101"/>
              <a:gd name="connsiteY5550" fmla="*/ 2564656 h 6557032"/>
              <a:gd name="connsiteX5551" fmla="*/ 3374666 w 4610101"/>
              <a:gd name="connsiteY5551" fmla="*/ 2579236 h 6557032"/>
              <a:gd name="connsiteX5552" fmla="*/ 3340045 w 4610101"/>
              <a:gd name="connsiteY5552" fmla="*/ 2550081 h 6557032"/>
              <a:gd name="connsiteX5553" fmla="*/ 3333025 w 4610101"/>
              <a:gd name="connsiteY5553" fmla="*/ 2540969 h 6557032"/>
              <a:gd name="connsiteX5554" fmla="*/ 3332757 w 4610101"/>
              <a:gd name="connsiteY5554" fmla="*/ 2541118 h 6557032"/>
              <a:gd name="connsiteX5555" fmla="*/ 3332757 w 4610101"/>
              <a:gd name="connsiteY5555" fmla="*/ 2540621 h 6557032"/>
              <a:gd name="connsiteX5556" fmla="*/ 3318634 w 4610101"/>
              <a:gd name="connsiteY5556" fmla="*/ 2522291 h 6557032"/>
              <a:gd name="connsiteX5557" fmla="*/ 3316463 w 4610101"/>
              <a:gd name="connsiteY5557" fmla="*/ 2520039 h 6557032"/>
              <a:gd name="connsiteX5558" fmla="*/ 3314535 w 4610101"/>
              <a:gd name="connsiteY5558" fmla="*/ 2522923 h 6557032"/>
              <a:gd name="connsiteX5559" fmla="*/ 3309068 w 4610101"/>
              <a:gd name="connsiteY5559" fmla="*/ 2517470 h 6557032"/>
              <a:gd name="connsiteX5560" fmla="*/ 3312795 w 4610101"/>
              <a:gd name="connsiteY5560" fmla="*/ 2516231 h 6557032"/>
              <a:gd name="connsiteX5561" fmla="*/ 3294490 w 4610101"/>
              <a:gd name="connsiteY5561" fmla="*/ 2497236 h 6557032"/>
              <a:gd name="connsiteX5562" fmla="*/ 3272624 w 4610101"/>
              <a:gd name="connsiteY5562" fmla="*/ 2482660 h 6557032"/>
              <a:gd name="connsiteX5563" fmla="*/ 3361911 w 4610101"/>
              <a:gd name="connsiteY5563" fmla="*/ 2442570 h 6557032"/>
              <a:gd name="connsiteX5564" fmla="*/ 3352800 w 4610101"/>
              <a:gd name="connsiteY5564" fmla="*/ 2451682 h 6557032"/>
              <a:gd name="connsiteX5565" fmla="*/ 3369199 w 4610101"/>
              <a:gd name="connsiteY5565" fmla="*/ 2460793 h 6557032"/>
              <a:gd name="connsiteX5566" fmla="*/ 3367377 w 4610101"/>
              <a:gd name="connsiteY5566" fmla="*/ 2440748 h 6557032"/>
              <a:gd name="connsiteX5567" fmla="*/ 3403821 w 4610101"/>
              <a:gd name="connsiteY5567" fmla="*/ 2427993 h 6557032"/>
              <a:gd name="connsiteX5568" fmla="*/ 3467597 w 4610101"/>
              <a:gd name="connsiteY5568" fmla="*/ 2424435 h 6557032"/>
              <a:gd name="connsiteX5569" fmla="*/ 3483997 w 4610101"/>
              <a:gd name="connsiteY5569" fmla="*/ 2424435 h 6557032"/>
              <a:gd name="connsiteX5570" fmla="*/ 3482175 w 4610101"/>
              <a:gd name="connsiteY5570" fmla="*/ 2448122 h 6557032"/>
              <a:gd name="connsiteX5571" fmla="*/ 1024062 w 4610101"/>
              <a:gd name="connsiteY5571" fmla="*/ 2417055 h 6557032"/>
              <a:gd name="connsiteX5572" fmla="*/ 1033173 w 4610101"/>
              <a:gd name="connsiteY5572" fmla="*/ 2431632 h 6557032"/>
              <a:gd name="connsiteX5573" fmla="*/ 1007663 w 4610101"/>
              <a:gd name="connsiteY5573" fmla="*/ 2433454 h 6557032"/>
              <a:gd name="connsiteX5574" fmla="*/ 1033173 w 4610101"/>
              <a:gd name="connsiteY5574" fmla="*/ 2455321 h 6557032"/>
              <a:gd name="connsiteX5575" fmla="*/ 1047750 w 4610101"/>
              <a:gd name="connsiteY5575" fmla="*/ 2417055 h 6557032"/>
              <a:gd name="connsiteX5576" fmla="*/ 3454841 w 4610101"/>
              <a:gd name="connsiteY5576" fmla="*/ 2415238 h 6557032"/>
              <a:gd name="connsiteX5577" fmla="*/ 3458486 w 4610101"/>
              <a:gd name="connsiteY5577" fmla="*/ 2415238 h 6557032"/>
              <a:gd name="connsiteX5578" fmla="*/ 3460308 w 4610101"/>
              <a:gd name="connsiteY5578" fmla="*/ 2417060 h 6557032"/>
              <a:gd name="connsiteX5579" fmla="*/ 3454841 w 4610101"/>
              <a:gd name="connsiteY5579" fmla="*/ 2417060 h 6557032"/>
              <a:gd name="connsiteX5580" fmla="*/ 3451197 w 4610101"/>
              <a:gd name="connsiteY5580" fmla="*/ 2422527 h 6557032"/>
              <a:gd name="connsiteX5581" fmla="*/ 3427509 w 4610101"/>
              <a:gd name="connsiteY5581" fmla="*/ 2426171 h 6557032"/>
              <a:gd name="connsiteX5582" fmla="*/ 3423864 w 4610101"/>
              <a:gd name="connsiteY5582" fmla="*/ 2427993 h 6557032"/>
              <a:gd name="connsiteX5583" fmla="*/ 3423864 w 4610101"/>
              <a:gd name="connsiteY5583" fmla="*/ 2420705 h 6557032"/>
              <a:gd name="connsiteX5584" fmla="*/ 3454841 w 4610101"/>
              <a:gd name="connsiteY5584" fmla="*/ 2415238 h 6557032"/>
              <a:gd name="connsiteX5585" fmla="*/ 973043 w 4610101"/>
              <a:gd name="connsiteY5585" fmla="*/ 2409914 h 6557032"/>
              <a:gd name="connsiteX5586" fmla="*/ 973043 w 4610101"/>
              <a:gd name="connsiteY5586" fmla="*/ 2446336 h 6557032"/>
              <a:gd name="connsiteX5587" fmla="*/ 942064 w 4610101"/>
              <a:gd name="connsiteY5587" fmla="*/ 2431761 h 6557032"/>
              <a:gd name="connsiteX5588" fmla="*/ 958464 w 4610101"/>
              <a:gd name="connsiteY5588" fmla="*/ 2424480 h 6557032"/>
              <a:gd name="connsiteX5589" fmla="*/ 3378310 w 4610101"/>
              <a:gd name="connsiteY5589" fmla="*/ 2409773 h 6557032"/>
              <a:gd name="connsiteX5590" fmla="*/ 3394710 w 4610101"/>
              <a:gd name="connsiteY5590" fmla="*/ 2409773 h 6557032"/>
              <a:gd name="connsiteX5591" fmla="*/ 3378310 w 4610101"/>
              <a:gd name="connsiteY5591" fmla="*/ 2415239 h 6557032"/>
              <a:gd name="connsiteX5592" fmla="*/ 3398354 w 4610101"/>
              <a:gd name="connsiteY5592" fmla="*/ 2400661 h 6557032"/>
              <a:gd name="connsiteX5593" fmla="*/ 3407465 w 4610101"/>
              <a:gd name="connsiteY5593" fmla="*/ 2406130 h 6557032"/>
              <a:gd name="connsiteX5594" fmla="*/ 3400177 w 4610101"/>
              <a:gd name="connsiteY5594" fmla="*/ 2407952 h 6557032"/>
              <a:gd name="connsiteX5595" fmla="*/ 3398354 w 4610101"/>
              <a:gd name="connsiteY5595" fmla="*/ 2400661 h 6557032"/>
              <a:gd name="connsiteX5596" fmla="*/ 4610101 w 4610101"/>
              <a:gd name="connsiteY5596" fmla="*/ 2397152 h 6557032"/>
              <a:gd name="connsiteX5597" fmla="*/ 4586412 w 4610101"/>
              <a:gd name="connsiteY5597" fmla="*/ 2419001 h 6557032"/>
              <a:gd name="connsiteX5598" fmla="*/ 4577301 w 4610101"/>
              <a:gd name="connsiteY5598" fmla="*/ 2400794 h 6557032"/>
              <a:gd name="connsiteX5599" fmla="*/ 3802877 w 4610101"/>
              <a:gd name="connsiteY5599" fmla="*/ 2393469 h 6557032"/>
              <a:gd name="connsiteX5600" fmla="*/ 3815632 w 4610101"/>
              <a:gd name="connsiteY5600" fmla="*/ 2409862 h 6557032"/>
              <a:gd name="connsiteX5601" fmla="*/ 3801055 w 4610101"/>
              <a:gd name="connsiteY5601" fmla="*/ 2418968 h 6557032"/>
              <a:gd name="connsiteX5602" fmla="*/ 3469419 w 4610101"/>
              <a:gd name="connsiteY5602" fmla="*/ 2393369 h 6557032"/>
              <a:gd name="connsiteX5603" fmla="*/ 3483996 w 4610101"/>
              <a:gd name="connsiteY5603" fmla="*/ 2402481 h 6557032"/>
              <a:gd name="connsiteX5604" fmla="*/ 3476707 w 4610101"/>
              <a:gd name="connsiteY5604" fmla="*/ 2413414 h 6557032"/>
              <a:gd name="connsiteX5605" fmla="*/ 3463952 w 4610101"/>
              <a:gd name="connsiteY5605" fmla="*/ 2402481 h 6557032"/>
              <a:gd name="connsiteX5606" fmla="*/ 3163294 w 4610101"/>
              <a:gd name="connsiteY5606" fmla="*/ 2389901 h 6557032"/>
              <a:gd name="connsiteX5607" fmla="*/ 3172404 w 4610101"/>
              <a:gd name="connsiteY5607" fmla="*/ 2404465 h 6557032"/>
              <a:gd name="connsiteX5608" fmla="*/ 3161471 w 4610101"/>
              <a:gd name="connsiteY5608" fmla="*/ 2399004 h 6557032"/>
              <a:gd name="connsiteX5609" fmla="*/ 3163294 w 4610101"/>
              <a:gd name="connsiteY5609" fmla="*/ 2389901 h 6557032"/>
              <a:gd name="connsiteX5610" fmla="*/ 3553240 w 4610101"/>
              <a:gd name="connsiteY5610" fmla="*/ 2386260 h 6557032"/>
              <a:gd name="connsiteX5611" fmla="*/ 3565995 w 4610101"/>
              <a:gd name="connsiteY5611" fmla="*/ 2402644 h 6557032"/>
              <a:gd name="connsiteX5612" fmla="*/ 3544129 w 4610101"/>
              <a:gd name="connsiteY5612" fmla="*/ 2402644 h 6557032"/>
              <a:gd name="connsiteX5613" fmla="*/ 3513152 w 4610101"/>
              <a:gd name="connsiteY5613" fmla="*/ 2426311 h 6557032"/>
              <a:gd name="connsiteX5614" fmla="*/ 3553240 w 4610101"/>
              <a:gd name="connsiteY5614" fmla="*/ 2386260 h 6557032"/>
              <a:gd name="connsiteX5615" fmla="*/ 3493108 w 4610101"/>
              <a:gd name="connsiteY5615" fmla="*/ 2386190 h 6557032"/>
              <a:gd name="connsiteX5616" fmla="*/ 3505863 w 4610101"/>
              <a:gd name="connsiteY5616" fmla="*/ 2402580 h 6557032"/>
              <a:gd name="connsiteX5617" fmla="*/ 3483997 w 4610101"/>
              <a:gd name="connsiteY5617" fmla="*/ 2402580 h 6557032"/>
              <a:gd name="connsiteX5618" fmla="*/ 2993832 w 4610101"/>
              <a:gd name="connsiteY5618" fmla="*/ 2373324 h 6557032"/>
              <a:gd name="connsiteX5619" fmla="*/ 2992010 w 4610101"/>
              <a:gd name="connsiteY5619" fmla="*/ 2380613 h 6557032"/>
              <a:gd name="connsiteX5620" fmla="*/ 2993832 w 4610101"/>
              <a:gd name="connsiteY5620" fmla="*/ 2373324 h 6557032"/>
              <a:gd name="connsiteX5621" fmla="*/ 3005449 w 4610101"/>
              <a:gd name="connsiteY5621" fmla="*/ 2367859 h 6557032"/>
              <a:gd name="connsiteX5622" fmla="*/ 3001121 w 4610101"/>
              <a:gd name="connsiteY5622" fmla="*/ 2369681 h 6557032"/>
              <a:gd name="connsiteX5623" fmla="*/ 3008410 w 4610101"/>
              <a:gd name="connsiteY5623" fmla="*/ 2371502 h 6557032"/>
              <a:gd name="connsiteX5624" fmla="*/ 3005449 w 4610101"/>
              <a:gd name="connsiteY5624" fmla="*/ 2367859 h 6557032"/>
              <a:gd name="connsiteX5625" fmla="*/ 3844788 w 4610101"/>
              <a:gd name="connsiteY5625" fmla="*/ 2364404 h 6557032"/>
              <a:gd name="connsiteX5626" fmla="*/ 3890343 w 4610101"/>
              <a:gd name="connsiteY5626" fmla="*/ 2378978 h 6557032"/>
              <a:gd name="connsiteX5627" fmla="*/ 3875765 w 4610101"/>
              <a:gd name="connsiteY5627" fmla="*/ 2424492 h 6557032"/>
              <a:gd name="connsiteX5628" fmla="*/ 3853899 w 4610101"/>
              <a:gd name="connsiteY5628" fmla="*/ 2417208 h 6557032"/>
              <a:gd name="connsiteX5629" fmla="*/ 3848433 w 4610101"/>
              <a:gd name="connsiteY5629" fmla="*/ 2411748 h 6557032"/>
              <a:gd name="connsiteX5630" fmla="*/ 3853899 w 4610101"/>
              <a:gd name="connsiteY5630" fmla="*/ 2402644 h 6557032"/>
              <a:gd name="connsiteX5631" fmla="*/ 3846611 w 4610101"/>
              <a:gd name="connsiteY5631" fmla="*/ 2395365 h 6557032"/>
              <a:gd name="connsiteX5632" fmla="*/ 3853899 w 4610101"/>
              <a:gd name="connsiteY5632" fmla="*/ 2378978 h 6557032"/>
              <a:gd name="connsiteX5633" fmla="*/ 3620659 w 4610101"/>
              <a:gd name="connsiteY5633" fmla="*/ 2364349 h 6557032"/>
              <a:gd name="connsiteX5634" fmla="*/ 3635237 w 4610101"/>
              <a:gd name="connsiteY5634" fmla="*/ 2364349 h 6557032"/>
              <a:gd name="connsiteX5635" fmla="*/ 3620659 w 4610101"/>
              <a:gd name="connsiteY5635" fmla="*/ 2386211 h 6557032"/>
              <a:gd name="connsiteX5636" fmla="*/ 918376 w 4610101"/>
              <a:gd name="connsiteY5636" fmla="*/ 2364313 h 6557032"/>
              <a:gd name="connsiteX5637" fmla="*/ 918376 w 4610101"/>
              <a:gd name="connsiteY5637" fmla="*/ 2380712 h 6557032"/>
              <a:gd name="connsiteX5638" fmla="*/ 901976 w 4610101"/>
              <a:gd name="connsiteY5638" fmla="*/ 2366133 h 6557032"/>
              <a:gd name="connsiteX5639" fmla="*/ 3793766 w 4610101"/>
              <a:gd name="connsiteY5639" fmla="*/ 2364306 h 6557032"/>
              <a:gd name="connsiteX5640" fmla="*/ 3810166 w 4610101"/>
              <a:gd name="connsiteY5640" fmla="*/ 2366124 h 6557032"/>
              <a:gd name="connsiteX5641" fmla="*/ 3795589 w 4610101"/>
              <a:gd name="connsiteY5641" fmla="*/ 2380703 h 6557032"/>
              <a:gd name="connsiteX5642" fmla="*/ 976687 w 4610101"/>
              <a:gd name="connsiteY5642" fmla="*/ 2364220 h 6557032"/>
              <a:gd name="connsiteX5643" fmla="*/ 978509 w 4610101"/>
              <a:gd name="connsiteY5643" fmla="*/ 2371509 h 6557032"/>
              <a:gd name="connsiteX5644" fmla="*/ 971219 w 4610101"/>
              <a:gd name="connsiteY5644" fmla="*/ 2369687 h 6557032"/>
              <a:gd name="connsiteX5645" fmla="*/ 942064 w 4610101"/>
              <a:gd name="connsiteY5645" fmla="*/ 2406131 h 6557032"/>
              <a:gd name="connsiteX5646" fmla="*/ 931131 w 4610101"/>
              <a:gd name="connsiteY5646" fmla="*/ 2398841 h 6557032"/>
              <a:gd name="connsiteX5647" fmla="*/ 938420 w 4610101"/>
              <a:gd name="connsiteY5647" fmla="*/ 2391553 h 6557032"/>
              <a:gd name="connsiteX5648" fmla="*/ 942064 w 4610101"/>
              <a:gd name="connsiteY5648" fmla="*/ 2391553 h 6557032"/>
              <a:gd name="connsiteX5649" fmla="*/ 942064 w 4610101"/>
              <a:gd name="connsiteY5649" fmla="*/ 2387909 h 6557032"/>
              <a:gd name="connsiteX5650" fmla="*/ 951175 w 4610101"/>
              <a:gd name="connsiteY5650" fmla="*/ 2378798 h 6557032"/>
              <a:gd name="connsiteX5651" fmla="*/ 960286 w 4610101"/>
              <a:gd name="connsiteY5651" fmla="*/ 2369687 h 6557032"/>
              <a:gd name="connsiteX5652" fmla="*/ 976687 w 4610101"/>
              <a:gd name="connsiteY5652" fmla="*/ 2364220 h 6557032"/>
              <a:gd name="connsiteX5653" fmla="*/ 3015698 w 4610101"/>
              <a:gd name="connsiteY5653" fmla="*/ 2364213 h 6557032"/>
              <a:gd name="connsiteX5654" fmla="*/ 3013876 w 4610101"/>
              <a:gd name="connsiteY5654" fmla="*/ 2371502 h 6557032"/>
              <a:gd name="connsiteX5655" fmla="*/ 3015698 w 4610101"/>
              <a:gd name="connsiteY5655" fmla="*/ 2364213 h 6557032"/>
              <a:gd name="connsiteX5656" fmla="*/ 974863 w 4610101"/>
              <a:gd name="connsiteY5656" fmla="*/ 2360586 h 6557032"/>
              <a:gd name="connsiteX5657" fmla="*/ 971219 w 4610101"/>
              <a:gd name="connsiteY5657" fmla="*/ 2362408 h 6557032"/>
              <a:gd name="connsiteX5658" fmla="*/ 971194 w 4610101"/>
              <a:gd name="connsiteY5658" fmla="*/ 2362332 h 6557032"/>
              <a:gd name="connsiteX5659" fmla="*/ 3021165 w 4610101"/>
              <a:gd name="connsiteY5659" fmla="*/ 2360569 h 6557032"/>
              <a:gd name="connsiteX5660" fmla="*/ 3022987 w 4610101"/>
              <a:gd name="connsiteY5660" fmla="*/ 2366036 h 6557032"/>
              <a:gd name="connsiteX5661" fmla="*/ 3024809 w 4610101"/>
              <a:gd name="connsiteY5661" fmla="*/ 2366036 h 6557032"/>
              <a:gd name="connsiteX5662" fmla="*/ 3021165 w 4610101"/>
              <a:gd name="connsiteY5662" fmla="*/ 2360569 h 6557032"/>
              <a:gd name="connsiteX5663" fmla="*/ 3354623 w 4610101"/>
              <a:gd name="connsiteY5663" fmla="*/ 2360568 h 6557032"/>
              <a:gd name="connsiteX5664" fmla="*/ 3327291 w 4610101"/>
              <a:gd name="connsiteY5664" fmla="*/ 2366035 h 6557032"/>
              <a:gd name="connsiteX5665" fmla="*/ 3236182 w 4610101"/>
              <a:gd name="connsiteY5665" fmla="*/ 2402478 h 6557032"/>
              <a:gd name="connsiteX5666" fmla="*/ 3243470 w 4610101"/>
              <a:gd name="connsiteY5666" fmla="*/ 2407945 h 6557032"/>
              <a:gd name="connsiteX5667" fmla="*/ 3327291 w 4610101"/>
              <a:gd name="connsiteY5667" fmla="*/ 2380612 h 6557032"/>
              <a:gd name="connsiteX5668" fmla="*/ 3402000 w 4610101"/>
              <a:gd name="connsiteY5668" fmla="*/ 2373323 h 6557032"/>
              <a:gd name="connsiteX5669" fmla="*/ 3396533 w 4610101"/>
              <a:gd name="connsiteY5669" fmla="*/ 2375146 h 6557032"/>
              <a:gd name="connsiteX5670" fmla="*/ 3372845 w 4610101"/>
              <a:gd name="connsiteY5670" fmla="*/ 2375146 h 6557032"/>
              <a:gd name="connsiteX5671" fmla="*/ 3374667 w 4610101"/>
              <a:gd name="connsiteY5671" fmla="*/ 2378791 h 6557032"/>
              <a:gd name="connsiteX5672" fmla="*/ 3345512 w 4610101"/>
              <a:gd name="connsiteY5672" fmla="*/ 2386079 h 6557032"/>
              <a:gd name="connsiteX5673" fmla="*/ 3341868 w 4610101"/>
              <a:gd name="connsiteY5673" fmla="*/ 2380612 h 6557032"/>
              <a:gd name="connsiteX5674" fmla="*/ 3332757 w 4610101"/>
              <a:gd name="connsiteY5674" fmla="*/ 2389723 h 6557032"/>
              <a:gd name="connsiteX5675" fmla="*/ 3290847 w 4610101"/>
              <a:gd name="connsiteY5675" fmla="*/ 2402478 h 6557032"/>
              <a:gd name="connsiteX5676" fmla="*/ 3294491 w 4610101"/>
              <a:gd name="connsiteY5676" fmla="*/ 2407945 h 6557032"/>
              <a:gd name="connsiteX5677" fmla="*/ 3347334 w 4610101"/>
              <a:gd name="connsiteY5677" fmla="*/ 2395190 h 6557032"/>
              <a:gd name="connsiteX5678" fmla="*/ 3352801 w 4610101"/>
              <a:gd name="connsiteY5678" fmla="*/ 2395190 h 6557032"/>
              <a:gd name="connsiteX5679" fmla="*/ 3352801 w 4610101"/>
              <a:gd name="connsiteY5679" fmla="*/ 2393367 h 6557032"/>
              <a:gd name="connsiteX5680" fmla="*/ 3369200 w 4610101"/>
              <a:gd name="connsiteY5680" fmla="*/ 2389723 h 6557032"/>
              <a:gd name="connsiteX5681" fmla="*/ 3380133 w 4610101"/>
              <a:gd name="connsiteY5681" fmla="*/ 2387901 h 6557032"/>
              <a:gd name="connsiteX5682" fmla="*/ 3371023 w 4610101"/>
              <a:gd name="connsiteY5682" fmla="*/ 2393367 h 6557032"/>
              <a:gd name="connsiteX5683" fmla="*/ 3312713 w 4610101"/>
              <a:gd name="connsiteY5683" fmla="*/ 2417056 h 6557032"/>
              <a:gd name="connsiteX5684" fmla="*/ 3318180 w 4610101"/>
              <a:gd name="connsiteY5684" fmla="*/ 2426166 h 6557032"/>
              <a:gd name="connsiteX5685" fmla="*/ 3361912 w 4610101"/>
              <a:gd name="connsiteY5685" fmla="*/ 2409767 h 6557032"/>
              <a:gd name="connsiteX5686" fmla="*/ 3363734 w 4610101"/>
              <a:gd name="connsiteY5686" fmla="*/ 2417056 h 6557032"/>
              <a:gd name="connsiteX5687" fmla="*/ 3329113 w 4610101"/>
              <a:gd name="connsiteY5687" fmla="*/ 2431634 h 6557032"/>
              <a:gd name="connsiteX5688" fmla="*/ 3332757 w 4610101"/>
              <a:gd name="connsiteY5688" fmla="*/ 2437101 h 6557032"/>
              <a:gd name="connsiteX5689" fmla="*/ 3245293 w 4610101"/>
              <a:gd name="connsiteY5689" fmla="*/ 2477188 h 6557032"/>
              <a:gd name="connsiteX5690" fmla="*/ 3247115 w 4610101"/>
              <a:gd name="connsiteY5690" fmla="*/ 2489943 h 6557032"/>
              <a:gd name="connsiteX5691" fmla="*/ 3292669 w 4610101"/>
              <a:gd name="connsiteY5691" fmla="*/ 2519098 h 6557032"/>
              <a:gd name="connsiteX5692" fmla="*/ 3292829 w 4610101"/>
              <a:gd name="connsiteY5692" fmla="*/ 2519284 h 6557032"/>
              <a:gd name="connsiteX5693" fmla="*/ 3294491 w 4610101"/>
              <a:gd name="connsiteY5693" fmla="*/ 2519284 h 6557032"/>
              <a:gd name="connsiteX5694" fmla="*/ 3294491 w 4610101"/>
              <a:gd name="connsiteY5694" fmla="*/ 2521207 h 6557032"/>
              <a:gd name="connsiteX5695" fmla="*/ 3317269 w 4610101"/>
              <a:gd name="connsiteY5695" fmla="*/ 2547569 h 6557032"/>
              <a:gd name="connsiteX5696" fmla="*/ 3326428 w 4610101"/>
              <a:gd name="connsiteY5696" fmla="*/ 2558679 h 6557032"/>
              <a:gd name="connsiteX5697" fmla="*/ 3327290 w 4610101"/>
              <a:gd name="connsiteY5697" fmla="*/ 2557530 h 6557032"/>
              <a:gd name="connsiteX5698" fmla="*/ 3334578 w 4610101"/>
              <a:gd name="connsiteY5698" fmla="*/ 2566624 h 6557032"/>
              <a:gd name="connsiteX5699" fmla="*/ 3334578 w 4610101"/>
              <a:gd name="connsiteY5699" fmla="*/ 2568442 h 6557032"/>
              <a:gd name="connsiteX5700" fmla="*/ 3334569 w 4610101"/>
              <a:gd name="connsiteY5700" fmla="*/ 2568554 h 6557032"/>
              <a:gd name="connsiteX5701" fmla="*/ 3341868 w 4610101"/>
              <a:gd name="connsiteY5701" fmla="*/ 2577408 h 6557032"/>
              <a:gd name="connsiteX5702" fmla="*/ 3374667 w 4610101"/>
              <a:gd name="connsiteY5702" fmla="*/ 2599273 h 6557032"/>
              <a:gd name="connsiteX5703" fmla="*/ 3376489 w 4610101"/>
              <a:gd name="connsiteY5703" fmla="*/ 2602919 h 6557032"/>
              <a:gd name="connsiteX5704" fmla="*/ 3378311 w 4610101"/>
              <a:gd name="connsiteY5704" fmla="*/ 2602919 h 6557032"/>
              <a:gd name="connsiteX5705" fmla="*/ 3381956 w 4610101"/>
              <a:gd name="connsiteY5705" fmla="*/ 2602919 h 6557032"/>
              <a:gd name="connsiteX5706" fmla="*/ 3347334 w 4610101"/>
              <a:gd name="connsiteY5706" fmla="*/ 2608386 h 6557032"/>
              <a:gd name="connsiteX5707" fmla="*/ 3343690 w 4610101"/>
              <a:gd name="connsiteY5707" fmla="*/ 2602919 h 6557032"/>
              <a:gd name="connsiteX5708" fmla="*/ 3343690 w 4610101"/>
              <a:gd name="connsiteY5708" fmla="*/ 2599273 h 6557032"/>
              <a:gd name="connsiteX5709" fmla="*/ 3338223 w 4610101"/>
              <a:gd name="connsiteY5709" fmla="*/ 2599273 h 6557032"/>
              <a:gd name="connsiteX5710" fmla="*/ 3341868 w 4610101"/>
              <a:gd name="connsiteY5710" fmla="*/ 2604739 h 6557032"/>
              <a:gd name="connsiteX5711" fmla="*/ 3343690 w 4610101"/>
              <a:gd name="connsiteY5711" fmla="*/ 2604739 h 6557032"/>
              <a:gd name="connsiteX5712" fmla="*/ 3338223 w 4610101"/>
              <a:gd name="connsiteY5712" fmla="*/ 2610207 h 6557032"/>
              <a:gd name="connsiteX5713" fmla="*/ 3316357 w 4610101"/>
              <a:gd name="connsiteY5713" fmla="*/ 2610207 h 6557032"/>
              <a:gd name="connsiteX5714" fmla="*/ 3290847 w 4610101"/>
              <a:gd name="connsiteY5714" fmla="*/ 2608386 h 6557032"/>
              <a:gd name="connsiteX5715" fmla="*/ 3279914 w 4610101"/>
              <a:gd name="connsiteY5715" fmla="*/ 2613850 h 6557032"/>
              <a:gd name="connsiteX5716" fmla="*/ 3279914 w 4610101"/>
              <a:gd name="connsiteY5716" fmla="*/ 2615674 h 6557032"/>
              <a:gd name="connsiteX5717" fmla="*/ 3221604 w 4610101"/>
              <a:gd name="connsiteY5717" fmla="*/ 2599273 h 6557032"/>
              <a:gd name="connsiteX5718" fmla="*/ 3221604 w 4610101"/>
              <a:gd name="connsiteY5718" fmla="*/ 2591986 h 6557032"/>
              <a:gd name="connsiteX5719" fmla="*/ 3219782 w 4610101"/>
              <a:gd name="connsiteY5719" fmla="*/ 2591986 h 6557032"/>
              <a:gd name="connsiteX5720" fmla="*/ 3217960 w 4610101"/>
              <a:gd name="connsiteY5720" fmla="*/ 2597453 h 6557032"/>
              <a:gd name="connsiteX5721" fmla="*/ 3163295 w 4610101"/>
              <a:gd name="connsiteY5721" fmla="*/ 2559186 h 6557032"/>
              <a:gd name="connsiteX5722" fmla="*/ 3126454 w 4610101"/>
              <a:gd name="connsiteY5722" fmla="*/ 2513829 h 6557032"/>
              <a:gd name="connsiteX5723" fmla="*/ 3101845 w 4610101"/>
              <a:gd name="connsiteY5723" fmla="*/ 2474077 h 6557032"/>
              <a:gd name="connsiteX5724" fmla="*/ 3086762 w 4610101"/>
              <a:gd name="connsiteY5724" fmla="*/ 2448033 h 6557032"/>
              <a:gd name="connsiteX5725" fmla="*/ 3092229 w 4610101"/>
              <a:gd name="connsiteY5725" fmla="*/ 2453500 h 6557032"/>
              <a:gd name="connsiteX5726" fmla="*/ 3156006 w 4610101"/>
              <a:gd name="connsiteY5726" fmla="*/ 2497231 h 6557032"/>
              <a:gd name="connsiteX5727" fmla="*/ 3161473 w 4610101"/>
              <a:gd name="connsiteY5727" fmla="*/ 2497231 h 6557032"/>
              <a:gd name="connsiteX5728" fmla="*/ 3108629 w 4610101"/>
              <a:gd name="connsiteY5728" fmla="*/ 2462611 h 6557032"/>
              <a:gd name="connsiteX5729" fmla="*/ 3086762 w 4610101"/>
              <a:gd name="connsiteY5729" fmla="*/ 2435278 h 6557032"/>
              <a:gd name="connsiteX5730" fmla="*/ 3125028 w 4610101"/>
              <a:gd name="connsiteY5730" fmla="*/ 2464432 h 6557032"/>
              <a:gd name="connsiteX5731" fmla="*/ 3126850 w 4610101"/>
              <a:gd name="connsiteY5731" fmla="*/ 2458967 h 6557032"/>
              <a:gd name="connsiteX5732" fmla="*/ 3088585 w 4610101"/>
              <a:gd name="connsiteY5732" fmla="*/ 2427989 h 6557032"/>
              <a:gd name="connsiteX5733" fmla="*/ 3066719 w 4610101"/>
              <a:gd name="connsiteY5733" fmla="*/ 2398835 h 6557032"/>
              <a:gd name="connsiteX5734" fmla="*/ 3063074 w 4610101"/>
              <a:gd name="connsiteY5734" fmla="*/ 2393367 h 6557032"/>
              <a:gd name="connsiteX5735" fmla="*/ 3074521 w 4610101"/>
              <a:gd name="connsiteY5735" fmla="*/ 2397183 h 6557032"/>
              <a:gd name="connsiteX5736" fmla="*/ 3077653 w 4610101"/>
              <a:gd name="connsiteY5736" fmla="*/ 2397183 h 6557032"/>
              <a:gd name="connsiteX5737" fmla="*/ 3076870 w 4610101"/>
              <a:gd name="connsiteY5737" fmla="*/ 2397966 h 6557032"/>
              <a:gd name="connsiteX5738" fmla="*/ 3112273 w 4610101"/>
              <a:gd name="connsiteY5738" fmla="*/ 2409767 h 6557032"/>
              <a:gd name="connsiteX5739" fmla="*/ 3232537 w 4610101"/>
              <a:gd name="connsiteY5739" fmla="*/ 2380612 h 6557032"/>
              <a:gd name="connsiteX5740" fmla="*/ 3239826 w 4610101"/>
              <a:gd name="connsiteY5740" fmla="*/ 2386079 h 6557032"/>
              <a:gd name="connsiteX5741" fmla="*/ 3329113 w 4610101"/>
              <a:gd name="connsiteY5741" fmla="*/ 2362389 h 6557032"/>
              <a:gd name="connsiteX5742" fmla="*/ 3354623 w 4610101"/>
              <a:gd name="connsiteY5742" fmla="*/ 2360568 h 6557032"/>
              <a:gd name="connsiteX5743" fmla="*/ 4074382 w 4610101"/>
              <a:gd name="connsiteY5743" fmla="*/ 2357021 h 6557032"/>
              <a:gd name="connsiteX5744" fmla="*/ 4078026 w 4610101"/>
              <a:gd name="connsiteY5744" fmla="*/ 2389868 h 6557032"/>
              <a:gd name="connsiteX5745" fmla="*/ 4056160 w 4610101"/>
              <a:gd name="connsiteY5745" fmla="*/ 2366177 h 6557032"/>
              <a:gd name="connsiteX5746" fmla="*/ 969397 w 4610101"/>
              <a:gd name="connsiteY5746" fmla="*/ 2356940 h 6557032"/>
              <a:gd name="connsiteX5747" fmla="*/ 971194 w 4610101"/>
              <a:gd name="connsiteY5747" fmla="*/ 2362332 h 6557032"/>
              <a:gd name="connsiteX5748" fmla="*/ 970080 w 4610101"/>
              <a:gd name="connsiteY5748" fmla="*/ 2362862 h 6557032"/>
              <a:gd name="connsiteX5749" fmla="*/ 963930 w 4610101"/>
              <a:gd name="connsiteY5749" fmla="*/ 2362408 h 6557032"/>
              <a:gd name="connsiteX5750" fmla="*/ 963930 w 4610101"/>
              <a:gd name="connsiteY5750" fmla="*/ 2360586 h 6557032"/>
              <a:gd name="connsiteX5751" fmla="*/ 969397 w 4610101"/>
              <a:gd name="connsiteY5751" fmla="*/ 2356940 h 6557032"/>
              <a:gd name="connsiteX5752" fmla="*/ 3035742 w 4610101"/>
              <a:gd name="connsiteY5752" fmla="*/ 2356925 h 6557032"/>
              <a:gd name="connsiteX5753" fmla="*/ 3033920 w 4610101"/>
              <a:gd name="connsiteY5753" fmla="*/ 2364213 h 6557032"/>
              <a:gd name="connsiteX5754" fmla="*/ 3035742 w 4610101"/>
              <a:gd name="connsiteY5754" fmla="*/ 2356925 h 6557032"/>
              <a:gd name="connsiteX5755" fmla="*/ 3041209 w 4610101"/>
              <a:gd name="connsiteY5755" fmla="*/ 2355103 h 6557032"/>
              <a:gd name="connsiteX5756" fmla="*/ 3043031 w 4610101"/>
              <a:gd name="connsiteY5756" fmla="*/ 2360569 h 6557032"/>
              <a:gd name="connsiteX5757" fmla="*/ 3044853 w 4610101"/>
              <a:gd name="connsiteY5757" fmla="*/ 2360569 h 6557032"/>
              <a:gd name="connsiteX5758" fmla="*/ 3041209 w 4610101"/>
              <a:gd name="connsiteY5758" fmla="*/ 2355103 h 6557032"/>
              <a:gd name="connsiteX5759" fmla="*/ 962108 w 4610101"/>
              <a:gd name="connsiteY5759" fmla="*/ 2353284 h 6557032"/>
              <a:gd name="connsiteX5760" fmla="*/ 965753 w 4610101"/>
              <a:gd name="connsiteY5760" fmla="*/ 2353284 h 6557032"/>
              <a:gd name="connsiteX5761" fmla="*/ 965753 w 4610101"/>
              <a:gd name="connsiteY5761" fmla="*/ 2355107 h 6557032"/>
              <a:gd name="connsiteX5762" fmla="*/ 963930 w 4610101"/>
              <a:gd name="connsiteY5762" fmla="*/ 2356929 h 6557032"/>
              <a:gd name="connsiteX5763" fmla="*/ 952086 w 4610101"/>
              <a:gd name="connsiteY5763" fmla="*/ 2350557 h 6557032"/>
              <a:gd name="connsiteX5764" fmla="*/ 962108 w 4610101"/>
              <a:gd name="connsiteY5764" fmla="*/ 2356936 h 6557032"/>
              <a:gd name="connsiteX5765" fmla="*/ 956641 w 4610101"/>
              <a:gd name="connsiteY5765" fmla="*/ 2360581 h 6557032"/>
              <a:gd name="connsiteX5766" fmla="*/ 949352 w 4610101"/>
              <a:gd name="connsiteY5766" fmla="*/ 2356936 h 6557032"/>
              <a:gd name="connsiteX5767" fmla="*/ 949352 w 4610101"/>
              <a:gd name="connsiteY5767" fmla="*/ 2364225 h 6557032"/>
              <a:gd name="connsiteX5768" fmla="*/ 945708 w 4610101"/>
              <a:gd name="connsiteY5768" fmla="*/ 2366047 h 6557032"/>
              <a:gd name="connsiteX5769" fmla="*/ 940242 w 4610101"/>
              <a:gd name="connsiteY5769" fmla="*/ 2360581 h 6557032"/>
              <a:gd name="connsiteX5770" fmla="*/ 936597 w 4610101"/>
              <a:gd name="connsiteY5770" fmla="*/ 2355113 h 6557032"/>
              <a:gd name="connsiteX5771" fmla="*/ 952086 w 4610101"/>
              <a:gd name="connsiteY5771" fmla="*/ 2350557 h 6557032"/>
              <a:gd name="connsiteX5772" fmla="*/ 3733634 w 4610101"/>
              <a:gd name="connsiteY5772" fmla="*/ 2344323 h 6557032"/>
              <a:gd name="connsiteX5773" fmla="*/ 3755500 w 4610101"/>
              <a:gd name="connsiteY5773" fmla="*/ 2351624 h 6557032"/>
              <a:gd name="connsiteX5774" fmla="*/ 3760967 w 4610101"/>
              <a:gd name="connsiteY5774" fmla="*/ 2357050 h 6557032"/>
              <a:gd name="connsiteX5775" fmla="*/ 3755500 w 4610101"/>
              <a:gd name="connsiteY5775" fmla="*/ 2366219 h 6557032"/>
              <a:gd name="connsiteX5776" fmla="*/ 3770077 w 4610101"/>
              <a:gd name="connsiteY5776" fmla="*/ 2380795 h 6557032"/>
              <a:gd name="connsiteX5777" fmla="*/ 3724523 w 4610101"/>
              <a:gd name="connsiteY5777" fmla="*/ 2402644 h 6557032"/>
              <a:gd name="connsiteX5778" fmla="*/ 3693546 w 4610101"/>
              <a:gd name="connsiteY5778" fmla="*/ 2371692 h 6557032"/>
              <a:gd name="connsiteX5779" fmla="*/ 3711768 w 4610101"/>
              <a:gd name="connsiteY5779" fmla="*/ 2353432 h 6557032"/>
              <a:gd name="connsiteX5780" fmla="*/ 3507686 w 4610101"/>
              <a:gd name="connsiteY5780" fmla="*/ 2342448 h 6557032"/>
              <a:gd name="connsiteX5781" fmla="*/ 3529552 w 4610101"/>
              <a:gd name="connsiteY5781" fmla="*/ 2366167 h 6557032"/>
              <a:gd name="connsiteX5782" fmla="*/ 3498575 w 4610101"/>
              <a:gd name="connsiteY5782" fmla="*/ 2357021 h 6557032"/>
              <a:gd name="connsiteX5783" fmla="*/ 978508 w 4610101"/>
              <a:gd name="connsiteY5783" fmla="*/ 2338717 h 6557032"/>
              <a:gd name="connsiteX5784" fmla="*/ 978508 w 4610101"/>
              <a:gd name="connsiteY5784" fmla="*/ 2344184 h 6557032"/>
              <a:gd name="connsiteX5785" fmla="*/ 967575 w 4610101"/>
              <a:gd name="connsiteY5785" fmla="*/ 2351472 h 6557032"/>
              <a:gd name="connsiteX5786" fmla="*/ 963930 w 4610101"/>
              <a:gd name="connsiteY5786" fmla="*/ 2349651 h 6557032"/>
              <a:gd name="connsiteX5787" fmla="*/ 978508 w 4610101"/>
              <a:gd name="connsiteY5787" fmla="*/ 2338717 h 6557032"/>
              <a:gd name="connsiteX5788" fmla="*/ 3134139 w 4610101"/>
              <a:gd name="connsiteY5788" fmla="*/ 2337014 h 6557032"/>
              <a:gd name="connsiteX5789" fmla="*/ 3146895 w 4610101"/>
              <a:gd name="connsiteY5789" fmla="*/ 2342029 h 6557032"/>
              <a:gd name="connsiteX5790" fmla="*/ 3147063 w 4610101"/>
              <a:gd name="connsiteY5790" fmla="*/ 2343251 h 6557032"/>
              <a:gd name="connsiteX5791" fmla="*/ 3217960 w 4610101"/>
              <a:gd name="connsiteY5791" fmla="*/ 2340525 h 6557032"/>
              <a:gd name="connsiteX5792" fmla="*/ 3163750 w 4610101"/>
              <a:gd name="connsiteY5792" fmla="*/ 2348269 h 6557032"/>
              <a:gd name="connsiteX5793" fmla="*/ 3148410 w 4610101"/>
              <a:gd name="connsiteY5793" fmla="*/ 2353020 h 6557032"/>
              <a:gd name="connsiteX5794" fmla="*/ 3148717 w 4610101"/>
              <a:gd name="connsiteY5794" fmla="*/ 2355251 h 6557032"/>
              <a:gd name="connsiteX5795" fmla="*/ 3146537 w 4610101"/>
              <a:gd name="connsiteY5795" fmla="*/ 2353600 h 6557032"/>
              <a:gd name="connsiteX5796" fmla="*/ 3112274 w 4610101"/>
              <a:gd name="connsiteY5796" fmla="*/ 2364213 h 6557032"/>
              <a:gd name="connsiteX5797" fmla="*/ 3117740 w 4610101"/>
              <a:gd name="connsiteY5797" fmla="*/ 2367859 h 6557032"/>
              <a:gd name="connsiteX5798" fmla="*/ 3127662 w 4610101"/>
              <a:gd name="connsiteY5798" fmla="*/ 2365922 h 6557032"/>
              <a:gd name="connsiteX5799" fmla="*/ 3128674 w 4610101"/>
              <a:gd name="connsiteY5799" fmla="*/ 2364404 h 6557032"/>
              <a:gd name="connsiteX5800" fmla="*/ 3128989 w 4610101"/>
              <a:gd name="connsiteY5800" fmla="*/ 2365664 h 6557032"/>
              <a:gd name="connsiteX5801" fmla="*/ 3192449 w 4610101"/>
              <a:gd name="connsiteY5801" fmla="*/ 2353279 h 6557032"/>
              <a:gd name="connsiteX5802" fmla="*/ 3210671 w 4610101"/>
              <a:gd name="connsiteY5802" fmla="*/ 2351458 h 6557032"/>
              <a:gd name="connsiteX5803" fmla="*/ 3119562 w 4610101"/>
              <a:gd name="connsiteY5803" fmla="*/ 2376969 h 6557032"/>
              <a:gd name="connsiteX5804" fmla="*/ 3125029 w 4610101"/>
              <a:gd name="connsiteY5804" fmla="*/ 2380613 h 6557032"/>
              <a:gd name="connsiteX5805" fmla="*/ 3230715 w 4610101"/>
              <a:gd name="connsiteY5805" fmla="*/ 2355103 h 6557032"/>
              <a:gd name="connsiteX5806" fmla="*/ 3223426 w 4610101"/>
              <a:gd name="connsiteY5806" fmla="*/ 2358747 h 6557032"/>
              <a:gd name="connsiteX5807" fmla="*/ 3159650 w 4610101"/>
              <a:gd name="connsiteY5807" fmla="*/ 2380613 h 6557032"/>
              <a:gd name="connsiteX5808" fmla="*/ 3165117 w 4610101"/>
              <a:gd name="connsiteY5808" fmla="*/ 2386080 h 6557032"/>
              <a:gd name="connsiteX5809" fmla="*/ 3194271 w 4610101"/>
              <a:gd name="connsiteY5809" fmla="*/ 2378791 h 6557032"/>
              <a:gd name="connsiteX5810" fmla="*/ 3194271 w 4610101"/>
              <a:gd name="connsiteY5810" fmla="*/ 2377147 h 6557032"/>
              <a:gd name="connsiteX5811" fmla="*/ 3200852 w 4610101"/>
              <a:gd name="connsiteY5811" fmla="*/ 2377147 h 6557032"/>
              <a:gd name="connsiteX5812" fmla="*/ 3201508 w 4610101"/>
              <a:gd name="connsiteY5812" fmla="*/ 2376981 h 6557032"/>
              <a:gd name="connsiteX5813" fmla="*/ 3200194 w 4610101"/>
              <a:gd name="connsiteY5813" fmla="*/ 2372828 h 6557032"/>
              <a:gd name="connsiteX5814" fmla="*/ 3201560 w 4610101"/>
              <a:gd name="connsiteY5814" fmla="*/ 2369872 h 6557032"/>
              <a:gd name="connsiteX5815" fmla="*/ 3197916 w 4610101"/>
              <a:gd name="connsiteY5815" fmla="*/ 2369872 h 6557032"/>
              <a:gd name="connsiteX5816" fmla="*/ 3205204 w 4610101"/>
              <a:gd name="connsiteY5816" fmla="*/ 2368032 h 6557032"/>
              <a:gd name="connsiteX5817" fmla="*/ 3205204 w 4610101"/>
              <a:gd name="connsiteY5817" fmla="*/ 2376058 h 6557032"/>
              <a:gd name="connsiteX5818" fmla="*/ 3208849 w 4610101"/>
              <a:gd name="connsiteY5818" fmla="*/ 2375147 h 6557032"/>
              <a:gd name="connsiteX5819" fmla="*/ 3205204 w 4610101"/>
              <a:gd name="connsiteY5819" fmla="*/ 2376559 h 6557032"/>
              <a:gd name="connsiteX5820" fmla="*/ 3205204 w 4610101"/>
              <a:gd name="connsiteY5820" fmla="*/ 2391723 h 6557032"/>
              <a:gd name="connsiteX5821" fmla="*/ 3194271 w 4610101"/>
              <a:gd name="connsiteY5821" fmla="*/ 2389901 h 6557032"/>
              <a:gd name="connsiteX5822" fmla="*/ 3194271 w 4610101"/>
              <a:gd name="connsiteY5822" fmla="*/ 2380794 h 6557032"/>
              <a:gd name="connsiteX5823" fmla="*/ 3176506 w 4610101"/>
              <a:gd name="connsiteY5823" fmla="*/ 2387674 h 6557032"/>
              <a:gd name="connsiteX5824" fmla="*/ 3142922 w 4610101"/>
              <a:gd name="connsiteY5824" fmla="*/ 2393125 h 6557032"/>
              <a:gd name="connsiteX5825" fmla="*/ 3141428 w 4610101"/>
              <a:gd name="connsiteY5825" fmla="*/ 2395365 h 6557032"/>
              <a:gd name="connsiteX5826" fmla="*/ 3139062 w 4610101"/>
              <a:gd name="connsiteY5826" fmla="*/ 2393001 h 6557032"/>
              <a:gd name="connsiteX5827" fmla="*/ 3097468 w 4610101"/>
              <a:gd name="connsiteY5827" fmla="*/ 2386535 h 6557032"/>
              <a:gd name="connsiteX5828" fmla="*/ 3057608 w 4610101"/>
              <a:gd name="connsiteY5828" fmla="*/ 2366036 h 6557032"/>
              <a:gd name="connsiteX5829" fmla="*/ 3048497 w 4610101"/>
              <a:gd name="connsiteY5829" fmla="*/ 2375147 h 6557032"/>
              <a:gd name="connsiteX5830" fmla="*/ 3064897 w 4610101"/>
              <a:gd name="connsiteY5830" fmla="*/ 2415235 h 6557032"/>
              <a:gd name="connsiteX5831" fmla="*/ 2997776 w 4610101"/>
              <a:gd name="connsiteY5831" fmla="*/ 2415235 h 6557032"/>
              <a:gd name="connsiteX5832" fmla="*/ 2998615 w 4610101"/>
              <a:gd name="connsiteY5832" fmla="*/ 2416753 h 6557032"/>
              <a:gd name="connsiteX5833" fmla="*/ 3004765 w 4610101"/>
              <a:gd name="connsiteY5833" fmla="*/ 2422669 h 6557032"/>
              <a:gd name="connsiteX5834" fmla="*/ 3003298 w 4610101"/>
              <a:gd name="connsiteY5834" fmla="*/ 2427066 h 6557032"/>
              <a:gd name="connsiteX5835" fmla="*/ 3068542 w 4610101"/>
              <a:gd name="connsiteY5835" fmla="*/ 2427989 h 6557032"/>
              <a:gd name="connsiteX5836" fmla="*/ 3072186 w 4610101"/>
              <a:gd name="connsiteY5836" fmla="*/ 2426165 h 6557032"/>
              <a:gd name="connsiteX5837" fmla="*/ 3101845 w 4610101"/>
              <a:gd name="connsiteY5837" fmla="*/ 2474077 h 6557032"/>
              <a:gd name="connsiteX5838" fmla="*/ 3120928 w 4610101"/>
              <a:gd name="connsiteY5838" fmla="*/ 2507026 h 6557032"/>
              <a:gd name="connsiteX5839" fmla="*/ 3126454 w 4610101"/>
              <a:gd name="connsiteY5839" fmla="*/ 2513829 h 6557032"/>
              <a:gd name="connsiteX5840" fmla="*/ 3143251 w 4610101"/>
              <a:gd name="connsiteY5840" fmla="*/ 2540963 h 6557032"/>
              <a:gd name="connsiteX5841" fmla="*/ 3086763 w 4610101"/>
              <a:gd name="connsiteY5841" fmla="*/ 2499053 h 6557032"/>
              <a:gd name="connsiteX5842" fmla="*/ 3083119 w 4610101"/>
              <a:gd name="connsiteY5842" fmla="*/ 2500876 h 6557032"/>
              <a:gd name="connsiteX5843" fmla="*/ 3157828 w 4610101"/>
              <a:gd name="connsiteY5843" fmla="*/ 2557363 h 6557032"/>
              <a:gd name="connsiteX5844" fmla="*/ 3057609 w 4610101"/>
              <a:gd name="connsiteY5844" fmla="*/ 2509987 h 6557032"/>
              <a:gd name="connsiteX5845" fmla="*/ 3052142 w 4610101"/>
              <a:gd name="connsiteY5845" fmla="*/ 2515453 h 6557032"/>
              <a:gd name="connsiteX5846" fmla="*/ 3128673 w 4610101"/>
              <a:gd name="connsiteY5846" fmla="*/ 2561006 h 6557032"/>
              <a:gd name="connsiteX5847" fmla="*/ 3117741 w 4610101"/>
              <a:gd name="connsiteY5847" fmla="*/ 2557363 h 6557032"/>
              <a:gd name="connsiteX5848" fmla="*/ 3039387 w 4610101"/>
              <a:gd name="connsiteY5848" fmla="*/ 2526386 h 6557032"/>
              <a:gd name="connsiteX5849" fmla="*/ 3033920 w 4610101"/>
              <a:gd name="connsiteY5849" fmla="*/ 2533676 h 6557032"/>
              <a:gd name="connsiteX5850" fmla="*/ 3110452 w 4610101"/>
              <a:gd name="connsiteY5850" fmla="*/ 2570118 h 6557032"/>
              <a:gd name="connsiteX5851" fmla="*/ 3156006 w 4610101"/>
              <a:gd name="connsiteY5851" fmla="*/ 2586518 h 6557032"/>
              <a:gd name="connsiteX5852" fmla="*/ 3159650 w 4610101"/>
              <a:gd name="connsiteY5852" fmla="*/ 2588341 h 6557032"/>
              <a:gd name="connsiteX5853" fmla="*/ 3159650 w 4610101"/>
              <a:gd name="connsiteY5853" fmla="*/ 2590163 h 6557032"/>
              <a:gd name="connsiteX5854" fmla="*/ 3121385 w 4610101"/>
              <a:gd name="connsiteY5854" fmla="*/ 2581052 h 6557032"/>
              <a:gd name="connsiteX5855" fmla="*/ 3043031 w 4610101"/>
              <a:gd name="connsiteY5855" fmla="*/ 2557363 h 6557032"/>
              <a:gd name="connsiteX5856" fmla="*/ 3039387 w 4610101"/>
              <a:gd name="connsiteY5856" fmla="*/ 2562830 h 6557032"/>
              <a:gd name="connsiteX5857" fmla="*/ 3125029 w 4610101"/>
              <a:gd name="connsiteY5857" fmla="*/ 2593808 h 6557032"/>
              <a:gd name="connsiteX5858" fmla="*/ 3043031 w 4610101"/>
              <a:gd name="connsiteY5858" fmla="*/ 2573763 h 6557032"/>
              <a:gd name="connsiteX5859" fmla="*/ 3043031 w 4610101"/>
              <a:gd name="connsiteY5859" fmla="*/ 2582874 h 6557032"/>
              <a:gd name="connsiteX5860" fmla="*/ 3081297 w 4610101"/>
              <a:gd name="connsiteY5860" fmla="*/ 2597452 h 6557032"/>
              <a:gd name="connsiteX5861" fmla="*/ 3053964 w 4610101"/>
              <a:gd name="connsiteY5861" fmla="*/ 2595629 h 6557032"/>
              <a:gd name="connsiteX5862" fmla="*/ 3053964 w 4610101"/>
              <a:gd name="connsiteY5862" fmla="*/ 2602917 h 6557032"/>
              <a:gd name="connsiteX5863" fmla="*/ 3119563 w 4610101"/>
              <a:gd name="connsiteY5863" fmla="*/ 2619317 h 6557032"/>
              <a:gd name="connsiteX5864" fmla="*/ 3084941 w 4610101"/>
              <a:gd name="connsiteY5864" fmla="*/ 2617495 h 6557032"/>
              <a:gd name="connsiteX5865" fmla="*/ 2982900 w 4610101"/>
              <a:gd name="connsiteY5865" fmla="*/ 2570118 h 6557032"/>
              <a:gd name="connsiteX5866" fmla="*/ 2982900 w 4610101"/>
              <a:gd name="connsiteY5866" fmla="*/ 2566475 h 6557032"/>
              <a:gd name="connsiteX5867" fmla="*/ 2982900 w 4610101"/>
              <a:gd name="connsiteY5867" fmla="*/ 2564809 h 6557032"/>
              <a:gd name="connsiteX5868" fmla="*/ 2978970 w 4610101"/>
              <a:gd name="connsiteY5868" fmla="*/ 2564809 h 6557032"/>
              <a:gd name="connsiteX5869" fmla="*/ 2977433 w 4610101"/>
              <a:gd name="connsiteY5869" fmla="*/ 2566475 h 6557032"/>
              <a:gd name="connsiteX5870" fmla="*/ 2956786 w 4610101"/>
              <a:gd name="connsiteY5870" fmla="*/ 2552180 h 6557032"/>
              <a:gd name="connsiteX5871" fmla="*/ 2955567 w 4610101"/>
              <a:gd name="connsiteY5871" fmla="*/ 2552060 h 6557032"/>
              <a:gd name="connsiteX5872" fmla="*/ 2956610 w 4610101"/>
              <a:gd name="connsiteY5872" fmla="*/ 2552060 h 6557032"/>
              <a:gd name="connsiteX5873" fmla="*/ 2955834 w 4610101"/>
              <a:gd name="connsiteY5873" fmla="*/ 2551522 h 6557032"/>
              <a:gd name="connsiteX5874" fmla="*/ 2955567 w 4610101"/>
              <a:gd name="connsiteY5874" fmla="*/ 2552060 h 6557032"/>
              <a:gd name="connsiteX5875" fmla="*/ 2950100 w 4610101"/>
              <a:gd name="connsiteY5875" fmla="*/ 2548405 h 6557032"/>
              <a:gd name="connsiteX5876" fmla="*/ 2950539 w 4610101"/>
              <a:gd name="connsiteY5876" fmla="*/ 2547856 h 6557032"/>
              <a:gd name="connsiteX5877" fmla="*/ 2945726 w 4610101"/>
              <a:gd name="connsiteY5877" fmla="*/ 2544523 h 6557032"/>
              <a:gd name="connsiteX5878" fmla="*/ 2942128 w 4610101"/>
              <a:gd name="connsiteY5878" fmla="*/ 2543395 h 6557032"/>
              <a:gd name="connsiteX5879" fmla="*/ 2939167 w 4610101"/>
              <a:gd name="connsiteY5879" fmla="*/ 2544752 h 6557032"/>
              <a:gd name="connsiteX5880" fmla="*/ 2933700 w 4610101"/>
              <a:gd name="connsiteY5880" fmla="*/ 2539295 h 6557032"/>
              <a:gd name="connsiteX5881" fmla="*/ 2934854 w 4610101"/>
              <a:gd name="connsiteY5881" fmla="*/ 2536997 h 6557032"/>
              <a:gd name="connsiteX5882" fmla="*/ 2930057 w 4610101"/>
              <a:gd name="connsiteY5882" fmla="*/ 2533676 h 6557032"/>
              <a:gd name="connsiteX5883" fmla="*/ 2928234 w 4610101"/>
              <a:gd name="connsiteY5883" fmla="*/ 2530031 h 6557032"/>
              <a:gd name="connsiteX5884" fmla="*/ 2920946 w 4610101"/>
              <a:gd name="connsiteY5884" fmla="*/ 2524564 h 6557032"/>
              <a:gd name="connsiteX5885" fmla="*/ 2911652 w 4610101"/>
              <a:gd name="connsiteY5885" fmla="*/ 2515730 h 6557032"/>
              <a:gd name="connsiteX5886" fmla="*/ 2908191 w 4610101"/>
              <a:gd name="connsiteY5886" fmla="*/ 2521106 h 6557032"/>
              <a:gd name="connsiteX5887" fmla="*/ 2906369 w 4610101"/>
              <a:gd name="connsiteY5887" fmla="*/ 2515653 h 6557032"/>
              <a:gd name="connsiteX5888" fmla="*/ 2905914 w 4610101"/>
              <a:gd name="connsiteY5888" fmla="*/ 2511317 h 6557032"/>
              <a:gd name="connsiteX5889" fmla="*/ 2906374 w 4610101"/>
              <a:gd name="connsiteY5889" fmla="*/ 2510713 h 6557032"/>
              <a:gd name="connsiteX5890" fmla="*/ 2861041 w 4610101"/>
              <a:gd name="connsiteY5890" fmla="*/ 2467621 h 6557032"/>
              <a:gd name="connsiteX5891" fmla="*/ 2853483 w 4610101"/>
              <a:gd name="connsiteY5891" fmla="*/ 2457279 h 6557032"/>
              <a:gd name="connsiteX5892" fmla="*/ 2842591 w 4610101"/>
              <a:gd name="connsiteY5892" fmla="*/ 2457279 h 6557032"/>
              <a:gd name="connsiteX5893" fmla="*/ 2843958 w 4610101"/>
              <a:gd name="connsiteY5893" fmla="*/ 2448621 h 6557032"/>
              <a:gd name="connsiteX5894" fmla="*/ 2845514 w 4610101"/>
              <a:gd name="connsiteY5894" fmla="*/ 2446373 h 6557032"/>
              <a:gd name="connsiteX5895" fmla="*/ 2813436 w 4610101"/>
              <a:gd name="connsiteY5895" fmla="*/ 2402477 h 6557032"/>
              <a:gd name="connsiteX5896" fmla="*/ 2841498 w 4610101"/>
              <a:gd name="connsiteY5896" fmla="*/ 2407746 h 6557032"/>
              <a:gd name="connsiteX5897" fmla="*/ 2842593 w 4610101"/>
              <a:gd name="connsiteY5897" fmla="*/ 2404465 h 6557032"/>
              <a:gd name="connsiteX5898" fmla="*/ 2846888 w 4610101"/>
              <a:gd name="connsiteY5898" fmla="*/ 2408757 h 6557032"/>
              <a:gd name="connsiteX5899" fmla="*/ 2939623 w 4610101"/>
              <a:gd name="connsiteY5899" fmla="*/ 2426166 h 6557032"/>
              <a:gd name="connsiteX5900" fmla="*/ 3001998 w 4610101"/>
              <a:gd name="connsiteY5900" fmla="*/ 2427049 h 6557032"/>
              <a:gd name="connsiteX5901" fmla="*/ 3001121 w 4610101"/>
              <a:gd name="connsiteY5901" fmla="*/ 2426311 h 6557032"/>
              <a:gd name="connsiteX5902" fmla="*/ 3002943 w 4610101"/>
              <a:gd name="connsiteY5902" fmla="*/ 2422669 h 6557032"/>
              <a:gd name="connsiteX5903" fmla="*/ 2997477 w 4610101"/>
              <a:gd name="connsiteY5903" fmla="*/ 2417208 h 6557032"/>
              <a:gd name="connsiteX5904" fmla="*/ 2988366 w 4610101"/>
              <a:gd name="connsiteY5904" fmla="*/ 2415389 h 6557032"/>
              <a:gd name="connsiteX5905" fmla="*/ 2981076 w 4610101"/>
              <a:gd name="connsiteY5905" fmla="*/ 2422669 h 6557032"/>
              <a:gd name="connsiteX5906" fmla="*/ 2981076 w 4610101"/>
              <a:gd name="connsiteY5906" fmla="*/ 2415389 h 6557032"/>
              <a:gd name="connsiteX5907" fmla="*/ 2982119 w 4610101"/>
              <a:gd name="connsiteY5907" fmla="*/ 2410924 h 6557032"/>
              <a:gd name="connsiteX5908" fmla="*/ 2920945 w 4610101"/>
              <a:gd name="connsiteY5908" fmla="*/ 2384257 h 6557032"/>
              <a:gd name="connsiteX5909" fmla="*/ 3008410 w 4610101"/>
              <a:gd name="connsiteY5909" fmla="*/ 2360569 h 6557032"/>
              <a:gd name="connsiteX5910" fmla="*/ 3012054 w 4610101"/>
              <a:gd name="connsiteY5910" fmla="*/ 2355103 h 6557032"/>
              <a:gd name="connsiteX5911" fmla="*/ 3030276 w 4610101"/>
              <a:gd name="connsiteY5911" fmla="*/ 2353133 h 6557032"/>
              <a:gd name="connsiteX5912" fmla="*/ 3030276 w 4610101"/>
              <a:gd name="connsiteY5912" fmla="*/ 2347967 h 6557032"/>
              <a:gd name="connsiteX5913" fmla="*/ 3034941 w 4610101"/>
              <a:gd name="connsiteY5913" fmla="*/ 2352628 h 6557032"/>
              <a:gd name="connsiteX5914" fmla="*/ 3079474 w 4610101"/>
              <a:gd name="connsiteY5914" fmla="*/ 2347813 h 6557032"/>
              <a:gd name="connsiteX5915" fmla="*/ 3079474 w 4610101"/>
              <a:gd name="connsiteY5915" fmla="*/ 2349635 h 6557032"/>
              <a:gd name="connsiteX5916" fmla="*/ 3084941 w 4610101"/>
              <a:gd name="connsiteY5916" fmla="*/ 2353279 h 6557032"/>
              <a:gd name="connsiteX5917" fmla="*/ 3086763 w 4610101"/>
              <a:gd name="connsiteY5917" fmla="*/ 2351458 h 6557032"/>
              <a:gd name="connsiteX5918" fmla="*/ 3086763 w 4610101"/>
              <a:gd name="connsiteY5918" fmla="*/ 2347813 h 6557032"/>
              <a:gd name="connsiteX5919" fmla="*/ 3123206 w 4610101"/>
              <a:gd name="connsiteY5919" fmla="*/ 2344168 h 6557032"/>
              <a:gd name="connsiteX5920" fmla="*/ 3137242 w 4610101"/>
              <a:gd name="connsiteY5920" fmla="*/ 2343629 h 6557032"/>
              <a:gd name="connsiteX5921" fmla="*/ 3493108 w 4610101"/>
              <a:gd name="connsiteY5921" fmla="*/ 2337004 h 6557032"/>
              <a:gd name="connsiteX5922" fmla="*/ 3453020 w 4610101"/>
              <a:gd name="connsiteY5922" fmla="*/ 2371678 h 6557032"/>
              <a:gd name="connsiteX5923" fmla="*/ 3453020 w 4610101"/>
              <a:gd name="connsiteY5923" fmla="*/ 2349782 h 6557032"/>
              <a:gd name="connsiteX5924" fmla="*/ 3493108 w 4610101"/>
              <a:gd name="connsiteY5924" fmla="*/ 2337004 h 6557032"/>
              <a:gd name="connsiteX5925" fmla="*/ 1023534 w 4610101"/>
              <a:gd name="connsiteY5925" fmla="*/ 2336535 h 6557032"/>
              <a:gd name="connsiteX5926" fmla="*/ 1024062 w 4610101"/>
              <a:gd name="connsiteY5926" fmla="*/ 2336886 h 6557032"/>
              <a:gd name="connsiteX5927" fmla="*/ 1022688 w 4610101"/>
              <a:gd name="connsiteY5927" fmla="*/ 2336748 h 6557032"/>
              <a:gd name="connsiteX5928" fmla="*/ 4478903 w 4610101"/>
              <a:gd name="connsiteY5928" fmla="*/ 2335172 h 6557032"/>
              <a:gd name="connsiteX5929" fmla="*/ 4504415 w 4610101"/>
              <a:gd name="connsiteY5929" fmla="*/ 2336987 h 6557032"/>
              <a:gd name="connsiteX5930" fmla="*/ 4480725 w 4610101"/>
              <a:gd name="connsiteY5930" fmla="*/ 2358888 h 6557032"/>
              <a:gd name="connsiteX5931" fmla="*/ 2838948 w 4610101"/>
              <a:gd name="connsiteY5931" fmla="*/ 2335060 h 6557032"/>
              <a:gd name="connsiteX5932" fmla="*/ 2837126 w 4610101"/>
              <a:gd name="connsiteY5932" fmla="*/ 2342348 h 6557032"/>
              <a:gd name="connsiteX5933" fmla="*/ 2838948 w 4610101"/>
              <a:gd name="connsiteY5933" fmla="*/ 2335060 h 6557032"/>
              <a:gd name="connsiteX5934" fmla="*/ 1034490 w 4610101"/>
              <a:gd name="connsiteY5934" fmla="*/ 2333063 h 6557032"/>
              <a:gd name="connsiteX5935" fmla="*/ 1032034 w 4610101"/>
              <a:gd name="connsiteY5935" fmla="*/ 2334381 h 6557032"/>
              <a:gd name="connsiteX5936" fmla="*/ 1023534 w 4610101"/>
              <a:gd name="connsiteY5936" fmla="*/ 2336535 h 6557032"/>
              <a:gd name="connsiteX5937" fmla="*/ 1023145 w 4610101"/>
              <a:gd name="connsiteY5937" fmla="*/ 2336275 h 6557032"/>
              <a:gd name="connsiteX5938" fmla="*/ 1022468 w 4610101"/>
              <a:gd name="connsiteY5938" fmla="*/ 2336726 h 6557032"/>
              <a:gd name="connsiteX5939" fmla="*/ 1022688 w 4610101"/>
              <a:gd name="connsiteY5939" fmla="*/ 2336748 h 6557032"/>
              <a:gd name="connsiteX5940" fmla="*/ 1022280 w 4610101"/>
              <a:gd name="connsiteY5940" fmla="*/ 2336852 h 6557032"/>
              <a:gd name="connsiteX5941" fmla="*/ 1022240 w 4610101"/>
              <a:gd name="connsiteY5941" fmla="*/ 2336878 h 6557032"/>
              <a:gd name="connsiteX5942" fmla="*/ 1022227 w 4610101"/>
              <a:gd name="connsiteY5942" fmla="*/ 2336865 h 6557032"/>
              <a:gd name="connsiteX5943" fmla="*/ 1014951 w 4610101"/>
              <a:gd name="connsiteY5943" fmla="*/ 2338708 h 6557032"/>
              <a:gd name="connsiteX5944" fmla="*/ 1013129 w 4610101"/>
              <a:gd name="connsiteY5944" fmla="*/ 2342353 h 6557032"/>
              <a:gd name="connsiteX5945" fmla="*/ 1012986 w 4610101"/>
              <a:gd name="connsiteY5945" fmla="*/ 2342425 h 6557032"/>
              <a:gd name="connsiteX5946" fmla="*/ 1014040 w 4610101"/>
              <a:gd name="connsiteY5946" fmla="*/ 2342801 h 6557032"/>
              <a:gd name="connsiteX5947" fmla="*/ 1020418 w 4610101"/>
              <a:gd name="connsiteY5947" fmla="*/ 2342345 h 6557032"/>
              <a:gd name="connsiteX5948" fmla="*/ 1014951 w 4610101"/>
              <a:gd name="connsiteY5948" fmla="*/ 2340523 h 6557032"/>
              <a:gd name="connsiteX5949" fmla="*/ 1020418 w 4610101"/>
              <a:gd name="connsiteY5949" fmla="*/ 2338701 h 6557032"/>
              <a:gd name="connsiteX5950" fmla="*/ 1056861 w 4610101"/>
              <a:gd name="connsiteY5950" fmla="*/ 2360567 h 6557032"/>
              <a:gd name="connsiteX5951" fmla="*/ 1038412 w 4610101"/>
              <a:gd name="connsiteY5951" fmla="*/ 2343400 h 6557032"/>
              <a:gd name="connsiteX5952" fmla="*/ 1005840 w 4610101"/>
              <a:gd name="connsiteY5952" fmla="*/ 2331427 h 6557032"/>
              <a:gd name="connsiteX5953" fmla="*/ 993084 w 4610101"/>
              <a:gd name="connsiteY5953" fmla="*/ 2338718 h 6557032"/>
              <a:gd name="connsiteX5954" fmla="*/ 991263 w 4610101"/>
              <a:gd name="connsiteY5954" fmla="*/ 2336894 h 6557032"/>
              <a:gd name="connsiteX5955" fmla="*/ 1005840 w 4610101"/>
              <a:gd name="connsiteY5955" fmla="*/ 2331427 h 6557032"/>
              <a:gd name="connsiteX5956" fmla="*/ 3514973 w 4610101"/>
              <a:gd name="connsiteY5956" fmla="*/ 2318747 h 6557032"/>
              <a:gd name="connsiteX5957" fmla="*/ 3531373 w 4610101"/>
              <a:gd name="connsiteY5957" fmla="*/ 2333306 h 6557032"/>
              <a:gd name="connsiteX5958" fmla="*/ 3514973 w 4610101"/>
              <a:gd name="connsiteY5958" fmla="*/ 2335126 h 6557032"/>
              <a:gd name="connsiteX5959" fmla="*/ 1053317 w 4610101"/>
              <a:gd name="connsiteY5959" fmla="*/ 2317135 h 6557032"/>
              <a:gd name="connsiteX5960" fmla="*/ 1052534 w 4610101"/>
              <a:gd name="connsiteY5960" fmla="*/ 2317305 h 6557032"/>
              <a:gd name="connsiteX5961" fmla="*/ 1051664 w 4610101"/>
              <a:gd name="connsiteY5961" fmla="*/ 2317373 h 6557032"/>
              <a:gd name="connsiteX5962" fmla="*/ 1056861 w 4610101"/>
              <a:gd name="connsiteY5962" fmla="*/ 2327768 h 6557032"/>
              <a:gd name="connsiteX5963" fmla="*/ 3978035 w 4610101"/>
              <a:gd name="connsiteY5963" fmla="*/ 2313857 h 6557032"/>
              <a:gd name="connsiteX5964" fmla="*/ 3988740 w 4610101"/>
              <a:gd name="connsiteY5964" fmla="*/ 2342482 h 6557032"/>
              <a:gd name="connsiteX5965" fmla="*/ 3957763 w 4610101"/>
              <a:gd name="connsiteY5965" fmla="*/ 2349787 h 6557032"/>
              <a:gd name="connsiteX5966" fmla="*/ 3957763 w 4610101"/>
              <a:gd name="connsiteY5966" fmla="*/ 2320669 h 6557032"/>
              <a:gd name="connsiteX5967" fmla="*/ 3978035 w 4610101"/>
              <a:gd name="connsiteY5967" fmla="*/ 2313857 h 6557032"/>
              <a:gd name="connsiteX5968" fmla="*/ 1115918 w 4610101"/>
              <a:gd name="connsiteY5968" fmla="*/ 2310952 h 6557032"/>
              <a:gd name="connsiteX5969" fmla="*/ 1115171 w 4610101"/>
              <a:gd name="connsiteY5969" fmla="*/ 2311076 h 6557032"/>
              <a:gd name="connsiteX5970" fmla="*/ 1115171 w 4610101"/>
              <a:gd name="connsiteY5970" fmla="*/ 2313191 h 6557032"/>
              <a:gd name="connsiteX5971" fmla="*/ 4282109 w 4610101"/>
              <a:gd name="connsiteY5971" fmla="*/ 2309661 h 6557032"/>
              <a:gd name="connsiteX5972" fmla="*/ 4283931 w 4610101"/>
              <a:gd name="connsiteY5972" fmla="*/ 2327857 h 6557032"/>
              <a:gd name="connsiteX5973" fmla="*/ 4267531 w 4610101"/>
              <a:gd name="connsiteY5973" fmla="*/ 2326039 h 6557032"/>
              <a:gd name="connsiteX5974" fmla="*/ 1135864 w 4610101"/>
              <a:gd name="connsiteY5974" fmla="*/ 2306316 h 6557032"/>
              <a:gd name="connsiteX5975" fmla="*/ 1126103 w 4610101"/>
              <a:gd name="connsiteY5975" fmla="*/ 2307737 h 6557032"/>
              <a:gd name="connsiteX5976" fmla="*/ 1124281 w 4610101"/>
              <a:gd name="connsiteY5976" fmla="*/ 2309557 h 6557032"/>
              <a:gd name="connsiteX5977" fmla="*/ 1122590 w 4610101"/>
              <a:gd name="connsiteY5977" fmla="*/ 2309840 h 6557032"/>
              <a:gd name="connsiteX5978" fmla="*/ 1125420 w 4610101"/>
              <a:gd name="connsiteY5978" fmla="*/ 2316152 h 6557032"/>
              <a:gd name="connsiteX5979" fmla="*/ 1129748 w 4610101"/>
              <a:gd name="connsiteY5979" fmla="*/ 2318656 h 6557032"/>
              <a:gd name="connsiteX5980" fmla="*/ 1138859 w 4610101"/>
              <a:gd name="connsiteY5980" fmla="*/ 2324124 h 6557032"/>
              <a:gd name="connsiteX5981" fmla="*/ 1133393 w 4610101"/>
              <a:gd name="connsiteY5981" fmla="*/ 2311368 h 6557032"/>
              <a:gd name="connsiteX5982" fmla="*/ 1142503 w 4610101"/>
              <a:gd name="connsiteY5982" fmla="*/ 2309547 h 6557032"/>
              <a:gd name="connsiteX5983" fmla="*/ 3620660 w 4610101"/>
              <a:gd name="connsiteY5983" fmla="*/ 2304308 h 6557032"/>
              <a:gd name="connsiteX5984" fmla="*/ 3635238 w 4610101"/>
              <a:gd name="connsiteY5984" fmla="*/ 2304308 h 6557032"/>
              <a:gd name="connsiteX5985" fmla="*/ 3649815 w 4610101"/>
              <a:gd name="connsiteY5985" fmla="*/ 2304308 h 6557032"/>
              <a:gd name="connsiteX5986" fmla="*/ 3664393 w 4610101"/>
              <a:gd name="connsiteY5986" fmla="*/ 2311567 h 6557032"/>
              <a:gd name="connsiteX5987" fmla="*/ 3664393 w 4610101"/>
              <a:gd name="connsiteY5987" fmla="*/ 2311574 h 6557032"/>
              <a:gd name="connsiteX5988" fmla="*/ 3664393 w 4610101"/>
              <a:gd name="connsiteY5988" fmla="*/ 2326122 h 6557032"/>
              <a:gd name="connsiteX5989" fmla="*/ 3649815 w 4610101"/>
              <a:gd name="connsiteY5989" fmla="*/ 2326122 h 6557032"/>
              <a:gd name="connsiteX5990" fmla="*/ 3655282 w 4610101"/>
              <a:gd name="connsiteY5990" fmla="*/ 2335202 h 6557032"/>
              <a:gd name="connsiteX5991" fmla="*/ 3649815 w 4610101"/>
              <a:gd name="connsiteY5991" fmla="*/ 2340652 h 6557032"/>
              <a:gd name="connsiteX5992" fmla="*/ 3627949 w 4610101"/>
              <a:gd name="connsiteY5992" fmla="*/ 2344323 h 6557032"/>
              <a:gd name="connsiteX5993" fmla="*/ 3627949 w 4610101"/>
              <a:gd name="connsiteY5993" fmla="*/ 2326122 h 6557032"/>
              <a:gd name="connsiteX5994" fmla="*/ 3431153 w 4610101"/>
              <a:gd name="connsiteY5994" fmla="*/ 2302260 h 6557032"/>
              <a:gd name="connsiteX5995" fmla="*/ 3447553 w 4610101"/>
              <a:gd name="connsiteY5995" fmla="*/ 2305906 h 6557032"/>
              <a:gd name="connsiteX5996" fmla="*/ 3440264 w 4610101"/>
              <a:gd name="connsiteY5996" fmla="*/ 2309550 h 6557032"/>
              <a:gd name="connsiteX5997" fmla="*/ 1002196 w 4610101"/>
              <a:gd name="connsiteY5997" fmla="*/ 2294980 h 6557032"/>
              <a:gd name="connsiteX5998" fmla="*/ 987619 w 4610101"/>
              <a:gd name="connsiteY5998" fmla="*/ 2304091 h 6557032"/>
              <a:gd name="connsiteX5999" fmla="*/ 1002196 w 4610101"/>
              <a:gd name="connsiteY5999" fmla="*/ 2318669 h 6557032"/>
              <a:gd name="connsiteX6000" fmla="*/ 1146148 w 4610101"/>
              <a:gd name="connsiteY6000" fmla="*/ 2291335 h 6557032"/>
              <a:gd name="connsiteX6001" fmla="*/ 1145721 w 4610101"/>
              <a:gd name="connsiteY6001" fmla="*/ 2293359 h 6557032"/>
              <a:gd name="connsiteX6002" fmla="*/ 1149769 w 4610101"/>
              <a:gd name="connsiteY6002" fmla="*/ 2291335 h 6557032"/>
              <a:gd name="connsiteX6003" fmla="*/ 951175 w 4610101"/>
              <a:gd name="connsiteY6003" fmla="*/ 2289652 h 6557032"/>
              <a:gd name="connsiteX6004" fmla="*/ 965752 w 4610101"/>
              <a:gd name="connsiteY6004" fmla="*/ 2302422 h 6557032"/>
              <a:gd name="connsiteX6005" fmla="*/ 942064 w 4610101"/>
              <a:gd name="connsiteY6005" fmla="*/ 2311509 h 6557032"/>
              <a:gd name="connsiteX6006" fmla="*/ 2875391 w 4610101"/>
              <a:gd name="connsiteY6006" fmla="*/ 2287682 h 6557032"/>
              <a:gd name="connsiteX6007" fmla="*/ 2876512 w 4610101"/>
              <a:gd name="connsiteY6007" fmla="*/ 2288804 h 6557032"/>
              <a:gd name="connsiteX6008" fmla="*/ 2875391 w 4610101"/>
              <a:gd name="connsiteY6008" fmla="*/ 2289504 h 6557032"/>
              <a:gd name="connsiteX6009" fmla="*/ 2874410 w 4610101"/>
              <a:gd name="connsiteY6009" fmla="*/ 2288172 h 6557032"/>
              <a:gd name="connsiteX6010" fmla="*/ 2857170 w 4610101"/>
              <a:gd name="connsiteY6010" fmla="*/ 2287682 h 6557032"/>
              <a:gd name="connsiteX6011" fmla="*/ 2858992 w 4610101"/>
              <a:gd name="connsiteY6011" fmla="*/ 2293148 h 6557032"/>
              <a:gd name="connsiteX6012" fmla="*/ 2860814 w 4610101"/>
              <a:gd name="connsiteY6012" fmla="*/ 2293148 h 6557032"/>
              <a:gd name="connsiteX6013" fmla="*/ 2857170 w 4610101"/>
              <a:gd name="connsiteY6013" fmla="*/ 2287682 h 6557032"/>
              <a:gd name="connsiteX6014" fmla="*/ 3476708 w 4610101"/>
              <a:gd name="connsiteY6014" fmla="*/ 2285860 h 6557032"/>
              <a:gd name="connsiteX6015" fmla="*/ 3482174 w 4610101"/>
              <a:gd name="connsiteY6015" fmla="*/ 2287683 h 6557032"/>
              <a:gd name="connsiteX6016" fmla="*/ 3473063 w 4610101"/>
              <a:gd name="connsiteY6016" fmla="*/ 2287683 h 6557032"/>
              <a:gd name="connsiteX6017" fmla="*/ 3476708 w 4610101"/>
              <a:gd name="connsiteY6017" fmla="*/ 2285860 h 6557032"/>
              <a:gd name="connsiteX6018" fmla="*/ 3620660 w 4610101"/>
              <a:gd name="connsiteY6018" fmla="*/ 2282340 h 6557032"/>
              <a:gd name="connsiteX6019" fmla="*/ 3620660 w 4610101"/>
              <a:gd name="connsiteY6019" fmla="*/ 2304202 h 6557032"/>
              <a:gd name="connsiteX6020" fmla="*/ 3604260 w 4610101"/>
              <a:gd name="connsiteY6020" fmla="*/ 2296882 h 6557032"/>
              <a:gd name="connsiteX6021" fmla="*/ 2842592 w 4610101"/>
              <a:gd name="connsiteY6021" fmla="*/ 2282215 h 6557032"/>
              <a:gd name="connsiteX6022" fmla="*/ 2840770 w 4610101"/>
              <a:gd name="connsiteY6022" fmla="*/ 2289504 h 6557032"/>
              <a:gd name="connsiteX6023" fmla="*/ 2842592 w 4610101"/>
              <a:gd name="connsiteY6023" fmla="*/ 2282215 h 6557032"/>
              <a:gd name="connsiteX6024" fmla="*/ 3708124 w 4610101"/>
              <a:gd name="connsiteY6024" fmla="*/ 2280500 h 6557032"/>
              <a:gd name="connsiteX6025" fmla="*/ 3709946 w 4610101"/>
              <a:gd name="connsiteY6025" fmla="*/ 2296882 h 6557032"/>
              <a:gd name="connsiteX6026" fmla="*/ 3693546 w 4610101"/>
              <a:gd name="connsiteY6026" fmla="*/ 2295052 h 6557032"/>
              <a:gd name="connsiteX6027" fmla="*/ 1153436 w 4610101"/>
              <a:gd name="connsiteY6027" fmla="*/ 2278579 h 6557032"/>
              <a:gd name="connsiteX6028" fmla="*/ 1149791 w 4610101"/>
              <a:gd name="connsiteY6028" fmla="*/ 2280402 h 6557032"/>
              <a:gd name="connsiteX6029" fmla="*/ 1149791 w 4610101"/>
              <a:gd name="connsiteY6029" fmla="*/ 2291325 h 6557032"/>
              <a:gd name="connsiteX6030" fmla="*/ 1149792 w 4610101"/>
              <a:gd name="connsiteY6030" fmla="*/ 2291324 h 6557032"/>
              <a:gd name="connsiteX6031" fmla="*/ 1153436 w 4610101"/>
              <a:gd name="connsiteY6031" fmla="*/ 2294968 h 6557032"/>
              <a:gd name="connsiteX6032" fmla="*/ 1157081 w 4610101"/>
              <a:gd name="connsiteY6032" fmla="*/ 2287680 h 6557032"/>
              <a:gd name="connsiteX6033" fmla="*/ 1158902 w 4610101"/>
              <a:gd name="connsiteY6033" fmla="*/ 2286840 h 6557032"/>
              <a:gd name="connsiteX6034" fmla="*/ 1158902 w 4610101"/>
              <a:gd name="connsiteY6034" fmla="*/ 2285868 h 6557032"/>
              <a:gd name="connsiteX6035" fmla="*/ 1155259 w 4610101"/>
              <a:gd name="connsiteY6035" fmla="*/ 2285868 h 6557032"/>
              <a:gd name="connsiteX6036" fmla="*/ 1153436 w 4610101"/>
              <a:gd name="connsiteY6036" fmla="*/ 2278579 h 6557032"/>
              <a:gd name="connsiteX6037" fmla="*/ 1185480 w 4610101"/>
              <a:gd name="connsiteY6037" fmla="*/ 2276955 h 6557032"/>
              <a:gd name="connsiteX6038" fmla="*/ 1182136 w 4610101"/>
              <a:gd name="connsiteY6038" fmla="*/ 2277212 h 6557032"/>
              <a:gd name="connsiteX6039" fmla="*/ 1181098 w 4610101"/>
              <a:gd name="connsiteY6039" fmla="*/ 2278250 h 6557032"/>
              <a:gd name="connsiteX6040" fmla="*/ 1181452 w 4610101"/>
              <a:gd name="connsiteY6040" fmla="*/ 2278796 h 6557032"/>
              <a:gd name="connsiteX6041" fmla="*/ 1182592 w 4610101"/>
              <a:gd name="connsiteY6041" fmla="*/ 2284035 h 6557032"/>
              <a:gd name="connsiteX6042" fmla="*/ 1188058 w 4610101"/>
              <a:gd name="connsiteY6042" fmla="*/ 2280391 h 6557032"/>
              <a:gd name="connsiteX6043" fmla="*/ 3544128 w 4610101"/>
              <a:gd name="connsiteY6043" fmla="*/ 2275060 h 6557032"/>
              <a:gd name="connsiteX6044" fmla="*/ 3560528 w 4610101"/>
              <a:gd name="connsiteY6044" fmla="*/ 2287815 h 6557032"/>
              <a:gd name="connsiteX6045" fmla="*/ 3544128 w 4610101"/>
              <a:gd name="connsiteY6045" fmla="*/ 2296882 h 6557032"/>
              <a:gd name="connsiteX6046" fmla="*/ 3799232 w 4610101"/>
              <a:gd name="connsiteY6046" fmla="*/ 2275043 h 6557032"/>
              <a:gd name="connsiteX6047" fmla="*/ 3815632 w 4610101"/>
              <a:gd name="connsiteY6047" fmla="*/ 2275043 h 6557032"/>
              <a:gd name="connsiteX6048" fmla="*/ 3813810 w 4610101"/>
              <a:gd name="connsiteY6048" fmla="*/ 2291431 h 6557032"/>
              <a:gd name="connsiteX6049" fmla="*/ 4411483 w 4610101"/>
              <a:gd name="connsiteY6049" fmla="*/ 2275025 h 6557032"/>
              <a:gd name="connsiteX6050" fmla="*/ 4426060 w 4610101"/>
              <a:gd name="connsiteY6050" fmla="*/ 2275025 h 6557032"/>
              <a:gd name="connsiteX6051" fmla="*/ 4411483 w 4610101"/>
              <a:gd name="connsiteY6051" fmla="*/ 2289596 h 6557032"/>
              <a:gd name="connsiteX6052" fmla="*/ 3649815 w 4610101"/>
              <a:gd name="connsiteY6052" fmla="*/ 2273325 h 6557032"/>
              <a:gd name="connsiteX6053" fmla="*/ 3678970 w 4610101"/>
              <a:gd name="connsiteY6053" fmla="*/ 2296959 h 6557032"/>
              <a:gd name="connsiteX6054" fmla="*/ 3674414 w 4610101"/>
              <a:gd name="connsiteY6054" fmla="*/ 2306341 h 6557032"/>
              <a:gd name="connsiteX6055" fmla="*/ 3664393 w 4610101"/>
              <a:gd name="connsiteY6055" fmla="*/ 2311567 h 6557032"/>
              <a:gd name="connsiteX6056" fmla="*/ 925664 w 4610101"/>
              <a:gd name="connsiteY6056" fmla="*/ 2273286 h 6557032"/>
              <a:gd name="connsiteX6057" fmla="*/ 934777 w 4610101"/>
              <a:gd name="connsiteY6057" fmla="*/ 2289675 h 6557032"/>
              <a:gd name="connsiteX6058" fmla="*/ 901976 w 4610101"/>
              <a:gd name="connsiteY6058" fmla="*/ 2295092 h 6557032"/>
              <a:gd name="connsiteX6059" fmla="*/ 952997 w 4610101"/>
              <a:gd name="connsiteY6059" fmla="*/ 2273108 h 6557032"/>
              <a:gd name="connsiteX6060" fmla="*/ 951175 w 4610101"/>
              <a:gd name="connsiteY6060" fmla="*/ 2274931 h 6557032"/>
              <a:gd name="connsiteX6061" fmla="*/ 945708 w 4610101"/>
              <a:gd name="connsiteY6061" fmla="*/ 2274931 h 6557032"/>
              <a:gd name="connsiteX6062" fmla="*/ 952997 w 4610101"/>
              <a:gd name="connsiteY6062" fmla="*/ 2273108 h 6557032"/>
              <a:gd name="connsiteX6063" fmla="*/ 1177124 w 4610101"/>
              <a:gd name="connsiteY6063" fmla="*/ 2271290 h 6557032"/>
              <a:gd name="connsiteX6064" fmla="*/ 1175302 w 4610101"/>
              <a:gd name="connsiteY6064" fmla="*/ 2278579 h 6557032"/>
              <a:gd name="connsiteX6065" fmla="*/ 1166191 w 4610101"/>
              <a:gd name="connsiteY6065" fmla="*/ 2280402 h 6557032"/>
              <a:gd name="connsiteX6066" fmla="*/ 1164684 w 4610101"/>
              <a:gd name="connsiteY6066" fmla="*/ 2284171 h 6557032"/>
              <a:gd name="connsiteX6067" fmla="*/ 1165964 w 4610101"/>
              <a:gd name="connsiteY6067" fmla="*/ 2283580 h 6557032"/>
              <a:gd name="connsiteX6068" fmla="*/ 1173481 w 4610101"/>
              <a:gd name="connsiteY6068" fmla="*/ 2282213 h 6557032"/>
              <a:gd name="connsiteX6069" fmla="*/ 1173481 w 4610101"/>
              <a:gd name="connsiteY6069" fmla="*/ 2287680 h 6557032"/>
              <a:gd name="connsiteX6070" fmla="*/ 1175303 w 4610101"/>
              <a:gd name="connsiteY6070" fmla="*/ 2289502 h 6557032"/>
              <a:gd name="connsiteX6071" fmla="*/ 1178385 w 4610101"/>
              <a:gd name="connsiteY6071" fmla="*/ 2277173 h 6557032"/>
              <a:gd name="connsiteX6072" fmla="*/ 1178035 w 4610101"/>
              <a:gd name="connsiteY6072" fmla="*/ 2275163 h 6557032"/>
              <a:gd name="connsiteX6073" fmla="*/ 1177124 w 4610101"/>
              <a:gd name="connsiteY6073" fmla="*/ 2271290 h 6557032"/>
              <a:gd name="connsiteX6074" fmla="*/ 1062328 w 4610101"/>
              <a:gd name="connsiteY6074" fmla="*/ 2267646 h 6557032"/>
              <a:gd name="connsiteX6075" fmla="*/ 1038639 w 4610101"/>
              <a:gd name="connsiteY6075" fmla="*/ 2269468 h 6557032"/>
              <a:gd name="connsiteX6076" fmla="*/ 1060506 w 4610101"/>
              <a:gd name="connsiteY6076" fmla="*/ 2291335 h 6557032"/>
              <a:gd name="connsiteX6077" fmla="*/ 3633414 w 4610101"/>
              <a:gd name="connsiteY6077" fmla="*/ 2265913 h 6557032"/>
              <a:gd name="connsiteX6078" fmla="*/ 3635237 w 4610101"/>
              <a:gd name="connsiteY6078" fmla="*/ 2282317 h 6557032"/>
              <a:gd name="connsiteX6079" fmla="*/ 3620659 w 4610101"/>
              <a:gd name="connsiteY6079" fmla="*/ 2282317 h 6557032"/>
              <a:gd name="connsiteX6080" fmla="*/ 934775 w 4610101"/>
              <a:gd name="connsiteY6080" fmla="*/ 2265819 h 6557032"/>
              <a:gd name="connsiteX6081" fmla="*/ 940242 w 4610101"/>
              <a:gd name="connsiteY6081" fmla="*/ 2265819 h 6557032"/>
              <a:gd name="connsiteX6082" fmla="*/ 940242 w 4610101"/>
              <a:gd name="connsiteY6082" fmla="*/ 2269464 h 6557032"/>
              <a:gd name="connsiteX6083" fmla="*/ 934775 w 4610101"/>
              <a:gd name="connsiteY6083" fmla="*/ 2265819 h 6557032"/>
              <a:gd name="connsiteX6084" fmla="*/ 943886 w 4610101"/>
              <a:gd name="connsiteY6084" fmla="*/ 2254886 h 6557032"/>
              <a:gd name="connsiteX6085" fmla="*/ 943886 w 4610101"/>
              <a:gd name="connsiteY6085" fmla="*/ 2258531 h 6557032"/>
              <a:gd name="connsiteX6086" fmla="*/ 940241 w 4610101"/>
              <a:gd name="connsiteY6086" fmla="*/ 2258531 h 6557032"/>
              <a:gd name="connsiteX6087" fmla="*/ 943886 w 4610101"/>
              <a:gd name="connsiteY6087" fmla="*/ 2254886 h 6557032"/>
              <a:gd name="connsiteX6088" fmla="*/ 3447553 w 4610101"/>
              <a:gd name="connsiteY6088" fmla="*/ 2254882 h 6557032"/>
              <a:gd name="connsiteX6089" fmla="*/ 3471242 w 4610101"/>
              <a:gd name="connsiteY6089" fmla="*/ 2258527 h 6557032"/>
              <a:gd name="connsiteX6090" fmla="*/ 3469419 w 4610101"/>
              <a:gd name="connsiteY6090" fmla="*/ 2262171 h 6557032"/>
              <a:gd name="connsiteX6091" fmla="*/ 3454842 w 4610101"/>
              <a:gd name="connsiteY6091" fmla="*/ 2263993 h 6557032"/>
              <a:gd name="connsiteX6092" fmla="*/ 2880402 w 4610101"/>
              <a:gd name="connsiteY6092" fmla="*/ 2253288 h 6557032"/>
              <a:gd name="connsiteX6093" fmla="*/ 2879036 w 4610101"/>
              <a:gd name="connsiteY6093" fmla="*/ 2258527 h 6557032"/>
              <a:gd name="connsiteX6094" fmla="*/ 2880858 w 4610101"/>
              <a:gd name="connsiteY6094" fmla="*/ 2260349 h 6557032"/>
              <a:gd name="connsiteX6095" fmla="*/ 2884502 w 4610101"/>
              <a:gd name="connsiteY6095" fmla="*/ 2254883 h 6557032"/>
              <a:gd name="connsiteX6096" fmla="*/ 2880402 w 4610101"/>
              <a:gd name="connsiteY6096" fmla="*/ 2253288 h 6557032"/>
              <a:gd name="connsiteX6097" fmla="*/ 962108 w 4610101"/>
              <a:gd name="connsiteY6097" fmla="*/ 2251246 h 6557032"/>
              <a:gd name="connsiteX6098" fmla="*/ 973041 w 4610101"/>
              <a:gd name="connsiteY6098" fmla="*/ 2258536 h 6557032"/>
              <a:gd name="connsiteX6099" fmla="*/ 971219 w 4610101"/>
              <a:gd name="connsiteY6099" fmla="*/ 2262180 h 6557032"/>
              <a:gd name="connsiteX6100" fmla="*/ 954819 w 4610101"/>
              <a:gd name="connsiteY6100" fmla="*/ 2271291 h 6557032"/>
              <a:gd name="connsiteX6101" fmla="*/ 952997 w 4610101"/>
              <a:gd name="connsiteY6101" fmla="*/ 2269469 h 6557032"/>
              <a:gd name="connsiteX6102" fmla="*/ 945708 w 4610101"/>
              <a:gd name="connsiteY6102" fmla="*/ 2271291 h 6557032"/>
              <a:gd name="connsiteX6103" fmla="*/ 951175 w 4610101"/>
              <a:gd name="connsiteY6103" fmla="*/ 2256713 h 6557032"/>
              <a:gd name="connsiteX6104" fmla="*/ 963930 w 4610101"/>
              <a:gd name="connsiteY6104" fmla="*/ 2256713 h 6557032"/>
              <a:gd name="connsiteX6105" fmla="*/ 958463 w 4610101"/>
              <a:gd name="connsiteY6105" fmla="*/ 2253069 h 6557032"/>
              <a:gd name="connsiteX6106" fmla="*/ 962108 w 4610101"/>
              <a:gd name="connsiteY6106" fmla="*/ 2251246 h 6557032"/>
              <a:gd name="connsiteX6107" fmla="*/ 993085 w 4610101"/>
              <a:gd name="connsiteY6107" fmla="*/ 2251241 h 6557032"/>
              <a:gd name="connsiteX6108" fmla="*/ 996729 w 4610101"/>
              <a:gd name="connsiteY6108" fmla="*/ 2254886 h 6557032"/>
              <a:gd name="connsiteX6109" fmla="*/ 985796 w 4610101"/>
              <a:gd name="connsiteY6109" fmla="*/ 2256708 h 6557032"/>
              <a:gd name="connsiteX6110" fmla="*/ 993085 w 4610101"/>
              <a:gd name="connsiteY6110" fmla="*/ 2251241 h 6557032"/>
              <a:gd name="connsiteX6111" fmla="*/ 3361910 w 4610101"/>
              <a:gd name="connsiteY6111" fmla="*/ 2251238 h 6557032"/>
              <a:gd name="connsiteX6112" fmla="*/ 3349155 w 4610101"/>
              <a:gd name="connsiteY6112" fmla="*/ 2274927 h 6557032"/>
              <a:gd name="connsiteX6113" fmla="*/ 3363733 w 4610101"/>
              <a:gd name="connsiteY6113" fmla="*/ 2274927 h 6557032"/>
              <a:gd name="connsiteX6114" fmla="*/ 3365555 w 4610101"/>
              <a:gd name="connsiteY6114" fmla="*/ 2291327 h 6557032"/>
              <a:gd name="connsiteX6115" fmla="*/ 3378310 w 4610101"/>
              <a:gd name="connsiteY6115" fmla="*/ 2274927 h 6557032"/>
              <a:gd name="connsiteX6116" fmla="*/ 3363733 w 4610101"/>
              <a:gd name="connsiteY6116" fmla="*/ 2274927 h 6557032"/>
              <a:gd name="connsiteX6117" fmla="*/ 949352 w 4610101"/>
              <a:gd name="connsiteY6117" fmla="*/ 2249418 h 6557032"/>
              <a:gd name="connsiteX6118" fmla="*/ 952997 w 4610101"/>
              <a:gd name="connsiteY6118" fmla="*/ 2249418 h 6557032"/>
              <a:gd name="connsiteX6119" fmla="*/ 951174 w 4610101"/>
              <a:gd name="connsiteY6119" fmla="*/ 2253063 h 6557032"/>
              <a:gd name="connsiteX6120" fmla="*/ 949352 w 4610101"/>
              <a:gd name="connsiteY6120" fmla="*/ 2249418 h 6557032"/>
              <a:gd name="connsiteX6121" fmla="*/ 2879036 w 4610101"/>
              <a:gd name="connsiteY6121" fmla="*/ 2245772 h 6557032"/>
              <a:gd name="connsiteX6122" fmla="*/ 2875391 w 4610101"/>
              <a:gd name="connsiteY6122" fmla="*/ 2253061 h 6557032"/>
              <a:gd name="connsiteX6123" fmla="*/ 2877213 w 4610101"/>
              <a:gd name="connsiteY6123" fmla="*/ 2253061 h 6557032"/>
              <a:gd name="connsiteX6124" fmla="*/ 2879036 w 4610101"/>
              <a:gd name="connsiteY6124" fmla="*/ 2245772 h 6557032"/>
              <a:gd name="connsiteX6125" fmla="*/ 1005840 w 4610101"/>
              <a:gd name="connsiteY6125" fmla="*/ 2243957 h 6557032"/>
              <a:gd name="connsiteX6126" fmla="*/ 996729 w 4610101"/>
              <a:gd name="connsiteY6126" fmla="*/ 2247602 h 6557032"/>
              <a:gd name="connsiteX6127" fmla="*/ 1005840 w 4610101"/>
              <a:gd name="connsiteY6127" fmla="*/ 2243957 h 6557032"/>
              <a:gd name="connsiteX6128" fmla="*/ 3442087 w 4610101"/>
              <a:gd name="connsiteY6128" fmla="*/ 2243951 h 6557032"/>
              <a:gd name="connsiteX6129" fmla="*/ 3460308 w 4610101"/>
              <a:gd name="connsiteY6129" fmla="*/ 2245772 h 6557032"/>
              <a:gd name="connsiteX6130" fmla="*/ 3474886 w 4610101"/>
              <a:gd name="connsiteY6130" fmla="*/ 2249418 h 6557032"/>
              <a:gd name="connsiteX6131" fmla="*/ 3465775 w 4610101"/>
              <a:gd name="connsiteY6131" fmla="*/ 2249418 h 6557032"/>
              <a:gd name="connsiteX6132" fmla="*/ 3440265 w 4610101"/>
              <a:gd name="connsiteY6132" fmla="*/ 2247596 h 6557032"/>
              <a:gd name="connsiteX6133" fmla="*/ 3438442 w 4610101"/>
              <a:gd name="connsiteY6133" fmla="*/ 2245772 h 6557032"/>
              <a:gd name="connsiteX6134" fmla="*/ 4334952 w 4610101"/>
              <a:gd name="connsiteY6134" fmla="*/ 2242277 h 6557032"/>
              <a:gd name="connsiteX6135" fmla="*/ 4336775 w 4610101"/>
              <a:gd name="connsiteY6135" fmla="*/ 2265987 h 6557032"/>
              <a:gd name="connsiteX6136" fmla="*/ 4313086 w 4610101"/>
              <a:gd name="connsiteY6136" fmla="*/ 2265987 h 6557032"/>
              <a:gd name="connsiteX6137" fmla="*/ 982152 w 4610101"/>
              <a:gd name="connsiteY6137" fmla="*/ 2242130 h 6557032"/>
              <a:gd name="connsiteX6138" fmla="*/ 993085 w 4610101"/>
              <a:gd name="connsiteY6138" fmla="*/ 2249420 h 6557032"/>
              <a:gd name="connsiteX6139" fmla="*/ 980330 w 4610101"/>
              <a:gd name="connsiteY6139" fmla="*/ 2258531 h 6557032"/>
              <a:gd name="connsiteX6140" fmla="*/ 974863 w 4610101"/>
              <a:gd name="connsiteY6140" fmla="*/ 2260354 h 6557032"/>
              <a:gd name="connsiteX6141" fmla="*/ 967574 w 4610101"/>
              <a:gd name="connsiteY6141" fmla="*/ 2247598 h 6557032"/>
              <a:gd name="connsiteX6142" fmla="*/ 974863 w 4610101"/>
              <a:gd name="connsiteY6142" fmla="*/ 2243953 h 6557032"/>
              <a:gd name="connsiteX6143" fmla="*/ 982152 w 4610101"/>
              <a:gd name="connsiteY6143" fmla="*/ 2242130 h 6557032"/>
              <a:gd name="connsiteX6144" fmla="*/ 1157081 w 4610101"/>
              <a:gd name="connsiteY6144" fmla="*/ 2240312 h 6557032"/>
              <a:gd name="connsiteX6145" fmla="*/ 1153436 w 4610101"/>
              <a:gd name="connsiteY6145" fmla="*/ 2242134 h 6557032"/>
              <a:gd name="connsiteX6146" fmla="*/ 1151614 w 4610101"/>
              <a:gd name="connsiteY6146" fmla="*/ 2254890 h 6557032"/>
              <a:gd name="connsiteX6147" fmla="*/ 1138859 w 4610101"/>
              <a:gd name="connsiteY6147" fmla="*/ 2265823 h 6557032"/>
              <a:gd name="connsiteX6148" fmla="*/ 1115171 w 4610101"/>
              <a:gd name="connsiteY6148" fmla="*/ 2278579 h 6557032"/>
              <a:gd name="connsiteX6149" fmla="*/ 1111526 w 4610101"/>
              <a:gd name="connsiteY6149" fmla="*/ 2282225 h 6557032"/>
              <a:gd name="connsiteX6150" fmla="*/ 1113348 w 4610101"/>
              <a:gd name="connsiteY6150" fmla="*/ 2287691 h 6557032"/>
              <a:gd name="connsiteX6151" fmla="*/ 1107881 w 4610101"/>
              <a:gd name="connsiteY6151" fmla="*/ 2285870 h 6557032"/>
              <a:gd name="connsiteX6152" fmla="*/ 1107881 w 4610101"/>
              <a:gd name="connsiteY6152" fmla="*/ 2294981 h 6557032"/>
              <a:gd name="connsiteX6153" fmla="*/ 1085213 w 4610101"/>
              <a:gd name="connsiteY6153" fmla="*/ 2307575 h 6557032"/>
              <a:gd name="connsiteX6154" fmla="*/ 1094166 w 4610101"/>
              <a:gd name="connsiteY6154" fmla="*/ 2307662 h 6557032"/>
              <a:gd name="connsiteX6155" fmla="*/ 1100593 w 4610101"/>
              <a:gd name="connsiteY6155" fmla="*/ 2304091 h 6557032"/>
              <a:gd name="connsiteX6156" fmla="*/ 1113348 w 4610101"/>
              <a:gd name="connsiteY6156" fmla="*/ 2298624 h 6557032"/>
              <a:gd name="connsiteX6157" fmla="*/ 1116992 w 4610101"/>
              <a:gd name="connsiteY6157" fmla="*/ 2294980 h 6557032"/>
              <a:gd name="connsiteX6158" fmla="*/ 1126103 w 4610101"/>
              <a:gd name="connsiteY6158" fmla="*/ 2298624 h 6557032"/>
              <a:gd name="connsiteX6159" fmla="*/ 1124281 w 4610101"/>
              <a:gd name="connsiteY6159" fmla="*/ 2293157 h 6557032"/>
              <a:gd name="connsiteX6160" fmla="*/ 1129748 w 4610101"/>
              <a:gd name="connsiteY6160" fmla="*/ 2289513 h 6557032"/>
              <a:gd name="connsiteX6161" fmla="*/ 1127926 w 4610101"/>
              <a:gd name="connsiteY6161" fmla="*/ 2287691 h 6557032"/>
              <a:gd name="connsiteX6162" fmla="*/ 1151614 w 4610101"/>
              <a:gd name="connsiteY6162" fmla="*/ 2269468 h 6557032"/>
              <a:gd name="connsiteX6163" fmla="*/ 1157080 w 4610101"/>
              <a:gd name="connsiteY6163" fmla="*/ 2264783 h 6557032"/>
              <a:gd name="connsiteX6164" fmla="*/ 1135215 w 4610101"/>
              <a:gd name="connsiteY6164" fmla="*/ 2280402 h 6557032"/>
              <a:gd name="connsiteX6165" fmla="*/ 1116993 w 4610101"/>
              <a:gd name="connsiteY6165" fmla="*/ 2289513 h 6557032"/>
              <a:gd name="connsiteX6166" fmla="*/ 1120637 w 4610101"/>
              <a:gd name="connsiteY6166" fmla="*/ 2282224 h 6557032"/>
              <a:gd name="connsiteX6167" fmla="*/ 1124282 w 4610101"/>
              <a:gd name="connsiteY6167" fmla="*/ 2276757 h 6557032"/>
              <a:gd name="connsiteX6168" fmla="*/ 1142503 w 4610101"/>
              <a:gd name="connsiteY6168" fmla="*/ 2267646 h 6557032"/>
              <a:gd name="connsiteX6169" fmla="*/ 1147970 w 4610101"/>
              <a:gd name="connsiteY6169" fmla="*/ 2264001 h 6557032"/>
              <a:gd name="connsiteX6170" fmla="*/ 1146148 w 4610101"/>
              <a:gd name="connsiteY6170" fmla="*/ 2264001 h 6557032"/>
              <a:gd name="connsiteX6171" fmla="*/ 1151614 w 4610101"/>
              <a:gd name="connsiteY6171" fmla="*/ 2258535 h 6557032"/>
              <a:gd name="connsiteX6172" fmla="*/ 1153436 w 4610101"/>
              <a:gd name="connsiteY6172" fmla="*/ 2262179 h 6557032"/>
              <a:gd name="connsiteX6173" fmla="*/ 1151614 w 4610101"/>
              <a:gd name="connsiteY6173" fmla="*/ 2256712 h 6557032"/>
              <a:gd name="connsiteX6174" fmla="*/ 1158903 w 4610101"/>
              <a:gd name="connsiteY6174" fmla="*/ 2258535 h 6557032"/>
              <a:gd name="connsiteX6175" fmla="*/ 1157081 w 4610101"/>
              <a:gd name="connsiteY6175" fmla="*/ 2254890 h 6557032"/>
              <a:gd name="connsiteX6176" fmla="*/ 1162547 w 4610101"/>
              <a:gd name="connsiteY6176" fmla="*/ 2253067 h 6557032"/>
              <a:gd name="connsiteX6177" fmla="*/ 1158903 w 4610101"/>
              <a:gd name="connsiteY6177" fmla="*/ 2251245 h 6557032"/>
              <a:gd name="connsiteX6178" fmla="*/ 1162547 w 4610101"/>
              <a:gd name="connsiteY6178" fmla="*/ 2243956 h 6557032"/>
              <a:gd name="connsiteX6179" fmla="*/ 1158903 w 4610101"/>
              <a:gd name="connsiteY6179" fmla="*/ 2245778 h 6557032"/>
              <a:gd name="connsiteX6180" fmla="*/ 1157081 w 4610101"/>
              <a:gd name="connsiteY6180" fmla="*/ 2240312 h 6557032"/>
              <a:gd name="connsiteX6181" fmla="*/ 2869925 w 4610101"/>
              <a:gd name="connsiteY6181" fmla="*/ 2236661 h 6557032"/>
              <a:gd name="connsiteX6182" fmla="*/ 2868103 w 4610101"/>
              <a:gd name="connsiteY6182" fmla="*/ 2243950 h 6557032"/>
              <a:gd name="connsiteX6183" fmla="*/ 2869925 w 4610101"/>
              <a:gd name="connsiteY6183" fmla="*/ 2243950 h 6557032"/>
              <a:gd name="connsiteX6184" fmla="*/ 2871747 w 4610101"/>
              <a:gd name="connsiteY6184" fmla="*/ 2236661 h 6557032"/>
              <a:gd name="connsiteX6185" fmla="*/ 2869925 w 4610101"/>
              <a:gd name="connsiteY6185" fmla="*/ 2236661 h 6557032"/>
              <a:gd name="connsiteX6186" fmla="*/ 3363734 w 4610101"/>
              <a:gd name="connsiteY6186" fmla="*/ 2233017 h 6557032"/>
              <a:gd name="connsiteX6187" fmla="*/ 3369201 w 4610101"/>
              <a:gd name="connsiteY6187" fmla="*/ 2233017 h 6557032"/>
              <a:gd name="connsiteX6188" fmla="*/ 3363734 w 4610101"/>
              <a:gd name="connsiteY6188" fmla="*/ 2233017 h 6557032"/>
              <a:gd name="connsiteX6189" fmla="*/ 3387421 w 4610101"/>
              <a:gd name="connsiteY6189" fmla="*/ 2231194 h 6557032"/>
              <a:gd name="connsiteX6190" fmla="*/ 3416576 w 4610101"/>
              <a:gd name="connsiteY6190" fmla="*/ 2231194 h 6557032"/>
              <a:gd name="connsiteX6191" fmla="*/ 3403820 w 4610101"/>
              <a:gd name="connsiteY6191" fmla="*/ 2236661 h 6557032"/>
              <a:gd name="connsiteX6192" fmla="*/ 3409287 w 4610101"/>
              <a:gd name="connsiteY6192" fmla="*/ 2249416 h 6557032"/>
              <a:gd name="connsiteX6193" fmla="*/ 3400176 w 4610101"/>
              <a:gd name="connsiteY6193" fmla="*/ 2251238 h 6557032"/>
              <a:gd name="connsiteX6194" fmla="*/ 3401998 w 4610101"/>
              <a:gd name="connsiteY6194" fmla="*/ 2260350 h 6557032"/>
              <a:gd name="connsiteX6195" fmla="*/ 3412931 w 4610101"/>
              <a:gd name="connsiteY6195" fmla="*/ 2258527 h 6557032"/>
              <a:gd name="connsiteX6196" fmla="*/ 3420220 w 4610101"/>
              <a:gd name="connsiteY6196" fmla="*/ 2276750 h 6557032"/>
              <a:gd name="connsiteX6197" fmla="*/ 3422042 w 4610101"/>
              <a:gd name="connsiteY6197" fmla="*/ 2276750 h 6557032"/>
              <a:gd name="connsiteX6198" fmla="*/ 3423864 w 4610101"/>
              <a:gd name="connsiteY6198" fmla="*/ 2278572 h 6557032"/>
              <a:gd name="connsiteX6199" fmla="*/ 3451197 w 4610101"/>
              <a:gd name="connsiteY6199" fmla="*/ 2282216 h 6557032"/>
              <a:gd name="connsiteX6200" fmla="*/ 3460308 w 4610101"/>
              <a:gd name="connsiteY6200" fmla="*/ 2284038 h 6557032"/>
              <a:gd name="connsiteX6201" fmla="*/ 3463952 w 4610101"/>
              <a:gd name="connsiteY6201" fmla="*/ 2287683 h 6557032"/>
              <a:gd name="connsiteX6202" fmla="*/ 3396532 w 4610101"/>
              <a:gd name="connsiteY6202" fmla="*/ 2282216 h 6557032"/>
              <a:gd name="connsiteX6203" fmla="*/ 3396532 w 4610101"/>
              <a:gd name="connsiteY6203" fmla="*/ 2291327 h 6557032"/>
              <a:gd name="connsiteX6204" fmla="*/ 3422042 w 4610101"/>
              <a:gd name="connsiteY6204" fmla="*/ 2302260 h 6557032"/>
              <a:gd name="connsiteX6205" fmla="*/ 3420220 w 4610101"/>
              <a:gd name="connsiteY6205" fmla="*/ 2309550 h 6557032"/>
              <a:gd name="connsiteX6206" fmla="*/ 3407465 w 4610101"/>
              <a:gd name="connsiteY6206" fmla="*/ 2309550 h 6557032"/>
              <a:gd name="connsiteX6207" fmla="*/ 3407465 w 4610101"/>
              <a:gd name="connsiteY6207" fmla="*/ 2315015 h 6557032"/>
              <a:gd name="connsiteX6208" fmla="*/ 3418398 w 4610101"/>
              <a:gd name="connsiteY6208" fmla="*/ 2320482 h 6557032"/>
              <a:gd name="connsiteX6209" fmla="*/ 3416576 w 4610101"/>
              <a:gd name="connsiteY6209" fmla="*/ 2324126 h 6557032"/>
              <a:gd name="connsiteX6210" fmla="*/ 3411109 w 4610101"/>
              <a:gd name="connsiteY6210" fmla="*/ 2324126 h 6557032"/>
              <a:gd name="connsiteX6211" fmla="*/ 3403820 w 4610101"/>
              <a:gd name="connsiteY6211" fmla="*/ 2331416 h 6557032"/>
              <a:gd name="connsiteX6212" fmla="*/ 3403820 w 4610101"/>
              <a:gd name="connsiteY6212" fmla="*/ 2333238 h 6557032"/>
              <a:gd name="connsiteX6213" fmla="*/ 3411109 w 4610101"/>
              <a:gd name="connsiteY6213" fmla="*/ 2340526 h 6557032"/>
              <a:gd name="connsiteX6214" fmla="*/ 3387421 w 4610101"/>
              <a:gd name="connsiteY6214" fmla="*/ 2331416 h 6557032"/>
              <a:gd name="connsiteX6215" fmla="*/ 3392887 w 4610101"/>
              <a:gd name="connsiteY6215" fmla="*/ 2309550 h 6557032"/>
              <a:gd name="connsiteX6216" fmla="*/ 3371021 w 4610101"/>
              <a:gd name="connsiteY6216" fmla="*/ 2318660 h 6557032"/>
              <a:gd name="connsiteX6217" fmla="*/ 3378310 w 4610101"/>
              <a:gd name="connsiteY6217" fmla="*/ 2331416 h 6557032"/>
              <a:gd name="connsiteX6218" fmla="*/ 3278090 w 4610101"/>
              <a:gd name="connsiteY6218" fmla="*/ 2247594 h 6557032"/>
              <a:gd name="connsiteX6219" fmla="*/ 3350977 w 4610101"/>
              <a:gd name="connsiteY6219" fmla="*/ 2234839 h 6557032"/>
              <a:gd name="connsiteX6220" fmla="*/ 3343689 w 4610101"/>
              <a:gd name="connsiteY6220" fmla="*/ 2243950 h 6557032"/>
              <a:gd name="connsiteX6221" fmla="*/ 3365555 w 4610101"/>
              <a:gd name="connsiteY6221" fmla="*/ 2243950 h 6557032"/>
              <a:gd name="connsiteX6222" fmla="*/ 3387421 w 4610101"/>
              <a:gd name="connsiteY6222" fmla="*/ 2231194 h 6557032"/>
              <a:gd name="connsiteX6223" fmla="*/ 1208102 w 4610101"/>
              <a:gd name="connsiteY6223" fmla="*/ 2227556 h 6557032"/>
              <a:gd name="connsiteX6224" fmla="*/ 1209925 w 4610101"/>
              <a:gd name="connsiteY6224" fmla="*/ 2236668 h 6557032"/>
              <a:gd name="connsiteX6225" fmla="*/ 1206279 w 4610101"/>
              <a:gd name="connsiteY6225" fmla="*/ 2233024 h 6557032"/>
              <a:gd name="connsiteX6226" fmla="*/ 1208102 w 4610101"/>
              <a:gd name="connsiteY6226" fmla="*/ 2243957 h 6557032"/>
              <a:gd name="connsiteX6227" fmla="*/ 1204457 w 4610101"/>
              <a:gd name="connsiteY6227" fmla="*/ 2245780 h 6557032"/>
              <a:gd name="connsiteX6228" fmla="*/ 1204457 w 4610101"/>
              <a:gd name="connsiteY6228" fmla="*/ 2229378 h 6557032"/>
              <a:gd name="connsiteX6229" fmla="*/ 1208102 w 4610101"/>
              <a:gd name="connsiteY6229" fmla="*/ 2227556 h 6557032"/>
              <a:gd name="connsiteX6230" fmla="*/ 1009485 w 4610101"/>
              <a:gd name="connsiteY6230" fmla="*/ 2227556 h 6557032"/>
              <a:gd name="connsiteX6231" fmla="*/ 1009485 w 4610101"/>
              <a:gd name="connsiteY6231" fmla="*/ 2238489 h 6557032"/>
              <a:gd name="connsiteX6232" fmla="*/ 994907 w 4610101"/>
              <a:gd name="connsiteY6232" fmla="*/ 2247601 h 6557032"/>
              <a:gd name="connsiteX6233" fmla="*/ 985796 w 4610101"/>
              <a:gd name="connsiteY6233" fmla="*/ 2236668 h 6557032"/>
              <a:gd name="connsiteX6234" fmla="*/ 989441 w 4610101"/>
              <a:gd name="connsiteY6234" fmla="*/ 2234845 h 6557032"/>
              <a:gd name="connsiteX6235" fmla="*/ 993085 w 4610101"/>
              <a:gd name="connsiteY6235" fmla="*/ 2238489 h 6557032"/>
              <a:gd name="connsiteX6236" fmla="*/ 996729 w 4610101"/>
              <a:gd name="connsiteY6236" fmla="*/ 2233024 h 6557032"/>
              <a:gd name="connsiteX6237" fmla="*/ 1009485 w 4610101"/>
              <a:gd name="connsiteY6237" fmla="*/ 2227556 h 6557032"/>
              <a:gd name="connsiteX6238" fmla="*/ 1023378 w 4610101"/>
              <a:gd name="connsiteY6238" fmla="*/ 2227326 h 6557032"/>
              <a:gd name="connsiteX6239" fmla="*/ 1027707 w 4610101"/>
              <a:gd name="connsiteY6239" fmla="*/ 2227552 h 6557032"/>
              <a:gd name="connsiteX6240" fmla="*/ 1020417 w 4610101"/>
              <a:gd name="connsiteY6240" fmla="*/ 2231196 h 6557032"/>
              <a:gd name="connsiteX6241" fmla="*/ 1023378 w 4610101"/>
              <a:gd name="connsiteY6241" fmla="*/ 2227326 h 6557032"/>
              <a:gd name="connsiteX6242" fmla="*/ 2993832 w 4610101"/>
              <a:gd name="connsiteY6242" fmla="*/ 2220260 h 6557032"/>
              <a:gd name="connsiteX6243" fmla="*/ 2994288 w 4610101"/>
              <a:gd name="connsiteY6243" fmla="*/ 2220260 h 6557032"/>
              <a:gd name="connsiteX6244" fmla="*/ 2996565 w 4610101"/>
              <a:gd name="connsiteY6244" fmla="*/ 2220260 h 6557032"/>
              <a:gd name="connsiteX6245" fmla="*/ 2995447 w 4610101"/>
              <a:gd name="connsiteY6245" fmla="*/ 2221006 h 6557032"/>
              <a:gd name="connsiteX6246" fmla="*/ 1058684 w 4610101"/>
              <a:gd name="connsiteY6246" fmla="*/ 2216618 h 6557032"/>
              <a:gd name="connsiteX6247" fmla="*/ 1031351 w 4610101"/>
              <a:gd name="connsiteY6247" fmla="*/ 2225729 h 6557032"/>
              <a:gd name="connsiteX6248" fmla="*/ 1027707 w 4610101"/>
              <a:gd name="connsiteY6248" fmla="*/ 2222085 h 6557032"/>
              <a:gd name="connsiteX6249" fmla="*/ 1058684 w 4610101"/>
              <a:gd name="connsiteY6249" fmla="*/ 2216618 h 6557032"/>
              <a:gd name="connsiteX6250" fmla="*/ 2603887 w 4610101"/>
              <a:gd name="connsiteY6250" fmla="*/ 2214952 h 6557032"/>
              <a:gd name="connsiteX6251" fmla="*/ 2612997 w 4610101"/>
              <a:gd name="connsiteY6251" fmla="*/ 2216779 h 6557032"/>
              <a:gd name="connsiteX6252" fmla="*/ 2612997 w 4610101"/>
              <a:gd name="connsiteY6252" fmla="*/ 2222253 h 6557032"/>
              <a:gd name="connsiteX6253" fmla="*/ 2605709 w 4610101"/>
              <a:gd name="connsiteY6253" fmla="*/ 2224075 h 6557032"/>
              <a:gd name="connsiteX6254" fmla="*/ 2600242 w 4610101"/>
              <a:gd name="connsiteY6254" fmla="*/ 2218603 h 6557032"/>
              <a:gd name="connsiteX6255" fmla="*/ 4433349 w 4610101"/>
              <a:gd name="connsiteY6255" fmla="*/ 2214920 h 6557032"/>
              <a:gd name="connsiteX6256" fmla="*/ 4458861 w 4610101"/>
              <a:gd name="connsiteY6256" fmla="*/ 2234983 h 6557032"/>
              <a:gd name="connsiteX6257" fmla="*/ 4440638 w 4610101"/>
              <a:gd name="connsiteY6257" fmla="*/ 2244105 h 6557032"/>
              <a:gd name="connsiteX6258" fmla="*/ 1217214 w 4610101"/>
              <a:gd name="connsiteY6258" fmla="*/ 2214800 h 6557032"/>
              <a:gd name="connsiteX6259" fmla="*/ 1215391 w 4610101"/>
              <a:gd name="connsiteY6259" fmla="*/ 2222089 h 6557032"/>
              <a:gd name="connsiteX6260" fmla="*/ 1213239 w 4610101"/>
              <a:gd name="connsiteY6260" fmla="*/ 2224076 h 6557032"/>
              <a:gd name="connsiteX6261" fmla="*/ 1213568 w 4610101"/>
              <a:gd name="connsiteY6261" fmla="*/ 2223911 h 6557032"/>
              <a:gd name="connsiteX6262" fmla="*/ 1213568 w 4610101"/>
              <a:gd name="connsiteY6262" fmla="*/ 2234844 h 6557032"/>
              <a:gd name="connsiteX6263" fmla="*/ 1211745 w 4610101"/>
              <a:gd name="connsiteY6263" fmla="*/ 2230973 h 6557032"/>
              <a:gd name="connsiteX6264" fmla="*/ 1210115 w 4610101"/>
              <a:gd name="connsiteY6264" fmla="*/ 2226285 h 6557032"/>
              <a:gd name="connsiteX6265" fmla="*/ 1208103 w 4610101"/>
              <a:gd name="connsiteY6265" fmla="*/ 2227556 h 6557032"/>
              <a:gd name="connsiteX6266" fmla="*/ 1206280 w 4610101"/>
              <a:gd name="connsiteY6266" fmla="*/ 2225734 h 6557032"/>
              <a:gd name="connsiteX6267" fmla="*/ 1202636 w 4610101"/>
              <a:gd name="connsiteY6267" fmla="*/ 2231200 h 6557032"/>
              <a:gd name="connsiteX6268" fmla="*/ 1197170 w 4610101"/>
              <a:gd name="connsiteY6268" fmla="*/ 2222089 h 6557032"/>
              <a:gd name="connsiteX6269" fmla="*/ 1195347 w 4610101"/>
              <a:gd name="connsiteY6269" fmla="*/ 2234844 h 6557032"/>
              <a:gd name="connsiteX6270" fmla="*/ 1169836 w 4610101"/>
              <a:gd name="connsiteY6270" fmla="*/ 2254890 h 6557032"/>
              <a:gd name="connsiteX6271" fmla="*/ 1166192 w 4610101"/>
              <a:gd name="connsiteY6271" fmla="*/ 2256712 h 6557032"/>
              <a:gd name="connsiteX6272" fmla="*/ 1164370 w 4610101"/>
              <a:gd name="connsiteY6272" fmla="*/ 2258534 h 6557032"/>
              <a:gd name="connsiteX6273" fmla="*/ 1171658 w 4610101"/>
              <a:gd name="connsiteY6273" fmla="*/ 2256712 h 6557032"/>
              <a:gd name="connsiteX6274" fmla="*/ 1175302 w 4610101"/>
              <a:gd name="connsiteY6274" fmla="*/ 2251245 h 6557032"/>
              <a:gd name="connsiteX6275" fmla="*/ 1193525 w 4610101"/>
              <a:gd name="connsiteY6275" fmla="*/ 2242134 h 6557032"/>
              <a:gd name="connsiteX6276" fmla="*/ 1191703 w 4610101"/>
              <a:gd name="connsiteY6276" fmla="*/ 2240312 h 6557032"/>
              <a:gd name="connsiteX6277" fmla="*/ 1198991 w 4610101"/>
              <a:gd name="connsiteY6277" fmla="*/ 2234844 h 6557032"/>
              <a:gd name="connsiteX6278" fmla="*/ 1204458 w 4610101"/>
              <a:gd name="connsiteY6278" fmla="*/ 2253067 h 6557032"/>
              <a:gd name="connsiteX6279" fmla="*/ 1198991 w 4610101"/>
              <a:gd name="connsiteY6279" fmla="*/ 2249423 h 6557032"/>
              <a:gd name="connsiteX6280" fmla="*/ 1182592 w 4610101"/>
              <a:gd name="connsiteY6280" fmla="*/ 2253067 h 6557032"/>
              <a:gd name="connsiteX6281" fmla="*/ 1200814 w 4610101"/>
              <a:gd name="connsiteY6281" fmla="*/ 2253067 h 6557032"/>
              <a:gd name="connsiteX6282" fmla="*/ 1198991 w 4610101"/>
              <a:gd name="connsiteY6282" fmla="*/ 2256712 h 6557032"/>
              <a:gd name="connsiteX6283" fmla="*/ 1200814 w 4610101"/>
              <a:gd name="connsiteY6283" fmla="*/ 2258534 h 6557032"/>
              <a:gd name="connsiteX6284" fmla="*/ 1198229 w 4610101"/>
              <a:gd name="connsiteY6284" fmla="*/ 2262225 h 6557032"/>
              <a:gd name="connsiteX6285" fmla="*/ 1208102 w 4610101"/>
              <a:gd name="connsiteY6285" fmla="*/ 2256703 h 6557032"/>
              <a:gd name="connsiteX6286" fmla="*/ 1208951 w 4610101"/>
              <a:gd name="connsiteY6286" fmla="*/ 2258402 h 6557032"/>
              <a:gd name="connsiteX6287" fmla="*/ 1213568 w 4610101"/>
              <a:gd name="connsiteY6287" fmla="*/ 2256713 h 6557032"/>
              <a:gd name="connsiteX6288" fmla="*/ 1213568 w 4610101"/>
              <a:gd name="connsiteY6288" fmla="*/ 2258536 h 6557032"/>
              <a:gd name="connsiteX6289" fmla="*/ 1210101 w 4610101"/>
              <a:gd name="connsiteY6289" fmla="*/ 2260702 h 6557032"/>
              <a:gd name="connsiteX6290" fmla="*/ 1211747 w 4610101"/>
              <a:gd name="connsiteY6290" fmla="*/ 2263991 h 6557032"/>
              <a:gd name="connsiteX6291" fmla="*/ 1197169 w 4610101"/>
              <a:gd name="connsiteY6291" fmla="*/ 2273102 h 6557032"/>
              <a:gd name="connsiteX6292" fmla="*/ 1215390 w 4610101"/>
              <a:gd name="connsiteY6292" fmla="*/ 2263991 h 6557032"/>
              <a:gd name="connsiteX6293" fmla="*/ 1219036 w 4610101"/>
              <a:gd name="connsiteY6293" fmla="*/ 2269459 h 6557032"/>
              <a:gd name="connsiteX6294" fmla="*/ 1211747 w 4610101"/>
              <a:gd name="connsiteY6294" fmla="*/ 2280391 h 6557032"/>
              <a:gd name="connsiteX6295" fmla="*/ 1219036 w 4610101"/>
              <a:gd name="connsiteY6295" fmla="*/ 2271280 h 6557032"/>
              <a:gd name="connsiteX6296" fmla="*/ 1219036 w 4610101"/>
              <a:gd name="connsiteY6296" fmla="*/ 2280391 h 6557032"/>
              <a:gd name="connsiteX6297" fmla="*/ 1220856 w 4610101"/>
              <a:gd name="connsiteY6297" fmla="*/ 2282212 h 6557032"/>
              <a:gd name="connsiteX6298" fmla="*/ 1220856 w 4610101"/>
              <a:gd name="connsiteY6298" fmla="*/ 2278573 h 6557032"/>
              <a:gd name="connsiteX6299" fmla="*/ 1224501 w 4610101"/>
              <a:gd name="connsiteY6299" fmla="*/ 2282218 h 6557032"/>
              <a:gd name="connsiteX6300" fmla="*/ 1220862 w 4610101"/>
              <a:gd name="connsiteY6300" fmla="*/ 2282218 h 6557032"/>
              <a:gd name="connsiteX6301" fmla="*/ 1228146 w 4610101"/>
              <a:gd name="connsiteY6301" fmla="*/ 2289502 h 6557032"/>
              <a:gd name="connsiteX6302" fmla="*/ 1228146 w 4610101"/>
              <a:gd name="connsiteY6302" fmla="*/ 2276746 h 6557032"/>
              <a:gd name="connsiteX6303" fmla="*/ 1235434 w 4610101"/>
              <a:gd name="connsiteY6303" fmla="*/ 2280391 h 6557032"/>
              <a:gd name="connsiteX6304" fmla="*/ 1240901 w 4610101"/>
              <a:gd name="connsiteY6304" fmla="*/ 2276746 h 6557032"/>
              <a:gd name="connsiteX6305" fmla="*/ 1231790 w 4610101"/>
              <a:gd name="connsiteY6305" fmla="*/ 2265813 h 6557032"/>
              <a:gd name="connsiteX6306" fmla="*/ 1235434 w 4610101"/>
              <a:gd name="connsiteY6306" fmla="*/ 2262169 h 6557032"/>
              <a:gd name="connsiteX6307" fmla="*/ 1224501 w 4610101"/>
              <a:gd name="connsiteY6307" fmla="*/ 2263991 h 6557032"/>
              <a:gd name="connsiteX6308" fmla="*/ 1224501 w 4610101"/>
              <a:gd name="connsiteY6308" fmla="*/ 2262169 h 6557032"/>
              <a:gd name="connsiteX6309" fmla="*/ 1220858 w 4610101"/>
              <a:gd name="connsiteY6309" fmla="*/ 2262169 h 6557032"/>
              <a:gd name="connsiteX6310" fmla="*/ 1220858 w 4610101"/>
              <a:gd name="connsiteY6310" fmla="*/ 2258525 h 6557032"/>
              <a:gd name="connsiteX6311" fmla="*/ 1224623 w 4610101"/>
              <a:gd name="connsiteY6311" fmla="*/ 2255857 h 6557032"/>
              <a:gd name="connsiteX6312" fmla="*/ 1220630 w 4610101"/>
              <a:gd name="connsiteY6312" fmla="*/ 2254890 h 6557032"/>
              <a:gd name="connsiteX6313" fmla="*/ 1212201 w 4610101"/>
              <a:gd name="connsiteY6313" fmla="*/ 2253161 h 6557032"/>
              <a:gd name="connsiteX6314" fmla="*/ 1206279 w 4610101"/>
              <a:gd name="connsiteY6314" fmla="*/ 2256713 h 6557032"/>
              <a:gd name="connsiteX6315" fmla="*/ 1211747 w 4610101"/>
              <a:gd name="connsiteY6315" fmla="*/ 2249424 h 6557032"/>
              <a:gd name="connsiteX6316" fmla="*/ 1212037 w 4610101"/>
              <a:gd name="connsiteY6316" fmla="*/ 2249570 h 6557032"/>
              <a:gd name="connsiteX6317" fmla="*/ 1213569 w 4610101"/>
              <a:gd name="connsiteY6317" fmla="*/ 2247601 h 6557032"/>
              <a:gd name="connsiteX6318" fmla="*/ 1231791 w 4610101"/>
              <a:gd name="connsiteY6318" fmla="*/ 2247601 h 6557032"/>
              <a:gd name="connsiteX6319" fmla="*/ 1220858 w 4610101"/>
              <a:gd name="connsiteY6319" fmla="*/ 2243956 h 6557032"/>
              <a:gd name="connsiteX6320" fmla="*/ 1222680 w 4610101"/>
              <a:gd name="connsiteY6320" fmla="*/ 2242134 h 6557032"/>
              <a:gd name="connsiteX6321" fmla="*/ 1219036 w 4610101"/>
              <a:gd name="connsiteY6321" fmla="*/ 2240312 h 6557032"/>
              <a:gd name="connsiteX6322" fmla="*/ 1226324 w 4610101"/>
              <a:gd name="connsiteY6322" fmla="*/ 2229378 h 6557032"/>
              <a:gd name="connsiteX6323" fmla="*/ 1231791 w 4610101"/>
              <a:gd name="connsiteY6323" fmla="*/ 2229378 h 6557032"/>
              <a:gd name="connsiteX6324" fmla="*/ 1224502 w 4610101"/>
              <a:gd name="connsiteY6324" fmla="*/ 2223910 h 6557032"/>
              <a:gd name="connsiteX6325" fmla="*/ 1226324 w 4610101"/>
              <a:gd name="connsiteY6325" fmla="*/ 2220267 h 6557032"/>
              <a:gd name="connsiteX6326" fmla="*/ 1217214 w 4610101"/>
              <a:gd name="connsiteY6326" fmla="*/ 2223910 h 6557032"/>
              <a:gd name="connsiteX6327" fmla="*/ 1217214 w 4610101"/>
              <a:gd name="connsiteY6327" fmla="*/ 2214800 h 6557032"/>
              <a:gd name="connsiteX6328" fmla="*/ 3317953 w 4610101"/>
              <a:gd name="connsiteY6328" fmla="*/ 2213653 h 6557032"/>
              <a:gd name="connsiteX6329" fmla="*/ 3314536 w 4610101"/>
              <a:gd name="connsiteY6329" fmla="*/ 2214792 h 6557032"/>
              <a:gd name="connsiteX6330" fmla="*/ 3314536 w 4610101"/>
              <a:gd name="connsiteY6330" fmla="*/ 2218437 h 6557032"/>
              <a:gd name="connsiteX6331" fmla="*/ 3320002 w 4610101"/>
              <a:gd name="connsiteY6331" fmla="*/ 2216614 h 6557032"/>
              <a:gd name="connsiteX6332" fmla="*/ 3317953 w 4610101"/>
              <a:gd name="connsiteY6332" fmla="*/ 2213653 h 6557032"/>
              <a:gd name="connsiteX6333" fmla="*/ 993903 w 4610101"/>
              <a:gd name="connsiteY6333" fmla="*/ 2213487 h 6557032"/>
              <a:gd name="connsiteX6334" fmla="*/ 993084 w 4610101"/>
              <a:gd name="connsiteY6334" fmla="*/ 2214798 h 6557032"/>
              <a:gd name="connsiteX6335" fmla="*/ 1013129 w 4610101"/>
              <a:gd name="connsiteY6335" fmla="*/ 2214798 h 6557032"/>
              <a:gd name="connsiteX6336" fmla="*/ 1005840 w 4610101"/>
              <a:gd name="connsiteY6336" fmla="*/ 2220265 h 6557032"/>
              <a:gd name="connsiteX6337" fmla="*/ 1004017 w 4610101"/>
              <a:gd name="connsiteY6337" fmla="*/ 2222087 h 6557032"/>
              <a:gd name="connsiteX6338" fmla="*/ 1000374 w 4610101"/>
              <a:gd name="connsiteY6338" fmla="*/ 2223910 h 6557032"/>
              <a:gd name="connsiteX6339" fmla="*/ 1000374 w 4610101"/>
              <a:gd name="connsiteY6339" fmla="*/ 2222087 h 6557032"/>
              <a:gd name="connsiteX6340" fmla="*/ 976685 w 4610101"/>
              <a:gd name="connsiteY6340" fmla="*/ 2223910 h 6557032"/>
              <a:gd name="connsiteX6341" fmla="*/ 983974 w 4610101"/>
              <a:gd name="connsiteY6341" fmla="*/ 2231200 h 6557032"/>
              <a:gd name="connsiteX6342" fmla="*/ 971219 w 4610101"/>
              <a:gd name="connsiteY6342" fmla="*/ 2234843 h 6557032"/>
              <a:gd name="connsiteX6343" fmla="*/ 969396 w 4610101"/>
              <a:gd name="connsiteY6343" fmla="*/ 2231200 h 6557032"/>
              <a:gd name="connsiteX6344" fmla="*/ 969396 w 4610101"/>
              <a:gd name="connsiteY6344" fmla="*/ 2223910 h 6557032"/>
              <a:gd name="connsiteX6345" fmla="*/ 982835 w 4610101"/>
              <a:gd name="connsiteY6345" fmla="*/ 2219126 h 6557032"/>
              <a:gd name="connsiteX6346" fmla="*/ 994223 w 4610101"/>
              <a:gd name="connsiteY6346" fmla="*/ 2212975 h 6557032"/>
              <a:gd name="connsiteX6347" fmla="*/ 994907 w 4610101"/>
              <a:gd name="connsiteY6347" fmla="*/ 2212975 h 6557032"/>
              <a:gd name="connsiteX6348" fmla="*/ 993903 w 4610101"/>
              <a:gd name="connsiteY6348" fmla="*/ 2213487 h 6557032"/>
              <a:gd name="connsiteX6349" fmla="*/ 3272626 w 4610101"/>
              <a:gd name="connsiteY6349" fmla="*/ 2212970 h 6557032"/>
              <a:gd name="connsiteX6350" fmla="*/ 3268981 w 4610101"/>
              <a:gd name="connsiteY6350" fmla="*/ 2214792 h 6557032"/>
              <a:gd name="connsiteX6351" fmla="*/ 3272626 w 4610101"/>
              <a:gd name="connsiteY6351" fmla="*/ 2216614 h 6557032"/>
              <a:gd name="connsiteX6352" fmla="*/ 3272626 w 4610101"/>
              <a:gd name="connsiteY6352" fmla="*/ 2212970 h 6557032"/>
              <a:gd name="connsiteX6353" fmla="*/ 2984721 w 4610101"/>
              <a:gd name="connsiteY6353" fmla="*/ 2211149 h 6557032"/>
              <a:gd name="connsiteX6354" fmla="*/ 2982899 w 4610101"/>
              <a:gd name="connsiteY6354" fmla="*/ 2218438 h 6557032"/>
              <a:gd name="connsiteX6355" fmla="*/ 2988366 w 4610101"/>
              <a:gd name="connsiteY6355" fmla="*/ 2218438 h 6557032"/>
              <a:gd name="connsiteX6356" fmla="*/ 2990188 w 4610101"/>
              <a:gd name="connsiteY6356" fmla="*/ 2212972 h 6557032"/>
              <a:gd name="connsiteX6357" fmla="*/ 2984721 w 4610101"/>
              <a:gd name="connsiteY6357" fmla="*/ 2211149 h 6557032"/>
              <a:gd name="connsiteX6358" fmla="*/ 3392887 w 4610101"/>
              <a:gd name="connsiteY6358" fmla="*/ 2209329 h 6557032"/>
              <a:gd name="connsiteX6359" fmla="*/ 3409288 w 4610101"/>
              <a:gd name="connsiteY6359" fmla="*/ 2209329 h 6557032"/>
              <a:gd name="connsiteX6360" fmla="*/ 3407466 w 4610101"/>
              <a:gd name="connsiteY6360" fmla="*/ 2212974 h 6557032"/>
              <a:gd name="connsiteX6361" fmla="*/ 3429332 w 4610101"/>
              <a:gd name="connsiteY6361" fmla="*/ 2212974 h 6557032"/>
              <a:gd name="connsiteX6362" fmla="*/ 3451198 w 4610101"/>
              <a:gd name="connsiteY6362" fmla="*/ 2218440 h 6557032"/>
              <a:gd name="connsiteX6363" fmla="*/ 3392887 w 4610101"/>
              <a:gd name="connsiteY6363" fmla="*/ 2216618 h 6557032"/>
              <a:gd name="connsiteX6364" fmla="*/ 3392887 w 4610101"/>
              <a:gd name="connsiteY6364" fmla="*/ 2212974 h 6557032"/>
              <a:gd name="connsiteX6365" fmla="*/ 3392887 w 4610101"/>
              <a:gd name="connsiteY6365" fmla="*/ 2209329 h 6557032"/>
              <a:gd name="connsiteX6366" fmla="*/ 3334580 w 4610101"/>
              <a:gd name="connsiteY6366" fmla="*/ 2207504 h 6557032"/>
              <a:gd name="connsiteX6367" fmla="*/ 3329113 w 4610101"/>
              <a:gd name="connsiteY6367" fmla="*/ 2209326 h 6557032"/>
              <a:gd name="connsiteX6368" fmla="*/ 3330935 w 4610101"/>
              <a:gd name="connsiteY6368" fmla="*/ 2212970 h 6557032"/>
              <a:gd name="connsiteX6369" fmla="*/ 3336402 w 4610101"/>
              <a:gd name="connsiteY6369" fmla="*/ 2211148 h 6557032"/>
              <a:gd name="connsiteX6370" fmla="*/ 3334580 w 4610101"/>
              <a:gd name="connsiteY6370" fmla="*/ 2207504 h 6557032"/>
              <a:gd name="connsiteX6371" fmla="*/ 2971966 w 4610101"/>
              <a:gd name="connsiteY6371" fmla="*/ 2205683 h 6557032"/>
              <a:gd name="connsiteX6372" fmla="*/ 2970144 w 4610101"/>
              <a:gd name="connsiteY6372" fmla="*/ 2212972 h 6557032"/>
              <a:gd name="connsiteX6373" fmla="*/ 2971966 w 4610101"/>
              <a:gd name="connsiteY6373" fmla="*/ 2205683 h 6557032"/>
              <a:gd name="connsiteX6374" fmla="*/ 3292670 w 4610101"/>
              <a:gd name="connsiteY6374" fmla="*/ 2203859 h 6557032"/>
              <a:gd name="connsiteX6375" fmla="*/ 3281737 w 4610101"/>
              <a:gd name="connsiteY6375" fmla="*/ 2207504 h 6557032"/>
              <a:gd name="connsiteX6376" fmla="*/ 3279915 w 4610101"/>
              <a:gd name="connsiteY6376" fmla="*/ 2207504 h 6557032"/>
              <a:gd name="connsiteX6377" fmla="*/ 3283559 w 4610101"/>
              <a:gd name="connsiteY6377" fmla="*/ 2209326 h 6557032"/>
              <a:gd name="connsiteX6378" fmla="*/ 3285381 w 4610101"/>
              <a:gd name="connsiteY6378" fmla="*/ 2209326 h 6557032"/>
              <a:gd name="connsiteX6379" fmla="*/ 3292670 w 4610101"/>
              <a:gd name="connsiteY6379" fmla="*/ 2207504 h 6557032"/>
              <a:gd name="connsiteX6380" fmla="*/ 3292670 w 4610101"/>
              <a:gd name="connsiteY6380" fmla="*/ 2203859 h 6557032"/>
              <a:gd name="connsiteX6381" fmla="*/ 3234360 w 4610101"/>
              <a:gd name="connsiteY6381" fmla="*/ 2203859 h 6557032"/>
              <a:gd name="connsiteX6382" fmla="*/ 3234360 w 4610101"/>
              <a:gd name="connsiteY6382" fmla="*/ 2209326 h 6557032"/>
              <a:gd name="connsiteX6383" fmla="*/ 3236182 w 4610101"/>
              <a:gd name="connsiteY6383" fmla="*/ 2203859 h 6557032"/>
              <a:gd name="connsiteX6384" fmla="*/ 3234360 w 4610101"/>
              <a:gd name="connsiteY6384" fmla="*/ 2203859 h 6557032"/>
              <a:gd name="connsiteX6385" fmla="*/ 3305211 w 4610101"/>
              <a:gd name="connsiteY6385" fmla="*/ 2198715 h 6557032"/>
              <a:gd name="connsiteX6386" fmla="*/ 3305425 w 4610101"/>
              <a:gd name="connsiteY6386" fmla="*/ 2200215 h 6557032"/>
              <a:gd name="connsiteX6387" fmla="*/ 3301326 w 4610101"/>
              <a:gd name="connsiteY6387" fmla="*/ 2202947 h 6557032"/>
              <a:gd name="connsiteX6388" fmla="*/ 3299959 w 4610101"/>
              <a:gd name="connsiteY6388" fmla="*/ 2200215 h 6557032"/>
              <a:gd name="connsiteX6389" fmla="*/ 4012428 w 4610101"/>
              <a:gd name="connsiteY6389" fmla="*/ 2198487 h 6557032"/>
              <a:gd name="connsiteX6390" fmla="*/ 4034294 w 4610101"/>
              <a:gd name="connsiteY6390" fmla="*/ 2198487 h 6557032"/>
              <a:gd name="connsiteX6391" fmla="*/ 4012428 w 4610101"/>
              <a:gd name="connsiteY6391" fmla="*/ 2213080 h 6557032"/>
              <a:gd name="connsiteX6392" fmla="*/ 1044105 w 4610101"/>
              <a:gd name="connsiteY6392" fmla="*/ 2194751 h 6557032"/>
              <a:gd name="connsiteX6393" fmla="*/ 1056860 w 4610101"/>
              <a:gd name="connsiteY6393" fmla="*/ 2207507 h 6557032"/>
              <a:gd name="connsiteX6394" fmla="*/ 1033172 w 4610101"/>
              <a:gd name="connsiteY6394" fmla="*/ 2211151 h 6557032"/>
              <a:gd name="connsiteX6395" fmla="*/ 1031350 w 4610101"/>
              <a:gd name="connsiteY6395" fmla="*/ 2209330 h 6557032"/>
              <a:gd name="connsiteX6396" fmla="*/ 1033172 w 4610101"/>
              <a:gd name="connsiteY6396" fmla="*/ 2207507 h 6557032"/>
              <a:gd name="connsiteX6397" fmla="*/ 1029528 w 4610101"/>
              <a:gd name="connsiteY6397" fmla="*/ 2205684 h 6557032"/>
              <a:gd name="connsiteX6398" fmla="*/ 1033172 w 4610101"/>
              <a:gd name="connsiteY6398" fmla="*/ 2203863 h 6557032"/>
              <a:gd name="connsiteX6399" fmla="*/ 1033172 w 4610101"/>
              <a:gd name="connsiteY6399" fmla="*/ 2198396 h 6557032"/>
              <a:gd name="connsiteX6400" fmla="*/ 1044105 w 4610101"/>
              <a:gd name="connsiteY6400" fmla="*/ 2194751 h 6557032"/>
              <a:gd name="connsiteX6401" fmla="*/ 3247115 w 4610101"/>
              <a:gd name="connsiteY6401" fmla="*/ 2194748 h 6557032"/>
              <a:gd name="connsiteX6402" fmla="*/ 3247115 w 4610101"/>
              <a:gd name="connsiteY6402" fmla="*/ 2200215 h 6557032"/>
              <a:gd name="connsiteX6403" fmla="*/ 3247115 w 4610101"/>
              <a:gd name="connsiteY6403" fmla="*/ 2194748 h 6557032"/>
              <a:gd name="connsiteX6404" fmla="*/ 3203383 w 4610101"/>
              <a:gd name="connsiteY6404" fmla="*/ 2194748 h 6557032"/>
              <a:gd name="connsiteX6405" fmla="*/ 3203383 w 4610101"/>
              <a:gd name="connsiteY6405" fmla="*/ 2198393 h 6557032"/>
              <a:gd name="connsiteX6406" fmla="*/ 3207028 w 4610101"/>
              <a:gd name="connsiteY6406" fmla="*/ 2196571 h 6557032"/>
              <a:gd name="connsiteX6407" fmla="*/ 3203383 w 4610101"/>
              <a:gd name="connsiteY6407" fmla="*/ 2194748 h 6557032"/>
              <a:gd name="connsiteX6408" fmla="*/ 927487 w 4610101"/>
              <a:gd name="connsiteY6408" fmla="*/ 2193014 h 6557032"/>
              <a:gd name="connsiteX6409" fmla="*/ 943886 w 4610101"/>
              <a:gd name="connsiteY6409" fmla="*/ 2203956 h 6557032"/>
              <a:gd name="connsiteX6410" fmla="*/ 932953 w 4610101"/>
              <a:gd name="connsiteY6410" fmla="*/ 2213074 h 6557032"/>
              <a:gd name="connsiteX6411" fmla="*/ 920198 w 4610101"/>
              <a:gd name="connsiteY6411" fmla="*/ 2200309 h 6557032"/>
              <a:gd name="connsiteX6412" fmla="*/ 993084 w 4610101"/>
              <a:gd name="connsiteY6412" fmla="*/ 2192930 h 6557032"/>
              <a:gd name="connsiteX6413" fmla="*/ 1002195 w 4610101"/>
              <a:gd name="connsiteY6413" fmla="*/ 2200220 h 6557032"/>
              <a:gd name="connsiteX6414" fmla="*/ 994223 w 4610101"/>
              <a:gd name="connsiteY6414" fmla="*/ 2212975 h 6557032"/>
              <a:gd name="connsiteX6415" fmla="*/ 985796 w 4610101"/>
              <a:gd name="connsiteY6415" fmla="*/ 2212975 h 6557032"/>
              <a:gd name="connsiteX6416" fmla="*/ 991263 w 4610101"/>
              <a:gd name="connsiteY6416" fmla="*/ 2202042 h 6557032"/>
              <a:gd name="connsiteX6417" fmla="*/ 985796 w 4610101"/>
              <a:gd name="connsiteY6417" fmla="*/ 2200220 h 6557032"/>
              <a:gd name="connsiteX6418" fmla="*/ 3258048 w 4610101"/>
              <a:gd name="connsiteY6418" fmla="*/ 2191104 h 6557032"/>
              <a:gd name="connsiteX6419" fmla="*/ 3258048 w 4610101"/>
              <a:gd name="connsiteY6419" fmla="*/ 2194748 h 6557032"/>
              <a:gd name="connsiteX6420" fmla="*/ 3261693 w 4610101"/>
              <a:gd name="connsiteY6420" fmla="*/ 2192926 h 6557032"/>
              <a:gd name="connsiteX6421" fmla="*/ 3258048 w 4610101"/>
              <a:gd name="connsiteY6421" fmla="*/ 2191104 h 6557032"/>
              <a:gd name="connsiteX6422" fmla="*/ 3498574 w 4610101"/>
              <a:gd name="connsiteY6422" fmla="*/ 2185763 h 6557032"/>
              <a:gd name="connsiteX6423" fmla="*/ 3513151 w 4610101"/>
              <a:gd name="connsiteY6423" fmla="*/ 2185763 h 6557032"/>
              <a:gd name="connsiteX6424" fmla="*/ 3513151 w 4610101"/>
              <a:gd name="connsiteY6424" fmla="*/ 2200359 h 6557032"/>
              <a:gd name="connsiteX6425" fmla="*/ 3527729 w 4610101"/>
              <a:gd name="connsiteY6425" fmla="*/ 2193061 h 6557032"/>
              <a:gd name="connsiteX6426" fmla="*/ 3535017 w 4610101"/>
              <a:gd name="connsiteY6426" fmla="*/ 2207656 h 6557032"/>
              <a:gd name="connsiteX6427" fmla="*/ 3556883 w 4610101"/>
              <a:gd name="connsiteY6427" fmla="*/ 2191239 h 6557032"/>
              <a:gd name="connsiteX6428" fmla="*/ 3558705 w 4610101"/>
              <a:gd name="connsiteY6428" fmla="*/ 2214954 h 6557032"/>
              <a:gd name="connsiteX6429" fmla="*/ 3573283 w 4610101"/>
              <a:gd name="connsiteY6429" fmla="*/ 2207656 h 6557032"/>
              <a:gd name="connsiteX6430" fmla="*/ 3573283 w 4610101"/>
              <a:gd name="connsiteY6430" fmla="*/ 2229548 h 6557032"/>
              <a:gd name="connsiteX6431" fmla="*/ 3551417 w 4610101"/>
              <a:gd name="connsiteY6431" fmla="*/ 2229548 h 6557032"/>
              <a:gd name="connsiteX6432" fmla="*/ 3536839 w 4610101"/>
              <a:gd name="connsiteY6432" fmla="*/ 2222256 h 6557032"/>
              <a:gd name="connsiteX6433" fmla="*/ 3529551 w 4610101"/>
              <a:gd name="connsiteY6433" fmla="*/ 2222256 h 6557032"/>
              <a:gd name="connsiteX6434" fmla="*/ 3508596 w 4610101"/>
              <a:gd name="connsiteY6434" fmla="*/ 2229096 h 6557032"/>
              <a:gd name="connsiteX6435" fmla="*/ 3498601 w 4610101"/>
              <a:gd name="connsiteY6435" fmla="*/ 2244106 h 6557032"/>
              <a:gd name="connsiteX6436" fmla="*/ 3514975 w 4610101"/>
              <a:gd name="connsiteY6436" fmla="*/ 2244106 h 6557032"/>
              <a:gd name="connsiteX6437" fmla="*/ 3520441 w 4610101"/>
              <a:gd name="connsiteY6437" fmla="*/ 2267820 h 6557032"/>
              <a:gd name="connsiteX6438" fmla="*/ 3498575 w 4610101"/>
              <a:gd name="connsiteY6438" fmla="*/ 2265995 h 6557032"/>
              <a:gd name="connsiteX6439" fmla="*/ 3507686 w 4610101"/>
              <a:gd name="connsiteY6439" fmla="*/ 2251403 h 6557032"/>
              <a:gd name="connsiteX6440" fmla="*/ 3498592 w 4610101"/>
              <a:gd name="connsiteY6440" fmla="*/ 2244120 h 6557032"/>
              <a:gd name="connsiteX6441" fmla="*/ 3498574 w 4610101"/>
              <a:gd name="connsiteY6441" fmla="*/ 2244146 h 6557032"/>
              <a:gd name="connsiteX6442" fmla="*/ 3483996 w 4610101"/>
              <a:gd name="connsiteY6442" fmla="*/ 2238672 h 6557032"/>
              <a:gd name="connsiteX6443" fmla="*/ 3496751 w 4610101"/>
              <a:gd name="connsiteY6443" fmla="*/ 2222256 h 6557032"/>
              <a:gd name="connsiteX6444" fmla="*/ 3482174 w 4610101"/>
              <a:gd name="connsiteY6444" fmla="*/ 2202181 h 6557032"/>
              <a:gd name="connsiteX6445" fmla="*/ 3498574 w 4610101"/>
              <a:gd name="connsiteY6445" fmla="*/ 2200359 h 6557032"/>
              <a:gd name="connsiteX6446" fmla="*/ 3414754 w 4610101"/>
              <a:gd name="connsiteY6446" fmla="*/ 2185640 h 6557032"/>
              <a:gd name="connsiteX6447" fmla="*/ 3396532 w 4610101"/>
              <a:gd name="connsiteY6447" fmla="*/ 2189285 h 6557032"/>
              <a:gd name="connsiteX6448" fmla="*/ 3385599 w 4610101"/>
              <a:gd name="connsiteY6448" fmla="*/ 2187462 h 6557032"/>
              <a:gd name="connsiteX6449" fmla="*/ 3414754 w 4610101"/>
              <a:gd name="connsiteY6449" fmla="*/ 2185640 h 6557032"/>
              <a:gd name="connsiteX6450" fmla="*/ 3277664 w 4610101"/>
              <a:gd name="connsiteY6450" fmla="*/ 2182207 h 6557032"/>
              <a:gd name="connsiteX6451" fmla="*/ 3279231 w 4610101"/>
              <a:gd name="connsiteY6451" fmla="*/ 2182448 h 6557032"/>
              <a:gd name="connsiteX6452" fmla="*/ 3278092 w 4610101"/>
              <a:gd name="connsiteY6452" fmla="*/ 2185637 h 6557032"/>
              <a:gd name="connsiteX6453" fmla="*/ 3275378 w 4610101"/>
              <a:gd name="connsiteY6453" fmla="*/ 2187266 h 6557032"/>
              <a:gd name="connsiteX6454" fmla="*/ 3273765 w 4610101"/>
              <a:gd name="connsiteY6454" fmla="*/ 2186548 h 6557032"/>
              <a:gd name="connsiteX6455" fmla="*/ 3274448 w 4610101"/>
              <a:gd name="connsiteY6455" fmla="*/ 2183814 h 6557032"/>
              <a:gd name="connsiteX6456" fmla="*/ 3228894 w 4610101"/>
              <a:gd name="connsiteY6456" fmla="*/ 2176527 h 6557032"/>
              <a:gd name="connsiteX6457" fmla="*/ 3228894 w 4610101"/>
              <a:gd name="connsiteY6457" fmla="*/ 2181993 h 6557032"/>
              <a:gd name="connsiteX6458" fmla="*/ 3230716 w 4610101"/>
              <a:gd name="connsiteY6458" fmla="*/ 2176527 h 6557032"/>
              <a:gd name="connsiteX6459" fmla="*/ 3228894 w 4610101"/>
              <a:gd name="connsiteY6459" fmla="*/ 2176527 h 6557032"/>
              <a:gd name="connsiteX6460" fmla="*/ 3241649 w 4610101"/>
              <a:gd name="connsiteY6460" fmla="*/ 2171060 h 6557032"/>
              <a:gd name="connsiteX6461" fmla="*/ 3238004 w 4610101"/>
              <a:gd name="connsiteY6461" fmla="*/ 2174704 h 6557032"/>
              <a:gd name="connsiteX6462" fmla="*/ 3241649 w 4610101"/>
              <a:gd name="connsiteY6462" fmla="*/ 2176527 h 6557032"/>
              <a:gd name="connsiteX6463" fmla="*/ 3243471 w 4610101"/>
              <a:gd name="connsiteY6463" fmla="*/ 2174704 h 6557032"/>
              <a:gd name="connsiteX6464" fmla="*/ 3241649 w 4610101"/>
              <a:gd name="connsiteY6464" fmla="*/ 2171060 h 6557032"/>
              <a:gd name="connsiteX6465" fmla="*/ 4238376 w 4610101"/>
              <a:gd name="connsiteY6465" fmla="*/ 2169283 h 6557032"/>
              <a:gd name="connsiteX6466" fmla="*/ 4254776 w 4610101"/>
              <a:gd name="connsiteY6466" fmla="*/ 2182044 h 6557032"/>
              <a:gd name="connsiteX6467" fmla="*/ 4238376 w 4610101"/>
              <a:gd name="connsiteY6467" fmla="*/ 2183869 h 6557032"/>
              <a:gd name="connsiteX6468" fmla="*/ 3640704 w 4610101"/>
              <a:gd name="connsiteY6468" fmla="*/ 2167510 h 6557032"/>
              <a:gd name="connsiteX6469" fmla="*/ 3658926 w 4610101"/>
              <a:gd name="connsiteY6469" fmla="*/ 2191227 h 6557032"/>
              <a:gd name="connsiteX6470" fmla="*/ 3626127 w 4610101"/>
              <a:gd name="connsiteY6470" fmla="*/ 2196699 h 6557032"/>
              <a:gd name="connsiteX6471" fmla="*/ 3620660 w 4610101"/>
              <a:gd name="connsiteY6471" fmla="*/ 2183930 h 6557032"/>
              <a:gd name="connsiteX6472" fmla="*/ 3536840 w 4610101"/>
              <a:gd name="connsiteY6472" fmla="*/ 2167468 h 6557032"/>
              <a:gd name="connsiteX6473" fmla="*/ 3529551 w 4610101"/>
              <a:gd name="connsiteY6473" fmla="*/ 2191172 h 6557032"/>
              <a:gd name="connsiteX6474" fmla="*/ 3520440 w 4610101"/>
              <a:gd name="connsiteY6474" fmla="*/ 2176586 h 6557032"/>
              <a:gd name="connsiteX6475" fmla="*/ 2931878 w 4610101"/>
              <a:gd name="connsiteY6475" fmla="*/ 2167416 h 6557032"/>
              <a:gd name="connsiteX6476" fmla="*/ 2930056 w 4610101"/>
              <a:gd name="connsiteY6476" fmla="*/ 2174705 h 6557032"/>
              <a:gd name="connsiteX6477" fmla="*/ 2931878 w 4610101"/>
              <a:gd name="connsiteY6477" fmla="*/ 2174705 h 6557032"/>
              <a:gd name="connsiteX6478" fmla="*/ 2931878 w 4610101"/>
              <a:gd name="connsiteY6478" fmla="*/ 2167416 h 6557032"/>
              <a:gd name="connsiteX6479" fmla="*/ 3252582 w 4610101"/>
              <a:gd name="connsiteY6479" fmla="*/ 2165594 h 6557032"/>
              <a:gd name="connsiteX6480" fmla="*/ 3248938 w 4610101"/>
              <a:gd name="connsiteY6480" fmla="*/ 2167416 h 6557032"/>
              <a:gd name="connsiteX6481" fmla="*/ 3252582 w 4610101"/>
              <a:gd name="connsiteY6481" fmla="*/ 2169238 h 6557032"/>
              <a:gd name="connsiteX6482" fmla="*/ 3252582 w 4610101"/>
              <a:gd name="connsiteY6482" fmla="*/ 2165594 h 6557032"/>
              <a:gd name="connsiteX6483" fmla="*/ 3381955 w 4610101"/>
              <a:gd name="connsiteY6483" fmla="*/ 2160129 h 6557032"/>
              <a:gd name="connsiteX6484" fmla="*/ 3389244 w 4610101"/>
              <a:gd name="connsiteY6484" fmla="*/ 2160129 h 6557032"/>
              <a:gd name="connsiteX6485" fmla="*/ 3372844 w 4610101"/>
              <a:gd name="connsiteY6485" fmla="*/ 2165596 h 6557032"/>
              <a:gd name="connsiteX6486" fmla="*/ 3372844 w 4610101"/>
              <a:gd name="connsiteY6486" fmla="*/ 2161951 h 6557032"/>
              <a:gd name="connsiteX6487" fmla="*/ 3381955 w 4610101"/>
              <a:gd name="connsiteY6487" fmla="*/ 2160129 h 6557032"/>
              <a:gd name="connsiteX6488" fmla="*/ 752558 w 4610101"/>
              <a:gd name="connsiteY6488" fmla="*/ 2152894 h 6557032"/>
              <a:gd name="connsiteX6489" fmla="*/ 767136 w 4610101"/>
              <a:gd name="connsiteY6489" fmla="*/ 2152894 h 6557032"/>
              <a:gd name="connsiteX6490" fmla="*/ 752558 w 4610101"/>
              <a:gd name="connsiteY6490" fmla="*/ 2174779 h 6557032"/>
              <a:gd name="connsiteX6491" fmla="*/ 3611549 w 4610101"/>
              <a:gd name="connsiteY6491" fmla="*/ 2151099 h 6557032"/>
              <a:gd name="connsiteX6492" fmla="*/ 3604260 w 4610101"/>
              <a:gd name="connsiteY6492" fmla="*/ 2167520 h 6557032"/>
              <a:gd name="connsiteX6493" fmla="*/ 3620659 w 4610101"/>
              <a:gd name="connsiteY6493" fmla="*/ 2169342 h 6557032"/>
              <a:gd name="connsiteX6494" fmla="*/ 3620659 w 4610101"/>
              <a:gd name="connsiteY6494" fmla="*/ 2183938 h 6557032"/>
              <a:gd name="connsiteX6495" fmla="*/ 3589683 w 4610101"/>
              <a:gd name="connsiteY6495" fmla="*/ 2193061 h 6557032"/>
              <a:gd name="connsiteX6496" fmla="*/ 3575105 w 4610101"/>
              <a:gd name="connsiteY6496" fmla="*/ 2205831 h 6557032"/>
              <a:gd name="connsiteX6497" fmla="*/ 3580572 w 4610101"/>
              <a:gd name="connsiteY6497" fmla="*/ 2176641 h 6557032"/>
              <a:gd name="connsiteX6498" fmla="*/ 3544128 w 4610101"/>
              <a:gd name="connsiteY6498" fmla="*/ 2176641 h 6557032"/>
              <a:gd name="connsiteX6499" fmla="*/ 3558706 w 4610101"/>
              <a:gd name="connsiteY6499" fmla="*/ 2152924 h 6557032"/>
              <a:gd name="connsiteX6500" fmla="*/ 3573283 w 4610101"/>
              <a:gd name="connsiteY6500" fmla="*/ 2162047 h 6557032"/>
              <a:gd name="connsiteX6501" fmla="*/ 2982823 w 4610101"/>
              <a:gd name="connsiteY6501" fmla="*/ 2147257 h 6557032"/>
              <a:gd name="connsiteX6502" fmla="*/ 2984721 w 4610101"/>
              <a:gd name="connsiteY6502" fmla="*/ 2147372 h 6557032"/>
              <a:gd name="connsiteX6503" fmla="*/ 2982899 w 4610101"/>
              <a:gd name="connsiteY6503" fmla="*/ 2147372 h 6557032"/>
              <a:gd name="connsiteX6504" fmla="*/ 3392888 w 4610101"/>
              <a:gd name="connsiteY6504" fmla="*/ 2145551 h 6557032"/>
              <a:gd name="connsiteX6505" fmla="*/ 3407465 w 4610101"/>
              <a:gd name="connsiteY6505" fmla="*/ 2145551 h 6557032"/>
              <a:gd name="connsiteX6506" fmla="*/ 3387421 w 4610101"/>
              <a:gd name="connsiteY6506" fmla="*/ 2149196 h 6557032"/>
              <a:gd name="connsiteX6507" fmla="*/ 736159 w 4610101"/>
              <a:gd name="connsiteY6507" fmla="*/ 2143771 h 6557032"/>
              <a:gd name="connsiteX6508" fmla="*/ 737981 w 4610101"/>
              <a:gd name="connsiteY6508" fmla="*/ 2169301 h 6557032"/>
              <a:gd name="connsiteX6509" fmla="*/ 721581 w 4610101"/>
              <a:gd name="connsiteY6509" fmla="*/ 2160182 h 6557032"/>
              <a:gd name="connsiteX6510" fmla="*/ 2560154 w 4610101"/>
              <a:gd name="connsiteY6510" fmla="*/ 2143728 h 6557032"/>
              <a:gd name="connsiteX6511" fmla="*/ 2660374 w 4610101"/>
              <a:gd name="connsiteY6511" fmla="*/ 2154662 h 6557032"/>
              <a:gd name="connsiteX6512" fmla="*/ 2817082 w 4610101"/>
              <a:gd name="connsiteY6512" fmla="*/ 2160129 h 6557032"/>
              <a:gd name="connsiteX6513" fmla="*/ 2917302 w 4610101"/>
              <a:gd name="connsiteY6513" fmla="*/ 2214794 h 6557032"/>
              <a:gd name="connsiteX6514" fmla="*/ 2933701 w 4610101"/>
              <a:gd name="connsiteY6514" fmla="*/ 2229371 h 6557032"/>
              <a:gd name="connsiteX6515" fmla="*/ 2997477 w 4610101"/>
              <a:gd name="connsiteY6515" fmla="*/ 2267637 h 6557032"/>
              <a:gd name="connsiteX6516" fmla="*/ 3002944 w 4610101"/>
              <a:gd name="connsiteY6516" fmla="*/ 2271282 h 6557032"/>
              <a:gd name="connsiteX6517" fmla="*/ 2888147 w 4610101"/>
              <a:gd name="connsiteY6517" fmla="*/ 2258527 h 6557032"/>
              <a:gd name="connsiteX6518" fmla="*/ 2888147 w 4610101"/>
              <a:gd name="connsiteY6518" fmla="*/ 2265816 h 6557032"/>
              <a:gd name="connsiteX6519" fmla="*/ 2966500 w 4610101"/>
              <a:gd name="connsiteY6519" fmla="*/ 2285861 h 6557032"/>
              <a:gd name="connsiteX6520" fmla="*/ 2979255 w 4610101"/>
              <a:gd name="connsiteY6520" fmla="*/ 2287682 h 6557032"/>
              <a:gd name="connsiteX6521" fmla="*/ 2879036 w 4610101"/>
              <a:gd name="connsiteY6521" fmla="*/ 2287682 h 6557032"/>
              <a:gd name="connsiteX6522" fmla="*/ 2877213 w 4610101"/>
              <a:gd name="connsiteY6522" fmla="*/ 2289504 h 6557032"/>
              <a:gd name="connsiteX6523" fmla="*/ 2876512 w 4610101"/>
              <a:gd name="connsiteY6523" fmla="*/ 2288804 h 6557032"/>
              <a:gd name="connsiteX6524" fmla="*/ 2879035 w 4610101"/>
              <a:gd name="connsiteY6524" fmla="*/ 2287227 h 6557032"/>
              <a:gd name="connsiteX6525" fmla="*/ 2877213 w 4610101"/>
              <a:gd name="connsiteY6525" fmla="*/ 2282215 h 6557032"/>
              <a:gd name="connsiteX6526" fmla="*/ 2872202 w 4610101"/>
              <a:gd name="connsiteY6526" fmla="*/ 2285176 h 6557032"/>
              <a:gd name="connsiteX6527" fmla="*/ 2874410 w 4610101"/>
              <a:gd name="connsiteY6527" fmla="*/ 2288172 h 6557032"/>
              <a:gd name="connsiteX6528" fmla="*/ 2871747 w 4610101"/>
              <a:gd name="connsiteY6528" fmla="*/ 2289504 h 6557032"/>
              <a:gd name="connsiteX6529" fmla="*/ 2869925 w 4610101"/>
              <a:gd name="connsiteY6529" fmla="*/ 2287682 h 6557032"/>
              <a:gd name="connsiteX6530" fmla="*/ 2868103 w 4610101"/>
              <a:gd name="connsiteY6530" fmla="*/ 2287682 h 6557032"/>
              <a:gd name="connsiteX6531" fmla="*/ 2866281 w 4610101"/>
              <a:gd name="connsiteY6531" fmla="*/ 2294971 h 6557032"/>
              <a:gd name="connsiteX6532" fmla="*/ 2868103 w 4610101"/>
              <a:gd name="connsiteY6532" fmla="*/ 2294971 h 6557032"/>
              <a:gd name="connsiteX6533" fmla="*/ 2871747 w 4610101"/>
              <a:gd name="connsiteY6533" fmla="*/ 2293148 h 6557032"/>
              <a:gd name="connsiteX6534" fmla="*/ 2873569 w 4610101"/>
              <a:gd name="connsiteY6534" fmla="*/ 2294971 h 6557032"/>
              <a:gd name="connsiteX6535" fmla="*/ 2877213 w 4610101"/>
              <a:gd name="connsiteY6535" fmla="*/ 2293148 h 6557032"/>
              <a:gd name="connsiteX6536" fmla="*/ 2880858 w 4610101"/>
              <a:gd name="connsiteY6536" fmla="*/ 2298615 h 6557032"/>
              <a:gd name="connsiteX6537" fmla="*/ 2954769 w 4610101"/>
              <a:gd name="connsiteY6537" fmla="*/ 2308064 h 6557032"/>
              <a:gd name="connsiteX6538" fmla="*/ 2955566 w 4610101"/>
              <a:gd name="connsiteY6538" fmla="*/ 2302497 h 6557032"/>
              <a:gd name="connsiteX6539" fmla="*/ 2961969 w 4610101"/>
              <a:gd name="connsiteY6539" fmla="*/ 2308873 h 6557032"/>
              <a:gd name="connsiteX6540" fmla="*/ 3041209 w 4610101"/>
              <a:gd name="connsiteY6540" fmla="*/ 2309549 h 6557032"/>
              <a:gd name="connsiteX6541" fmla="*/ 3090408 w 4610101"/>
              <a:gd name="connsiteY6541" fmla="*/ 2313192 h 6557032"/>
              <a:gd name="connsiteX6542" fmla="*/ 3050320 w 4610101"/>
              <a:gd name="connsiteY6542" fmla="*/ 2316838 h 6557032"/>
              <a:gd name="connsiteX6543" fmla="*/ 2955567 w 4610101"/>
              <a:gd name="connsiteY6543" fmla="*/ 2318660 h 6557032"/>
              <a:gd name="connsiteX6544" fmla="*/ 2871747 w 4610101"/>
              <a:gd name="connsiteY6544" fmla="*/ 2322304 h 6557032"/>
              <a:gd name="connsiteX6545" fmla="*/ 2873569 w 4610101"/>
              <a:gd name="connsiteY6545" fmla="*/ 2327771 h 6557032"/>
              <a:gd name="connsiteX6546" fmla="*/ 2912821 w 4610101"/>
              <a:gd name="connsiteY6546" fmla="*/ 2327876 h 6557032"/>
              <a:gd name="connsiteX6547" fmla="*/ 2911834 w 4610101"/>
              <a:gd name="connsiteY6547" fmla="*/ 2326119 h 6557032"/>
              <a:gd name="connsiteX6548" fmla="*/ 2913656 w 4610101"/>
              <a:gd name="connsiteY6548" fmla="*/ 2324304 h 6557032"/>
              <a:gd name="connsiteX6549" fmla="*/ 2918314 w 4610101"/>
              <a:gd name="connsiteY6549" fmla="*/ 2327891 h 6557032"/>
              <a:gd name="connsiteX6550" fmla="*/ 2958300 w 4610101"/>
              <a:gd name="connsiteY6550" fmla="*/ 2327998 h 6557032"/>
              <a:gd name="connsiteX6551" fmla="*/ 3043031 w 4610101"/>
              <a:gd name="connsiteY6551" fmla="*/ 2329593 h 6557032"/>
              <a:gd name="connsiteX6552" fmla="*/ 3099518 w 4610101"/>
              <a:gd name="connsiteY6552" fmla="*/ 2326768 h 6557032"/>
              <a:gd name="connsiteX6553" fmla="*/ 3099518 w 4610101"/>
              <a:gd name="connsiteY6553" fmla="*/ 2322489 h 6557032"/>
              <a:gd name="connsiteX6554" fmla="*/ 3106352 w 4610101"/>
              <a:gd name="connsiteY6554" fmla="*/ 2322489 h 6557032"/>
              <a:gd name="connsiteX6555" fmla="*/ 3109208 w 4610101"/>
              <a:gd name="connsiteY6555" fmla="*/ 2326285 h 6557032"/>
              <a:gd name="connsiteX6556" fmla="*/ 3115918 w 4610101"/>
              <a:gd name="connsiteY6556" fmla="*/ 2325948 h 6557032"/>
              <a:gd name="connsiteX6557" fmla="*/ 3109554 w 4610101"/>
              <a:gd name="connsiteY6557" fmla="*/ 2326745 h 6557032"/>
              <a:gd name="connsiteX6558" fmla="*/ 3110451 w 4610101"/>
              <a:gd name="connsiteY6558" fmla="*/ 2327937 h 6557032"/>
              <a:gd name="connsiteX6559" fmla="*/ 3099518 w 4610101"/>
              <a:gd name="connsiteY6559" fmla="*/ 2329754 h 6557032"/>
              <a:gd name="connsiteX6560" fmla="*/ 3099518 w 4610101"/>
              <a:gd name="connsiteY6560" fmla="*/ 2327999 h 6557032"/>
              <a:gd name="connsiteX6561" fmla="*/ 3043031 w 4610101"/>
              <a:gd name="connsiteY6561" fmla="*/ 2335060 h 6557032"/>
              <a:gd name="connsiteX6562" fmla="*/ 2971967 w 4610101"/>
              <a:gd name="connsiteY6562" fmla="*/ 2335515 h 6557032"/>
              <a:gd name="connsiteX6563" fmla="*/ 2959755 w 4610101"/>
              <a:gd name="connsiteY6563" fmla="*/ 2336063 h 6557032"/>
              <a:gd name="connsiteX6564" fmla="*/ 2962855 w 4610101"/>
              <a:gd name="connsiteY6564" fmla="*/ 2337014 h 6557032"/>
              <a:gd name="connsiteX6565" fmla="*/ 2962855 w 4610101"/>
              <a:gd name="connsiteY6565" fmla="*/ 2340650 h 6557032"/>
              <a:gd name="connsiteX6566" fmla="*/ 2953744 w 4610101"/>
              <a:gd name="connsiteY6566" fmla="*/ 2340650 h 6557032"/>
              <a:gd name="connsiteX6567" fmla="*/ 2953744 w 4610101"/>
              <a:gd name="connsiteY6567" fmla="*/ 2336333 h 6557032"/>
              <a:gd name="connsiteX6568" fmla="*/ 2900902 w 4610101"/>
              <a:gd name="connsiteY6568" fmla="*/ 2338704 h 6557032"/>
              <a:gd name="connsiteX6569" fmla="*/ 2910013 w 4610101"/>
              <a:gd name="connsiteY6569" fmla="*/ 2344170 h 6557032"/>
              <a:gd name="connsiteX6570" fmla="*/ 2946456 w 4610101"/>
              <a:gd name="connsiteY6570" fmla="*/ 2344170 h 6557032"/>
              <a:gd name="connsiteX6571" fmla="*/ 2946456 w 4610101"/>
              <a:gd name="connsiteY6571" fmla="*/ 2342482 h 6557032"/>
              <a:gd name="connsiteX6572" fmla="*/ 2948145 w 4610101"/>
              <a:gd name="connsiteY6572" fmla="*/ 2344170 h 6557032"/>
              <a:gd name="connsiteX6573" fmla="*/ 2984722 w 4610101"/>
              <a:gd name="connsiteY6573" fmla="*/ 2344170 h 6557032"/>
              <a:gd name="connsiteX6574" fmla="*/ 2949341 w 4610101"/>
              <a:gd name="connsiteY6574" fmla="*/ 2346892 h 6557032"/>
              <a:gd name="connsiteX6575" fmla="*/ 2946456 w 4610101"/>
              <a:gd name="connsiteY6575" fmla="*/ 2349797 h 6557032"/>
              <a:gd name="connsiteX6576" fmla="*/ 2946456 w 4610101"/>
              <a:gd name="connsiteY6576" fmla="*/ 2347114 h 6557032"/>
              <a:gd name="connsiteX6577" fmla="*/ 2913657 w 4610101"/>
              <a:gd name="connsiteY6577" fmla="*/ 2349637 h 6557032"/>
              <a:gd name="connsiteX6578" fmla="*/ 2839175 w 4610101"/>
              <a:gd name="connsiteY6578" fmla="*/ 2348270 h 6557032"/>
              <a:gd name="connsiteX6579" fmla="*/ 2816979 w 4610101"/>
              <a:gd name="connsiteY6579" fmla="*/ 2343707 h 6557032"/>
              <a:gd name="connsiteX6580" fmla="*/ 2815259 w 4610101"/>
              <a:gd name="connsiteY6580" fmla="*/ 2347967 h 6557032"/>
              <a:gd name="connsiteX6581" fmla="*/ 2813842 w 4610101"/>
              <a:gd name="connsiteY6581" fmla="*/ 2343061 h 6557032"/>
              <a:gd name="connsiteX6582" fmla="*/ 2766061 w 4610101"/>
              <a:gd name="connsiteY6582" fmla="*/ 2333237 h 6557032"/>
              <a:gd name="connsiteX6583" fmla="*/ 2660374 w 4610101"/>
              <a:gd name="connsiteY6583" fmla="*/ 2265816 h 6557032"/>
              <a:gd name="connsiteX6584" fmla="*/ 2560154 w 4610101"/>
              <a:gd name="connsiteY6584" fmla="*/ 2143728 h 6557032"/>
              <a:gd name="connsiteX6585" fmla="*/ 3294492 w 4610101"/>
              <a:gd name="connsiteY6585" fmla="*/ 2140082 h 6557032"/>
              <a:gd name="connsiteX6586" fmla="*/ 3294492 w 4610101"/>
              <a:gd name="connsiteY6586" fmla="*/ 2147371 h 6557032"/>
              <a:gd name="connsiteX6587" fmla="*/ 3327291 w 4610101"/>
              <a:gd name="connsiteY6587" fmla="*/ 2143727 h 6557032"/>
              <a:gd name="connsiteX6588" fmla="*/ 3259871 w 4610101"/>
              <a:gd name="connsiteY6588" fmla="*/ 2167416 h 6557032"/>
              <a:gd name="connsiteX6589" fmla="*/ 3263515 w 4610101"/>
              <a:gd name="connsiteY6589" fmla="*/ 2176527 h 6557032"/>
              <a:gd name="connsiteX6590" fmla="*/ 3354624 w 4610101"/>
              <a:gd name="connsiteY6590" fmla="*/ 2154660 h 6557032"/>
              <a:gd name="connsiteX6591" fmla="*/ 3360090 w 4610101"/>
              <a:gd name="connsiteY6591" fmla="*/ 2154660 h 6557032"/>
              <a:gd name="connsiteX6592" fmla="*/ 3363735 w 4610101"/>
              <a:gd name="connsiteY6592" fmla="*/ 2158304 h 6557032"/>
              <a:gd name="connsiteX6593" fmla="*/ 3283559 w 4610101"/>
              <a:gd name="connsiteY6593" fmla="*/ 2180171 h 6557032"/>
              <a:gd name="connsiteX6594" fmla="*/ 3281737 w 4610101"/>
              <a:gd name="connsiteY6594" fmla="*/ 2180171 h 6557032"/>
              <a:gd name="connsiteX6595" fmla="*/ 3277664 w 4610101"/>
              <a:gd name="connsiteY6595" fmla="*/ 2182207 h 6557032"/>
              <a:gd name="connsiteX6596" fmla="*/ 3276270 w 4610101"/>
              <a:gd name="connsiteY6596" fmla="*/ 2181993 h 6557032"/>
              <a:gd name="connsiteX6597" fmla="*/ 3265337 w 4610101"/>
              <a:gd name="connsiteY6597" fmla="*/ 2187460 h 6557032"/>
              <a:gd name="connsiteX6598" fmla="*/ 3268981 w 4610101"/>
              <a:gd name="connsiteY6598" fmla="*/ 2191104 h 6557032"/>
              <a:gd name="connsiteX6599" fmla="*/ 3275378 w 4610101"/>
              <a:gd name="connsiteY6599" fmla="*/ 2187266 h 6557032"/>
              <a:gd name="connsiteX6600" fmla="*/ 3279915 w 4610101"/>
              <a:gd name="connsiteY6600" fmla="*/ 2189282 h 6557032"/>
              <a:gd name="connsiteX6601" fmla="*/ 3354624 w 4610101"/>
              <a:gd name="connsiteY6601" fmla="*/ 2171060 h 6557032"/>
              <a:gd name="connsiteX6602" fmla="*/ 3345513 w 4610101"/>
              <a:gd name="connsiteY6602" fmla="*/ 2180171 h 6557032"/>
              <a:gd name="connsiteX6603" fmla="*/ 3341868 w 4610101"/>
              <a:gd name="connsiteY6603" fmla="*/ 2181993 h 6557032"/>
              <a:gd name="connsiteX6604" fmla="*/ 3312714 w 4610101"/>
              <a:gd name="connsiteY6604" fmla="*/ 2192926 h 6557032"/>
              <a:gd name="connsiteX6605" fmla="*/ 3312714 w 4610101"/>
              <a:gd name="connsiteY6605" fmla="*/ 2196571 h 6557032"/>
              <a:gd name="connsiteX6606" fmla="*/ 3305211 w 4610101"/>
              <a:gd name="connsiteY6606" fmla="*/ 2198715 h 6557032"/>
              <a:gd name="connsiteX6607" fmla="*/ 3304970 w 4610101"/>
              <a:gd name="connsiteY6607" fmla="*/ 2197026 h 6557032"/>
              <a:gd name="connsiteX6608" fmla="*/ 3301781 w 4610101"/>
              <a:gd name="connsiteY6608" fmla="*/ 2196571 h 6557032"/>
              <a:gd name="connsiteX6609" fmla="*/ 3298136 w 4610101"/>
              <a:gd name="connsiteY6609" fmla="*/ 2200215 h 6557032"/>
              <a:gd name="connsiteX6610" fmla="*/ 3299959 w 4610101"/>
              <a:gd name="connsiteY6610" fmla="*/ 2203859 h 6557032"/>
              <a:gd name="connsiteX6611" fmla="*/ 3301326 w 4610101"/>
              <a:gd name="connsiteY6611" fmla="*/ 2202947 h 6557032"/>
              <a:gd name="connsiteX6612" fmla="*/ 3301781 w 4610101"/>
              <a:gd name="connsiteY6612" fmla="*/ 2203859 h 6557032"/>
              <a:gd name="connsiteX6613" fmla="*/ 3316358 w 4610101"/>
              <a:gd name="connsiteY6613" fmla="*/ 2200215 h 6557032"/>
              <a:gd name="connsiteX6614" fmla="*/ 3318180 w 4610101"/>
              <a:gd name="connsiteY6614" fmla="*/ 2202037 h 6557032"/>
              <a:gd name="connsiteX6615" fmla="*/ 3360090 w 4610101"/>
              <a:gd name="connsiteY6615" fmla="*/ 2194748 h 6557032"/>
              <a:gd name="connsiteX6616" fmla="*/ 3369201 w 4610101"/>
              <a:gd name="connsiteY6616" fmla="*/ 2196571 h 6557032"/>
              <a:gd name="connsiteX6617" fmla="*/ 3363735 w 4610101"/>
              <a:gd name="connsiteY6617" fmla="*/ 2207504 h 6557032"/>
              <a:gd name="connsiteX6618" fmla="*/ 3352801 w 4610101"/>
              <a:gd name="connsiteY6618" fmla="*/ 2207504 h 6557032"/>
              <a:gd name="connsiteX6619" fmla="*/ 3352801 w 4610101"/>
              <a:gd name="connsiteY6619" fmla="*/ 2211148 h 6557032"/>
              <a:gd name="connsiteX6620" fmla="*/ 3345513 w 4610101"/>
              <a:gd name="connsiteY6620" fmla="*/ 2211148 h 6557032"/>
              <a:gd name="connsiteX6621" fmla="*/ 3343691 w 4610101"/>
              <a:gd name="connsiteY6621" fmla="*/ 2209326 h 6557032"/>
              <a:gd name="connsiteX6622" fmla="*/ 3340046 w 4610101"/>
              <a:gd name="connsiteY6622" fmla="*/ 2211148 h 6557032"/>
              <a:gd name="connsiteX6623" fmla="*/ 3341868 w 4610101"/>
              <a:gd name="connsiteY6623" fmla="*/ 2212970 h 6557032"/>
              <a:gd name="connsiteX6624" fmla="*/ 3341868 w 4610101"/>
              <a:gd name="connsiteY6624" fmla="*/ 2216614 h 6557032"/>
              <a:gd name="connsiteX6625" fmla="*/ 3365557 w 4610101"/>
              <a:gd name="connsiteY6625" fmla="*/ 2223903 h 6557032"/>
              <a:gd name="connsiteX6626" fmla="*/ 3263515 w 4610101"/>
              <a:gd name="connsiteY6626" fmla="*/ 2240303 h 6557032"/>
              <a:gd name="connsiteX6627" fmla="*/ 3259871 w 4610101"/>
              <a:gd name="connsiteY6627" fmla="*/ 2249413 h 6557032"/>
              <a:gd name="connsiteX6628" fmla="*/ 3325469 w 4610101"/>
              <a:gd name="connsiteY6628" fmla="*/ 2318656 h 6557032"/>
              <a:gd name="connsiteX6629" fmla="*/ 3259871 w 4610101"/>
              <a:gd name="connsiteY6629" fmla="*/ 2276746 h 6557032"/>
              <a:gd name="connsiteX6630" fmla="*/ 3261693 w 4610101"/>
              <a:gd name="connsiteY6630" fmla="*/ 2285857 h 6557032"/>
              <a:gd name="connsiteX6631" fmla="*/ 3305425 w 4610101"/>
              <a:gd name="connsiteY6631" fmla="*/ 2320479 h 6557032"/>
              <a:gd name="connsiteX6632" fmla="*/ 3268981 w 4610101"/>
              <a:gd name="connsiteY6632" fmla="*/ 2300434 h 6557032"/>
              <a:gd name="connsiteX6633" fmla="*/ 3261693 w 4610101"/>
              <a:gd name="connsiteY6633" fmla="*/ 2305902 h 6557032"/>
              <a:gd name="connsiteX6634" fmla="*/ 3303603 w 4610101"/>
              <a:gd name="connsiteY6634" fmla="*/ 2336879 h 6557032"/>
              <a:gd name="connsiteX6635" fmla="*/ 3320002 w 4610101"/>
              <a:gd name="connsiteY6635" fmla="*/ 2344167 h 6557032"/>
              <a:gd name="connsiteX6636" fmla="*/ 3312714 w 4610101"/>
              <a:gd name="connsiteY6636" fmla="*/ 2345990 h 6557032"/>
              <a:gd name="connsiteX6637" fmla="*/ 3294492 w 4610101"/>
              <a:gd name="connsiteY6637" fmla="*/ 2338701 h 6557032"/>
              <a:gd name="connsiteX6638" fmla="*/ 3265337 w 4610101"/>
              <a:gd name="connsiteY6638" fmla="*/ 2316835 h 6557032"/>
              <a:gd name="connsiteX6639" fmla="*/ 3256226 w 4610101"/>
              <a:gd name="connsiteY6639" fmla="*/ 2316835 h 6557032"/>
              <a:gd name="connsiteX6640" fmla="*/ 3272626 w 4610101"/>
              <a:gd name="connsiteY6640" fmla="*/ 2338701 h 6557032"/>
              <a:gd name="connsiteX6641" fmla="*/ 3181517 w 4610101"/>
              <a:gd name="connsiteY6641" fmla="*/ 2287679 h 6557032"/>
              <a:gd name="connsiteX6642" fmla="*/ 3121385 w 4610101"/>
              <a:gd name="connsiteY6642" fmla="*/ 2233014 h 6557032"/>
              <a:gd name="connsiteX6643" fmla="*/ 3119563 w 4610101"/>
              <a:gd name="connsiteY6643" fmla="*/ 2229370 h 6557032"/>
              <a:gd name="connsiteX6644" fmla="*/ 3106808 w 4610101"/>
              <a:gd name="connsiteY6644" fmla="*/ 2220259 h 6557032"/>
              <a:gd name="connsiteX6645" fmla="*/ 3015698 w 4610101"/>
              <a:gd name="connsiteY6645" fmla="*/ 2154660 h 6557032"/>
              <a:gd name="connsiteX6646" fmla="*/ 3221605 w 4610101"/>
              <a:gd name="connsiteY6646" fmla="*/ 2158304 h 6557032"/>
              <a:gd name="connsiteX6647" fmla="*/ 3294492 w 4610101"/>
              <a:gd name="connsiteY6647" fmla="*/ 2140082 h 6557032"/>
              <a:gd name="connsiteX6648" fmla="*/ 858244 w 4610101"/>
              <a:gd name="connsiteY6648" fmla="*/ 2138326 h 6557032"/>
              <a:gd name="connsiteX6649" fmla="*/ 891044 w 4610101"/>
              <a:gd name="connsiteY6649" fmla="*/ 2167520 h 6557032"/>
              <a:gd name="connsiteX6650" fmla="*/ 880111 w 4610101"/>
              <a:gd name="connsiteY6650" fmla="*/ 2191239 h 6557032"/>
              <a:gd name="connsiteX6651" fmla="*/ 836378 w 4610101"/>
              <a:gd name="connsiteY6651" fmla="*/ 2176641 h 6557032"/>
              <a:gd name="connsiteX6652" fmla="*/ 858244 w 4610101"/>
              <a:gd name="connsiteY6652" fmla="*/ 2138326 h 6557032"/>
              <a:gd name="connsiteX6653" fmla="*/ 3558706 w 4610101"/>
              <a:gd name="connsiteY6653" fmla="*/ 2129179 h 6557032"/>
              <a:gd name="connsiteX6654" fmla="*/ 3558706 w 4610101"/>
              <a:gd name="connsiteY6654" fmla="*/ 2152884 h 6557032"/>
              <a:gd name="connsiteX6655" fmla="*/ 3544128 w 4610101"/>
              <a:gd name="connsiteY6655" fmla="*/ 2145587 h 6557032"/>
              <a:gd name="connsiteX6656" fmla="*/ 2879035 w 4610101"/>
              <a:gd name="connsiteY6656" fmla="*/ 2117534 h 6557032"/>
              <a:gd name="connsiteX6657" fmla="*/ 2939167 w 4610101"/>
              <a:gd name="connsiteY6657" fmla="*/ 2118217 h 6557032"/>
              <a:gd name="connsiteX6658" fmla="*/ 2919123 w 4610101"/>
              <a:gd name="connsiteY6658" fmla="*/ 2120039 h 6557032"/>
              <a:gd name="connsiteX6659" fmla="*/ 2922767 w 4610101"/>
              <a:gd name="connsiteY6659" fmla="*/ 2125506 h 6557032"/>
              <a:gd name="connsiteX6660" fmla="*/ 3012054 w 4610101"/>
              <a:gd name="connsiteY6660" fmla="*/ 2136438 h 6557032"/>
              <a:gd name="connsiteX6661" fmla="*/ 2902723 w 4610101"/>
              <a:gd name="connsiteY6661" fmla="*/ 2132795 h 6557032"/>
              <a:gd name="connsiteX6662" fmla="*/ 2906368 w 4610101"/>
              <a:gd name="connsiteY6662" fmla="*/ 2140082 h 6557032"/>
              <a:gd name="connsiteX6663" fmla="*/ 2966500 w 4610101"/>
              <a:gd name="connsiteY6663" fmla="*/ 2140082 h 6557032"/>
              <a:gd name="connsiteX6664" fmla="*/ 2979255 w 4610101"/>
              <a:gd name="connsiteY6664" fmla="*/ 2141906 h 6557032"/>
              <a:gd name="connsiteX6665" fmla="*/ 2982823 w 4610101"/>
              <a:gd name="connsiteY6665" fmla="*/ 2147257 h 6557032"/>
              <a:gd name="connsiteX6666" fmla="*/ 2924589 w 4610101"/>
              <a:gd name="connsiteY6666" fmla="*/ 2143728 h 6557032"/>
              <a:gd name="connsiteX6667" fmla="*/ 2926412 w 4610101"/>
              <a:gd name="connsiteY6667" fmla="*/ 2152839 h 6557032"/>
              <a:gd name="connsiteX6668" fmla="*/ 3032098 w 4610101"/>
              <a:gd name="connsiteY6668" fmla="*/ 2183816 h 6557032"/>
              <a:gd name="connsiteX6669" fmla="*/ 3052142 w 4610101"/>
              <a:gd name="connsiteY6669" fmla="*/ 2198394 h 6557032"/>
              <a:gd name="connsiteX6670" fmla="*/ 3033920 w 4610101"/>
              <a:gd name="connsiteY6670" fmla="*/ 2191105 h 6557032"/>
              <a:gd name="connsiteX6671" fmla="*/ 2964677 w 4610101"/>
              <a:gd name="connsiteY6671" fmla="*/ 2172883 h 6557032"/>
              <a:gd name="connsiteX6672" fmla="*/ 2966500 w 4610101"/>
              <a:gd name="connsiteY6672" fmla="*/ 2176528 h 6557032"/>
              <a:gd name="connsiteX6673" fmla="*/ 2964677 w 4610101"/>
              <a:gd name="connsiteY6673" fmla="*/ 2176528 h 6557032"/>
              <a:gd name="connsiteX6674" fmla="*/ 2962855 w 4610101"/>
              <a:gd name="connsiteY6674" fmla="*/ 2174705 h 6557032"/>
              <a:gd name="connsiteX6675" fmla="*/ 2955566 w 4610101"/>
              <a:gd name="connsiteY6675" fmla="*/ 2172883 h 6557032"/>
              <a:gd name="connsiteX6676" fmla="*/ 2953744 w 4610101"/>
              <a:gd name="connsiteY6676" fmla="*/ 2172883 h 6557032"/>
              <a:gd name="connsiteX6677" fmla="*/ 2951922 w 4610101"/>
              <a:gd name="connsiteY6677" fmla="*/ 2171061 h 6557032"/>
              <a:gd name="connsiteX6678" fmla="*/ 2950100 w 4610101"/>
              <a:gd name="connsiteY6678" fmla="*/ 2178349 h 6557032"/>
              <a:gd name="connsiteX6679" fmla="*/ 2953744 w 4610101"/>
              <a:gd name="connsiteY6679" fmla="*/ 2176528 h 6557032"/>
              <a:gd name="connsiteX6680" fmla="*/ 2959211 w 4610101"/>
              <a:gd name="connsiteY6680" fmla="*/ 2178349 h 6557032"/>
              <a:gd name="connsiteX6681" fmla="*/ 2962855 w 4610101"/>
              <a:gd name="connsiteY6681" fmla="*/ 2178349 h 6557032"/>
              <a:gd name="connsiteX6682" fmla="*/ 2966500 w 4610101"/>
              <a:gd name="connsiteY6682" fmla="*/ 2178349 h 6557032"/>
              <a:gd name="connsiteX6683" fmla="*/ 2968322 w 4610101"/>
              <a:gd name="connsiteY6683" fmla="*/ 2180172 h 6557032"/>
              <a:gd name="connsiteX6684" fmla="*/ 2971966 w 4610101"/>
              <a:gd name="connsiteY6684" fmla="*/ 2178349 h 6557032"/>
              <a:gd name="connsiteX6685" fmla="*/ 3050319 w 4610101"/>
              <a:gd name="connsiteY6685" fmla="*/ 2202038 h 6557032"/>
              <a:gd name="connsiteX6686" fmla="*/ 3086763 w 4610101"/>
              <a:gd name="connsiteY6686" fmla="*/ 2218438 h 6557032"/>
              <a:gd name="connsiteX6687" fmla="*/ 3104985 w 4610101"/>
              <a:gd name="connsiteY6687" fmla="*/ 2231193 h 6557032"/>
              <a:gd name="connsiteX6688" fmla="*/ 3063075 w 4610101"/>
              <a:gd name="connsiteY6688" fmla="*/ 2214792 h 6557032"/>
              <a:gd name="connsiteX6689" fmla="*/ 3001121 w 4610101"/>
              <a:gd name="connsiteY6689" fmla="*/ 2196571 h 6557032"/>
              <a:gd name="connsiteX6690" fmla="*/ 3002943 w 4610101"/>
              <a:gd name="connsiteY6690" fmla="*/ 2207505 h 6557032"/>
              <a:gd name="connsiteX6691" fmla="*/ 3072186 w 4610101"/>
              <a:gd name="connsiteY6691" fmla="*/ 2234837 h 6557032"/>
              <a:gd name="connsiteX6692" fmla="*/ 3083119 w 4610101"/>
              <a:gd name="connsiteY6692" fmla="*/ 2240304 h 6557032"/>
              <a:gd name="connsiteX6693" fmla="*/ 3035742 w 4610101"/>
              <a:gd name="connsiteY6693" fmla="*/ 2223904 h 6557032"/>
              <a:gd name="connsiteX6694" fmla="*/ 3028453 w 4610101"/>
              <a:gd name="connsiteY6694" fmla="*/ 2229371 h 6557032"/>
              <a:gd name="connsiteX6695" fmla="*/ 3050319 w 4610101"/>
              <a:gd name="connsiteY6695" fmla="*/ 2240304 h 6557032"/>
              <a:gd name="connsiteX6696" fmla="*/ 3004765 w 4610101"/>
              <a:gd name="connsiteY6696" fmla="*/ 2222081 h 6557032"/>
              <a:gd name="connsiteX6697" fmla="*/ 3002943 w 4610101"/>
              <a:gd name="connsiteY6697" fmla="*/ 2216616 h 6557032"/>
              <a:gd name="connsiteX6698" fmla="*/ 2997476 w 4610101"/>
              <a:gd name="connsiteY6698" fmla="*/ 2220260 h 6557032"/>
              <a:gd name="connsiteX6699" fmla="*/ 2996565 w 4610101"/>
              <a:gd name="connsiteY6699" fmla="*/ 2220260 h 6557032"/>
              <a:gd name="connsiteX6700" fmla="*/ 2997249 w 4610101"/>
              <a:gd name="connsiteY6700" fmla="*/ 2219805 h 6557032"/>
              <a:gd name="connsiteX6701" fmla="*/ 2993832 w 4610101"/>
              <a:gd name="connsiteY6701" fmla="*/ 2214792 h 6557032"/>
              <a:gd name="connsiteX6702" fmla="*/ 2992010 w 4610101"/>
              <a:gd name="connsiteY6702" fmla="*/ 2222081 h 6557032"/>
              <a:gd name="connsiteX6703" fmla="*/ 2993832 w 4610101"/>
              <a:gd name="connsiteY6703" fmla="*/ 2222081 h 6557032"/>
              <a:gd name="connsiteX6704" fmla="*/ 2995447 w 4610101"/>
              <a:gd name="connsiteY6704" fmla="*/ 2221006 h 6557032"/>
              <a:gd name="connsiteX6705" fmla="*/ 3064897 w 4610101"/>
              <a:gd name="connsiteY6705" fmla="*/ 2253059 h 6557032"/>
              <a:gd name="connsiteX6706" fmla="*/ 3002943 w 4610101"/>
              <a:gd name="connsiteY6706" fmla="*/ 2236661 h 6557032"/>
              <a:gd name="connsiteX6707" fmla="*/ 2993832 w 4610101"/>
              <a:gd name="connsiteY6707" fmla="*/ 2240304 h 6557032"/>
              <a:gd name="connsiteX6708" fmla="*/ 3072186 w 4610101"/>
              <a:gd name="connsiteY6708" fmla="*/ 2271282 h 6557032"/>
              <a:gd name="connsiteX6709" fmla="*/ 3154183 w 4610101"/>
              <a:gd name="connsiteY6709" fmla="*/ 2294970 h 6557032"/>
              <a:gd name="connsiteX6710" fmla="*/ 3002943 w 4610101"/>
              <a:gd name="connsiteY6710" fmla="*/ 2253059 h 6557032"/>
              <a:gd name="connsiteX6711" fmla="*/ 2995654 w 4610101"/>
              <a:gd name="connsiteY6711" fmla="*/ 2247594 h 6557032"/>
              <a:gd name="connsiteX6712" fmla="*/ 2933700 w 4610101"/>
              <a:gd name="connsiteY6712" fmla="*/ 2207505 h 6557032"/>
              <a:gd name="connsiteX6713" fmla="*/ 2884502 w 4610101"/>
              <a:gd name="connsiteY6713" fmla="*/ 2160128 h 6557032"/>
              <a:gd name="connsiteX6714" fmla="*/ 2818903 w 4610101"/>
              <a:gd name="connsiteY6714" fmla="*/ 2123684 h 6557032"/>
              <a:gd name="connsiteX6715" fmla="*/ 2879035 w 4610101"/>
              <a:gd name="connsiteY6715" fmla="*/ 2117534 h 6557032"/>
              <a:gd name="connsiteX6716" fmla="*/ 4200111 w 4610101"/>
              <a:gd name="connsiteY6716" fmla="*/ 2116411 h 6557032"/>
              <a:gd name="connsiteX6717" fmla="*/ 4216511 w 4610101"/>
              <a:gd name="connsiteY6717" fmla="*/ 2129173 h 6557032"/>
              <a:gd name="connsiteX6718" fmla="*/ 4200111 w 4610101"/>
              <a:gd name="connsiteY6718" fmla="*/ 2130995 h 6557032"/>
              <a:gd name="connsiteX6719" fmla="*/ 3008410 w 4610101"/>
              <a:gd name="connsiteY6719" fmla="*/ 2103640 h 6557032"/>
              <a:gd name="connsiteX6720" fmla="*/ 3006588 w 4610101"/>
              <a:gd name="connsiteY6720" fmla="*/ 2110929 h 6557032"/>
              <a:gd name="connsiteX6721" fmla="*/ 3008410 w 4610101"/>
              <a:gd name="connsiteY6721" fmla="*/ 2103640 h 6557032"/>
              <a:gd name="connsiteX6722" fmla="*/ 2993833 w 4610101"/>
              <a:gd name="connsiteY6722" fmla="*/ 2098173 h 6557032"/>
              <a:gd name="connsiteX6723" fmla="*/ 2990189 w 4610101"/>
              <a:gd name="connsiteY6723" fmla="*/ 2101817 h 6557032"/>
              <a:gd name="connsiteX6724" fmla="*/ 2993833 w 4610101"/>
              <a:gd name="connsiteY6724" fmla="*/ 2105463 h 6557032"/>
              <a:gd name="connsiteX6725" fmla="*/ 2993833 w 4610101"/>
              <a:gd name="connsiteY6725" fmla="*/ 2098173 h 6557032"/>
              <a:gd name="connsiteX6726" fmla="*/ 3409288 w 4610101"/>
              <a:gd name="connsiteY6726" fmla="*/ 2092716 h 6557032"/>
              <a:gd name="connsiteX6727" fmla="*/ 3423865 w 4610101"/>
              <a:gd name="connsiteY6727" fmla="*/ 2092716 h 6557032"/>
              <a:gd name="connsiteX6728" fmla="*/ 3447553 w 4610101"/>
              <a:gd name="connsiteY6728" fmla="*/ 2114607 h 6557032"/>
              <a:gd name="connsiteX6729" fmla="*/ 3467597 w 4610101"/>
              <a:gd name="connsiteY6729" fmla="*/ 2107312 h 6557032"/>
              <a:gd name="connsiteX6730" fmla="*/ 3476708 w 4610101"/>
              <a:gd name="connsiteY6730" fmla="*/ 2131030 h 6557032"/>
              <a:gd name="connsiteX6731" fmla="*/ 3445731 w 4610101"/>
              <a:gd name="connsiteY6731" fmla="*/ 2136502 h 6557032"/>
              <a:gd name="connsiteX6732" fmla="*/ 3445731 w 4610101"/>
              <a:gd name="connsiteY6732" fmla="*/ 2176641 h 6557032"/>
              <a:gd name="connsiteX6733" fmla="*/ 3416577 w 4610101"/>
              <a:gd name="connsiteY6733" fmla="*/ 2176641 h 6557032"/>
              <a:gd name="connsiteX6734" fmla="*/ 3416577 w 4610101"/>
              <a:gd name="connsiteY6734" fmla="*/ 2131030 h 6557032"/>
              <a:gd name="connsiteX6735" fmla="*/ 3392888 w 4610101"/>
              <a:gd name="connsiteY6735" fmla="*/ 2131030 h 6557032"/>
              <a:gd name="connsiteX6736" fmla="*/ 3392888 w 4610101"/>
              <a:gd name="connsiteY6736" fmla="*/ 2123729 h 6557032"/>
              <a:gd name="connsiteX6737" fmla="*/ 3418399 w 4610101"/>
              <a:gd name="connsiteY6737" fmla="*/ 2123729 h 6557032"/>
              <a:gd name="connsiteX6738" fmla="*/ 3330934 w 4610101"/>
              <a:gd name="connsiteY6738" fmla="*/ 2083598 h 6557032"/>
              <a:gd name="connsiteX6739" fmla="*/ 3345512 w 4610101"/>
              <a:gd name="connsiteY6739" fmla="*/ 2099996 h 6557032"/>
              <a:gd name="connsiteX6740" fmla="*/ 3330934 w 4610101"/>
              <a:gd name="connsiteY6740" fmla="*/ 2087241 h 6557032"/>
              <a:gd name="connsiteX6741" fmla="*/ 3364243 w 4610101"/>
              <a:gd name="connsiteY6741" fmla="*/ 2080023 h 6557032"/>
              <a:gd name="connsiteX6742" fmla="*/ 3366181 w 4610101"/>
              <a:gd name="connsiteY6742" fmla="*/ 2081704 h 6557032"/>
              <a:gd name="connsiteX6743" fmla="*/ 3365555 w 4610101"/>
              <a:gd name="connsiteY6743" fmla="*/ 2081774 h 6557032"/>
              <a:gd name="connsiteX6744" fmla="*/ 3381955 w 4610101"/>
              <a:gd name="connsiteY6744" fmla="*/ 2079951 h 6557032"/>
              <a:gd name="connsiteX6745" fmla="*/ 3396532 w 4610101"/>
              <a:gd name="connsiteY6745" fmla="*/ 2094528 h 6557032"/>
              <a:gd name="connsiteX6746" fmla="*/ 3387421 w 4610101"/>
              <a:gd name="connsiteY6746" fmla="*/ 2098173 h 6557032"/>
              <a:gd name="connsiteX6747" fmla="*/ 3374666 w 4610101"/>
              <a:gd name="connsiteY6747" fmla="*/ 2089062 h 6557032"/>
              <a:gd name="connsiteX6748" fmla="*/ 3366181 w 4610101"/>
              <a:gd name="connsiteY6748" fmla="*/ 2081704 h 6557032"/>
              <a:gd name="connsiteX6749" fmla="*/ 3405643 w 4610101"/>
              <a:gd name="connsiteY6749" fmla="*/ 2078130 h 6557032"/>
              <a:gd name="connsiteX6750" fmla="*/ 3412932 w 4610101"/>
              <a:gd name="connsiteY6750" fmla="*/ 2089062 h 6557032"/>
              <a:gd name="connsiteX6751" fmla="*/ 3409288 w 4610101"/>
              <a:gd name="connsiteY6751" fmla="*/ 2092707 h 6557032"/>
              <a:gd name="connsiteX6752" fmla="*/ 3396532 w 4610101"/>
              <a:gd name="connsiteY6752" fmla="*/ 2079950 h 6557032"/>
              <a:gd name="connsiteX6753" fmla="*/ 776246 w 4610101"/>
              <a:gd name="connsiteY6753" fmla="*/ 2070892 h 6557032"/>
              <a:gd name="connsiteX6754" fmla="*/ 792646 w 4610101"/>
              <a:gd name="connsiteY6754" fmla="*/ 2085434 h 6557032"/>
              <a:gd name="connsiteX6755" fmla="*/ 761668 w 4610101"/>
              <a:gd name="connsiteY6755" fmla="*/ 2092712 h 6557032"/>
              <a:gd name="connsiteX6756" fmla="*/ 776246 w 4610101"/>
              <a:gd name="connsiteY6756" fmla="*/ 2070892 h 6557032"/>
              <a:gd name="connsiteX6757" fmla="*/ 3516795 w 4610101"/>
              <a:gd name="connsiteY6757" fmla="*/ 2067262 h 6557032"/>
              <a:gd name="connsiteX6758" fmla="*/ 3522262 w 4610101"/>
              <a:gd name="connsiteY6758" fmla="*/ 2076361 h 6557032"/>
              <a:gd name="connsiteX6759" fmla="*/ 3507685 w 4610101"/>
              <a:gd name="connsiteY6759" fmla="*/ 2105484 h 6557032"/>
              <a:gd name="connsiteX6760" fmla="*/ 3514973 w 4610101"/>
              <a:gd name="connsiteY6760" fmla="*/ 2129205 h 6557032"/>
              <a:gd name="connsiteX6761" fmla="*/ 3500396 w 4610101"/>
              <a:gd name="connsiteY6761" fmla="*/ 2129205 h 6557032"/>
              <a:gd name="connsiteX6762" fmla="*/ 3531373 w 4610101"/>
              <a:gd name="connsiteY6762" fmla="*/ 2143802 h 6557032"/>
              <a:gd name="connsiteX6763" fmla="*/ 3493107 w 4610101"/>
              <a:gd name="connsiteY6763" fmla="*/ 2174816 h 6557032"/>
              <a:gd name="connsiteX6764" fmla="*/ 3462130 w 4610101"/>
              <a:gd name="connsiteY6764" fmla="*/ 2152924 h 6557032"/>
              <a:gd name="connsiteX6765" fmla="*/ 3487641 w 4610101"/>
              <a:gd name="connsiteY6765" fmla="*/ 2103662 h 6557032"/>
              <a:gd name="connsiteX6766" fmla="*/ 3509507 w 4610101"/>
              <a:gd name="connsiteY6766" fmla="*/ 2089068 h 6557032"/>
              <a:gd name="connsiteX6767" fmla="*/ 3516795 w 4610101"/>
              <a:gd name="connsiteY6767" fmla="*/ 2067262 h 6557032"/>
              <a:gd name="connsiteX6768" fmla="*/ 3587860 w 4610101"/>
              <a:gd name="connsiteY6768" fmla="*/ 2063589 h 6557032"/>
              <a:gd name="connsiteX6769" fmla="*/ 3604260 w 4610101"/>
              <a:gd name="connsiteY6769" fmla="*/ 2063589 h 6557032"/>
              <a:gd name="connsiteX6770" fmla="*/ 3602438 w 4610101"/>
              <a:gd name="connsiteY6770" fmla="*/ 2079974 h 6557032"/>
              <a:gd name="connsiteX6771" fmla="*/ 3412932 w 4610101"/>
              <a:gd name="connsiteY6771" fmla="*/ 2061730 h 6557032"/>
              <a:gd name="connsiteX6772" fmla="*/ 3423864 w 4610101"/>
              <a:gd name="connsiteY6772" fmla="*/ 2076309 h 6557032"/>
              <a:gd name="connsiteX6773" fmla="*/ 3418398 w 4610101"/>
              <a:gd name="connsiteY6773" fmla="*/ 2081774 h 6557032"/>
              <a:gd name="connsiteX6774" fmla="*/ 3409287 w 4610101"/>
              <a:gd name="connsiteY6774" fmla="*/ 2072663 h 6557032"/>
              <a:gd name="connsiteX6775" fmla="*/ 3412932 w 4610101"/>
              <a:gd name="connsiteY6775" fmla="*/ 2061730 h 6557032"/>
              <a:gd name="connsiteX6776" fmla="*/ 3330934 w 4610101"/>
              <a:gd name="connsiteY6776" fmla="*/ 2061729 h 6557032"/>
              <a:gd name="connsiteX6777" fmla="*/ 3338224 w 4610101"/>
              <a:gd name="connsiteY6777" fmla="*/ 2061729 h 6557032"/>
              <a:gd name="connsiteX6778" fmla="*/ 3380134 w 4610101"/>
              <a:gd name="connsiteY6778" fmla="*/ 2105462 h 6557032"/>
              <a:gd name="connsiteX6779" fmla="*/ 3376490 w 4610101"/>
              <a:gd name="connsiteY6779" fmla="*/ 2107285 h 6557032"/>
              <a:gd name="connsiteX6780" fmla="*/ 3360090 w 4610101"/>
              <a:gd name="connsiteY6780" fmla="*/ 2096352 h 6557032"/>
              <a:gd name="connsiteX6781" fmla="*/ 3330934 w 4610101"/>
              <a:gd name="connsiteY6781" fmla="*/ 2061729 h 6557032"/>
              <a:gd name="connsiteX6782" fmla="*/ 3431153 w 4610101"/>
              <a:gd name="connsiteY6782" fmla="*/ 2048975 h 6557032"/>
              <a:gd name="connsiteX6783" fmla="*/ 3440264 w 4610101"/>
              <a:gd name="connsiteY6783" fmla="*/ 2058086 h 6557032"/>
              <a:gd name="connsiteX6784" fmla="*/ 3429331 w 4610101"/>
              <a:gd name="connsiteY6784" fmla="*/ 2069019 h 6557032"/>
              <a:gd name="connsiteX6785" fmla="*/ 3418398 w 4610101"/>
              <a:gd name="connsiteY6785" fmla="*/ 2056264 h 6557032"/>
              <a:gd name="connsiteX6786" fmla="*/ 3431153 w 4610101"/>
              <a:gd name="connsiteY6786" fmla="*/ 2048975 h 6557032"/>
              <a:gd name="connsiteX6787" fmla="*/ 3575105 w 4610101"/>
              <a:gd name="connsiteY6787" fmla="*/ 2032621 h 6557032"/>
              <a:gd name="connsiteX6788" fmla="*/ 3573283 w 4610101"/>
              <a:gd name="connsiteY6788" fmla="*/ 2049032 h 6557032"/>
              <a:gd name="connsiteX6789" fmla="*/ 3558705 w 4610101"/>
              <a:gd name="connsiteY6789" fmla="*/ 2034445 h 6557032"/>
              <a:gd name="connsiteX6790" fmla="*/ 3363733 w 4610101"/>
              <a:gd name="connsiteY6790" fmla="*/ 2030754 h 6557032"/>
              <a:gd name="connsiteX6791" fmla="*/ 3383777 w 4610101"/>
              <a:gd name="connsiteY6791" fmla="*/ 2052620 h 6557032"/>
              <a:gd name="connsiteX6792" fmla="*/ 3378310 w 4610101"/>
              <a:gd name="connsiteY6792" fmla="*/ 2059910 h 6557032"/>
              <a:gd name="connsiteX6793" fmla="*/ 3365555 w 4610101"/>
              <a:gd name="connsiteY6793" fmla="*/ 2045333 h 6557032"/>
              <a:gd name="connsiteX6794" fmla="*/ 3363733 w 4610101"/>
              <a:gd name="connsiteY6794" fmla="*/ 2043511 h 6557032"/>
              <a:gd name="connsiteX6795" fmla="*/ 1002195 w 4610101"/>
              <a:gd name="connsiteY6795" fmla="*/ 2029023 h 6557032"/>
              <a:gd name="connsiteX6796" fmla="*/ 1009485 w 4610101"/>
              <a:gd name="connsiteY6796" fmla="*/ 2032670 h 6557032"/>
              <a:gd name="connsiteX6797" fmla="*/ 1024062 w 4610101"/>
              <a:gd name="connsiteY6797" fmla="*/ 2032670 h 6557032"/>
              <a:gd name="connsiteX6798" fmla="*/ 1045929 w 4610101"/>
              <a:gd name="connsiteY6798" fmla="*/ 2032670 h 6557032"/>
              <a:gd name="connsiteX6799" fmla="*/ 1045929 w 4610101"/>
              <a:gd name="connsiteY6799" fmla="*/ 2039962 h 6557032"/>
              <a:gd name="connsiteX6800" fmla="*/ 1014951 w 4610101"/>
              <a:gd name="connsiteY6800" fmla="*/ 2054536 h 6557032"/>
              <a:gd name="connsiteX6801" fmla="*/ 993085 w 4610101"/>
              <a:gd name="connsiteY6801" fmla="*/ 2054536 h 6557032"/>
              <a:gd name="connsiteX6802" fmla="*/ 978507 w 4610101"/>
              <a:gd name="connsiteY6802" fmla="*/ 2032670 h 6557032"/>
              <a:gd name="connsiteX6803" fmla="*/ 949352 w 4610101"/>
              <a:gd name="connsiteY6803" fmla="*/ 2018058 h 6557032"/>
              <a:gd name="connsiteX6804" fmla="*/ 973041 w 4610101"/>
              <a:gd name="connsiteY6804" fmla="*/ 2038116 h 6557032"/>
              <a:gd name="connsiteX6805" fmla="*/ 949352 w 4610101"/>
              <a:gd name="connsiteY6805" fmla="*/ 2039939 h 6557032"/>
              <a:gd name="connsiteX6806" fmla="*/ 2780752 w 4610101"/>
              <a:gd name="connsiteY6806" fmla="*/ 2015635 h 6557032"/>
              <a:gd name="connsiteX6807" fmla="*/ 2968322 w 4610101"/>
              <a:gd name="connsiteY6807" fmla="*/ 2063553 h 6557032"/>
              <a:gd name="connsiteX6808" fmla="*/ 2970145 w 4610101"/>
              <a:gd name="connsiteY6808" fmla="*/ 2063553 h 6557032"/>
              <a:gd name="connsiteX6809" fmla="*/ 3017521 w 4610101"/>
              <a:gd name="connsiteY6809" fmla="*/ 2099995 h 6557032"/>
              <a:gd name="connsiteX6810" fmla="*/ 3135963 w 4610101"/>
              <a:gd name="connsiteY6810" fmla="*/ 2147373 h 6557032"/>
              <a:gd name="connsiteX6811" fmla="*/ 3106808 w 4610101"/>
              <a:gd name="connsiteY6811" fmla="*/ 2147373 h 6557032"/>
              <a:gd name="connsiteX6812" fmla="*/ 3106808 w 4610101"/>
              <a:gd name="connsiteY6812" fmla="*/ 2141906 h 6557032"/>
              <a:gd name="connsiteX6813" fmla="*/ 3101341 w 4610101"/>
              <a:gd name="connsiteY6813" fmla="*/ 2145551 h 6557032"/>
              <a:gd name="connsiteX6814" fmla="*/ 3103163 w 4610101"/>
              <a:gd name="connsiteY6814" fmla="*/ 2149195 h 6557032"/>
              <a:gd name="connsiteX6815" fmla="*/ 3092230 w 4610101"/>
              <a:gd name="connsiteY6815" fmla="*/ 2149195 h 6557032"/>
              <a:gd name="connsiteX6816" fmla="*/ 3090408 w 4610101"/>
              <a:gd name="connsiteY6816" fmla="*/ 2143728 h 6557032"/>
              <a:gd name="connsiteX6817" fmla="*/ 3086764 w 4610101"/>
              <a:gd name="connsiteY6817" fmla="*/ 2149195 h 6557032"/>
              <a:gd name="connsiteX6818" fmla="*/ 3081297 w 4610101"/>
              <a:gd name="connsiteY6818" fmla="*/ 2149195 h 6557032"/>
              <a:gd name="connsiteX6819" fmla="*/ 3079475 w 4610101"/>
              <a:gd name="connsiteY6819" fmla="*/ 2143728 h 6557032"/>
              <a:gd name="connsiteX6820" fmla="*/ 3075831 w 4610101"/>
              <a:gd name="connsiteY6820" fmla="*/ 2149195 h 6557032"/>
              <a:gd name="connsiteX6821" fmla="*/ 3063076 w 4610101"/>
              <a:gd name="connsiteY6821" fmla="*/ 2140084 h 6557032"/>
              <a:gd name="connsiteX6822" fmla="*/ 3064898 w 4610101"/>
              <a:gd name="connsiteY6822" fmla="*/ 2136440 h 6557032"/>
              <a:gd name="connsiteX6823" fmla="*/ 3061253 w 4610101"/>
              <a:gd name="connsiteY6823" fmla="*/ 2132795 h 6557032"/>
              <a:gd name="connsiteX6824" fmla="*/ 3057609 w 4610101"/>
              <a:gd name="connsiteY6824" fmla="*/ 2136440 h 6557032"/>
              <a:gd name="connsiteX6825" fmla="*/ 3030276 w 4610101"/>
              <a:gd name="connsiteY6825" fmla="*/ 2123685 h 6557032"/>
              <a:gd name="connsiteX6826" fmla="*/ 3033921 w 4610101"/>
              <a:gd name="connsiteY6826" fmla="*/ 2121862 h 6557032"/>
              <a:gd name="connsiteX6827" fmla="*/ 3030276 w 4610101"/>
              <a:gd name="connsiteY6827" fmla="*/ 2116395 h 6557032"/>
              <a:gd name="connsiteX6828" fmla="*/ 3026632 w 4610101"/>
              <a:gd name="connsiteY6828" fmla="*/ 2121862 h 6557032"/>
              <a:gd name="connsiteX6829" fmla="*/ 3026632 w 4610101"/>
              <a:gd name="connsiteY6829" fmla="*/ 2123685 h 6557032"/>
              <a:gd name="connsiteX6830" fmla="*/ 3010232 w 4610101"/>
              <a:gd name="connsiteY6830" fmla="*/ 2118217 h 6557032"/>
              <a:gd name="connsiteX6831" fmla="*/ 2838948 w 4610101"/>
              <a:gd name="connsiteY6831" fmla="*/ 2107284 h 6557032"/>
              <a:gd name="connsiteX6832" fmla="*/ 2715039 w 4610101"/>
              <a:gd name="connsiteY6832" fmla="*/ 2019821 h 6557032"/>
              <a:gd name="connsiteX6833" fmla="*/ 2780752 w 4610101"/>
              <a:gd name="connsiteY6833" fmla="*/ 2015635 h 6557032"/>
              <a:gd name="connsiteX6834" fmla="*/ 3453019 w 4610101"/>
              <a:gd name="connsiteY6834" fmla="*/ 2010742 h 6557032"/>
              <a:gd name="connsiteX6835" fmla="*/ 3469419 w 4610101"/>
              <a:gd name="connsiteY6835" fmla="*/ 2010742 h 6557032"/>
              <a:gd name="connsiteX6836" fmla="*/ 3453019 w 4610101"/>
              <a:gd name="connsiteY6836" fmla="*/ 2025327 h 6557032"/>
              <a:gd name="connsiteX6837" fmla="*/ 3371023 w 4610101"/>
              <a:gd name="connsiteY6837" fmla="*/ 1996184 h 6557032"/>
              <a:gd name="connsiteX6838" fmla="*/ 3392889 w 4610101"/>
              <a:gd name="connsiteY6838" fmla="*/ 2003478 h 6557032"/>
              <a:gd name="connsiteX6839" fmla="*/ 3400178 w 4610101"/>
              <a:gd name="connsiteY6839" fmla="*/ 2025368 h 6557032"/>
              <a:gd name="connsiteX6840" fmla="*/ 3378311 w 4610101"/>
              <a:gd name="connsiteY6840" fmla="*/ 2025368 h 6557032"/>
              <a:gd name="connsiteX6841" fmla="*/ 3387422 w 4610101"/>
              <a:gd name="connsiteY6841" fmla="*/ 2010778 h 6557032"/>
              <a:gd name="connsiteX6842" fmla="*/ 3363734 w 4610101"/>
              <a:gd name="connsiteY6842" fmla="*/ 2010778 h 6557032"/>
              <a:gd name="connsiteX6843" fmla="*/ 3431154 w 4610101"/>
              <a:gd name="connsiteY6843" fmla="*/ 1994361 h 6557032"/>
              <a:gd name="connsiteX6844" fmla="*/ 3445731 w 4610101"/>
              <a:gd name="connsiteY6844" fmla="*/ 2003467 h 6557032"/>
              <a:gd name="connsiteX6845" fmla="*/ 3432976 w 4610101"/>
              <a:gd name="connsiteY6845" fmla="*/ 2019880 h 6557032"/>
              <a:gd name="connsiteX6846" fmla="*/ 3425687 w 4610101"/>
              <a:gd name="connsiteY6846" fmla="*/ 2008937 h 6557032"/>
              <a:gd name="connsiteX6847" fmla="*/ 980330 w 4610101"/>
              <a:gd name="connsiteY6847" fmla="*/ 1987062 h 6557032"/>
              <a:gd name="connsiteX6848" fmla="*/ 980330 w 4610101"/>
              <a:gd name="connsiteY6848" fmla="*/ 2000561 h 6557032"/>
              <a:gd name="connsiteX6849" fmla="*/ 987618 w 4610101"/>
              <a:gd name="connsiteY6849" fmla="*/ 1996186 h 6557032"/>
              <a:gd name="connsiteX6850" fmla="*/ 1002195 w 4610101"/>
              <a:gd name="connsiteY6850" fmla="*/ 2003478 h 6557032"/>
              <a:gd name="connsiteX6851" fmla="*/ 1016774 w 4610101"/>
              <a:gd name="connsiteY6851" fmla="*/ 1987095 h 6557032"/>
              <a:gd name="connsiteX6852" fmla="*/ 1024063 w 4610101"/>
              <a:gd name="connsiteY6852" fmla="*/ 2001655 h 6557032"/>
              <a:gd name="connsiteX6853" fmla="*/ 1000374 w 4610101"/>
              <a:gd name="connsiteY6853" fmla="*/ 2008949 h 6557032"/>
              <a:gd name="connsiteX6854" fmla="*/ 983291 w 4610101"/>
              <a:gd name="connsiteY6854" fmla="*/ 2010092 h 6557032"/>
              <a:gd name="connsiteX6855" fmla="*/ 978710 w 4610101"/>
              <a:gd name="connsiteY6855" fmla="*/ 2002012 h 6557032"/>
              <a:gd name="connsiteX6856" fmla="*/ 963930 w 4610101"/>
              <a:gd name="connsiteY6856" fmla="*/ 1988882 h 6557032"/>
              <a:gd name="connsiteX6857" fmla="*/ 1084194 w 4610101"/>
              <a:gd name="connsiteY6857" fmla="*/ 1987022 h 6557032"/>
              <a:gd name="connsiteX6858" fmla="*/ 1069616 w 4610101"/>
              <a:gd name="connsiteY6858" fmla="*/ 2001598 h 6557032"/>
              <a:gd name="connsiteX6859" fmla="*/ 1084194 w 4610101"/>
              <a:gd name="connsiteY6859" fmla="*/ 2008887 h 6557032"/>
              <a:gd name="connsiteX6860" fmla="*/ 1093305 w 4610101"/>
              <a:gd name="connsiteY6860" fmla="*/ 2003420 h 6557032"/>
              <a:gd name="connsiteX6861" fmla="*/ 1115171 w 4610101"/>
              <a:gd name="connsiteY6861" fmla="*/ 1979733 h 6557032"/>
              <a:gd name="connsiteX6862" fmla="*/ 1098771 w 4610101"/>
              <a:gd name="connsiteY6862" fmla="*/ 1981554 h 6557032"/>
              <a:gd name="connsiteX6863" fmla="*/ 1113349 w 4610101"/>
              <a:gd name="connsiteY6863" fmla="*/ 1996132 h 6557032"/>
              <a:gd name="connsiteX6864" fmla="*/ 3422043 w 4610101"/>
              <a:gd name="connsiteY6864" fmla="*/ 1977967 h 6557032"/>
              <a:gd name="connsiteX6865" fmla="*/ 3431154 w 4610101"/>
              <a:gd name="connsiteY6865" fmla="*/ 1994352 h 6557032"/>
              <a:gd name="connsiteX6866" fmla="*/ 3409288 w 4610101"/>
              <a:gd name="connsiteY6866" fmla="*/ 1994352 h 6557032"/>
              <a:gd name="connsiteX6867" fmla="*/ 3363734 w 4610101"/>
              <a:gd name="connsiteY6867" fmla="*/ 1957951 h 6557032"/>
              <a:gd name="connsiteX6868" fmla="*/ 3380134 w 4610101"/>
              <a:gd name="connsiteY6868" fmla="*/ 1970690 h 6557032"/>
              <a:gd name="connsiteX6869" fmla="*/ 3354623 w 4610101"/>
              <a:gd name="connsiteY6869" fmla="*/ 1979811 h 6557032"/>
              <a:gd name="connsiteX6870" fmla="*/ 1078727 w 4610101"/>
              <a:gd name="connsiteY6870" fmla="*/ 1957866 h 6557032"/>
              <a:gd name="connsiteX6871" fmla="*/ 1069616 w 4610101"/>
              <a:gd name="connsiteY6871" fmla="*/ 1979733 h 6557032"/>
              <a:gd name="connsiteX6872" fmla="*/ 1095127 w 4610101"/>
              <a:gd name="connsiteY6872" fmla="*/ 1972444 h 6557032"/>
              <a:gd name="connsiteX6873" fmla="*/ 2817081 w 4610101"/>
              <a:gd name="connsiteY6873" fmla="*/ 1956045 h 6557032"/>
              <a:gd name="connsiteX6874" fmla="*/ 2880857 w 4610101"/>
              <a:gd name="connsiteY6874" fmla="*/ 1963334 h 6557032"/>
              <a:gd name="connsiteX6875" fmla="*/ 3072187 w 4610101"/>
              <a:gd name="connsiteY6875" fmla="*/ 1981557 h 6557032"/>
              <a:gd name="connsiteX6876" fmla="*/ 3289025 w 4610101"/>
              <a:gd name="connsiteY6876" fmla="*/ 2059908 h 6557032"/>
              <a:gd name="connsiteX6877" fmla="*/ 3290848 w 4610101"/>
              <a:gd name="connsiteY6877" fmla="*/ 2061729 h 6557032"/>
              <a:gd name="connsiteX6878" fmla="*/ 3068542 w 4610101"/>
              <a:gd name="connsiteY6878" fmla="*/ 2019821 h 6557032"/>
              <a:gd name="connsiteX6879" fmla="*/ 3074009 w 4610101"/>
              <a:gd name="connsiteY6879" fmla="*/ 2027109 h 6557032"/>
              <a:gd name="connsiteX6880" fmla="*/ 3132318 w 4610101"/>
              <a:gd name="connsiteY6880" fmla="*/ 2032577 h 6557032"/>
              <a:gd name="connsiteX6881" fmla="*/ 3199739 w 4610101"/>
              <a:gd name="connsiteY6881" fmla="*/ 2048975 h 6557032"/>
              <a:gd name="connsiteX6882" fmla="*/ 3289025 w 4610101"/>
              <a:gd name="connsiteY6882" fmla="*/ 2076308 h 6557032"/>
              <a:gd name="connsiteX6883" fmla="*/ 3221605 w 4610101"/>
              <a:gd name="connsiteY6883" fmla="*/ 2070841 h 6557032"/>
              <a:gd name="connsiteX6884" fmla="*/ 3099519 w 4610101"/>
              <a:gd name="connsiteY6884" fmla="*/ 2039865 h 6557032"/>
              <a:gd name="connsiteX6885" fmla="*/ 3094053 w 4610101"/>
              <a:gd name="connsiteY6885" fmla="*/ 2043510 h 6557032"/>
              <a:gd name="connsiteX6886" fmla="*/ 3199739 w 4610101"/>
              <a:gd name="connsiteY6886" fmla="*/ 2076308 h 6557032"/>
              <a:gd name="connsiteX6887" fmla="*/ 3310891 w 4610101"/>
              <a:gd name="connsiteY6887" fmla="*/ 2089064 h 6557032"/>
              <a:gd name="connsiteX6888" fmla="*/ 3228893 w 4610101"/>
              <a:gd name="connsiteY6888" fmla="*/ 2098175 h 6557032"/>
              <a:gd name="connsiteX6889" fmla="*/ 3137785 w 4610101"/>
              <a:gd name="connsiteY6889" fmla="*/ 2070841 h 6557032"/>
              <a:gd name="connsiteX6890" fmla="*/ 3130496 w 4610101"/>
              <a:gd name="connsiteY6890" fmla="*/ 2074486 h 6557032"/>
              <a:gd name="connsiteX6891" fmla="*/ 3299958 w 4610101"/>
              <a:gd name="connsiteY6891" fmla="*/ 2105463 h 6557032"/>
              <a:gd name="connsiteX6892" fmla="*/ 3259870 w 4610101"/>
              <a:gd name="connsiteY6892" fmla="*/ 2114572 h 6557032"/>
              <a:gd name="connsiteX6893" fmla="*/ 3247115 w 4610101"/>
              <a:gd name="connsiteY6893" fmla="*/ 2114572 h 6557032"/>
              <a:gd name="connsiteX6894" fmla="*/ 3145074 w 4610101"/>
              <a:gd name="connsiteY6894" fmla="*/ 2101817 h 6557032"/>
              <a:gd name="connsiteX6895" fmla="*/ 3143251 w 4610101"/>
              <a:gd name="connsiteY6895" fmla="*/ 2110929 h 6557032"/>
              <a:gd name="connsiteX6896" fmla="*/ 3221605 w 4610101"/>
              <a:gd name="connsiteY6896" fmla="*/ 2134618 h 6557032"/>
              <a:gd name="connsiteX6897" fmla="*/ 3179695 w 4610101"/>
              <a:gd name="connsiteY6897" fmla="*/ 2134618 h 6557032"/>
              <a:gd name="connsiteX6898" fmla="*/ 3083120 w 4610101"/>
              <a:gd name="connsiteY6898" fmla="*/ 2103640 h 6557032"/>
              <a:gd name="connsiteX6899" fmla="*/ 3086764 w 4610101"/>
              <a:gd name="connsiteY6899" fmla="*/ 2112752 h 6557032"/>
              <a:gd name="connsiteX6900" fmla="*/ 3156007 w 4610101"/>
              <a:gd name="connsiteY6900" fmla="*/ 2141906 h 6557032"/>
              <a:gd name="connsiteX6901" fmla="*/ 3019343 w 4610101"/>
              <a:gd name="connsiteY6901" fmla="*/ 2089064 h 6557032"/>
              <a:gd name="connsiteX6902" fmla="*/ 2982900 w 4610101"/>
              <a:gd name="connsiteY6902" fmla="*/ 2059908 h 6557032"/>
              <a:gd name="connsiteX6903" fmla="*/ 2981078 w 4610101"/>
              <a:gd name="connsiteY6903" fmla="*/ 2058087 h 6557032"/>
              <a:gd name="connsiteX6904" fmla="*/ 2935524 w 4610101"/>
              <a:gd name="connsiteY6904" fmla="*/ 2021644 h 6557032"/>
              <a:gd name="connsiteX6905" fmla="*/ 2817081 w 4610101"/>
              <a:gd name="connsiteY6905" fmla="*/ 1956045 h 6557032"/>
              <a:gd name="connsiteX6906" fmla="*/ 3385599 w 4610101"/>
              <a:gd name="connsiteY6906" fmla="*/ 1941539 h 6557032"/>
              <a:gd name="connsiteX6907" fmla="*/ 3400177 w 4610101"/>
              <a:gd name="connsiteY6907" fmla="*/ 1963392 h 6557032"/>
              <a:gd name="connsiteX6908" fmla="*/ 3385599 w 4610101"/>
              <a:gd name="connsiteY6908" fmla="*/ 1941539 h 6557032"/>
              <a:gd name="connsiteX6909" fmla="*/ 1053217 w 4610101"/>
              <a:gd name="connsiteY6909" fmla="*/ 1941468 h 6557032"/>
              <a:gd name="connsiteX6910" fmla="*/ 1040462 w 4610101"/>
              <a:gd name="connsiteY6910" fmla="*/ 1957866 h 6557032"/>
              <a:gd name="connsiteX6911" fmla="*/ 1055040 w 4610101"/>
              <a:gd name="connsiteY6911" fmla="*/ 1957866 h 6557032"/>
              <a:gd name="connsiteX6912" fmla="*/ 1055040 w 4610101"/>
              <a:gd name="connsiteY6912" fmla="*/ 1972444 h 6557032"/>
              <a:gd name="connsiteX6913" fmla="*/ 1038639 w 4610101"/>
              <a:gd name="connsiteY6913" fmla="*/ 1981554 h 6557032"/>
              <a:gd name="connsiteX6914" fmla="*/ 1055040 w 4610101"/>
              <a:gd name="connsiteY6914" fmla="*/ 1994309 h 6557032"/>
              <a:gd name="connsiteX6915" fmla="*/ 1055040 w 4610101"/>
              <a:gd name="connsiteY6915" fmla="*/ 1972444 h 6557032"/>
              <a:gd name="connsiteX6916" fmla="*/ 1053217 w 4610101"/>
              <a:gd name="connsiteY6916" fmla="*/ 1941468 h 6557032"/>
              <a:gd name="connsiteX6917" fmla="*/ 3693548 w 4610101"/>
              <a:gd name="connsiteY6917" fmla="*/ 1932443 h 6557032"/>
              <a:gd name="connsiteX6918" fmla="*/ 3702659 w 4610101"/>
              <a:gd name="connsiteY6918" fmla="*/ 1948841 h 6557032"/>
              <a:gd name="connsiteX6919" fmla="*/ 3678970 w 4610101"/>
              <a:gd name="connsiteY6919" fmla="*/ 1948841 h 6557032"/>
              <a:gd name="connsiteX6920" fmla="*/ 969397 w 4610101"/>
              <a:gd name="connsiteY6920" fmla="*/ 1927075 h 6557032"/>
              <a:gd name="connsiteX6921" fmla="*/ 969397 w 4610101"/>
              <a:gd name="connsiteY6921" fmla="*/ 1934298 h 6557032"/>
              <a:gd name="connsiteX6922" fmla="*/ 932953 w 4610101"/>
              <a:gd name="connsiteY6922" fmla="*/ 1948871 h 6557032"/>
              <a:gd name="connsiteX6923" fmla="*/ 916553 w 4610101"/>
              <a:gd name="connsiteY6923" fmla="*/ 1928838 h 6557032"/>
              <a:gd name="connsiteX6924" fmla="*/ 969397 w 4610101"/>
              <a:gd name="connsiteY6924" fmla="*/ 1927014 h 6557032"/>
              <a:gd name="connsiteX6925" fmla="*/ 971219 w 4610101"/>
              <a:gd name="connsiteY6925" fmla="*/ 1927014 h 6557032"/>
              <a:gd name="connsiteX6926" fmla="*/ 969397 w 4610101"/>
              <a:gd name="connsiteY6926" fmla="*/ 1927075 h 6557032"/>
              <a:gd name="connsiteX6927" fmla="*/ 1007663 w 4610101"/>
              <a:gd name="connsiteY6927" fmla="*/ 1903276 h 6557032"/>
              <a:gd name="connsiteX6928" fmla="*/ 1018596 w 4610101"/>
              <a:gd name="connsiteY6928" fmla="*/ 1919682 h 6557032"/>
              <a:gd name="connsiteX6929" fmla="*/ 993085 w 4610101"/>
              <a:gd name="connsiteY6929" fmla="*/ 1917864 h 6557032"/>
              <a:gd name="connsiteX6930" fmla="*/ 3309068 w 4610101"/>
              <a:gd name="connsiteY6930" fmla="*/ 1903200 h 6557032"/>
              <a:gd name="connsiteX6931" fmla="*/ 3307246 w 4610101"/>
              <a:gd name="connsiteY6931" fmla="*/ 1910489 h 6557032"/>
              <a:gd name="connsiteX6932" fmla="*/ 3309068 w 4610101"/>
              <a:gd name="connsiteY6932" fmla="*/ 1903200 h 6557032"/>
              <a:gd name="connsiteX6933" fmla="*/ 3305424 w 4610101"/>
              <a:gd name="connsiteY6933" fmla="*/ 1887293 h 6557032"/>
              <a:gd name="connsiteX6934" fmla="*/ 3305424 w 4610101"/>
              <a:gd name="connsiteY6934" fmla="*/ 1888727 h 6557032"/>
              <a:gd name="connsiteX6935" fmla="*/ 3303602 w 4610101"/>
              <a:gd name="connsiteY6935" fmla="*/ 1888727 h 6557032"/>
              <a:gd name="connsiteX6936" fmla="*/ 3064896 w 4610101"/>
              <a:gd name="connsiteY6936" fmla="*/ 1877690 h 6557032"/>
              <a:gd name="connsiteX6937" fmla="*/ 3258048 w 4610101"/>
              <a:gd name="connsiteY6937" fmla="*/ 1957866 h 6557032"/>
              <a:gd name="connsiteX6938" fmla="*/ 3281736 w 4610101"/>
              <a:gd name="connsiteY6938" fmla="*/ 2010709 h 6557032"/>
              <a:gd name="connsiteX6939" fmla="*/ 3285380 w 4610101"/>
              <a:gd name="connsiteY6939" fmla="*/ 2023465 h 6557032"/>
              <a:gd name="connsiteX6940" fmla="*/ 3274447 w 4610101"/>
              <a:gd name="connsiteY6940" fmla="*/ 2003420 h 6557032"/>
              <a:gd name="connsiteX6941" fmla="*/ 3250759 w 4610101"/>
              <a:gd name="connsiteY6941" fmla="*/ 1963332 h 6557032"/>
              <a:gd name="connsiteX6942" fmla="*/ 3250759 w 4610101"/>
              <a:gd name="connsiteY6942" fmla="*/ 1970621 h 6557032"/>
              <a:gd name="connsiteX6943" fmla="*/ 3276270 w 4610101"/>
              <a:gd name="connsiteY6943" fmla="*/ 2016176 h 6557032"/>
              <a:gd name="connsiteX6944" fmla="*/ 3279914 w 4610101"/>
              <a:gd name="connsiteY6944" fmla="*/ 2023465 h 6557032"/>
              <a:gd name="connsiteX6945" fmla="*/ 3272625 w 4610101"/>
              <a:gd name="connsiteY6945" fmla="*/ 2016176 h 6557032"/>
              <a:gd name="connsiteX6946" fmla="*/ 3228893 w 4610101"/>
              <a:gd name="connsiteY6946" fmla="*/ 1965155 h 6557032"/>
              <a:gd name="connsiteX6947" fmla="*/ 3221604 w 4610101"/>
              <a:gd name="connsiteY6947" fmla="*/ 1968799 h 6557032"/>
              <a:gd name="connsiteX6948" fmla="*/ 3259870 w 4610101"/>
              <a:gd name="connsiteY6948" fmla="*/ 2019821 h 6557032"/>
              <a:gd name="connsiteX6949" fmla="*/ 3245293 w 4610101"/>
              <a:gd name="connsiteY6949" fmla="*/ 2003420 h 6557032"/>
              <a:gd name="connsiteX6950" fmla="*/ 3190627 w 4610101"/>
              <a:gd name="connsiteY6950" fmla="*/ 1956044 h 6557032"/>
              <a:gd name="connsiteX6951" fmla="*/ 3185161 w 4610101"/>
              <a:gd name="connsiteY6951" fmla="*/ 1963332 h 6557032"/>
              <a:gd name="connsiteX6952" fmla="*/ 3216138 w 4610101"/>
              <a:gd name="connsiteY6952" fmla="*/ 1994309 h 6557032"/>
              <a:gd name="connsiteX6953" fmla="*/ 3208849 w 4610101"/>
              <a:gd name="connsiteY6953" fmla="*/ 1988843 h 6557032"/>
              <a:gd name="connsiteX6954" fmla="*/ 3146895 w 4610101"/>
              <a:gd name="connsiteY6954" fmla="*/ 1948755 h 6557032"/>
              <a:gd name="connsiteX6955" fmla="*/ 3141429 w 4610101"/>
              <a:gd name="connsiteY6955" fmla="*/ 1954222 h 6557032"/>
              <a:gd name="connsiteX6956" fmla="*/ 3199738 w 4610101"/>
              <a:gd name="connsiteY6956" fmla="*/ 1997954 h 6557032"/>
              <a:gd name="connsiteX6957" fmla="*/ 3212494 w 4610101"/>
              <a:gd name="connsiteY6957" fmla="*/ 2012532 h 6557032"/>
              <a:gd name="connsiteX6958" fmla="*/ 3159650 w 4610101"/>
              <a:gd name="connsiteY6958" fmla="*/ 1992487 h 6557032"/>
              <a:gd name="connsiteX6959" fmla="*/ 3064896 w 4610101"/>
              <a:gd name="connsiteY6959" fmla="*/ 1877690 h 6557032"/>
              <a:gd name="connsiteX6960" fmla="*/ 645051 w 4610101"/>
              <a:gd name="connsiteY6960" fmla="*/ 1870439 h 6557032"/>
              <a:gd name="connsiteX6961" fmla="*/ 637761 w 4610101"/>
              <a:gd name="connsiteY6961" fmla="*/ 1903240 h 6557032"/>
              <a:gd name="connsiteX6962" fmla="*/ 635939 w 4610101"/>
              <a:gd name="connsiteY6962" fmla="*/ 1894126 h 6557032"/>
              <a:gd name="connsiteX6963" fmla="*/ 615895 w 4610101"/>
              <a:gd name="connsiteY6963" fmla="*/ 1903240 h 6557032"/>
              <a:gd name="connsiteX6964" fmla="*/ 645051 w 4610101"/>
              <a:gd name="connsiteY6964" fmla="*/ 1870439 h 6557032"/>
              <a:gd name="connsiteX6965" fmla="*/ 3651638 w 4610101"/>
              <a:gd name="connsiteY6965" fmla="*/ 1866874 h 6557032"/>
              <a:gd name="connsiteX6966" fmla="*/ 3682615 w 4610101"/>
              <a:gd name="connsiteY6966" fmla="*/ 1896020 h 6557032"/>
              <a:gd name="connsiteX6967" fmla="*/ 3671682 w 4610101"/>
              <a:gd name="connsiteY6967" fmla="*/ 1919725 h 6557032"/>
              <a:gd name="connsiteX6968" fmla="*/ 3642527 w 4610101"/>
              <a:gd name="connsiteY6968" fmla="*/ 1919725 h 6557032"/>
              <a:gd name="connsiteX6969" fmla="*/ 3635238 w 4610101"/>
              <a:gd name="connsiteY6969" fmla="*/ 1888739 h 6557032"/>
              <a:gd name="connsiteX6970" fmla="*/ 3651638 w 4610101"/>
              <a:gd name="connsiteY6970" fmla="*/ 1866874 h 6557032"/>
              <a:gd name="connsiteX6971" fmla="*/ 1033173 w 4610101"/>
              <a:gd name="connsiteY6971" fmla="*/ 1866825 h 6557032"/>
              <a:gd name="connsiteX6972" fmla="*/ 1024062 w 4610101"/>
              <a:gd name="connsiteY6972" fmla="*/ 1881403 h 6557032"/>
              <a:gd name="connsiteX6973" fmla="*/ 1007663 w 4610101"/>
              <a:gd name="connsiteY6973" fmla="*/ 1868648 h 6557032"/>
              <a:gd name="connsiteX6974" fmla="*/ 1093305 w 4610101"/>
              <a:gd name="connsiteY6974" fmla="*/ 1866758 h 6557032"/>
              <a:gd name="connsiteX6975" fmla="*/ 1084194 w 4610101"/>
              <a:gd name="connsiteY6975" fmla="*/ 1881336 h 6557032"/>
              <a:gd name="connsiteX6976" fmla="*/ 1100593 w 4610101"/>
              <a:gd name="connsiteY6976" fmla="*/ 1881336 h 6557032"/>
              <a:gd name="connsiteX6977" fmla="*/ 1100593 w 4610101"/>
              <a:gd name="connsiteY6977" fmla="*/ 1897735 h 6557032"/>
              <a:gd name="connsiteX6978" fmla="*/ 1116993 w 4610101"/>
              <a:gd name="connsiteY6978" fmla="*/ 1886802 h 6557032"/>
              <a:gd name="connsiteX6979" fmla="*/ 3228892 w 4610101"/>
              <a:gd name="connsiteY6979" fmla="*/ 1864934 h 6557032"/>
              <a:gd name="connsiteX6980" fmla="*/ 3278091 w 4610101"/>
              <a:gd name="connsiteY6980" fmla="*/ 1883156 h 6557032"/>
              <a:gd name="connsiteX6981" fmla="*/ 3276269 w 4610101"/>
              <a:gd name="connsiteY6981" fmla="*/ 1888623 h 6557032"/>
              <a:gd name="connsiteX6982" fmla="*/ 3283558 w 4610101"/>
              <a:gd name="connsiteY6982" fmla="*/ 1890445 h 6557032"/>
              <a:gd name="connsiteX6983" fmla="*/ 3283558 w 4610101"/>
              <a:gd name="connsiteY6983" fmla="*/ 1884978 h 6557032"/>
              <a:gd name="connsiteX6984" fmla="*/ 3287202 w 4610101"/>
              <a:gd name="connsiteY6984" fmla="*/ 1886800 h 6557032"/>
              <a:gd name="connsiteX6985" fmla="*/ 3274447 w 4610101"/>
              <a:gd name="connsiteY6985" fmla="*/ 1892267 h 6557032"/>
              <a:gd name="connsiteX6986" fmla="*/ 3272625 w 4610101"/>
              <a:gd name="connsiteY6986" fmla="*/ 1890445 h 6557032"/>
              <a:gd name="connsiteX6987" fmla="*/ 3268980 w 4610101"/>
              <a:gd name="connsiteY6987" fmla="*/ 1895911 h 6557032"/>
              <a:gd name="connsiteX6988" fmla="*/ 3290846 w 4610101"/>
              <a:gd name="connsiteY6988" fmla="*/ 1895911 h 6557032"/>
              <a:gd name="connsiteX6989" fmla="*/ 3305424 w 4610101"/>
              <a:gd name="connsiteY6989" fmla="*/ 1895911 h 6557032"/>
              <a:gd name="connsiteX6990" fmla="*/ 3321823 w 4610101"/>
              <a:gd name="connsiteY6990" fmla="*/ 1917777 h 6557032"/>
              <a:gd name="connsiteX6991" fmla="*/ 3320001 w 4610101"/>
              <a:gd name="connsiteY6991" fmla="*/ 1917777 h 6557032"/>
              <a:gd name="connsiteX6992" fmla="*/ 3292668 w 4610101"/>
              <a:gd name="connsiteY6992" fmla="*/ 1939643 h 6557032"/>
              <a:gd name="connsiteX6993" fmla="*/ 3309068 w 4610101"/>
              <a:gd name="connsiteY6993" fmla="*/ 1939643 h 6557032"/>
              <a:gd name="connsiteX6994" fmla="*/ 3301779 w 4610101"/>
              <a:gd name="connsiteY6994" fmla="*/ 1954221 h 6557032"/>
              <a:gd name="connsiteX6995" fmla="*/ 3323645 w 4610101"/>
              <a:gd name="connsiteY6995" fmla="*/ 1954221 h 6557032"/>
              <a:gd name="connsiteX6996" fmla="*/ 3330934 w 4610101"/>
              <a:gd name="connsiteY6996" fmla="*/ 1932355 h 6557032"/>
              <a:gd name="connsiteX6997" fmla="*/ 3330934 w 4610101"/>
              <a:gd name="connsiteY6997" fmla="*/ 1946932 h 6557032"/>
              <a:gd name="connsiteX6998" fmla="*/ 3345512 w 4610101"/>
              <a:gd name="connsiteY6998" fmla="*/ 1946932 h 6557032"/>
              <a:gd name="connsiteX6999" fmla="*/ 3330934 w 4610101"/>
              <a:gd name="connsiteY6999" fmla="*/ 1985198 h 6557032"/>
              <a:gd name="connsiteX7000" fmla="*/ 3345512 w 4610101"/>
              <a:gd name="connsiteY7000" fmla="*/ 1985198 h 6557032"/>
              <a:gd name="connsiteX7001" fmla="*/ 3350978 w 4610101"/>
              <a:gd name="connsiteY7001" fmla="*/ 1990664 h 6557032"/>
              <a:gd name="connsiteX7002" fmla="*/ 3345512 w 4610101"/>
              <a:gd name="connsiteY7002" fmla="*/ 1999775 h 6557032"/>
              <a:gd name="connsiteX7003" fmla="*/ 3360089 w 4610101"/>
              <a:gd name="connsiteY7003" fmla="*/ 2007064 h 6557032"/>
              <a:gd name="connsiteX7004" fmla="*/ 3367378 w 4610101"/>
              <a:gd name="connsiteY7004" fmla="*/ 2021641 h 6557032"/>
              <a:gd name="connsiteX7005" fmla="*/ 3345512 w 4610101"/>
              <a:gd name="connsiteY7005" fmla="*/ 2021641 h 6557032"/>
              <a:gd name="connsiteX7006" fmla="*/ 3350978 w 4610101"/>
              <a:gd name="connsiteY7006" fmla="*/ 2052619 h 6557032"/>
              <a:gd name="connsiteX7007" fmla="*/ 3358267 w 4610101"/>
              <a:gd name="connsiteY7007" fmla="*/ 2052619 h 6557032"/>
              <a:gd name="connsiteX7008" fmla="*/ 3358267 w 4610101"/>
              <a:gd name="connsiteY7008" fmla="*/ 2048975 h 6557032"/>
              <a:gd name="connsiteX7009" fmla="*/ 3369200 w 4610101"/>
              <a:gd name="connsiteY7009" fmla="*/ 2063551 h 6557032"/>
              <a:gd name="connsiteX7010" fmla="*/ 3360089 w 4610101"/>
              <a:gd name="connsiteY7010" fmla="*/ 2074484 h 6557032"/>
              <a:gd name="connsiteX7011" fmla="*/ 3364243 w 4610101"/>
              <a:gd name="connsiteY7011" fmla="*/ 2080023 h 6557032"/>
              <a:gd name="connsiteX7012" fmla="*/ 3345511 w 4610101"/>
              <a:gd name="connsiteY7012" fmla="*/ 2063779 h 6557032"/>
              <a:gd name="connsiteX7013" fmla="*/ 3321823 w 4610101"/>
              <a:gd name="connsiteY7013" fmla="*/ 2034397 h 6557032"/>
              <a:gd name="connsiteX7014" fmla="*/ 3336401 w 4610101"/>
              <a:gd name="connsiteY7014" fmla="*/ 2030752 h 6557032"/>
              <a:gd name="connsiteX7015" fmla="*/ 3336401 w 4610101"/>
              <a:gd name="connsiteY7015" fmla="*/ 2023463 h 6557032"/>
              <a:gd name="connsiteX7016" fmla="*/ 3312712 w 4610101"/>
              <a:gd name="connsiteY7016" fmla="*/ 2023463 h 6557032"/>
              <a:gd name="connsiteX7017" fmla="*/ 3321823 w 4610101"/>
              <a:gd name="connsiteY7017" fmla="*/ 2008886 h 6557032"/>
              <a:gd name="connsiteX7018" fmla="*/ 3299957 w 4610101"/>
              <a:gd name="connsiteY7018" fmla="*/ 2008886 h 6557032"/>
              <a:gd name="connsiteX7019" fmla="*/ 3307246 w 4610101"/>
              <a:gd name="connsiteY7019" fmla="*/ 2039863 h 6557032"/>
              <a:gd name="connsiteX7020" fmla="*/ 3321823 w 4610101"/>
              <a:gd name="connsiteY7020" fmla="*/ 2036219 h 6557032"/>
              <a:gd name="connsiteX7021" fmla="*/ 3321823 w 4610101"/>
              <a:gd name="connsiteY7021" fmla="*/ 2043507 h 6557032"/>
              <a:gd name="connsiteX7022" fmla="*/ 3325468 w 4610101"/>
              <a:gd name="connsiteY7022" fmla="*/ 2048975 h 6557032"/>
              <a:gd name="connsiteX7023" fmla="*/ 3321823 w 4610101"/>
              <a:gd name="connsiteY7023" fmla="*/ 2052619 h 6557032"/>
              <a:gd name="connsiteX7024" fmla="*/ 3314534 w 4610101"/>
              <a:gd name="connsiteY7024" fmla="*/ 2041685 h 6557032"/>
              <a:gd name="connsiteX7025" fmla="*/ 3307246 w 4610101"/>
              <a:gd name="connsiteY7025" fmla="*/ 2043507 h 6557032"/>
              <a:gd name="connsiteX7026" fmla="*/ 3314534 w 4610101"/>
              <a:gd name="connsiteY7026" fmla="*/ 2059907 h 6557032"/>
              <a:gd name="connsiteX7027" fmla="*/ 3316357 w 4610101"/>
              <a:gd name="connsiteY7027" fmla="*/ 2059907 h 6557032"/>
              <a:gd name="connsiteX7028" fmla="*/ 3327290 w 4610101"/>
              <a:gd name="connsiteY7028" fmla="*/ 2078129 h 6557032"/>
              <a:gd name="connsiteX7029" fmla="*/ 3325468 w 4610101"/>
              <a:gd name="connsiteY7029" fmla="*/ 2079951 h 6557032"/>
              <a:gd name="connsiteX7030" fmla="*/ 3314534 w 4610101"/>
              <a:gd name="connsiteY7030" fmla="*/ 2065373 h 6557032"/>
              <a:gd name="connsiteX7031" fmla="*/ 3287202 w 4610101"/>
              <a:gd name="connsiteY7031" fmla="*/ 1994309 h 6557032"/>
              <a:gd name="connsiteX7032" fmla="*/ 3268980 w 4610101"/>
              <a:gd name="connsiteY7032" fmla="*/ 1954221 h 6557032"/>
              <a:gd name="connsiteX7033" fmla="*/ 3267158 w 4610101"/>
              <a:gd name="connsiteY7033" fmla="*/ 1950577 h 6557032"/>
              <a:gd name="connsiteX7034" fmla="*/ 3243470 w 4610101"/>
              <a:gd name="connsiteY7034" fmla="*/ 1905022 h 6557032"/>
              <a:gd name="connsiteX7035" fmla="*/ 3228892 w 4610101"/>
              <a:gd name="connsiteY7035" fmla="*/ 1864934 h 6557032"/>
              <a:gd name="connsiteX7036" fmla="*/ 3327291 w 4610101"/>
              <a:gd name="connsiteY7036" fmla="*/ 1859576 h 6557032"/>
              <a:gd name="connsiteX7037" fmla="*/ 3343690 w 4610101"/>
              <a:gd name="connsiteY7037" fmla="*/ 1872331 h 6557032"/>
              <a:gd name="connsiteX7038" fmla="*/ 3314991 w 4610101"/>
              <a:gd name="connsiteY7038" fmla="*/ 1879761 h 6557032"/>
              <a:gd name="connsiteX7039" fmla="*/ 3305424 w 4610101"/>
              <a:gd name="connsiteY7039" fmla="*/ 1887293 h 6557032"/>
              <a:gd name="connsiteX7040" fmla="*/ 3305424 w 4610101"/>
              <a:gd name="connsiteY7040" fmla="*/ 1866865 h 6557032"/>
              <a:gd name="connsiteX7041" fmla="*/ 3748211 w 4610101"/>
              <a:gd name="connsiteY7041" fmla="*/ 1857741 h 6557032"/>
              <a:gd name="connsiteX7042" fmla="*/ 3762789 w 4610101"/>
              <a:gd name="connsiteY7042" fmla="*/ 1888714 h 6557032"/>
              <a:gd name="connsiteX7043" fmla="*/ 3748211 w 4610101"/>
              <a:gd name="connsiteY7043" fmla="*/ 1857741 h 6557032"/>
              <a:gd name="connsiteX7044" fmla="*/ 4404194 w 4610101"/>
              <a:gd name="connsiteY7044" fmla="*/ 1852254 h 6557032"/>
              <a:gd name="connsiteX7045" fmla="*/ 4420594 w 4610101"/>
              <a:gd name="connsiteY7045" fmla="*/ 1865009 h 6557032"/>
              <a:gd name="connsiteX7046" fmla="*/ 4404194 w 4610101"/>
              <a:gd name="connsiteY7046" fmla="*/ 1874122 h 6557032"/>
              <a:gd name="connsiteX7047" fmla="*/ 3283558 w 4610101"/>
              <a:gd name="connsiteY7047" fmla="*/ 1837604 h 6557032"/>
              <a:gd name="connsiteX7048" fmla="*/ 3284718 w 4610101"/>
              <a:gd name="connsiteY7048" fmla="*/ 1838432 h 6557032"/>
              <a:gd name="connsiteX7049" fmla="*/ 3283987 w 4610101"/>
              <a:gd name="connsiteY7049" fmla="*/ 1838675 h 6557032"/>
              <a:gd name="connsiteX7050" fmla="*/ 1098771 w 4610101"/>
              <a:gd name="connsiteY7050" fmla="*/ 1835781 h 6557032"/>
              <a:gd name="connsiteX7051" fmla="*/ 1084194 w 4610101"/>
              <a:gd name="connsiteY7051" fmla="*/ 1852181 h 6557032"/>
              <a:gd name="connsiteX7052" fmla="*/ 1098771 w 4610101"/>
              <a:gd name="connsiteY7052" fmla="*/ 1859470 h 6557032"/>
              <a:gd name="connsiteX7053" fmla="*/ 1107882 w 4610101"/>
              <a:gd name="connsiteY7053" fmla="*/ 1852181 h 6557032"/>
              <a:gd name="connsiteX7054" fmla="*/ 1129748 w 4610101"/>
              <a:gd name="connsiteY7054" fmla="*/ 1830315 h 6557032"/>
              <a:gd name="connsiteX7055" fmla="*/ 1113349 w 4610101"/>
              <a:gd name="connsiteY7055" fmla="*/ 1832137 h 6557032"/>
              <a:gd name="connsiteX7056" fmla="*/ 1129748 w 4610101"/>
              <a:gd name="connsiteY7056" fmla="*/ 1844892 h 6557032"/>
              <a:gd name="connsiteX7057" fmla="*/ 1138859 w 4610101"/>
              <a:gd name="connsiteY7057" fmla="*/ 1861292 h 6557032"/>
              <a:gd name="connsiteX7058" fmla="*/ 1151614 w 4610101"/>
              <a:gd name="connsiteY7058" fmla="*/ 1844892 h 6557032"/>
              <a:gd name="connsiteX7059" fmla="*/ 1129748 w 4610101"/>
              <a:gd name="connsiteY7059" fmla="*/ 1844892 h 6557032"/>
              <a:gd name="connsiteX7060" fmla="*/ 3294491 w 4610101"/>
              <a:gd name="connsiteY7060" fmla="*/ 1823143 h 6557032"/>
              <a:gd name="connsiteX7061" fmla="*/ 3332757 w 4610101"/>
              <a:gd name="connsiteY7061" fmla="*/ 1830430 h 6557032"/>
              <a:gd name="connsiteX7062" fmla="*/ 3325468 w 4610101"/>
              <a:gd name="connsiteY7062" fmla="*/ 1845007 h 6557032"/>
              <a:gd name="connsiteX7063" fmla="*/ 3325468 w 4610101"/>
              <a:gd name="connsiteY7063" fmla="*/ 1859583 h 6557032"/>
              <a:gd name="connsiteX7064" fmla="*/ 3294491 w 4610101"/>
              <a:gd name="connsiteY7064" fmla="*/ 1823143 h 6557032"/>
              <a:gd name="connsiteX7065" fmla="*/ 1025884 w 4610101"/>
              <a:gd name="connsiteY7065" fmla="*/ 1804912 h 6557032"/>
              <a:gd name="connsiteX7066" fmla="*/ 1049573 w 4610101"/>
              <a:gd name="connsiteY7066" fmla="*/ 1826775 h 6557032"/>
              <a:gd name="connsiteX7067" fmla="*/ 1018596 w 4610101"/>
              <a:gd name="connsiteY7067" fmla="*/ 1835885 h 6557032"/>
              <a:gd name="connsiteX7068" fmla="*/ 1025884 w 4610101"/>
              <a:gd name="connsiteY7068" fmla="*/ 1804912 h 6557032"/>
              <a:gd name="connsiteX7069" fmla="*/ 3239826 w 4610101"/>
              <a:gd name="connsiteY7069" fmla="*/ 1804805 h 6557032"/>
              <a:gd name="connsiteX7070" fmla="*/ 3225248 w 4610101"/>
              <a:gd name="connsiteY7070" fmla="*/ 1819382 h 6557032"/>
              <a:gd name="connsiteX7071" fmla="*/ 3250759 w 4610101"/>
              <a:gd name="connsiteY7071" fmla="*/ 1821204 h 6557032"/>
              <a:gd name="connsiteX7072" fmla="*/ 3281737 w 4610101"/>
              <a:gd name="connsiteY7072" fmla="*/ 1791915 h 6557032"/>
              <a:gd name="connsiteX7073" fmla="*/ 3281737 w 4610101"/>
              <a:gd name="connsiteY7073" fmla="*/ 1792168 h 6557032"/>
              <a:gd name="connsiteX7074" fmla="*/ 3279914 w 4610101"/>
              <a:gd name="connsiteY7074" fmla="*/ 1792168 h 6557032"/>
              <a:gd name="connsiteX7075" fmla="*/ 3168761 w 4610101"/>
              <a:gd name="connsiteY7075" fmla="*/ 1786583 h 6557032"/>
              <a:gd name="connsiteX7076" fmla="*/ 3181516 w 4610101"/>
              <a:gd name="connsiteY7076" fmla="*/ 1799338 h 6557032"/>
              <a:gd name="connsiteX7077" fmla="*/ 3183338 w 4610101"/>
              <a:gd name="connsiteY7077" fmla="*/ 1795694 h 6557032"/>
              <a:gd name="connsiteX7078" fmla="*/ 3168761 w 4610101"/>
              <a:gd name="connsiteY7078" fmla="*/ 1786583 h 6557032"/>
              <a:gd name="connsiteX7079" fmla="*/ 3210671 w 4610101"/>
              <a:gd name="connsiteY7079" fmla="*/ 1784761 h 6557032"/>
              <a:gd name="connsiteX7080" fmla="*/ 3219782 w 4610101"/>
              <a:gd name="connsiteY7080" fmla="*/ 1799338 h 6557032"/>
              <a:gd name="connsiteX7081" fmla="*/ 3230715 w 4610101"/>
              <a:gd name="connsiteY7081" fmla="*/ 1788405 h 6557032"/>
              <a:gd name="connsiteX7082" fmla="*/ 3230715 w 4610101"/>
              <a:gd name="connsiteY7082" fmla="*/ 1784761 h 6557032"/>
              <a:gd name="connsiteX7083" fmla="*/ 603140 w 4610101"/>
              <a:gd name="connsiteY7083" fmla="*/ 1784761 h 6557032"/>
              <a:gd name="connsiteX7084" fmla="*/ 575808 w 4610101"/>
              <a:gd name="connsiteY7084" fmla="*/ 1839426 h 6557032"/>
              <a:gd name="connsiteX7085" fmla="*/ 603140 w 4610101"/>
              <a:gd name="connsiteY7085" fmla="*/ 1784761 h 6557032"/>
              <a:gd name="connsiteX7086" fmla="*/ 554983 w 4610101"/>
              <a:gd name="connsiteY7086" fmla="*/ 1784592 h 6557032"/>
              <a:gd name="connsiteX7087" fmla="*/ 539592 w 4610101"/>
              <a:gd name="connsiteY7087" fmla="*/ 1796832 h 6557032"/>
              <a:gd name="connsiteX7088" fmla="*/ 517498 w 4610101"/>
              <a:gd name="connsiteY7088" fmla="*/ 1826671 h 6557032"/>
              <a:gd name="connsiteX7089" fmla="*/ 517498 w 4610101"/>
              <a:gd name="connsiteY7089" fmla="*/ 1823026 h 6557032"/>
              <a:gd name="connsiteX7090" fmla="*/ 513853 w 4610101"/>
              <a:gd name="connsiteY7090" fmla="*/ 1824848 h 6557032"/>
              <a:gd name="connsiteX7091" fmla="*/ 532075 w 4610101"/>
              <a:gd name="connsiteY7091" fmla="*/ 1801160 h 6557032"/>
              <a:gd name="connsiteX7092" fmla="*/ 493809 w 4610101"/>
              <a:gd name="connsiteY7092" fmla="*/ 1819382 h 6557032"/>
              <a:gd name="connsiteX7093" fmla="*/ 543008 w 4610101"/>
              <a:gd name="connsiteY7093" fmla="*/ 1790227 h 6557032"/>
              <a:gd name="connsiteX7094" fmla="*/ 535719 w 4610101"/>
              <a:gd name="connsiteY7094" fmla="*/ 1788405 h 6557032"/>
              <a:gd name="connsiteX7095" fmla="*/ 559180 w 4610101"/>
              <a:gd name="connsiteY7095" fmla="*/ 1781255 h 6557032"/>
              <a:gd name="connsiteX7096" fmla="*/ 557586 w 4610101"/>
              <a:gd name="connsiteY7096" fmla="*/ 1784077 h 6557032"/>
              <a:gd name="connsiteX7097" fmla="*/ 554983 w 4610101"/>
              <a:gd name="connsiteY7097" fmla="*/ 1784592 h 6557032"/>
              <a:gd name="connsiteX7098" fmla="*/ 594030 w 4610101"/>
              <a:gd name="connsiteY7098" fmla="*/ 1772005 h 6557032"/>
              <a:gd name="connsiteX7099" fmla="*/ 590385 w 4610101"/>
              <a:gd name="connsiteY7099" fmla="*/ 1775042 h 6557032"/>
              <a:gd name="connsiteX7100" fmla="*/ 590385 w 4610101"/>
              <a:gd name="connsiteY7100" fmla="*/ 1773827 h 6557032"/>
              <a:gd name="connsiteX7101" fmla="*/ 583096 w 4610101"/>
              <a:gd name="connsiteY7101" fmla="*/ 1781116 h 6557032"/>
              <a:gd name="connsiteX7102" fmla="*/ 590385 w 4610101"/>
              <a:gd name="connsiteY7102" fmla="*/ 1775042 h 6557032"/>
              <a:gd name="connsiteX7103" fmla="*/ 590385 w 4610101"/>
              <a:gd name="connsiteY7103" fmla="*/ 1777472 h 6557032"/>
              <a:gd name="connsiteX7104" fmla="*/ 594030 w 4610101"/>
              <a:gd name="connsiteY7104" fmla="*/ 1772005 h 6557032"/>
              <a:gd name="connsiteX7105" fmla="*/ 1151614 w 4610101"/>
              <a:gd name="connsiteY7105" fmla="*/ 1770183 h 6557032"/>
              <a:gd name="connsiteX7106" fmla="*/ 1151614 w 4610101"/>
              <a:gd name="connsiteY7106" fmla="*/ 1784761 h 6557032"/>
              <a:gd name="connsiteX7107" fmla="*/ 1129748 w 4610101"/>
              <a:gd name="connsiteY7107" fmla="*/ 1784761 h 6557032"/>
              <a:gd name="connsiteX7108" fmla="*/ 1129748 w 4610101"/>
              <a:gd name="connsiteY7108" fmla="*/ 1792049 h 6557032"/>
              <a:gd name="connsiteX7109" fmla="*/ 1153436 w 4610101"/>
              <a:gd name="connsiteY7109" fmla="*/ 1792049 h 6557032"/>
              <a:gd name="connsiteX7110" fmla="*/ 1173481 w 4610101"/>
              <a:gd name="connsiteY7110" fmla="*/ 1784761 h 6557032"/>
              <a:gd name="connsiteX7111" fmla="*/ 1151614 w 4610101"/>
              <a:gd name="connsiteY7111" fmla="*/ 1770183 h 6557032"/>
              <a:gd name="connsiteX7112" fmla="*/ 3170583 w 4610101"/>
              <a:gd name="connsiteY7112" fmla="*/ 1768361 h 6557032"/>
              <a:gd name="connsiteX7113" fmla="*/ 3177872 w 4610101"/>
              <a:gd name="connsiteY7113" fmla="*/ 1775650 h 6557032"/>
              <a:gd name="connsiteX7114" fmla="*/ 3183338 w 4610101"/>
              <a:gd name="connsiteY7114" fmla="*/ 1768361 h 6557032"/>
              <a:gd name="connsiteX7115" fmla="*/ 3305425 w 4610101"/>
              <a:gd name="connsiteY7115" fmla="*/ 1763015 h 6557032"/>
              <a:gd name="connsiteX7116" fmla="*/ 3325469 w 4610101"/>
              <a:gd name="connsiteY7116" fmla="*/ 1770302 h 6557032"/>
              <a:gd name="connsiteX7117" fmla="*/ 3297025 w 4610101"/>
              <a:gd name="connsiteY7117" fmla="*/ 1789775 h 6557032"/>
              <a:gd name="connsiteX7118" fmla="*/ 3281737 w 4610101"/>
              <a:gd name="connsiteY7118" fmla="*/ 1791915 h 6557032"/>
              <a:gd name="connsiteX7119" fmla="*/ 3281737 w 4610101"/>
              <a:gd name="connsiteY7119" fmla="*/ 1775763 h 6557032"/>
              <a:gd name="connsiteX7120" fmla="*/ 3296314 w 4610101"/>
              <a:gd name="connsiteY7120" fmla="*/ 1768481 h 6557032"/>
              <a:gd name="connsiteX7121" fmla="*/ 3363735 w 4610101"/>
              <a:gd name="connsiteY7121" fmla="*/ 1761180 h 6557032"/>
              <a:gd name="connsiteX7122" fmla="*/ 3371023 w 4610101"/>
              <a:gd name="connsiteY7122" fmla="*/ 1784865 h 6557032"/>
              <a:gd name="connsiteX7123" fmla="*/ 3361912 w 4610101"/>
              <a:gd name="connsiteY7123" fmla="*/ 1790333 h 6557032"/>
              <a:gd name="connsiteX7124" fmla="*/ 3341868 w 4610101"/>
              <a:gd name="connsiteY7124" fmla="*/ 1770289 h 6557032"/>
              <a:gd name="connsiteX7125" fmla="*/ 610429 w 4610101"/>
              <a:gd name="connsiteY7125" fmla="*/ 1755606 h 6557032"/>
              <a:gd name="connsiteX7126" fmla="*/ 599496 w 4610101"/>
              <a:gd name="connsiteY7126" fmla="*/ 1770183 h 6557032"/>
              <a:gd name="connsiteX7127" fmla="*/ 610429 w 4610101"/>
              <a:gd name="connsiteY7127" fmla="*/ 1755606 h 6557032"/>
              <a:gd name="connsiteX7128" fmla="*/ 3296314 w 4610101"/>
              <a:gd name="connsiteY7128" fmla="*/ 1746591 h 6557032"/>
              <a:gd name="connsiteX7129" fmla="*/ 3296314 w 4610101"/>
              <a:gd name="connsiteY7129" fmla="*/ 1768456 h 6557032"/>
              <a:gd name="connsiteX7130" fmla="*/ 3270803 w 4610101"/>
              <a:gd name="connsiteY7130" fmla="*/ 1748413 h 6557032"/>
              <a:gd name="connsiteX7131" fmla="*/ 1175303 w 4610101"/>
              <a:gd name="connsiteY7131" fmla="*/ 1739206 h 6557032"/>
              <a:gd name="connsiteX7132" fmla="*/ 1175303 w 4610101"/>
              <a:gd name="connsiteY7132" fmla="*/ 1761072 h 6557032"/>
              <a:gd name="connsiteX7133" fmla="*/ 1197169 w 4610101"/>
              <a:gd name="connsiteY7133" fmla="*/ 1739206 h 6557032"/>
              <a:gd name="connsiteX7134" fmla="*/ 626828 w 4610101"/>
              <a:gd name="connsiteY7134" fmla="*/ 1737417 h 6557032"/>
              <a:gd name="connsiteX7135" fmla="*/ 626828 w 4610101"/>
              <a:gd name="connsiteY7135" fmla="*/ 1739238 h 6557032"/>
              <a:gd name="connsiteX7136" fmla="*/ 623183 w 4610101"/>
              <a:gd name="connsiteY7136" fmla="*/ 1742883 h 6557032"/>
              <a:gd name="connsiteX7137" fmla="*/ 626828 w 4610101"/>
              <a:gd name="connsiteY7137" fmla="*/ 1737417 h 6557032"/>
              <a:gd name="connsiteX7138" fmla="*/ 3241648 w 4610101"/>
              <a:gd name="connsiteY7138" fmla="*/ 1722807 h 6557032"/>
              <a:gd name="connsiteX7139" fmla="*/ 3241648 w 4610101"/>
              <a:gd name="connsiteY7139" fmla="*/ 1731918 h 6557032"/>
              <a:gd name="connsiteX7140" fmla="*/ 3245292 w 4610101"/>
              <a:gd name="connsiteY7140" fmla="*/ 1731918 h 6557032"/>
              <a:gd name="connsiteX7141" fmla="*/ 3241648 w 4610101"/>
              <a:gd name="connsiteY7141" fmla="*/ 1722807 h 6557032"/>
              <a:gd name="connsiteX7142" fmla="*/ 1169836 w 4610101"/>
              <a:gd name="connsiteY7142" fmla="*/ 1719162 h 6557032"/>
              <a:gd name="connsiteX7143" fmla="*/ 1169836 w 4610101"/>
              <a:gd name="connsiteY7143" fmla="*/ 1722807 h 6557032"/>
              <a:gd name="connsiteX7144" fmla="*/ 1175303 w 4610101"/>
              <a:gd name="connsiteY7144" fmla="*/ 1720984 h 6557032"/>
              <a:gd name="connsiteX7145" fmla="*/ 1169836 w 4610101"/>
              <a:gd name="connsiteY7145" fmla="*/ 1719162 h 6557032"/>
              <a:gd name="connsiteX7146" fmla="*/ 899857 w 4610101"/>
              <a:gd name="connsiteY7146" fmla="*/ 1714248 h 6557032"/>
              <a:gd name="connsiteX7147" fmla="*/ 895371 w 4610101"/>
              <a:gd name="connsiteY7147" fmla="*/ 1717568 h 6557032"/>
              <a:gd name="connsiteX7148" fmla="*/ 876466 w 4610101"/>
              <a:gd name="connsiteY7148" fmla="*/ 1726451 h 6557032"/>
              <a:gd name="connsiteX7149" fmla="*/ 3225248 w 4610101"/>
              <a:gd name="connsiteY7149" fmla="*/ 1713696 h 6557032"/>
              <a:gd name="connsiteX7150" fmla="*/ 3232537 w 4610101"/>
              <a:gd name="connsiteY7150" fmla="*/ 1722807 h 6557032"/>
              <a:gd name="connsiteX7151" fmla="*/ 3227071 w 4610101"/>
              <a:gd name="connsiteY7151" fmla="*/ 1720984 h 6557032"/>
              <a:gd name="connsiteX7152" fmla="*/ 3230715 w 4610101"/>
              <a:gd name="connsiteY7152" fmla="*/ 1733740 h 6557032"/>
              <a:gd name="connsiteX7153" fmla="*/ 3234359 w 4610101"/>
              <a:gd name="connsiteY7153" fmla="*/ 1733740 h 6557032"/>
              <a:gd name="connsiteX7154" fmla="*/ 3234359 w 4610101"/>
              <a:gd name="connsiteY7154" fmla="*/ 1724629 h 6557032"/>
              <a:gd name="connsiteX7155" fmla="*/ 3225248 w 4610101"/>
              <a:gd name="connsiteY7155" fmla="*/ 1713696 h 6557032"/>
              <a:gd name="connsiteX7156" fmla="*/ 1166192 w 4610101"/>
              <a:gd name="connsiteY7156" fmla="*/ 1713696 h 6557032"/>
              <a:gd name="connsiteX7157" fmla="*/ 1166192 w 4610101"/>
              <a:gd name="connsiteY7157" fmla="*/ 1715518 h 6557032"/>
              <a:gd name="connsiteX7158" fmla="*/ 1171658 w 4610101"/>
              <a:gd name="connsiteY7158" fmla="*/ 1717340 h 6557032"/>
              <a:gd name="connsiteX7159" fmla="*/ 1166192 w 4610101"/>
              <a:gd name="connsiteY7159" fmla="*/ 1713696 h 6557032"/>
              <a:gd name="connsiteX7160" fmla="*/ 3238003 w 4610101"/>
              <a:gd name="connsiteY7160" fmla="*/ 1710051 h 6557032"/>
              <a:gd name="connsiteX7161" fmla="*/ 3243470 w 4610101"/>
              <a:gd name="connsiteY7161" fmla="*/ 1715518 h 6557032"/>
              <a:gd name="connsiteX7162" fmla="*/ 3239691 w 4610101"/>
              <a:gd name="connsiteY7162" fmla="*/ 1714573 h 6557032"/>
              <a:gd name="connsiteX7163" fmla="*/ 3237761 w 4610101"/>
              <a:gd name="connsiteY7163" fmla="*/ 1710536 h 6557032"/>
              <a:gd name="connsiteX7164" fmla="*/ 1019618 w 4610101"/>
              <a:gd name="connsiteY7164" fmla="*/ 1709184 h 6557032"/>
              <a:gd name="connsiteX7165" fmla="*/ 1014951 w 4610101"/>
              <a:gd name="connsiteY7165" fmla="*/ 1712101 h 6557032"/>
              <a:gd name="connsiteX7166" fmla="*/ 1005840 w 4610101"/>
              <a:gd name="connsiteY7166" fmla="*/ 1713696 h 6557032"/>
              <a:gd name="connsiteX7167" fmla="*/ 772603 w 4610101"/>
              <a:gd name="connsiteY7167" fmla="*/ 1708264 h 6557032"/>
              <a:gd name="connsiteX7168" fmla="*/ 737981 w 4610101"/>
              <a:gd name="connsiteY7168" fmla="*/ 1722843 h 6557032"/>
              <a:gd name="connsiteX7169" fmla="*/ 734336 w 4610101"/>
              <a:gd name="connsiteY7169" fmla="*/ 1717377 h 6557032"/>
              <a:gd name="connsiteX7170" fmla="*/ 772603 w 4610101"/>
              <a:gd name="connsiteY7170" fmla="*/ 1708264 h 6557032"/>
              <a:gd name="connsiteX7171" fmla="*/ 464655 w 4610101"/>
              <a:gd name="connsiteY7171" fmla="*/ 1708229 h 6557032"/>
              <a:gd name="connsiteX7172" fmla="*/ 459188 w 4610101"/>
              <a:gd name="connsiteY7172" fmla="*/ 1710051 h 6557032"/>
              <a:gd name="connsiteX7173" fmla="*/ 464655 w 4610101"/>
              <a:gd name="connsiteY7173" fmla="*/ 1708229 h 6557032"/>
              <a:gd name="connsiteX7174" fmla="*/ 464914 w 4610101"/>
              <a:gd name="connsiteY7174" fmla="*/ 1706719 h 6557032"/>
              <a:gd name="connsiteX7175" fmla="*/ 455544 w 4610101"/>
              <a:gd name="connsiteY7175" fmla="*/ 1710051 h 6557032"/>
              <a:gd name="connsiteX7176" fmla="*/ 456923 w 4610101"/>
              <a:gd name="connsiteY7176" fmla="*/ 1708317 h 6557032"/>
              <a:gd name="connsiteX7177" fmla="*/ 465861 w 4610101"/>
              <a:gd name="connsiteY7177" fmla="*/ 1706306 h 6557032"/>
              <a:gd name="connsiteX7178" fmla="*/ 466478 w 4610101"/>
              <a:gd name="connsiteY7178" fmla="*/ 1706407 h 6557032"/>
              <a:gd name="connsiteX7179" fmla="*/ 464914 w 4610101"/>
              <a:gd name="connsiteY7179" fmla="*/ 1706719 h 6557032"/>
              <a:gd name="connsiteX7180" fmla="*/ 465794 w 4610101"/>
              <a:gd name="connsiteY7180" fmla="*/ 1706407 h 6557032"/>
              <a:gd name="connsiteX7181" fmla="*/ 461751 w 4610101"/>
              <a:gd name="connsiteY7181" fmla="*/ 1705638 h 6557032"/>
              <a:gd name="connsiteX7182" fmla="*/ 462804 w 4610101"/>
              <a:gd name="connsiteY7182" fmla="*/ 1705809 h 6557032"/>
              <a:gd name="connsiteX7183" fmla="*/ 461010 w 4610101"/>
              <a:gd name="connsiteY7183" fmla="*/ 1706407 h 6557032"/>
              <a:gd name="connsiteX7184" fmla="*/ 1138859 w 4610101"/>
              <a:gd name="connsiteY7184" fmla="*/ 1705496 h 6557032"/>
              <a:gd name="connsiteX7185" fmla="*/ 1141045 w 4610101"/>
              <a:gd name="connsiteY7185" fmla="*/ 1707955 h 6557032"/>
              <a:gd name="connsiteX7186" fmla="*/ 1140681 w 4610101"/>
              <a:gd name="connsiteY7186" fmla="*/ 1708229 h 6557032"/>
              <a:gd name="connsiteX7187" fmla="*/ 1138859 w 4610101"/>
              <a:gd name="connsiteY7187" fmla="*/ 1708229 h 6557032"/>
              <a:gd name="connsiteX7188" fmla="*/ 452986 w 4610101"/>
              <a:gd name="connsiteY7188" fmla="*/ 1704966 h 6557032"/>
              <a:gd name="connsiteX7189" fmla="*/ 450077 w 4610101"/>
              <a:gd name="connsiteY7189" fmla="*/ 1708229 h 6557032"/>
              <a:gd name="connsiteX7190" fmla="*/ 449775 w 4610101"/>
              <a:gd name="connsiteY7190" fmla="*/ 1707730 h 6557032"/>
              <a:gd name="connsiteX7191" fmla="*/ 456683 w 4610101"/>
              <a:gd name="connsiteY7191" fmla="*/ 1704813 h 6557032"/>
              <a:gd name="connsiteX7192" fmla="*/ 459364 w 4610101"/>
              <a:gd name="connsiteY7192" fmla="*/ 1705249 h 6557032"/>
              <a:gd name="connsiteX7193" fmla="*/ 456923 w 4610101"/>
              <a:gd name="connsiteY7193" fmla="*/ 1708317 h 6557032"/>
              <a:gd name="connsiteX7194" fmla="*/ 448256 w 4610101"/>
              <a:gd name="connsiteY7194" fmla="*/ 1710051 h 6557032"/>
              <a:gd name="connsiteX7195" fmla="*/ 456683 w 4610101"/>
              <a:gd name="connsiteY7195" fmla="*/ 1704813 h 6557032"/>
              <a:gd name="connsiteX7196" fmla="*/ 830912 w 4610101"/>
              <a:gd name="connsiteY7196" fmla="*/ 1704619 h 6557032"/>
              <a:gd name="connsiteX7197" fmla="*/ 823623 w 4610101"/>
              <a:gd name="connsiteY7197" fmla="*/ 1710087 h 6557032"/>
              <a:gd name="connsiteX7198" fmla="*/ 819978 w 4610101"/>
              <a:gd name="connsiteY7198" fmla="*/ 1710087 h 6557032"/>
              <a:gd name="connsiteX7199" fmla="*/ 819978 w 4610101"/>
              <a:gd name="connsiteY7199" fmla="*/ 1713732 h 6557032"/>
              <a:gd name="connsiteX7200" fmla="*/ 787179 w 4610101"/>
              <a:gd name="connsiteY7200" fmla="*/ 1719198 h 6557032"/>
              <a:gd name="connsiteX7201" fmla="*/ 801757 w 4610101"/>
              <a:gd name="connsiteY7201" fmla="*/ 1713732 h 6557032"/>
              <a:gd name="connsiteX7202" fmla="*/ 830912 w 4610101"/>
              <a:gd name="connsiteY7202" fmla="*/ 1704619 h 6557032"/>
              <a:gd name="connsiteX7203" fmla="*/ 1116651 w 4610101"/>
              <a:gd name="connsiteY7203" fmla="*/ 1704471 h 6557032"/>
              <a:gd name="connsiteX7204" fmla="*/ 1118815 w 4610101"/>
              <a:gd name="connsiteY7204" fmla="*/ 1704585 h 6557032"/>
              <a:gd name="connsiteX7205" fmla="*/ 1116993 w 4610101"/>
              <a:gd name="connsiteY7205" fmla="*/ 1704585 h 6557032"/>
              <a:gd name="connsiteX7206" fmla="*/ 467182 w 4610101"/>
              <a:gd name="connsiteY7206" fmla="*/ 1704350 h 6557032"/>
              <a:gd name="connsiteX7207" fmla="*/ 465861 w 4610101"/>
              <a:gd name="connsiteY7207" fmla="*/ 1706306 h 6557032"/>
              <a:gd name="connsiteX7208" fmla="*/ 462804 w 4610101"/>
              <a:gd name="connsiteY7208" fmla="*/ 1705809 h 6557032"/>
              <a:gd name="connsiteX7209" fmla="*/ 1111526 w 4610101"/>
              <a:gd name="connsiteY7209" fmla="*/ 1702763 h 6557032"/>
              <a:gd name="connsiteX7210" fmla="*/ 1116651 w 4610101"/>
              <a:gd name="connsiteY7210" fmla="*/ 1704471 h 6557032"/>
              <a:gd name="connsiteX7211" fmla="*/ 1114487 w 4610101"/>
              <a:gd name="connsiteY7211" fmla="*/ 1704357 h 6557032"/>
              <a:gd name="connsiteX7212" fmla="*/ 1111526 w 4610101"/>
              <a:gd name="connsiteY7212" fmla="*/ 1702763 h 6557032"/>
              <a:gd name="connsiteX7213" fmla="*/ 455162 w 4610101"/>
              <a:gd name="connsiteY7213" fmla="*/ 1702524 h 6557032"/>
              <a:gd name="connsiteX7214" fmla="*/ 455544 w 4610101"/>
              <a:gd name="connsiteY7214" fmla="*/ 1702763 h 6557032"/>
              <a:gd name="connsiteX7215" fmla="*/ 452986 w 4610101"/>
              <a:gd name="connsiteY7215" fmla="*/ 1704966 h 6557032"/>
              <a:gd name="connsiteX7216" fmla="*/ 1089266 w 4610101"/>
              <a:gd name="connsiteY7216" fmla="*/ 1702319 h 6557032"/>
              <a:gd name="connsiteX7217" fmla="*/ 1091484 w 4610101"/>
              <a:gd name="connsiteY7217" fmla="*/ 1702763 h 6557032"/>
              <a:gd name="connsiteX7218" fmla="*/ 1088893 w 4610101"/>
              <a:gd name="connsiteY7218" fmla="*/ 1703626 h 6557032"/>
              <a:gd name="connsiteX7219" fmla="*/ 469536 w 4610101"/>
              <a:gd name="connsiteY7219" fmla="*/ 1701949 h 6557032"/>
              <a:gd name="connsiteX7220" fmla="*/ 468526 w 4610101"/>
              <a:gd name="connsiteY7220" fmla="*/ 1703901 h 6557032"/>
              <a:gd name="connsiteX7221" fmla="*/ 467182 w 4610101"/>
              <a:gd name="connsiteY7221" fmla="*/ 1704350 h 6557032"/>
              <a:gd name="connsiteX7222" fmla="*/ 468709 w 4610101"/>
              <a:gd name="connsiteY7222" fmla="*/ 1702087 h 6557032"/>
              <a:gd name="connsiteX7223" fmla="*/ 445768 w 4610101"/>
              <a:gd name="connsiteY7223" fmla="*/ 1701106 h 6557032"/>
              <a:gd name="connsiteX7224" fmla="*/ 449775 w 4610101"/>
              <a:gd name="connsiteY7224" fmla="*/ 1707730 h 6557032"/>
              <a:gd name="connsiteX7225" fmla="*/ 447344 w 4610101"/>
              <a:gd name="connsiteY7225" fmla="*/ 1709824 h 6557032"/>
              <a:gd name="connsiteX7226" fmla="*/ 439145 w 4610101"/>
              <a:gd name="connsiteY7226" fmla="*/ 1715518 h 6557032"/>
              <a:gd name="connsiteX7227" fmla="*/ 440551 w 4610101"/>
              <a:gd name="connsiteY7227" fmla="*/ 1707075 h 6557032"/>
              <a:gd name="connsiteX7228" fmla="*/ 442788 w 4610101"/>
              <a:gd name="connsiteY7228" fmla="*/ 1702990 h 6557032"/>
              <a:gd name="connsiteX7229" fmla="*/ 443551 w 4610101"/>
              <a:gd name="connsiteY7229" fmla="*/ 1702130 h 6557032"/>
              <a:gd name="connsiteX7230" fmla="*/ 3272626 w 4610101"/>
              <a:gd name="connsiteY7230" fmla="*/ 1701035 h 6557032"/>
              <a:gd name="connsiteX7231" fmla="*/ 3279914 w 4610101"/>
              <a:gd name="connsiteY7231" fmla="*/ 1722904 h 6557032"/>
              <a:gd name="connsiteX7232" fmla="*/ 3258048 w 4610101"/>
              <a:gd name="connsiteY7232" fmla="*/ 1722904 h 6557032"/>
              <a:gd name="connsiteX7233" fmla="*/ 3259870 w 4610101"/>
              <a:gd name="connsiteY7233" fmla="*/ 1704678 h 6557032"/>
              <a:gd name="connsiteX7234" fmla="*/ 3272626 w 4610101"/>
              <a:gd name="connsiteY7234" fmla="*/ 1701035 h 6557032"/>
              <a:gd name="connsiteX7235" fmla="*/ 1089660 w 4610101"/>
              <a:gd name="connsiteY7235" fmla="*/ 1700941 h 6557032"/>
              <a:gd name="connsiteX7236" fmla="*/ 1093305 w 4610101"/>
              <a:gd name="connsiteY7236" fmla="*/ 1702763 h 6557032"/>
              <a:gd name="connsiteX7237" fmla="*/ 1089329 w 4610101"/>
              <a:gd name="connsiteY7237" fmla="*/ 1702100 h 6557032"/>
              <a:gd name="connsiteX7238" fmla="*/ 1082373 w 4610101"/>
              <a:gd name="connsiteY7238" fmla="*/ 1700941 h 6557032"/>
              <a:gd name="connsiteX7239" fmla="*/ 1089329 w 4610101"/>
              <a:gd name="connsiteY7239" fmla="*/ 1702100 h 6557032"/>
              <a:gd name="connsiteX7240" fmla="*/ 1089266 w 4610101"/>
              <a:gd name="connsiteY7240" fmla="*/ 1702319 h 6557032"/>
              <a:gd name="connsiteX7241" fmla="*/ 470541 w 4610101"/>
              <a:gd name="connsiteY7241" fmla="*/ 1700006 h 6557032"/>
              <a:gd name="connsiteX7242" fmla="*/ 475589 w 4610101"/>
              <a:gd name="connsiteY7242" fmla="*/ 1700941 h 6557032"/>
              <a:gd name="connsiteX7243" fmla="*/ 469536 w 4610101"/>
              <a:gd name="connsiteY7243" fmla="*/ 1701949 h 6557032"/>
              <a:gd name="connsiteX7244" fmla="*/ 1093305 w 4610101"/>
              <a:gd name="connsiteY7244" fmla="*/ 1699899 h 6557032"/>
              <a:gd name="connsiteX7245" fmla="*/ 1093305 w 4610101"/>
              <a:gd name="connsiteY7245" fmla="*/ 1700941 h 6557032"/>
              <a:gd name="connsiteX7246" fmla="*/ 1089660 w 4610101"/>
              <a:gd name="connsiteY7246" fmla="*/ 1700941 h 6557032"/>
              <a:gd name="connsiteX7247" fmla="*/ 469438 w 4610101"/>
              <a:gd name="connsiteY7247" fmla="*/ 1699802 h 6557032"/>
              <a:gd name="connsiteX7248" fmla="*/ 470162 w 4610101"/>
              <a:gd name="connsiteY7248" fmla="*/ 1699936 h 6557032"/>
              <a:gd name="connsiteX7249" fmla="*/ 468709 w 4610101"/>
              <a:gd name="connsiteY7249" fmla="*/ 1702087 h 6557032"/>
              <a:gd name="connsiteX7250" fmla="*/ 464655 w 4610101"/>
              <a:gd name="connsiteY7250" fmla="*/ 1702763 h 6557032"/>
              <a:gd name="connsiteX7251" fmla="*/ 469438 w 4610101"/>
              <a:gd name="connsiteY7251" fmla="*/ 1699802 h 6557032"/>
              <a:gd name="connsiteX7252" fmla="*/ 3194271 w 4610101"/>
              <a:gd name="connsiteY7252" fmla="*/ 1699118 h 6557032"/>
              <a:gd name="connsiteX7253" fmla="*/ 3183338 w 4610101"/>
              <a:gd name="connsiteY7253" fmla="*/ 1713696 h 6557032"/>
              <a:gd name="connsiteX7254" fmla="*/ 3188805 w 4610101"/>
              <a:gd name="connsiteY7254" fmla="*/ 1720984 h 6557032"/>
              <a:gd name="connsiteX7255" fmla="*/ 3190627 w 4610101"/>
              <a:gd name="connsiteY7255" fmla="*/ 1720984 h 6557032"/>
              <a:gd name="connsiteX7256" fmla="*/ 3203382 w 4610101"/>
              <a:gd name="connsiteY7256" fmla="*/ 1735562 h 6557032"/>
              <a:gd name="connsiteX7257" fmla="*/ 3190627 w 4610101"/>
              <a:gd name="connsiteY7257" fmla="*/ 1720984 h 6557032"/>
              <a:gd name="connsiteX7258" fmla="*/ 3197916 w 4610101"/>
              <a:gd name="connsiteY7258" fmla="*/ 1720984 h 6557032"/>
              <a:gd name="connsiteX7259" fmla="*/ 3194271 w 4610101"/>
              <a:gd name="connsiteY7259" fmla="*/ 1699118 h 6557032"/>
              <a:gd name="connsiteX7260" fmla="*/ 1164370 w 4610101"/>
              <a:gd name="connsiteY7260" fmla="*/ 1699118 h 6557032"/>
              <a:gd name="connsiteX7261" fmla="*/ 1171658 w 4610101"/>
              <a:gd name="connsiteY7261" fmla="*/ 1704585 h 6557032"/>
              <a:gd name="connsiteX7262" fmla="*/ 1171658 w 4610101"/>
              <a:gd name="connsiteY7262" fmla="*/ 1700941 h 6557032"/>
              <a:gd name="connsiteX7263" fmla="*/ 1178947 w 4610101"/>
              <a:gd name="connsiteY7263" fmla="*/ 1708229 h 6557032"/>
              <a:gd name="connsiteX7264" fmla="*/ 1180769 w 4610101"/>
              <a:gd name="connsiteY7264" fmla="*/ 1700941 h 6557032"/>
              <a:gd name="connsiteX7265" fmla="*/ 1164370 w 4610101"/>
              <a:gd name="connsiteY7265" fmla="*/ 1699118 h 6557032"/>
              <a:gd name="connsiteX7266" fmla="*/ 1120637 w 4610101"/>
              <a:gd name="connsiteY7266" fmla="*/ 1699118 h 6557032"/>
              <a:gd name="connsiteX7267" fmla="*/ 1129748 w 4610101"/>
              <a:gd name="connsiteY7267" fmla="*/ 1700941 h 6557032"/>
              <a:gd name="connsiteX7268" fmla="*/ 1122459 w 4610101"/>
              <a:gd name="connsiteY7268" fmla="*/ 1700941 h 6557032"/>
              <a:gd name="connsiteX7269" fmla="*/ 1120637 w 4610101"/>
              <a:gd name="connsiteY7269" fmla="*/ 1699118 h 6557032"/>
              <a:gd name="connsiteX7270" fmla="*/ 1048598 w 4610101"/>
              <a:gd name="connsiteY7270" fmla="*/ 1699118 h 6557032"/>
              <a:gd name="connsiteX7271" fmla="*/ 1055040 w 4610101"/>
              <a:gd name="connsiteY7271" fmla="*/ 1699118 h 6557032"/>
              <a:gd name="connsiteX7272" fmla="*/ 1049572 w 4610101"/>
              <a:gd name="connsiteY7272" fmla="*/ 1700485 h 6557032"/>
              <a:gd name="connsiteX7273" fmla="*/ 1046761 w 4610101"/>
              <a:gd name="connsiteY7273" fmla="*/ 1699782 h 6557032"/>
              <a:gd name="connsiteX7274" fmla="*/ 471681 w 4610101"/>
              <a:gd name="connsiteY7274" fmla="*/ 1697686 h 6557032"/>
              <a:gd name="connsiteX7275" fmla="*/ 471734 w 4610101"/>
              <a:gd name="connsiteY7275" fmla="*/ 1697699 h 6557032"/>
              <a:gd name="connsiteX7276" fmla="*/ 470541 w 4610101"/>
              <a:gd name="connsiteY7276" fmla="*/ 1700006 h 6557032"/>
              <a:gd name="connsiteX7277" fmla="*/ 470162 w 4610101"/>
              <a:gd name="connsiteY7277" fmla="*/ 1699936 h 6557032"/>
              <a:gd name="connsiteX7278" fmla="*/ 1114314 w 4610101"/>
              <a:gd name="connsiteY7278" fmla="*/ 1697510 h 6557032"/>
              <a:gd name="connsiteX7279" fmla="*/ 1115692 w 4610101"/>
              <a:gd name="connsiteY7279" fmla="*/ 1697816 h 6557032"/>
              <a:gd name="connsiteX7280" fmla="*/ 1120637 w 4610101"/>
              <a:gd name="connsiteY7280" fmla="*/ 1702763 h 6557032"/>
              <a:gd name="connsiteX7281" fmla="*/ 1115171 w 4610101"/>
              <a:gd name="connsiteY7281" fmla="*/ 1700941 h 6557032"/>
              <a:gd name="connsiteX7282" fmla="*/ 1107882 w 4610101"/>
              <a:gd name="connsiteY7282" fmla="*/ 1699118 h 6557032"/>
              <a:gd name="connsiteX7283" fmla="*/ 1138859 w 4610101"/>
              <a:gd name="connsiteY7283" fmla="*/ 1697296 h 6557032"/>
              <a:gd name="connsiteX7284" fmla="*/ 1138859 w 4610101"/>
              <a:gd name="connsiteY7284" fmla="*/ 1699118 h 6557032"/>
              <a:gd name="connsiteX7285" fmla="*/ 1142503 w 4610101"/>
              <a:gd name="connsiteY7285" fmla="*/ 1699118 h 6557032"/>
              <a:gd name="connsiteX7286" fmla="*/ 1138859 w 4610101"/>
              <a:gd name="connsiteY7286" fmla="*/ 1697296 h 6557032"/>
              <a:gd name="connsiteX7287" fmla="*/ 1129748 w 4610101"/>
              <a:gd name="connsiteY7287" fmla="*/ 1697296 h 6557032"/>
              <a:gd name="connsiteX7288" fmla="*/ 1130659 w 4610101"/>
              <a:gd name="connsiteY7288" fmla="*/ 1697296 h 6557032"/>
              <a:gd name="connsiteX7289" fmla="*/ 1129748 w 4610101"/>
              <a:gd name="connsiteY7289" fmla="*/ 1699118 h 6557032"/>
              <a:gd name="connsiteX7290" fmla="*/ 1119162 w 4610101"/>
              <a:gd name="connsiteY7290" fmla="*/ 1696094 h 6557032"/>
              <a:gd name="connsiteX7291" fmla="*/ 1129748 w 4610101"/>
              <a:gd name="connsiteY7291" fmla="*/ 1699118 h 6557032"/>
              <a:gd name="connsiteX7292" fmla="*/ 1129748 w 4610101"/>
              <a:gd name="connsiteY7292" fmla="*/ 1700941 h 6557032"/>
              <a:gd name="connsiteX7293" fmla="*/ 1115692 w 4610101"/>
              <a:gd name="connsiteY7293" fmla="*/ 1697816 h 6557032"/>
              <a:gd name="connsiteX7294" fmla="*/ 1115171 w 4610101"/>
              <a:gd name="connsiteY7294" fmla="*/ 1697296 h 6557032"/>
              <a:gd name="connsiteX7295" fmla="*/ 1114314 w 4610101"/>
              <a:gd name="connsiteY7295" fmla="*/ 1697510 h 6557032"/>
              <a:gd name="connsiteX7296" fmla="*/ 1113349 w 4610101"/>
              <a:gd name="connsiteY7296" fmla="*/ 1697296 h 6557032"/>
              <a:gd name="connsiteX7297" fmla="*/ 1116993 w 4610101"/>
              <a:gd name="connsiteY7297" fmla="*/ 1695474 h 6557032"/>
              <a:gd name="connsiteX7298" fmla="*/ 1123370 w 4610101"/>
              <a:gd name="connsiteY7298" fmla="*/ 1695474 h 6557032"/>
              <a:gd name="connsiteX7299" fmla="*/ 1127926 w 4610101"/>
              <a:gd name="connsiteY7299" fmla="*/ 1697296 h 6557032"/>
              <a:gd name="connsiteX7300" fmla="*/ 1119955 w 4610101"/>
              <a:gd name="connsiteY7300" fmla="*/ 1695930 h 6557032"/>
              <a:gd name="connsiteX7301" fmla="*/ 1119162 w 4610101"/>
              <a:gd name="connsiteY7301" fmla="*/ 1696094 h 6557032"/>
              <a:gd name="connsiteX7302" fmla="*/ 3214487 w 4610101"/>
              <a:gd name="connsiteY7302" fmla="*/ 1695347 h 6557032"/>
              <a:gd name="connsiteX7303" fmla="*/ 3215454 w 4610101"/>
              <a:gd name="connsiteY7303" fmla="*/ 1695474 h 6557032"/>
              <a:gd name="connsiteX7304" fmla="*/ 3216542 w 4610101"/>
              <a:gd name="connsiteY7304" fmla="*/ 1696284 h 6557032"/>
              <a:gd name="connsiteX7305" fmla="*/ 3214543 w 4610101"/>
              <a:gd name="connsiteY7305" fmla="*/ 1695474 h 6557032"/>
              <a:gd name="connsiteX7306" fmla="*/ 680005 w 4610101"/>
              <a:gd name="connsiteY7306" fmla="*/ 1693940 h 6557032"/>
              <a:gd name="connsiteX7307" fmla="*/ 681038 w 4610101"/>
              <a:gd name="connsiteY7307" fmla="*/ 1709368 h 6557032"/>
              <a:gd name="connsiteX7308" fmla="*/ 686960 w 4610101"/>
              <a:gd name="connsiteY7308" fmla="*/ 1748317 h 6557032"/>
              <a:gd name="connsiteX7309" fmla="*/ 668738 w 4610101"/>
              <a:gd name="connsiteY7309" fmla="*/ 1713696 h 6557032"/>
              <a:gd name="connsiteX7310" fmla="*/ 677877 w 4610101"/>
              <a:gd name="connsiteY7310" fmla="*/ 1704015 h 6557032"/>
              <a:gd name="connsiteX7311" fmla="*/ 3152361 w 4610101"/>
              <a:gd name="connsiteY7311" fmla="*/ 1693652 h 6557032"/>
              <a:gd name="connsiteX7312" fmla="*/ 3152361 w 4610101"/>
              <a:gd name="connsiteY7312" fmla="*/ 1715518 h 6557032"/>
              <a:gd name="connsiteX7313" fmla="*/ 3125029 w 4610101"/>
              <a:gd name="connsiteY7313" fmla="*/ 1728273 h 6557032"/>
              <a:gd name="connsiteX7314" fmla="*/ 3126851 w 4610101"/>
              <a:gd name="connsiteY7314" fmla="*/ 1730095 h 6557032"/>
              <a:gd name="connsiteX7315" fmla="*/ 3145073 w 4610101"/>
              <a:gd name="connsiteY7315" fmla="*/ 1722807 h 6557032"/>
              <a:gd name="connsiteX7316" fmla="*/ 3159650 w 4610101"/>
              <a:gd name="connsiteY7316" fmla="*/ 1731918 h 6557032"/>
              <a:gd name="connsiteX7317" fmla="*/ 3174227 w 4610101"/>
              <a:gd name="connsiteY7317" fmla="*/ 1693652 h 6557032"/>
              <a:gd name="connsiteX7318" fmla="*/ 3106807 w 4610101"/>
              <a:gd name="connsiteY7318" fmla="*/ 1693652 h 6557032"/>
              <a:gd name="connsiteX7319" fmla="*/ 3106807 w 4610101"/>
              <a:gd name="connsiteY7319" fmla="*/ 1708229 h 6557032"/>
              <a:gd name="connsiteX7320" fmla="*/ 3123206 w 4610101"/>
              <a:gd name="connsiteY7320" fmla="*/ 1706407 h 6557032"/>
              <a:gd name="connsiteX7321" fmla="*/ 1080549 w 4610101"/>
              <a:gd name="connsiteY7321" fmla="*/ 1693652 h 6557032"/>
              <a:gd name="connsiteX7322" fmla="*/ 1084194 w 4610101"/>
              <a:gd name="connsiteY7322" fmla="*/ 1695474 h 6557032"/>
              <a:gd name="connsiteX7323" fmla="*/ 1091484 w 4610101"/>
              <a:gd name="connsiteY7323" fmla="*/ 1693652 h 6557032"/>
              <a:gd name="connsiteX7324" fmla="*/ 1080549 w 4610101"/>
              <a:gd name="connsiteY7324" fmla="*/ 1693652 h 6557032"/>
              <a:gd name="connsiteX7325" fmla="*/ 502920 w 4610101"/>
              <a:gd name="connsiteY7325" fmla="*/ 1691865 h 6557032"/>
              <a:gd name="connsiteX7326" fmla="*/ 506565 w 4610101"/>
              <a:gd name="connsiteY7326" fmla="*/ 1691865 h 6557032"/>
              <a:gd name="connsiteX7327" fmla="*/ 508387 w 4610101"/>
              <a:gd name="connsiteY7327" fmla="*/ 1706442 h 6557032"/>
              <a:gd name="connsiteX7328" fmla="*/ 502920 w 4610101"/>
              <a:gd name="connsiteY7328" fmla="*/ 1700975 h 6557032"/>
              <a:gd name="connsiteX7329" fmla="*/ 491987 w 4610101"/>
              <a:gd name="connsiteY7329" fmla="*/ 1719198 h 6557032"/>
              <a:gd name="connsiteX7330" fmla="*/ 502920 w 4610101"/>
              <a:gd name="connsiteY7330" fmla="*/ 1691865 h 6557032"/>
              <a:gd name="connsiteX7331" fmla="*/ 657805 w 4610101"/>
              <a:gd name="connsiteY7331" fmla="*/ 1691830 h 6557032"/>
              <a:gd name="connsiteX7332" fmla="*/ 657611 w 4610101"/>
              <a:gd name="connsiteY7332" fmla="*/ 1693268 h 6557032"/>
              <a:gd name="connsiteX7333" fmla="*/ 655755 w 4610101"/>
              <a:gd name="connsiteY7333" fmla="*/ 1695474 h 6557032"/>
              <a:gd name="connsiteX7334" fmla="*/ 650425 w 4610101"/>
              <a:gd name="connsiteY7334" fmla="*/ 1700467 h 6557032"/>
              <a:gd name="connsiteX7335" fmla="*/ 1046256 w 4610101"/>
              <a:gd name="connsiteY7335" fmla="*/ 1691083 h 6557032"/>
              <a:gd name="connsiteX7336" fmla="*/ 1047750 w 4610101"/>
              <a:gd name="connsiteY7336" fmla="*/ 1691830 h 6557032"/>
              <a:gd name="connsiteX7337" fmla="*/ 1011307 w 4610101"/>
              <a:gd name="connsiteY7337" fmla="*/ 1697296 h 6557032"/>
              <a:gd name="connsiteX7338" fmla="*/ 1034767 w 4610101"/>
              <a:gd name="connsiteY7338" fmla="*/ 1692740 h 6557032"/>
              <a:gd name="connsiteX7339" fmla="*/ 1042253 w 4610101"/>
              <a:gd name="connsiteY7339" fmla="*/ 1691197 h 6557032"/>
              <a:gd name="connsiteX7340" fmla="*/ 1043878 w 4610101"/>
              <a:gd name="connsiteY7340" fmla="*/ 1691374 h 6557032"/>
              <a:gd name="connsiteX7341" fmla="*/ 1104237 w 4610101"/>
              <a:gd name="connsiteY7341" fmla="*/ 1690918 h 6557032"/>
              <a:gd name="connsiteX7342" fmla="*/ 1105521 w 4610101"/>
              <a:gd name="connsiteY7342" fmla="*/ 1691303 h 6557032"/>
              <a:gd name="connsiteX7343" fmla="*/ 1106060 w 4610101"/>
              <a:gd name="connsiteY7343" fmla="*/ 1691830 h 6557032"/>
              <a:gd name="connsiteX7344" fmla="*/ 1102268 w 4610101"/>
              <a:gd name="connsiteY7344" fmla="*/ 1691509 h 6557032"/>
              <a:gd name="connsiteX7345" fmla="*/ 1091484 w 4610101"/>
              <a:gd name="connsiteY7345" fmla="*/ 1690008 h 6557032"/>
              <a:gd name="connsiteX7346" fmla="*/ 1093853 w 4610101"/>
              <a:gd name="connsiteY7346" fmla="*/ 1690798 h 6557032"/>
              <a:gd name="connsiteX7347" fmla="*/ 1092271 w 4610101"/>
              <a:gd name="connsiteY7347" fmla="*/ 1690664 h 6557032"/>
              <a:gd name="connsiteX7348" fmla="*/ 478730 w 4610101"/>
              <a:gd name="connsiteY7348" fmla="*/ 1689189 h 6557032"/>
              <a:gd name="connsiteX7349" fmla="*/ 475589 w 4610101"/>
              <a:gd name="connsiteY7349" fmla="*/ 1695474 h 6557032"/>
              <a:gd name="connsiteX7350" fmla="*/ 479232 w 4610101"/>
              <a:gd name="connsiteY7350" fmla="*/ 1695474 h 6557032"/>
              <a:gd name="connsiteX7351" fmla="*/ 474677 w 4610101"/>
              <a:gd name="connsiteY7351" fmla="*/ 1698435 h 6557032"/>
              <a:gd name="connsiteX7352" fmla="*/ 471734 w 4610101"/>
              <a:gd name="connsiteY7352" fmla="*/ 1697699 h 6557032"/>
              <a:gd name="connsiteX7353" fmla="*/ 471943 w 4610101"/>
              <a:gd name="connsiteY7353" fmla="*/ 1697296 h 6557032"/>
              <a:gd name="connsiteX7354" fmla="*/ 471681 w 4610101"/>
              <a:gd name="connsiteY7354" fmla="*/ 1697686 h 6557032"/>
              <a:gd name="connsiteX7355" fmla="*/ 470121 w 4610101"/>
              <a:gd name="connsiteY7355" fmla="*/ 1697296 h 6557032"/>
              <a:gd name="connsiteX7356" fmla="*/ 475589 w 4610101"/>
              <a:gd name="connsiteY7356" fmla="*/ 1691830 h 6557032"/>
              <a:gd name="connsiteX7357" fmla="*/ 475564 w 4610101"/>
              <a:gd name="connsiteY7357" fmla="*/ 1691818 h 6557032"/>
              <a:gd name="connsiteX7358" fmla="*/ 981688 w 4610101"/>
              <a:gd name="connsiteY7358" fmla="*/ 1689007 h 6557032"/>
              <a:gd name="connsiteX7359" fmla="*/ 981688 w 4610101"/>
              <a:gd name="connsiteY7359" fmla="*/ 1689007 h 6557032"/>
              <a:gd name="connsiteX7360" fmla="*/ 976686 w 4610101"/>
              <a:gd name="connsiteY7360" fmla="*/ 1690008 h 6557032"/>
              <a:gd name="connsiteX7361" fmla="*/ 982440 w 4610101"/>
              <a:gd name="connsiteY7361" fmla="*/ 1688857 h 6557032"/>
              <a:gd name="connsiteX7362" fmla="*/ 980330 w 4610101"/>
              <a:gd name="connsiteY7362" fmla="*/ 1690008 h 6557032"/>
              <a:gd name="connsiteX7363" fmla="*/ 981688 w 4610101"/>
              <a:gd name="connsiteY7363" fmla="*/ 1689007 h 6557032"/>
              <a:gd name="connsiteX7364" fmla="*/ 680240 w 4610101"/>
              <a:gd name="connsiteY7364" fmla="*/ 1688233 h 6557032"/>
              <a:gd name="connsiteX7365" fmla="*/ 680354 w 4610101"/>
              <a:gd name="connsiteY7365" fmla="*/ 1692285 h 6557032"/>
              <a:gd name="connsiteX7366" fmla="*/ 680005 w 4610101"/>
              <a:gd name="connsiteY7366" fmla="*/ 1693940 h 6557032"/>
              <a:gd name="connsiteX7367" fmla="*/ 679785 w 4610101"/>
              <a:gd name="connsiteY7367" fmla="*/ 1690662 h 6557032"/>
              <a:gd name="connsiteX7368" fmla="*/ 985796 w 4610101"/>
              <a:gd name="connsiteY7368" fmla="*/ 1688185 h 6557032"/>
              <a:gd name="connsiteX7369" fmla="*/ 982440 w 4610101"/>
              <a:gd name="connsiteY7369" fmla="*/ 1688857 h 6557032"/>
              <a:gd name="connsiteX7370" fmla="*/ 982441 w 4610101"/>
              <a:gd name="connsiteY7370" fmla="*/ 1688856 h 6557032"/>
              <a:gd name="connsiteX7371" fmla="*/ 485245 w 4610101"/>
              <a:gd name="connsiteY7371" fmla="*/ 1687824 h 6557032"/>
              <a:gd name="connsiteX7372" fmla="*/ 484986 w 4610101"/>
              <a:gd name="connsiteY7372" fmla="*/ 1689720 h 6557032"/>
              <a:gd name="connsiteX7373" fmla="*/ 484700 w 4610101"/>
              <a:gd name="connsiteY7373" fmla="*/ 1690008 h 6557032"/>
              <a:gd name="connsiteX7374" fmla="*/ 485511 w 4610101"/>
              <a:gd name="connsiteY7374" fmla="*/ 1686757 h 6557032"/>
              <a:gd name="connsiteX7375" fmla="*/ 485245 w 4610101"/>
              <a:gd name="connsiteY7375" fmla="*/ 1687824 h 6557032"/>
              <a:gd name="connsiteX7376" fmla="*/ 485382 w 4610101"/>
              <a:gd name="connsiteY7376" fmla="*/ 1686818 h 6557032"/>
              <a:gd name="connsiteX7377" fmla="*/ 1138859 w 4610101"/>
              <a:gd name="connsiteY7377" fmla="*/ 1686363 h 6557032"/>
              <a:gd name="connsiteX7378" fmla="*/ 1138859 w 4610101"/>
              <a:gd name="connsiteY7378" fmla="*/ 1688185 h 6557032"/>
              <a:gd name="connsiteX7379" fmla="*/ 1142503 w 4610101"/>
              <a:gd name="connsiteY7379" fmla="*/ 1688185 h 6557032"/>
              <a:gd name="connsiteX7380" fmla="*/ 1138859 w 4610101"/>
              <a:gd name="connsiteY7380" fmla="*/ 1686363 h 6557032"/>
              <a:gd name="connsiteX7381" fmla="*/ 1126104 w 4610101"/>
              <a:gd name="connsiteY7381" fmla="*/ 1686363 h 6557032"/>
              <a:gd name="connsiteX7382" fmla="*/ 1113349 w 4610101"/>
              <a:gd name="connsiteY7382" fmla="*/ 1688185 h 6557032"/>
              <a:gd name="connsiteX7383" fmla="*/ 1127926 w 4610101"/>
              <a:gd name="connsiteY7383" fmla="*/ 1688185 h 6557032"/>
              <a:gd name="connsiteX7384" fmla="*/ 1126104 w 4610101"/>
              <a:gd name="connsiteY7384" fmla="*/ 1686363 h 6557032"/>
              <a:gd name="connsiteX7385" fmla="*/ 991263 w 4610101"/>
              <a:gd name="connsiteY7385" fmla="*/ 1686363 h 6557032"/>
              <a:gd name="connsiteX7386" fmla="*/ 985796 w 4610101"/>
              <a:gd name="connsiteY7386" fmla="*/ 1691830 h 6557032"/>
              <a:gd name="connsiteX7387" fmla="*/ 991263 w 4610101"/>
              <a:gd name="connsiteY7387" fmla="*/ 1686363 h 6557032"/>
              <a:gd name="connsiteX7388" fmla="*/ 1075570 w 4610101"/>
              <a:gd name="connsiteY7388" fmla="*/ 1685465 h 6557032"/>
              <a:gd name="connsiteX7389" fmla="*/ 1082373 w 4610101"/>
              <a:gd name="connsiteY7389" fmla="*/ 1688185 h 6557032"/>
              <a:gd name="connsiteX7390" fmla="*/ 1081749 w 4610101"/>
              <a:gd name="connsiteY7390" fmla="*/ 1688209 h 6557032"/>
              <a:gd name="connsiteX7391" fmla="*/ 1075083 w 4610101"/>
              <a:gd name="connsiteY7391" fmla="*/ 1686363 h 6557032"/>
              <a:gd name="connsiteX7392" fmla="*/ 973375 w 4610101"/>
              <a:gd name="connsiteY7392" fmla="*/ 1685314 h 6557032"/>
              <a:gd name="connsiteX7393" fmla="*/ 951630 w 4610101"/>
              <a:gd name="connsiteY7393" fmla="*/ 1692058 h 6557032"/>
              <a:gd name="connsiteX7394" fmla="*/ 918376 w 4610101"/>
              <a:gd name="connsiteY7394" fmla="*/ 1704585 h 6557032"/>
              <a:gd name="connsiteX7395" fmla="*/ 899857 w 4610101"/>
              <a:gd name="connsiteY7395" fmla="*/ 1714248 h 6557032"/>
              <a:gd name="connsiteX7396" fmla="*/ 912909 w 4610101"/>
              <a:gd name="connsiteY7396" fmla="*/ 1704585 h 6557032"/>
              <a:gd name="connsiteX7397" fmla="*/ 865533 w 4610101"/>
              <a:gd name="connsiteY7397" fmla="*/ 1710051 h 6557032"/>
              <a:gd name="connsiteX7398" fmla="*/ 881933 w 4610101"/>
              <a:gd name="connsiteY7398" fmla="*/ 1704585 h 6557032"/>
              <a:gd name="connsiteX7399" fmla="*/ 872822 w 4610101"/>
              <a:gd name="connsiteY7399" fmla="*/ 1704585 h 6557032"/>
              <a:gd name="connsiteX7400" fmla="*/ 874644 w 4610101"/>
              <a:gd name="connsiteY7400" fmla="*/ 1702763 h 6557032"/>
              <a:gd name="connsiteX7401" fmla="*/ 885577 w 4610101"/>
              <a:gd name="connsiteY7401" fmla="*/ 1702763 h 6557032"/>
              <a:gd name="connsiteX7402" fmla="*/ 912909 w 4610101"/>
              <a:gd name="connsiteY7402" fmla="*/ 1700941 h 6557032"/>
              <a:gd name="connsiteX7403" fmla="*/ 889222 w 4610101"/>
              <a:gd name="connsiteY7403" fmla="*/ 1688185 h 6557032"/>
              <a:gd name="connsiteX7404" fmla="*/ 912909 w 4610101"/>
              <a:gd name="connsiteY7404" fmla="*/ 1693652 h 6557032"/>
              <a:gd name="connsiteX7405" fmla="*/ 905621 w 4610101"/>
              <a:gd name="connsiteY7405" fmla="*/ 1693652 h 6557032"/>
              <a:gd name="connsiteX7406" fmla="*/ 916555 w 4610101"/>
              <a:gd name="connsiteY7406" fmla="*/ 1695474 h 6557032"/>
              <a:gd name="connsiteX7407" fmla="*/ 912909 w 4610101"/>
              <a:gd name="connsiteY7407" fmla="*/ 1699118 h 6557032"/>
              <a:gd name="connsiteX7408" fmla="*/ 938420 w 4610101"/>
              <a:gd name="connsiteY7408" fmla="*/ 1693652 h 6557032"/>
              <a:gd name="connsiteX7409" fmla="*/ 916555 w 4610101"/>
              <a:gd name="connsiteY7409" fmla="*/ 1695474 h 6557032"/>
              <a:gd name="connsiteX7410" fmla="*/ 920198 w 4610101"/>
              <a:gd name="connsiteY7410" fmla="*/ 1693652 h 6557032"/>
              <a:gd name="connsiteX7411" fmla="*/ 914732 w 4610101"/>
              <a:gd name="connsiteY7411" fmla="*/ 1693652 h 6557032"/>
              <a:gd name="connsiteX7412" fmla="*/ 945482 w 4610101"/>
              <a:gd name="connsiteY7412" fmla="*/ 1690691 h 6557032"/>
              <a:gd name="connsiteX7413" fmla="*/ 958315 w 4610101"/>
              <a:gd name="connsiteY7413" fmla="*/ 1686413 h 6557032"/>
              <a:gd name="connsiteX7414" fmla="*/ 1043188 w 4610101"/>
              <a:gd name="connsiteY7414" fmla="*/ 1684957 h 6557032"/>
              <a:gd name="connsiteX7415" fmla="*/ 1055087 w 4610101"/>
              <a:gd name="connsiteY7415" fmla="*/ 1687766 h 6557032"/>
              <a:gd name="connsiteX7416" fmla="*/ 1053130 w 4610101"/>
              <a:gd name="connsiteY7416" fmla="*/ 1688954 h 6557032"/>
              <a:gd name="connsiteX7417" fmla="*/ 1048021 w 4610101"/>
              <a:gd name="connsiteY7417" fmla="*/ 1690008 h 6557032"/>
              <a:gd name="connsiteX7418" fmla="*/ 1044106 w 4610101"/>
              <a:gd name="connsiteY7418" fmla="*/ 1690008 h 6557032"/>
              <a:gd name="connsiteX7419" fmla="*/ 1045249 w 4610101"/>
              <a:gd name="connsiteY7419" fmla="*/ 1690579 h 6557032"/>
              <a:gd name="connsiteX7420" fmla="*/ 1042253 w 4610101"/>
              <a:gd name="connsiteY7420" fmla="*/ 1691197 h 6557032"/>
              <a:gd name="connsiteX7421" fmla="*/ 1031351 w 4610101"/>
              <a:gd name="connsiteY7421" fmla="*/ 1690008 h 6557032"/>
              <a:gd name="connsiteX7422" fmla="*/ 1073885 w 4610101"/>
              <a:gd name="connsiteY7422" fmla="*/ 1684791 h 6557032"/>
              <a:gd name="connsiteX7423" fmla="*/ 1074273 w 4610101"/>
              <a:gd name="connsiteY7423" fmla="*/ 1684946 h 6557032"/>
              <a:gd name="connsiteX7424" fmla="*/ 1073792 w 4610101"/>
              <a:gd name="connsiteY7424" fmla="*/ 1685186 h 6557032"/>
              <a:gd name="connsiteX7425" fmla="*/ 1073528 w 4610101"/>
              <a:gd name="connsiteY7425" fmla="*/ 1684865 h 6557032"/>
              <a:gd name="connsiteX7426" fmla="*/ 490165 w 4610101"/>
              <a:gd name="connsiteY7426" fmla="*/ 1684541 h 6557032"/>
              <a:gd name="connsiteX7427" fmla="*/ 484700 w 4610101"/>
              <a:gd name="connsiteY7427" fmla="*/ 1691830 h 6557032"/>
              <a:gd name="connsiteX7428" fmla="*/ 484986 w 4610101"/>
              <a:gd name="connsiteY7428" fmla="*/ 1689720 h 6557032"/>
              <a:gd name="connsiteX7429" fmla="*/ 479051 w 4610101"/>
              <a:gd name="connsiteY7429" fmla="*/ 1684085 h 6557032"/>
              <a:gd name="connsiteX7430" fmla="*/ 475589 w 4610101"/>
              <a:gd name="connsiteY7430" fmla="*/ 1688185 h 6557032"/>
              <a:gd name="connsiteX7431" fmla="*/ 475879 w 4610101"/>
              <a:gd name="connsiteY7431" fmla="*/ 1686727 h 6557032"/>
              <a:gd name="connsiteX7432" fmla="*/ 3208849 w 4610101"/>
              <a:gd name="connsiteY7432" fmla="*/ 1682719 h 6557032"/>
              <a:gd name="connsiteX7433" fmla="*/ 3209305 w 4610101"/>
              <a:gd name="connsiteY7433" fmla="*/ 1683175 h 6557032"/>
              <a:gd name="connsiteX7434" fmla="*/ 3209262 w 4610101"/>
              <a:gd name="connsiteY7434" fmla="*/ 1683644 h 6557032"/>
              <a:gd name="connsiteX7435" fmla="*/ 984944 w 4610101"/>
              <a:gd name="connsiteY7435" fmla="*/ 1681726 h 6557032"/>
              <a:gd name="connsiteX7436" fmla="*/ 984885 w 4610101"/>
              <a:gd name="connsiteY7436" fmla="*/ 1682035 h 6557032"/>
              <a:gd name="connsiteX7437" fmla="*/ 983974 w 4610101"/>
              <a:gd name="connsiteY7437" fmla="*/ 1682719 h 6557032"/>
              <a:gd name="connsiteX7438" fmla="*/ 983974 w 4610101"/>
              <a:gd name="connsiteY7438" fmla="*/ 1684541 h 6557032"/>
              <a:gd name="connsiteX7439" fmla="*/ 973375 w 4610101"/>
              <a:gd name="connsiteY7439" fmla="*/ 1685314 h 6557032"/>
              <a:gd name="connsiteX7440" fmla="*/ 1168014 w 4610101"/>
              <a:gd name="connsiteY7440" fmla="*/ 1680897 h 6557032"/>
              <a:gd name="connsiteX7441" fmla="*/ 1149792 w 4610101"/>
              <a:gd name="connsiteY7441" fmla="*/ 1686363 h 6557032"/>
              <a:gd name="connsiteX7442" fmla="*/ 1158903 w 4610101"/>
              <a:gd name="connsiteY7442" fmla="*/ 1695474 h 6557032"/>
              <a:gd name="connsiteX7443" fmla="*/ 1162547 w 4610101"/>
              <a:gd name="connsiteY7443" fmla="*/ 1693652 h 6557032"/>
              <a:gd name="connsiteX7444" fmla="*/ 1162547 w 4610101"/>
              <a:gd name="connsiteY7444" fmla="*/ 1697296 h 6557032"/>
              <a:gd name="connsiteX7445" fmla="*/ 1180769 w 4610101"/>
              <a:gd name="connsiteY7445" fmla="*/ 1699118 h 6557032"/>
              <a:gd name="connsiteX7446" fmla="*/ 1180769 w 4610101"/>
              <a:gd name="connsiteY7446" fmla="*/ 1695474 h 6557032"/>
              <a:gd name="connsiteX7447" fmla="*/ 904254 w 4610101"/>
              <a:gd name="connsiteY7447" fmla="*/ 1680213 h 6557032"/>
              <a:gd name="connsiteX7448" fmla="*/ 958464 w 4610101"/>
              <a:gd name="connsiteY7448" fmla="*/ 1686363 h 6557032"/>
              <a:gd name="connsiteX7449" fmla="*/ 974863 w 4610101"/>
              <a:gd name="connsiteY7449" fmla="*/ 1680897 h 6557032"/>
              <a:gd name="connsiteX7450" fmla="*/ 958315 w 4610101"/>
              <a:gd name="connsiteY7450" fmla="*/ 1686413 h 6557032"/>
              <a:gd name="connsiteX7451" fmla="*/ 930903 w 4610101"/>
              <a:gd name="connsiteY7451" fmla="*/ 1688413 h 6557032"/>
              <a:gd name="connsiteX7452" fmla="*/ 880099 w 4610101"/>
              <a:gd name="connsiteY7452" fmla="*/ 1683099 h 6557032"/>
              <a:gd name="connsiteX7453" fmla="*/ 1135215 w 4610101"/>
              <a:gd name="connsiteY7453" fmla="*/ 1679075 h 6557032"/>
              <a:gd name="connsiteX7454" fmla="*/ 1135215 w 4610101"/>
              <a:gd name="connsiteY7454" fmla="*/ 1682719 h 6557032"/>
              <a:gd name="connsiteX7455" fmla="*/ 1138859 w 4610101"/>
              <a:gd name="connsiteY7455" fmla="*/ 1684541 h 6557032"/>
              <a:gd name="connsiteX7456" fmla="*/ 1135215 w 4610101"/>
              <a:gd name="connsiteY7456" fmla="*/ 1679075 h 6557032"/>
              <a:gd name="connsiteX7457" fmla="*/ 492837 w 4610101"/>
              <a:gd name="connsiteY7457" fmla="*/ 1679075 h 6557032"/>
              <a:gd name="connsiteX7458" fmla="*/ 495479 w 4610101"/>
              <a:gd name="connsiteY7458" fmla="*/ 1679075 h 6557032"/>
              <a:gd name="connsiteX7459" fmla="*/ 491987 w 4610101"/>
              <a:gd name="connsiteY7459" fmla="*/ 1680897 h 6557032"/>
              <a:gd name="connsiteX7460" fmla="*/ 1073262 w 4610101"/>
              <a:gd name="connsiteY7460" fmla="*/ 1677936 h 6557032"/>
              <a:gd name="connsiteX7461" fmla="*/ 1069616 w 4610101"/>
              <a:gd name="connsiteY7461" fmla="*/ 1680897 h 6557032"/>
              <a:gd name="connsiteX7462" fmla="*/ 1076905 w 4610101"/>
              <a:gd name="connsiteY7462" fmla="*/ 1679075 h 6557032"/>
              <a:gd name="connsiteX7463" fmla="*/ 1073262 w 4610101"/>
              <a:gd name="connsiteY7463" fmla="*/ 1677936 h 6557032"/>
              <a:gd name="connsiteX7464" fmla="*/ 493583 w 4610101"/>
              <a:gd name="connsiteY7464" fmla="*/ 1677479 h 6557032"/>
              <a:gd name="connsiteX7465" fmla="*/ 492837 w 4610101"/>
              <a:gd name="connsiteY7465" fmla="*/ 1679075 h 6557032"/>
              <a:gd name="connsiteX7466" fmla="*/ 491987 w 4610101"/>
              <a:gd name="connsiteY7466" fmla="*/ 1679075 h 6557032"/>
              <a:gd name="connsiteX7467" fmla="*/ 493809 w 4610101"/>
              <a:gd name="connsiteY7467" fmla="*/ 1677252 h 6557032"/>
              <a:gd name="connsiteX7468" fmla="*/ 493583 w 4610101"/>
              <a:gd name="connsiteY7468" fmla="*/ 1677479 h 6557032"/>
              <a:gd name="connsiteX7469" fmla="*/ 493678 w 4610101"/>
              <a:gd name="connsiteY7469" fmla="*/ 1677274 h 6557032"/>
              <a:gd name="connsiteX7470" fmla="*/ 499456 w 4610101"/>
              <a:gd name="connsiteY7470" fmla="*/ 1676590 h 6557032"/>
              <a:gd name="connsiteX7471" fmla="*/ 497771 w 4610101"/>
              <a:gd name="connsiteY7471" fmla="*/ 1679289 h 6557032"/>
              <a:gd name="connsiteX7472" fmla="*/ 496761 w 4610101"/>
              <a:gd name="connsiteY7472" fmla="*/ 1680461 h 6557032"/>
              <a:gd name="connsiteX7473" fmla="*/ 497454 w 4610101"/>
              <a:gd name="connsiteY7473" fmla="*/ 1679075 h 6557032"/>
              <a:gd name="connsiteX7474" fmla="*/ 495479 w 4610101"/>
              <a:gd name="connsiteY7474" fmla="*/ 1679075 h 6557032"/>
              <a:gd name="connsiteX7475" fmla="*/ 497226 w 4610101"/>
              <a:gd name="connsiteY7475" fmla="*/ 1678163 h 6557032"/>
              <a:gd name="connsiteX7476" fmla="*/ 1011898 w 4610101"/>
              <a:gd name="connsiteY7476" fmla="*/ 1675370 h 6557032"/>
              <a:gd name="connsiteX7477" fmla="*/ 1013129 w 4610101"/>
              <a:gd name="connsiteY7477" fmla="*/ 1675430 h 6557032"/>
              <a:gd name="connsiteX7478" fmla="*/ 994907 w 4610101"/>
              <a:gd name="connsiteY7478" fmla="*/ 1682056 h 6557032"/>
              <a:gd name="connsiteX7479" fmla="*/ 997868 w 4610101"/>
              <a:gd name="connsiteY7479" fmla="*/ 1680441 h 6557032"/>
              <a:gd name="connsiteX7480" fmla="*/ 698517 w 4610101"/>
              <a:gd name="connsiteY7480" fmla="*/ 1674223 h 6557032"/>
              <a:gd name="connsiteX7481" fmla="*/ 706172 w 4610101"/>
              <a:gd name="connsiteY7481" fmla="*/ 1675325 h 6557032"/>
              <a:gd name="connsiteX7482" fmla="*/ 710648 w 4610101"/>
              <a:gd name="connsiteY7482" fmla="*/ 1679075 h 6557032"/>
              <a:gd name="connsiteX7483" fmla="*/ 3799233 w 4610101"/>
              <a:gd name="connsiteY7483" fmla="*/ 1673717 h 6557032"/>
              <a:gd name="connsiteX7484" fmla="*/ 3839321 w 4610101"/>
              <a:gd name="connsiteY7484" fmla="*/ 1693763 h 6557032"/>
              <a:gd name="connsiteX7485" fmla="*/ 3830210 w 4610101"/>
              <a:gd name="connsiteY7485" fmla="*/ 1704686 h 6557032"/>
              <a:gd name="connsiteX7486" fmla="*/ 3186982 w 4610101"/>
              <a:gd name="connsiteY7486" fmla="*/ 1673608 h 6557032"/>
              <a:gd name="connsiteX7487" fmla="*/ 3181516 w 4610101"/>
              <a:gd name="connsiteY7487" fmla="*/ 1686363 h 6557032"/>
              <a:gd name="connsiteX7488" fmla="*/ 3192449 w 4610101"/>
              <a:gd name="connsiteY7488" fmla="*/ 1691830 h 6557032"/>
              <a:gd name="connsiteX7489" fmla="*/ 3186982 w 4610101"/>
              <a:gd name="connsiteY7489" fmla="*/ 1673608 h 6557032"/>
              <a:gd name="connsiteX7490" fmla="*/ 553941 w 4610101"/>
              <a:gd name="connsiteY7490" fmla="*/ 1673608 h 6557032"/>
              <a:gd name="connsiteX7491" fmla="*/ 546653 w 4610101"/>
              <a:gd name="connsiteY7491" fmla="*/ 1697296 h 6557032"/>
              <a:gd name="connsiteX7492" fmla="*/ 544830 w 4610101"/>
              <a:gd name="connsiteY7492" fmla="*/ 1693652 h 6557032"/>
              <a:gd name="connsiteX7493" fmla="*/ 539364 w 4610101"/>
              <a:gd name="connsiteY7493" fmla="*/ 1711874 h 6557032"/>
              <a:gd name="connsiteX7494" fmla="*/ 539364 w 4610101"/>
              <a:gd name="connsiteY7494" fmla="*/ 1708229 h 6557032"/>
              <a:gd name="connsiteX7495" fmla="*/ 530253 w 4610101"/>
              <a:gd name="connsiteY7495" fmla="*/ 1715518 h 6557032"/>
              <a:gd name="connsiteX7496" fmla="*/ 532075 w 4610101"/>
              <a:gd name="connsiteY7496" fmla="*/ 1715518 h 6557032"/>
              <a:gd name="connsiteX7497" fmla="*/ 524786 w 4610101"/>
              <a:gd name="connsiteY7497" fmla="*/ 1711874 h 6557032"/>
              <a:gd name="connsiteX7498" fmla="*/ 532075 w 4610101"/>
              <a:gd name="connsiteY7498" fmla="*/ 1713696 h 6557032"/>
              <a:gd name="connsiteX7499" fmla="*/ 543919 w 4610101"/>
              <a:gd name="connsiteY7499" fmla="*/ 1695018 h 6557032"/>
              <a:gd name="connsiteX7500" fmla="*/ 544210 w 4610101"/>
              <a:gd name="connsiteY7500" fmla="*/ 1688206 h 6557032"/>
              <a:gd name="connsiteX7501" fmla="*/ 544830 w 4610101"/>
              <a:gd name="connsiteY7501" fmla="*/ 1673608 h 6557032"/>
              <a:gd name="connsiteX7502" fmla="*/ 544210 w 4610101"/>
              <a:gd name="connsiteY7502" fmla="*/ 1688206 h 6557032"/>
              <a:gd name="connsiteX7503" fmla="*/ 543008 w 4610101"/>
              <a:gd name="connsiteY7503" fmla="*/ 1690008 h 6557032"/>
              <a:gd name="connsiteX7504" fmla="*/ 542639 w 4610101"/>
              <a:gd name="connsiteY7504" fmla="*/ 1676708 h 6557032"/>
              <a:gd name="connsiteX7505" fmla="*/ 1100367 w 4610101"/>
              <a:gd name="connsiteY7505" fmla="*/ 1672697 h 6557032"/>
              <a:gd name="connsiteX7506" fmla="*/ 1100894 w 4610101"/>
              <a:gd name="connsiteY7506" fmla="*/ 1672950 h 6557032"/>
              <a:gd name="connsiteX7507" fmla="*/ 1098816 w 4610101"/>
              <a:gd name="connsiteY7507" fmla="*/ 1673297 h 6557032"/>
              <a:gd name="connsiteX7508" fmla="*/ 1042739 w 4610101"/>
              <a:gd name="connsiteY7508" fmla="*/ 1672241 h 6557032"/>
              <a:gd name="connsiteX7509" fmla="*/ 1044106 w 4610101"/>
              <a:gd name="connsiteY7509" fmla="*/ 1673608 h 6557032"/>
              <a:gd name="connsiteX7510" fmla="*/ 1038639 w 4610101"/>
              <a:gd name="connsiteY7510" fmla="*/ 1673608 h 6557032"/>
              <a:gd name="connsiteX7511" fmla="*/ 1042739 w 4610101"/>
              <a:gd name="connsiteY7511" fmla="*/ 1672241 h 6557032"/>
              <a:gd name="connsiteX7512" fmla="*/ 1082373 w 4610101"/>
              <a:gd name="connsiteY7512" fmla="*/ 1671786 h 6557032"/>
              <a:gd name="connsiteX7513" fmla="*/ 1079410 w 4610101"/>
              <a:gd name="connsiteY7513" fmla="*/ 1678391 h 6557032"/>
              <a:gd name="connsiteX7514" fmla="*/ 1075570 w 4610101"/>
              <a:gd name="connsiteY7514" fmla="*/ 1685465 h 6557032"/>
              <a:gd name="connsiteX7515" fmla="*/ 1074273 w 4610101"/>
              <a:gd name="connsiteY7515" fmla="*/ 1684946 h 6557032"/>
              <a:gd name="connsiteX7516" fmla="*/ 1075083 w 4610101"/>
              <a:gd name="connsiteY7516" fmla="*/ 1684541 h 6557032"/>
              <a:gd name="connsiteX7517" fmla="*/ 1073885 w 4610101"/>
              <a:gd name="connsiteY7517" fmla="*/ 1684791 h 6557032"/>
              <a:gd name="connsiteX7518" fmla="*/ 1073262 w 4610101"/>
              <a:gd name="connsiteY7518" fmla="*/ 1684541 h 6557032"/>
              <a:gd name="connsiteX7519" fmla="*/ 1073528 w 4610101"/>
              <a:gd name="connsiteY7519" fmla="*/ 1684865 h 6557032"/>
              <a:gd name="connsiteX7520" fmla="*/ 1064150 w 4610101"/>
              <a:gd name="connsiteY7520" fmla="*/ 1686819 h 6557032"/>
              <a:gd name="connsiteX7521" fmla="*/ 1058683 w 4610101"/>
              <a:gd name="connsiteY7521" fmla="*/ 1691830 h 6557032"/>
              <a:gd name="connsiteX7522" fmla="*/ 1065972 w 4610101"/>
              <a:gd name="connsiteY7522" fmla="*/ 1691830 h 6557032"/>
              <a:gd name="connsiteX7523" fmla="*/ 1069616 w 4610101"/>
              <a:gd name="connsiteY7523" fmla="*/ 1688185 h 6557032"/>
              <a:gd name="connsiteX7524" fmla="*/ 1064151 w 4610101"/>
              <a:gd name="connsiteY7524" fmla="*/ 1688185 h 6557032"/>
              <a:gd name="connsiteX7525" fmla="*/ 1071439 w 4610101"/>
              <a:gd name="connsiteY7525" fmla="*/ 1686363 h 6557032"/>
              <a:gd name="connsiteX7526" fmla="*/ 1073792 w 4610101"/>
              <a:gd name="connsiteY7526" fmla="*/ 1685186 h 6557032"/>
              <a:gd name="connsiteX7527" fmla="*/ 1076449 w 4610101"/>
              <a:gd name="connsiteY7527" fmla="*/ 1688413 h 6557032"/>
              <a:gd name="connsiteX7528" fmla="*/ 1081749 w 4610101"/>
              <a:gd name="connsiteY7528" fmla="*/ 1688209 h 6557032"/>
              <a:gd name="connsiteX7529" fmla="*/ 1089888 w 4610101"/>
              <a:gd name="connsiteY7529" fmla="*/ 1690463 h 6557032"/>
              <a:gd name="connsiteX7530" fmla="*/ 1092271 w 4610101"/>
              <a:gd name="connsiteY7530" fmla="*/ 1690664 h 6557032"/>
              <a:gd name="connsiteX7531" fmla="*/ 1094216 w 4610101"/>
              <a:gd name="connsiteY7531" fmla="*/ 1692285 h 6557032"/>
              <a:gd name="connsiteX7532" fmla="*/ 1096949 w 4610101"/>
              <a:gd name="connsiteY7532" fmla="*/ 1691830 h 6557032"/>
              <a:gd name="connsiteX7533" fmla="*/ 1093853 w 4610101"/>
              <a:gd name="connsiteY7533" fmla="*/ 1690798 h 6557032"/>
              <a:gd name="connsiteX7534" fmla="*/ 1102268 w 4610101"/>
              <a:gd name="connsiteY7534" fmla="*/ 1691509 h 6557032"/>
              <a:gd name="connsiteX7535" fmla="*/ 1095127 w 4610101"/>
              <a:gd name="connsiteY7535" fmla="*/ 1693652 h 6557032"/>
              <a:gd name="connsiteX7536" fmla="*/ 1104238 w 4610101"/>
              <a:gd name="connsiteY7536" fmla="*/ 1697296 h 6557032"/>
              <a:gd name="connsiteX7537" fmla="*/ 1113349 w 4610101"/>
              <a:gd name="connsiteY7537" fmla="*/ 1693652 h 6557032"/>
              <a:gd name="connsiteX7538" fmla="*/ 1105521 w 4610101"/>
              <a:gd name="connsiteY7538" fmla="*/ 1691303 h 6557032"/>
              <a:gd name="connsiteX7539" fmla="*/ 1096494 w 4610101"/>
              <a:gd name="connsiteY7539" fmla="*/ 1682491 h 6557032"/>
              <a:gd name="connsiteX7540" fmla="*/ 1084194 w 4610101"/>
              <a:gd name="connsiteY7540" fmla="*/ 1677252 h 6557032"/>
              <a:gd name="connsiteX7541" fmla="*/ 1084194 w 4610101"/>
              <a:gd name="connsiteY7541" fmla="*/ 1671786 h 6557032"/>
              <a:gd name="connsiteX7542" fmla="*/ 1082373 w 4610101"/>
              <a:gd name="connsiteY7542" fmla="*/ 1671786 h 6557032"/>
              <a:gd name="connsiteX7543" fmla="*/ 403612 w 4610101"/>
              <a:gd name="connsiteY7543" fmla="*/ 1670419 h 6557032"/>
              <a:gd name="connsiteX7544" fmla="*/ 399056 w 4610101"/>
              <a:gd name="connsiteY7544" fmla="*/ 1671786 h 6557032"/>
              <a:gd name="connsiteX7545" fmla="*/ 408167 w 4610101"/>
              <a:gd name="connsiteY7545" fmla="*/ 1671786 h 6557032"/>
              <a:gd name="connsiteX7546" fmla="*/ 403612 w 4610101"/>
              <a:gd name="connsiteY7546" fmla="*/ 1670419 h 6557032"/>
              <a:gd name="connsiteX7547" fmla="*/ 3217960 w 4610101"/>
              <a:gd name="connsiteY7547" fmla="*/ 1669964 h 6557032"/>
              <a:gd name="connsiteX7548" fmla="*/ 3222287 w 4610101"/>
              <a:gd name="connsiteY7548" fmla="*/ 1673608 h 6557032"/>
              <a:gd name="connsiteX7549" fmla="*/ 3221225 w 4610101"/>
              <a:gd name="connsiteY7549" fmla="*/ 1675153 h 6557032"/>
              <a:gd name="connsiteX7550" fmla="*/ 3219782 w 4610101"/>
              <a:gd name="connsiteY7550" fmla="*/ 1671786 h 6557032"/>
              <a:gd name="connsiteX7551" fmla="*/ 3218416 w 4610101"/>
              <a:gd name="connsiteY7551" fmla="*/ 1671786 h 6557032"/>
              <a:gd name="connsiteX7552" fmla="*/ 3201560 w 4610101"/>
              <a:gd name="connsiteY7552" fmla="*/ 1669964 h 6557032"/>
              <a:gd name="connsiteX7553" fmla="*/ 3205204 w 4610101"/>
              <a:gd name="connsiteY7553" fmla="*/ 1679075 h 6557032"/>
              <a:gd name="connsiteX7554" fmla="*/ 3207027 w 4610101"/>
              <a:gd name="connsiteY7554" fmla="*/ 1669964 h 6557032"/>
              <a:gd name="connsiteX7555" fmla="*/ 3201560 w 4610101"/>
              <a:gd name="connsiteY7555" fmla="*/ 1669964 h 6557032"/>
              <a:gd name="connsiteX7556" fmla="*/ 440966 w 4610101"/>
              <a:gd name="connsiteY7556" fmla="*/ 1669964 h 6557032"/>
              <a:gd name="connsiteX7557" fmla="*/ 393590 w 4610101"/>
              <a:gd name="connsiteY7557" fmla="*/ 1690008 h 6557032"/>
              <a:gd name="connsiteX7558" fmla="*/ 440966 w 4610101"/>
              <a:gd name="connsiteY7558" fmla="*/ 1669964 h 6557032"/>
              <a:gd name="connsiteX7559" fmla="*/ 433678 w 4610101"/>
              <a:gd name="connsiteY7559" fmla="*/ 1669964 h 6557032"/>
              <a:gd name="connsiteX7560" fmla="*/ 406345 w 4610101"/>
              <a:gd name="connsiteY7560" fmla="*/ 1679075 h 6557032"/>
              <a:gd name="connsiteX7561" fmla="*/ 433678 w 4610101"/>
              <a:gd name="connsiteY7561" fmla="*/ 1669964 h 6557032"/>
              <a:gd name="connsiteX7562" fmla="*/ 1059512 w 4610101"/>
              <a:gd name="connsiteY7562" fmla="*/ 1669301 h 6557032"/>
              <a:gd name="connsiteX7563" fmla="*/ 1060506 w 4610101"/>
              <a:gd name="connsiteY7563" fmla="*/ 1669964 h 6557032"/>
              <a:gd name="connsiteX7564" fmla="*/ 1055278 w 4610101"/>
              <a:gd name="connsiteY7564" fmla="*/ 1672001 h 6557032"/>
              <a:gd name="connsiteX7565" fmla="*/ 1055040 w 4610101"/>
              <a:gd name="connsiteY7565" fmla="*/ 1671786 h 6557032"/>
              <a:gd name="connsiteX7566" fmla="*/ 1052078 w 4610101"/>
              <a:gd name="connsiteY7566" fmla="*/ 1668597 h 6557032"/>
              <a:gd name="connsiteX7567" fmla="*/ 1055040 w 4610101"/>
              <a:gd name="connsiteY7567" fmla="*/ 1669964 h 6557032"/>
              <a:gd name="connsiteX7568" fmla="*/ 1047750 w 4610101"/>
              <a:gd name="connsiteY7568" fmla="*/ 1669964 h 6557032"/>
              <a:gd name="connsiteX7569" fmla="*/ 1052078 w 4610101"/>
              <a:gd name="connsiteY7569" fmla="*/ 1668597 h 6557032"/>
              <a:gd name="connsiteX7570" fmla="*/ 1062067 w 4610101"/>
              <a:gd name="connsiteY7570" fmla="*/ 1667881 h 6557032"/>
              <a:gd name="connsiteX7571" fmla="*/ 1062328 w 4610101"/>
              <a:gd name="connsiteY7571" fmla="*/ 1668142 h 6557032"/>
              <a:gd name="connsiteX7572" fmla="*/ 1061825 w 4610101"/>
              <a:gd name="connsiteY7572" fmla="*/ 1668016 h 6557032"/>
              <a:gd name="connsiteX7573" fmla="*/ 1055040 w 4610101"/>
              <a:gd name="connsiteY7573" fmla="*/ 1666319 h 6557032"/>
              <a:gd name="connsiteX7574" fmla="*/ 1061825 w 4610101"/>
              <a:gd name="connsiteY7574" fmla="*/ 1668016 h 6557032"/>
              <a:gd name="connsiteX7575" fmla="*/ 1059512 w 4610101"/>
              <a:gd name="connsiteY7575" fmla="*/ 1669301 h 6557032"/>
              <a:gd name="connsiteX7576" fmla="*/ 431856 w 4610101"/>
              <a:gd name="connsiteY7576" fmla="*/ 1666319 h 6557032"/>
              <a:gd name="connsiteX7577" fmla="*/ 421464 w 4610101"/>
              <a:gd name="connsiteY7577" fmla="*/ 1668480 h 6557032"/>
              <a:gd name="connsiteX7578" fmla="*/ 422289 w 4610101"/>
              <a:gd name="connsiteY7578" fmla="*/ 1667913 h 6557032"/>
              <a:gd name="connsiteX7579" fmla="*/ 423862 w 4610101"/>
              <a:gd name="connsiteY7579" fmla="*/ 1666623 h 6557032"/>
              <a:gd name="connsiteX7580" fmla="*/ 1095127 w 4610101"/>
              <a:gd name="connsiteY7580" fmla="*/ 1664497 h 6557032"/>
              <a:gd name="connsiteX7581" fmla="*/ 1086016 w 4610101"/>
              <a:gd name="connsiteY7581" fmla="*/ 1669964 h 6557032"/>
              <a:gd name="connsiteX7582" fmla="*/ 1096949 w 4610101"/>
              <a:gd name="connsiteY7582" fmla="*/ 1673608 h 6557032"/>
              <a:gd name="connsiteX7583" fmla="*/ 1098816 w 4610101"/>
              <a:gd name="connsiteY7583" fmla="*/ 1673297 h 6557032"/>
              <a:gd name="connsiteX7584" fmla="*/ 1093305 w 4610101"/>
              <a:gd name="connsiteY7584" fmla="*/ 1675430 h 6557032"/>
              <a:gd name="connsiteX7585" fmla="*/ 1109704 w 4610101"/>
              <a:gd name="connsiteY7585" fmla="*/ 1688185 h 6557032"/>
              <a:gd name="connsiteX7586" fmla="*/ 1124282 w 4610101"/>
              <a:gd name="connsiteY7586" fmla="*/ 1684541 h 6557032"/>
              <a:gd name="connsiteX7587" fmla="*/ 1106060 w 4610101"/>
              <a:gd name="connsiteY7587" fmla="*/ 1675430 h 6557032"/>
              <a:gd name="connsiteX7588" fmla="*/ 1100894 w 4610101"/>
              <a:gd name="connsiteY7588" fmla="*/ 1672950 h 6557032"/>
              <a:gd name="connsiteX7589" fmla="*/ 1107882 w 4610101"/>
              <a:gd name="connsiteY7589" fmla="*/ 1671786 h 6557032"/>
              <a:gd name="connsiteX7590" fmla="*/ 1098771 w 4610101"/>
              <a:gd name="connsiteY7590" fmla="*/ 1669964 h 6557032"/>
              <a:gd name="connsiteX7591" fmla="*/ 1095127 w 4610101"/>
              <a:gd name="connsiteY7591" fmla="*/ 1664497 h 6557032"/>
              <a:gd name="connsiteX7592" fmla="*/ 688782 w 4610101"/>
              <a:gd name="connsiteY7592" fmla="*/ 1664497 h 6557032"/>
              <a:gd name="connsiteX7593" fmla="*/ 694249 w 4610101"/>
              <a:gd name="connsiteY7593" fmla="*/ 1668142 h 6557032"/>
              <a:gd name="connsiteX7594" fmla="*/ 688782 w 4610101"/>
              <a:gd name="connsiteY7594" fmla="*/ 1664497 h 6557032"/>
              <a:gd name="connsiteX7595" fmla="*/ 794200 w 4610101"/>
              <a:gd name="connsiteY7595" fmla="*/ 1664470 h 6557032"/>
              <a:gd name="connsiteX7596" fmla="*/ 794468 w 4610101"/>
              <a:gd name="connsiteY7596" fmla="*/ 1664497 h 6557032"/>
              <a:gd name="connsiteX7597" fmla="*/ 723488 w 4610101"/>
              <a:gd name="connsiteY7597" fmla="*/ 1679103 h 6557032"/>
              <a:gd name="connsiteX7598" fmla="*/ 719344 w 4610101"/>
              <a:gd name="connsiteY7598" fmla="*/ 1677222 h 6557032"/>
              <a:gd name="connsiteX7599" fmla="*/ 722720 w 4610101"/>
              <a:gd name="connsiteY7599" fmla="*/ 1677708 h 6557032"/>
              <a:gd name="connsiteX7600" fmla="*/ 752558 w 4610101"/>
              <a:gd name="connsiteY7600" fmla="*/ 1673608 h 6557032"/>
              <a:gd name="connsiteX7601" fmla="*/ 602679 w 4610101"/>
              <a:gd name="connsiteY7601" fmla="*/ 1663598 h 6557032"/>
              <a:gd name="connsiteX7602" fmla="*/ 597773 w 4610101"/>
              <a:gd name="connsiteY7602" fmla="*/ 1667644 h 6557032"/>
              <a:gd name="connsiteX7603" fmla="*/ 619539 w 4610101"/>
              <a:gd name="connsiteY7603" fmla="*/ 1664535 h 6557032"/>
              <a:gd name="connsiteX7604" fmla="*/ 610428 w 4610101"/>
              <a:gd name="connsiteY7604" fmla="*/ 1670002 h 6557032"/>
              <a:gd name="connsiteX7605" fmla="*/ 614072 w 4610101"/>
              <a:gd name="connsiteY7605" fmla="*/ 1668179 h 6557032"/>
              <a:gd name="connsiteX7606" fmla="*/ 597673 w 4610101"/>
              <a:gd name="connsiteY7606" fmla="*/ 1670002 h 6557032"/>
              <a:gd name="connsiteX7607" fmla="*/ 597672 w 4610101"/>
              <a:gd name="connsiteY7607" fmla="*/ 1670001 h 6557032"/>
              <a:gd name="connsiteX7608" fmla="*/ 596283 w 4610101"/>
              <a:gd name="connsiteY7608" fmla="*/ 1669307 h 6557032"/>
              <a:gd name="connsiteX7609" fmla="*/ 584919 w 4610101"/>
              <a:gd name="connsiteY7609" fmla="*/ 1690008 h 6557032"/>
              <a:gd name="connsiteX7610" fmla="*/ 573985 w 4610101"/>
              <a:gd name="connsiteY7610" fmla="*/ 1691830 h 6557032"/>
              <a:gd name="connsiteX7611" fmla="*/ 586741 w 4610101"/>
              <a:gd name="connsiteY7611" fmla="*/ 1680897 h 6557032"/>
              <a:gd name="connsiteX7612" fmla="*/ 583096 w 4610101"/>
              <a:gd name="connsiteY7612" fmla="*/ 1677252 h 6557032"/>
              <a:gd name="connsiteX7613" fmla="*/ 595730 w 4610101"/>
              <a:gd name="connsiteY7613" fmla="*/ 1669030 h 6557032"/>
              <a:gd name="connsiteX7614" fmla="*/ 594753 w 4610101"/>
              <a:gd name="connsiteY7614" fmla="*/ 1668542 h 6557032"/>
              <a:gd name="connsiteX7615" fmla="*/ 594028 w 4610101"/>
              <a:gd name="connsiteY7615" fmla="*/ 1668179 h 6557032"/>
              <a:gd name="connsiteX7616" fmla="*/ 597147 w 4610101"/>
              <a:gd name="connsiteY7616" fmla="*/ 1667733 h 6557032"/>
              <a:gd name="connsiteX7617" fmla="*/ 597673 w 4610101"/>
              <a:gd name="connsiteY7617" fmla="*/ 1666775 h 6557032"/>
              <a:gd name="connsiteX7618" fmla="*/ 552639 w 4610101"/>
              <a:gd name="connsiteY7618" fmla="*/ 1663456 h 6557032"/>
              <a:gd name="connsiteX7619" fmla="*/ 553240 w 4610101"/>
              <a:gd name="connsiteY7619" fmla="*/ 1664357 h 6557032"/>
              <a:gd name="connsiteX7620" fmla="*/ 552802 w 4610101"/>
              <a:gd name="connsiteY7620" fmla="*/ 1666547 h 6557032"/>
              <a:gd name="connsiteX7621" fmla="*/ 550297 w 4610101"/>
              <a:gd name="connsiteY7621" fmla="*/ 1668142 h 6557032"/>
              <a:gd name="connsiteX7622" fmla="*/ 3208849 w 4610101"/>
              <a:gd name="connsiteY7622" fmla="*/ 1662675 h 6557032"/>
              <a:gd name="connsiteX7623" fmla="*/ 3203382 w 4610101"/>
              <a:gd name="connsiteY7623" fmla="*/ 1666319 h 6557032"/>
              <a:gd name="connsiteX7624" fmla="*/ 3210671 w 4610101"/>
              <a:gd name="connsiteY7624" fmla="*/ 1668142 h 6557032"/>
              <a:gd name="connsiteX7625" fmla="*/ 3208849 w 4610101"/>
              <a:gd name="connsiteY7625" fmla="*/ 1662675 h 6557032"/>
              <a:gd name="connsiteX7626" fmla="*/ 1104238 w 4610101"/>
              <a:gd name="connsiteY7626" fmla="*/ 1662675 h 6557032"/>
              <a:gd name="connsiteX7627" fmla="*/ 1126104 w 4610101"/>
              <a:gd name="connsiteY7627" fmla="*/ 1675430 h 6557032"/>
              <a:gd name="connsiteX7628" fmla="*/ 1126104 w 4610101"/>
              <a:gd name="connsiteY7628" fmla="*/ 1679075 h 6557032"/>
              <a:gd name="connsiteX7629" fmla="*/ 1131570 w 4610101"/>
              <a:gd name="connsiteY7629" fmla="*/ 1680897 h 6557032"/>
              <a:gd name="connsiteX7630" fmla="*/ 1127926 w 4610101"/>
              <a:gd name="connsiteY7630" fmla="*/ 1677252 h 6557032"/>
              <a:gd name="connsiteX7631" fmla="*/ 1126104 w 4610101"/>
              <a:gd name="connsiteY7631" fmla="*/ 1675430 h 6557032"/>
              <a:gd name="connsiteX7632" fmla="*/ 1104238 w 4610101"/>
              <a:gd name="connsiteY7632" fmla="*/ 1662675 h 6557032"/>
              <a:gd name="connsiteX7633" fmla="*/ 1056861 w 4610101"/>
              <a:gd name="connsiteY7633" fmla="*/ 1662675 h 6557032"/>
              <a:gd name="connsiteX7634" fmla="*/ 1057497 w 4610101"/>
              <a:gd name="connsiteY7634" fmla="*/ 1663311 h 6557032"/>
              <a:gd name="connsiteX7635" fmla="*/ 1050256 w 4610101"/>
              <a:gd name="connsiteY7635" fmla="*/ 1666320 h 6557032"/>
              <a:gd name="connsiteX7636" fmla="*/ 1043278 w 4610101"/>
              <a:gd name="connsiteY7636" fmla="*/ 1666992 h 6557032"/>
              <a:gd name="connsiteX7637" fmla="*/ 1147970 w 4610101"/>
              <a:gd name="connsiteY7637" fmla="*/ 1660853 h 6557032"/>
              <a:gd name="connsiteX7638" fmla="*/ 1153436 w 4610101"/>
              <a:gd name="connsiteY7638" fmla="*/ 1664497 h 6557032"/>
              <a:gd name="connsiteX7639" fmla="*/ 1149792 w 4610101"/>
              <a:gd name="connsiteY7639" fmla="*/ 1660853 h 6557032"/>
              <a:gd name="connsiteX7640" fmla="*/ 1147970 w 4610101"/>
              <a:gd name="connsiteY7640" fmla="*/ 1660853 h 6557032"/>
              <a:gd name="connsiteX7641" fmla="*/ 1135215 w 4610101"/>
              <a:gd name="connsiteY7641" fmla="*/ 1659031 h 6557032"/>
              <a:gd name="connsiteX7642" fmla="*/ 1135215 w 4610101"/>
              <a:gd name="connsiteY7642" fmla="*/ 1675430 h 6557032"/>
              <a:gd name="connsiteX7643" fmla="*/ 1151614 w 4610101"/>
              <a:gd name="connsiteY7643" fmla="*/ 1680897 h 6557032"/>
              <a:gd name="connsiteX7644" fmla="*/ 1162547 w 4610101"/>
              <a:gd name="connsiteY7644" fmla="*/ 1677252 h 6557032"/>
              <a:gd name="connsiteX7645" fmla="*/ 1153436 w 4610101"/>
              <a:gd name="connsiteY7645" fmla="*/ 1666319 h 6557032"/>
              <a:gd name="connsiteX7646" fmla="*/ 1146148 w 4610101"/>
              <a:gd name="connsiteY7646" fmla="*/ 1666319 h 6557032"/>
              <a:gd name="connsiteX7647" fmla="*/ 1135215 w 4610101"/>
              <a:gd name="connsiteY7647" fmla="*/ 1659031 h 6557032"/>
              <a:gd name="connsiteX7648" fmla="*/ 1129748 w 4610101"/>
              <a:gd name="connsiteY7648" fmla="*/ 1659031 h 6557032"/>
              <a:gd name="connsiteX7649" fmla="*/ 1129748 w 4610101"/>
              <a:gd name="connsiteY7649" fmla="*/ 1666319 h 6557032"/>
              <a:gd name="connsiteX7650" fmla="*/ 1133393 w 4610101"/>
              <a:gd name="connsiteY7650" fmla="*/ 1673608 h 6557032"/>
              <a:gd name="connsiteX7651" fmla="*/ 1131570 w 4610101"/>
              <a:gd name="connsiteY7651" fmla="*/ 1659031 h 6557032"/>
              <a:gd name="connsiteX7652" fmla="*/ 1129748 w 4610101"/>
              <a:gd name="connsiteY7652" fmla="*/ 1659031 h 6557032"/>
              <a:gd name="connsiteX7653" fmla="*/ 1084194 w 4610101"/>
              <a:gd name="connsiteY7653" fmla="*/ 1659031 h 6557032"/>
              <a:gd name="connsiteX7654" fmla="*/ 1084194 w 4610101"/>
              <a:gd name="connsiteY7654" fmla="*/ 1668142 h 6557032"/>
              <a:gd name="connsiteX7655" fmla="*/ 1095127 w 4610101"/>
              <a:gd name="connsiteY7655" fmla="*/ 1662675 h 6557032"/>
              <a:gd name="connsiteX7656" fmla="*/ 1084194 w 4610101"/>
              <a:gd name="connsiteY7656" fmla="*/ 1659031 h 6557032"/>
              <a:gd name="connsiteX7657" fmla="*/ 787179 w 4610101"/>
              <a:gd name="connsiteY7657" fmla="*/ 1659031 h 6557032"/>
              <a:gd name="connsiteX7658" fmla="*/ 807223 w 4610101"/>
              <a:gd name="connsiteY7658" fmla="*/ 1659031 h 6557032"/>
              <a:gd name="connsiteX7659" fmla="*/ 787179 w 4610101"/>
              <a:gd name="connsiteY7659" fmla="*/ 1659031 h 6557032"/>
              <a:gd name="connsiteX7660" fmla="*/ 643228 w 4610101"/>
              <a:gd name="connsiteY7660" fmla="*/ 1659031 h 6557032"/>
              <a:gd name="connsiteX7661" fmla="*/ 639583 w 4610101"/>
              <a:gd name="connsiteY7661" fmla="*/ 1662675 h 6557032"/>
              <a:gd name="connsiteX7662" fmla="*/ 643228 w 4610101"/>
              <a:gd name="connsiteY7662" fmla="*/ 1659031 h 6557032"/>
              <a:gd name="connsiteX7663" fmla="*/ 494957 w 4610101"/>
              <a:gd name="connsiteY7663" fmla="*/ 1658422 h 6557032"/>
              <a:gd name="connsiteX7664" fmla="*/ 492899 w 4610101"/>
              <a:gd name="connsiteY7664" fmla="*/ 1667686 h 6557032"/>
              <a:gd name="connsiteX7665" fmla="*/ 490036 w 4610101"/>
              <a:gd name="connsiteY7665" fmla="*/ 1671075 h 6557032"/>
              <a:gd name="connsiteX7666" fmla="*/ 832270 w 4610101"/>
              <a:gd name="connsiteY7666" fmla="*/ 1656898 h 6557032"/>
              <a:gd name="connsiteX7667" fmla="*/ 832734 w 4610101"/>
              <a:gd name="connsiteY7667" fmla="*/ 1657208 h 6557032"/>
              <a:gd name="connsiteX7668" fmla="*/ 829416 w 4610101"/>
              <a:gd name="connsiteY7668" fmla="*/ 1657208 h 6557032"/>
              <a:gd name="connsiteX7669" fmla="*/ 768959 w 4610101"/>
              <a:gd name="connsiteY7669" fmla="*/ 1655386 h 6557032"/>
              <a:gd name="connsiteX7670" fmla="*/ 763491 w 4610101"/>
              <a:gd name="connsiteY7670" fmla="*/ 1659031 h 6557032"/>
              <a:gd name="connsiteX7671" fmla="*/ 774424 w 4610101"/>
              <a:gd name="connsiteY7671" fmla="*/ 1659031 h 6557032"/>
              <a:gd name="connsiteX7672" fmla="*/ 768959 w 4610101"/>
              <a:gd name="connsiteY7672" fmla="*/ 1655386 h 6557032"/>
              <a:gd name="connsiteX7673" fmla="*/ 559408 w 4610101"/>
              <a:gd name="connsiteY7673" fmla="*/ 1655386 h 6557032"/>
              <a:gd name="connsiteX7674" fmla="*/ 553941 w 4610101"/>
              <a:gd name="connsiteY7674" fmla="*/ 1679075 h 6557032"/>
              <a:gd name="connsiteX7675" fmla="*/ 554624 w 4610101"/>
              <a:gd name="connsiteY7675" fmla="*/ 1666547 h 6557032"/>
              <a:gd name="connsiteX7676" fmla="*/ 554654 w 4610101"/>
              <a:gd name="connsiteY7676" fmla="*/ 1666478 h 6557032"/>
              <a:gd name="connsiteX7677" fmla="*/ 555763 w 4610101"/>
              <a:gd name="connsiteY7677" fmla="*/ 1668142 h 6557032"/>
              <a:gd name="connsiteX7678" fmla="*/ 556004 w 4610101"/>
              <a:gd name="connsiteY7678" fmla="*/ 1663329 h 6557032"/>
              <a:gd name="connsiteX7679" fmla="*/ 419100 w 4610101"/>
              <a:gd name="connsiteY7679" fmla="*/ 1655386 h 6557032"/>
              <a:gd name="connsiteX7680" fmla="*/ 428439 w 4610101"/>
              <a:gd name="connsiteY7680" fmla="*/ 1661763 h 6557032"/>
              <a:gd name="connsiteX7681" fmla="*/ 431228 w 4610101"/>
              <a:gd name="connsiteY7681" fmla="*/ 1660577 h 6557032"/>
              <a:gd name="connsiteX7682" fmla="*/ 423862 w 4610101"/>
              <a:gd name="connsiteY7682" fmla="*/ 1666623 h 6557032"/>
              <a:gd name="connsiteX7683" fmla="*/ 413861 w 4610101"/>
              <a:gd name="connsiteY7683" fmla="*/ 1667002 h 6557032"/>
              <a:gd name="connsiteX7684" fmla="*/ 397234 w 4610101"/>
              <a:gd name="connsiteY7684" fmla="*/ 1660853 h 6557032"/>
              <a:gd name="connsiteX7685" fmla="*/ 422745 w 4610101"/>
              <a:gd name="connsiteY7685" fmla="*/ 1662675 h 6557032"/>
              <a:gd name="connsiteX7686" fmla="*/ 419100 w 4610101"/>
              <a:gd name="connsiteY7686" fmla="*/ 1655386 h 6557032"/>
              <a:gd name="connsiteX7687" fmla="*/ 1177125 w 4610101"/>
              <a:gd name="connsiteY7687" fmla="*/ 1653564 h 6557032"/>
              <a:gd name="connsiteX7688" fmla="*/ 1180769 w 4610101"/>
              <a:gd name="connsiteY7688" fmla="*/ 1657208 h 6557032"/>
              <a:gd name="connsiteX7689" fmla="*/ 1180769 w 4610101"/>
              <a:gd name="connsiteY7689" fmla="*/ 1655386 h 6557032"/>
              <a:gd name="connsiteX7690" fmla="*/ 1177125 w 4610101"/>
              <a:gd name="connsiteY7690" fmla="*/ 1653564 h 6557032"/>
              <a:gd name="connsiteX7691" fmla="*/ 875578 w 4610101"/>
              <a:gd name="connsiteY7691" fmla="*/ 1652194 h 6557032"/>
              <a:gd name="connsiteX7692" fmla="*/ 856422 w 4610101"/>
              <a:gd name="connsiteY7692" fmla="*/ 1655386 h 6557032"/>
              <a:gd name="connsiteX7693" fmla="*/ 850630 w 4610101"/>
              <a:gd name="connsiteY7693" fmla="*/ 1654904 h 6557032"/>
              <a:gd name="connsiteX7694" fmla="*/ 3188155 w 4610101"/>
              <a:gd name="connsiteY7694" fmla="*/ 1651742 h 6557032"/>
              <a:gd name="connsiteX7695" fmla="*/ 3188805 w 4610101"/>
              <a:gd name="connsiteY7695" fmla="*/ 1651742 h 6557032"/>
              <a:gd name="connsiteX7696" fmla="*/ 3189518 w 4610101"/>
              <a:gd name="connsiteY7696" fmla="*/ 1652329 h 6557032"/>
              <a:gd name="connsiteX7697" fmla="*/ 1162547 w 4610101"/>
              <a:gd name="connsiteY7697" fmla="*/ 1651742 h 6557032"/>
              <a:gd name="connsiteX7698" fmla="*/ 1168014 w 4610101"/>
              <a:gd name="connsiteY7698" fmla="*/ 1657208 h 6557032"/>
              <a:gd name="connsiteX7699" fmla="*/ 1168014 w 4610101"/>
              <a:gd name="connsiteY7699" fmla="*/ 1653564 h 6557032"/>
              <a:gd name="connsiteX7700" fmla="*/ 1162547 w 4610101"/>
              <a:gd name="connsiteY7700" fmla="*/ 1651742 h 6557032"/>
              <a:gd name="connsiteX7701" fmla="*/ 1118815 w 4610101"/>
              <a:gd name="connsiteY7701" fmla="*/ 1651742 h 6557032"/>
              <a:gd name="connsiteX7702" fmla="*/ 1129748 w 4610101"/>
              <a:gd name="connsiteY7702" fmla="*/ 1655386 h 6557032"/>
              <a:gd name="connsiteX7703" fmla="*/ 1118815 w 4610101"/>
              <a:gd name="connsiteY7703" fmla="*/ 1651742 h 6557032"/>
              <a:gd name="connsiteX7704" fmla="*/ 654161 w 4610101"/>
              <a:gd name="connsiteY7704" fmla="*/ 1651742 h 6557032"/>
              <a:gd name="connsiteX7705" fmla="*/ 650516 w 4610101"/>
              <a:gd name="connsiteY7705" fmla="*/ 1664497 h 6557032"/>
              <a:gd name="connsiteX7706" fmla="*/ 655983 w 4610101"/>
              <a:gd name="connsiteY7706" fmla="*/ 1660853 h 6557032"/>
              <a:gd name="connsiteX7707" fmla="*/ 652339 w 4610101"/>
              <a:gd name="connsiteY7707" fmla="*/ 1660853 h 6557032"/>
              <a:gd name="connsiteX7708" fmla="*/ 654161 w 4610101"/>
              <a:gd name="connsiteY7708" fmla="*/ 1651742 h 6557032"/>
              <a:gd name="connsiteX7709" fmla="*/ 443244 w 4610101"/>
              <a:gd name="connsiteY7709" fmla="*/ 1651514 h 6557032"/>
              <a:gd name="connsiteX7710" fmla="*/ 446433 w 4610101"/>
              <a:gd name="connsiteY7710" fmla="*/ 1655386 h 6557032"/>
              <a:gd name="connsiteX7711" fmla="*/ 451899 w 4610101"/>
              <a:gd name="connsiteY7711" fmla="*/ 1655386 h 6557032"/>
              <a:gd name="connsiteX7712" fmla="*/ 437322 w 4610101"/>
              <a:gd name="connsiteY7712" fmla="*/ 1660853 h 6557032"/>
              <a:gd name="connsiteX7713" fmla="*/ 439145 w 4610101"/>
              <a:gd name="connsiteY7713" fmla="*/ 1657208 h 6557032"/>
              <a:gd name="connsiteX7714" fmla="*/ 431228 w 4610101"/>
              <a:gd name="connsiteY7714" fmla="*/ 1660577 h 6557032"/>
              <a:gd name="connsiteX7715" fmla="*/ 442221 w 4610101"/>
              <a:gd name="connsiteY7715" fmla="*/ 1651554 h 6557032"/>
              <a:gd name="connsiteX7716" fmla="*/ 528666 w 4610101"/>
              <a:gd name="connsiteY7716" fmla="*/ 1651271 h 6557032"/>
              <a:gd name="connsiteX7717" fmla="*/ 528203 w 4610101"/>
              <a:gd name="connsiteY7717" fmla="*/ 1652197 h 6557032"/>
              <a:gd name="connsiteX7718" fmla="*/ 526539 w 4610101"/>
              <a:gd name="connsiteY7718" fmla="*/ 1652863 h 6557032"/>
              <a:gd name="connsiteX7719" fmla="*/ 527146 w 4610101"/>
              <a:gd name="connsiteY7719" fmla="*/ 1652170 h 6557032"/>
              <a:gd name="connsiteX7720" fmla="*/ 532075 w 4610101"/>
              <a:gd name="connsiteY7720" fmla="*/ 1650648 h 6557032"/>
              <a:gd name="connsiteX7721" fmla="*/ 532075 w 4610101"/>
              <a:gd name="connsiteY7721" fmla="*/ 1651969 h 6557032"/>
              <a:gd name="connsiteX7722" fmla="*/ 526609 w 4610101"/>
              <a:gd name="connsiteY7722" fmla="*/ 1655386 h 6557032"/>
              <a:gd name="connsiteX7723" fmla="*/ 528203 w 4610101"/>
              <a:gd name="connsiteY7723" fmla="*/ 1652197 h 6557032"/>
              <a:gd name="connsiteX7724" fmla="*/ 1144435 w 4610101"/>
              <a:gd name="connsiteY7724" fmla="*/ 1649985 h 6557032"/>
              <a:gd name="connsiteX7725" fmla="*/ 1146027 w 4610101"/>
              <a:gd name="connsiteY7725" fmla="*/ 1650941 h 6557032"/>
              <a:gd name="connsiteX7726" fmla="*/ 1145009 w 4610101"/>
              <a:gd name="connsiteY7726" fmla="*/ 1650831 h 6557032"/>
              <a:gd name="connsiteX7727" fmla="*/ 3077652 w 4610101"/>
              <a:gd name="connsiteY7727" fmla="*/ 1649920 h 6557032"/>
              <a:gd name="connsiteX7728" fmla="*/ 3068541 w 4610101"/>
              <a:gd name="connsiteY7728" fmla="*/ 1651742 h 6557032"/>
              <a:gd name="connsiteX7729" fmla="*/ 3066719 w 4610101"/>
              <a:gd name="connsiteY7729" fmla="*/ 1659031 h 6557032"/>
              <a:gd name="connsiteX7730" fmla="*/ 3063075 w 4610101"/>
              <a:gd name="connsiteY7730" fmla="*/ 1669964 h 6557032"/>
              <a:gd name="connsiteX7731" fmla="*/ 3075830 w 4610101"/>
              <a:gd name="connsiteY7731" fmla="*/ 1677252 h 6557032"/>
              <a:gd name="connsiteX7732" fmla="*/ 3084941 w 4610101"/>
              <a:gd name="connsiteY7732" fmla="*/ 1671786 h 6557032"/>
              <a:gd name="connsiteX7733" fmla="*/ 444863 w 4610101"/>
              <a:gd name="connsiteY7733" fmla="*/ 1649385 h 6557032"/>
              <a:gd name="connsiteX7734" fmla="*/ 442221 w 4610101"/>
              <a:gd name="connsiteY7734" fmla="*/ 1651554 h 6557032"/>
              <a:gd name="connsiteX7735" fmla="*/ 437322 w 4610101"/>
              <a:gd name="connsiteY7735" fmla="*/ 1651742 h 6557032"/>
              <a:gd name="connsiteX7736" fmla="*/ 895926 w 4610101"/>
              <a:gd name="connsiteY7736" fmla="*/ 1648752 h 6557032"/>
              <a:gd name="connsiteX7737" fmla="*/ 896510 w 4610101"/>
              <a:gd name="connsiteY7737" fmla="*/ 1649920 h 6557032"/>
              <a:gd name="connsiteX7738" fmla="*/ 875578 w 4610101"/>
              <a:gd name="connsiteY7738" fmla="*/ 1652194 h 6557032"/>
              <a:gd name="connsiteX7739" fmla="*/ 878288 w 4610101"/>
              <a:gd name="connsiteY7739" fmla="*/ 1651742 h 6557032"/>
              <a:gd name="connsiteX7740" fmla="*/ 1091484 w 4610101"/>
              <a:gd name="connsiteY7740" fmla="*/ 1648097 h 6557032"/>
              <a:gd name="connsiteX7741" fmla="*/ 1095127 w 4610101"/>
              <a:gd name="connsiteY7741" fmla="*/ 1651742 h 6557032"/>
              <a:gd name="connsiteX7742" fmla="*/ 1091484 w 4610101"/>
              <a:gd name="connsiteY7742" fmla="*/ 1648097 h 6557032"/>
              <a:gd name="connsiteX7743" fmla="*/ 449583 w 4610101"/>
              <a:gd name="connsiteY7743" fmla="*/ 1647827 h 6557032"/>
              <a:gd name="connsiteX7744" fmla="*/ 448256 w 4610101"/>
              <a:gd name="connsiteY7744" fmla="*/ 1648325 h 6557032"/>
              <a:gd name="connsiteX7745" fmla="*/ 444863 w 4610101"/>
              <a:gd name="connsiteY7745" fmla="*/ 1649385 h 6557032"/>
              <a:gd name="connsiteX7746" fmla="*/ 446433 w 4610101"/>
              <a:gd name="connsiteY7746" fmla="*/ 1648097 h 6557032"/>
              <a:gd name="connsiteX7747" fmla="*/ 532075 w 4610101"/>
              <a:gd name="connsiteY7747" fmla="*/ 1646535 h 6557032"/>
              <a:gd name="connsiteX7748" fmla="*/ 532075 w 4610101"/>
              <a:gd name="connsiteY7748" fmla="*/ 1649257 h 6557032"/>
              <a:gd name="connsiteX7749" fmla="*/ 528666 w 4610101"/>
              <a:gd name="connsiteY7749" fmla="*/ 1651271 h 6557032"/>
              <a:gd name="connsiteX7750" fmla="*/ 529342 w 4610101"/>
              <a:gd name="connsiteY7750" fmla="*/ 1649919 h 6557032"/>
              <a:gd name="connsiteX7751" fmla="*/ 529646 w 4610101"/>
              <a:gd name="connsiteY7751" fmla="*/ 1649312 h 6557032"/>
              <a:gd name="connsiteX7752" fmla="*/ 1131570 w 4610101"/>
              <a:gd name="connsiteY7752" fmla="*/ 1646275 h 6557032"/>
              <a:gd name="connsiteX7753" fmla="*/ 1140681 w 4610101"/>
              <a:gd name="connsiteY7753" fmla="*/ 1649920 h 6557032"/>
              <a:gd name="connsiteX7754" fmla="*/ 1131570 w 4610101"/>
              <a:gd name="connsiteY7754" fmla="*/ 1646275 h 6557032"/>
              <a:gd name="connsiteX7755" fmla="*/ 524995 w 4610101"/>
              <a:gd name="connsiteY7755" fmla="*/ 1645598 h 6557032"/>
              <a:gd name="connsiteX7756" fmla="*/ 520914 w 4610101"/>
              <a:gd name="connsiteY7756" fmla="*/ 1651286 h 6557032"/>
              <a:gd name="connsiteX7757" fmla="*/ 519829 w 4610101"/>
              <a:gd name="connsiteY7757" fmla="*/ 1655483 h 6557032"/>
              <a:gd name="connsiteX7758" fmla="*/ 510209 w 4610101"/>
              <a:gd name="connsiteY7758" fmla="*/ 1660853 h 6557032"/>
              <a:gd name="connsiteX7759" fmla="*/ 515676 w 4610101"/>
              <a:gd name="connsiteY7759" fmla="*/ 1660853 h 6557032"/>
              <a:gd name="connsiteX7760" fmla="*/ 513853 w 4610101"/>
              <a:gd name="connsiteY7760" fmla="*/ 1668142 h 6557032"/>
              <a:gd name="connsiteX7761" fmla="*/ 516131 w 4610101"/>
              <a:gd name="connsiteY7761" fmla="*/ 1663358 h 6557032"/>
              <a:gd name="connsiteX7762" fmla="*/ 517853 w 4610101"/>
              <a:gd name="connsiteY7762" fmla="*/ 1663123 h 6557032"/>
              <a:gd name="connsiteX7763" fmla="*/ 517498 w 4610101"/>
              <a:gd name="connsiteY7763" fmla="*/ 1664497 h 6557032"/>
              <a:gd name="connsiteX7764" fmla="*/ 518687 w 4610101"/>
              <a:gd name="connsiteY7764" fmla="*/ 1663010 h 6557032"/>
              <a:gd name="connsiteX7765" fmla="*/ 521142 w 4610101"/>
              <a:gd name="connsiteY7765" fmla="*/ 1662675 h 6557032"/>
              <a:gd name="connsiteX7766" fmla="*/ 493809 w 4610101"/>
              <a:gd name="connsiteY7766" fmla="*/ 1684541 h 6557032"/>
              <a:gd name="connsiteX7767" fmla="*/ 495404 w 4610101"/>
              <a:gd name="connsiteY7767" fmla="*/ 1682035 h 6557032"/>
              <a:gd name="connsiteX7768" fmla="*/ 496761 w 4610101"/>
              <a:gd name="connsiteY7768" fmla="*/ 1680461 h 6557032"/>
              <a:gd name="connsiteX7769" fmla="*/ 495632 w 4610101"/>
              <a:gd name="connsiteY7769" fmla="*/ 1682719 h 6557032"/>
              <a:gd name="connsiteX7770" fmla="*/ 497771 w 4610101"/>
              <a:gd name="connsiteY7770" fmla="*/ 1679289 h 6557032"/>
              <a:gd name="connsiteX7771" fmla="*/ 501098 w 4610101"/>
              <a:gd name="connsiteY7771" fmla="*/ 1675430 h 6557032"/>
              <a:gd name="connsiteX7772" fmla="*/ 499456 w 4610101"/>
              <a:gd name="connsiteY7772" fmla="*/ 1676590 h 6557032"/>
              <a:gd name="connsiteX7773" fmla="*/ 506604 w 4610101"/>
              <a:gd name="connsiteY7773" fmla="*/ 1665128 h 6557032"/>
              <a:gd name="connsiteX7774" fmla="*/ 504743 w 4610101"/>
              <a:gd name="connsiteY7774" fmla="*/ 1673608 h 6557032"/>
              <a:gd name="connsiteX7775" fmla="*/ 508415 w 4610101"/>
              <a:gd name="connsiteY7775" fmla="*/ 1665152 h 6557032"/>
              <a:gd name="connsiteX7776" fmla="*/ 508333 w 4610101"/>
              <a:gd name="connsiteY7776" fmla="*/ 1662358 h 6557032"/>
              <a:gd name="connsiteX7777" fmla="*/ 509981 w 4610101"/>
              <a:gd name="connsiteY7777" fmla="*/ 1659714 h 6557032"/>
              <a:gd name="connsiteX7778" fmla="*/ 523160 w 4610101"/>
              <a:gd name="connsiteY7778" fmla="*/ 1646209 h 6557032"/>
              <a:gd name="connsiteX7779" fmla="*/ 801528 w 4610101"/>
              <a:gd name="connsiteY7779" fmla="*/ 1645395 h 6557032"/>
              <a:gd name="connsiteX7780" fmla="*/ 810867 w 4610101"/>
              <a:gd name="connsiteY7780" fmla="*/ 1648128 h 6557032"/>
              <a:gd name="connsiteX7781" fmla="*/ 790823 w 4610101"/>
              <a:gd name="connsiteY7781" fmla="*/ 1648128 h 6557032"/>
              <a:gd name="connsiteX7782" fmla="*/ 801528 w 4610101"/>
              <a:gd name="connsiteY7782" fmla="*/ 1645395 h 6557032"/>
              <a:gd name="connsiteX7783" fmla="*/ 452507 w 4610101"/>
              <a:gd name="connsiteY7783" fmla="*/ 1645060 h 6557032"/>
              <a:gd name="connsiteX7784" fmla="*/ 453441 w 4610101"/>
              <a:gd name="connsiteY7784" fmla="*/ 1645994 h 6557032"/>
              <a:gd name="connsiteX7785" fmla="*/ 452642 w 4610101"/>
              <a:gd name="connsiteY7785" fmla="*/ 1646680 h 6557032"/>
              <a:gd name="connsiteX7786" fmla="*/ 452396 w 4610101"/>
              <a:gd name="connsiteY7786" fmla="*/ 1646772 h 6557032"/>
              <a:gd name="connsiteX7787" fmla="*/ 446433 w 4610101"/>
              <a:gd name="connsiteY7787" fmla="*/ 1648097 h 6557032"/>
              <a:gd name="connsiteX7788" fmla="*/ 515675 w 4610101"/>
              <a:gd name="connsiteY7788" fmla="*/ 1644485 h 6557032"/>
              <a:gd name="connsiteX7789" fmla="*/ 512031 w 4610101"/>
              <a:gd name="connsiteY7789" fmla="*/ 1651773 h 6557032"/>
              <a:gd name="connsiteX7790" fmla="*/ 515675 w 4610101"/>
              <a:gd name="connsiteY7790" fmla="*/ 1644485 h 6557032"/>
              <a:gd name="connsiteX7791" fmla="*/ 1140681 w 4610101"/>
              <a:gd name="connsiteY7791" fmla="*/ 1644453 h 6557032"/>
              <a:gd name="connsiteX7792" fmla="*/ 1144435 w 4610101"/>
              <a:gd name="connsiteY7792" fmla="*/ 1649985 h 6557032"/>
              <a:gd name="connsiteX7793" fmla="*/ 1144326 w 4610101"/>
              <a:gd name="connsiteY7793" fmla="*/ 1649920 h 6557032"/>
              <a:gd name="connsiteX7794" fmla="*/ 1153436 w 4610101"/>
              <a:gd name="connsiteY7794" fmla="*/ 1655386 h 6557032"/>
              <a:gd name="connsiteX7795" fmla="*/ 1146027 w 4610101"/>
              <a:gd name="connsiteY7795" fmla="*/ 1650941 h 6557032"/>
              <a:gd name="connsiteX7796" fmla="*/ 1153436 w 4610101"/>
              <a:gd name="connsiteY7796" fmla="*/ 1651742 h 6557032"/>
              <a:gd name="connsiteX7797" fmla="*/ 1160725 w 4610101"/>
              <a:gd name="connsiteY7797" fmla="*/ 1655386 h 6557032"/>
              <a:gd name="connsiteX7798" fmla="*/ 1164370 w 4610101"/>
              <a:gd name="connsiteY7798" fmla="*/ 1655386 h 6557032"/>
              <a:gd name="connsiteX7799" fmla="*/ 1153436 w 4610101"/>
              <a:gd name="connsiteY7799" fmla="*/ 1648097 h 6557032"/>
              <a:gd name="connsiteX7800" fmla="*/ 1151614 w 4610101"/>
              <a:gd name="connsiteY7800" fmla="*/ 1649920 h 6557032"/>
              <a:gd name="connsiteX7801" fmla="*/ 1140681 w 4610101"/>
              <a:gd name="connsiteY7801" fmla="*/ 1644453 h 6557032"/>
              <a:gd name="connsiteX7802" fmla="*/ 1098771 w 4610101"/>
              <a:gd name="connsiteY7802" fmla="*/ 1644453 h 6557032"/>
              <a:gd name="connsiteX7803" fmla="*/ 1118815 w 4610101"/>
              <a:gd name="connsiteY7803" fmla="*/ 1649920 h 6557032"/>
              <a:gd name="connsiteX7804" fmla="*/ 1098771 w 4610101"/>
              <a:gd name="connsiteY7804" fmla="*/ 1644453 h 6557032"/>
              <a:gd name="connsiteX7805" fmla="*/ 482193 w 4610101"/>
              <a:gd name="connsiteY7805" fmla="*/ 1642631 h 6557032"/>
              <a:gd name="connsiteX7806" fmla="*/ 479232 w 4610101"/>
              <a:gd name="connsiteY7806" fmla="*/ 1646275 h 6557032"/>
              <a:gd name="connsiteX7807" fmla="*/ 486521 w 4610101"/>
              <a:gd name="connsiteY7807" fmla="*/ 1644453 h 6557032"/>
              <a:gd name="connsiteX7808" fmla="*/ 482193 w 4610101"/>
              <a:gd name="connsiteY7808" fmla="*/ 1642631 h 6557032"/>
              <a:gd name="connsiteX7809" fmla="*/ 521662 w 4610101"/>
              <a:gd name="connsiteY7809" fmla="*/ 1642371 h 6557032"/>
              <a:gd name="connsiteX7810" fmla="*/ 522054 w 4610101"/>
              <a:gd name="connsiteY7810" fmla="*/ 1643542 h 6557032"/>
              <a:gd name="connsiteX7811" fmla="*/ 521142 w 4610101"/>
              <a:gd name="connsiteY7811" fmla="*/ 1642631 h 6557032"/>
              <a:gd name="connsiteX7812" fmla="*/ 1096949 w 4610101"/>
              <a:gd name="connsiteY7812" fmla="*/ 1640809 h 6557032"/>
              <a:gd name="connsiteX7813" fmla="*/ 1131570 w 4610101"/>
              <a:gd name="connsiteY7813" fmla="*/ 1648097 h 6557032"/>
              <a:gd name="connsiteX7814" fmla="*/ 1096949 w 4610101"/>
              <a:gd name="connsiteY7814" fmla="*/ 1640809 h 6557032"/>
              <a:gd name="connsiteX7815" fmla="*/ 871000 w 4610101"/>
              <a:gd name="connsiteY7815" fmla="*/ 1640809 h 6557032"/>
              <a:gd name="connsiteX7816" fmla="*/ 838200 w 4610101"/>
              <a:gd name="connsiteY7816" fmla="*/ 1649920 h 6557032"/>
              <a:gd name="connsiteX7817" fmla="*/ 838200 w 4610101"/>
              <a:gd name="connsiteY7817" fmla="*/ 1651742 h 6557032"/>
              <a:gd name="connsiteX7818" fmla="*/ 871000 w 4610101"/>
              <a:gd name="connsiteY7818" fmla="*/ 1640809 h 6557032"/>
              <a:gd name="connsiteX7819" fmla="*/ 650516 w 4610101"/>
              <a:gd name="connsiteY7819" fmla="*/ 1640809 h 6557032"/>
              <a:gd name="connsiteX7820" fmla="*/ 634117 w 4610101"/>
              <a:gd name="connsiteY7820" fmla="*/ 1659031 h 6557032"/>
              <a:gd name="connsiteX7821" fmla="*/ 652339 w 4610101"/>
              <a:gd name="connsiteY7821" fmla="*/ 1640809 h 6557032"/>
              <a:gd name="connsiteX7822" fmla="*/ 650516 w 4610101"/>
              <a:gd name="connsiteY7822" fmla="*/ 1640809 h 6557032"/>
              <a:gd name="connsiteX7823" fmla="*/ 559408 w 4610101"/>
              <a:gd name="connsiteY7823" fmla="*/ 1640809 h 6557032"/>
              <a:gd name="connsiteX7824" fmla="*/ 557586 w 4610101"/>
              <a:gd name="connsiteY7824" fmla="*/ 1649920 h 6557032"/>
              <a:gd name="connsiteX7825" fmla="*/ 559408 w 4610101"/>
              <a:gd name="connsiteY7825" fmla="*/ 1640809 h 6557032"/>
              <a:gd name="connsiteX7826" fmla="*/ 528431 w 4610101"/>
              <a:gd name="connsiteY7826" fmla="*/ 1640809 h 6557032"/>
              <a:gd name="connsiteX7827" fmla="*/ 526761 w 4610101"/>
              <a:gd name="connsiteY7827" fmla="*/ 1643136 h 6557032"/>
              <a:gd name="connsiteX7828" fmla="*/ 525040 w 4610101"/>
              <a:gd name="connsiteY7828" fmla="*/ 1644283 h 6557032"/>
              <a:gd name="connsiteX7829" fmla="*/ 471943 w 4610101"/>
              <a:gd name="connsiteY7829" fmla="*/ 1638987 h 6557032"/>
              <a:gd name="connsiteX7830" fmla="*/ 466478 w 4610101"/>
              <a:gd name="connsiteY7830" fmla="*/ 1642631 h 6557032"/>
              <a:gd name="connsiteX7831" fmla="*/ 471943 w 4610101"/>
              <a:gd name="connsiteY7831" fmla="*/ 1638987 h 6557032"/>
              <a:gd name="connsiteX7832" fmla="*/ 3133229 w 4610101"/>
              <a:gd name="connsiteY7832" fmla="*/ 1638075 h 6557032"/>
              <a:gd name="connsiteX7833" fmla="*/ 3099518 w 4610101"/>
              <a:gd name="connsiteY7833" fmla="*/ 1644453 h 6557032"/>
              <a:gd name="connsiteX7834" fmla="*/ 3099518 w 4610101"/>
              <a:gd name="connsiteY7834" fmla="*/ 1648097 h 6557032"/>
              <a:gd name="connsiteX7835" fmla="*/ 3121384 w 4610101"/>
              <a:gd name="connsiteY7835" fmla="*/ 1640809 h 6557032"/>
              <a:gd name="connsiteX7836" fmla="*/ 3159650 w 4610101"/>
              <a:gd name="connsiteY7836" fmla="*/ 1662675 h 6557032"/>
              <a:gd name="connsiteX7837" fmla="*/ 3137784 w 4610101"/>
              <a:gd name="connsiteY7837" fmla="*/ 1662675 h 6557032"/>
              <a:gd name="connsiteX7838" fmla="*/ 3148717 w 4610101"/>
              <a:gd name="connsiteY7838" fmla="*/ 1671786 h 6557032"/>
              <a:gd name="connsiteX7839" fmla="*/ 3152361 w 4610101"/>
              <a:gd name="connsiteY7839" fmla="*/ 1686363 h 6557032"/>
              <a:gd name="connsiteX7840" fmla="*/ 3166939 w 4610101"/>
              <a:gd name="connsiteY7840" fmla="*/ 1677252 h 6557032"/>
              <a:gd name="connsiteX7841" fmla="*/ 3159650 w 4610101"/>
              <a:gd name="connsiteY7841" fmla="*/ 1662675 h 6557032"/>
              <a:gd name="connsiteX7842" fmla="*/ 3166939 w 4610101"/>
              <a:gd name="connsiteY7842" fmla="*/ 1642631 h 6557032"/>
              <a:gd name="connsiteX7843" fmla="*/ 3133229 w 4610101"/>
              <a:gd name="connsiteY7843" fmla="*/ 1638075 h 6557032"/>
              <a:gd name="connsiteX7844" fmla="*/ 1115170 w 4610101"/>
              <a:gd name="connsiteY7844" fmla="*/ 1637221 h 6557032"/>
              <a:gd name="connsiteX7845" fmla="*/ 1133392 w 4610101"/>
              <a:gd name="connsiteY7845" fmla="*/ 1639043 h 6557032"/>
              <a:gd name="connsiteX7846" fmla="*/ 1115170 w 4610101"/>
              <a:gd name="connsiteY7846" fmla="*/ 1637221 h 6557032"/>
              <a:gd name="connsiteX7847" fmla="*/ 3081297 w 4610101"/>
              <a:gd name="connsiteY7847" fmla="*/ 1637164 h 6557032"/>
              <a:gd name="connsiteX7848" fmla="*/ 3079474 w 4610101"/>
              <a:gd name="connsiteY7848" fmla="*/ 1642631 h 6557032"/>
              <a:gd name="connsiteX7849" fmla="*/ 3086763 w 4610101"/>
              <a:gd name="connsiteY7849" fmla="*/ 1637164 h 6557032"/>
              <a:gd name="connsiteX7850" fmla="*/ 3081297 w 4610101"/>
              <a:gd name="connsiteY7850" fmla="*/ 1637164 h 6557032"/>
              <a:gd name="connsiteX7851" fmla="*/ 1087838 w 4610101"/>
              <a:gd name="connsiteY7851" fmla="*/ 1637164 h 6557032"/>
              <a:gd name="connsiteX7852" fmla="*/ 1095127 w 4610101"/>
              <a:gd name="connsiteY7852" fmla="*/ 1638987 h 6557032"/>
              <a:gd name="connsiteX7853" fmla="*/ 1087838 w 4610101"/>
              <a:gd name="connsiteY7853" fmla="*/ 1637164 h 6557032"/>
              <a:gd name="connsiteX7854" fmla="*/ 1036818 w 4610101"/>
              <a:gd name="connsiteY7854" fmla="*/ 1637164 h 6557032"/>
              <a:gd name="connsiteX7855" fmla="*/ 1051395 w 4610101"/>
              <a:gd name="connsiteY7855" fmla="*/ 1642631 h 6557032"/>
              <a:gd name="connsiteX7856" fmla="*/ 1045929 w 4610101"/>
              <a:gd name="connsiteY7856" fmla="*/ 1644453 h 6557032"/>
              <a:gd name="connsiteX7857" fmla="*/ 1080549 w 4610101"/>
              <a:gd name="connsiteY7857" fmla="*/ 1653564 h 6557032"/>
              <a:gd name="connsiteX7858" fmla="*/ 1053217 w 4610101"/>
              <a:gd name="connsiteY7858" fmla="*/ 1644453 h 6557032"/>
              <a:gd name="connsiteX7859" fmla="*/ 1055040 w 4610101"/>
              <a:gd name="connsiteY7859" fmla="*/ 1642631 h 6557032"/>
              <a:gd name="connsiteX7860" fmla="*/ 1036818 w 4610101"/>
              <a:gd name="connsiteY7860" fmla="*/ 1637164 h 6557032"/>
              <a:gd name="connsiteX7861" fmla="*/ 692426 w 4610101"/>
              <a:gd name="connsiteY7861" fmla="*/ 1637164 h 6557032"/>
              <a:gd name="connsiteX7862" fmla="*/ 688782 w 4610101"/>
              <a:gd name="connsiteY7862" fmla="*/ 1642631 h 6557032"/>
              <a:gd name="connsiteX7863" fmla="*/ 692426 w 4610101"/>
              <a:gd name="connsiteY7863" fmla="*/ 1637164 h 6557032"/>
              <a:gd name="connsiteX7864" fmla="*/ 502920 w 4610101"/>
              <a:gd name="connsiteY7864" fmla="*/ 1637164 h 6557032"/>
              <a:gd name="connsiteX7865" fmla="*/ 502920 w 4610101"/>
              <a:gd name="connsiteY7865" fmla="*/ 1640809 h 6557032"/>
              <a:gd name="connsiteX7866" fmla="*/ 502920 w 4610101"/>
              <a:gd name="connsiteY7866" fmla="*/ 1637164 h 6557032"/>
              <a:gd name="connsiteX7867" fmla="*/ 402701 w 4610101"/>
              <a:gd name="connsiteY7867" fmla="*/ 1637164 h 6557032"/>
              <a:gd name="connsiteX7868" fmla="*/ 408167 w 4610101"/>
              <a:gd name="connsiteY7868" fmla="*/ 1644453 h 6557032"/>
              <a:gd name="connsiteX7869" fmla="*/ 402701 w 4610101"/>
              <a:gd name="connsiteY7869" fmla="*/ 1637164 h 6557032"/>
              <a:gd name="connsiteX7870" fmla="*/ 524786 w 4610101"/>
              <a:gd name="connsiteY7870" fmla="*/ 1635342 h 6557032"/>
              <a:gd name="connsiteX7871" fmla="*/ 521142 w 4610101"/>
              <a:gd name="connsiteY7871" fmla="*/ 1638987 h 6557032"/>
              <a:gd name="connsiteX7872" fmla="*/ 524786 w 4610101"/>
              <a:gd name="connsiteY7872" fmla="*/ 1635342 h 6557032"/>
              <a:gd name="connsiteX7873" fmla="*/ 520651 w 4610101"/>
              <a:gd name="connsiteY7873" fmla="*/ 1632188 h 6557032"/>
              <a:gd name="connsiteX7874" fmla="*/ 520458 w 4610101"/>
              <a:gd name="connsiteY7874" fmla="*/ 1632837 h 6557032"/>
              <a:gd name="connsiteX7875" fmla="*/ 519443 w 4610101"/>
              <a:gd name="connsiteY7875" fmla="*/ 1633502 h 6557032"/>
              <a:gd name="connsiteX7876" fmla="*/ 519320 w 4610101"/>
              <a:gd name="connsiteY7876" fmla="*/ 1633520 h 6557032"/>
              <a:gd name="connsiteX7877" fmla="*/ 1014951 w 4610101"/>
              <a:gd name="connsiteY7877" fmla="*/ 1631698 h 6557032"/>
              <a:gd name="connsiteX7878" fmla="*/ 1036818 w 4610101"/>
              <a:gd name="connsiteY7878" fmla="*/ 1640809 h 6557032"/>
              <a:gd name="connsiteX7879" fmla="*/ 1014951 w 4610101"/>
              <a:gd name="connsiteY7879" fmla="*/ 1631698 h 6557032"/>
              <a:gd name="connsiteX7880" fmla="*/ 546653 w 4610101"/>
              <a:gd name="connsiteY7880" fmla="*/ 1631698 h 6557032"/>
              <a:gd name="connsiteX7881" fmla="*/ 546841 w 4610101"/>
              <a:gd name="connsiteY7881" fmla="*/ 1632223 h 6557032"/>
              <a:gd name="connsiteX7882" fmla="*/ 544968 w 4610101"/>
              <a:gd name="connsiteY7882" fmla="*/ 1635066 h 6557032"/>
              <a:gd name="connsiteX7883" fmla="*/ 435500 w 4610101"/>
              <a:gd name="connsiteY7883" fmla="*/ 1631698 h 6557032"/>
              <a:gd name="connsiteX7884" fmla="*/ 430034 w 4610101"/>
              <a:gd name="connsiteY7884" fmla="*/ 1637164 h 6557032"/>
              <a:gd name="connsiteX7885" fmla="*/ 431856 w 4610101"/>
              <a:gd name="connsiteY7885" fmla="*/ 1633520 h 6557032"/>
              <a:gd name="connsiteX7886" fmla="*/ 422745 w 4610101"/>
              <a:gd name="connsiteY7886" fmla="*/ 1635342 h 6557032"/>
              <a:gd name="connsiteX7887" fmla="*/ 424567 w 4610101"/>
              <a:gd name="connsiteY7887" fmla="*/ 1640809 h 6557032"/>
              <a:gd name="connsiteX7888" fmla="*/ 440966 w 4610101"/>
              <a:gd name="connsiteY7888" fmla="*/ 1637164 h 6557032"/>
              <a:gd name="connsiteX7889" fmla="*/ 435500 w 4610101"/>
              <a:gd name="connsiteY7889" fmla="*/ 1631698 h 6557032"/>
              <a:gd name="connsiteX7890" fmla="*/ 1042284 w 4610101"/>
              <a:gd name="connsiteY7890" fmla="*/ 1629876 h 6557032"/>
              <a:gd name="connsiteX7891" fmla="*/ 1045929 w 4610101"/>
              <a:gd name="connsiteY7891" fmla="*/ 1633520 h 6557032"/>
              <a:gd name="connsiteX7892" fmla="*/ 1042284 w 4610101"/>
              <a:gd name="connsiteY7892" fmla="*/ 1629876 h 6557032"/>
              <a:gd name="connsiteX7893" fmla="*/ 451899 w 4610101"/>
              <a:gd name="connsiteY7893" fmla="*/ 1629876 h 6557032"/>
              <a:gd name="connsiteX7894" fmla="*/ 446433 w 4610101"/>
              <a:gd name="connsiteY7894" fmla="*/ 1633520 h 6557032"/>
              <a:gd name="connsiteX7895" fmla="*/ 451899 w 4610101"/>
              <a:gd name="connsiteY7895" fmla="*/ 1629876 h 6557032"/>
              <a:gd name="connsiteX7896" fmla="*/ 442789 w 4610101"/>
              <a:gd name="connsiteY7896" fmla="*/ 1629876 h 6557032"/>
              <a:gd name="connsiteX7897" fmla="*/ 437322 w 4610101"/>
              <a:gd name="connsiteY7897" fmla="*/ 1631698 h 6557032"/>
              <a:gd name="connsiteX7898" fmla="*/ 446433 w 4610101"/>
              <a:gd name="connsiteY7898" fmla="*/ 1637164 h 6557032"/>
              <a:gd name="connsiteX7899" fmla="*/ 442789 w 4610101"/>
              <a:gd name="connsiteY7899" fmla="*/ 1629876 h 6557032"/>
              <a:gd name="connsiteX7900" fmla="*/ 503148 w 4610101"/>
              <a:gd name="connsiteY7900" fmla="*/ 1629648 h 6557032"/>
              <a:gd name="connsiteX7901" fmla="*/ 501098 w 4610101"/>
              <a:gd name="connsiteY7901" fmla="*/ 1633520 h 6557032"/>
              <a:gd name="connsiteX7902" fmla="*/ 504743 w 4610101"/>
              <a:gd name="connsiteY7902" fmla="*/ 1637164 h 6557032"/>
              <a:gd name="connsiteX7903" fmla="*/ 506565 w 4610101"/>
              <a:gd name="connsiteY7903" fmla="*/ 1629876 h 6557032"/>
              <a:gd name="connsiteX7904" fmla="*/ 503148 w 4610101"/>
              <a:gd name="connsiteY7904" fmla="*/ 1629648 h 6557032"/>
              <a:gd name="connsiteX7905" fmla="*/ 976714 w 4610101"/>
              <a:gd name="connsiteY7905" fmla="*/ 1628840 h 6557032"/>
              <a:gd name="connsiteX7906" fmla="*/ 966679 w 4610101"/>
              <a:gd name="connsiteY7906" fmla="*/ 1633238 h 6557032"/>
              <a:gd name="connsiteX7907" fmla="*/ 932042 w 4610101"/>
              <a:gd name="connsiteY7907" fmla="*/ 1642631 h 6557032"/>
              <a:gd name="connsiteX7908" fmla="*/ 895926 w 4610101"/>
              <a:gd name="connsiteY7908" fmla="*/ 1648752 h 6557032"/>
              <a:gd name="connsiteX7909" fmla="*/ 894688 w 4610101"/>
              <a:gd name="connsiteY7909" fmla="*/ 1646275 h 6557032"/>
              <a:gd name="connsiteX7910" fmla="*/ 911087 w 4610101"/>
              <a:gd name="connsiteY7910" fmla="*/ 1644453 h 6557032"/>
              <a:gd name="connsiteX7911" fmla="*/ 974481 w 4610101"/>
              <a:gd name="connsiteY7911" fmla="*/ 1629033 h 6557032"/>
              <a:gd name="connsiteX7912" fmla="*/ 572163 w 4610101"/>
              <a:gd name="connsiteY7912" fmla="*/ 1626231 h 6557032"/>
              <a:gd name="connsiteX7913" fmla="*/ 573985 w 4610101"/>
              <a:gd name="connsiteY7913" fmla="*/ 1633520 h 6557032"/>
              <a:gd name="connsiteX7914" fmla="*/ 561230 w 4610101"/>
              <a:gd name="connsiteY7914" fmla="*/ 1668142 h 6557032"/>
              <a:gd name="connsiteX7915" fmla="*/ 572163 w 4610101"/>
              <a:gd name="connsiteY7915" fmla="*/ 1626231 h 6557032"/>
              <a:gd name="connsiteX7916" fmla="*/ 517498 w 4610101"/>
              <a:gd name="connsiteY7916" fmla="*/ 1626231 h 6557032"/>
              <a:gd name="connsiteX7917" fmla="*/ 508387 w 4610101"/>
              <a:gd name="connsiteY7917" fmla="*/ 1633520 h 6557032"/>
              <a:gd name="connsiteX7918" fmla="*/ 517498 w 4610101"/>
              <a:gd name="connsiteY7918" fmla="*/ 1626231 h 6557032"/>
              <a:gd name="connsiteX7919" fmla="*/ 1158903 w 4610101"/>
              <a:gd name="connsiteY7919" fmla="*/ 1624409 h 6557032"/>
              <a:gd name="connsiteX7920" fmla="*/ 1168014 w 4610101"/>
              <a:gd name="connsiteY7920" fmla="*/ 1628054 h 6557032"/>
              <a:gd name="connsiteX7921" fmla="*/ 1168014 w 4610101"/>
              <a:gd name="connsiteY7921" fmla="*/ 1626231 h 6557032"/>
              <a:gd name="connsiteX7922" fmla="*/ 1158903 w 4610101"/>
              <a:gd name="connsiteY7922" fmla="*/ 1624409 h 6557032"/>
              <a:gd name="connsiteX7923" fmla="*/ 1009485 w 4610101"/>
              <a:gd name="connsiteY7923" fmla="*/ 1624409 h 6557032"/>
              <a:gd name="connsiteX7924" fmla="*/ 1018596 w 4610101"/>
              <a:gd name="connsiteY7924" fmla="*/ 1629876 h 6557032"/>
              <a:gd name="connsiteX7925" fmla="*/ 1009485 w 4610101"/>
              <a:gd name="connsiteY7925" fmla="*/ 1624409 h 6557032"/>
              <a:gd name="connsiteX7926" fmla="*/ 699715 w 4610101"/>
              <a:gd name="connsiteY7926" fmla="*/ 1624409 h 6557032"/>
              <a:gd name="connsiteX7927" fmla="*/ 692426 w 4610101"/>
              <a:gd name="connsiteY7927" fmla="*/ 1635342 h 6557032"/>
              <a:gd name="connsiteX7928" fmla="*/ 699715 w 4610101"/>
              <a:gd name="connsiteY7928" fmla="*/ 1624409 h 6557032"/>
              <a:gd name="connsiteX7929" fmla="*/ 1018596 w 4610101"/>
              <a:gd name="connsiteY7929" fmla="*/ 1622587 h 6557032"/>
              <a:gd name="connsiteX7930" fmla="*/ 1040462 w 4610101"/>
              <a:gd name="connsiteY7930" fmla="*/ 1631698 h 6557032"/>
              <a:gd name="connsiteX7931" fmla="*/ 1018596 w 4610101"/>
              <a:gd name="connsiteY7931" fmla="*/ 1622587 h 6557032"/>
              <a:gd name="connsiteX7932" fmla="*/ 488343 w 4610101"/>
              <a:gd name="connsiteY7932" fmla="*/ 1622587 h 6557032"/>
              <a:gd name="connsiteX7933" fmla="*/ 486521 w 4610101"/>
              <a:gd name="connsiteY7933" fmla="*/ 1626231 h 6557032"/>
              <a:gd name="connsiteX7934" fmla="*/ 491987 w 4610101"/>
              <a:gd name="connsiteY7934" fmla="*/ 1626231 h 6557032"/>
              <a:gd name="connsiteX7935" fmla="*/ 488343 w 4610101"/>
              <a:gd name="connsiteY7935" fmla="*/ 1622587 h 6557032"/>
              <a:gd name="connsiteX7936" fmla="*/ 461010 w 4610101"/>
              <a:gd name="connsiteY7936" fmla="*/ 1622587 h 6557032"/>
              <a:gd name="connsiteX7937" fmla="*/ 453722 w 4610101"/>
              <a:gd name="connsiteY7937" fmla="*/ 1629876 h 6557032"/>
              <a:gd name="connsiteX7938" fmla="*/ 461010 w 4610101"/>
              <a:gd name="connsiteY7938" fmla="*/ 1622587 h 6557032"/>
              <a:gd name="connsiteX7939" fmla="*/ 661449 w 4610101"/>
              <a:gd name="connsiteY7939" fmla="*/ 1620765 h 6557032"/>
              <a:gd name="connsiteX7940" fmla="*/ 655983 w 4610101"/>
              <a:gd name="connsiteY7940" fmla="*/ 1638987 h 6557032"/>
              <a:gd name="connsiteX7941" fmla="*/ 661449 w 4610101"/>
              <a:gd name="connsiteY7941" fmla="*/ 1620765 h 6557032"/>
              <a:gd name="connsiteX7942" fmla="*/ 535719 w 4610101"/>
              <a:gd name="connsiteY7942" fmla="*/ 1620765 h 6557032"/>
              <a:gd name="connsiteX7943" fmla="*/ 532075 w 4610101"/>
              <a:gd name="connsiteY7943" fmla="*/ 1628054 h 6557032"/>
              <a:gd name="connsiteX7944" fmla="*/ 535719 w 4610101"/>
              <a:gd name="connsiteY7944" fmla="*/ 1620765 h 6557032"/>
              <a:gd name="connsiteX7945" fmla="*/ 481054 w 4610101"/>
              <a:gd name="connsiteY7945" fmla="*/ 1620765 h 6557032"/>
              <a:gd name="connsiteX7946" fmla="*/ 477410 w 4610101"/>
              <a:gd name="connsiteY7946" fmla="*/ 1622587 h 6557032"/>
              <a:gd name="connsiteX7947" fmla="*/ 481054 w 4610101"/>
              <a:gd name="connsiteY7947" fmla="*/ 1620765 h 6557032"/>
              <a:gd name="connsiteX7948" fmla="*/ 566697 w 4610101"/>
              <a:gd name="connsiteY7948" fmla="*/ 1618944 h 6557032"/>
              <a:gd name="connsiteX7949" fmla="*/ 567607 w 4610101"/>
              <a:gd name="connsiteY7949" fmla="*/ 1627142 h 6557032"/>
              <a:gd name="connsiteX7950" fmla="*/ 563621 w 4610101"/>
              <a:gd name="connsiteY7950" fmla="*/ 1634317 h 6557032"/>
              <a:gd name="connsiteX7951" fmla="*/ 3084941 w 4610101"/>
              <a:gd name="connsiteY7951" fmla="*/ 1618943 h 6557032"/>
              <a:gd name="connsiteX7952" fmla="*/ 3088585 w 4610101"/>
              <a:gd name="connsiteY7952" fmla="*/ 1626231 h 6557032"/>
              <a:gd name="connsiteX7953" fmla="*/ 3084941 w 4610101"/>
              <a:gd name="connsiteY7953" fmla="*/ 1618943 h 6557032"/>
              <a:gd name="connsiteX7954" fmla="*/ 557586 w 4610101"/>
              <a:gd name="connsiteY7954" fmla="*/ 1618943 h 6557032"/>
              <a:gd name="connsiteX7955" fmla="*/ 550297 w 4610101"/>
              <a:gd name="connsiteY7955" fmla="*/ 1631698 h 6557032"/>
              <a:gd name="connsiteX7956" fmla="*/ 557586 w 4610101"/>
              <a:gd name="connsiteY7956" fmla="*/ 1618943 h 6557032"/>
              <a:gd name="connsiteX7957" fmla="*/ 994907 w 4610101"/>
              <a:gd name="connsiteY7957" fmla="*/ 1617121 h 6557032"/>
              <a:gd name="connsiteX7958" fmla="*/ 980330 w 4610101"/>
              <a:gd name="connsiteY7958" fmla="*/ 1620765 h 6557032"/>
              <a:gd name="connsiteX7959" fmla="*/ 1000374 w 4610101"/>
              <a:gd name="connsiteY7959" fmla="*/ 1622587 h 6557032"/>
              <a:gd name="connsiteX7960" fmla="*/ 994907 w 4610101"/>
              <a:gd name="connsiteY7960" fmla="*/ 1617121 h 6557032"/>
              <a:gd name="connsiteX7961" fmla="*/ 563052 w 4610101"/>
              <a:gd name="connsiteY7961" fmla="*/ 1617121 h 6557032"/>
              <a:gd name="connsiteX7962" fmla="*/ 561230 w 4610101"/>
              <a:gd name="connsiteY7962" fmla="*/ 1622587 h 6557032"/>
              <a:gd name="connsiteX7963" fmla="*/ 563052 w 4610101"/>
              <a:gd name="connsiteY7963" fmla="*/ 1617121 h 6557032"/>
              <a:gd name="connsiteX7964" fmla="*/ 446433 w 4610101"/>
              <a:gd name="connsiteY7964" fmla="*/ 1617121 h 6557032"/>
              <a:gd name="connsiteX7965" fmla="*/ 440966 w 4610101"/>
              <a:gd name="connsiteY7965" fmla="*/ 1628054 h 6557032"/>
              <a:gd name="connsiteX7966" fmla="*/ 446433 w 4610101"/>
              <a:gd name="connsiteY7966" fmla="*/ 1626231 h 6557032"/>
              <a:gd name="connsiteX7967" fmla="*/ 448566 w 4610101"/>
              <a:gd name="connsiteY7967" fmla="*/ 1625816 h 6557032"/>
              <a:gd name="connsiteX7968" fmla="*/ 448256 w 4610101"/>
              <a:gd name="connsiteY7968" fmla="*/ 1626231 h 6557032"/>
              <a:gd name="connsiteX7969" fmla="*/ 448841 w 4610101"/>
              <a:gd name="connsiteY7969" fmla="*/ 1625763 h 6557032"/>
              <a:gd name="connsiteX7970" fmla="*/ 454632 w 4610101"/>
              <a:gd name="connsiteY7970" fmla="*/ 1624637 h 6557032"/>
              <a:gd name="connsiteX7971" fmla="*/ 457367 w 4610101"/>
              <a:gd name="connsiteY7971" fmla="*/ 1618943 h 6557032"/>
              <a:gd name="connsiteX7972" fmla="*/ 448841 w 4610101"/>
              <a:gd name="connsiteY7972" fmla="*/ 1625763 h 6557032"/>
              <a:gd name="connsiteX7973" fmla="*/ 448566 w 4610101"/>
              <a:gd name="connsiteY7973" fmla="*/ 1625816 h 6557032"/>
              <a:gd name="connsiteX7974" fmla="*/ 453722 w 4610101"/>
              <a:gd name="connsiteY7974" fmla="*/ 1618943 h 6557032"/>
              <a:gd name="connsiteX7975" fmla="*/ 446433 w 4610101"/>
              <a:gd name="connsiteY7975" fmla="*/ 1617121 h 6557032"/>
              <a:gd name="connsiteX7976" fmla="*/ 1007663 w 4610101"/>
              <a:gd name="connsiteY7976" fmla="*/ 1615298 h 6557032"/>
              <a:gd name="connsiteX7977" fmla="*/ 1018596 w 4610101"/>
              <a:gd name="connsiteY7977" fmla="*/ 1617121 h 6557032"/>
              <a:gd name="connsiteX7978" fmla="*/ 1007663 w 4610101"/>
              <a:gd name="connsiteY7978" fmla="*/ 1615298 h 6557032"/>
              <a:gd name="connsiteX7979" fmla="*/ 513853 w 4610101"/>
              <a:gd name="connsiteY7979" fmla="*/ 1615298 h 6557032"/>
              <a:gd name="connsiteX7980" fmla="*/ 512031 w 4610101"/>
              <a:gd name="connsiteY7980" fmla="*/ 1620765 h 6557032"/>
              <a:gd name="connsiteX7981" fmla="*/ 517498 w 4610101"/>
              <a:gd name="connsiteY7981" fmla="*/ 1617121 h 6557032"/>
              <a:gd name="connsiteX7982" fmla="*/ 513853 w 4610101"/>
              <a:gd name="connsiteY7982" fmla="*/ 1615298 h 6557032"/>
              <a:gd name="connsiteX7983" fmla="*/ 508387 w 4610101"/>
              <a:gd name="connsiteY7983" fmla="*/ 1613476 h 6557032"/>
              <a:gd name="connsiteX7984" fmla="*/ 501098 w 4610101"/>
              <a:gd name="connsiteY7984" fmla="*/ 1624409 h 6557032"/>
              <a:gd name="connsiteX7985" fmla="*/ 508387 w 4610101"/>
              <a:gd name="connsiteY7985" fmla="*/ 1613476 h 6557032"/>
              <a:gd name="connsiteX7986" fmla="*/ 940242 w 4610101"/>
              <a:gd name="connsiteY7986" fmla="*/ 1611654 h 6557032"/>
              <a:gd name="connsiteX7987" fmla="*/ 951403 w 4610101"/>
              <a:gd name="connsiteY7987" fmla="*/ 1612565 h 6557032"/>
              <a:gd name="connsiteX7988" fmla="*/ 963039 w 4610101"/>
              <a:gd name="connsiteY7988" fmla="*/ 1618489 h 6557032"/>
              <a:gd name="connsiteX7989" fmla="*/ 958692 w 4610101"/>
              <a:gd name="connsiteY7989" fmla="*/ 1618715 h 6557032"/>
              <a:gd name="connsiteX7990" fmla="*/ 939756 w 4610101"/>
              <a:gd name="connsiteY7990" fmla="*/ 1611816 h 6557032"/>
              <a:gd name="connsiteX7991" fmla="*/ 522964 w 4610101"/>
              <a:gd name="connsiteY7991" fmla="*/ 1611654 h 6557032"/>
              <a:gd name="connsiteX7992" fmla="*/ 519320 w 4610101"/>
              <a:gd name="connsiteY7992" fmla="*/ 1615298 h 6557032"/>
              <a:gd name="connsiteX7993" fmla="*/ 526609 w 4610101"/>
              <a:gd name="connsiteY7993" fmla="*/ 1613476 h 6557032"/>
              <a:gd name="connsiteX7994" fmla="*/ 522964 w 4610101"/>
              <a:gd name="connsiteY7994" fmla="*/ 1611654 h 6557032"/>
              <a:gd name="connsiteX7995" fmla="*/ 502920 w 4610101"/>
              <a:gd name="connsiteY7995" fmla="*/ 1611654 h 6557032"/>
              <a:gd name="connsiteX7996" fmla="*/ 499276 w 4610101"/>
              <a:gd name="connsiteY7996" fmla="*/ 1613476 h 6557032"/>
              <a:gd name="connsiteX7997" fmla="*/ 501098 w 4610101"/>
              <a:gd name="connsiteY7997" fmla="*/ 1618943 h 6557032"/>
              <a:gd name="connsiteX7998" fmla="*/ 502920 w 4610101"/>
              <a:gd name="connsiteY7998" fmla="*/ 1611654 h 6557032"/>
              <a:gd name="connsiteX7999" fmla="*/ 471943 w 4610101"/>
              <a:gd name="connsiteY7999" fmla="*/ 1611654 h 6557032"/>
              <a:gd name="connsiteX8000" fmla="*/ 468299 w 4610101"/>
              <a:gd name="connsiteY8000" fmla="*/ 1624409 h 6557032"/>
              <a:gd name="connsiteX8001" fmla="*/ 464655 w 4610101"/>
              <a:gd name="connsiteY8001" fmla="*/ 1622587 h 6557032"/>
              <a:gd name="connsiteX8002" fmla="*/ 453722 w 4610101"/>
              <a:gd name="connsiteY8002" fmla="*/ 1638987 h 6557032"/>
              <a:gd name="connsiteX8003" fmla="*/ 475589 w 4610101"/>
              <a:gd name="connsiteY8003" fmla="*/ 1626231 h 6557032"/>
              <a:gd name="connsiteX8004" fmla="*/ 468299 w 4610101"/>
              <a:gd name="connsiteY8004" fmla="*/ 1624409 h 6557032"/>
              <a:gd name="connsiteX8005" fmla="*/ 473766 w 4610101"/>
              <a:gd name="connsiteY8005" fmla="*/ 1620765 h 6557032"/>
              <a:gd name="connsiteX8006" fmla="*/ 471943 w 4610101"/>
              <a:gd name="connsiteY8006" fmla="*/ 1618943 h 6557032"/>
              <a:gd name="connsiteX8007" fmla="*/ 482876 w 4610101"/>
              <a:gd name="connsiteY8007" fmla="*/ 1618943 h 6557032"/>
              <a:gd name="connsiteX8008" fmla="*/ 471943 w 4610101"/>
              <a:gd name="connsiteY8008" fmla="*/ 1611654 h 6557032"/>
              <a:gd name="connsiteX8009" fmla="*/ 462832 w 4610101"/>
              <a:gd name="connsiteY8009" fmla="*/ 1611654 h 6557032"/>
              <a:gd name="connsiteX8010" fmla="*/ 459188 w 4610101"/>
              <a:gd name="connsiteY8010" fmla="*/ 1617121 h 6557032"/>
              <a:gd name="connsiteX8011" fmla="*/ 462832 w 4610101"/>
              <a:gd name="connsiteY8011" fmla="*/ 1611654 h 6557032"/>
              <a:gd name="connsiteX8012" fmla="*/ 1012901 w 4610101"/>
              <a:gd name="connsiteY8012" fmla="*/ 1610743 h 6557032"/>
              <a:gd name="connsiteX8013" fmla="*/ 1005840 w 4610101"/>
              <a:gd name="connsiteY8013" fmla="*/ 1611654 h 6557032"/>
              <a:gd name="connsiteX8014" fmla="*/ 1018596 w 4610101"/>
              <a:gd name="connsiteY8014" fmla="*/ 1615298 h 6557032"/>
              <a:gd name="connsiteX8015" fmla="*/ 1012901 w 4610101"/>
              <a:gd name="connsiteY8015" fmla="*/ 1610743 h 6557032"/>
              <a:gd name="connsiteX8016" fmla="*/ 935850 w 4610101"/>
              <a:gd name="connsiteY8016" fmla="*/ 1610393 h 6557032"/>
              <a:gd name="connsiteX8017" fmla="*/ 939756 w 4610101"/>
              <a:gd name="connsiteY8017" fmla="*/ 1611816 h 6557032"/>
              <a:gd name="connsiteX8018" fmla="*/ 929309 w 4610101"/>
              <a:gd name="connsiteY8018" fmla="*/ 1615298 h 6557032"/>
              <a:gd name="connsiteX8019" fmla="*/ 3088585 w 4610101"/>
              <a:gd name="connsiteY8019" fmla="*/ 1609832 h 6557032"/>
              <a:gd name="connsiteX8020" fmla="*/ 3092230 w 4610101"/>
              <a:gd name="connsiteY8020" fmla="*/ 1622587 h 6557032"/>
              <a:gd name="connsiteX8021" fmla="*/ 3088585 w 4610101"/>
              <a:gd name="connsiteY8021" fmla="*/ 1609832 h 6557032"/>
              <a:gd name="connsiteX8022" fmla="*/ 3075830 w 4610101"/>
              <a:gd name="connsiteY8022" fmla="*/ 1609832 h 6557032"/>
              <a:gd name="connsiteX8023" fmla="*/ 3077652 w 4610101"/>
              <a:gd name="connsiteY8023" fmla="*/ 1631698 h 6557032"/>
              <a:gd name="connsiteX8024" fmla="*/ 3070363 w 4610101"/>
              <a:gd name="connsiteY8024" fmla="*/ 1628054 h 6557032"/>
              <a:gd name="connsiteX8025" fmla="*/ 3070363 w 4610101"/>
              <a:gd name="connsiteY8025" fmla="*/ 1637164 h 6557032"/>
              <a:gd name="connsiteX8026" fmla="*/ 3055786 w 4610101"/>
              <a:gd name="connsiteY8026" fmla="*/ 1633520 h 6557032"/>
              <a:gd name="connsiteX8027" fmla="*/ 3053964 w 4610101"/>
              <a:gd name="connsiteY8027" fmla="*/ 1648097 h 6557032"/>
              <a:gd name="connsiteX8028" fmla="*/ 3068541 w 4610101"/>
              <a:gd name="connsiteY8028" fmla="*/ 1640809 h 6557032"/>
              <a:gd name="connsiteX8029" fmla="*/ 3070363 w 4610101"/>
              <a:gd name="connsiteY8029" fmla="*/ 1637164 h 6557032"/>
              <a:gd name="connsiteX8030" fmla="*/ 3083119 w 4610101"/>
              <a:gd name="connsiteY8030" fmla="*/ 1628054 h 6557032"/>
              <a:gd name="connsiteX8031" fmla="*/ 3075830 w 4610101"/>
              <a:gd name="connsiteY8031" fmla="*/ 1609832 h 6557032"/>
              <a:gd name="connsiteX8032" fmla="*/ 1004018 w 4610101"/>
              <a:gd name="connsiteY8032" fmla="*/ 1609832 h 6557032"/>
              <a:gd name="connsiteX8033" fmla="*/ 1000374 w 4610101"/>
              <a:gd name="connsiteY8033" fmla="*/ 1613476 h 6557032"/>
              <a:gd name="connsiteX8034" fmla="*/ 1004018 w 4610101"/>
              <a:gd name="connsiteY8034" fmla="*/ 1609832 h 6557032"/>
              <a:gd name="connsiteX8035" fmla="*/ 705182 w 4610101"/>
              <a:gd name="connsiteY8035" fmla="*/ 1609832 h 6557032"/>
              <a:gd name="connsiteX8036" fmla="*/ 703359 w 4610101"/>
              <a:gd name="connsiteY8036" fmla="*/ 1613476 h 6557032"/>
              <a:gd name="connsiteX8037" fmla="*/ 705182 w 4610101"/>
              <a:gd name="connsiteY8037" fmla="*/ 1609832 h 6557032"/>
              <a:gd name="connsiteX8038" fmla="*/ 468299 w 4610101"/>
              <a:gd name="connsiteY8038" fmla="*/ 1609832 h 6557032"/>
              <a:gd name="connsiteX8039" fmla="*/ 461010 w 4610101"/>
              <a:gd name="connsiteY8039" fmla="*/ 1618943 h 6557032"/>
              <a:gd name="connsiteX8040" fmla="*/ 468299 w 4610101"/>
              <a:gd name="connsiteY8040" fmla="*/ 1609832 h 6557032"/>
              <a:gd name="connsiteX8041" fmla="*/ 388123 w 4610101"/>
              <a:gd name="connsiteY8041" fmla="*/ 1608693 h 6557032"/>
              <a:gd name="connsiteX8042" fmla="*/ 391207 w 4610101"/>
              <a:gd name="connsiteY8042" fmla="*/ 1610427 h 6557032"/>
              <a:gd name="connsiteX8043" fmla="*/ 388998 w 4610101"/>
              <a:gd name="connsiteY8043" fmla="*/ 1610980 h 6557032"/>
              <a:gd name="connsiteX8044" fmla="*/ 386301 w 4610101"/>
              <a:gd name="connsiteY8044" fmla="*/ 1609832 h 6557032"/>
              <a:gd name="connsiteX8045" fmla="*/ 387759 w 4610101"/>
              <a:gd name="connsiteY8045" fmla="*/ 1611290 h 6557032"/>
              <a:gd name="connsiteX8046" fmla="*/ 380107 w 4610101"/>
              <a:gd name="connsiteY8046" fmla="*/ 1613202 h 6557032"/>
              <a:gd name="connsiteX8047" fmla="*/ 3063075 w 4610101"/>
              <a:gd name="connsiteY8047" fmla="*/ 1608010 h 6557032"/>
              <a:gd name="connsiteX8048" fmla="*/ 3068541 w 4610101"/>
              <a:gd name="connsiteY8048" fmla="*/ 1620765 h 6557032"/>
              <a:gd name="connsiteX8049" fmla="*/ 3063075 w 4610101"/>
              <a:gd name="connsiteY8049" fmla="*/ 1608010 h 6557032"/>
              <a:gd name="connsiteX8050" fmla="*/ 493809 w 4610101"/>
              <a:gd name="connsiteY8050" fmla="*/ 1608010 h 6557032"/>
              <a:gd name="connsiteX8051" fmla="*/ 495632 w 4610101"/>
              <a:gd name="connsiteY8051" fmla="*/ 1613476 h 6557032"/>
              <a:gd name="connsiteX8052" fmla="*/ 490165 w 4610101"/>
              <a:gd name="connsiteY8052" fmla="*/ 1617121 h 6557032"/>
              <a:gd name="connsiteX8053" fmla="*/ 495632 w 4610101"/>
              <a:gd name="connsiteY8053" fmla="*/ 1620765 h 6557032"/>
              <a:gd name="connsiteX8054" fmla="*/ 495632 w 4610101"/>
              <a:gd name="connsiteY8054" fmla="*/ 1613476 h 6557032"/>
              <a:gd name="connsiteX8055" fmla="*/ 493809 w 4610101"/>
              <a:gd name="connsiteY8055" fmla="*/ 1608010 h 6557032"/>
              <a:gd name="connsiteX8056" fmla="*/ 404523 w 4610101"/>
              <a:gd name="connsiteY8056" fmla="*/ 1608010 h 6557032"/>
              <a:gd name="connsiteX8057" fmla="*/ 400879 w 4610101"/>
              <a:gd name="connsiteY8057" fmla="*/ 1609832 h 6557032"/>
              <a:gd name="connsiteX8058" fmla="*/ 408167 w 4610101"/>
              <a:gd name="connsiteY8058" fmla="*/ 1611654 h 6557032"/>
              <a:gd name="connsiteX8059" fmla="*/ 404523 w 4610101"/>
              <a:gd name="connsiteY8059" fmla="*/ 1608010 h 6557032"/>
              <a:gd name="connsiteX8060" fmla="*/ 710902 w 4610101"/>
              <a:gd name="connsiteY8060" fmla="*/ 1607558 h 6557032"/>
              <a:gd name="connsiteX8061" fmla="*/ 710648 w 4610101"/>
              <a:gd name="connsiteY8061" fmla="*/ 1608010 h 6557032"/>
              <a:gd name="connsiteX8062" fmla="*/ 710819 w 4610101"/>
              <a:gd name="connsiteY8062" fmla="*/ 1607649 h 6557032"/>
              <a:gd name="connsiteX8063" fmla="*/ 930254 w 4610101"/>
              <a:gd name="connsiteY8063" fmla="*/ 1606592 h 6557032"/>
              <a:gd name="connsiteX8064" fmla="*/ 936598 w 4610101"/>
              <a:gd name="connsiteY8064" fmla="*/ 1609832 h 6557032"/>
              <a:gd name="connsiteX8065" fmla="*/ 935850 w 4610101"/>
              <a:gd name="connsiteY8065" fmla="*/ 1610393 h 6557032"/>
              <a:gd name="connsiteX8066" fmla="*/ 929309 w 4610101"/>
              <a:gd name="connsiteY8066" fmla="*/ 1608010 h 6557032"/>
              <a:gd name="connsiteX8067" fmla="*/ 579452 w 4610101"/>
              <a:gd name="connsiteY8067" fmla="*/ 1606188 h 6557032"/>
              <a:gd name="connsiteX8068" fmla="*/ 568519 w 4610101"/>
              <a:gd name="connsiteY8068" fmla="*/ 1622587 h 6557032"/>
              <a:gd name="connsiteX8069" fmla="*/ 567101 w 4610101"/>
              <a:gd name="connsiteY8069" fmla="*/ 1616919 h 6557032"/>
              <a:gd name="connsiteX8070" fmla="*/ 567381 w 4610101"/>
              <a:gd name="connsiteY8070" fmla="*/ 1615526 h 6557032"/>
              <a:gd name="connsiteX8071" fmla="*/ 573076 w 4610101"/>
              <a:gd name="connsiteY8071" fmla="*/ 1607216 h 6557032"/>
              <a:gd name="connsiteX8072" fmla="*/ 3340045 w 4610101"/>
              <a:gd name="connsiteY8072" fmla="*/ 1605692 h 6557032"/>
              <a:gd name="connsiteX8073" fmla="*/ 3340045 w 4610101"/>
              <a:gd name="connsiteY8073" fmla="*/ 1610289 h 6557032"/>
              <a:gd name="connsiteX8074" fmla="*/ 3338222 w 4610101"/>
              <a:gd name="connsiteY8074" fmla="*/ 1609833 h 6557032"/>
              <a:gd name="connsiteX8075" fmla="*/ 3339362 w 4610101"/>
              <a:gd name="connsiteY8075" fmla="*/ 1606873 h 6557032"/>
              <a:gd name="connsiteX8076" fmla="*/ 592170 w 4610101"/>
              <a:gd name="connsiteY8076" fmla="*/ 1604436 h 6557032"/>
              <a:gd name="connsiteX8077" fmla="*/ 592197 w 4610101"/>
              <a:gd name="connsiteY8077" fmla="*/ 1604552 h 6557032"/>
              <a:gd name="connsiteX8078" fmla="*/ 591979 w 4610101"/>
              <a:gd name="connsiteY8078" fmla="*/ 1608693 h 6557032"/>
              <a:gd name="connsiteX8079" fmla="*/ 590385 w 4610101"/>
              <a:gd name="connsiteY8079" fmla="*/ 1611654 h 6557032"/>
              <a:gd name="connsiteX8080" fmla="*/ 590612 w 4610101"/>
              <a:gd name="connsiteY8080" fmla="*/ 1607326 h 6557032"/>
              <a:gd name="connsiteX8081" fmla="*/ 3044853 w 4610101"/>
              <a:gd name="connsiteY8081" fmla="*/ 1604365 h 6557032"/>
              <a:gd name="connsiteX8082" fmla="*/ 3048497 w 4610101"/>
              <a:gd name="connsiteY8082" fmla="*/ 1608010 h 6557032"/>
              <a:gd name="connsiteX8083" fmla="*/ 3052142 w 4610101"/>
              <a:gd name="connsiteY8083" fmla="*/ 1604365 h 6557032"/>
              <a:gd name="connsiteX8084" fmla="*/ 931795 w 4610101"/>
              <a:gd name="connsiteY8084" fmla="*/ 1604279 h 6557032"/>
              <a:gd name="connsiteX8085" fmla="*/ 930254 w 4610101"/>
              <a:gd name="connsiteY8085" fmla="*/ 1606592 h 6557032"/>
              <a:gd name="connsiteX8086" fmla="*/ 927317 w 4610101"/>
              <a:gd name="connsiteY8086" fmla="*/ 1605093 h 6557032"/>
              <a:gd name="connsiteX8087" fmla="*/ 929030 w 4610101"/>
              <a:gd name="connsiteY8087" fmla="*/ 1604318 h 6557032"/>
              <a:gd name="connsiteX8088" fmla="*/ 584479 w 4610101"/>
              <a:gd name="connsiteY8088" fmla="*/ 1603099 h 6557032"/>
              <a:gd name="connsiteX8089" fmla="*/ 584919 w 4610101"/>
              <a:gd name="connsiteY8089" fmla="*/ 1611654 h 6557032"/>
              <a:gd name="connsiteX8090" fmla="*/ 585393 w 4610101"/>
              <a:gd name="connsiteY8090" fmla="*/ 1610387 h 6557032"/>
              <a:gd name="connsiteX8091" fmla="*/ 584919 w 4610101"/>
              <a:gd name="connsiteY8091" fmla="*/ 1615298 h 6557032"/>
              <a:gd name="connsiteX8092" fmla="*/ 573985 w 4610101"/>
              <a:gd name="connsiteY8092" fmla="*/ 1629876 h 6557032"/>
              <a:gd name="connsiteX8093" fmla="*/ 574668 w 4610101"/>
              <a:gd name="connsiteY8093" fmla="*/ 1615526 h 6557032"/>
              <a:gd name="connsiteX8094" fmla="*/ 454860 w 4610101"/>
              <a:gd name="connsiteY8094" fmla="*/ 1602771 h 6557032"/>
              <a:gd name="connsiteX8095" fmla="*/ 450077 w 4610101"/>
              <a:gd name="connsiteY8095" fmla="*/ 1608010 h 6557032"/>
              <a:gd name="connsiteX8096" fmla="*/ 461010 w 4610101"/>
              <a:gd name="connsiteY8096" fmla="*/ 1604365 h 6557032"/>
              <a:gd name="connsiteX8097" fmla="*/ 454860 w 4610101"/>
              <a:gd name="connsiteY8097" fmla="*/ 1602771 h 6557032"/>
              <a:gd name="connsiteX8098" fmla="*/ 524786 w 4610101"/>
              <a:gd name="connsiteY8098" fmla="*/ 1602543 h 6557032"/>
              <a:gd name="connsiteX8099" fmla="*/ 515676 w 4610101"/>
              <a:gd name="connsiteY8099" fmla="*/ 1606188 h 6557032"/>
              <a:gd name="connsiteX8100" fmla="*/ 517498 w 4610101"/>
              <a:gd name="connsiteY8100" fmla="*/ 1613476 h 6557032"/>
              <a:gd name="connsiteX8101" fmla="*/ 524786 w 4610101"/>
              <a:gd name="connsiteY8101" fmla="*/ 1602543 h 6557032"/>
              <a:gd name="connsiteX8102" fmla="*/ 437322 w 4610101"/>
              <a:gd name="connsiteY8102" fmla="*/ 1602543 h 6557032"/>
              <a:gd name="connsiteX8103" fmla="*/ 448256 w 4610101"/>
              <a:gd name="connsiteY8103" fmla="*/ 1602543 h 6557032"/>
              <a:gd name="connsiteX8104" fmla="*/ 437322 w 4610101"/>
              <a:gd name="connsiteY8104" fmla="*/ 1602543 h 6557032"/>
              <a:gd name="connsiteX8105" fmla="*/ 419100 w 4610101"/>
              <a:gd name="connsiteY8105" fmla="*/ 1602543 h 6557032"/>
              <a:gd name="connsiteX8106" fmla="*/ 406345 w 4610101"/>
              <a:gd name="connsiteY8106" fmla="*/ 1606188 h 6557032"/>
              <a:gd name="connsiteX8107" fmla="*/ 417278 w 4610101"/>
              <a:gd name="connsiteY8107" fmla="*/ 1618943 h 6557032"/>
              <a:gd name="connsiteX8108" fmla="*/ 427804 w 4610101"/>
              <a:gd name="connsiteY8108" fmla="*/ 1625522 h 6557032"/>
              <a:gd name="connsiteX8109" fmla="*/ 424567 w 4610101"/>
              <a:gd name="connsiteY8109" fmla="*/ 1624409 h 6557032"/>
              <a:gd name="connsiteX8110" fmla="*/ 431856 w 4610101"/>
              <a:gd name="connsiteY8110" fmla="*/ 1628054 h 6557032"/>
              <a:gd name="connsiteX8111" fmla="*/ 427804 w 4610101"/>
              <a:gd name="connsiteY8111" fmla="*/ 1625522 h 6557032"/>
              <a:gd name="connsiteX8112" fmla="*/ 431855 w 4610101"/>
              <a:gd name="connsiteY8112" fmla="*/ 1626914 h 6557032"/>
              <a:gd name="connsiteX8113" fmla="*/ 439145 w 4610101"/>
              <a:gd name="connsiteY8113" fmla="*/ 1622587 h 6557032"/>
              <a:gd name="connsiteX8114" fmla="*/ 435500 w 4610101"/>
              <a:gd name="connsiteY8114" fmla="*/ 1620765 h 6557032"/>
              <a:gd name="connsiteX8115" fmla="*/ 444611 w 4610101"/>
              <a:gd name="connsiteY8115" fmla="*/ 1615298 h 6557032"/>
              <a:gd name="connsiteX8116" fmla="*/ 435500 w 4610101"/>
              <a:gd name="connsiteY8116" fmla="*/ 1617121 h 6557032"/>
              <a:gd name="connsiteX8117" fmla="*/ 440966 w 4610101"/>
              <a:gd name="connsiteY8117" fmla="*/ 1609832 h 6557032"/>
              <a:gd name="connsiteX8118" fmla="*/ 431856 w 4610101"/>
              <a:gd name="connsiteY8118" fmla="*/ 1608010 h 6557032"/>
              <a:gd name="connsiteX8119" fmla="*/ 424567 w 4610101"/>
              <a:gd name="connsiteY8119" fmla="*/ 1608010 h 6557032"/>
              <a:gd name="connsiteX8120" fmla="*/ 426389 w 4610101"/>
              <a:gd name="connsiteY8120" fmla="*/ 1606188 h 6557032"/>
              <a:gd name="connsiteX8121" fmla="*/ 411812 w 4610101"/>
              <a:gd name="connsiteY8121" fmla="*/ 1606188 h 6557032"/>
              <a:gd name="connsiteX8122" fmla="*/ 419100 w 4610101"/>
              <a:gd name="connsiteY8122" fmla="*/ 1602543 h 6557032"/>
              <a:gd name="connsiteX8123" fmla="*/ 583734 w 4610101"/>
              <a:gd name="connsiteY8123" fmla="*/ 1601054 h 6557032"/>
              <a:gd name="connsiteX8124" fmla="*/ 583926 w 4610101"/>
              <a:gd name="connsiteY8124" fmla="*/ 1601506 h 6557032"/>
              <a:gd name="connsiteX8125" fmla="*/ 583096 w 4610101"/>
              <a:gd name="connsiteY8125" fmla="*/ 1602543 h 6557032"/>
              <a:gd name="connsiteX8126" fmla="*/ 3150538 w 4610101"/>
              <a:gd name="connsiteY8126" fmla="*/ 1600787 h 6557032"/>
              <a:gd name="connsiteX8127" fmla="*/ 3152361 w 4610101"/>
              <a:gd name="connsiteY8127" fmla="*/ 1617184 h 6557032"/>
              <a:gd name="connsiteX8128" fmla="*/ 3135961 w 4610101"/>
              <a:gd name="connsiteY8128" fmla="*/ 1617184 h 6557032"/>
              <a:gd name="connsiteX8129" fmla="*/ 962108 w 4610101"/>
              <a:gd name="connsiteY8129" fmla="*/ 1600721 h 6557032"/>
              <a:gd name="connsiteX8130" fmla="*/ 1004018 w 4610101"/>
              <a:gd name="connsiteY8130" fmla="*/ 1608010 h 6557032"/>
              <a:gd name="connsiteX8131" fmla="*/ 962108 w 4610101"/>
              <a:gd name="connsiteY8131" fmla="*/ 1600721 h 6557032"/>
              <a:gd name="connsiteX8132" fmla="*/ 470121 w 4610101"/>
              <a:gd name="connsiteY8132" fmla="*/ 1600721 h 6557032"/>
              <a:gd name="connsiteX8133" fmla="*/ 466478 w 4610101"/>
              <a:gd name="connsiteY8133" fmla="*/ 1606188 h 6557032"/>
              <a:gd name="connsiteX8134" fmla="*/ 470121 w 4610101"/>
              <a:gd name="connsiteY8134" fmla="*/ 1600721 h 6557032"/>
              <a:gd name="connsiteX8135" fmla="*/ 429578 w 4610101"/>
              <a:gd name="connsiteY8135" fmla="*/ 1600493 h 6557032"/>
              <a:gd name="connsiteX8136" fmla="*/ 426389 w 4610101"/>
              <a:gd name="connsiteY8136" fmla="*/ 1602543 h 6557032"/>
              <a:gd name="connsiteX8137" fmla="*/ 430034 w 4610101"/>
              <a:gd name="connsiteY8137" fmla="*/ 1602543 h 6557032"/>
              <a:gd name="connsiteX8138" fmla="*/ 429578 w 4610101"/>
              <a:gd name="connsiteY8138" fmla="*/ 1600493 h 6557032"/>
              <a:gd name="connsiteX8139" fmla="*/ 669906 w 4610101"/>
              <a:gd name="connsiteY8139" fmla="*/ 1600209 h 6557032"/>
              <a:gd name="connsiteX8140" fmla="*/ 661449 w 4610101"/>
              <a:gd name="connsiteY8140" fmla="*/ 1617121 h 6557032"/>
              <a:gd name="connsiteX8141" fmla="*/ 665094 w 4610101"/>
              <a:gd name="connsiteY8141" fmla="*/ 1617121 h 6557032"/>
              <a:gd name="connsiteX8142" fmla="*/ 676027 w 4610101"/>
              <a:gd name="connsiteY8142" fmla="*/ 1600721 h 6557032"/>
              <a:gd name="connsiteX8143" fmla="*/ 669906 w 4610101"/>
              <a:gd name="connsiteY8143" fmla="*/ 1600209 h 6557032"/>
              <a:gd name="connsiteX8144" fmla="*/ 917617 w 4610101"/>
              <a:gd name="connsiteY8144" fmla="*/ 1600140 h 6557032"/>
              <a:gd name="connsiteX8145" fmla="*/ 925763 w 4610101"/>
              <a:gd name="connsiteY8145" fmla="*/ 1604299 h 6557032"/>
              <a:gd name="connsiteX8146" fmla="*/ 925666 w 4610101"/>
              <a:gd name="connsiteY8146" fmla="*/ 1604365 h 6557032"/>
              <a:gd name="connsiteX8147" fmla="*/ 925886 w 4610101"/>
              <a:gd name="connsiteY8147" fmla="*/ 1604362 h 6557032"/>
              <a:gd name="connsiteX8148" fmla="*/ 927317 w 4610101"/>
              <a:gd name="connsiteY8148" fmla="*/ 1605093 h 6557032"/>
              <a:gd name="connsiteX8149" fmla="*/ 923387 w 4610101"/>
              <a:gd name="connsiteY8149" fmla="*/ 1606871 h 6557032"/>
              <a:gd name="connsiteX8150" fmla="*/ 581274 w 4610101"/>
              <a:gd name="connsiteY8150" fmla="*/ 1598899 h 6557032"/>
              <a:gd name="connsiteX8151" fmla="*/ 577630 w 4610101"/>
              <a:gd name="connsiteY8151" fmla="*/ 1602543 h 6557032"/>
              <a:gd name="connsiteX8152" fmla="*/ 581274 w 4610101"/>
              <a:gd name="connsiteY8152" fmla="*/ 1598899 h 6557032"/>
              <a:gd name="connsiteX8153" fmla="*/ 488343 w 4610101"/>
              <a:gd name="connsiteY8153" fmla="*/ 1598899 h 6557032"/>
              <a:gd name="connsiteX8154" fmla="*/ 481054 w 4610101"/>
              <a:gd name="connsiteY8154" fmla="*/ 1600721 h 6557032"/>
              <a:gd name="connsiteX8155" fmla="*/ 471943 w 4610101"/>
              <a:gd name="connsiteY8155" fmla="*/ 1609832 h 6557032"/>
              <a:gd name="connsiteX8156" fmla="*/ 484700 w 4610101"/>
              <a:gd name="connsiteY8156" fmla="*/ 1617121 h 6557032"/>
              <a:gd name="connsiteX8157" fmla="*/ 488343 w 4610101"/>
              <a:gd name="connsiteY8157" fmla="*/ 1598899 h 6557032"/>
              <a:gd name="connsiteX8158" fmla="*/ 355324 w 4610101"/>
              <a:gd name="connsiteY8158" fmla="*/ 1598899 h 6557032"/>
              <a:gd name="connsiteX8159" fmla="*/ 369902 w 4610101"/>
              <a:gd name="connsiteY8159" fmla="*/ 1604365 h 6557032"/>
              <a:gd name="connsiteX8160" fmla="*/ 355324 w 4610101"/>
              <a:gd name="connsiteY8160" fmla="*/ 1598899 h 6557032"/>
              <a:gd name="connsiteX8161" fmla="*/ 590697 w 4610101"/>
              <a:gd name="connsiteY8161" fmla="*/ 1598366 h 6557032"/>
              <a:gd name="connsiteX8162" fmla="*/ 594030 w 4610101"/>
              <a:gd name="connsiteY8162" fmla="*/ 1608010 h 6557032"/>
              <a:gd name="connsiteX8163" fmla="*/ 592207 w 4610101"/>
              <a:gd name="connsiteY8163" fmla="*/ 1604593 h 6557032"/>
              <a:gd name="connsiteX8164" fmla="*/ 592197 w 4610101"/>
              <a:gd name="connsiteY8164" fmla="*/ 1604552 h 6557032"/>
              <a:gd name="connsiteX8165" fmla="*/ 592207 w 4610101"/>
              <a:gd name="connsiteY8165" fmla="*/ 1604365 h 6557032"/>
              <a:gd name="connsiteX8166" fmla="*/ 592170 w 4610101"/>
              <a:gd name="connsiteY8166" fmla="*/ 1604436 h 6557032"/>
              <a:gd name="connsiteX8167" fmla="*/ 3106807 w 4610101"/>
              <a:gd name="connsiteY8167" fmla="*/ 1597077 h 6557032"/>
              <a:gd name="connsiteX8168" fmla="*/ 3104985 w 4610101"/>
              <a:gd name="connsiteY8168" fmla="*/ 1611654 h 6557032"/>
              <a:gd name="connsiteX8169" fmla="*/ 3114096 w 4610101"/>
              <a:gd name="connsiteY8169" fmla="*/ 1608010 h 6557032"/>
              <a:gd name="connsiteX8170" fmla="*/ 3117740 w 4610101"/>
              <a:gd name="connsiteY8170" fmla="*/ 1606188 h 6557032"/>
              <a:gd name="connsiteX8171" fmla="*/ 3106807 w 4610101"/>
              <a:gd name="connsiteY8171" fmla="*/ 1597077 h 6557032"/>
              <a:gd name="connsiteX8172" fmla="*/ 590385 w 4610101"/>
              <a:gd name="connsiteY8172" fmla="*/ 1597077 h 6557032"/>
              <a:gd name="connsiteX8173" fmla="*/ 590697 w 4610101"/>
              <a:gd name="connsiteY8173" fmla="*/ 1598366 h 6557032"/>
              <a:gd name="connsiteX8174" fmla="*/ 590316 w 4610101"/>
              <a:gd name="connsiteY8174" fmla="*/ 1597261 h 6557032"/>
              <a:gd name="connsiteX8175" fmla="*/ 351680 w 4610101"/>
              <a:gd name="connsiteY8175" fmla="*/ 1595255 h 6557032"/>
              <a:gd name="connsiteX8176" fmla="*/ 368079 w 4610101"/>
              <a:gd name="connsiteY8176" fmla="*/ 1598899 h 6557032"/>
              <a:gd name="connsiteX8177" fmla="*/ 351680 w 4610101"/>
              <a:gd name="connsiteY8177" fmla="*/ 1595255 h 6557032"/>
              <a:gd name="connsiteX8178" fmla="*/ 450077 w 4610101"/>
              <a:gd name="connsiteY8178" fmla="*/ 1595255 h 6557032"/>
              <a:gd name="connsiteX8179" fmla="*/ 448256 w 4610101"/>
              <a:gd name="connsiteY8179" fmla="*/ 1595255 h 6557032"/>
              <a:gd name="connsiteX8180" fmla="*/ 451899 w 4610101"/>
              <a:gd name="connsiteY8180" fmla="*/ 1595255 h 6557032"/>
              <a:gd name="connsiteX8181" fmla="*/ 450077 w 4610101"/>
              <a:gd name="connsiteY8181" fmla="*/ 1595255 h 6557032"/>
              <a:gd name="connsiteX8182" fmla="*/ 497226 w 4610101"/>
              <a:gd name="connsiteY8182" fmla="*/ 1594799 h 6557032"/>
              <a:gd name="connsiteX8183" fmla="*/ 493809 w 4610101"/>
              <a:gd name="connsiteY8183" fmla="*/ 1602543 h 6557032"/>
              <a:gd name="connsiteX8184" fmla="*/ 497454 w 4610101"/>
              <a:gd name="connsiteY8184" fmla="*/ 1611654 h 6557032"/>
              <a:gd name="connsiteX8185" fmla="*/ 510209 w 4610101"/>
              <a:gd name="connsiteY8185" fmla="*/ 1602543 h 6557032"/>
              <a:gd name="connsiteX8186" fmla="*/ 501098 w 4610101"/>
              <a:gd name="connsiteY8186" fmla="*/ 1602543 h 6557032"/>
              <a:gd name="connsiteX8187" fmla="*/ 504743 w 4610101"/>
              <a:gd name="connsiteY8187" fmla="*/ 1595255 h 6557032"/>
              <a:gd name="connsiteX8188" fmla="*/ 497226 w 4610101"/>
              <a:gd name="connsiteY8188" fmla="*/ 1594799 h 6557032"/>
              <a:gd name="connsiteX8189" fmla="*/ 588562 w 4610101"/>
              <a:gd name="connsiteY8189" fmla="*/ 1594713 h 6557032"/>
              <a:gd name="connsiteX8190" fmla="*/ 589701 w 4610101"/>
              <a:gd name="connsiteY8190" fmla="*/ 1595482 h 6557032"/>
              <a:gd name="connsiteX8191" fmla="*/ 590316 w 4610101"/>
              <a:gd name="connsiteY8191" fmla="*/ 1597261 h 6557032"/>
              <a:gd name="connsiteX8192" fmla="*/ 587651 w 4610101"/>
              <a:gd name="connsiteY8192" fmla="*/ 1604365 h 6557032"/>
              <a:gd name="connsiteX8193" fmla="*/ 585393 w 4610101"/>
              <a:gd name="connsiteY8193" fmla="*/ 1610387 h 6557032"/>
              <a:gd name="connsiteX8194" fmla="*/ 585601 w 4610101"/>
              <a:gd name="connsiteY8194" fmla="*/ 1608238 h 6557032"/>
              <a:gd name="connsiteX8195" fmla="*/ 584919 w 4610101"/>
              <a:gd name="connsiteY8195" fmla="*/ 1602543 h 6557032"/>
              <a:gd name="connsiteX8196" fmla="*/ 584479 w 4610101"/>
              <a:gd name="connsiteY8196" fmla="*/ 1603099 h 6557032"/>
              <a:gd name="connsiteX8197" fmla="*/ 584462 w 4610101"/>
              <a:gd name="connsiteY8197" fmla="*/ 1602771 h 6557032"/>
              <a:gd name="connsiteX8198" fmla="*/ 583926 w 4610101"/>
              <a:gd name="connsiteY8198" fmla="*/ 1601506 h 6557032"/>
              <a:gd name="connsiteX8199" fmla="*/ 585829 w 4610101"/>
              <a:gd name="connsiteY8199" fmla="*/ 1599127 h 6557032"/>
              <a:gd name="connsiteX8200" fmla="*/ 588562 w 4610101"/>
              <a:gd name="connsiteY8200" fmla="*/ 1597077 h 6557032"/>
              <a:gd name="connsiteX8201" fmla="*/ 462832 w 4610101"/>
              <a:gd name="connsiteY8201" fmla="*/ 1594344 h 6557032"/>
              <a:gd name="connsiteX8202" fmla="*/ 462832 w 4610101"/>
              <a:gd name="connsiteY8202" fmla="*/ 1598899 h 6557032"/>
              <a:gd name="connsiteX8203" fmla="*/ 468299 w 4610101"/>
              <a:gd name="connsiteY8203" fmla="*/ 1595255 h 6557032"/>
              <a:gd name="connsiteX8204" fmla="*/ 462832 w 4610101"/>
              <a:gd name="connsiteY8204" fmla="*/ 1594344 h 6557032"/>
              <a:gd name="connsiteX8205" fmla="*/ 871000 w 4610101"/>
              <a:gd name="connsiteY8205" fmla="*/ 1593463 h 6557032"/>
              <a:gd name="connsiteX8206" fmla="*/ 872821 w 4610101"/>
              <a:gd name="connsiteY8206" fmla="*/ 1593463 h 6557032"/>
              <a:gd name="connsiteX8207" fmla="*/ 860066 w 4610101"/>
              <a:gd name="connsiteY8207" fmla="*/ 1597109 h 6557032"/>
              <a:gd name="connsiteX8208" fmla="*/ 871000 w 4610101"/>
              <a:gd name="connsiteY8208" fmla="*/ 1593463 h 6557032"/>
              <a:gd name="connsiteX8209" fmla="*/ 721581 w 4610101"/>
              <a:gd name="connsiteY8209" fmla="*/ 1593432 h 6557032"/>
              <a:gd name="connsiteX8210" fmla="*/ 714749 w 4610101"/>
              <a:gd name="connsiteY8210" fmla="*/ 1599354 h 6557032"/>
              <a:gd name="connsiteX8211" fmla="*/ 710819 w 4610101"/>
              <a:gd name="connsiteY8211" fmla="*/ 1607649 h 6557032"/>
              <a:gd name="connsiteX8212" fmla="*/ 708826 w 4610101"/>
              <a:gd name="connsiteY8212" fmla="*/ 1609832 h 6557032"/>
              <a:gd name="connsiteX8213" fmla="*/ 719759 w 4610101"/>
              <a:gd name="connsiteY8213" fmla="*/ 1600721 h 6557032"/>
              <a:gd name="connsiteX8214" fmla="*/ 713609 w 4610101"/>
              <a:gd name="connsiteY8214" fmla="*/ 1604593 h 6557032"/>
              <a:gd name="connsiteX8215" fmla="*/ 710902 w 4610101"/>
              <a:gd name="connsiteY8215" fmla="*/ 1607558 h 6557032"/>
              <a:gd name="connsiteX8216" fmla="*/ 714749 w 4610101"/>
              <a:gd name="connsiteY8216" fmla="*/ 1600721 h 6557032"/>
              <a:gd name="connsiteX8217" fmla="*/ 721581 w 4610101"/>
              <a:gd name="connsiteY8217" fmla="*/ 1593432 h 6557032"/>
              <a:gd name="connsiteX8218" fmla="*/ 524786 w 4610101"/>
              <a:gd name="connsiteY8218" fmla="*/ 1593432 h 6557032"/>
              <a:gd name="connsiteX8219" fmla="*/ 521142 w 4610101"/>
              <a:gd name="connsiteY8219" fmla="*/ 1597077 h 6557032"/>
              <a:gd name="connsiteX8220" fmla="*/ 528431 w 4610101"/>
              <a:gd name="connsiteY8220" fmla="*/ 1595255 h 6557032"/>
              <a:gd name="connsiteX8221" fmla="*/ 524786 w 4610101"/>
              <a:gd name="connsiteY8221" fmla="*/ 1593432 h 6557032"/>
              <a:gd name="connsiteX8222" fmla="*/ 513853 w 4610101"/>
              <a:gd name="connsiteY8222" fmla="*/ 1593432 h 6557032"/>
              <a:gd name="connsiteX8223" fmla="*/ 506565 w 4610101"/>
              <a:gd name="connsiteY8223" fmla="*/ 1595255 h 6557032"/>
              <a:gd name="connsiteX8224" fmla="*/ 513853 w 4610101"/>
              <a:gd name="connsiteY8224" fmla="*/ 1593432 h 6557032"/>
              <a:gd name="connsiteX8225" fmla="*/ 455544 w 4610101"/>
              <a:gd name="connsiteY8225" fmla="*/ 1593432 h 6557032"/>
              <a:gd name="connsiteX8226" fmla="*/ 453722 w 4610101"/>
              <a:gd name="connsiteY8226" fmla="*/ 1597077 h 6557032"/>
              <a:gd name="connsiteX8227" fmla="*/ 459188 w 4610101"/>
              <a:gd name="connsiteY8227" fmla="*/ 1597077 h 6557032"/>
              <a:gd name="connsiteX8228" fmla="*/ 455544 w 4610101"/>
              <a:gd name="connsiteY8228" fmla="*/ 1593432 h 6557032"/>
              <a:gd name="connsiteX8229" fmla="*/ 379468 w 4610101"/>
              <a:gd name="connsiteY8229" fmla="*/ 1592293 h 6557032"/>
              <a:gd name="connsiteX8230" fmla="*/ 369902 w 4610101"/>
              <a:gd name="connsiteY8230" fmla="*/ 1593432 h 6557032"/>
              <a:gd name="connsiteX8231" fmla="*/ 386301 w 4610101"/>
              <a:gd name="connsiteY8231" fmla="*/ 1595255 h 6557032"/>
              <a:gd name="connsiteX8232" fmla="*/ 379468 w 4610101"/>
              <a:gd name="connsiteY8232" fmla="*/ 1592293 h 6557032"/>
              <a:gd name="connsiteX8233" fmla="*/ 3345511 w 4610101"/>
              <a:gd name="connsiteY8233" fmla="*/ 1591612 h 6557032"/>
              <a:gd name="connsiteX8234" fmla="*/ 3345511 w 4610101"/>
              <a:gd name="connsiteY8234" fmla="*/ 1602545 h 6557032"/>
              <a:gd name="connsiteX8235" fmla="*/ 3345511 w 4610101"/>
              <a:gd name="connsiteY8235" fmla="*/ 1591612 h 6557032"/>
              <a:gd name="connsiteX8236" fmla="*/ 681493 w 4610101"/>
              <a:gd name="connsiteY8236" fmla="*/ 1591610 h 6557032"/>
              <a:gd name="connsiteX8237" fmla="*/ 668738 w 4610101"/>
              <a:gd name="connsiteY8237" fmla="*/ 1597077 h 6557032"/>
              <a:gd name="connsiteX8238" fmla="*/ 681493 w 4610101"/>
              <a:gd name="connsiteY8238" fmla="*/ 1591610 h 6557032"/>
              <a:gd name="connsiteX8239" fmla="*/ 411812 w 4610101"/>
              <a:gd name="connsiteY8239" fmla="*/ 1591610 h 6557032"/>
              <a:gd name="connsiteX8240" fmla="*/ 409989 w 4610101"/>
              <a:gd name="connsiteY8240" fmla="*/ 1593432 h 6557032"/>
              <a:gd name="connsiteX8241" fmla="*/ 419100 w 4610101"/>
              <a:gd name="connsiteY8241" fmla="*/ 1595255 h 6557032"/>
              <a:gd name="connsiteX8242" fmla="*/ 411812 w 4610101"/>
              <a:gd name="connsiteY8242" fmla="*/ 1591610 h 6557032"/>
              <a:gd name="connsiteX8243" fmla="*/ 358969 w 4610101"/>
              <a:gd name="connsiteY8243" fmla="*/ 1591610 h 6557032"/>
              <a:gd name="connsiteX8244" fmla="*/ 368079 w 4610101"/>
              <a:gd name="connsiteY8244" fmla="*/ 1593432 h 6557032"/>
              <a:gd name="connsiteX8245" fmla="*/ 358969 w 4610101"/>
              <a:gd name="connsiteY8245" fmla="*/ 1591610 h 6557032"/>
              <a:gd name="connsiteX8246" fmla="*/ 855363 w 4610101"/>
              <a:gd name="connsiteY8246" fmla="*/ 1591257 h 6557032"/>
              <a:gd name="connsiteX8247" fmla="*/ 852778 w 4610101"/>
              <a:gd name="connsiteY8247" fmla="*/ 1592066 h 6557032"/>
              <a:gd name="connsiteX8248" fmla="*/ 845489 w 4610101"/>
              <a:gd name="connsiteY8248" fmla="*/ 1591610 h 6557032"/>
              <a:gd name="connsiteX8249" fmla="*/ 949353 w 4610101"/>
              <a:gd name="connsiteY8249" fmla="*/ 1589788 h 6557032"/>
              <a:gd name="connsiteX8250" fmla="*/ 896510 w 4610101"/>
              <a:gd name="connsiteY8250" fmla="*/ 1591610 h 6557032"/>
              <a:gd name="connsiteX8251" fmla="*/ 943886 w 4610101"/>
              <a:gd name="connsiteY8251" fmla="*/ 1598899 h 6557032"/>
              <a:gd name="connsiteX8252" fmla="*/ 967575 w 4610101"/>
              <a:gd name="connsiteY8252" fmla="*/ 1597077 h 6557032"/>
              <a:gd name="connsiteX8253" fmla="*/ 949353 w 4610101"/>
              <a:gd name="connsiteY8253" fmla="*/ 1589788 h 6557032"/>
              <a:gd name="connsiteX8254" fmla="*/ 588562 w 4610101"/>
              <a:gd name="connsiteY8254" fmla="*/ 1589788 h 6557032"/>
              <a:gd name="connsiteX8255" fmla="*/ 588562 w 4610101"/>
              <a:gd name="connsiteY8255" fmla="*/ 1594713 h 6557032"/>
              <a:gd name="connsiteX8256" fmla="*/ 586925 w 4610101"/>
              <a:gd name="connsiteY8256" fmla="*/ 1593607 h 6557032"/>
              <a:gd name="connsiteX8257" fmla="*/ 344391 w 4610101"/>
              <a:gd name="connsiteY8257" fmla="*/ 1589788 h 6557032"/>
              <a:gd name="connsiteX8258" fmla="*/ 342569 w 4610101"/>
              <a:gd name="connsiteY8258" fmla="*/ 1591610 h 6557032"/>
              <a:gd name="connsiteX8259" fmla="*/ 351680 w 4610101"/>
              <a:gd name="connsiteY8259" fmla="*/ 1593432 h 6557032"/>
              <a:gd name="connsiteX8260" fmla="*/ 344391 w 4610101"/>
              <a:gd name="connsiteY8260" fmla="*/ 1589788 h 6557032"/>
              <a:gd name="connsiteX8261" fmla="*/ 443473 w 4610101"/>
              <a:gd name="connsiteY8261" fmla="*/ 1589333 h 6557032"/>
              <a:gd name="connsiteX8262" fmla="*/ 440966 w 4610101"/>
              <a:gd name="connsiteY8262" fmla="*/ 1589788 h 6557032"/>
              <a:gd name="connsiteX8263" fmla="*/ 444611 w 4610101"/>
              <a:gd name="connsiteY8263" fmla="*/ 1591610 h 6557032"/>
              <a:gd name="connsiteX8264" fmla="*/ 443473 w 4610101"/>
              <a:gd name="connsiteY8264" fmla="*/ 1589333 h 6557032"/>
              <a:gd name="connsiteX8265" fmla="*/ 801756 w 4610101"/>
              <a:gd name="connsiteY8265" fmla="*/ 1587997 h 6557032"/>
              <a:gd name="connsiteX8266" fmla="*/ 858245 w 4610101"/>
              <a:gd name="connsiteY8266" fmla="*/ 1589819 h 6557032"/>
              <a:gd name="connsiteX8267" fmla="*/ 801756 w 4610101"/>
              <a:gd name="connsiteY8267" fmla="*/ 1587997 h 6557032"/>
              <a:gd name="connsiteX8268" fmla="*/ 437322 w 4610101"/>
              <a:gd name="connsiteY8268" fmla="*/ 1587966 h 6557032"/>
              <a:gd name="connsiteX8269" fmla="*/ 440966 w 4610101"/>
              <a:gd name="connsiteY8269" fmla="*/ 1593432 h 6557032"/>
              <a:gd name="connsiteX8270" fmla="*/ 437322 w 4610101"/>
              <a:gd name="connsiteY8270" fmla="*/ 1587966 h 6557032"/>
              <a:gd name="connsiteX8271" fmla="*/ 1123780 w 4610101"/>
              <a:gd name="connsiteY8271" fmla="*/ 1587587 h 6557032"/>
              <a:gd name="connsiteX8272" fmla="*/ 1125420 w 4610101"/>
              <a:gd name="connsiteY8272" fmla="*/ 1588877 h 6557032"/>
              <a:gd name="connsiteX8273" fmla="*/ 1127797 w 4610101"/>
              <a:gd name="connsiteY8273" fmla="*/ 1591662 h 6557032"/>
              <a:gd name="connsiteX8274" fmla="*/ 3401998 w 4610101"/>
              <a:gd name="connsiteY8274" fmla="*/ 1586145 h 6557032"/>
              <a:gd name="connsiteX8275" fmla="*/ 3405643 w 4610101"/>
              <a:gd name="connsiteY8275" fmla="*/ 1604367 h 6557032"/>
              <a:gd name="connsiteX8276" fmla="*/ 3401998 w 4610101"/>
              <a:gd name="connsiteY8276" fmla="*/ 1586145 h 6557032"/>
              <a:gd name="connsiteX8277" fmla="*/ 579452 w 4610101"/>
              <a:gd name="connsiteY8277" fmla="*/ 1586144 h 6557032"/>
              <a:gd name="connsiteX8278" fmla="*/ 572163 w 4610101"/>
              <a:gd name="connsiteY8278" fmla="*/ 1591610 h 6557032"/>
              <a:gd name="connsiteX8279" fmla="*/ 579452 w 4610101"/>
              <a:gd name="connsiteY8279" fmla="*/ 1586144 h 6557032"/>
              <a:gd name="connsiteX8280" fmla="*/ 422972 w 4610101"/>
              <a:gd name="connsiteY8280" fmla="*/ 1585005 h 6557032"/>
              <a:gd name="connsiteX8281" fmla="*/ 419100 w 4610101"/>
              <a:gd name="connsiteY8281" fmla="*/ 1586144 h 6557032"/>
              <a:gd name="connsiteX8282" fmla="*/ 428211 w 4610101"/>
              <a:gd name="connsiteY8282" fmla="*/ 1589788 h 6557032"/>
              <a:gd name="connsiteX8283" fmla="*/ 428211 w 4610101"/>
              <a:gd name="connsiteY8283" fmla="*/ 1587966 h 6557032"/>
              <a:gd name="connsiteX8284" fmla="*/ 422972 w 4610101"/>
              <a:gd name="connsiteY8284" fmla="*/ 1585005 h 6557032"/>
              <a:gd name="connsiteX8285" fmla="*/ 3352800 w 4610101"/>
              <a:gd name="connsiteY8285" fmla="*/ 1584323 h 6557032"/>
              <a:gd name="connsiteX8286" fmla="*/ 3360088 w 4610101"/>
              <a:gd name="connsiteY8286" fmla="*/ 1595256 h 6557032"/>
              <a:gd name="connsiteX8287" fmla="*/ 3360088 w 4610101"/>
              <a:gd name="connsiteY8287" fmla="*/ 1586145 h 6557032"/>
              <a:gd name="connsiteX8288" fmla="*/ 3352800 w 4610101"/>
              <a:gd name="connsiteY8288" fmla="*/ 1584323 h 6557032"/>
              <a:gd name="connsiteX8289" fmla="*/ 3099518 w 4610101"/>
              <a:gd name="connsiteY8289" fmla="*/ 1584321 h 6557032"/>
              <a:gd name="connsiteX8290" fmla="*/ 3094052 w 4610101"/>
              <a:gd name="connsiteY8290" fmla="*/ 1593432 h 6557032"/>
              <a:gd name="connsiteX8291" fmla="*/ 3097696 w 4610101"/>
              <a:gd name="connsiteY8291" fmla="*/ 1587966 h 6557032"/>
              <a:gd name="connsiteX8292" fmla="*/ 3099518 w 4610101"/>
              <a:gd name="connsiteY8292" fmla="*/ 1587966 h 6557032"/>
              <a:gd name="connsiteX8293" fmla="*/ 3099518 w 4610101"/>
              <a:gd name="connsiteY8293" fmla="*/ 1584321 h 6557032"/>
              <a:gd name="connsiteX8294" fmla="*/ 994907 w 4610101"/>
              <a:gd name="connsiteY8294" fmla="*/ 1584321 h 6557032"/>
              <a:gd name="connsiteX8295" fmla="*/ 1005840 w 4610101"/>
              <a:gd name="connsiteY8295" fmla="*/ 1600721 h 6557032"/>
              <a:gd name="connsiteX8296" fmla="*/ 994907 w 4610101"/>
              <a:gd name="connsiteY8296" fmla="*/ 1584321 h 6557032"/>
              <a:gd name="connsiteX8297" fmla="*/ 362613 w 4610101"/>
              <a:gd name="connsiteY8297" fmla="*/ 1584321 h 6557032"/>
              <a:gd name="connsiteX8298" fmla="*/ 375368 w 4610101"/>
              <a:gd name="connsiteY8298" fmla="*/ 1589788 h 6557032"/>
              <a:gd name="connsiteX8299" fmla="*/ 362613 w 4610101"/>
              <a:gd name="connsiteY8299" fmla="*/ 1584321 h 6557032"/>
              <a:gd name="connsiteX8300" fmla="*/ 3301780 w 4610101"/>
              <a:gd name="connsiteY8300" fmla="*/ 1582499 h 6557032"/>
              <a:gd name="connsiteX8301" fmla="*/ 3301780 w 4610101"/>
              <a:gd name="connsiteY8301" fmla="*/ 1591610 h 6557032"/>
              <a:gd name="connsiteX8302" fmla="*/ 3307246 w 4610101"/>
              <a:gd name="connsiteY8302" fmla="*/ 1584321 h 6557032"/>
              <a:gd name="connsiteX8303" fmla="*/ 3301780 w 4610101"/>
              <a:gd name="connsiteY8303" fmla="*/ 1582499 h 6557032"/>
              <a:gd name="connsiteX8304" fmla="*/ 497454 w 4610101"/>
              <a:gd name="connsiteY8304" fmla="*/ 1582499 h 6557032"/>
              <a:gd name="connsiteX8305" fmla="*/ 495632 w 4610101"/>
              <a:gd name="connsiteY8305" fmla="*/ 1587966 h 6557032"/>
              <a:gd name="connsiteX8306" fmla="*/ 501098 w 4610101"/>
              <a:gd name="connsiteY8306" fmla="*/ 1584321 h 6557032"/>
              <a:gd name="connsiteX8307" fmla="*/ 497454 w 4610101"/>
              <a:gd name="connsiteY8307" fmla="*/ 1582499 h 6557032"/>
              <a:gd name="connsiteX8308" fmla="*/ 491987 w 4610101"/>
              <a:gd name="connsiteY8308" fmla="*/ 1582499 h 6557032"/>
              <a:gd name="connsiteX8309" fmla="*/ 488343 w 4610101"/>
              <a:gd name="connsiteY8309" fmla="*/ 1589788 h 6557032"/>
              <a:gd name="connsiteX8310" fmla="*/ 491987 w 4610101"/>
              <a:gd name="connsiteY8310" fmla="*/ 1582499 h 6557032"/>
              <a:gd name="connsiteX8311" fmla="*/ 431856 w 4610101"/>
              <a:gd name="connsiteY8311" fmla="*/ 1582499 h 6557032"/>
              <a:gd name="connsiteX8312" fmla="*/ 426389 w 4610101"/>
              <a:gd name="connsiteY8312" fmla="*/ 1584321 h 6557032"/>
              <a:gd name="connsiteX8313" fmla="*/ 433678 w 4610101"/>
              <a:gd name="connsiteY8313" fmla="*/ 1586144 h 6557032"/>
              <a:gd name="connsiteX8314" fmla="*/ 431856 w 4610101"/>
              <a:gd name="connsiteY8314" fmla="*/ 1582499 h 6557032"/>
              <a:gd name="connsiteX8315" fmla="*/ 558498 w 4610101"/>
              <a:gd name="connsiteY8315" fmla="*/ 1581360 h 6557032"/>
              <a:gd name="connsiteX8316" fmla="*/ 555763 w 4610101"/>
              <a:gd name="connsiteY8316" fmla="*/ 1584321 h 6557032"/>
              <a:gd name="connsiteX8317" fmla="*/ 561230 w 4610101"/>
              <a:gd name="connsiteY8317" fmla="*/ 1582499 h 6557032"/>
              <a:gd name="connsiteX8318" fmla="*/ 558498 w 4610101"/>
              <a:gd name="connsiteY8318" fmla="*/ 1581360 h 6557032"/>
              <a:gd name="connsiteX8319" fmla="*/ 3030276 w 4610101"/>
              <a:gd name="connsiteY8319" fmla="*/ 1580677 h 6557032"/>
              <a:gd name="connsiteX8320" fmla="*/ 3022987 w 4610101"/>
              <a:gd name="connsiteY8320" fmla="*/ 1602543 h 6557032"/>
              <a:gd name="connsiteX8321" fmla="*/ 3008410 w 4610101"/>
              <a:gd name="connsiteY8321" fmla="*/ 1602543 h 6557032"/>
              <a:gd name="connsiteX8322" fmla="*/ 3008410 w 4610101"/>
              <a:gd name="connsiteY8322" fmla="*/ 1617121 h 6557032"/>
              <a:gd name="connsiteX8323" fmla="*/ 3039387 w 4610101"/>
              <a:gd name="connsiteY8323" fmla="*/ 1602543 h 6557032"/>
              <a:gd name="connsiteX8324" fmla="*/ 3030276 w 4610101"/>
              <a:gd name="connsiteY8324" fmla="*/ 1580677 h 6557032"/>
              <a:gd name="connsiteX8325" fmla="*/ 579452 w 4610101"/>
              <a:gd name="connsiteY8325" fmla="*/ 1580677 h 6557032"/>
              <a:gd name="connsiteX8326" fmla="*/ 575808 w 4610101"/>
              <a:gd name="connsiteY8326" fmla="*/ 1582499 h 6557032"/>
              <a:gd name="connsiteX8327" fmla="*/ 579452 w 4610101"/>
              <a:gd name="connsiteY8327" fmla="*/ 1580677 h 6557032"/>
              <a:gd name="connsiteX8328" fmla="*/ 868478 w 4610101"/>
              <a:gd name="connsiteY8328" fmla="*/ 1579647 h 6557032"/>
              <a:gd name="connsiteX8329" fmla="*/ 881933 w 4610101"/>
              <a:gd name="connsiteY8329" fmla="*/ 1584321 h 6557032"/>
              <a:gd name="connsiteX8330" fmla="*/ 877384 w 4610101"/>
              <a:gd name="connsiteY8330" fmla="*/ 1583563 h 6557032"/>
              <a:gd name="connsiteX8331" fmla="*/ 991263 w 4610101"/>
              <a:gd name="connsiteY8331" fmla="*/ 1578855 h 6557032"/>
              <a:gd name="connsiteX8332" fmla="*/ 994907 w 4610101"/>
              <a:gd name="connsiteY8332" fmla="*/ 1582499 h 6557032"/>
              <a:gd name="connsiteX8333" fmla="*/ 991263 w 4610101"/>
              <a:gd name="connsiteY8333" fmla="*/ 1578855 h 6557032"/>
              <a:gd name="connsiteX8334" fmla="*/ 502920 w 4610101"/>
              <a:gd name="connsiteY8334" fmla="*/ 1578855 h 6557032"/>
              <a:gd name="connsiteX8335" fmla="*/ 506565 w 4610101"/>
              <a:gd name="connsiteY8335" fmla="*/ 1580677 h 6557032"/>
              <a:gd name="connsiteX8336" fmla="*/ 505157 w 4610101"/>
              <a:gd name="connsiteY8336" fmla="*/ 1581091 h 6557032"/>
              <a:gd name="connsiteX8337" fmla="*/ 504743 w 4610101"/>
              <a:gd name="connsiteY8337" fmla="*/ 1580677 h 6557032"/>
              <a:gd name="connsiteX8338" fmla="*/ 502817 w 4610101"/>
              <a:gd name="connsiteY8338" fmla="*/ 1580195 h 6557032"/>
              <a:gd name="connsiteX8339" fmla="*/ 421151 w 4610101"/>
              <a:gd name="connsiteY8339" fmla="*/ 1576349 h 6557032"/>
              <a:gd name="connsiteX8340" fmla="*/ 417278 w 4610101"/>
              <a:gd name="connsiteY8340" fmla="*/ 1582499 h 6557032"/>
              <a:gd name="connsiteX8341" fmla="*/ 426389 w 4610101"/>
              <a:gd name="connsiteY8341" fmla="*/ 1577033 h 6557032"/>
              <a:gd name="connsiteX8342" fmla="*/ 421151 w 4610101"/>
              <a:gd name="connsiteY8342" fmla="*/ 1576349 h 6557032"/>
              <a:gd name="connsiteX8343" fmla="*/ 471943 w 4610101"/>
              <a:gd name="connsiteY8343" fmla="*/ 1575211 h 6557032"/>
              <a:gd name="connsiteX8344" fmla="*/ 464655 w 4610101"/>
              <a:gd name="connsiteY8344" fmla="*/ 1578855 h 6557032"/>
              <a:gd name="connsiteX8345" fmla="*/ 475589 w 4610101"/>
              <a:gd name="connsiteY8345" fmla="*/ 1578855 h 6557032"/>
              <a:gd name="connsiteX8346" fmla="*/ 468299 w 4610101"/>
              <a:gd name="connsiteY8346" fmla="*/ 1578855 h 6557032"/>
              <a:gd name="connsiteX8347" fmla="*/ 471943 w 4610101"/>
              <a:gd name="connsiteY8347" fmla="*/ 1575211 h 6557032"/>
              <a:gd name="connsiteX8348" fmla="*/ 453722 w 4610101"/>
              <a:gd name="connsiteY8348" fmla="*/ 1575211 h 6557032"/>
              <a:gd name="connsiteX8349" fmla="*/ 440966 w 4610101"/>
              <a:gd name="connsiteY8349" fmla="*/ 1586144 h 6557032"/>
              <a:gd name="connsiteX8350" fmla="*/ 450077 w 4610101"/>
              <a:gd name="connsiteY8350" fmla="*/ 1587966 h 6557032"/>
              <a:gd name="connsiteX8351" fmla="*/ 446433 w 4610101"/>
              <a:gd name="connsiteY8351" fmla="*/ 1584321 h 6557032"/>
              <a:gd name="connsiteX8352" fmla="*/ 453722 w 4610101"/>
              <a:gd name="connsiteY8352" fmla="*/ 1575211 h 6557032"/>
              <a:gd name="connsiteX8353" fmla="*/ 3285380 w 4610101"/>
              <a:gd name="connsiteY8353" fmla="*/ 1573388 h 6557032"/>
              <a:gd name="connsiteX8354" fmla="*/ 3292669 w 4610101"/>
              <a:gd name="connsiteY8354" fmla="*/ 1578855 h 6557032"/>
              <a:gd name="connsiteX8355" fmla="*/ 3285380 w 4610101"/>
              <a:gd name="connsiteY8355" fmla="*/ 1573388 h 6557032"/>
              <a:gd name="connsiteX8356" fmla="*/ 697893 w 4610101"/>
              <a:gd name="connsiteY8356" fmla="*/ 1573388 h 6557032"/>
              <a:gd name="connsiteX8357" fmla="*/ 692426 w 4610101"/>
              <a:gd name="connsiteY8357" fmla="*/ 1578855 h 6557032"/>
              <a:gd name="connsiteX8358" fmla="*/ 697893 w 4610101"/>
              <a:gd name="connsiteY8358" fmla="*/ 1573388 h 6557032"/>
              <a:gd name="connsiteX8359" fmla="*/ 553941 w 4610101"/>
              <a:gd name="connsiteY8359" fmla="*/ 1573388 h 6557032"/>
              <a:gd name="connsiteX8360" fmla="*/ 552119 w 4610101"/>
              <a:gd name="connsiteY8360" fmla="*/ 1578855 h 6557032"/>
              <a:gd name="connsiteX8361" fmla="*/ 553941 w 4610101"/>
              <a:gd name="connsiteY8361" fmla="*/ 1573388 h 6557032"/>
              <a:gd name="connsiteX8362" fmla="*/ 543008 w 4610101"/>
              <a:gd name="connsiteY8362" fmla="*/ 1573388 h 6557032"/>
              <a:gd name="connsiteX8363" fmla="*/ 541186 w 4610101"/>
              <a:gd name="connsiteY8363" fmla="*/ 1578855 h 6557032"/>
              <a:gd name="connsiteX8364" fmla="*/ 544830 w 4610101"/>
              <a:gd name="connsiteY8364" fmla="*/ 1577033 h 6557032"/>
              <a:gd name="connsiteX8365" fmla="*/ 543008 w 4610101"/>
              <a:gd name="connsiteY8365" fmla="*/ 1573388 h 6557032"/>
              <a:gd name="connsiteX8366" fmla="*/ 479232 w 4610101"/>
              <a:gd name="connsiteY8366" fmla="*/ 1573388 h 6557032"/>
              <a:gd name="connsiteX8367" fmla="*/ 477410 w 4610101"/>
              <a:gd name="connsiteY8367" fmla="*/ 1575211 h 6557032"/>
              <a:gd name="connsiteX8368" fmla="*/ 479232 w 4610101"/>
              <a:gd name="connsiteY8368" fmla="*/ 1580677 h 6557032"/>
              <a:gd name="connsiteX8369" fmla="*/ 479232 w 4610101"/>
              <a:gd name="connsiteY8369" fmla="*/ 1573388 h 6557032"/>
              <a:gd name="connsiteX8370" fmla="*/ 466478 w 4610101"/>
              <a:gd name="connsiteY8370" fmla="*/ 1573388 h 6557032"/>
              <a:gd name="connsiteX8371" fmla="*/ 457367 w 4610101"/>
              <a:gd name="connsiteY8371" fmla="*/ 1575211 h 6557032"/>
              <a:gd name="connsiteX8372" fmla="*/ 455544 w 4610101"/>
              <a:gd name="connsiteY8372" fmla="*/ 1584321 h 6557032"/>
              <a:gd name="connsiteX8373" fmla="*/ 466478 w 4610101"/>
              <a:gd name="connsiteY8373" fmla="*/ 1582499 h 6557032"/>
              <a:gd name="connsiteX8374" fmla="*/ 466478 w 4610101"/>
              <a:gd name="connsiteY8374" fmla="*/ 1586144 h 6557032"/>
              <a:gd name="connsiteX8375" fmla="*/ 471943 w 4610101"/>
              <a:gd name="connsiteY8375" fmla="*/ 1582499 h 6557032"/>
              <a:gd name="connsiteX8376" fmla="*/ 466478 w 4610101"/>
              <a:gd name="connsiteY8376" fmla="*/ 1582499 h 6557032"/>
              <a:gd name="connsiteX8377" fmla="*/ 457367 w 4610101"/>
              <a:gd name="connsiteY8377" fmla="*/ 1580677 h 6557032"/>
              <a:gd name="connsiteX8378" fmla="*/ 466478 w 4610101"/>
              <a:gd name="connsiteY8378" fmla="*/ 1573388 h 6557032"/>
              <a:gd name="connsiteX8379" fmla="*/ 329814 w 4610101"/>
              <a:gd name="connsiteY8379" fmla="*/ 1573388 h 6557032"/>
              <a:gd name="connsiteX8380" fmla="*/ 335280 w 4610101"/>
              <a:gd name="connsiteY8380" fmla="*/ 1578855 h 6557032"/>
              <a:gd name="connsiteX8381" fmla="*/ 329814 w 4610101"/>
              <a:gd name="connsiteY8381" fmla="*/ 1573388 h 6557032"/>
              <a:gd name="connsiteX8382" fmla="*/ 3350977 w 4610101"/>
              <a:gd name="connsiteY8382" fmla="*/ 1569746 h 6557032"/>
              <a:gd name="connsiteX8383" fmla="*/ 3350977 w 4610101"/>
              <a:gd name="connsiteY8383" fmla="*/ 1580679 h 6557032"/>
              <a:gd name="connsiteX8384" fmla="*/ 3358266 w 4610101"/>
              <a:gd name="connsiteY8384" fmla="*/ 1580679 h 6557032"/>
              <a:gd name="connsiteX8385" fmla="*/ 3350977 w 4610101"/>
              <a:gd name="connsiteY8385" fmla="*/ 1569746 h 6557032"/>
              <a:gd name="connsiteX8386" fmla="*/ 512031 w 4610101"/>
              <a:gd name="connsiteY8386" fmla="*/ 1569744 h 6557032"/>
              <a:gd name="connsiteX8387" fmla="*/ 512031 w 4610101"/>
              <a:gd name="connsiteY8387" fmla="*/ 1575211 h 6557032"/>
              <a:gd name="connsiteX8388" fmla="*/ 517498 w 4610101"/>
              <a:gd name="connsiteY8388" fmla="*/ 1575211 h 6557032"/>
              <a:gd name="connsiteX8389" fmla="*/ 512031 w 4610101"/>
              <a:gd name="connsiteY8389" fmla="*/ 1569744 h 6557032"/>
              <a:gd name="connsiteX8390" fmla="*/ 1093027 w 4610101"/>
              <a:gd name="connsiteY8390" fmla="*/ 1569645 h 6557032"/>
              <a:gd name="connsiteX8391" fmla="*/ 1093305 w 4610101"/>
              <a:gd name="connsiteY8391" fmla="*/ 1569744 h 6557032"/>
              <a:gd name="connsiteX8392" fmla="*/ 1080549 w 4610101"/>
              <a:gd name="connsiteY8392" fmla="*/ 1573388 h 6557032"/>
              <a:gd name="connsiteX8393" fmla="*/ 3245086 w 4610101"/>
              <a:gd name="connsiteY8393" fmla="*/ 1568142 h 6557032"/>
              <a:gd name="connsiteX8394" fmla="*/ 3238915 w 4610101"/>
              <a:gd name="connsiteY8394" fmla="*/ 1574755 h 6557032"/>
              <a:gd name="connsiteX8395" fmla="*/ 3236565 w 4610101"/>
              <a:gd name="connsiteY8395" fmla="*/ 1572238 h 6557032"/>
              <a:gd name="connsiteX8396" fmla="*/ 3244609 w 4610101"/>
              <a:gd name="connsiteY8396" fmla="*/ 1568150 h 6557032"/>
              <a:gd name="connsiteX8397" fmla="*/ 572163 w 4610101"/>
              <a:gd name="connsiteY8397" fmla="*/ 1567922 h 6557032"/>
              <a:gd name="connsiteX8398" fmla="*/ 568519 w 4610101"/>
              <a:gd name="connsiteY8398" fmla="*/ 1571566 h 6557032"/>
              <a:gd name="connsiteX8399" fmla="*/ 572163 w 4610101"/>
              <a:gd name="connsiteY8399" fmla="*/ 1567922 h 6557032"/>
              <a:gd name="connsiteX8400" fmla="*/ 557586 w 4610101"/>
              <a:gd name="connsiteY8400" fmla="*/ 1567922 h 6557032"/>
              <a:gd name="connsiteX8401" fmla="*/ 557586 w 4610101"/>
              <a:gd name="connsiteY8401" fmla="*/ 1575211 h 6557032"/>
              <a:gd name="connsiteX8402" fmla="*/ 561230 w 4610101"/>
              <a:gd name="connsiteY8402" fmla="*/ 1569744 h 6557032"/>
              <a:gd name="connsiteX8403" fmla="*/ 557586 w 4610101"/>
              <a:gd name="connsiteY8403" fmla="*/ 1567922 h 6557032"/>
              <a:gd name="connsiteX8404" fmla="*/ 484700 w 4610101"/>
              <a:gd name="connsiteY8404" fmla="*/ 1567922 h 6557032"/>
              <a:gd name="connsiteX8405" fmla="*/ 481054 w 4610101"/>
              <a:gd name="connsiteY8405" fmla="*/ 1569744 h 6557032"/>
              <a:gd name="connsiteX8406" fmla="*/ 484700 w 4610101"/>
              <a:gd name="connsiteY8406" fmla="*/ 1567922 h 6557032"/>
              <a:gd name="connsiteX8407" fmla="*/ 440966 w 4610101"/>
              <a:gd name="connsiteY8407" fmla="*/ 1567922 h 6557032"/>
              <a:gd name="connsiteX8408" fmla="*/ 433678 w 4610101"/>
              <a:gd name="connsiteY8408" fmla="*/ 1582499 h 6557032"/>
              <a:gd name="connsiteX8409" fmla="*/ 450077 w 4610101"/>
              <a:gd name="connsiteY8409" fmla="*/ 1571566 h 6557032"/>
              <a:gd name="connsiteX8410" fmla="*/ 442789 w 4610101"/>
              <a:gd name="connsiteY8410" fmla="*/ 1569744 h 6557032"/>
              <a:gd name="connsiteX8411" fmla="*/ 444611 w 4610101"/>
              <a:gd name="connsiteY8411" fmla="*/ 1575211 h 6557032"/>
              <a:gd name="connsiteX8412" fmla="*/ 440966 w 4610101"/>
              <a:gd name="connsiteY8412" fmla="*/ 1567922 h 6557032"/>
              <a:gd name="connsiteX8413" fmla="*/ 3181516 w 4610101"/>
              <a:gd name="connsiteY8413" fmla="*/ 1566100 h 6557032"/>
              <a:gd name="connsiteX8414" fmla="*/ 3170583 w 4610101"/>
              <a:gd name="connsiteY8414" fmla="*/ 1573388 h 6557032"/>
              <a:gd name="connsiteX8415" fmla="*/ 3163294 w 4610101"/>
              <a:gd name="connsiteY8415" fmla="*/ 1571566 h 6557032"/>
              <a:gd name="connsiteX8416" fmla="*/ 3190627 w 4610101"/>
              <a:gd name="connsiteY8416" fmla="*/ 1571566 h 6557032"/>
              <a:gd name="connsiteX8417" fmla="*/ 3186982 w 4610101"/>
              <a:gd name="connsiteY8417" fmla="*/ 1567922 h 6557032"/>
              <a:gd name="connsiteX8418" fmla="*/ 1129748 w 4610101"/>
              <a:gd name="connsiteY8418" fmla="*/ 1566100 h 6557032"/>
              <a:gd name="connsiteX8419" fmla="*/ 1149792 w 4610101"/>
              <a:gd name="connsiteY8419" fmla="*/ 1586144 h 6557032"/>
              <a:gd name="connsiteX8420" fmla="*/ 1137037 w 4610101"/>
              <a:gd name="connsiteY8420" fmla="*/ 1576122 h 6557032"/>
              <a:gd name="connsiteX8421" fmla="*/ 1136228 w 4610101"/>
              <a:gd name="connsiteY8421" fmla="*/ 1575008 h 6557032"/>
              <a:gd name="connsiteX8422" fmla="*/ 1137037 w 4610101"/>
              <a:gd name="connsiteY8422" fmla="*/ 1573388 h 6557032"/>
              <a:gd name="connsiteX8423" fmla="*/ 1135750 w 4610101"/>
              <a:gd name="connsiteY8423" fmla="*/ 1574353 h 6557032"/>
              <a:gd name="connsiteX8424" fmla="*/ 707004 w 4610101"/>
              <a:gd name="connsiteY8424" fmla="*/ 1566100 h 6557032"/>
              <a:gd name="connsiteX8425" fmla="*/ 699715 w 4610101"/>
              <a:gd name="connsiteY8425" fmla="*/ 1578855 h 6557032"/>
              <a:gd name="connsiteX8426" fmla="*/ 676027 w 4610101"/>
              <a:gd name="connsiteY8426" fmla="*/ 1618943 h 6557032"/>
              <a:gd name="connsiteX8427" fmla="*/ 681493 w 4610101"/>
              <a:gd name="connsiteY8427" fmla="*/ 1618943 h 6557032"/>
              <a:gd name="connsiteX8428" fmla="*/ 668738 w 4610101"/>
              <a:gd name="connsiteY8428" fmla="*/ 1637164 h 6557032"/>
              <a:gd name="connsiteX8429" fmla="*/ 666916 w 4610101"/>
              <a:gd name="connsiteY8429" fmla="*/ 1631698 h 6557032"/>
              <a:gd name="connsiteX8430" fmla="*/ 670560 w 4610101"/>
              <a:gd name="connsiteY8430" fmla="*/ 1644453 h 6557032"/>
              <a:gd name="connsiteX8431" fmla="*/ 657805 w 4610101"/>
              <a:gd name="connsiteY8431" fmla="*/ 1649920 h 6557032"/>
              <a:gd name="connsiteX8432" fmla="*/ 665094 w 4610101"/>
              <a:gd name="connsiteY8432" fmla="*/ 1655386 h 6557032"/>
              <a:gd name="connsiteX8433" fmla="*/ 657805 w 4610101"/>
              <a:gd name="connsiteY8433" fmla="*/ 1666319 h 6557032"/>
              <a:gd name="connsiteX8434" fmla="*/ 679671 w 4610101"/>
              <a:gd name="connsiteY8434" fmla="*/ 1662675 h 6557032"/>
              <a:gd name="connsiteX8435" fmla="*/ 674205 w 4610101"/>
              <a:gd name="connsiteY8435" fmla="*/ 1659031 h 6557032"/>
              <a:gd name="connsiteX8436" fmla="*/ 696071 w 4610101"/>
              <a:gd name="connsiteY8436" fmla="*/ 1620765 h 6557032"/>
              <a:gd name="connsiteX8437" fmla="*/ 683316 w 4610101"/>
              <a:gd name="connsiteY8437" fmla="*/ 1620765 h 6557032"/>
              <a:gd name="connsiteX8438" fmla="*/ 707004 w 4610101"/>
              <a:gd name="connsiteY8438" fmla="*/ 1566100 h 6557032"/>
              <a:gd name="connsiteX8439" fmla="*/ 597673 w 4610101"/>
              <a:gd name="connsiteY8439" fmla="*/ 1566100 h 6557032"/>
              <a:gd name="connsiteX8440" fmla="*/ 586741 w 4610101"/>
              <a:gd name="connsiteY8440" fmla="*/ 1584321 h 6557032"/>
              <a:gd name="connsiteX8441" fmla="*/ 597673 w 4610101"/>
              <a:gd name="connsiteY8441" fmla="*/ 1566100 h 6557032"/>
              <a:gd name="connsiteX8442" fmla="*/ 524786 w 4610101"/>
              <a:gd name="connsiteY8442" fmla="*/ 1566100 h 6557032"/>
              <a:gd name="connsiteX8443" fmla="*/ 526609 w 4610101"/>
              <a:gd name="connsiteY8443" fmla="*/ 1578855 h 6557032"/>
              <a:gd name="connsiteX8444" fmla="*/ 524786 w 4610101"/>
              <a:gd name="connsiteY8444" fmla="*/ 1566100 h 6557032"/>
              <a:gd name="connsiteX8445" fmla="*/ 502920 w 4610101"/>
              <a:gd name="connsiteY8445" fmla="*/ 1566100 h 6557032"/>
              <a:gd name="connsiteX8446" fmla="*/ 499275 w 4610101"/>
              <a:gd name="connsiteY8446" fmla="*/ 1573388 h 6557032"/>
              <a:gd name="connsiteX8447" fmla="*/ 500855 w 4610101"/>
              <a:gd name="connsiteY8447" fmla="*/ 1579705 h 6557032"/>
              <a:gd name="connsiteX8448" fmla="*/ 500577 w 4610101"/>
              <a:gd name="connsiteY8448" fmla="*/ 1579636 h 6557032"/>
              <a:gd name="connsiteX8449" fmla="*/ 499959 w 4610101"/>
              <a:gd name="connsiteY8449" fmla="*/ 1578399 h 6557032"/>
              <a:gd name="connsiteX8450" fmla="*/ 497454 w 4610101"/>
              <a:gd name="connsiteY8450" fmla="*/ 1578855 h 6557032"/>
              <a:gd name="connsiteX8451" fmla="*/ 500577 w 4610101"/>
              <a:gd name="connsiteY8451" fmla="*/ 1579636 h 6557032"/>
              <a:gd name="connsiteX8452" fmla="*/ 501098 w 4610101"/>
              <a:gd name="connsiteY8452" fmla="*/ 1580677 h 6557032"/>
              <a:gd name="connsiteX8453" fmla="*/ 500855 w 4610101"/>
              <a:gd name="connsiteY8453" fmla="*/ 1579705 h 6557032"/>
              <a:gd name="connsiteX8454" fmla="*/ 502817 w 4610101"/>
              <a:gd name="connsiteY8454" fmla="*/ 1580195 h 6557032"/>
              <a:gd name="connsiteX8455" fmla="*/ 502694 w 4610101"/>
              <a:gd name="connsiteY8455" fmla="*/ 1581816 h 6557032"/>
              <a:gd name="connsiteX8456" fmla="*/ 505157 w 4610101"/>
              <a:gd name="connsiteY8456" fmla="*/ 1581091 h 6557032"/>
              <a:gd name="connsiteX8457" fmla="*/ 506565 w 4610101"/>
              <a:gd name="connsiteY8457" fmla="*/ 1582499 h 6557032"/>
              <a:gd name="connsiteX8458" fmla="*/ 504743 w 4610101"/>
              <a:gd name="connsiteY8458" fmla="*/ 1584321 h 6557032"/>
              <a:gd name="connsiteX8459" fmla="*/ 508387 w 4610101"/>
              <a:gd name="connsiteY8459" fmla="*/ 1582499 h 6557032"/>
              <a:gd name="connsiteX8460" fmla="*/ 506565 w 4610101"/>
              <a:gd name="connsiteY8460" fmla="*/ 1578855 h 6557032"/>
              <a:gd name="connsiteX8461" fmla="*/ 502920 w 4610101"/>
              <a:gd name="connsiteY8461" fmla="*/ 1566100 h 6557032"/>
              <a:gd name="connsiteX8462" fmla="*/ 3143250 w 4610101"/>
              <a:gd name="connsiteY8462" fmla="*/ 1564278 h 6557032"/>
              <a:gd name="connsiteX8463" fmla="*/ 3141428 w 4610101"/>
              <a:gd name="connsiteY8463" fmla="*/ 1571566 h 6557032"/>
              <a:gd name="connsiteX8464" fmla="*/ 3143250 w 4610101"/>
              <a:gd name="connsiteY8464" fmla="*/ 1564278 h 6557032"/>
              <a:gd name="connsiteX8465" fmla="*/ 3084941 w 4610101"/>
              <a:gd name="connsiteY8465" fmla="*/ 1564278 h 6557032"/>
              <a:gd name="connsiteX8466" fmla="*/ 3099518 w 4610101"/>
              <a:gd name="connsiteY8466" fmla="*/ 1564278 h 6557032"/>
              <a:gd name="connsiteX8467" fmla="*/ 3086763 w 4610101"/>
              <a:gd name="connsiteY8467" fmla="*/ 1577033 h 6557032"/>
              <a:gd name="connsiteX8468" fmla="*/ 3084941 w 4610101"/>
              <a:gd name="connsiteY8468" fmla="*/ 1578855 h 6557032"/>
              <a:gd name="connsiteX8469" fmla="*/ 803383 w 4610101"/>
              <a:gd name="connsiteY8469" fmla="*/ 1562092 h 6557032"/>
              <a:gd name="connsiteX8470" fmla="*/ 803579 w 4610101"/>
              <a:gd name="connsiteY8470" fmla="*/ 1562455 h 6557032"/>
              <a:gd name="connsiteX8471" fmla="*/ 787964 w 4610101"/>
              <a:gd name="connsiteY8471" fmla="*/ 1562455 h 6557032"/>
              <a:gd name="connsiteX8472" fmla="*/ 813902 w 4610101"/>
              <a:gd name="connsiteY8472" fmla="*/ 1561845 h 6557032"/>
              <a:gd name="connsiteX8473" fmla="*/ 814512 w 4610101"/>
              <a:gd name="connsiteY8473" fmla="*/ 1562455 h 6557032"/>
              <a:gd name="connsiteX8474" fmla="*/ 813231 w 4610101"/>
              <a:gd name="connsiteY8474" fmla="*/ 1561861 h 6557032"/>
              <a:gd name="connsiteX8475" fmla="*/ 841845 w 4610101"/>
              <a:gd name="connsiteY8475" fmla="*/ 1560633 h 6557032"/>
              <a:gd name="connsiteX8476" fmla="*/ 838200 w 4610101"/>
              <a:gd name="connsiteY8476" fmla="*/ 1562455 h 6557032"/>
              <a:gd name="connsiteX8477" fmla="*/ 841845 w 4610101"/>
              <a:gd name="connsiteY8477" fmla="*/ 1560633 h 6557032"/>
              <a:gd name="connsiteX8478" fmla="*/ 552119 w 4610101"/>
              <a:gd name="connsiteY8478" fmla="*/ 1560633 h 6557032"/>
              <a:gd name="connsiteX8479" fmla="*/ 552119 w 4610101"/>
              <a:gd name="connsiteY8479" fmla="*/ 1567922 h 6557032"/>
              <a:gd name="connsiteX8480" fmla="*/ 557586 w 4610101"/>
              <a:gd name="connsiteY8480" fmla="*/ 1566100 h 6557032"/>
              <a:gd name="connsiteX8481" fmla="*/ 552119 w 4610101"/>
              <a:gd name="connsiteY8481" fmla="*/ 1560633 h 6557032"/>
              <a:gd name="connsiteX8482" fmla="*/ 349858 w 4610101"/>
              <a:gd name="connsiteY8482" fmla="*/ 1560633 h 6557032"/>
              <a:gd name="connsiteX8483" fmla="*/ 373546 w 4610101"/>
              <a:gd name="connsiteY8483" fmla="*/ 1573388 h 6557032"/>
              <a:gd name="connsiteX8484" fmla="*/ 385871 w 4610101"/>
              <a:gd name="connsiteY8484" fmla="*/ 1578318 h 6557032"/>
              <a:gd name="connsiteX8485" fmla="*/ 360791 w 4610101"/>
              <a:gd name="connsiteY8485" fmla="*/ 1570655 h 6557032"/>
              <a:gd name="connsiteX8486" fmla="*/ 350970 w 4610101"/>
              <a:gd name="connsiteY8486" fmla="*/ 1563126 h 6557032"/>
              <a:gd name="connsiteX8487" fmla="*/ 771882 w 4610101"/>
              <a:gd name="connsiteY8487" fmla="*/ 1560328 h 6557032"/>
              <a:gd name="connsiteX8488" fmla="*/ 774424 w 4610101"/>
              <a:gd name="connsiteY8488" fmla="*/ 1560633 h 6557032"/>
              <a:gd name="connsiteX8489" fmla="*/ 774144 w 4610101"/>
              <a:gd name="connsiteY8489" fmla="*/ 1560873 h 6557032"/>
              <a:gd name="connsiteX8490" fmla="*/ 606700 w 4610101"/>
              <a:gd name="connsiteY8490" fmla="*/ 1559836 h 6557032"/>
              <a:gd name="connsiteX8491" fmla="*/ 612251 w 4610101"/>
              <a:gd name="connsiteY8491" fmla="*/ 1560633 h 6557032"/>
              <a:gd name="connsiteX8492" fmla="*/ 601318 w 4610101"/>
              <a:gd name="connsiteY8492" fmla="*/ 1575211 h 6557032"/>
              <a:gd name="connsiteX8493" fmla="*/ 606700 w 4610101"/>
              <a:gd name="connsiteY8493" fmla="*/ 1559836 h 6557032"/>
              <a:gd name="connsiteX8494" fmla="*/ 1333832 w 4610101"/>
              <a:gd name="connsiteY8494" fmla="*/ 1558811 h 6557032"/>
              <a:gd name="connsiteX8495" fmla="*/ 1333832 w 4610101"/>
              <a:gd name="connsiteY8495" fmla="*/ 1573388 h 6557032"/>
              <a:gd name="connsiteX8496" fmla="*/ 1355698 w 4610101"/>
              <a:gd name="connsiteY8496" fmla="*/ 1558811 h 6557032"/>
              <a:gd name="connsiteX8497" fmla="*/ 453722 w 4610101"/>
              <a:gd name="connsiteY8497" fmla="*/ 1558811 h 6557032"/>
              <a:gd name="connsiteX8498" fmla="*/ 455544 w 4610101"/>
              <a:gd name="connsiteY8498" fmla="*/ 1567922 h 6557032"/>
              <a:gd name="connsiteX8499" fmla="*/ 453722 w 4610101"/>
              <a:gd name="connsiteY8499" fmla="*/ 1558811 h 6557032"/>
              <a:gd name="connsiteX8500" fmla="*/ 3367377 w 4610101"/>
              <a:gd name="connsiteY8500" fmla="*/ 1556990 h 6557032"/>
              <a:gd name="connsiteX8501" fmla="*/ 3360088 w 4610101"/>
              <a:gd name="connsiteY8501" fmla="*/ 1558813 h 6557032"/>
              <a:gd name="connsiteX8502" fmla="*/ 3371021 w 4610101"/>
              <a:gd name="connsiteY8502" fmla="*/ 1567924 h 6557032"/>
              <a:gd name="connsiteX8503" fmla="*/ 3367377 w 4610101"/>
              <a:gd name="connsiteY8503" fmla="*/ 1556990 h 6557032"/>
              <a:gd name="connsiteX8504" fmla="*/ 1266411 w 4610101"/>
              <a:gd name="connsiteY8504" fmla="*/ 1556989 h 6557032"/>
              <a:gd name="connsiteX8505" fmla="*/ 1259123 w 4610101"/>
              <a:gd name="connsiteY8505" fmla="*/ 1578855 h 6557032"/>
              <a:gd name="connsiteX8506" fmla="*/ 1255478 w 4610101"/>
              <a:gd name="connsiteY8506" fmla="*/ 1571566 h 6557032"/>
              <a:gd name="connsiteX8507" fmla="*/ 1250012 w 4610101"/>
              <a:gd name="connsiteY8507" fmla="*/ 1569744 h 6557032"/>
              <a:gd name="connsiteX8508" fmla="*/ 1253656 w 4610101"/>
              <a:gd name="connsiteY8508" fmla="*/ 1569744 h 6557032"/>
              <a:gd name="connsiteX8509" fmla="*/ 1251154 w 4610101"/>
              <a:gd name="connsiteY8509" fmla="*/ 1565991 h 6557032"/>
              <a:gd name="connsiteX8510" fmla="*/ 1251606 w 4610101"/>
              <a:gd name="connsiteY8510" fmla="*/ 1564505 h 6557032"/>
              <a:gd name="connsiteX8511" fmla="*/ 1251663 w 4610101"/>
              <a:gd name="connsiteY8511" fmla="*/ 1563544 h 6557032"/>
              <a:gd name="connsiteX8512" fmla="*/ 758025 w 4610101"/>
              <a:gd name="connsiteY8512" fmla="*/ 1556989 h 6557032"/>
              <a:gd name="connsiteX8513" fmla="*/ 771882 w 4610101"/>
              <a:gd name="connsiteY8513" fmla="*/ 1560328 h 6557032"/>
              <a:gd name="connsiteX8514" fmla="*/ 758607 w 4610101"/>
              <a:gd name="connsiteY8514" fmla="*/ 1558735 h 6557032"/>
              <a:gd name="connsiteX8515" fmla="*/ 696071 w 4610101"/>
              <a:gd name="connsiteY8515" fmla="*/ 1556989 h 6557032"/>
              <a:gd name="connsiteX8516" fmla="*/ 668738 w 4610101"/>
              <a:gd name="connsiteY8516" fmla="*/ 1593432 h 6557032"/>
              <a:gd name="connsiteX8517" fmla="*/ 696071 w 4610101"/>
              <a:gd name="connsiteY8517" fmla="*/ 1556989 h 6557032"/>
              <a:gd name="connsiteX8518" fmla="*/ 465794 w 4610101"/>
              <a:gd name="connsiteY8518" fmla="*/ 1556078 h 6557032"/>
              <a:gd name="connsiteX8519" fmla="*/ 461010 w 4610101"/>
              <a:gd name="connsiteY8519" fmla="*/ 1567922 h 6557032"/>
              <a:gd name="connsiteX8520" fmla="*/ 473766 w 4610101"/>
              <a:gd name="connsiteY8520" fmla="*/ 1571566 h 6557032"/>
              <a:gd name="connsiteX8521" fmla="*/ 470121 w 4610101"/>
              <a:gd name="connsiteY8521" fmla="*/ 1562455 h 6557032"/>
              <a:gd name="connsiteX8522" fmla="*/ 477410 w 4610101"/>
              <a:gd name="connsiteY8522" fmla="*/ 1569744 h 6557032"/>
              <a:gd name="connsiteX8523" fmla="*/ 482876 w 4610101"/>
              <a:gd name="connsiteY8523" fmla="*/ 1560633 h 6557032"/>
              <a:gd name="connsiteX8524" fmla="*/ 465794 w 4610101"/>
              <a:gd name="connsiteY8524" fmla="*/ 1556078 h 6557032"/>
              <a:gd name="connsiteX8525" fmla="*/ 621830 w 4610101"/>
              <a:gd name="connsiteY8525" fmla="*/ 1556051 h 6557032"/>
              <a:gd name="connsiteX8526" fmla="*/ 612251 w 4610101"/>
              <a:gd name="connsiteY8526" fmla="*/ 1575211 h 6557032"/>
              <a:gd name="connsiteX8527" fmla="*/ 618401 w 4610101"/>
              <a:gd name="connsiteY8527" fmla="*/ 1557900 h 6557032"/>
              <a:gd name="connsiteX8528" fmla="*/ 618778 w 4610101"/>
              <a:gd name="connsiteY8528" fmla="*/ 1556533 h 6557032"/>
              <a:gd name="connsiteX8529" fmla="*/ 1074071 w 4610101"/>
              <a:gd name="connsiteY8529" fmla="*/ 1555976 h 6557032"/>
              <a:gd name="connsiteX8530" fmla="*/ 1074627 w 4610101"/>
              <a:gd name="connsiteY8530" fmla="*/ 1556078 h 6557032"/>
              <a:gd name="connsiteX8531" fmla="*/ 1075326 w 4610101"/>
              <a:gd name="connsiteY8531" fmla="*/ 1556392 h 6557032"/>
              <a:gd name="connsiteX8532" fmla="*/ 729729 w 4610101"/>
              <a:gd name="connsiteY8532" fmla="*/ 1555270 h 6557032"/>
              <a:gd name="connsiteX8533" fmla="*/ 758607 w 4610101"/>
              <a:gd name="connsiteY8533" fmla="*/ 1558735 h 6557032"/>
              <a:gd name="connsiteX8534" fmla="*/ 759848 w 4610101"/>
              <a:gd name="connsiteY8534" fmla="*/ 1562455 h 6557032"/>
              <a:gd name="connsiteX8535" fmla="*/ 739803 w 4610101"/>
              <a:gd name="connsiteY8535" fmla="*/ 1556989 h 6557032"/>
              <a:gd name="connsiteX8536" fmla="*/ 728870 w 4610101"/>
              <a:gd name="connsiteY8536" fmla="*/ 1556989 h 6557032"/>
              <a:gd name="connsiteX8537" fmla="*/ 717025 w 4610101"/>
              <a:gd name="connsiteY8537" fmla="*/ 1555252 h 6557032"/>
              <a:gd name="connsiteX8538" fmla="*/ 708826 w 4610101"/>
              <a:gd name="connsiteY8538" fmla="*/ 1577033 h 6557032"/>
              <a:gd name="connsiteX8539" fmla="*/ 710648 w 4610101"/>
              <a:gd name="connsiteY8539" fmla="*/ 1591610 h 6557032"/>
              <a:gd name="connsiteX8540" fmla="*/ 707004 w 4610101"/>
              <a:gd name="connsiteY8540" fmla="*/ 1589788 h 6557032"/>
              <a:gd name="connsiteX8541" fmla="*/ 705182 w 4610101"/>
              <a:gd name="connsiteY8541" fmla="*/ 1606188 h 6557032"/>
              <a:gd name="connsiteX8542" fmla="*/ 721581 w 4610101"/>
              <a:gd name="connsiteY8542" fmla="*/ 1569744 h 6557032"/>
              <a:gd name="connsiteX8543" fmla="*/ 723404 w 4610101"/>
              <a:gd name="connsiteY8543" fmla="*/ 1556989 h 6557032"/>
              <a:gd name="connsiteX8544" fmla="*/ 717025 w 4610101"/>
              <a:gd name="connsiteY8544" fmla="*/ 1555252 h 6557032"/>
              <a:gd name="connsiteX8545" fmla="*/ 573985 w 4610101"/>
              <a:gd name="connsiteY8545" fmla="*/ 1555167 h 6557032"/>
              <a:gd name="connsiteX8546" fmla="*/ 568519 w 4610101"/>
              <a:gd name="connsiteY8546" fmla="*/ 1567922 h 6557032"/>
              <a:gd name="connsiteX8547" fmla="*/ 577630 w 4610101"/>
              <a:gd name="connsiteY8547" fmla="*/ 1556989 h 6557032"/>
              <a:gd name="connsiteX8548" fmla="*/ 573985 w 4610101"/>
              <a:gd name="connsiteY8548" fmla="*/ 1555167 h 6557032"/>
              <a:gd name="connsiteX8549" fmla="*/ 532075 w 4610101"/>
              <a:gd name="connsiteY8549" fmla="*/ 1555167 h 6557032"/>
              <a:gd name="connsiteX8550" fmla="*/ 535719 w 4610101"/>
              <a:gd name="connsiteY8550" fmla="*/ 1562455 h 6557032"/>
              <a:gd name="connsiteX8551" fmla="*/ 532075 w 4610101"/>
              <a:gd name="connsiteY8551" fmla="*/ 1555167 h 6557032"/>
              <a:gd name="connsiteX8552" fmla="*/ 506565 w 4610101"/>
              <a:gd name="connsiteY8552" fmla="*/ 1555167 h 6557032"/>
              <a:gd name="connsiteX8553" fmla="*/ 506565 w 4610101"/>
              <a:gd name="connsiteY8553" fmla="*/ 1560633 h 6557032"/>
              <a:gd name="connsiteX8554" fmla="*/ 506565 w 4610101"/>
              <a:gd name="connsiteY8554" fmla="*/ 1555167 h 6557032"/>
              <a:gd name="connsiteX8555" fmla="*/ 1019371 w 4610101"/>
              <a:gd name="connsiteY8555" fmla="*/ 1554195 h 6557032"/>
              <a:gd name="connsiteX8556" fmla="*/ 1018596 w 4610101"/>
              <a:gd name="connsiteY8556" fmla="*/ 1555167 h 6557032"/>
              <a:gd name="connsiteX8557" fmla="*/ 1027707 w 4610101"/>
              <a:gd name="connsiteY8557" fmla="*/ 1580677 h 6557032"/>
              <a:gd name="connsiteX8558" fmla="*/ 1014951 w 4610101"/>
              <a:gd name="connsiteY8558" fmla="*/ 1556989 h 6557032"/>
              <a:gd name="connsiteX8559" fmla="*/ 1013129 w 4610101"/>
              <a:gd name="connsiteY8559" fmla="*/ 1555167 h 6557032"/>
              <a:gd name="connsiteX8560" fmla="*/ 1016774 w 4610101"/>
              <a:gd name="connsiteY8560" fmla="*/ 1556306 h 6557032"/>
              <a:gd name="connsiteX8561" fmla="*/ 3154184 w 4610101"/>
              <a:gd name="connsiteY8561" fmla="*/ 1553345 h 6557032"/>
              <a:gd name="connsiteX8562" fmla="*/ 3157828 w 4610101"/>
              <a:gd name="connsiteY8562" fmla="*/ 1562455 h 6557032"/>
              <a:gd name="connsiteX8563" fmla="*/ 3154184 w 4610101"/>
              <a:gd name="connsiteY8563" fmla="*/ 1553345 h 6557032"/>
              <a:gd name="connsiteX8564" fmla="*/ 615895 w 4610101"/>
              <a:gd name="connsiteY8564" fmla="*/ 1553345 h 6557032"/>
              <a:gd name="connsiteX8565" fmla="*/ 610429 w 4610101"/>
              <a:gd name="connsiteY8565" fmla="*/ 1556989 h 6557032"/>
              <a:gd name="connsiteX8566" fmla="*/ 615895 w 4610101"/>
              <a:gd name="connsiteY8566" fmla="*/ 1553345 h 6557032"/>
              <a:gd name="connsiteX8567" fmla="*/ 1020063 w 4610101"/>
              <a:gd name="connsiteY8567" fmla="*/ 1553328 h 6557032"/>
              <a:gd name="connsiteX8568" fmla="*/ 1020418 w 4610101"/>
              <a:gd name="connsiteY8568" fmla="*/ 1553345 h 6557032"/>
              <a:gd name="connsiteX8569" fmla="*/ 1019371 w 4610101"/>
              <a:gd name="connsiteY8569" fmla="*/ 1554195 h 6557032"/>
              <a:gd name="connsiteX8570" fmla="*/ 597970 w 4610101"/>
              <a:gd name="connsiteY8570" fmla="*/ 1551839 h 6557032"/>
              <a:gd name="connsiteX8571" fmla="*/ 597673 w 4610101"/>
              <a:gd name="connsiteY8571" fmla="*/ 1554028 h 6557032"/>
              <a:gd name="connsiteX8572" fmla="*/ 595386 w 4610101"/>
              <a:gd name="connsiteY8572" fmla="*/ 1556193 h 6557032"/>
              <a:gd name="connsiteX8573" fmla="*/ 596534 w 4610101"/>
              <a:gd name="connsiteY8573" fmla="*/ 1552433 h 6557032"/>
              <a:gd name="connsiteX8574" fmla="*/ 620096 w 4610101"/>
              <a:gd name="connsiteY8574" fmla="*/ 1551762 h 6557032"/>
              <a:gd name="connsiteX8575" fmla="*/ 618778 w 4610101"/>
              <a:gd name="connsiteY8575" fmla="*/ 1556533 h 6557032"/>
              <a:gd name="connsiteX8576" fmla="*/ 615895 w 4610101"/>
              <a:gd name="connsiteY8576" fmla="*/ 1556989 h 6557032"/>
              <a:gd name="connsiteX8577" fmla="*/ 579452 w 4610101"/>
              <a:gd name="connsiteY8577" fmla="*/ 1551522 h 6557032"/>
              <a:gd name="connsiteX8578" fmla="*/ 575808 w 4610101"/>
              <a:gd name="connsiteY8578" fmla="*/ 1553345 h 6557032"/>
              <a:gd name="connsiteX8579" fmla="*/ 577630 w 4610101"/>
              <a:gd name="connsiteY8579" fmla="*/ 1555167 h 6557032"/>
              <a:gd name="connsiteX8580" fmla="*/ 579452 w 4610101"/>
              <a:gd name="connsiteY8580" fmla="*/ 1551522 h 6557032"/>
              <a:gd name="connsiteX8581" fmla="*/ 601877 w 4610101"/>
              <a:gd name="connsiteY8581" fmla="*/ 1551216 h 6557032"/>
              <a:gd name="connsiteX8582" fmla="*/ 601359 w 4610101"/>
              <a:gd name="connsiteY8582" fmla="*/ 1554873 h 6557032"/>
              <a:gd name="connsiteX8583" fmla="*/ 594030 w 4610101"/>
              <a:gd name="connsiteY8583" fmla="*/ 1560633 h 6557032"/>
              <a:gd name="connsiteX8584" fmla="*/ 725226 w 4610101"/>
              <a:gd name="connsiteY8584" fmla="*/ 1549700 h 6557032"/>
              <a:gd name="connsiteX8585" fmla="*/ 719759 w 4610101"/>
              <a:gd name="connsiteY8585" fmla="*/ 1553345 h 6557032"/>
              <a:gd name="connsiteX8586" fmla="*/ 725226 w 4610101"/>
              <a:gd name="connsiteY8586" fmla="*/ 1553345 h 6557032"/>
              <a:gd name="connsiteX8587" fmla="*/ 725226 w 4610101"/>
              <a:gd name="connsiteY8587" fmla="*/ 1549700 h 6557032"/>
              <a:gd name="connsiteX8588" fmla="*/ 705182 w 4610101"/>
              <a:gd name="connsiteY8588" fmla="*/ 1549700 h 6557032"/>
              <a:gd name="connsiteX8589" fmla="*/ 701537 w 4610101"/>
              <a:gd name="connsiteY8589" fmla="*/ 1551522 h 6557032"/>
              <a:gd name="connsiteX8590" fmla="*/ 705182 w 4610101"/>
              <a:gd name="connsiteY8590" fmla="*/ 1549700 h 6557032"/>
              <a:gd name="connsiteX8591" fmla="*/ 625006 w 4610101"/>
              <a:gd name="connsiteY8591" fmla="*/ 1549700 h 6557032"/>
              <a:gd name="connsiteX8592" fmla="*/ 624686 w 4610101"/>
              <a:gd name="connsiteY8592" fmla="*/ 1555508 h 6557032"/>
              <a:gd name="connsiteX8593" fmla="*/ 624550 w 4610101"/>
              <a:gd name="connsiteY8593" fmla="*/ 1555622 h 6557032"/>
              <a:gd name="connsiteX8594" fmla="*/ 621830 w 4610101"/>
              <a:gd name="connsiteY8594" fmla="*/ 1556051 h 6557032"/>
              <a:gd name="connsiteX8595" fmla="*/ 603140 w 4610101"/>
              <a:gd name="connsiteY8595" fmla="*/ 1549700 h 6557032"/>
              <a:gd name="connsiteX8596" fmla="*/ 601877 w 4610101"/>
              <a:gd name="connsiteY8596" fmla="*/ 1551216 h 6557032"/>
              <a:gd name="connsiteX8597" fmla="*/ 602026 w 4610101"/>
              <a:gd name="connsiteY8597" fmla="*/ 1550161 h 6557032"/>
              <a:gd name="connsiteX8598" fmla="*/ 526609 w 4610101"/>
              <a:gd name="connsiteY8598" fmla="*/ 1549700 h 6557032"/>
              <a:gd name="connsiteX8599" fmla="*/ 530253 w 4610101"/>
              <a:gd name="connsiteY8599" fmla="*/ 1577033 h 6557032"/>
              <a:gd name="connsiteX8600" fmla="*/ 535719 w 4610101"/>
              <a:gd name="connsiteY8600" fmla="*/ 1569744 h 6557032"/>
              <a:gd name="connsiteX8601" fmla="*/ 526609 w 4610101"/>
              <a:gd name="connsiteY8601" fmla="*/ 1549700 h 6557032"/>
              <a:gd name="connsiteX8602" fmla="*/ 512031 w 4610101"/>
              <a:gd name="connsiteY8602" fmla="*/ 1549700 h 6557032"/>
              <a:gd name="connsiteX8603" fmla="*/ 510209 w 4610101"/>
              <a:gd name="connsiteY8603" fmla="*/ 1556989 h 6557032"/>
              <a:gd name="connsiteX8604" fmla="*/ 512031 w 4610101"/>
              <a:gd name="connsiteY8604" fmla="*/ 1549700 h 6557032"/>
              <a:gd name="connsiteX8605" fmla="*/ 468299 w 4610101"/>
              <a:gd name="connsiteY8605" fmla="*/ 1549700 h 6557032"/>
              <a:gd name="connsiteX8606" fmla="*/ 462832 w 4610101"/>
              <a:gd name="connsiteY8606" fmla="*/ 1553345 h 6557032"/>
              <a:gd name="connsiteX8607" fmla="*/ 471943 w 4610101"/>
              <a:gd name="connsiteY8607" fmla="*/ 1553345 h 6557032"/>
              <a:gd name="connsiteX8608" fmla="*/ 468299 w 4610101"/>
              <a:gd name="connsiteY8608" fmla="*/ 1549700 h 6557032"/>
              <a:gd name="connsiteX8609" fmla="*/ 528431 w 4610101"/>
              <a:gd name="connsiteY8609" fmla="*/ 1547878 h 6557032"/>
              <a:gd name="connsiteX8610" fmla="*/ 537542 w 4610101"/>
              <a:gd name="connsiteY8610" fmla="*/ 1556989 h 6557032"/>
              <a:gd name="connsiteX8611" fmla="*/ 528431 w 4610101"/>
              <a:gd name="connsiteY8611" fmla="*/ 1547878 h 6557032"/>
              <a:gd name="connsiteX8612" fmla="*/ 517498 w 4610101"/>
              <a:gd name="connsiteY8612" fmla="*/ 1547878 h 6557032"/>
              <a:gd name="connsiteX8613" fmla="*/ 517498 w 4610101"/>
              <a:gd name="connsiteY8613" fmla="*/ 1567922 h 6557032"/>
              <a:gd name="connsiteX8614" fmla="*/ 517498 w 4610101"/>
              <a:gd name="connsiteY8614" fmla="*/ 1547878 h 6557032"/>
              <a:gd name="connsiteX8615" fmla="*/ 475589 w 4610101"/>
              <a:gd name="connsiteY8615" fmla="*/ 1547878 h 6557032"/>
              <a:gd name="connsiteX8616" fmla="*/ 479232 w 4610101"/>
              <a:gd name="connsiteY8616" fmla="*/ 1555167 h 6557032"/>
              <a:gd name="connsiteX8617" fmla="*/ 475589 w 4610101"/>
              <a:gd name="connsiteY8617" fmla="*/ 1547878 h 6557032"/>
              <a:gd name="connsiteX8618" fmla="*/ 440966 w 4610101"/>
              <a:gd name="connsiteY8618" fmla="*/ 1547878 h 6557032"/>
              <a:gd name="connsiteX8619" fmla="*/ 437322 w 4610101"/>
              <a:gd name="connsiteY8619" fmla="*/ 1551522 h 6557032"/>
              <a:gd name="connsiteX8620" fmla="*/ 440966 w 4610101"/>
              <a:gd name="connsiteY8620" fmla="*/ 1553345 h 6557032"/>
              <a:gd name="connsiteX8621" fmla="*/ 440966 w 4610101"/>
              <a:gd name="connsiteY8621" fmla="*/ 1547878 h 6557032"/>
              <a:gd name="connsiteX8622" fmla="*/ 410218 w 4610101"/>
              <a:gd name="connsiteY8622" fmla="*/ 1547650 h 6557032"/>
              <a:gd name="connsiteX8623" fmla="*/ 406345 w 4610101"/>
              <a:gd name="connsiteY8623" fmla="*/ 1549700 h 6557032"/>
              <a:gd name="connsiteX8624" fmla="*/ 413634 w 4610101"/>
              <a:gd name="connsiteY8624" fmla="*/ 1555167 h 6557032"/>
              <a:gd name="connsiteX8625" fmla="*/ 422745 w 4610101"/>
              <a:gd name="connsiteY8625" fmla="*/ 1553345 h 6557032"/>
              <a:gd name="connsiteX8626" fmla="*/ 406345 w 4610101"/>
              <a:gd name="connsiteY8626" fmla="*/ 1549700 h 6557032"/>
              <a:gd name="connsiteX8627" fmla="*/ 415456 w 4610101"/>
              <a:gd name="connsiteY8627" fmla="*/ 1549700 h 6557032"/>
              <a:gd name="connsiteX8628" fmla="*/ 410218 w 4610101"/>
              <a:gd name="connsiteY8628" fmla="*/ 1547650 h 6557032"/>
              <a:gd name="connsiteX8629" fmla="*/ 696071 w 4610101"/>
              <a:gd name="connsiteY8629" fmla="*/ 1546056 h 6557032"/>
              <a:gd name="connsiteX8630" fmla="*/ 699715 w 4610101"/>
              <a:gd name="connsiteY8630" fmla="*/ 1547878 h 6557032"/>
              <a:gd name="connsiteX8631" fmla="*/ 696071 w 4610101"/>
              <a:gd name="connsiteY8631" fmla="*/ 1546056 h 6557032"/>
              <a:gd name="connsiteX8632" fmla="*/ 497454 w 4610101"/>
              <a:gd name="connsiteY8632" fmla="*/ 1546056 h 6557032"/>
              <a:gd name="connsiteX8633" fmla="*/ 499276 w 4610101"/>
              <a:gd name="connsiteY8633" fmla="*/ 1551522 h 6557032"/>
              <a:gd name="connsiteX8634" fmla="*/ 497454 w 4610101"/>
              <a:gd name="connsiteY8634" fmla="*/ 1546056 h 6557032"/>
              <a:gd name="connsiteX8635" fmla="*/ 482876 w 4610101"/>
              <a:gd name="connsiteY8635" fmla="*/ 1546056 h 6557032"/>
              <a:gd name="connsiteX8636" fmla="*/ 490165 w 4610101"/>
              <a:gd name="connsiteY8636" fmla="*/ 1555167 h 6557032"/>
              <a:gd name="connsiteX8637" fmla="*/ 491987 w 4610101"/>
              <a:gd name="connsiteY8637" fmla="*/ 1549700 h 6557032"/>
              <a:gd name="connsiteX8638" fmla="*/ 482876 w 4610101"/>
              <a:gd name="connsiteY8638" fmla="*/ 1546056 h 6557032"/>
              <a:gd name="connsiteX8639" fmla="*/ 356539 w 4610101"/>
              <a:gd name="connsiteY8639" fmla="*/ 1545448 h 6557032"/>
              <a:gd name="connsiteX8640" fmla="*/ 357544 w 4610101"/>
              <a:gd name="connsiteY8640" fmla="*/ 1546884 h 6557032"/>
              <a:gd name="connsiteX8641" fmla="*/ 356464 w 4610101"/>
              <a:gd name="connsiteY8641" fmla="*/ 1546283 h 6557032"/>
              <a:gd name="connsiteX8642" fmla="*/ 3123206 w 4610101"/>
              <a:gd name="connsiteY8642" fmla="*/ 1544234 h 6557032"/>
              <a:gd name="connsiteX8643" fmla="*/ 3121384 w 4610101"/>
              <a:gd name="connsiteY8643" fmla="*/ 1566100 h 6557032"/>
              <a:gd name="connsiteX8644" fmla="*/ 3115918 w 4610101"/>
              <a:gd name="connsiteY8644" fmla="*/ 1560633 h 6557032"/>
              <a:gd name="connsiteX8645" fmla="*/ 3117740 w 4610101"/>
              <a:gd name="connsiteY8645" fmla="*/ 1567922 h 6557032"/>
              <a:gd name="connsiteX8646" fmla="*/ 3125029 w 4610101"/>
              <a:gd name="connsiteY8646" fmla="*/ 1567922 h 6557032"/>
              <a:gd name="connsiteX8647" fmla="*/ 3137784 w 4610101"/>
              <a:gd name="connsiteY8647" fmla="*/ 1580677 h 6557032"/>
              <a:gd name="connsiteX8648" fmla="*/ 3126851 w 4610101"/>
              <a:gd name="connsiteY8648" fmla="*/ 1598899 h 6557032"/>
              <a:gd name="connsiteX8649" fmla="*/ 3159650 w 4610101"/>
              <a:gd name="connsiteY8649" fmla="*/ 1580677 h 6557032"/>
              <a:gd name="connsiteX8650" fmla="*/ 3156006 w 4610101"/>
              <a:gd name="connsiteY8650" fmla="*/ 1573388 h 6557032"/>
              <a:gd name="connsiteX8651" fmla="*/ 3157828 w 4610101"/>
              <a:gd name="connsiteY8651" fmla="*/ 1578855 h 6557032"/>
              <a:gd name="connsiteX8652" fmla="*/ 3150539 w 4610101"/>
              <a:gd name="connsiteY8652" fmla="*/ 1575211 h 6557032"/>
              <a:gd name="connsiteX8653" fmla="*/ 3150539 w 4610101"/>
              <a:gd name="connsiteY8653" fmla="*/ 1564278 h 6557032"/>
              <a:gd name="connsiteX8654" fmla="*/ 3148717 w 4610101"/>
              <a:gd name="connsiteY8654" fmla="*/ 1573388 h 6557032"/>
              <a:gd name="connsiteX8655" fmla="*/ 3135962 w 4610101"/>
              <a:gd name="connsiteY8655" fmla="*/ 1575211 h 6557032"/>
              <a:gd name="connsiteX8656" fmla="*/ 3123206 w 4610101"/>
              <a:gd name="connsiteY8656" fmla="*/ 1544234 h 6557032"/>
              <a:gd name="connsiteX8657" fmla="*/ 847311 w 4610101"/>
              <a:gd name="connsiteY8657" fmla="*/ 1544234 h 6557032"/>
              <a:gd name="connsiteX8658" fmla="*/ 849133 w 4610101"/>
              <a:gd name="connsiteY8658" fmla="*/ 1558811 h 6557032"/>
              <a:gd name="connsiteX8659" fmla="*/ 850956 w 4610101"/>
              <a:gd name="connsiteY8659" fmla="*/ 1551522 h 6557032"/>
              <a:gd name="connsiteX8660" fmla="*/ 852778 w 4610101"/>
              <a:gd name="connsiteY8660" fmla="*/ 1556989 h 6557032"/>
              <a:gd name="connsiteX8661" fmla="*/ 843667 w 4610101"/>
              <a:gd name="connsiteY8661" fmla="*/ 1562455 h 6557032"/>
              <a:gd name="connsiteX8662" fmla="*/ 860066 w 4610101"/>
              <a:gd name="connsiteY8662" fmla="*/ 1560633 h 6557032"/>
              <a:gd name="connsiteX8663" fmla="*/ 856422 w 4610101"/>
              <a:gd name="connsiteY8663" fmla="*/ 1558811 h 6557032"/>
              <a:gd name="connsiteX8664" fmla="*/ 863711 w 4610101"/>
              <a:gd name="connsiteY8664" fmla="*/ 1558811 h 6557032"/>
              <a:gd name="connsiteX8665" fmla="*/ 847311 w 4610101"/>
              <a:gd name="connsiteY8665" fmla="*/ 1544234 h 6557032"/>
              <a:gd name="connsiteX8666" fmla="*/ 430809 w 4610101"/>
              <a:gd name="connsiteY8666" fmla="*/ 1542917 h 6557032"/>
              <a:gd name="connsiteX8667" fmla="*/ 431856 w 4610101"/>
              <a:gd name="connsiteY8667" fmla="*/ 1544234 h 6557032"/>
              <a:gd name="connsiteX8668" fmla="*/ 431324 w 4610101"/>
              <a:gd name="connsiteY8668" fmla="*/ 1544462 h 6557032"/>
              <a:gd name="connsiteX8669" fmla="*/ 3039387 w 4610101"/>
              <a:gd name="connsiteY8669" fmla="*/ 1542412 h 6557032"/>
              <a:gd name="connsiteX8670" fmla="*/ 3039387 w 4610101"/>
              <a:gd name="connsiteY8670" fmla="*/ 1553345 h 6557032"/>
              <a:gd name="connsiteX8671" fmla="*/ 3039387 w 4610101"/>
              <a:gd name="connsiteY8671" fmla="*/ 1542412 h 6557032"/>
              <a:gd name="connsiteX8672" fmla="*/ 3001121 w 4610101"/>
              <a:gd name="connsiteY8672" fmla="*/ 1542412 h 6557032"/>
              <a:gd name="connsiteX8673" fmla="*/ 3001121 w 4610101"/>
              <a:gd name="connsiteY8673" fmla="*/ 1566100 h 6557032"/>
              <a:gd name="connsiteX8674" fmla="*/ 3021165 w 4610101"/>
              <a:gd name="connsiteY8674" fmla="*/ 1560633 h 6557032"/>
              <a:gd name="connsiteX8675" fmla="*/ 3019343 w 4610101"/>
              <a:gd name="connsiteY8675" fmla="*/ 1555167 h 6557032"/>
              <a:gd name="connsiteX8676" fmla="*/ 3004765 w 4610101"/>
              <a:gd name="connsiteY8676" fmla="*/ 1555167 h 6557032"/>
              <a:gd name="connsiteX8677" fmla="*/ 3012054 w 4610101"/>
              <a:gd name="connsiteY8677" fmla="*/ 1547878 h 6557032"/>
              <a:gd name="connsiteX8678" fmla="*/ 3001121 w 4610101"/>
              <a:gd name="connsiteY8678" fmla="*/ 1542412 h 6557032"/>
              <a:gd name="connsiteX8679" fmla="*/ 789003 w 4610101"/>
              <a:gd name="connsiteY8679" fmla="*/ 1542412 h 6557032"/>
              <a:gd name="connsiteX8680" fmla="*/ 807451 w 4610101"/>
              <a:gd name="connsiteY8680" fmla="*/ 1544461 h 6557032"/>
              <a:gd name="connsiteX8681" fmla="*/ 808769 w 4610101"/>
              <a:gd name="connsiteY8681" fmla="*/ 1543598 h 6557032"/>
              <a:gd name="connsiteX8682" fmla="*/ 799935 w 4610101"/>
              <a:gd name="connsiteY8682" fmla="*/ 1549700 h 6557032"/>
              <a:gd name="connsiteX8683" fmla="*/ 805173 w 4610101"/>
              <a:gd name="connsiteY8683" fmla="*/ 1558128 h 6557032"/>
              <a:gd name="connsiteX8684" fmla="*/ 813231 w 4610101"/>
              <a:gd name="connsiteY8684" fmla="*/ 1561861 h 6557032"/>
              <a:gd name="connsiteX8685" fmla="*/ 803383 w 4610101"/>
              <a:gd name="connsiteY8685" fmla="*/ 1562092 h 6557032"/>
              <a:gd name="connsiteX8686" fmla="*/ 800618 w 4610101"/>
              <a:gd name="connsiteY8686" fmla="*/ 1556989 h 6557032"/>
              <a:gd name="connsiteX8687" fmla="*/ 796290 w 4610101"/>
              <a:gd name="connsiteY8687" fmla="*/ 1551522 h 6557032"/>
              <a:gd name="connsiteX8688" fmla="*/ 781713 w 4610101"/>
              <a:gd name="connsiteY8688" fmla="*/ 1562455 h 6557032"/>
              <a:gd name="connsiteX8689" fmla="*/ 787964 w 4610101"/>
              <a:gd name="connsiteY8689" fmla="*/ 1562455 h 6557032"/>
              <a:gd name="connsiteX8690" fmla="*/ 784304 w 4610101"/>
              <a:gd name="connsiteY8690" fmla="*/ 1562541 h 6557032"/>
              <a:gd name="connsiteX8691" fmla="*/ 756203 w 4610101"/>
              <a:gd name="connsiteY8691" fmla="*/ 1578855 h 6557032"/>
              <a:gd name="connsiteX8692" fmla="*/ 779892 w 4610101"/>
              <a:gd name="connsiteY8692" fmla="*/ 1582499 h 6557032"/>
              <a:gd name="connsiteX8693" fmla="*/ 754380 w 4610101"/>
              <a:gd name="connsiteY8693" fmla="*/ 1584321 h 6557032"/>
              <a:gd name="connsiteX8694" fmla="*/ 741626 w 4610101"/>
              <a:gd name="connsiteY8694" fmla="*/ 1587966 h 6557032"/>
              <a:gd name="connsiteX8695" fmla="*/ 750737 w 4610101"/>
              <a:gd name="connsiteY8695" fmla="*/ 1580677 h 6557032"/>
              <a:gd name="connsiteX8696" fmla="*/ 739803 w 4610101"/>
              <a:gd name="connsiteY8696" fmla="*/ 1577033 h 6557032"/>
              <a:gd name="connsiteX8697" fmla="*/ 758480 w 4610101"/>
              <a:gd name="connsiteY8697" fmla="*/ 1574299 h 6557032"/>
              <a:gd name="connsiteX8698" fmla="*/ 774144 w 4610101"/>
              <a:gd name="connsiteY8698" fmla="*/ 1560873 h 6557032"/>
              <a:gd name="connsiteX8699" fmla="*/ 776930 w 4610101"/>
              <a:gd name="connsiteY8699" fmla="*/ 1561544 h 6557032"/>
              <a:gd name="connsiteX8700" fmla="*/ 794468 w 4610101"/>
              <a:gd name="connsiteY8700" fmla="*/ 1549700 h 6557032"/>
              <a:gd name="connsiteX8701" fmla="*/ 789003 w 4610101"/>
              <a:gd name="connsiteY8701" fmla="*/ 1542412 h 6557032"/>
              <a:gd name="connsiteX8702" fmla="*/ 728870 w 4610101"/>
              <a:gd name="connsiteY8702" fmla="*/ 1542412 h 6557032"/>
              <a:gd name="connsiteX8703" fmla="*/ 719759 w 4610101"/>
              <a:gd name="connsiteY8703" fmla="*/ 1551522 h 6557032"/>
              <a:gd name="connsiteX8704" fmla="*/ 728870 w 4610101"/>
              <a:gd name="connsiteY8704" fmla="*/ 1542412 h 6557032"/>
              <a:gd name="connsiteX8705" fmla="*/ 3377627 w 4610101"/>
              <a:gd name="connsiteY8705" fmla="*/ 1541730 h 6557032"/>
              <a:gd name="connsiteX8706" fmla="*/ 3369199 w 4610101"/>
              <a:gd name="connsiteY8706" fmla="*/ 1547880 h 6557032"/>
              <a:gd name="connsiteX8707" fmla="*/ 3381955 w 4610101"/>
              <a:gd name="connsiteY8707" fmla="*/ 1553346 h 6557032"/>
              <a:gd name="connsiteX8708" fmla="*/ 3383777 w 4610101"/>
              <a:gd name="connsiteY8708" fmla="*/ 1566101 h 6557032"/>
              <a:gd name="connsiteX8709" fmla="*/ 3376488 w 4610101"/>
              <a:gd name="connsiteY8709" fmla="*/ 1560635 h 6557032"/>
              <a:gd name="connsiteX8710" fmla="*/ 3383777 w 4610101"/>
              <a:gd name="connsiteY8710" fmla="*/ 1573390 h 6557032"/>
              <a:gd name="connsiteX8711" fmla="*/ 3385599 w 4610101"/>
              <a:gd name="connsiteY8711" fmla="*/ 1553346 h 6557032"/>
              <a:gd name="connsiteX8712" fmla="*/ 3387421 w 4610101"/>
              <a:gd name="connsiteY8712" fmla="*/ 1547880 h 6557032"/>
              <a:gd name="connsiteX8713" fmla="*/ 3377627 w 4610101"/>
              <a:gd name="connsiteY8713" fmla="*/ 1541730 h 6557032"/>
              <a:gd name="connsiteX8714" fmla="*/ 619539 w 4610101"/>
              <a:gd name="connsiteY8714" fmla="*/ 1540589 h 6557032"/>
              <a:gd name="connsiteX8715" fmla="*/ 619344 w 4610101"/>
              <a:gd name="connsiteY8715" fmla="*/ 1541565 h 6557032"/>
              <a:gd name="connsiteX8716" fmla="*/ 616578 w 4610101"/>
              <a:gd name="connsiteY8716" fmla="*/ 1545600 h 6557032"/>
              <a:gd name="connsiteX8717" fmla="*/ 601318 w 4610101"/>
              <a:gd name="connsiteY8717" fmla="*/ 1555167 h 6557032"/>
              <a:gd name="connsiteX8718" fmla="*/ 601359 w 4610101"/>
              <a:gd name="connsiteY8718" fmla="*/ 1554873 h 6557032"/>
              <a:gd name="connsiteX8719" fmla="*/ 617635 w 4610101"/>
              <a:gd name="connsiteY8719" fmla="*/ 1542085 h 6557032"/>
              <a:gd name="connsiteX8720" fmla="*/ 617717 w 4610101"/>
              <a:gd name="connsiteY8720" fmla="*/ 1542412 h 6557032"/>
              <a:gd name="connsiteX8721" fmla="*/ 617785 w 4610101"/>
              <a:gd name="connsiteY8721" fmla="*/ 1541967 h 6557032"/>
              <a:gd name="connsiteX8722" fmla="*/ 3046675 w 4610101"/>
              <a:gd name="connsiteY8722" fmla="*/ 1538767 h 6557032"/>
              <a:gd name="connsiteX8723" fmla="*/ 3052142 w 4610101"/>
              <a:gd name="connsiteY8723" fmla="*/ 1549700 h 6557032"/>
              <a:gd name="connsiteX8724" fmla="*/ 3055786 w 4610101"/>
              <a:gd name="connsiteY8724" fmla="*/ 1546056 h 6557032"/>
              <a:gd name="connsiteX8725" fmla="*/ 3046675 w 4610101"/>
              <a:gd name="connsiteY8725" fmla="*/ 1538767 h 6557032"/>
              <a:gd name="connsiteX8726" fmla="*/ 723404 w 4610101"/>
              <a:gd name="connsiteY8726" fmla="*/ 1538767 h 6557032"/>
              <a:gd name="connsiteX8727" fmla="*/ 719759 w 4610101"/>
              <a:gd name="connsiteY8727" fmla="*/ 1546056 h 6557032"/>
              <a:gd name="connsiteX8728" fmla="*/ 725226 w 4610101"/>
              <a:gd name="connsiteY8728" fmla="*/ 1544234 h 6557032"/>
              <a:gd name="connsiteX8729" fmla="*/ 721581 w 4610101"/>
              <a:gd name="connsiteY8729" fmla="*/ 1544234 h 6557032"/>
              <a:gd name="connsiteX8730" fmla="*/ 727048 w 4610101"/>
              <a:gd name="connsiteY8730" fmla="*/ 1542412 h 6557032"/>
              <a:gd name="connsiteX8731" fmla="*/ 723404 w 4610101"/>
              <a:gd name="connsiteY8731" fmla="*/ 1538767 h 6557032"/>
              <a:gd name="connsiteX8732" fmla="*/ 539364 w 4610101"/>
              <a:gd name="connsiteY8732" fmla="*/ 1538767 h 6557032"/>
              <a:gd name="connsiteX8733" fmla="*/ 533897 w 4610101"/>
              <a:gd name="connsiteY8733" fmla="*/ 1540589 h 6557032"/>
              <a:gd name="connsiteX8734" fmla="*/ 539364 w 4610101"/>
              <a:gd name="connsiteY8734" fmla="*/ 1538767 h 6557032"/>
              <a:gd name="connsiteX8735" fmla="*/ 1218915 w 4610101"/>
              <a:gd name="connsiteY8735" fmla="*/ 1538646 h 6557032"/>
              <a:gd name="connsiteX8736" fmla="*/ 1218994 w 4610101"/>
              <a:gd name="connsiteY8736" fmla="*/ 1538651 h 6557032"/>
              <a:gd name="connsiteX8737" fmla="*/ 1219036 w 4610101"/>
              <a:gd name="connsiteY8737" fmla="*/ 1538767 h 6557032"/>
              <a:gd name="connsiteX8738" fmla="*/ 4396906 w 4610101"/>
              <a:gd name="connsiteY8738" fmla="*/ 1535216 h 6557032"/>
              <a:gd name="connsiteX8739" fmla="*/ 4396906 w 4610101"/>
              <a:gd name="connsiteY8739" fmla="*/ 1557081 h 6557032"/>
              <a:gd name="connsiteX8740" fmla="*/ 4382328 w 4610101"/>
              <a:gd name="connsiteY8740" fmla="*/ 1557081 h 6557032"/>
              <a:gd name="connsiteX8741" fmla="*/ 4396906 w 4610101"/>
              <a:gd name="connsiteY8741" fmla="*/ 1535216 h 6557032"/>
              <a:gd name="connsiteX8742" fmla="*/ 822903 w 4610101"/>
              <a:gd name="connsiteY8742" fmla="*/ 1534337 h 6557032"/>
              <a:gd name="connsiteX8743" fmla="*/ 808769 w 4610101"/>
              <a:gd name="connsiteY8743" fmla="*/ 1543598 h 6557032"/>
              <a:gd name="connsiteX8744" fmla="*/ 822029 w 4610101"/>
              <a:gd name="connsiteY8744" fmla="*/ 1534439 h 6557032"/>
              <a:gd name="connsiteX8745" fmla="*/ 974863 w 4610101"/>
              <a:gd name="connsiteY8745" fmla="*/ 1533357 h 6557032"/>
              <a:gd name="connsiteX8746" fmla="*/ 993085 w 4610101"/>
              <a:gd name="connsiteY8746" fmla="*/ 1535179 h 6557032"/>
              <a:gd name="connsiteX8747" fmla="*/ 993085 w 4610101"/>
              <a:gd name="connsiteY8747" fmla="*/ 1537001 h 6557032"/>
              <a:gd name="connsiteX8748" fmla="*/ 1007663 w 4610101"/>
              <a:gd name="connsiteY8748" fmla="*/ 1542467 h 6557032"/>
              <a:gd name="connsiteX8749" fmla="*/ 1009487 w 4610101"/>
              <a:gd name="connsiteY8749" fmla="*/ 1546112 h 6557032"/>
              <a:gd name="connsiteX8750" fmla="*/ 974863 w 4610101"/>
              <a:gd name="connsiteY8750" fmla="*/ 1533357 h 6557032"/>
              <a:gd name="connsiteX8751" fmla="*/ 3392888 w 4610101"/>
              <a:gd name="connsiteY8751" fmla="*/ 1533302 h 6557032"/>
              <a:gd name="connsiteX8752" fmla="*/ 3392888 w 4610101"/>
              <a:gd name="connsiteY8752" fmla="*/ 1538769 h 6557032"/>
              <a:gd name="connsiteX8753" fmla="*/ 3396532 w 4610101"/>
              <a:gd name="connsiteY8753" fmla="*/ 1536946 h 6557032"/>
              <a:gd name="connsiteX8754" fmla="*/ 3392888 w 4610101"/>
              <a:gd name="connsiteY8754" fmla="*/ 1533302 h 6557032"/>
              <a:gd name="connsiteX8755" fmla="*/ 1213568 w 4610101"/>
              <a:gd name="connsiteY8755" fmla="*/ 1533301 h 6557032"/>
              <a:gd name="connsiteX8756" fmla="*/ 1218915 w 4610101"/>
              <a:gd name="connsiteY8756" fmla="*/ 1538646 h 6557032"/>
              <a:gd name="connsiteX8757" fmla="*/ 1217212 w 4610101"/>
              <a:gd name="connsiteY8757" fmla="*/ 1538539 h 6557032"/>
              <a:gd name="connsiteX8758" fmla="*/ 1213568 w 4610101"/>
              <a:gd name="connsiteY8758" fmla="*/ 1536945 h 6557032"/>
              <a:gd name="connsiteX8759" fmla="*/ 1213568 w 4610101"/>
              <a:gd name="connsiteY8759" fmla="*/ 1533301 h 6557032"/>
              <a:gd name="connsiteX8760" fmla="*/ 847311 w 4610101"/>
              <a:gd name="connsiteY8760" fmla="*/ 1533301 h 6557032"/>
              <a:gd name="connsiteX8761" fmla="*/ 858244 w 4610101"/>
              <a:gd name="connsiteY8761" fmla="*/ 1551522 h 6557032"/>
              <a:gd name="connsiteX8762" fmla="*/ 847311 w 4610101"/>
              <a:gd name="connsiteY8762" fmla="*/ 1533301 h 6557032"/>
              <a:gd name="connsiteX8763" fmla="*/ 599496 w 4610101"/>
              <a:gd name="connsiteY8763" fmla="*/ 1533301 h 6557032"/>
              <a:gd name="connsiteX8764" fmla="*/ 586741 w 4610101"/>
              <a:gd name="connsiteY8764" fmla="*/ 1553345 h 6557032"/>
              <a:gd name="connsiteX8765" fmla="*/ 599496 w 4610101"/>
              <a:gd name="connsiteY8765" fmla="*/ 1533301 h 6557032"/>
              <a:gd name="connsiteX8766" fmla="*/ 471943 w 4610101"/>
              <a:gd name="connsiteY8766" fmla="*/ 1533301 h 6557032"/>
              <a:gd name="connsiteX8767" fmla="*/ 468299 w 4610101"/>
              <a:gd name="connsiteY8767" fmla="*/ 1536945 h 6557032"/>
              <a:gd name="connsiteX8768" fmla="*/ 471943 w 4610101"/>
              <a:gd name="connsiteY8768" fmla="*/ 1533301 h 6557032"/>
              <a:gd name="connsiteX8769" fmla="*/ 348037 w 4610101"/>
              <a:gd name="connsiteY8769" fmla="*/ 1533301 h 6557032"/>
              <a:gd name="connsiteX8770" fmla="*/ 357146 w 4610101"/>
              <a:gd name="connsiteY8770" fmla="*/ 1538767 h 6557032"/>
              <a:gd name="connsiteX8771" fmla="*/ 356539 w 4610101"/>
              <a:gd name="connsiteY8771" fmla="*/ 1545448 h 6557032"/>
              <a:gd name="connsiteX8772" fmla="*/ 657463 w 4610101"/>
              <a:gd name="connsiteY8772" fmla="*/ 1533215 h 6557032"/>
              <a:gd name="connsiteX8773" fmla="*/ 648694 w 4610101"/>
              <a:gd name="connsiteY8773" fmla="*/ 1538767 h 6557032"/>
              <a:gd name="connsiteX8774" fmla="*/ 645050 w 4610101"/>
              <a:gd name="connsiteY8774" fmla="*/ 1555167 h 6557032"/>
              <a:gd name="connsiteX8775" fmla="*/ 643228 w 4610101"/>
              <a:gd name="connsiteY8775" fmla="*/ 1551522 h 6557032"/>
              <a:gd name="connsiteX8776" fmla="*/ 659627 w 4610101"/>
              <a:gd name="connsiteY8776" fmla="*/ 1602543 h 6557032"/>
              <a:gd name="connsiteX8777" fmla="*/ 643228 w 4610101"/>
              <a:gd name="connsiteY8777" fmla="*/ 1569744 h 6557032"/>
              <a:gd name="connsiteX8778" fmla="*/ 648694 w 4610101"/>
              <a:gd name="connsiteY8778" fmla="*/ 1633520 h 6557032"/>
              <a:gd name="connsiteX8779" fmla="*/ 663272 w 4610101"/>
              <a:gd name="connsiteY8779" fmla="*/ 1606188 h 6557032"/>
              <a:gd name="connsiteX8780" fmla="*/ 659627 w 4610101"/>
              <a:gd name="connsiteY8780" fmla="*/ 1608010 h 6557032"/>
              <a:gd name="connsiteX8781" fmla="*/ 674205 w 4610101"/>
              <a:gd name="connsiteY8781" fmla="*/ 1575211 h 6557032"/>
              <a:gd name="connsiteX8782" fmla="*/ 650516 w 4610101"/>
              <a:gd name="connsiteY8782" fmla="*/ 1578855 h 6557032"/>
              <a:gd name="connsiteX8783" fmla="*/ 688782 w 4610101"/>
              <a:gd name="connsiteY8783" fmla="*/ 1556989 h 6557032"/>
              <a:gd name="connsiteX8784" fmla="*/ 674205 w 4610101"/>
              <a:gd name="connsiteY8784" fmla="*/ 1549700 h 6557032"/>
              <a:gd name="connsiteX8785" fmla="*/ 694249 w 4610101"/>
              <a:gd name="connsiteY8785" fmla="*/ 1551522 h 6557032"/>
              <a:gd name="connsiteX8786" fmla="*/ 685138 w 4610101"/>
              <a:gd name="connsiteY8786" fmla="*/ 1544234 h 6557032"/>
              <a:gd name="connsiteX8787" fmla="*/ 666916 w 4610101"/>
              <a:gd name="connsiteY8787" fmla="*/ 1533984 h 6557032"/>
              <a:gd name="connsiteX8788" fmla="*/ 657463 w 4610101"/>
              <a:gd name="connsiteY8788" fmla="*/ 1533215 h 6557032"/>
              <a:gd name="connsiteX8789" fmla="*/ 834015 w 4610101"/>
              <a:gd name="connsiteY8789" fmla="*/ 1533044 h 6557032"/>
              <a:gd name="connsiteX8790" fmla="*/ 838620 w 4610101"/>
              <a:gd name="connsiteY8790" fmla="*/ 1536804 h 6557032"/>
              <a:gd name="connsiteX8791" fmla="*/ 833662 w 4610101"/>
              <a:gd name="connsiteY8791" fmla="*/ 1533085 h 6557032"/>
              <a:gd name="connsiteX8792" fmla="*/ 422138 w 4610101"/>
              <a:gd name="connsiteY8792" fmla="*/ 1532260 h 6557032"/>
              <a:gd name="connsiteX8793" fmla="*/ 422563 w 4610101"/>
              <a:gd name="connsiteY8793" fmla="*/ 1532754 h 6557032"/>
              <a:gd name="connsiteX8794" fmla="*/ 422745 w 4610101"/>
              <a:gd name="connsiteY8794" fmla="*/ 1533301 h 6557032"/>
              <a:gd name="connsiteX8795" fmla="*/ 652339 w 4610101"/>
              <a:gd name="connsiteY8795" fmla="*/ 1531478 h 6557032"/>
              <a:gd name="connsiteX8796" fmla="*/ 641407 w 4610101"/>
              <a:gd name="connsiteY8796" fmla="*/ 1535123 h 6557032"/>
              <a:gd name="connsiteX8797" fmla="*/ 643228 w 4610101"/>
              <a:gd name="connsiteY8797" fmla="*/ 1540589 h 6557032"/>
              <a:gd name="connsiteX8798" fmla="*/ 652339 w 4610101"/>
              <a:gd name="connsiteY8798" fmla="*/ 1531478 h 6557032"/>
              <a:gd name="connsiteX8799" fmla="*/ 566697 w 4610101"/>
              <a:gd name="connsiteY8799" fmla="*/ 1531478 h 6557032"/>
              <a:gd name="connsiteX8800" fmla="*/ 563052 w 4610101"/>
              <a:gd name="connsiteY8800" fmla="*/ 1562455 h 6557032"/>
              <a:gd name="connsiteX8801" fmla="*/ 573985 w 4610101"/>
              <a:gd name="connsiteY8801" fmla="*/ 1542412 h 6557032"/>
              <a:gd name="connsiteX8802" fmla="*/ 561230 w 4610101"/>
              <a:gd name="connsiteY8802" fmla="*/ 1540589 h 6557032"/>
              <a:gd name="connsiteX8803" fmla="*/ 570341 w 4610101"/>
              <a:gd name="connsiteY8803" fmla="*/ 1538767 h 6557032"/>
              <a:gd name="connsiteX8804" fmla="*/ 566697 w 4610101"/>
              <a:gd name="connsiteY8804" fmla="*/ 1531478 h 6557032"/>
              <a:gd name="connsiteX8805" fmla="*/ 482876 w 4610101"/>
              <a:gd name="connsiteY8805" fmla="*/ 1531478 h 6557032"/>
              <a:gd name="connsiteX8806" fmla="*/ 488343 w 4610101"/>
              <a:gd name="connsiteY8806" fmla="*/ 1538767 h 6557032"/>
              <a:gd name="connsiteX8807" fmla="*/ 482876 w 4610101"/>
              <a:gd name="connsiteY8807" fmla="*/ 1531478 h 6557032"/>
              <a:gd name="connsiteX8808" fmla="*/ 1213568 w 4610101"/>
              <a:gd name="connsiteY8808" fmla="*/ 1529656 h 6557032"/>
              <a:gd name="connsiteX8809" fmla="*/ 1208102 w 4610101"/>
              <a:gd name="connsiteY8809" fmla="*/ 1533301 h 6557032"/>
              <a:gd name="connsiteX8810" fmla="*/ 1213568 w 4610101"/>
              <a:gd name="connsiteY8810" fmla="*/ 1536945 h 6557032"/>
              <a:gd name="connsiteX8811" fmla="*/ 1220858 w 4610101"/>
              <a:gd name="connsiteY8811" fmla="*/ 1549700 h 6557032"/>
              <a:gd name="connsiteX8812" fmla="*/ 1228146 w 4610101"/>
              <a:gd name="connsiteY8812" fmla="*/ 1549700 h 6557032"/>
              <a:gd name="connsiteX8813" fmla="*/ 1226323 w 4610101"/>
              <a:gd name="connsiteY8813" fmla="*/ 1553345 h 6557032"/>
              <a:gd name="connsiteX8814" fmla="*/ 1231790 w 4610101"/>
              <a:gd name="connsiteY8814" fmla="*/ 1564278 h 6557032"/>
              <a:gd name="connsiteX8815" fmla="*/ 1235434 w 4610101"/>
              <a:gd name="connsiteY8815" fmla="*/ 1564278 h 6557032"/>
              <a:gd name="connsiteX8816" fmla="*/ 1235434 w 4610101"/>
              <a:gd name="connsiteY8816" fmla="*/ 1569744 h 6557032"/>
              <a:gd name="connsiteX8817" fmla="*/ 1242723 w 4610101"/>
              <a:gd name="connsiteY8817" fmla="*/ 1577033 h 6557032"/>
              <a:gd name="connsiteX8818" fmla="*/ 1235434 w 4610101"/>
              <a:gd name="connsiteY8818" fmla="*/ 1564278 h 6557032"/>
              <a:gd name="connsiteX8819" fmla="*/ 1228146 w 4610101"/>
              <a:gd name="connsiteY8819" fmla="*/ 1549700 h 6557032"/>
              <a:gd name="connsiteX8820" fmla="*/ 1220858 w 4610101"/>
              <a:gd name="connsiteY8820" fmla="*/ 1538767 h 6557032"/>
              <a:gd name="connsiteX8821" fmla="*/ 1218994 w 4610101"/>
              <a:gd name="connsiteY8821" fmla="*/ 1538651 h 6557032"/>
              <a:gd name="connsiteX8822" fmla="*/ 1217668 w 4610101"/>
              <a:gd name="connsiteY8822" fmla="*/ 1534895 h 6557032"/>
              <a:gd name="connsiteX8823" fmla="*/ 1213568 w 4610101"/>
              <a:gd name="connsiteY8823" fmla="*/ 1529656 h 6557032"/>
              <a:gd name="connsiteX8824" fmla="*/ 490644 w 4610101"/>
              <a:gd name="connsiteY8824" fmla="*/ 1529368 h 6557032"/>
              <a:gd name="connsiteX8825" fmla="*/ 488343 w 4610101"/>
              <a:gd name="connsiteY8825" fmla="*/ 1535123 h 6557032"/>
              <a:gd name="connsiteX8826" fmla="*/ 488798 w 4610101"/>
              <a:gd name="connsiteY8826" fmla="*/ 1531478 h 6557032"/>
              <a:gd name="connsiteX8827" fmla="*/ 561230 w 4610101"/>
              <a:gd name="connsiteY8827" fmla="*/ 1527834 h 6557032"/>
              <a:gd name="connsiteX8828" fmla="*/ 557586 w 4610101"/>
              <a:gd name="connsiteY8828" fmla="*/ 1533301 h 6557032"/>
              <a:gd name="connsiteX8829" fmla="*/ 548475 w 4610101"/>
              <a:gd name="connsiteY8829" fmla="*/ 1535123 h 6557032"/>
              <a:gd name="connsiteX8830" fmla="*/ 552119 w 4610101"/>
              <a:gd name="connsiteY8830" fmla="*/ 1544234 h 6557032"/>
              <a:gd name="connsiteX8831" fmla="*/ 559408 w 4610101"/>
              <a:gd name="connsiteY8831" fmla="*/ 1533301 h 6557032"/>
              <a:gd name="connsiteX8832" fmla="*/ 561230 w 4610101"/>
              <a:gd name="connsiteY8832" fmla="*/ 1536945 h 6557032"/>
              <a:gd name="connsiteX8833" fmla="*/ 561230 w 4610101"/>
              <a:gd name="connsiteY8833" fmla="*/ 1527834 h 6557032"/>
              <a:gd name="connsiteX8834" fmla="*/ 530253 w 4610101"/>
              <a:gd name="connsiteY8834" fmla="*/ 1527834 h 6557032"/>
              <a:gd name="connsiteX8835" fmla="*/ 528431 w 4610101"/>
              <a:gd name="connsiteY8835" fmla="*/ 1538767 h 6557032"/>
              <a:gd name="connsiteX8836" fmla="*/ 541186 w 4610101"/>
              <a:gd name="connsiteY8836" fmla="*/ 1533301 h 6557032"/>
              <a:gd name="connsiteX8837" fmla="*/ 532075 w 4610101"/>
              <a:gd name="connsiteY8837" fmla="*/ 1535123 h 6557032"/>
              <a:gd name="connsiteX8838" fmla="*/ 533897 w 4610101"/>
              <a:gd name="connsiteY8838" fmla="*/ 1531478 h 6557032"/>
              <a:gd name="connsiteX8839" fmla="*/ 530253 w 4610101"/>
              <a:gd name="connsiteY8839" fmla="*/ 1527834 h 6557032"/>
              <a:gd name="connsiteX8840" fmla="*/ 510209 w 4610101"/>
              <a:gd name="connsiteY8840" fmla="*/ 1527834 h 6557032"/>
              <a:gd name="connsiteX8841" fmla="*/ 504743 w 4610101"/>
              <a:gd name="connsiteY8841" fmla="*/ 1533301 h 6557032"/>
              <a:gd name="connsiteX8842" fmla="*/ 510209 w 4610101"/>
              <a:gd name="connsiteY8842" fmla="*/ 1527834 h 6557032"/>
              <a:gd name="connsiteX8843" fmla="*/ 491324 w 4610101"/>
              <a:gd name="connsiteY8843" fmla="*/ 1527668 h 6557032"/>
              <a:gd name="connsiteX8844" fmla="*/ 491766 w 4610101"/>
              <a:gd name="connsiteY8844" fmla="*/ 1527779 h 6557032"/>
              <a:gd name="connsiteX8845" fmla="*/ 491721 w 4610101"/>
              <a:gd name="connsiteY8845" fmla="*/ 1528138 h 6557032"/>
              <a:gd name="connsiteX8846" fmla="*/ 490644 w 4610101"/>
              <a:gd name="connsiteY8846" fmla="*/ 1529368 h 6557032"/>
              <a:gd name="connsiteX8847" fmla="*/ 572391 w 4610101"/>
              <a:gd name="connsiteY8847" fmla="*/ 1526695 h 6557032"/>
              <a:gd name="connsiteX8848" fmla="*/ 572163 w 4610101"/>
              <a:gd name="connsiteY8848" fmla="*/ 1529656 h 6557032"/>
              <a:gd name="connsiteX8849" fmla="*/ 573985 w 4610101"/>
              <a:gd name="connsiteY8849" fmla="*/ 1527834 h 6557032"/>
              <a:gd name="connsiteX8850" fmla="*/ 572391 w 4610101"/>
              <a:gd name="connsiteY8850" fmla="*/ 1526695 h 6557032"/>
              <a:gd name="connsiteX8851" fmla="*/ 1204457 w 4610101"/>
              <a:gd name="connsiteY8851" fmla="*/ 1526012 h 6557032"/>
              <a:gd name="connsiteX8852" fmla="*/ 1208102 w 4610101"/>
              <a:gd name="connsiteY8852" fmla="*/ 1531478 h 6557032"/>
              <a:gd name="connsiteX8853" fmla="*/ 1211747 w 4610101"/>
              <a:gd name="connsiteY8853" fmla="*/ 1529656 h 6557032"/>
              <a:gd name="connsiteX8854" fmla="*/ 1204457 w 4610101"/>
              <a:gd name="connsiteY8854" fmla="*/ 1526012 h 6557032"/>
              <a:gd name="connsiteX8855" fmla="*/ 539364 w 4610101"/>
              <a:gd name="connsiteY8855" fmla="*/ 1526012 h 6557032"/>
              <a:gd name="connsiteX8856" fmla="*/ 539364 w 4610101"/>
              <a:gd name="connsiteY8856" fmla="*/ 1531478 h 6557032"/>
              <a:gd name="connsiteX8857" fmla="*/ 539364 w 4610101"/>
              <a:gd name="connsiteY8857" fmla="*/ 1526012 h 6557032"/>
              <a:gd name="connsiteX8858" fmla="*/ 484700 w 4610101"/>
              <a:gd name="connsiteY8858" fmla="*/ 1526012 h 6557032"/>
              <a:gd name="connsiteX8859" fmla="*/ 490165 w 4610101"/>
              <a:gd name="connsiteY8859" fmla="*/ 1540589 h 6557032"/>
              <a:gd name="connsiteX8860" fmla="*/ 491721 w 4610101"/>
              <a:gd name="connsiteY8860" fmla="*/ 1528138 h 6557032"/>
              <a:gd name="connsiteX8861" fmla="*/ 491987 w 4610101"/>
              <a:gd name="connsiteY8861" fmla="*/ 1527834 h 6557032"/>
              <a:gd name="connsiteX8862" fmla="*/ 491766 w 4610101"/>
              <a:gd name="connsiteY8862" fmla="*/ 1527779 h 6557032"/>
              <a:gd name="connsiteX8863" fmla="*/ 491987 w 4610101"/>
              <a:gd name="connsiteY8863" fmla="*/ 1526012 h 6557032"/>
              <a:gd name="connsiteX8864" fmla="*/ 491324 w 4610101"/>
              <a:gd name="connsiteY8864" fmla="*/ 1527668 h 6557032"/>
              <a:gd name="connsiteX8865" fmla="*/ 1087838 w 4610101"/>
              <a:gd name="connsiteY8865" fmla="*/ 1524273 h 6557032"/>
              <a:gd name="connsiteX8866" fmla="*/ 1087838 w 4610101"/>
              <a:gd name="connsiteY8866" fmla="*/ 1526012 h 6557032"/>
              <a:gd name="connsiteX8867" fmla="*/ 1085260 w 4610101"/>
              <a:gd name="connsiteY8867" fmla="*/ 1524390 h 6557032"/>
              <a:gd name="connsiteX8868" fmla="*/ 1084265 w 4610101"/>
              <a:gd name="connsiteY8868" fmla="*/ 1523764 h 6557032"/>
              <a:gd name="connsiteX8869" fmla="*/ 1085260 w 4610101"/>
              <a:gd name="connsiteY8869" fmla="*/ 1524390 h 6557032"/>
              <a:gd name="connsiteX8870" fmla="*/ 1084649 w 4610101"/>
              <a:gd name="connsiteY8870" fmla="*/ 1524417 h 6557032"/>
              <a:gd name="connsiteX8871" fmla="*/ 1087838 w 4610101"/>
              <a:gd name="connsiteY8871" fmla="*/ 1523068 h 6557032"/>
              <a:gd name="connsiteX8872" fmla="*/ 1089660 w 4610101"/>
              <a:gd name="connsiteY8872" fmla="*/ 1524190 h 6557032"/>
              <a:gd name="connsiteX8873" fmla="*/ 1087838 w 4610101"/>
              <a:gd name="connsiteY8873" fmla="*/ 1524273 h 6557032"/>
              <a:gd name="connsiteX8874" fmla="*/ 439145 w 4610101"/>
              <a:gd name="connsiteY8874" fmla="*/ 1522368 h 6557032"/>
              <a:gd name="connsiteX8875" fmla="*/ 440966 w 4610101"/>
              <a:gd name="connsiteY8875" fmla="*/ 1531478 h 6557032"/>
              <a:gd name="connsiteX8876" fmla="*/ 439145 w 4610101"/>
              <a:gd name="connsiteY8876" fmla="*/ 1522368 h 6557032"/>
              <a:gd name="connsiteX8877" fmla="*/ 535720 w 4610101"/>
              <a:gd name="connsiteY8877" fmla="*/ 1521912 h 6557032"/>
              <a:gd name="connsiteX8878" fmla="*/ 532075 w 4610101"/>
              <a:gd name="connsiteY8878" fmla="*/ 1524190 h 6557032"/>
              <a:gd name="connsiteX8879" fmla="*/ 539364 w 4610101"/>
              <a:gd name="connsiteY8879" fmla="*/ 1522368 h 6557032"/>
              <a:gd name="connsiteX8880" fmla="*/ 535720 w 4610101"/>
              <a:gd name="connsiteY8880" fmla="*/ 1521912 h 6557032"/>
              <a:gd name="connsiteX8881" fmla="*/ 3323646 w 4610101"/>
              <a:gd name="connsiteY8881" fmla="*/ 1521326 h 6557032"/>
              <a:gd name="connsiteX8882" fmla="*/ 3323646 w 4610101"/>
              <a:gd name="connsiteY8882" fmla="*/ 1522368 h 6557032"/>
              <a:gd name="connsiteX8883" fmla="*/ 3321824 w 4610101"/>
              <a:gd name="connsiteY8883" fmla="*/ 1524190 h 6557032"/>
              <a:gd name="connsiteX8884" fmla="*/ 3322407 w 4610101"/>
              <a:gd name="connsiteY8884" fmla="*/ 1521857 h 6557032"/>
              <a:gd name="connsiteX8885" fmla="*/ 641407 w 4610101"/>
              <a:gd name="connsiteY8885" fmla="*/ 1520545 h 6557032"/>
              <a:gd name="connsiteX8886" fmla="*/ 646872 w 4610101"/>
              <a:gd name="connsiteY8886" fmla="*/ 1520545 h 6557032"/>
              <a:gd name="connsiteX8887" fmla="*/ 641407 w 4610101"/>
              <a:gd name="connsiteY8887" fmla="*/ 1520545 h 6557032"/>
              <a:gd name="connsiteX8888" fmla="*/ 637761 w 4610101"/>
              <a:gd name="connsiteY8888" fmla="*/ 1520545 h 6557032"/>
              <a:gd name="connsiteX8889" fmla="*/ 634117 w 4610101"/>
              <a:gd name="connsiteY8889" fmla="*/ 1524190 h 6557032"/>
              <a:gd name="connsiteX8890" fmla="*/ 639583 w 4610101"/>
              <a:gd name="connsiteY8890" fmla="*/ 1524190 h 6557032"/>
              <a:gd name="connsiteX8891" fmla="*/ 637761 w 4610101"/>
              <a:gd name="connsiteY8891" fmla="*/ 1520545 h 6557032"/>
              <a:gd name="connsiteX8892" fmla="*/ 3863009 w 4610101"/>
              <a:gd name="connsiteY8892" fmla="*/ 1518838 h 6557032"/>
              <a:gd name="connsiteX8893" fmla="*/ 3892164 w 4610101"/>
              <a:gd name="connsiteY8893" fmla="*/ 1542526 h 6557032"/>
              <a:gd name="connsiteX8894" fmla="*/ 3870298 w 4610101"/>
              <a:gd name="connsiteY8894" fmla="*/ 1549814 h 6557032"/>
              <a:gd name="connsiteX8895" fmla="*/ 3148717 w 4610101"/>
              <a:gd name="connsiteY8895" fmla="*/ 1518723 h 6557032"/>
              <a:gd name="connsiteX8896" fmla="*/ 3145073 w 4610101"/>
              <a:gd name="connsiteY8896" fmla="*/ 1524190 h 6557032"/>
              <a:gd name="connsiteX8897" fmla="*/ 3131179 w 4610101"/>
              <a:gd name="connsiteY8897" fmla="*/ 1523051 h 6557032"/>
              <a:gd name="connsiteX8898" fmla="*/ 3120573 w 4610101"/>
              <a:gd name="connsiteY8898" fmla="*/ 1525109 h 6557032"/>
              <a:gd name="connsiteX8899" fmla="*/ 3119562 w 4610101"/>
              <a:gd name="connsiteY8899" fmla="*/ 1524190 h 6557032"/>
              <a:gd name="connsiteX8900" fmla="*/ 3119911 w 4610101"/>
              <a:gd name="connsiteY8900" fmla="*/ 1525237 h 6557032"/>
              <a:gd name="connsiteX8901" fmla="*/ 3115918 w 4610101"/>
              <a:gd name="connsiteY8901" fmla="*/ 1526012 h 6557032"/>
              <a:gd name="connsiteX8902" fmla="*/ 3114096 w 4610101"/>
              <a:gd name="connsiteY8902" fmla="*/ 1533301 h 6557032"/>
              <a:gd name="connsiteX8903" fmla="*/ 3095874 w 4610101"/>
              <a:gd name="connsiteY8903" fmla="*/ 1533301 h 6557032"/>
              <a:gd name="connsiteX8904" fmla="*/ 3097696 w 4610101"/>
              <a:gd name="connsiteY8904" fmla="*/ 1553345 h 6557032"/>
              <a:gd name="connsiteX8905" fmla="*/ 3092230 w 4610101"/>
              <a:gd name="connsiteY8905" fmla="*/ 1538767 h 6557032"/>
              <a:gd name="connsiteX8906" fmla="*/ 3084941 w 4610101"/>
              <a:gd name="connsiteY8906" fmla="*/ 1549700 h 6557032"/>
              <a:gd name="connsiteX8907" fmla="*/ 3079474 w 4610101"/>
              <a:gd name="connsiteY8907" fmla="*/ 1529656 h 6557032"/>
              <a:gd name="connsiteX8908" fmla="*/ 3081297 w 4610101"/>
              <a:gd name="connsiteY8908" fmla="*/ 1549700 h 6557032"/>
              <a:gd name="connsiteX8909" fmla="*/ 3077652 w 4610101"/>
              <a:gd name="connsiteY8909" fmla="*/ 1555167 h 6557032"/>
              <a:gd name="connsiteX8910" fmla="*/ 3061253 w 4610101"/>
              <a:gd name="connsiteY8910" fmla="*/ 1540589 h 6557032"/>
              <a:gd name="connsiteX8911" fmla="*/ 3063075 w 4610101"/>
              <a:gd name="connsiteY8911" fmla="*/ 1546056 h 6557032"/>
              <a:gd name="connsiteX8912" fmla="*/ 3057608 w 4610101"/>
              <a:gd name="connsiteY8912" fmla="*/ 1542412 h 6557032"/>
              <a:gd name="connsiteX8913" fmla="*/ 3061253 w 4610101"/>
              <a:gd name="connsiteY8913" fmla="*/ 1556989 h 6557032"/>
              <a:gd name="connsiteX8914" fmla="*/ 3035742 w 4610101"/>
              <a:gd name="connsiteY8914" fmla="*/ 1564278 h 6557032"/>
              <a:gd name="connsiteX8915" fmla="*/ 3066719 w 4610101"/>
              <a:gd name="connsiteY8915" fmla="*/ 1598899 h 6557032"/>
              <a:gd name="connsiteX8916" fmla="*/ 3072186 w 4610101"/>
              <a:gd name="connsiteY8916" fmla="*/ 1595255 h 6557032"/>
              <a:gd name="connsiteX8917" fmla="*/ 3074008 w 4610101"/>
              <a:gd name="connsiteY8917" fmla="*/ 1598899 h 6557032"/>
              <a:gd name="connsiteX8918" fmla="*/ 3075830 w 4610101"/>
              <a:gd name="connsiteY8918" fmla="*/ 1598899 h 6557032"/>
              <a:gd name="connsiteX8919" fmla="*/ 3079474 w 4610101"/>
              <a:gd name="connsiteY8919" fmla="*/ 1606188 h 6557032"/>
              <a:gd name="connsiteX8920" fmla="*/ 3079474 w 4610101"/>
              <a:gd name="connsiteY8920" fmla="*/ 1597077 h 6557032"/>
              <a:gd name="connsiteX8921" fmla="*/ 3075830 w 4610101"/>
              <a:gd name="connsiteY8921" fmla="*/ 1598899 h 6557032"/>
              <a:gd name="connsiteX8922" fmla="*/ 3088585 w 4610101"/>
              <a:gd name="connsiteY8922" fmla="*/ 1593432 h 6557032"/>
              <a:gd name="connsiteX8923" fmla="*/ 3086763 w 4610101"/>
              <a:gd name="connsiteY8923" fmla="*/ 1577033 h 6557032"/>
              <a:gd name="connsiteX8924" fmla="*/ 3095874 w 4610101"/>
              <a:gd name="connsiteY8924" fmla="*/ 1573388 h 6557032"/>
              <a:gd name="connsiteX8925" fmla="*/ 3114096 w 4610101"/>
              <a:gd name="connsiteY8925" fmla="*/ 1549700 h 6557032"/>
              <a:gd name="connsiteX8926" fmla="*/ 3110451 w 4610101"/>
              <a:gd name="connsiteY8926" fmla="*/ 1551522 h 6557032"/>
              <a:gd name="connsiteX8927" fmla="*/ 3108629 w 4610101"/>
              <a:gd name="connsiteY8927" fmla="*/ 1544234 h 6557032"/>
              <a:gd name="connsiteX8928" fmla="*/ 3112274 w 4610101"/>
              <a:gd name="connsiteY8928" fmla="*/ 1547878 h 6557032"/>
              <a:gd name="connsiteX8929" fmla="*/ 3112274 w 4610101"/>
              <a:gd name="connsiteY8929" fmla="*/ 1535123 h 6557032"/>
              <a:gd name="connsiteX8930" fmla="*/ 3117740 w 4610101"/>
              <a:gd name="connsiteY8930" fmla="*/ 1535123 h 6557032"/>
              <a:gd name="connsiteX8931" fmla="*/ 3117740 w 4610101"/>
              <a:gd name="connsiteY8931" fmla="*/ 1546056 h 6557032"/>
              <a:gd name="connsiteX8932" fmla="*/ 3125029 w 4610101"/>
              <a:gd name="connsiteY8932" fmla="*/ 1540589 h 6557032"/>
              <a:gd name="connsiteX8933" fmla="*/ 3119911 w 4610101"/>
              <a:gd name="connsiteY8933" fmla="*/ 1525237 h 6557032"/>
              <a:gd name="connsiteX8934" fmla="*/ 3120573 w 4610101"/>
              <a:gd name="connsiteY8934" fmla="*/ 1525109 h 6557032"/>
              <a:gd name="connsiteX8935" fmla="*/ 3139606 w 4610101"/>
              <a:gd name="connsiteY8935" fmla="*/ 1542412 h 6557032"/>
              <a:gd name="connsiteX8936" fmla="*/ 3139606 w 4610101"/>
              <a:gd name="connsiteY8936" fmla="*/ 1556989 h 6557032"/>
              <a:gd name="connsiteX8937" fmla="*/ 3152361 w 4610101"/>
              <a:gd name="connsiteY8937" fmla="*/ 1542412 h 6557032"/>
              <a:gd name="connsiteX8938" fmla="*/ 3154184 w 4610101"/>
              <a:gd name="connsiteY8938" fmla="*/ 1549700 h 6557032"/>
              <a:gd name="connsiteX8939" fmla="*/ 3157828 w 4610101"/>
              <a:gd name="connsiteY8939" fmla="*/ 1549700 h 6557032"/>
              <a:gd name="connsiteX8940" fmla="*/ 3156006 w 4610101"/>
              <a:gd name="connsiteY8940" fmla="*/ 1542412 h 6557032"/>
              <a:gd name="connsiteX8941" fmla="*/ 3163294 w 4610101"/>
              <a:gd name="connsiteY8941" fmla="*/ 1544234 h 6557032"/>
              <a:gd name="connsiteX8942" fmla="*/ 3161472 w 4610101"/>
              <a:gd name="connsiteY8942" fmla="*/ 1551522 h 6557032"/>
              <a:gd name="connsiteX8943" fmla="*/ 3176050 w 4610101"/>
              <a:gd name="connsiteY8943" fmla="*/ 1564278 h 6557032"/>
              <a:gd name="connsiteX8944" fmla="*/ 3176050 w 4610101"/>
              <a:gd name="connsiteY8944" fmla="*/ 1535123 h 6557032"/>
              <a:gd name="connsiteX8945" fmla="*/ 3190627 w 4610101"/>
              <a:gd name="connsiteY8945" fmla="*/ 1535123 h 6557032"/>
              <a:gd name="connsiteX8946" fmla="*/ 3181516 w 4610101"/>
              <a:gd name="connsiteY8946" fmla="*/ 1524190 h 6557032"/>
              <a:gd name="connsiteX8947" fmla="*/ 3177872 w 4610101"/>
              <a:gd name="connsiteY8947" fmla="*/ 1531478 h 6557032"/>
              <a:gd name="connsiteX8948" fmla="*/ 3166939 w 4610101"/>
              <a:gd name="connsiteY8948" fmla="*/ 1518723 h 6557032"/>
              <a:gd name="connsiteX8949" fmla="*/ 3165116 w 4610101"/>
              <a:gd name="connsiteY8949" fmla="*/ 1529656 h 6557032"/>
              <a:gd name="connsiteX8950" fmla="*/ 3148717 w 4610101"/>
              <a:gd name="connsiteY8950" fmla="*/ 1518723 h 6557032"/>
              <a:gd name="connsiteX8951" fmla="*/ 3050319 w 4610101"/>
              <a:gd name="connsiteY8951" fmla="*/ 1518723 h 6557032"/>
              <a:gd name="connsiteX8952" fmla="*/ 3052142 w 4610101"/>
              <a:gd name="connsiteY8952" fmla="*/ 1526012 h 6557032"/>
              <a:gd name="connsiteX8953" fmla="*/ 3050319 w 4610101"/>
              <a:gd name="connsiteY8953" fmla="*/ 1518723 h 6557032"/>
              <a:gd name="connsiteX8954" fmla="*/ 852778 w 4610101"/>
              <a:gd name="connsiteY8954" fmla="*/ 1518723 h 6557032"/>
              <a:gd name="connsiteX8955" fmla="*/ 854599 w 4610101"/>
              <a:gd name="connsiteY8955" fmla="*/ 1520544 h 6557032"/>
              <a:gd name="connsiteX8956" fmla="*/ 853044 w 4610101"/>
              <a:gd name="connsiteY8956" fmla="*/ 1519923 h 6557032"/>
              <a:gd name="connsiteX8957" fmla="*/ 677849 w 4610101"/>
              <a:gd name="connsiteY8957" fmla="*/ 1518723 h 6557032"/>
              <a:gd name="connsiteX8958" fmla="*/ 661449 w 4610101"/>
              <a:gd name="connsiteY8958" fmla="*/ 1529656 h 6557032"/>
              <a:gd name="connsiteX8959" fmla="*/ 688782 w 4610101"/>
              <a:gd name="connsiteY8959" fmla="*/ 1540589 h 6557032"/>
              <a:gd name="connsiteX8960" fmla="*/ 677849 w 4610101"/>
              <a:gd name="connsiteY8960" fmla="*/ 1518723 h 6557032"/>
              <a:gd name="connsiteX8961" fmla="*/ 590385 w 4610101"/>
              <a:gd name="connsiteY8961" fmla="*/ 1518723 h 6557032"/>
              <a:gd name="connsiteX8962" fmla="*/ 586741 w 4610101"/>
              <a:gd name="connsiteY8962" fmla="*/ 1533301 h 6557032"/>
              <a:gd name="connsiteX8963" fmla="*/ 594030 w 4610101"/>
              <a:gd name="connsiteY8963" fmla="*/ 1520545 h 6557032"/>
              <a:gd name="connsiteX8964" fmla="*/ 590385 w 4610101"/>
              <a:gd name="connsiteY8964" fmla="*/ 1518723 h 6557032"/>
              <a:gd name="connsiteX8965" fmla="*/ 499276 w 4610101"/>
              <a:gd name="connsiteY8965" fmla="*/ 1518723 h 6557032"/>
              <a:gd name="connsiteX8966" fmla="*/ 497454 w 4610101"/>
              <a:gd name="connsiteY8966" fmla="*/ 1538767 h 6557032"/>
              <a:gd name="connsiteX8967" fmla="*/ 499276 w 4610101"/>
              <a:gd name="connsiteY8967" fmla="*/ 1518723 h 6557032"/>
              <a:gd name="connsiteX8968" fmla="*/ 431856 w 4610101"/>
              <a:gd name="connsiteY8968" fmla="*/ 1518723 h 6557032"/>
              <a:gd name="connsiteX8969" fmla="*/ 432003 w 4610101"/>
              <a:gd name="connsiteY8969" fmla="*/ 1518903 h 6557032"/>
              <a:gd name="connsiteX8970" fmla="*/ 432310 w 4610101"/>
              <a:gd name="connsiteY8970" fmla="*/ 1519781 h 6557032"/>
              <a:gd name="connsiteX8971" fmla="*/ 408167 w 4610101"/>
              <a:gd name="connsiteY8971" fmla="*/ 1518723 h 6557032"/>
              <a:gd name="connsiteX8972" fmla="*/ 409290 w 4610101"/>
              <a:gd name="connsiteY8972" fmla="*/ 1519003 h 6557032"/>
              <a:gd name="connsiteX8973" fmla="*/ 408092 w 4610101"/>
              <a:gd name="connsiteY8973" fmla="*/ 1518889 h 6557032"/>
              <a:gd name="connsiteX8974" fmla="*/ 416016 w 4610101"/>
              <a:gd name="connsiteY8974" fmla="*/ 1518583 h 6557032"/>
              <a:gd name="connsiteX8975" fmla="*/ 416487 w 4610101"/>
              <a:gd name="connsiteY8975" fmla="*/ 1519994 h 6557032"/>
              <a:gd name="connsiteX8976" fmla="*/ 415456 w 4610101"/>
              <a:gd name="connsiteY8976" fmla="*/ 1518723 h 6557032"/>
              <a:gd name="connsiteX8977" fmla="*/ 1058611 w 4610101"/>
              <a:gd name="connsiteY8977" fmla="*/ 1518175 h 6557032"/>
              <a:gd name="connsiteX8978" fmla="*/ 1060961 w 4610101"/>
              <a:gd name="connsiteY8978" fmla="*/ 1520318 h 6557032"/>
              <a:gd name="connsiteX8979" fmla="*/ 1065972 w 4610101"/>
              <a:gd name="connsiteY8979" fmla="*/ 1526012 h 6557032"/>
              <a:gd name="connsiteX8980" fmla="*/ 1073427 w 4610101"/>
              <a:gd name="connsiteY8980" fmla="*/ 1529877 h 6557032"/>
              <a:gd name="connsiteX8981" fmla="*/ 1064151 w 4610101"/>
              <a:gd name="connsiteY8981" fmla="*/ 1526012 h 6557032"/>
              <a:gd name="connsiteX8982" fmla="*/ 1065972 w 4610101"/>
              <a:gd name="connsiteY8982" fmla="*/ 1529656 h 6557032"/>
              <a:gd name="connsiteX8983" fmla="*/ 1060506 w 4610101"/>
              <a:gd name="connsiteY8983" fmla="*/ 1526012 h 6557032"/>
              <a:gd name="connsiteX8984" fmla="*/ 1064151 w 4610101"/>
              <a:gd name="connsiteY8984" fmla="*/ 1524190 h 6557032"/>
              <a:gd name="connsiteX8985" fmla="*/ 1059822 w 4610101"/>
              <a:gd name="connsiteY8985" fmla="*/ 1520318 h 6557032"/>
              <a:gd name="connsiteX8986" fmla="*/ 414154 w 4610101"/>
              <a:gd name="connsiteY8986" fmla="*/ 1518058 h 6557032"/>
              <a:gd name="connsiteX8987" fmla="*/ 413406 w 4610101"/>
              <a:gd name="connsiteY8987" fmla="*/ 1518723 h 6557032"/>
              <a:gd name="connsiteX8988" fmla="*/ 415456 w 4610101"/>
              <a:gd name="connsiteY8988" fmla="*/ 1520545 h 6557032"/>
              <a:gd name="connsiteX8989" fmla="*/ 409290 w 4610101"/>
              <a:gd name="connsiteY8989" fmla="*/ 1519003 h 6557032"/>
              <a:gd name="connsiteX8990" fmla="*/ 411128 w 4610101"/>
              <a:gd name="connsiteY8990" fmla="*/ 1519179 h 6557032"/>
              <a:gd name="connsiteX8991" fmla="*/ 916553 w 4610101"/>
              <a:gd name="connsiteY8991" fmla="*/ 1516960 h 6557032"/>
              <a:gd name="connsiteX8992" fmla="*/ 927486 w 4610101"/>
              <a:gd name="connsiteY8992" fmla="*/ 1520605 h 6557032"/>
              <a:gd name="connsiteX8993" fmla="*/ 932953 w 4610101"/>
              <a:gd name="connsiteY8993" fmla="*/ 1526071 h 6557032"/>
              <a:gd name="connsiteX8994" fmla="*/ 916553 w 4610101"/>
              <a:gd name="connsiteY8994" fmla="*/ 1516960 h 6557032"/>
              <a:gd name="connsiteX8995" fmla="*/ 3077652 w 4610101"/>
              <a:gd name="connsiteY8995" fmla="*/ 1516901 h 6557032"/>
              <a:gd name="connsiteX8996" fmla="*/ 3077652 w 4610101"/>
              <a:gd name="connsiteY8996" fmla="*/ 1524190 h 6557032"/>
              <a:gd name="connsiteX8997" fmla="*/ 3084941 w 4610101"/>
              <a:gd name="connsiteY8997" fmla="*/ 1524190 h 6557032"/>
              <a:gd name="connsiteX8998" fmla="*/ 3077652 w 4610101"/>
              <a:gd name="connsiteY8998" fmla="*/ 1516901 h 6557032"/>
              <a:gd name="connsiteX8999" fmla="*/ 1220858 w 4610101"/>
              <a:gd name="connsiteY8999" fmla="*/ 1516901 h 6557032"/>
              <a:gd name="connsiteX9000" fmla="*/ 1217213 w 4610101"/>
              <a:gd name="connsiteY9000" fmla="*/ 1522368 h 6557032"/>
              <a:gd name="connsiteX9001" fmla="*/ 1220858 w 4610101"/>
              <a:gd name="connsiteY9001" fmla="*/ 1531478 h 6557032"/>
              <a:gd name="connsiteX9002" fmla="*/ 1220858 w 4610101"/>
              <a:gd name="connsiteY9002" fmla="*/ 1516901 h 6557032"/>
              <a:gd name="connsiteX9003" fmla="*/ 666916 w 4610101"/>
              <a:gd name="connsiteY9003" fmla="*/ 1516901 h 6557032"/>
              <a:gd name="connsiteX9004" fmla="*/ 659627 w 4610101"/>
              <a:gd name="connsiteY9004" fmla="*/ 1526012 h 6557032"/>
              <a:gd name="connsiteX9005" fmla="*/ 666916 w 4610101"/>
              <a:gd name="connsiteY9005" fmla="*/ 1516901 h 6557032"/>
              <a:gd name="connsiteX9006" fmla="*/ 663272 w 4610101"/>
              <a:gd name="connsiteY9006" fmla="*/ 1516901 h 6557032"/>
              <a:gd name="connsiteX9007" fmla="*/ 650516 w 4610101"/>
              <a:gd name="connsiteY9007" fmla="*/ 1526012 h 6557032"/>
              <a:gd name="connsiteX9008" fmla="*/ 663272 w 4610101"/>
              <a:gd name="connsiteY9008" fmla="*/ 1516901 h 6557032"/>
              <a:gd name="connsiteX9009" fmla="*/ 559408 w 4610101"/>
              <a:gd name="connsiteY9009" fmla="*/ 1516901 h 6557032"/>
              <a:gd name="connsiteX9010" fmla="*/ 546653 w 4610101"/>
              <a:gd name="connsiteY9010" fmla="*/ 1520545 h 6557032"/>
              <a:gd name="connsiteX9011" fmla="*/ 550297 w 4610101"/>
              <a:gd name="connsiteY9011" fmla="*/ 1527834 h 6557032"/>
              <a:gd name="connsiteX9012" fmla="*/ 559408 w 4610101"/>
              <a:gd name="connsiteY9012" fmla="*/ 1516901 h 6557032"/>
              <a:gd name="connsiteX9013" fmla="*/ 415456 w 4610101"/>
              <a:gd name="connsiteY9013" fmla="*/ 1516901 h 6557032"/>
              <a:gd name="connsiteX9014" fmla="*/ 415656 w 4610101"/>
              <a:gd name="connsiteY9014" fmla="*/ 1517501 h 6557032"/>
              <a:gd name="connsiteX9015" fmla="*/ 414154 w 4610101"/>
              <a:gd name="connsiteY9015" fmla="*/ 1518058 h 6557032"/>
              <a:gd name="connsiteX9016" fmla="*/ 798214 w 4610101"/>
              <a:gd name="connsiteY9016" fmla="*/ 1516842 h 6557032"/>
              <a:gd name="connsiteX9017" fmla="*/ 824600 w 4610101"/>
              <a:gd name="connsiteY9017" fmla="*/ 1530134 h 6557032"/>
              <a:gd name="connsiteX9018" fmla="*/ 823623 w 4610101"/>
              <a:gd name="connsiteY9018" fmla="*/ 1531478 h 6557032"/>
              <a:gd name="connsiteX9019" fmla="*/ 1070944 w 4610101"/>
              <a:gd name="connsiteY9019" fmla="*/ 1516792 h 6557032"/>
              <a:gd name="connsiteX9020" fmla="*/ 1073457 w 4610101"/>
              <a:gd name="connsiteY9020" fmla="*/ 1517097 h 6557032"/>
              <a:gd name="connsiteX9021" fmla="*/ 1075083 w 4610101"/>
              <a:gd name="connsiteY9021" fmla="*/ 1518723 h 6557032"/>
              <a:gd name="connsiteX9022" fmla="*/ 492215 w 4610101"/>
              <a:gd name="connsiteY9022" fmla="*/ 1515762 h 6557032"/>
              <a:gd name="connsiteX9023" fmla="*/ 490165 w 4610101"/>
              <a:gd name="connsiteY9023" fmla="*/ 1518723 h 6557032"/>
              <a:gd name="connsiteX9024" fmla="*/ 495632 w 4610101"/>
              <a:gd name="connsiteY9024" fmla="*/ 1516901 h 6557032"/>
              <a:gd name="connsiteX9025" fmla="*/ 492215 w 4610101"/>
              <a:gd name="connsiteY9025" fmla="*/ 1515762 h 6557032"/>
              <a:gd name="connsiteX9026" fmla="*/ 3107719 w 4610101"/>
              <a:gd name="connsiteY9026" fmla="*/ 1515534 h 6557032"/>
              <a:gd name="connsiteX9027" fmla="*/ 3103163 w 4610101"/>
              <a:gd name="connsiteY9027" fmla="*/ 1520545 h 6557032"/>
              <a:gd name="connsiteX9028" fmla="*/ 3112274 w 4610101"/>
              <a:gd name="connsiteY9028" fmla="*/ 1518723 h 6557032"/>
              <a:gd name="connsiteX9029" fmla="*/ 3107719 w 4610101"/>
              <a:gd name="connsiteY9029" fmla="*/ 1515534 h 6557032"/>
              <a:gd name="connsiteX9030" fmla="*/ 3425687 w 4610101"/>
              <a:gd name="connsiteY9030" fmla="*/ 1515079 h 6557032"/>
              <a:gd name="connsiteX9031" fmla="*/ 3424386 w 4610101"/>
              <a:gd name="connsiteY9031" fmla="*/ 1525491 h 6557032"/>
              <a:gd name="connsiteX9032" fmla="*/ 3423865 w 4610101"/>
              <a:gd name="connsiteY9032" fmla="*/ 1526012 h 6557032"/>
              <a:gd name="connsiteX9033" fmla="*/ 3423865 w 4610101"/>
              <a:gd name="connsiteY9033" fmla="*/ 1529656 h 6557032"/>
              <a:gd name="connsiteX9034" fmla="*/ 3424386 w 4610101"/>
              <a:gd name="connsiteY9034" fmla="*/ 1525491 h 6557032"/>
              <a:gd name="connsiteX9035" fmla="*/ 3427510 w 4610101"/>
              <a:gd name="connsiteY9035" fmla="*/ 1522368 h 6557032"/>
              <a:gd name="connsiteX9036" fmla="*/ 3425687 w 4610101"/>
              <a:gd name="connsiteY9036" fmla="*/ 1515079 h 6557032"/>
              <a:gd name="connsiteX9037" fmla="*/ 3236181 w 4610101"/>
              <a:gd name="connsiteY9037" fmla="*/ 1515079 h 6557032"/>
              <a:gd name="connsiteX9038" fmla="*/ 3238003 w 4610101"/>
              <a:gd name="connsiteY9038" fmla="*/ 1526012 h 6557032"/>
              <a:gd name="connsiteX9039" fmla="*/ 3232537 w 4610101"/>
              <a:gd name="connsiteY9039" fmla="*/ 1522368 h 6557032"/>
              <a:gd name="connsiteX9040" fmla="*/ 3230715 w 4610101"/>
              <a:gd name="connsiteY9040" fmla="*/ 1529656 h 6557032"/>
              <a:gd name="connsiteX9041" fmla="*/ 3227071 w 4610101"/>
              <a:gd name="connsiteY9041" fmla="*/ 1524190 h 6557032"/>
              <a:gd name="connsiteX9042" fmla="*/ 3228893 w 4610101"/>
              <a:gd name="connsiteY9042" fmla="*/ 1533301 h 6557032"/>
              <a:gd name="connsiteX9043" fmla="*/ 3219782 w 4610101"/>
              <a:gd name="connsiteY9043" fmla="*/ 1526012 h 6557032"/>
              <a:gd name="connsiteX9044" fmla="*/ 3216137 w 4610101"/>
              <a:gd name="connsiteY9044" fmla="*/ 1535123 h 6557032"/>
              <a:gd name="connsiteX9045" fmla="*/ 3227071 w 4610101"/>
              <a:gd name="connsiteY9045" fmla="*/ 1542412 h 6557032"/>
              <a:gd name="connsiteX9046" fmla="*/ 3223426 w 4610101"/>
              <a:gd name="connsiteY9046" fmla="*/ 1558811 h 6557032"/>
              <a:gd name="connsiteX9047" fmla="*/ 3225248 w 4610101"/>
              <a:gd name="connsiteY9047" fmla="*/ 1556989 h 6557032"/>
              <a:gd name="connsiteX9048" fmla="*/ 3248937 w 4610101"/>
              <a:gd name="connsiteY9048" fmla="*/ 1558811 h 6557032"/>
              <a:gd name="connsiteX9049" fmla="*/ 3250759 w 4610101"/>
              <a:gd name="connsiteY9049" fmla="*/ 1551522 h 6557032"/>
              <a:gd name="connsiteX9050" fmla="*/ 3243470 w 4610101"/>
              <a:gd name="connsiteY9050" fmla="*/ 1531478 h 6557032"/>
              <a:gd name="connsiteX9051" fmla="*/ 3248937 w 4610101"/>
              <a:gd name="connsiteY9051" fmla="*/ 1533301 h 6557032"/>
              <a:gd name="connsiteX9052" fmla="*/ 3250759 w 4610101"/>
              <a:gd name="connsiteY9052" fmla="*/ 1529656 h 6557032"/>
              <a:gd name="connsiteX9053" fmla="*/ 3254403 w 4610101"/>
              <a:gd name="connsiteY9053" fmla="*/ 1531478 h 6557032"/>
              <a:gd name="connsiteX9054" fmla="*/ 3236181 w 4610101"/>
              <a:gd name="connsiteY9054" fmla="*/ 1515079 h 6557032"/>
              <a:gd name="connsiteX9055" fmla="*/ 841845 w 4610101"/>
              <a:gd name="connsiteY9055" fmla="*/ 1515079 h 6557032"/>
              <a:gd name="connsiteX9056" fmla="*/ 836378 w 4610101"/>
              <a:gd name="connsiteY9056" fmla="*/ 1522368 h 6557032"/>
              <a:gd name="connsiteX9057" fmla="*/ 841845 w 4610101"/>
              <a:gd name="connsiteY9057" fmla="*/ 1515079 h 6557032"/>
              <a:gd name="connsiteX9058" fmla="*/ 677849 w 4610101"/>
              <a:gd name="connsiteY9058" fmla="*/ 1515079 h 6557032"/>
              <a:gd name="connsiteX9059" fmla="*/ 665094 w 4610101"/>
              <a:gd name="connsiteY9059" fmla="*/ 1524190 h 6557032"/>
              <a:gd name="connsiteX9060" fmla="*/ 677849 w 4610101"/>
              <a:gd name="connsiteY9060" fmla="*/ 1515079 h 6557032"/>
              <a:gd name="connsiteX9061" fmla="*/ 1204457 w 4610101"/>
              <a:gd name="connsiteY9061" fmla="*/ 1513257 h 6557032"/>
              <a:gd name="connsiteX9062" fmla="*/ 1198991 w 4610101"/>
              <a:gd name="connsiteY9062" fmla="*/ 1516901 h 6557032"/>
              <a:gd name="connsiteX9063" fmla="*/ 1211747 w 4610101"/>
              <a:gd name="connsiteY9063" fmla="*/ 1524190 h 6557032"/>
              <a:gd name="connsiteX9064" fmla="*/ 1204457 w 4610101"/>
              <a:gd name="connsiteY9064" fmla="*/ 1513257 h 6557032"/>
              <a:gd name="connsiteX9065" fmla="*/ 625006 w 4610101"/>
              <a:gd name="connsiteY9065" fmla="*/ 1513257 h 6557032"/>
              <a:gd name="connsiteX9066" fmla="*/ 626828 w 4610101"/>
              <a:gd name="connsiteY9066" fmla="*/ 1529656 h 6557032"/>
              <a:gd name="connsiteX9067" fmla="*/ 634117 w 4610101"/>
              <a:gd name="connsiteY9067" fmla="*/ 1520545 h 6557032"/>
              <a:gd name="connsiteX9068" fmla="*/ 625006 w 4610101"/>
              <a:gd name="connsiteY9068" fmla="*/ 1513257 h 6557032"/>
              <a:gd name="connsiteX9069" fmla="*/ 621362 w 4610101"/>
              <a:gd name="connsiteY9069" fmla="*/ 1513257 h 6557032"/>
              <a:gd name="connsiteX9070" fmla="*/ 617717 w 4610101"/>
              <a:gd name="connsiteY9070" fmla="*/ 1531478 h 6557032"/>
              <a:gd name="connsiteX9071" fmla="*/ 623185 w 4610101"/>
              <a:gd name="connsiteY9071" fmla="*/ 1529656 h 6557032"/>
              <a:gd name="connsiteX9072" fmla="*/ 621362 w 4610101"/>
              <a:gd name="connsiteY9072" fmla="*/ 1513257 h 6557032"/>
              <a:gd name="connsiteX9073" fmla="*/ 563052 w 4610101"/>
              <a:gd name="connsiteY9073" fmla="*/ 1513257 h 6557032"/>
              <a:gd name="connsiteX9074" fmla="*/ 557586 w 4610101"/>
              <a:gd name="connsiteY9074" fmla="*/ 1522368 h 6557032"/>
              <a:gd name="connsiteX9075" fmla="*/ 564874 w 4610101"/>
              <a:gd name="connsiteY9075" fmla="*/ 1522368 h 6557032"/>
              <a:gd name="connsiteX9076" fmla="*/ 563052 w 4610101"/>
              <a:gd name="connsiteY9076" fmla="*/ 1513257 h 6557032"/>
              <a:gd name="connsiteX9077" fmla="*/ 430034 w 4610101"/>
              <a:gd name="connsiteY9077" fmla="*/ 1513257 h 6557032"/>
              <a:gd name="connsiteX9078" fmla="*/ 424567 w 4610101"/>
              <a:gd name="connsiteY9078" fmla="*/ 1516901 h 6557032"/>
              <a:gd name="connsiteX9079" fmla="*/ 435500 w 4610101"/>
              <a:gd name="connsiteY9079" fmla="*/ 1531478 h 6557032"/>
              <a:gd name="connsiteX9080" fmla="*/ 433451 w 4610101"/>
              <a:gd name="connsiteY9080" fmla="*/ 1523051 h 6557032"/>
              <a:gd name="connsiteX9081" fmla="*/ 432310 w 4610101"/>
              <a:gd name="connsiteY9081" fmla="*/ 1519781 h 6557032"/>
              <a:gd name="connsiteX9082" fmla="*/ 437322 w 4610101"/>
              <a:gd name="connsiteY9082" fmla="*/ 1531478 h 6557032"/>
              <a:gd name="connsiteX9083" fmla="*/ 435956 w 4610101"/>
              <a:gd name="connsiteY9083" fmla="*/ 1523734 h 6557032"/>
              <a:gd name="connsiteX9084" fmla="*/ 432003 w 4610101"/>
              <a:gd name="connsiteY9084" fmla="*/ 1518903 h 6557032"/>
              <a:gd name="connsiteX9085" fmla="*/ 1206279 w 4610101"/>
              <a:gd name="connsiteY9085" fmla="*/ 1511434 h 6557032"/>
              <a:gd name="connsiteX9086" fmla="*/ 1213568 w 4610101"/>
              <a:gd name="connsiteY9086" fmla="*/ 1522368 h 6557032"/>
              <a:gd name="connsiteX9087" fmla="*/ 1206279 w 4610101"/>
              <a:gd name="connsiteY9087" fmla="*/ 1511434 h 6557032"/>
              <a:gd name="connsiteX9088" fmla="*/ 612251 w 4610101"/>
              <a:gd name="connsiteY9088" fmla="*/ 1511434 h 6557032"/>
              <a:gd name="connsiteX9089" fmla="*/ 601318 w 4610101"/>
              <a:gd name="connsiteY9089" fmla="*/ 1535123 h 6557032"/>
              <a:gd name="connsiteX9090" fmla="*/ 612251 w 4610101"/>
              <a:gd name="connsiteY9090" fmla="*/ 1511434 h 6557032"/>
              <a:gd name="connsiteX9091" fmla="*/ 592207 w 4610101"/>
              <a:gd name="connsiteY9091" fmla="*/ 1511434 h 6557032"/>
              <a:gd name="connsiteX9092" fmla="*/ 592207 w 4610101"/>
              <a:gd name="connsiteY9092" fmla="*/ 1516901 h 6557032"/>
              <a:gd name="connsiteX9093" fmla="*/ 594030 w 4610101"/>
              <a:gd name="connsiteY9093" fmla="*/ 1515079 h 6557032"/>
              <a:gd name="connsiteX9094" fmla="*/ 592207 w 4610101"/>
              <a:gd name="connsiteY9094" fmla="*/ 1511434 h 6557032"/>
              <a:gd name="connsiteX9095" fmla="*/ 477410 w 4610101"/>
              <a:gd name="connsiteY9095" fmla="*/ 1511434 h 6557032"/>
              <a:gd name="connsiteX9096" fmla="*/ 473766 w 4610101"/>
              <a:gd name="connsiteY9096" fmla="*/ 1516901 h 6557032"/>
              <a:gd name="connsiteX9097" fmla="*/ 479232 w 4610101"/>
              <a:gd name="connsiteY9097" fmla="*/ 1520545 h 6557032"/>
              <a:gd name="connsiteX9098" fmla="*/ 482876 w 4610101"/>
              <a:gd name="connsiteY9098" fmla="*/ 1513257 h 6557032"/>
              <a:gd name="connsiteX9099" fmla="*/ 477410 w 4610101"/>
              <a:gd name="connsiteY9099" fmla="*/ 1511434 h 6557032"/>
              <a:gd name="connsiteX9100" fmla="*/ 464655 w 4610101"/>
              <a:gd name="connsiteY9100" fmla="*/ 1511434 h 6557032"/>
              <a:gd name="connsiteX9101" fmla="*/ 464655 w 4610101"/>
              <a:gd name="connsiteY9101" fmla="*/ 1515079 h 6557032"/>
              <a:gd name="connsiteX9102" fmla="*/ 459188 w 4610101"/>
              <a:gd name="connsiteY9102" fmla="*/ 1516901 h 6557032"/>
              <a:gd name="connsiteX9103" fmla="*/ 461010 w 4610101"/>
              <a:gd name="connsiteY9103" fmla="*/ 1522368 h 6557032"/>
              <a:gd name="connsiteX9104" fmla="*/ 440966 w 4610101"/>
              <a:gd name="connsiteY9104" fmla="*/ 1535123 h 6557032"/>
              <a:gd name="connsiteX9105" fmla="*/ 455544 w 4610101"/>
              <a:gd name="connsiteY9105" fmla="*/ 1535123 h 6557032"/>
              <a:gd name="connsiteX9106" fmla="*/ 453722 w 4610101"/>
              <a:gd name="connsiteY9106" fmla="*/ 1527834 h 6557032"/>
              <a:gd name="connsiteX9107" fmla="*/ 455544 w 4610101"/>
              <a:gd name="connsiteY9107" fmla="*/ 1531478 h 6557032"/>
              <a:gd name="connsiteX9108" fmla="*/ 470121 w 4610101"/>
              <a:gd name="connsiteY9108" fmla="*/ 1516901 h 6557032"/>
              <a:gd name="connsiteX9109" fmla="*/ 466478 w 4610101"/>
              <a:gd name="connsiteY9109" fmla="*/ 1518723 h 6557032"/>
              <a:gd name="connsiteX9110" fmla="*/ 464655 w 4610101"/>
              <a:gd name="connsiteY9110" fmla="*/ 1511434 h 6557032"/>
              <a:gd name="connsiteX9111" fmla="*/ 3145528 w 4610101"/>
              <a:gd name="connsiteY9111" fmla="*/ 1510295 h 6557032"/>
              <a:gd name="connsiteX9112" fmla="*/ 3137784 w 4610101"/>
              <a:gd name="connsiteY9112" fmla="*/ 1516901 h 6557032"/>
              <a:gd name="connsiteX9113" fmla="*/ 3156006 w 4610101"/>
              <a:gd name="connsiteY9113" fmla="*/ 1513257 h 6557032"/>
              <a:gd name="connsiteX9114" fmla="*/ 3145528 w 4610101"/>
              <a:gd name="connsiteY9114" fmla="*/ 1510295 h 6557032"/>
              <a:gd name="connsiteX9115" fmla="*/ 289725 w 4610101"/>
              <a:gd name="connsiteY9115" fmla="*/ 1509641 h 6557032"/>
              <a:gd name="connsiteX9116" fmla="*/ 300658 w 4610101"/>
              <a:gd name="connsiteY9116" fmla="*/ 1515108 h 6557032"/>
              <a:gd name="connsiteX9117" fmla="*/ 287903 w 4610101"/>
              <a:gd name="connsiteY9117" fmla="*/ 1516930 h 6557032"/>
              <a:gd name="connsiteX9118" fmla="*/ 289725 w 4610101"/>
              <a:gd name="connsiteY9118" fmla="*/ 1509641 h 6557032"/>
              <a:gd name="connsiteX9119" fmla="*/ 1215390 w 4610101"/>
              <a:gd name="connsiteY9119" fmla="*/ 1509612 h 6557032"/>
              <a:gd name="connsiteX9120" fmla="*/ 1219036 w 4610101"/>
              <a:gd name="connsiteY9120" fmla="*/ 1516901 h 6557032"/>
              <a:gd name="connsiteX9121" fmla="*/ 1215390 w 4610101"/>
              <a:gd name="connsiteY9121" fmla="*/ 1509612 h 6557032"/>
              <a:gd name="connsiteX9122" fmla="*/ 741626 w 4610101"/>
              <a:gd name="connsiteY9122" fmla="*/ 1509612 h 6557032"/>
              <a:gd name="connsiteX9123" fmla="*/ 728870 w 4610101"/>
              <a:gd name="connsiteY9123" fmla="*/ 1527834 h 6557032"/>
              <a:gd name="connsiteX9124" fmla="*/ 741626 w 4610101"/>
              <a:gd name="connsiteY9124" fmla="*/ 1509612 h 6557032"/>
              <a:gd name="connsiteX9125" fmla="*/ 654161 w 4610101"/>
              <a:gd name="connsiteY9125" fmla="*/ 1509612 h 6557032"/>
              <a:gd name="connsiteX9126" fmla="*/ 650516 w 4610101"/>
              <a:gd name="connsiteY9126" fmla="*/ 1513257 h 6557032"/>
              <a:gd name="connsiteX9127" fmla="*/ 655983 w 4610101"/>
              <a:gd name="connsiteY9127" fmla="*/ 1513257 h 6557032"/>
              <a:gd name="connsiteX9128" fmla="*/ 654161 w 4610101"/>
              <a:gd name="connsiteY9128" fmla="*/ 1509612 h 6557032"/>
              <a:gd name="connsiteX9129" fmla="*/ 572163 w 4610101"/>
              <a:gd name="connsiteY9129" fmla="*/ 1509612 h 6557032"/>
              <a:gd name="connsiteX9130" fmla="*/ 568519 w 4610101"/>
              <a:gd name="connsiteY9130" fmla="*/ 1513257 h 6557032"/>
              <a:gd name="connsiteX9131" fmla="*/ 579452 w 4610101"/>
              <a:gd name="connsiteY9131" fmla="*/ 1515079 h 6557032"/>
              <a:gd name="connsiteX9132" fmla="*/ 575808 w 4610101"/>
              <a:gd name="connsiteY9132" fmla="*/ 1511434 h 6557032"/>
              <a:gd name="connsiteX9133" fmla="*/ 577630 w 4610101"/>
              <a:gd name="connsiteY9133" fmla="*/ 1509612 h 6557032"/>
              <a:gd name="connsiteX9134" fmla="*/ 570341 w 4610101"/>
              <a:gd name="connsiteY9134" fmla="*/ 1513257 h 6557032"/>
              <a:gd name="connsiteX9135" fmla="*/ 572163 w 4610101"/>
              <a:gd name="connsiteY9135" fmla="*/ 1509612 h 6557032"/>
              <a:gd name="connsiteX9136" fmla="*/ 501098 w 4610101"/>
              <a:gd name="connsiteY9136" fmla="*/ 1509612 h 6557032"/>
              <a:gd name="connsiteX9137" fmla="*/ 504743 w 4610101"/>
              <a:gd name="connsiteY9137" fmla="*/ 1527834 h 6557032"/>
              <a:gd name="connsiteX9138" fmla="*/ 504743 w 4610101"/>
              <a:gd name="connsiteY9138" fmla="*/ 1509612 h 6557032"/>
              <a:gd name="connsiteX9139" fmla="*/ 501098 w 4610101"/>
              <a:gd name="connsiteY9139" fmla="*/ 1509612 h 6557032"/>
              <a:gd name="connsiteX9140" fmla="*/ 491987 w 4610101"/>
              <a:gd name="connsiteY9140" fmla="*/ 1509612 h 6557032"/>
              <a:gd name="connsiteX9141" fmla="*/ 488343 w 4610101"/>
              <a:gd name="connsiteY9141" fmla="*/ 1513257 h 6557032"/>
              <a:gd name="connsiteX9142" fmla="*/ 495632 w 4610101"/>
              <a:gd name="connsiteY9142" fmla="*/ 1511434 h 6557032"/>
              <a:gd name="connsiteX9143" fmla="*/ 491987 w 4610101"/>
              <a:gd name="connsiteY9143" fmla="*/ 1509612 h 6557032"/>
              <a:gd name="connsiteX9144" fmla="*/ 822090 w 4610101"/>
              <a:gd name="connsiteY9144" fmla="*/ 1509208 h 6557032"/>
              <a:gd name="connsiteX9145" fmla="*/ 821801 w 4610101"/>
              <a:gd name="connsiteY9145" fmla="*/ 1509612 h 6557032"/>
              <a:gd name="connsiteX9146" fmla="*/ 821658 w 4610101"/>
              <a:gd name="connsiteY9146" fmla="*/ 1509546 h 6557032"/>
              <a:gd name="connsiteX9147" fmla="*/ 3436621 w 4610101"/>
              <a:gd name="connsiteY9147" fmla="*/ 1507790 h 6557032"/>
              <a:gd name="connsiteX9148" fmla="*/ 3436621 w 4610101"/>
              <a:gd name="connsiteY9148" fmla="*/ 1511434 h 6557032"/>
              <a:gd name="connsiteX9149" fmla="*/ 3432293 w 4610101"/>
              <a:gd name="connsiteY9149" fmla="*/ 1513484 h 6557032"/>
              <a:gd name="connsiteX9150" fmla="*/ 3431313 w 4610101"/>
              <a:gd name="connsiteY9150" fmla="*/ 1512806 h 6557032"/>
              <a:gd name="connsiteX9151" fmla="*/ 3430935 w 4610101"/>
              <a:gd name="connsiteY9151" fmla="*/ 1510632 h 6557032"/>
              <a:gd name="connsiteX9152" fmla="*/ 676027 w 4610101"/>
              <a:gd name="connsiteY9152" fmla="*/ 1507790 h 6557032"/>
              <a:gd name="connsiteX9153" fmla="*/ 679671 w 4610101"/>
              <a:gd name="connsiteY9153" fmla="*/ 1511434 h 6557032"/>
              <a:gd name="connsiteX9154" fmla="*/ 676027 w 4610101"/>
              <a:gd name="connsiteY9154" fmla="*/ 1507790 h 6557032"/>
              <a:gd name="connsiteX9155" fmla="*/ 3361911 w 4610101"/>
              <a:gd name="connsiteY9155" fmla="*/ 1505970 h 6557032"/>
              <a:gd name="connsiteX9156" fmla="*/ 3360088 w 4610101"/>
              <a:gd name="connsiteY9156" fmla="*/ 1516903 h 6557032"/>
              <a:gd name="connsiteX9157" fmla="*/ 3354622 w 4610101"/>
              <a:gd name="connsiteY9157" fmla="*/ 1538769 h 6557032"/>
              <a:gd name="connsiteX9158" fmla="*/ 3372844 w 4610101"/>
              <a:gd name="connsiteY9158" fmla="*/ 1536946 h 6557032"/>
              <a:gd name="connsiteX9159" fmla="*/ 3369199 w 4610101"/>
              <a:gd name="connsiteY9159" fmla="*/ 1529658 h 6557032"/>
              <a:gd name="connsiteX9160" fmla="*/ 3374666 w 4610101"/>
              <a:gd name="connsiteY9160" fmla="*/ 1535124 h 6557032"/>
              <a:gd name="connsiteX9161" fmla="*/ 3371021 w 4610101"/>
              <a:gd name="connsiteY9161" fmla="*/ 1513258 h 6557032"/>
              <a:gd name="connsiteX9162" fmla="*/ 3367377 w 4610101"/>
              <a:gd name="connsiteY9162" fmla="*/ 1515080 h 6557032"/>
              <a:gd name="connsiteX9163" fmla="*/ 3361911 w 4610101"/>
              <a:gd name="connsiteY9163" fmla="*/ 1505970 h 6557032"/>
              <a:gd name="connsiteX9164" fmla="*/ 1020418 w 4610101"/>
              <a:gd name="connsiteY9164" fmla="*/ 1505968 h 6557032"/>
              <a:gd name="connsiteX9165" fmla="*/ 1034336 w 4610101"/>
              <a:gd name="connsiteY9165" fmla="*/ 1512927 h 6557032"/>
              <a:gd name="connsiteX9166" fmla="*/ 1032974 w 4610101"/>
              <a:gd name="connsiteY9166" fmla="*/ 1513399 h 6557032"/>
              <a:gd name="connsiteX9167" fmla="*/ 1020418 w 4610101"/>
              <a:gd name="connsiteY9167" fmla="*/ 1505968 h 6557032"/>
              <a:gd name="connsiteX9168" fmla="*/ 810868 w 4610101"/>
              <a:gd name="connsiteY9168" fmla="*/ 1505968 h 6557032"/>
              <a:gd name="connsiteX9169" fmla="*/ 816334 w 4610101"/>
              <a:gd name="connsiteY9169" fmla="*/ 1507107 h 6557032"/>
              <a:gd name="connsiteX9170" fmla="*/ 821658 w 4610101"/>
              <a:gd name="connsiteY9170" fmla="*/ 1509546 h 6557032"/>
              <a:gd name="connsiteX9171" fmla="*/ 821573 w 4610101"/>
              <a:gd name="connsiteY9171" fmla="*/ 1509612 h 6557032"/>
              <a:gd name="connsiteX9172" fmla="*/ 810868 w 4610101"/>
              <a:gd name="connsiteY9172" fmla="*/ 1505968 h 6557032"/>
              <a:gd name="connsiteX9173" fmla="*/ 732515 w 4610101"/>
              <a:gd name="connsiteY9173" fmla="*/ 1505968 h 6557032"/>
              <a:gd name="connsiteX9174" fmla="*/ 727048 w 4610101"/>
              <a:gd name="connsiteY9174" fmla="*/ 1515079 h 6557032"/>
              <a:gd name="connsiteX9175" fmla="*/ 732515 w 4610101"/>
              <a:gd name="connsiteY9175" fmla="*/ 1505968 h 6557032"/>
              <a:gd name="connsiteX9176" fmla="*/ 3320619 w 4610101"/>
              <a:gd name="connsiteY9176" fmla="*/ 1505147 h 6557032"/>
              <a:gd name="connsiteX9177" fmla="*/ 3321824 w 4610101"/>
              <a:gd name="connsiteY9177" fmla="*/ 1505968 h 6557032"/>
              <a:gd name="connsiteX9178" fmla="*/ 3320034 w 4610101"/>
              <a:gd name="connsiteY9178" fmla="*/ 1510108 h 6557032"/>
              <a:gd name="connsiteX9179" fmla="*/ 3318179 w 4610101"/>
              <a:gd name="connsiteY9179" fmla="*/ 1507790 h 6557032"/>
              <a:gd name="connsiteX9180" fmla="*/ 348797 w 4610101"/>
              <a:gd name="connsiteY9180" fmla="*/ 1504710 h 6557032"/>
              <a:gd name="connsiteX9181" fmla="*/ 357146 w 4610101"/>
              <a:gd name="connsiteY9181" fmla="*/ 1505968 h 6557032"/>
              <a:gd name="connsiteX9182" fmla="*/ 338470 w 4610101"/>
              <a:gd name="connsiteY9182" fmla="*/ 1509612 h 6557032"/>
              <a:gd name="connsiteX9183" fmla="*/ 331475 w 4610101"/>
              <a:gd name="connsiteY9183" fmla="*/ 1508813 h 6557032"/>
              <a:gd name="connsiteX9184" fmla="*/ 335964 w 4610101"/>
              <a:gd name="connsiteY9184" fmla="*/ 1506879 h 6557032"/>
              <a:gd name="connsiteX9185" fmla="*/ 424567 w 4610101"/>
              <a:gd name="connsiteY9185" fmla="*/ 1504146 h 6557032"/>
              <a:gd name="connsiteX9186" fmla="*/ 406345 w 4610101"/>
              <a:gd name="connsiteY9186" fmla="*/ 1518723 h 6557032"/>
              <a:gd name="connsiteX9187" fmla="*/ 408092 w 4610101"/>
              <a:gd name="connsiteY9187" fmla="*/ 1518889 h 6557032"/>
              <a:gd name="connsiteX9188" fmla="*/ 406117 w 4610101"/>
              <a:gd name="connsiteY9188" fmla="*/ 1523279 h 6557032"/>
              <a:gd name="connsiteX9189" fmla="*/ 408167 w 4610101"/>
              <a:gd name="connsiteY9189" fmla="*/ 1527834 h 6557032"/>
              <a:gd name="connsiteX9190" fmla="*/ 399056 w 4610101"/>
              <a:gd name="connsiteY9190" fmla="*/ 1527834 h 6557032"/>
              <a:gd name="connsiteX9191" fmla="*/ 404523 w 4610101"/>
              <a:gd name="connsiteY9191" fmla="*/ 1526012 h 6557032"/>
              <a:gd name="connsiteX9192" fmla="*/ 396778 w 4610101"/>
              <a:gd name="connsiteY9192" fmla="*/ 1527378 h 6557032"/>
              <a:gd name="connsiteX9193" fmla="*/ 391771 w 4610101"/>
              <a:gd name="connsiteY9193" fmla="*/ 1531475 h 6557032"/>
              <a:gd name="connsiteX9194" fmla="*/ 393590 w 4610101"/>
              <a:gd name="connsiteY9194" fmla="*/ 1529656 h 6557032"/>
              <a:gd name="connsiteX9195" fmla="*/ 386301 w 4610101"/>
              <a:gd name="connsiteY9195" fmla="*/ 1529656 h 6557032"/>
              <a:gd name="connsiteX9196" fmla="*/ 389946 w 4610101"/>
              <a:gd name="connsiteY9196" fmla="*/ 1533301 h 6557032"/>
              <a:gd name="connsiteX9197" fmla="*/ 391768 w 4610101"/>
              <a:gd name="connsiteY9197" fmla="*/ 1531478 h 6557032"/>
              <a:gd name="connsiteX9198" fmla="*/ 406345 w 4610101"/>
              <a:gd name="connsiteY9198" fmla="*/ 1540589 h 6557032"/>
              <a:gd name="connsiteX9199" fmla="*/ 408167 w 4610101"/>
              <a:gd name="connsiteY9199" fmla="*/ 1536945 h 6557032"/>
              <a:gd name="connsiteX9200" fmla="*/ 419100 w 4610101"/>
              <a:gd name="connsiteY9200" fmla="*/ 1540589 h 6557032"/>
              <a:gd name="connsiteX9201" fmla="*/ 409989 w 4610101"/>
              <a:gd name="connsiteY9201" fmla="*/ 1542412 h 6557032"/>
              <a:gd name="connsiteX9202" fmla="*/ 422745 w 4610101"/>
              <a:gd name="connsiteY9202" fmla="*/ 1547878 h 6557032"/>
              <a:gd name="connsiteX9203" fmla="*/ 420923 w 4610101"/>
              <a:gd name="connsiteY9203" fmla="*/ 1544234 h 6557032"/>
              <a:gd name="connsiteX9204" fmla="*/ 427072 w 4610101"/>
              <a:gd name="connsiteY9204" fmla="*/ 1546284 h 6557032"/>
              <a:gd name="connsiteX9205" fmla="*/ 431324 w 4610101"/>
              <a:gd name="connsiteY9205" fmla="*/ 1544462 h 6557032"/>
              <a:gd name="connsiteX9206" fmla="*/ 431855 w 4610101"/>
              <a:gd name="connsiteY9206" fmla="*/ 1546056 h 6557032"/>
              <a:gd name="connsiteX9207" fmla="*/ 439145 w 4610101"/>
              <a:gd name="connsiteY9207" fmla="*/ 1546056 h 6557032"/>
              <a:gd name="connsiteX9208" fmla="*/ 430034 w 4610101"/>
              <a:gd name="connsiteY9208" fmla="*/ 1540589 h 6557032"/>
              <a:gd name="connsiteX9209" fmla="*/ 430809 w 4610101"/>
              <a:gd name="connsiteY9209" fmla="*/ 1542917 h 6557032"/>
              <a:gd name="connsiteX9210" fmla="*/ 427747 w 4610101"/>
              <a:gd name="connsiteY9210" fmla="*/ 1539065 h 6557032"/>
              <a:gd name="connsiteX9211" fmla="*/ 424795 w 4610101"/>
              <a:gd name="connsiteY9211" fmla="*/ 1535351 h 6557032"/>
              <a:gd name="connsiteX9212" fmla="*/ 422563 w 4610101"/>
              <a:gd name="connsiteY9212" fmla="*/ 1532754 h 6557032"/>
              <a:gd name="connsiteX9213" fmla="*/ 420923 w 4610101"/>
              <a:gd name="connsiteY9213" fmla="*/ 1527834 h 6557032"/>
              <a:gd name="connsiteX9214" fmla="*/ 421151 w 4610101"/>
              <a:gd name="connsiteY9214" fmla="*/ 1530567 h 6557032"/>
              <a:gd name="connsiteX9215" fmla="*/ 422138 w 4610101"/>
              <a:gd name="connsiteY9215" fmla="*/ 1532260 h 6557032"/>
              <a:gd name="connsiteX9216" fmla="*/ 413634 w 4610101"/>
              <a:gd name="connsiteY9216" fmla="*/ 1522368 h 6557032"/>
              <a:gd name="connsiteX9217" fmla="*/ 420923 w 4610101"/>
              <a:gd name="connsiteY9217" fmla="*/ 1526012 h 6557032"/>
              <a:gd name="connsiteX9218" fmla="*/ 417278 w 4610101"/>
              <a:gd name="connsiteY9218" fmla="*/ 1522368 h 6557032"/>
              <a:gd name="connsiteX9219" fmla="*/ 416487 w 4610101"/>
              <a:gd name="connsiteY9219" fmla="*/ 1519994 h 6557032"/>
              <a:gd name="connsiteX9220" fmla="*/ 422289 w 4610101"/>
              <a:gd name="connsiteY9220" fmla="*/ 1527151 h 6557032"/>
              <a:gd name="connsiteX9221" fmla="*/ 431856 w 4610101"/>
              <a:gd name="connsiteY9221" fmla="*/ 1531478 h 6557032"/>
              <a:gd name="connsiteX9222" fmla="*/ 422745 w 4610101"/>
              <a:gd name="connsiteY9222" fmla="*/ 1516901 h 6557032"/>
              <a:gd name="connsiteX9223" fmla="*/ 416016 w 4610101"/>
              <a:gd name="connsiteY9223" fmla="*/ 1518583 h 6557032"/>
              <a:gd name="connsiteX9224" fmla="*/ 415656 w 4610101"/>
              <a:gd name="connsiteY9224" fmla="*/ 1517501 h 6557032"/>
              <a:gd name="connsiteX9225" fmla="*/ 417278 w 4610101"/>
              <a:gd name="connsiteY9225" fmla="*/ 1516901 h 6557032"/>
              <a:gd name="connsiteX9226" fmla="*/ 415456 w 4610101"/>
              <a:gd name="connsiteY9226" fmla="*/ 1513257 h 6557032"/>
              <a:gd name="connsiteX9227" fmla="*/ 428211 w 4610101"/>
              <a:gd name="connsiteY9227" fmla="*/ 1511434 h 6557032"/>
              <a:gd name="connsiteX9228" fmla="*/ 424567 w 4610101"/>
              <a:gd name="connsiteY9228" fmla="*/ 1504146 h 6557032"/>
              <a:gd name="connsiteX9229" fmla="*/ 484244 w 4610101"/>
              <a:gd name="connsiteY9229" fmla="*/ 1503690 h 6557032"/>
              <a:gd name="connsiteX9230" fmla="*/ 481054 w 4610101"/>
              <a:gd name="connsiteY9230" fmla="*/ 1504146 h 6557032"/>
              <a:gd name="connsiteX9231" fmla="*/ 484700 w 4610101"/>
              <a:gd name="connsiteY9231" fmla="*/ 1505968 h 6557032"/>
              <a:gd name="connsiteX9232" fmla="*/ 484244 w 4610101"/>
              <a:gd name="connsiteY9232" fmla="*/ 1503690 h 6557032"/>
              <a:gd name="connsiteX9233" fmla="*/ 3406859 w 4610101"/>
              <a:gd name="connsiteY9233" fmla="*/ 1503134 h 6557032"/>
              <a:gd name="connsiteX9234" fmla="*/ 3407238 w 4610101"/>
              <a:gd name="connsiteY9234" fmla="*/ 1503918 h 6557032"/>
              <a:gd name="connsiteX9235" fmla="*/ 3408693 w 4610101"/>
              <a:gd name="connsiteY9235" fmla="*/ 1507958 h 6557032"/>
              <a:gd name="connsiteX9236" fmla="*/ 3408417 w 4610101"/>
              <a:gd name="connsiteY9236" fmla="*/ 1508741 h 6557032"/>
              <a:gd name="connsiteX9237" fmla="*/ 3405643 w 4610101"/>
              <a:gd name="connsiteY9237" fmla="*/ 1505968 h 6557032"/>
              <a:gd name="connsiteX9238" fmla="*/ 3403725 w 4610101"/>
              <a:gd name="connsiteY9238" fmla="*/ 1508845 h 6557032"/>
              <a:gd name="connsiteX9239" fmla="*/ 3401999 w 4610101"/>
              <a:gd name="connsiteY9239" fmla="*/ 1509612 h 6557032"/>
              <a:gd name="connsiteX9240" fmla="*/ 1055863 w 4610101"/>
              <a:gd name="connsiteY9240" fmla="*/ 1503083 h 6557032"/>
              <a:gd name="connsiteX9241" fmla="*/ 1073262 w 4610101"/>
              <a:gd name="connsiteY9241" fmla="*/ 1511434 h 6557032"/>
              <a:gd name="connsiteX9242" fmla="*/ 1059463 w 4610101"/>
              <a:gd name="connsiteY9242" fmla="*/ 1511434 h 6557032"/>
              <a:gd name="connsiteX9243" fmla="*/ 1049153 w 4610101"/>
              <a:gd name="connsiteY9243" fmla="*/ 1506622 h 6557032"/>
              <a:gd name="connsiteX9244" fmla="*/ 1048471 w 4610101"/>
              <a:gd name="connsiteY9244" fmla="*/ 1505712 h 6557032"/>
              <a:gd name="connsiteX9245" fmla="*/ 3243470 w 4610101"/>
              <a:gd name="connsiteY9245" fmla="*/ 1502324 h 6557032"/>
              <a:gd name="connsiteX9246" fmla="*/ 3243470 w 4610101"/>
              <a:gd name="connsiteY9246" fmla="*/ 1511434 h 6557032"/>
              <a:gd name="connsiteX9247" fmla="*/ 3248937 w 4610101"/>
              <a:gd name="connsiteY9247" fmla="*/ 1507790 h 6557032"/>
              <a:gd name="connsiteX9248" fmla="*/ 3245292 w 4610101"/>
              <a:gd name="connsiteY9248" fmla="*/ 1507790 h 6557032"/>
              <a:gd name="connsiteX9249" fmla="*/ 3243470 w 4610101"/>
              <a:gd name="connsiteY9249" fmla="*/ 1502324 h 6557032"/>
              <a:gd name="connsiteX9250" fmla="*/ 1206279 w 4610101"/>
              <a:gd name="connsiteY9250" fmla="*/ 1502324 h 6557032"/>
              <a:gd name="connsiteX9251" fmla="*/ 1204457 w 4610101"/>
              <a:gd name="connsiteY9251" fmla="*/ 1509612 h 6557032"/>
              <a:gd name="connsiteX9252" fmla="*/ 1206279 w 4610101"/>
              <a:gd name="connsiteY9252" fmla="*/ 1502324 h 6557032"/>
              <a:gd name="connsiteX9253" fmla="*/ 635939 w 4610101"/>
              <a:gd name="connsiteY9253" fmla="*/ 1502324 h 6557032"/>
              <a:gd name="connsiteX9254" fmla="*/ 621362 w 4610101"/>
              <a:gd name="connsiteY9254" fmla="*/ 1509612 h 6557032"/>
              <a:gd name="connsiteX9255" fmla="*/ 635939 w 4610101"/>
              <a:gd name="connsiteY9255" fmla="*/ 1513257 h 6557032"/>
              <a:gd name="connsiteX9256" fmla="*/ 635939 w 4610101"/>
              <a:gd name="connsiteY9256" fmla="*/ 1502324 h 6557032"/>
              <a:gd name="connsiteX9257" fmla="*/ 512031 w 4610101"/>
              <a:gd name="connsiteY9257" fmla="*/ 1502324 h 6557032"/>
              <a:gd name="connsiteX9258" fmla="*/ 508387 w 4610101"/>
              <a:gd name="connsiteY9258" fmla="*/ 1505968 h 6557032"/>
              <a:gd name="connsiteX9259" fmla="*/ 517498 w 4610101"/>
              <a:gd name="connsiteY9259" fmla="*/ 1507790 h 6557032"/>
              <a:gd name="connsiteX9260" fmla="*/ 512031 w 4610101"/>
              <a:gd name="connsiteY9260" fmla="*/ 1502324 h 6557032"/>
              <a:gd name="connsiteX9261" fmla="*/ 661449 w 4610101"/>
              <a:gd name="connsiteY9261" fmla="*/ 1500501 h 6557032"/>
              <a:gd name="connsiteX9262" fmla="*/ 657805 w 4610101"/>
              <a:gd name="connsiteY9262" fmla="*/ 1511434 h 6557032"/>
              <a:gd name="connsiteX9263" fmla="*/ 666916 w 4610101"/>
              <a:gd name="connsiteY9263" fmla="*/ 1504146 h 6557032"/>
              <a:gd name="connsiteX9264" fmla="*/ 661449 w 4610101"/>
              <a:gd name="connsiteY9264" fmla="*/ 1500501 h 6557032"/>
              <a:gd name="connsiteX9265" fmla="*/ 604963 w 4610101"/>
              <a:gd name="connsiteY9265" fmla="*/ 1500501 h 6557032"/>
              <a:gd name="connsiteX9266" fmla="*/ 601318 w 4610101"/>
              <a:gd name="connsiteY9266" fmla="*/ 1505968 h 6557032"/>
              <a:gd name="connsiteX9267" fmla="*/ 604963 w 4610101"/>
              <a:gd name="connsiteY9267" fmla="*/ 1500501 h 6557032"/>
              <a:gd name="connsiteX9268" fmla="*/ 550297 w 4610101"/>
              <a:gd name="connsiteY9268" fmla="*/ 1500501 h 6557032"/>
              <a:gd name="connsiteX9269" fmla="*/ 546653 w 4610101"/>
              <a:gd name="connsiteY9269" fmla="*/ 1511434 h 6557032"/>
              <a:gd name="connsiteX9270" fmla="*/ 553941 w 4610101"/>
              <a:gd name="connsiteY9270" fmla="*/ 1505968 h 6557032"/>
              <a:gd name="connsiteX9271" fmla="*/ 550297 w 4610101"/>
              <a:gd name="connsiteY9271" fmla="*/ 1500501 h 6557032"/>
              <a:gd name="connsiteX9272" fmla="*/ 519320 w 4610101"/>
              <a:gd name="connsiteY9272" fmla="*/ 1500501 h 6557032"/>
              <a:gd name="connsiteX9273" fmla="*/ 515676 w 4610101"/>
              <a:gd name="connsiteY9273" fmla="*/ 1504146 h 6557032"/>
              <a:gd name="connsiteX9274" fmla="*/ 517498 w 4610101"/>
              <a:gd name="connsiteY9274" fmla="*/ 1505968 h 6557032"/>
              <a:gd name="connsiteX9275" fmla="*/ 519320 w 4610101"/>
              <a:gd name="connsiteY9275" fmla="*/ 1500501 h 6557032"/>
              <a:gd name="connsiteX9276" fmla="*/ 400879 w 4610101"/>
              <a:gd name="connsiteY9276" fmla="*/ 1500501 h 6557032"/>
              <a:gd name="connsiteX9277" fmla="*/ 393590 w 4610101"/>
              <a:gd name="connsiteY9277" fmla="*/ 1505968 h 6557032"/>
              <a:gd name="connsiteX9278" fmla="*/ 400879 w 4610101"/>
              <a:gd name="connsiteY9278" fmla="*/ 1500501 h 6557032"/>
              <a:gd name="connsiteX9279" fmla="*/ 442884 w 4610101"/>
              <a:gd name="connsiteY9279" fmla="*/ 1500405 h 6557032"/>
              <a:gd name="connsiteX9280" fmla="*/ 435500 w 4610101"/>
              <a:gd name="connsiteY9280" fmla="*/ 1507790 h 6557032"/>
              <a:gd name="connsiteX9281" fmla="*/ 434468 w 4610101"/>
              <a:gd name="connsiteY9281" fmla="*/ 1507127 h 6557032"/>
              <a:gd name="connsiteX9282" fmla="*/ 441194 w 4610101"/>
              <a:gd name="connsiteY9282" fmla="*/ 1500729 h 6557032"/>
              <a:gd name="connsiteX9283" fmla="*/ 2897257 w 4610101"/>
              <a:gd name="connsiteY9283" fmla="*/ 1498679 h 6557032"/>
              <a:gd name="connsiteX9284" fmla="*/ 2895435 w 4610101"/>
              <a:gd name="connsiteY9284" fmla="*/ 1504146 h 6557032"/>
              <a:gd name="connsiteX9285" fmla="*/ 2899079 w 4610101"/>
              <a:gd name="connsiteY9285" fmla="*/ 1504146 h 6557032"/>
              <a:gd name="connsiteX9286" fmla="*/ 2897257 w 4610101"/>
              <a:gd name="connsiteY9286" fmla="*/ 1498679 h 6557032"/>
              <a:gd name="connsiteX9287" fmla="*/ 3294491 w 4610101"/>
              <a:gd name="connsiteY9287" fmla="*/ 1496857 h 6557032"/>
              <a:gd name="connsiteX9288" fmla="*/ 3303602 w 4610101"/>
              <a:gd name="connsiteY9288" fmla="*/ 1504146 h 6557032"/>
              <a:gd name="connsiteX9289" fmla="*/ 3294491 w 4610101"/>
              <a:gd name="connsiteY9289" fmla="*/ 1496857 h 6557032"/>
              <a:gd name="connsiteX9290" fmla="*/ 3254403 w 4610101"/>
              <a:gd name="connsiteY9290" fmla="*/ 1496857 h 6557032"/>
              <a:gd name="connsiteX9291" fmla="*/ 3256225 w 4610101"/>
              <a:gd name="connsiteY9291" fmla="*/ 1509612 h 6557032"/>
              <a:gd name="connsiteX9292" fmla="*/ 3258047 w 4610101"/>
              <a:gd name="connsiteY9292" fmla="*/ 1498679 h 6557032"/>
              <a:gd name="connsiteX9293" fmla="*/ 3254403 w 4610101"/>
              <a:gd name="connsiteY9293" fmla="*/ 1496857 h 6557032"/>
              <a:gd name="connsiteX9294" fmla="*/ 727048 w 4610101"/>
              <a:gd name="connsiteY9294" fmla="*/ 1496857 h 6557032"/>
              <a:gd name="connsiteX9295" fmla="*/ 694249 w 4610101"/>
              <a:gd name="connsiteY9295" fmla="*/ 1509612 h 6557032"/>
              <a:gd name="connsiteX9296" fmla="*/ 690604 w 4610101"/>
              <a:gd name="connsiteY9296" fmla="*/ 1509612 h 6557032"/>
              <a:gd name="connsiteX9297" fmla="*/ 681493 w 4610101"/>
              <a:gd name="connsiteY9297" fmla="*/ 1518723 h 6557032"/>
              <a:gd name="connsiteX9298" fmla="*/ 707004 w 4610101"/>
              <a:gd name="connsiteY9298" fmla="*/ 1535123 h 6557032"/>
              <a:gd name="connsiteX9299" fmla="*/ 707004 w 4610101"/>
              <a:gd name="connsiteY9299" fmla="*/ 1540589 h 6557032"/>
              <a:gd name="connsiteX9300" fmla="*/ 716115 w 4610101"/>
              <a:gd name="connsiteY9300" fmla="*/ 1520545 h 6557032"/>
              <a:gd name="connsiteX9301" fmla="*/ 721581 w 4610101"/>
              <a:gd name="connsiteY9301" fmla="*/ 1524190 h 6557032"/>
              <a:gd name="connsiteX9302" fmla="*/ 728186 w 4610101"/>
              <a:gd name="connsiteY9302" fmla="*/ 1511207 h 6557032"/>
              <a:gd name="connsiteX9303" fmla="*/ 730374 w 4610101"/>
              <a:gd name="connsiteY9303" fmla="*/ 1498679 h 6557032"/>
              <a:gd name="connsiteX9304" fmla="*/ 730692 w 4610101"/>
              <a:gd name="connsiteY9304" fmla="*/ 1496857 h 6557032"/>
              <a:gd name="connsiteX9305" fmla="*/ 729367 w 4610101"/>
              <a:gd name="connsiteY9305" fmla="*/ 1498679 h 6557032"/>
              <a:gd name="connsiteX9306" fmla="*/ 716115 w 4610101"/>
              <a:gd name="connsiteY9306" fmla="*/ 1516901 h 6557032"/>
              <a:gd name="connsiteX9307" fmla="*/ 723404 w 4610101"/>
              <a:gd name="connsiteY9307" fmla="*/ 1504146 h 6557032"/>
              <a:gd name="connsiteX9308" fmla="*/ 694249 w 4610101"/>
              <a:gd name="connsiteY9308" fmla="*/ 1509612 h 6557032"/>
              <a:gd name="connsiteX9309" fmla="*/ 727048 w 4610101"/>
              <a:gd name="connsiteY9309" fmla="*/ 1496857 h 6557032"/>
              <a:gd name="connsiteX9310" fmla="*/ 535719 w 4610101"/>
              <a:gd name="connsiteY9310" fmla="*/ 1496857 h 6557032"/>
              <a:gd name="connsiteX9311" fmla="*/ 537542 w 4610101"/>
              <a:gd name="connsiteY9311" fmla="*/ 1511434 h 6557032"/>
              <a:gd name="connsiteX9312" fmla="*/ 535719 w 4610101"/>
              <a:gd name="connsiteY9312" fmla="*/ 1496857 h 6557032"/>
              <a:gd name="connsiteX9313" fmla="*/ 432540 w 4610101"/>
              <a:gd name="connsiteY9313" fmla="*/ 1496629 h 6557032"/>
              <a:gd name="connsiteX9314" fmla="*/ 428211 w 4610101"/>
              <a:gd name="connsiteY9314" fmla="*/ 1498679 h 6557032"/>
              <a:gd name="connsiteX9315" fmla="*/ 431856 w 4610101"/>
              <a:gd name="connsiteY9315" fmla="*/ 1507790 h 6557032"/>
              <a:gd name="connsiteX9316" fmla="*/ 428211 w 4610101"/>
              <a:gd name="connsiteY9316" fmla="*/ 1498679 h 6557032"/>
              <a:gd name="connsiteX9317" fmla="*/ 435500 w 4610101"/>
              <a:gd name="connsiteY9317" fmla="*/ 1498679 h 6557032"/>
              <a:gd name="connsiteX9318" fmla="*/ 432540 w 4610101"/>
              <a:gd name="connsiteY9318" fmla="*/ 1496629 h 6557032"/>
              <a:gd name="connsiteX9319" fmla="*/ 452212 w 4610101"/>
              <a:gd name="connsiteY9319" fmla="*/ 1495538 h 6557032"/>
              <a:gd name="connsiteX9320" fmla="*/ 450077 w 4610101"/>
              <a:gd name="connsiteY9320" fmla="*/ 1496857 h 6557032"/>
              <a:gd name="connsiteX9321" fmla="*/ 450231 w 4610101"/>
              <a:gd name="connsiteY9321" fmla="*/ 1496198 h 6557032"/>
              <a:gd name="connsiteX9322" fmla="*/ 3466869 w 4610101"/>
              <a:gd name="connsiteY9322" fmla="*/ 1495399 h 6557032"/>
              <a:gd name="connsiteX9323" fmla="*/ 3469419 w 4610101"/>
              <a:gd name="connsiteY9323" fmla="*/ 1500501 h 6557032"/>
              <a:gd name="connsiteX9324" fmla="*/ 3461958 w 4610101"/>
              <a:gd name="connsiteY9324" fmla="*/ 1496101 h 6557032"/>
              <a:gd name="connsiteX9325" fmla="*/ 3460536 w 4610101"/>
              <a:gd name="connsiteY9325" fmla="*/ 1495263 h 6557032"/>
              <a:gd name="connsiteX9326" fmla="*/ 3461958 w 4610101"/>
              <a:gd name="connsiteY9326" fmla="*/ 1496101 h 6557032"/>
              <a:gd name="connsiteX9327" fmla="*/ 3461448 w 4610101"/>
              <a:gd name="connsiteY9327" fmla="*/ 1496174 h 6557032"/>
              <a:gd name="connsiteX9328" fmla="*/ 3459775 w 4610101"/>
              <a:gd name="connsiteY9328" fmla="*/ 1495424 h 6557032"/>
              <a:gd name="connsiteX9329" fmla="*/ 1200814 w 4610101"/>
              <a:gd name="connsiteY9329" fmla="*/ 1495035 h 6557032"/>
              <a:gd name="connsiteX9330" fmla="*/ 1206279 w 4610101"/>
              <a:gd name="connsiteY9330" fmla="*/ 1500501 h 6557032"/>
              <a:gd name="connsiteX9331" fmla="*/ 1208102 w 4610101"/>
              <a:gd name="connsiteY9331" fmla="*/ 1496857 h 6557032"/>
              <a:gd name="connsiteX9332" fmla="*/ 1200814 w 4610101"/>
              <a:gd name="connsiteY9332" fmla="*/ 1495035 h 6557032"/>
              <a:gd name="connsiteX9333" fmla="*/ 3068574 w 4610101"/>
              <a:gd name="connsiteY9333" fmla="*/ 1494960 h 6557032"/>
              <a:gd name="connsiteX9334" fmla="*/ 3068594 w 4610101"/>
              <a:gd name="connsiteY9334" fmla="*/ 1494993 h 6557032"/>
              <a:gd name="connsiteX9335" fmla="*/ 3068541 w 4610101"/>
              <a:gd name="connsiteY9335" fmla="*/ 1495035 h 6557032"/>
              <a:gd name="connsiteX9336" fmla="*/ 1038369 w 4610101"/>
              <a:gd name="connsiteY9336" fmla="*/ 1494686 h 6557032"/>
              <a:gd name="connsiteX9337" fmla="*/ 1038950 w 4610101"/>
              <a:gd name="connsiteY9337" fmla="*/ 1494783 h 6557032"/>
              <a:gd name="connsiteX9338" fmla="*/ 1038809 w 4610101"/>
              <a:gd name="connsiteY9338" fmla="*/ 1494897 h 6557032"/>
              <a:gd name="connsiteX9339" fmla="*/ 1036067 w 4610101"/>
              <a:gd name="connsiteY9339" fmla="*/ 1493581 h 6557032"/>
              <a:gd name="connsiteX9340" fmla="*/ 1038369 w 4610101"/>
              <a:gd name="connsiteY9340" fmla="*/ 1494686 h 6557032"/>
              <a:gd name="connsiteX9341" fmla="*/ 1037877 w 4610101"/>
              <a:gd name="connsiteY9341" fmla="*/ 1494604 h 6557032"/>
              <a:gd name="connsiteX9342" fmla="*/ 3352800 w 4610101"/>
              <a:gd name="connsiteY9342" fmla="*/ 1493214 h 6557032"/>
              <a:gd name="connsiteX9343" fmla="*/ 3385599 w 4610101"/>
              <a:gd name="connsiteY9343" fmla="*/ 1515080 h 6557032"/>
              <a:gd name="connsiteX9344" fmla="*/ 3385599 w 4610101"/>
              <a:gd name="connsiteY9344" fmla="*/ 1524191 h 6557032"/>
              <a:gd name="connsiteX9345" fmla="*/ 3387421 w 4610101"/>
              <a:gd name="connsiteY9345" fmla="*/ 1516903 h 6557032"/>
              <a:gd name="connsiteX9346" fmla="*/ 3412932 w 4610101"/>
              <a:gd name="connsiteY9346" fmla="*/ 1542413 h 6557032"/>
              <a:gd name="connsiteX9347" fmla="*/ 3409287 w 4610101"/>
              <a:gd name="connsiteY9347" fmla="*/ 1544235 h 6557032"/>
              <a:gd name="connsiteX9348" fmla="*/ 3422042 w 4610101"/>
              <a:gd name="connsiteY9348" fmla="*/ 1558813 h 6557032"/>
              <a:gd name="connsiteX9349" fmla="*/ 3411109 w 4610101"/>
              <a:gd name="connsiteY9349" fmla="*/ 1551524 h 6557032"/>
              <a:gd name="connsiteX9350" fmla="*/ 3420220 w 4610101"/>
              <a:gd name="connsiteY9350" fmla="*/ 1575212 h 6557032"/>
              <a:gd name="connsiteX9351" fmla="*/ 3427509 w 4610101"/>
              <a:gd name="connsiteY9351" fmla="*/ 1571568 h 6557032"/>
              <a:gd name="connsiteX9352" fmla="*/ 3416576 w 4610101"/>
              <a:gd name="connsiteY9352" fmla="*/ 1600723 h 6557032"/>
              <a:gd name="connsiteX9353" fmla="*/ 3414754 w 4610101"/>
              <a:gd name="connsiteY9353" fmla="*/ 1587967 h 6557032"/>
              <a:gd name="connsiteX9354" fmla="*/ 3416576 w 4610101"/>
              <a:gd name="connsiteY9354" fmla="*/ 1600723 h 6557032"/>
              <a:gd name="connsiteX9355" fmla="*/ 3418398 w 4610101"/>
              <a:gd name="connsiteY9355" fmla="*/ 1602545 h 6557032"/>
              <a:gd name="connsiteX9356" fmla="*/ 3380132 w 4610101"/>
              <a:gd name="connsiteY9356" fmla="*/ 1591612 h 6557032"/>
              <a:gd name="connsiteX9357" fmla="*/ 3380132 w 4610101"/>
              <a:gd name="connsiteY9357" fmla="*/ 1606189 h 6557032"/>
              <a:gd name="connsiteX9358" fmla="*/ 3374666 w 4610101"/>
              <a:gd name="connsiteY9358" fmla="*/ 1606189 h 6557032"/>
              <a:gd name="connsiteX9359" fmla="*/ 3365555 w 4610101"/>
              <a:gd name="connsiteY9359" fmla="*/ 1587967 h 6557032"/>
              <a:gd name="connsiteX9360" fmla="*/ 3367377 w 4610101"/>
              <a:gd name="connsiteY9360" fmla="*/ 1600723 h 6557032"/>
              <a:gd name="connsiteX9361" fmla="*/ 3349155 w 4610101"/>
              <a:gd name="connsiteY9361" fmla="*/ 1584323 h 6557032"/>
              <a:gd name="connsiteX9362" fmla="*/ 3356444 w 4610101"/>
              <a:gd name="connsiteY9362" fmla="*/ 1611656 h 6557032"/>
              <a:gd name="connsiteX9363" fmla="*/ 3345511 w 4610101"/>
              <a:gd name="connsiteY9363" fmla="*/ 1622590 h 6557032"/>
              <a:gd name="connsiteX9364" fmla="*/ 3340045 w 4610101"/>
              <a:gd name="connsiteY9364" fmla="*/ 1620766 h 6557032"/>
              <a:gd name="connsiteX9365" fmla="*/ 3340045 w 4610101"/>
              <a:gd name="connsiteY9365" fmla="*/ 1610289 h 6557032"/>
              <a:gd name="connsiteX9366" fmla="*/ 3345511 w 4610101"/>
              <a:gd name="connsiteY9366" fmla="*/ 1611656 h 6557032"/>
              <a:gd name="connsiteX9367" fmla="*/ 3341867 w 4610101"/>
              <a:gd name="connsiteY9367" fmla="*/ 1602545 h 6557032"/>
              <a:gd name="connsiteX9368" fmla="*/ 3340045 w 4610101"/>
              <a:gd name="connsiteY9368" fmla="*/ 1605692 h 6557032"/>
              <a:gd name="connsiteX9369" fmla="*/ 3340045 w 4610101"/>
              <a:gd name="connsiteY9369" fmla="*/ 1597078 h 6557032"/>
              <a:gd name="connsiteX9370" fmla="*/ 3341867 w 4610101"/>
              <a:gd name="connsiteY9370" fmla="*/ 1600723 h 6557032"/>
              <a:gd name="connsiteX9371" fmla="*/ 3341867 w 4610101"/>
              <a:gd name="connsiteY9371" fmla="*/ 1595256 h 6557032"/>
              <a:gd name="connsiteX9372" fmla="*/ 3338222 w 4610101"/>
              <a:gd name="connsiteY9372" fmla="*/ 1593435 h 6557032"/>
              <a:gd name="connsiteX9373" fmla="*/ 3347333 w 4610101"/>
              <a:gd name="connsiteY9373" fmla="*/ 1516903 h 6557032"/>
              <a:gd name="connsiteX9374" fmla="*/ 3349155 w 4610101"/>
              <a:gd name="connsiteY9374" fmla="*/ 1516903 h 6557032"/>
              <a:gd name="connsiteX9375" fmla="*/ 3347333 w 4610101"/>
              <a:gd name="connsiteY9375" fmla="*/ 1515080 h 6557032"/>
              <a:gd name="connsiteX9376" fmla="*/ 3352800 w 4610101"/>
              <a:gd name="connsiteY9376" fmla="*/ 1493214 h 6557032"/>
              <a:gd name="connsiteX9377" fmla="*/ 2871747 w 4610101"/>
              <a:gd name="connsiteY9377" fmla="*/ 1493213 h 6557032"/>
              <a:gd name="connsiteX9378" fmla="*/ 2873569 w 4610101"/>
              <a:gd name="connsiteY9378" fmla="*/ 1498679 h 6557032"/>
              <a:gd name="connsiteX9379" fmla="*/ 2879035 w 4610101"/>
              <a:gd name="connsiteY9379" fmla="*/ 1496857 h 6557032"/>
              <a:gd name="connsiteX9380" fmla="*/ 2877213 w 4610101"/>
              <a:gd name="connsiteY9380" fmla="*/ 1493213 h 6557032"/>
              <a:gd name="connsiteX9381" fmla="*/ 2871747 w 4610101"/>
              <a:gd name="connsiteY9381" fmla="*/ 1493213 h 6557032"/>
              <a:gd name="connsiteX9382" fmla="*/ 1186236 w 4610101"/>
              <a:gd name="connsiteY9382" fmla="*/ 1493213 h 6557032"/>
              <a:gd name="connsiteX9383" fmla="*/ 1191703 w 4610101"/>
              <a:gd name="connsiteY9383" fmla="*/ 1509612 h 6557032"/>
              <a:gd name="connsiteX9384" fmla="*/ 1193525 w 4610101"/>
              <a:gd name="connsiteY9384" fmla="*/ 1507790 h 6557032"/>
              <a:gd name="connsiteX9385" fmla="*/ 1197169 w 4610101"/>
              <a:gd name="connsiteY9385" fmla="*/ 1516901 h 6557032"/>
              <a:gd name="connsiteX9386" fmla="*/ 1202636 w 4610101"/>
              <a:gd name="connsiteY9386" fmla="*/ 1513257 h 6557032"/>
              <a:gd name="connsiteX9387" fmla="*/ 1197169 w 4610101"/>
              <a:gd name="connsiteY9387" fmla="*/ 1505968 h 6557032"/>
              <a:gd name="connsiteX9388" fmla="*/ 1197169 w 4610101"/>
              <a:gd name="connsiteY9388" fmla="*/ 1504146 h 6557032"/>
              <a:gd name="connsiteX9389" fmla="*/ 1186236 w 4610101"/>
              <a:gd name="connsiteY9389" fmla="*/ 1493213 h 6557032"/>
              <a:gd name="connsiteX9390" fmla="*/ 1029529 w 4610101"/>
              <a:gd name="connsiteY9390" fmla="*/ 1493213 h 6557032"/>
              <a:gd name="connsiteX9391" fmla="*/ 1037877 w 4610101"/>
              <a:gd name="connsiteY9391" fmla="*/ 1494604 h 6557032"/>
              <a:gd name="connsiteX9392" fmla="*/ 1038639 w 4610101"/>
              <a:gd name="connsiteY9392" fmla="*/ 1495035 h 6557032"/>
              <a:gd name="connsiteX9393" fmla="*/ 1038809 w 4610101"/>
              <a:gd name="connsiteY9393" fmla="*/ 1494897 h 6557032"/>
              <a:gd name="connsiteX9394" fmla="*/ 1041230 w 4610101"/>
              <a:gd name="connsiteY9394" fmla="*/ 1496059 h 6557032"/>
              <a:gd name="connsiteX9395" fmla="*/ 1048471 w 4610101"/>
              <a:gd name="connsiteY9395" fmla="*/ 1505712 h 6557032"/>
              <a:gd name="connsiteX9396" fmla="*/ 1047750 w 4610101"/>
              <a:gd name="connsiteY9396" fmla="*/ 1505968 h 6557032"/>
              <a:gd name="connsiteX9397" fmla="*/ 1049153 w 4610101"/>
              <a:gd name="connsiteY9397" fmla="*/ 1506622 h 6557032"/>
              <a:gd name="connsiteX9398" fmla="*/ 1052761 w 4610101"/>
              <a:gd name="connsiteY9398" fmla="*/ 1511434 h 6557032"/>
              <a:gd name="connsiteX9399" fmla="*/ 1059463 w 4610101"/>
              <a:gd name="connsiteY9399" fmla="*/ 1511434 h 6557032"/>
              <a:gd name="connsiteX9400" fmla="*/ 1061416 w 4610101"/>
              <a:gd name="connsiteY9400" fmla="*/ 1512345 h 6557032"/>
              <a:gd name="connsiteX9401" fmla="*/ 1070944 w 4610101"/>
              <a:gd name="connsiteY9401" fmla="*/ 1516792 h 6557032"/>
              <a:gd name="connsiteX9402" fmla="*/ 1056861 w 4610101"/>
              <a:gd name="connsiteY9402" fmla="*/ 1515079 h 6557032"/>
              <a:gd name="connsiteX9403" fmla="*/ 1058611 w 4610101"/>
              <a:gd name="connsiteY9403" fmla="*/ 1518175 h 6557032"/>
              <a:gd name="connsiteX9404" fmla="*/ 1053217 w 4610101"/>
              <a:gd name="connsiteY9404" fmla="*/ 1513257 h 6557032"/>
              <a:gd name="connsiteX9405" fmla="*/ 1038639 w 4610101"/>
              <a:gd name="connsiteY9405" fmla="*/ 1513257 h 6557032"/>
              <a:gd name="connsiteX9406" fmla="*/ 1045929 w 4610101"/>
              <a:gd name="connsiteY9406" fmla="*/ 1518723 h 6557032"/>
              <a:gd name="connsiteX9407" fmla="*/ 1034336 w 4610101"/>
              <a:gd name="connsiteY9407" fmla="*/ 1512927 h 6557032"/>
              <a:gd name="connsiteX9408" fmla="*/ 1038639 w 4610101"/>
              <a:gd name="connsiteY9408" fmla="*/ 1511434 h 6557032"/>
              <a:gd name="connsiteX9409" fmla="*/ 1024062 w 4610101"/>
              <a:gd name="connsiteY9409" fmla="*/ 1505968 h 6557032"/>
              <a:gd name="connsiteX9410" fmla="*/ 1047750 w 4610101"/>
              <a:gd name="connsiteY9410" fmla="*/ 1509612 h 6557032"/>
              <a:gd name="connsiteX9411" fmla="*/ 1031351 w 4610101"/>
              <a:gd name="connsiteY9411" fmla="*/ 1502324 h 6557032"/>
              <a:gd name="connsiteX9412" fmla="*/ 1034995 w 4610101"/>
              <a:gd name="connsiteY9412" fmla="*/ 1496857 h 6557032"/>
              <a:gd name="connsiteX9413" fmla="*/ 1029529 w 4610101"/>
              <a:gd name="connsiteY9413" fmla="*/ 1493213 h 6557032"/>
              <a:gd name="connsiteX9414" fmla="*/ 750737 w 4610101"/>
              <a:gd name="connsiteY9414" fmla="*/ 1493213 h 6557032"/>
              <a:gd name="connsiteX9415" fmla="*/ 745269 w 4610101"/>
              <a:gd name="connsiteY9415" fmla="*/ 1507790 h 6557032"/>
              <a:gd name="connsiteX9416" fmla="*/ 759848 w 4610101"/>
              <a:gd name="connsiteY9416" fmla="*/ 1500501 h 6557032"/>
              <a:gd name="connsiteX9417" fmla="*/ 750737 w 4610101"/>
              <a:gd name="connsiteY9417" fmla="*/ 1493213 h 6557032"/>
              <a:gd name="connsiteX9418" fmla="*/ 655983 w 4610101"/>
              <a:gd name="connsiteY9418" fmla="*/ 1493213 h 6557032"/>
              <a:gd name="connsiteX9419" fmla="*/ 639583 w 4610101"/>
              <a:gd name="connsiteY9419" fmla="*/ 1515079 h 6557032"/>
              <a:gd name="connsiteX9420" fmla="*/ 661449 w 4610101"/>
              <a:gd name="connsiteY9420" fmla="*/ 1498679 h 6557032"/>
              <a:gd name="connsiteX9421" fmla="*/ 655983 w 4610101"/>
              <a:gd name="connsiteY9421" fmla="*/ 1493213 h 6557032"/>
              <a:gd name="connsiteX9422" fmla="*/ 573985 w 4610101"/>
              <a:gd name="connsiteY9422" fmla="*/ 1493213 h 6557032"/>
              <a:gd name="connsiteX9423" fmla="*/ 568519 w 4610101"/>
              <a:gd name="connsiteY9423" fmla="*/ 1507790 h 6557032"/>
              <a:gd name="connsiteX9424" fmla="*/ 581274 w 4610101"/>
              <a:gd name="connsiteY9424" fmla="*/ 1504146 h 6557032"/>
              <a:gd name="connsiteX9425" fmla="*/ 573985 w 4610101"/>
              <a:gd name="connsiteY9425" fmla="*/ 1493213 h 6557032"/>
              <a:gd name="connsiteX9426" fmla="*/ 1319255 w 4610101"/>
              <a:gd name="connsiteY9426" fmla="*/ 1491513 h 6557032"/>
              <a:gd name="connsiteX9427" fmla="*/ 1319255 w 4610101"/>
              <a:gd name="connsiteY9427" fmla="*/ 1513378 h 6557032"/>
              <a:gd name="connsiteX9428" fmla="*/ 1280989 w 4610101"/>
              <a:gd name="connsiteY9428" fmla="*/ 1513378 h 6557032"/>
              <a:gd name="connsiteX9429" fmla="*/ 1280989 w 4610101"/>
              <a:gd name="connsiteY9429" fmla="*/ 1527955 h 6557032"/>
              <a:gd name="connsiteX9430" fmla="*/ 1270056 w 4610101"/>
              <a:gd name="connsiteY9430" fmla="*/ 1526133 h 6557032"/>
              <a:gd name="connsiteX9431" fmla="*/ 1269719 w 4610101"/>
              <a:gd name="connsiteY9431" fmla="*/ 1524445 h 6557032"/>
              <a:gd name="connsiteX9432" fmla="*/ 1266411 w 4610101"/>
              <a:gd name="connsiteY9432" fmla="*/ 1507912 h 6557032"/>
              <a:gd name="connsiteX9433" fmla="*/ 823623 w 4610101"/>
              <a:gd name="connsiteY9433" fmla="*/ 1491391 h 6557032"/>
              <a:gd name="connsiteX9434" fmla="*/ 819979 w 4610101"/>
              <a:gd name="connsiteY9434" fmla="*/ 1495035 h 6557032"/>
              <a:gd name="connsiteX9435" fmla="*/ 812690 w 4610101"/>
              <a:gd name="connsiteY9435" fmla="*/ 1498679 h 6557032"/>
              <a:gd name="connsiteX9436" fmla="*/ 805401 w 4610101"/>
              <a:gd name="connsiteY9436" fmla="*/ 1500501 h 6557032"/>
              <a:gd name="connsiteX9437" fmla="*/ 810868 w 4610101"/>
              <a:gd name="connsiteY9437" fmla="*/ 1500501 h 6557032"/>
              <a:gd name="connsiteX9438" fmla="*/ 803579 w 4610101"/>
              <a:gd name="connsiteY9438" fmla="*/ 1504146 h 6557032"/>
              <a:gd name="connsiteX9439" fmla="*/ 809046 w 4610101"/>
              <a:gd name="connsiteY9439" fmla="*/ 1513257 h 6557032"/>
              <a:gd name="connsiteX9440" fmla="*/ 799935 w 4610101"/>
              <a:gd name="connsiteY9440" fmla="*/ 1502324 h 6557032"/>
              <a:gd name="connsiteX9441" fmla="*/ 765313 w 4610101"/>
              <a:gd name="connsiteY9441" fmla="*/ 1498679 h 6557032"/>
              <a:gd name="connsiteX9442" fmla="*/ 772602 w 4610101"/>
              <a:gd name="connsiteY9442" fmla="*/ 1504146 h 6557032"/>
              <a:gd name="connsiteX9443" fmla="*/ 765313 w 4610101"/>
              <a:gd name="connsiteY9443" fmla="*/ 1498679 h 6557032"/>
              <a:gd name="connsiteX9444" fmla="*/ 795151 w 4610101"/>
              <a:gd name="connsiteY9444" fmla="*/ 1515078 h 6557032"/>
              <a:gd name="connsiteX9445" fmla="*/ 798214 w 4610101"/>
              <a:gd name="connsiteY9445" fmla="*/ 1516842 h 6557032"/>
              <a:gd name="connsiteX9446" fmla="*/ 796974 w 4610101"/>
              <a:gd name="connsiteY9446" fmla="*/ 1516218 h 6557032"/>
              <a:gd name="connsiteX9447" fmla="*/ 765313 w 4610101"/>
              <a:gd name="connsiteY9447" fmla="*/ 1502324 h 6557032"/>
              <a:gd name="connsiteX9448" fmla="*/ 758025 w 4610101"/>
              <a:gd name="connsiteY9448" fmla="*/ 1527834 h 6557032"/>
              <a:gd name="connsiteX9449" fmla="*/ 761670 w 4610101"/>
              <a:gd name="connsiteY9449" fmla="*/ 1502324 h 6557032"/>
              <a:gd name="connsiteX9450" fmla="*/ 748914 w 4610101"/>
              <a:gd name="connsiteY9450" fmla="*/ 1511434 h 6557032"/>
              <a:gd name="connsiteX9451" fmla="*/ 750737 w 4610101"/>
              <a:gd name="connsiteY9451" fmla="*/ 1516901 h 6557032"/>
              <a:gd name="connsiteX9452" fmla="*/ 747092 w 4610101"/>
              <a:gd name="connsiteY9452" fmla="*/ 1513257 h 6557032"/>
              <a:gd name="connsiteX9453" fmla="*/ 747092 w 4610101"/>
              <a:gd name="connsiteY9453" fmla="*/ 1520545 h 6557032"/>
              <a:gd name="connsiteX9454" fmla="*/ 750737 w 4610101"/>
              <a:gd name="connsiteY9454" fmla="*/ 1520545 h 6557032"/>
              <a:gd name="connsiteX9455" fmla="*/ 745269 w 4610101"/>
              <a:gd name="connsiteY9455" fmla="*/ 1540589 h 6557032"/>
              <a:gd name="connsiteX9456" fmla="*/ 741626 w 4610101"/>
              <a:gd name="connsiteY9456" fmla="*/ 1533301 h 6557032"/>
              <a:gd name="connsiteX9457" fmla="*/ 741626 w 4610101"/>
              <a:gd name="connsiteY9457" fmla="*/ 1551522 h 6557032"/>
              <a:gd name="connsiteX9458" fmla="*/ 734336 w 4610101"/>
              <a:gd name="connsiteY9458" fmla="*/ 1546056 h 6557032"/>
              <a:gd name="connsiteX9459" fmla="*/ 729729 w 4610101"/>
              <a:gd name="connsiteY9459" fmla="*/ 1555270 h 6557032"/>
              <a:gd name="connsiteX9460" fmla="*/ 728870 w 4610101"/>
              <a:gd name="connsiteY9460" fmla="*/ 1555167 h 6557032"/>
              <a:gd name="connsiteX9461" fmla="*/ 732515 w 4610101"/>
              <a:gd name="connsiteY9461" fmla="*/ 1573388 h 6557032"/>
              <a:gd name="connsiteX9462" fmla="*/ 725226 w 4610101"/>
              <a:gd name="connsiteY9462" fmla="*/ 1571566 h 6557032"/>
              <a:gd name="connsiteX9463" fmla="*/ 723404 w 4610101"/>
              <a:gd name="connsiteY9463" fmla="*/ 1602543 h 6557032"/>
              <a:gd name="connsiteX9464" fmla="*/ 725226 w 4610101"/>
              <a:gd name="connsiteY9464" fmla="*/ 1602543 h 6557032"/>
              <a:gd name="connsiteX9465" fmla="*/ 712470 w 4610101"/>
              <a:gd name="connsiteY9465" fmla="*/ 1615298 h 6557032"/>
              <a:gd name="connsiteX9466" fmla="*/ 699715 w 4610101"/>
              <a:gd name="connsiteY9466" fmla="*/ 1660853 h 6557032"/>
              <a:gd name="connsiteX9467" fmla="*/ 686960 w 4610101"/>
              <a:gd name="connsiteY9467" fmla="*/ 1655386 h 6557032"/>
              <a:gd name="connsiteX9468" fmla="*/ 707004 w 4610101"/>
              <a:gd name="connsiteY9468" fmla="*/ 1662675 h 6557032"/>
              <a:gd name="connsiteX9469" fmla="*/ 699715 w 4610101"/>
              <a:gd name="connsiteY9469" fmla="*/ 1657208 h 6557032"/>
              <a:gd name="connsiteX9470" fmla="*/ 758025 w 4610101"/>
              <a:gd name="connsiteY9470" fmla="*/ 1651742 h 6557032"/>
              <a:gd name="connsiteX9471" fmla="*/ 756203 w 4610101"/>
              <a:gd name="connsiteY9471" fmla="*/ 1655386 h 6557032"/>
              <a:gd name="connsiteX9472" fmla="*/ 767136 w 4610101"/>
              <a:gd name="connsiteY9472" fmla="*/ 1651742 h 6557032"/>
              <a:gd name="connsiteX9473" fmla="*/ 759848 w 4610101"/>
              <a:gd name="connsiteY9473" fmla="*/ 1651742 h 6557032"/>
              <a:gd name="connsiteX9474" fmla="*/ 781713 w 4610101"/>
              <a:gd name="connsiteY9474" fmla="*/ 1653564 h 6557032"/>
              <a:gd name="connsiteX9475" fmla="*/ 825445 w 4610101"/>
              <a:gd name="connsiteY9475" fmla="*/ 1648097 h 6557032"/>
              <a:gd name="connsiteX9476" fmla="*/ 818156 w 4610101"/>
              <a:gd name="connsiteY9476" fmla="*/ 1644453 h 6557032"/>
              <a:gd name="connsiteX9477" fmla="*/ 825445 w 4610101"/>
              <a:gd name="connsiteY9477" fmla="*/ 1644453 h 6557032"/>
              <a:gd name="connsiteX9478" fmla="*/ 869177 w 4610101"/>
              <a:gd name="connsiteY9478" fmla="*/ 1631698 h 6557032"/>
              <a:gd name="connsiteX9479" fmla="*/ 863711 w 4610101"/>
              <a:gd name="connsiteY9479" fmla="*/ 1631698 h 6557032"/>
              <a:gd name="connsiteX9480" fmla="*/ 963930 w 4610101"/>
              <a:gd name="connsiteY9480" fmla="*/ 1618943 h 6557032"/>
              <a:gd name="connsiteX9481" fmla="*/ 963039 w 4610101"/>
              <a:gd name="connsiteY9481" fmla="*/ 1618489 h 6557032"/>
              <a:gd name="connsiteX9482" fmla="*/ 989441 w 4610101"/>
              <a:gd name="connsiteY9482" fmla="*/ 1617121 h 6557032"/>
              <a:gd name="connsiteX9483" fmla="*/ 958236 w 4610101"/>
              <a:gd name="connsiteY9483" fmla="*/ 1603910 h 6557032"/>
              <a:gd name="connsiteX9484" fmla="*/ 931795 w 4610101"/>
              <a:gd name="connsiteY9484" fmla="*/ 1604279 h 6557032"/>
              <a:gd name="connsiteX9485" fmla="*/ 932953 w 4610101"/>
              <a:gd name="connsiteY9485" fmla="*/ 1602543 h 6557032"/>
              <a:gd name="connsiteX9486" fmla="*/ 929030 w 4610101"/>
              <a:gd name="connsiteY9486" fmla="*/ 1604318 h 6557032"/>
              <a:gd name="connsiteX9487" fmla="*/ 925886 w 4610101"/>
              <a:gd name="connsiteY9487" fmla="*/ 1604362 h 6557032"/>
              <a:gd name="connsiteX9488" fmla="*/ 925763 w 4610101"/>
              <a:gd name="connsiteY9488" fmla="*/ 1604299 h 6557032"/>
              <a:gd name="connsiteX9489" fmla="*/ 931131 w 4610101"/>
              <a:gd name="connsiteY9489" fmla="*/ 1600721 h 6557032"/>
              <a:gd name="connsiteX9490" fmla="*/ 916555 w 4610101"/>
              <a:gd name="connsiteY9490" fmla="*/ 1598899 h 6557032"/>
              <a:gd name="connsiteX9491" fmla="*/ 917617 w 4610101"/>
              <a:gd name="connsiteY9491" fmla="*/ 1600140 h 6557032"/>
              <a:gd name="connsiteX9492" fmla="*/ 904482 w 4610101"/>
              <a:gd name="connsiteY9492" fmla="*/ 1593432 h 6557032"/>
              <a:gd name="connsiteX9493" fmla="*/ 871000 w 4610101"/>
              <a:gd name="connsiteY9493" fmla="*/ 1587966 h 6557032"/>
              <a:gd name="connsiteX9494" fmla="*/ 858244 w 4610101"/>
              <a:gd name="connsiteY9494" fmla="*/ 1591155 h 6557032"/>
              <a:gd name="connsiteX9495" fmla="*/ 855363 w 4610101"/>
              <a:gd name="connsiteY9495" fmla="*/ 1591257 h 6557032"/>
              <a:gd name="connsiteX9496" fmla="*/ 860066 w 4610101"/>
              <a:gd name="connsiteY9496" fmla="*/ 1589788 h 6557032"/>
              <a:gd name="connsiteX9497" fmla="*/ 860066 w 4610101"/>
              <a:gd name="connsiteY9497" fmla="*/ 1584321 h 6557032"/>
              <a:gd name="connsiteX9498" fmla="*/ 872822 w 4610101"/>
              <a:gd name="connsiteY9498" fmla="*/ 1584321 h 6557032"/>
              <a:gd name="connsiteX9499" fmla="*/ 871000 w 4610101"/>
              <a:gd name="connsiteY9499" fmla="*/ 1582499 h 6557032"/>
              <a:gd name="connsiteX9500" fmla="*/ 877384 w 4610101"/>
              <a:gd name="connsiteY9500" fmla="*/ 1583563 h 6557032"/>
              <a:gd name="connsiteX9501" fmla="*/ 887399 w 4610101"/>
              <a:gd name="connsiteY9501" fmla="*/ 1587966 h 6557032"/>
              <a:gd name="connsiteX9502" fmla="*/ 940242 w 4610101"/>
              <a:gd name="connsiteY9502" fmla="*/ 1586144 h 6557032"/>
              <a:gd name="connsiteX9503" fmla="*/ 834556 w 4610101"/>
              <a:gd name="connsiteY9503" fmla="*/ 1566100 h 6557032"/>
              <a:gd name="connsiteX9504" fmla="*/ 860977 w 4610101"/>
              <a:gd name="connsiteY9504" fmla="*/ 1576350 h 6557032"/>
              <a:gd name="connsiteX9505" fmla="*/ 868478 w 4610101"/>
              <a:gd name="connsiteY9505" fmla="*/ 1579647 h 6557032"/>
              <a:gd name="connsiteX9506" fmla="*/ 817018 w 4610101"/>
              <a:gd name="connsiteY9506" fmla="*/ 1561772 h 6557032"/>
              <a:gd name="connsiteX9507" fmla="*/ 813902 w 4610101"/>
              <a:gd name="connsiteY9507" fmla="*/ 1561845 h 6557032"/>
              <a:gd name="connsiteX9508" fmla="*/ 810868 w 4610101"/>
              <a:gd name="connsiteY9508" fmla="*/ 1558811 h 6557032"/>
              <a:gd name="connsiteX9509" fmla="*/ 843667 w 4610101"/>
              <a:gd name="connsiteY9509" fmla="*/ 1556989 h 6557032"/>
              <a:gd name="connsiteX9510" fmla="*/ 845489 w 4610101"/>
              <a:gd name="connsiteY9510" fmla="*/ 1542412 h 6557032"/>
              <a:gd name="connsiteX9511" fmla="*/ 838620 w 4610101"/>
              <a:gd name="connsiteY9511" fmla="*/ 1536804 h 6557032"/>
              <a:gd name="connsiteX9512" fmla="*/ 843667 w 4610101"/>
              <a:gd name="connsiteY9512" fmla="*/ 1540589 h 6557032"/>
              <a:gd name="connsiteX9513" fmla="*/ 843667 w 4610101"/>
              <a:gd name="connsiteY9513" fmla="*/ 1518723 h 6557032"/>
              <a:gd name="connsiteX9514" fmla="*/ 829089 w 4610101"/>
              <a:gd name="connsiteY9514" fmla="*/ 1529656 h 6557032"/>
              <a:gd name="connsiteX9515" fmla="*/ 833662 w 4610101"/>
              <a:gd name="connsiteY9515" fmla="*/ 1533085 h 6557032"/>
              <a:gd name="connsiteX9516" fmla="*/ 822903 w 4610101"/>
              <a:gd name="connsiteY9516" fmla="*/ 1534337 h 6557032"/>
              <a:gd name="connsiteX9517" fmla="*/ 827267 w 4610101"/>
              <a:gd name="connsiteY9517" fmla="*/ 1531478 h 6557032"/>
              <a:gd name="connsiteX9518" fmla="*/ 824600 w 4610101"/>
              <a:gd name="connsiteY9518" fmla="*/ 1530134 h 6557032"/>
              <a:gd name="connsiteX9519" fmla="*/ 832734 w 4610101"/>
              <a:gd name="connsiteY9519" fmla="*/ 1518951 h 6557032"/>
              <a:gd name="connsiteX9520" fmla="*/ 830912 w 4610101"/>
              <a:gd name="connsiteY9520" fmla="*/ 1502324 h 6557032"/>
              <a:gd name="connsiteX9521" fmla="*/ 822090 w 4610101"/>
              <a:gd name="connsiteY9521" fmla="*/ 1509208 h 6557032"/>
              <a:gd name="connsiteX9522" fmla="*/ 828178 w 4610101"/>
              <a:gd name="connsiteY9522" fmla="*/ 1500729 h 6557032"/>
              <a:gd name="connsiteX9523" fmla="*/ 823623 w 4610101"/>
              <a:gd name="connsiteY9523" fmla="*/ 1493213 h 6557032"/>
              <a:gd name="connsiteX9524" fmla="*/ 825445 w 4610101"/>
              <a:gd name="connsiteY9524" fmla="*/ 1493213 h 6557032"/>
              <a:gd name="connsiteX9525" fmla="*/ 823623 w 4610101"/>
              <a:gd name="connsiteY9525" fmla="*/ 1491391 h 6557032"/>
              <a:gd name="connsiteX9526" fmla="*/ 752558 w 4610101"/>
              <a:gd name="connsiteY9526" fmla="*/ 1491391 h 6557032"/>
              <a:gd name="connsiteX9527" fmla="*/ 761670 w 4610101"/>
              <a:gd name="connsiteY9527" fmla="*/ 1498679 h 6557032"/>
              <a:gd name="connsiteX9528" fmla="*/ 752558 w 4610101"/>
              <a:gd name="connsiteY9528" fmla="*/ 1491391 h 6557032"/>
              <a:gd name="connsiteX9529" fmla="*/ 504743 w 4610101"/>
              <a:gd name="connsiteY9529" fmla="*/ 1491391 h 6557032"/>
              <a:gd name="connsiteX9530" fmla="*/ 508387 w 4610101"/>
              <a:gd name="connsiteY9530" fmla="*/ 1504146 h 6557032"/>
              <a:gd name="connsiteX9531" fmla="*/ 515676 w 4610101"/>
              <a:gd name="connsiteY9531" fmla="*/ 1496857 h 6557032"/>
              <a:gd name="connsiteX9532" fmla="*/ 504743 w 4610101"/>
              <a:gd name="connsiteY9532" fmla="*/ 1491391 h 6557032"/>
              <a:gd name="connsiteX9533" fmla="*/ 477410 w 4610101"/>
              <a:gd name="connsiteY9533" fmla="*/ 1491391 h 6557032"/>
              <a:gd name="connsiteX9534" fmla="*/ 473766 w 4610101"/>
              <a:gd name="connsiteY9534" fmla="*/ 1496857 h 6557032"/>
              <a:gd name="connsiteX9535" fmla="*/ 477410 w 4610101"/>
              <a:gd name="connsiteY9535" fmla="*/ 1500501 h 6557032"/>
              <a:gd name="connsiteX9536" fmla="*/ 481054 w 4610101"/>
              <a:gd name="connsiteY9536" fmla="*/ 1493213 h 6557032"/>
              <a:gd name="connsiteX9537" fmla="*/ 477410 w 4610101"/>
              <a:gd name="connsiteY9537" fmla="*/ 1496857 h 6557032"/>
              <a:gd name="connsiteX9538" fmla="*/ 477410 w 4610101"/>
              <a:gd name="connsiteY9538" fmla="*/ 1491391 h 6557032"/>
              <a:gd name="connsiteX9539" fmla="*/ 451899 w 4610101"/>
              <a:gd name="connsiteY9539" fmla="*/ 1491391 h 6557032"/>
              <a:gd name="connsiteX9540" fmla="*/ 451244 w 4610101"/>
              <a:gd name="connsiteY9540" fmla="*/ 1491871 h 6557032"/>
              <a:gd name="connsiteX9541" fmla="*/ 451256 w 4610101"/>
              <a:gd name="connsiteY9541" fmla="*/ 1491819 h 6557032"/>
              <a:gd name="connsiteX9542" fmla="*/ 3464156 w 4610101"/>
              <a:gd name="connsiteY9542" fmla="*/ 1489973 h 6557032"/>
              <a:gd name="connsiteX9543" fmla="*/ 3469419 w 4610101"/>
              <a:gd name="connsiteY9543" fmla="*/ 1495035 h 6557032"/>
              <a:gd name="connsiteX9544" fmla="*/ 3466869 w 4610101"/>
              <a:gd name="connsiteY9544" fmla="*/ 1495399 h 6557032"/>
              <a:gd name="connsiteX9545" fmla="*/ 3310890 w 4610101"/>
              <a:gd name="connsiteY9545" fmla="*/ 1489568 h 6557032"/>
              <a:gd name="connsiteX9546" fmla="*/ 3309068 w 4610101"/>
              <a:gd name="connsiteY9546" fmla="*/ 1500501 h 6557032"/>
              <a:gd name="connsiteX9547" fmla="*/ 3310890 w 4610101"/>
              <a:gd name="connsiteY9547" fmla="*/ 1489568 h 6557032"/>
              <a:gd name="connsiteX9548" fmla="*/ 1027707 w 4610101"/>
              <a:gd name="connsiteY9548" fmla="*/ 1489568 h 6557032"/>
              <a:gd name="connsiteX9549" fmla="*/ 1029529 w 4610101"/>
              <a:gd name="connsiteY9549" fmla="*/ 1490443 h 6557032"/>
              <a:gd name="connsiteX9550" fmla="*/ 1029529 w 4610101"/>
              <a:gd name="connsiteY9550" fmla="*/ 1491391 h 6557032"/>
              <a:gd name="connsiteX9551" fmla="*/ 1027707 w 4610101"/>
              <a:gd name="connsiteY9551" fmla="*/ 1490495 h 6557032"/>
              <a:gd name="connsiteX9552" fmla="*/ 590385 w 4610101"/>
              <a:gd name="connsiteY9552" fmla="*/ 1489568 h 6557032"/>
              <a:gd name="connsiteX9553" fmla="*/ 586741 w 4610101"/>
              <a:gd name="connsiteY9553" fmla="*/ 1493213 h 6557032"/>
              <a:gd name="connsiteX9554" fmla="*/ 588562 w 4610101"/>
              <a:gd name="connsiteY9554" fmla="*/ 1496857 h 6557032"/>
              <a:gd name="connsiteX9555" fmla="*/ 590385 w 4610101"/>
              <a:gd name="connsiteY9555" fmla="*/ 1489568 h 6557032"/>
              <a:gd name="connsiteX9556" fmla="*/ 564874 w 4610101"/>
              <a:gd name="connsiteY9556" fmla="*/ 1489568 h 6557032"/>
              <a:gd name="connsiteX9557" fmla="*/ 552119 w 4610101"/>
              <a:gd name="connsiteY9557" fmla="*/ 1498679 h 6557032"/>
              <a:gd name="connsiteX9558" fmla="*/ 557586 w 4610101"/>
              <a:gd name="connsiteY9558" fmla="*/ 1505968 h 6557032"/>
              <a:gd name="connsiteX9559" fmla="*/ 566697 w 4610101"/>
              <a:gd name="connsiteY9559" fmla="*/ 1498679 h 6557032"/>
              <a:gd name="connsiteX9560" fmla="*/ 561230 w 4610101"/>
              <a:gd name="connsiteY9560" fmla="*/ 1498679 h 6557032"/>
              <a:gd name="connsiteX9561" fmla="*/ 564874 w 4610101"/>
              <a:gd name="connsiteY9561" fmla="*/ 1489568 h 6557032"/>
              <a:gd name="connsiteX9562" fmla="*/ 552119 w 4610101"/>
              <a:gd name="connsiteY9562" fmla="*/ 1489568 h 6557032"/>
              <a:gd name="connsiteX9563" fmla="*/ 557586 w 4610101"/>
              <a:gd name="connsiteY9563" fmla="*/ 1493213 h 6557032"/>
              <a:gd name="connsiteX9564" fmla="*/ 552119 w 4610101"/>
              <a:gd name="connsiteY9564" fmla="*/ 1489568 h 6557032"/>
              <a:gd name="connsiteX9565" fmla="*/ 546653 w 4610101"/>
              <a:gd name="connsiteY9565" fmla="*/ 1489568 h 6557032"/>
              <a:gd name="connsiteX9566" fmla="*/ 546625 w 4610101"/>
              <a:gd name="connsiteY9566" fmla="*/ 1489833 h 6557032"/>
              <a:gd name="connsiteX9567" fmla="*/ 546546 w 4610101"/>
              <a:gd name="connsiteY9567" fmla="*/ 1489843 h 6557032"/>
              <a:gd name="connsiteX9568" fmla="*/ 539364 w 4610101"/>
              <a:gd name="connsiteY9568" fmla="*/ 1489568 h 6557032"/>
              <a:gd name="connsiteX9569" fmla="*/ 543008 w 4610101"/>
              <a:gd name="connsiteY9569" fmla="*/ 1491391 h 6557032"/>
              <a:gd name="connsiteX9570" fmla="*/ 539364 w 4610101"/>
              <a:gd name="connsiteY9570" fmla="*/ 1489568 h 6557032"/>
              <a:gd name="connsiteX9571" fmla="*/ 1186236 w 4610101"/>
              <a:gd name="connsiteY9571" fmla="*/ 1487746 h 6557032"/>
              <a:gd name="connsiteX9572" fmla="*/ 1184414 w 4610101"/>
              <a:gd name="connsiteY9572" fmla="*/ 1489568 h 6557032"/>
              <a:gd name="connsiteX9573" fmla="*/ 1188058 w 4610101"/>
              <a:gd name="connsiteY9573" fmla="*/ 1493213 h 6557032"/>
              <a:gd name="connsiteX9574" fmla="*/ 1186236 w 4610101"/>
              <a:gd name="connsiteY9574" fmla="*/ 1487746 h 6557032"/>
              <a:gd name="connsiteX9575" fmla="*/ 1029529 w 4610101"/>
              <a:gd name="connsiteY9575" fmla="*/ 1487746 h 6557032"/>
              <a:gd name="connsiteX9576" fmla="*/ 1033401 w 4610101"/>
              <a:gd name="connsiteY9576" fmla="*/ 1492074 h 6557032"/>
              <a:gd name="connsiteX9577" fmla="*/ 1036067 w 4610101"/>
              <a:gd name="connsiteY9577" fmla="*/ 1493581 h 6557032"/>
              <a:gd name="connsiteX9578" fmla="*/ 1029529 w 4610101"/>
              <a:gd name="connsiteY9578" fmla="*/ 1490443 h 6557032"/>
              <a:gd name="connsiteX9579" fmla="*/ 840022 w 4610101"/>
              <a:gd name="connsiteY9579" fmla="*/ 1487746 h 6557032"/>
              <a:gd name="connsiteX9580" fmla="*/ 843667 w 4610101"/>
              <a:gd name="connsiteY9580" fmla="*/ 1505968 h 6557032"/>
              <a:gd name="connsiteX9581" fmla="*/ 841845 w 4610101"/>
              <a:gd name="connsiteY9581" fmla="*/ 1507790 h 6557032"/>
              <a:gd name="connsiteX9582" fmla="*/ 852778 w 4610101"/>
              <a:gd name="connsiteY9582" fmla="*/ 1505968 h 6557032"/>
              <a:gd name="connsiteX9583" fmla="*/ 847311 w 4610101"/>
              <a:gd name="connsiteY9583" fmla="*/ 1502324 h 6557032"/>
              <a:gd name="connsiteX9584" fmla="*/ 850956 w 4610101"/>
              <a:gd name="connsiteY9584" fmla="*/ 1498679 h 6557032"/>
              <a:gd name="connsiteX9585" fmla="*/ 840022 w 4610101"/>
              <a:gd name="connsiteY9585" fmla="*/ 1487746 h 6557032"/>
              <a:gd name="connsiteX9586" fmla="*/ 697893 w 4610101"/>
              <a:gd name="connsiteY9586" fmla="*/ 1487746 h 6557032"/>
              <a:gd name="connsiteX9587" fmla="*/ 677849 w 4610101"/>
              <a:gd name="connsiteY9587" fmla="*/ 1505968 h 6557032"/>
              <a:gd name="connsiteX9588" fmla="*/ 705182 w 4610101"/>
              <a:gd name="connsiteY9588" fmla="*/ 1500501 h 6557032"/>
              <a:gd name="connsiteX9589" fmla="*/ 697893 w 4610101"/>
              <a:gd name="connsiteY9589" fmla="*/ 1487746 h 6557032"/>
              <a:gd name="connsiteX9590" fmla="*/ 544830 w 4610101"/>
              <a:gd name="connsiteY9590" fmla="*/ 1487746 h 6557032"/>
              <a:gd name="connsiteX9591" fmla="*/ 545286 w 4610101"/>
              <a:gd name="connsiteY9591" fmla="*/ 1490024 h 6557032"/>
              <a:gd name="connsiteX9592" fmla="*/ 546546 w 4610101"/>
              <a:gd name="connsiteY9592" fmla="*/ 1489843 h 6557032"/>
              <a:gd name="connsiteX9593" fmla="*/ 542780 w 4610101"/>
              <a:gd name="connsiteY9593" fmla="*/ 1499590 h 6557032"/>
              <a:gd name="connsiteX9594" fmla="*/ 543008 w 4610101"/>
              <a:gd name="connsiteY9594" fmla="*/ 1509612 h 6557032"/>
              <a:gd name="connsiteX9595" fmla="*/ 545514 w 4610101"/>
              <a:gd name="connsiteY9595" fmla="*/ 1500274 h 6557032"/>
              <a:gd name="connsiteX9596" fmla="*/ 546625 w 4610101"/>
              <a:gd name="connsiteY9596" fmla="*/ 1489833 h 6557032"/>
              <a:gd name="connsiteX9597" fmla="*/ 548475 w 4610101"/>
              <a:gd name="connsiteY9597" fmla="*/ 1489568 h 6557032"/>
              <a:gd name="connsiteX9598" fmla="*/ 544830 w 4610101"/>
              <a:gd name="connsiteY9598" fmla="*/ 1487746 h 6557032"/>
              <a:gd name="connsiteX9599" fmla="*/ 417278 w 4610101"/>
              <a:gd name="connsiteY9599" fmla="*/ 1487746 h 6557032"/>
              <a:gd name="connsiteX9600" fmla="*/ 417278 w 4610101"/>
              <a:gd name="connsiteY9600" fmla="*/ 1496857 h 6557032"/>
              <a:gd name="connsiteX9601" fmla="*/ 395412 w 4610101"/>
              <a:gd name="connsiteY9601" fmla="*/ 1507790 h 6557032"/>
              <a:gd name="connsiteX9602" fmla="*/ 402701 w 4610101"/>
              <a:gd name="connsiteY9602" fmla="*/ 1515079 h 6557032"/>
              <a:gd name="connsiteX9603" fmla="*/ 419100 w 4610101"/>
              <a:gd name="connsiteY9603" fmla="*/ 1489568 h 6557032"/>
              <a:gd name="connsiteX9604" fmla="*/ 422745 w 4610101"/>
              <a:gd name="connsiteY9604" fmla="*/ 1487746 h 6557032"/>
              <a:gd name="connsiteX9605" fmla="*/ 417278 w 4610101"/>
              <a:gd name="connsiteY9605" fmla="*/ 1487746 h 6557032"/>
              <a:gd name="connsiteX9606" fmla="*/ 415456 w 4610101"/>
              <a:gd name="connsiteY9606" fmla="*/ 1487746 h 6557032"/>
              <a:gd name="connsiteX9607" fmla="*/ 402701 w 4610101"/>
              <a:gd name="connsiteY9607" fmla="*/ 1495035 h 6557032"/>
              <a:gd name="connsiteX9608" fmla="*/ 415456 w 4610101"/>
              <a:gd name="connsiteY9608" fmla="*/ 1495035 h 6557032"/>
              <a:gd name="connsiteX9609" fmla="*/ 415456 w 4610101"/>
              <a:gd name="connsiteY9609" fmla="*/ 1487746 h 6557032"/>
              <a:gd name="connsiteX9610" fmla="*/ 832734 w 4610101"/>
              <a:gd name="connsiteY9610" fmla="*/ 1485924 h 6557032"/>
              <a:gd name="connsiteX9611" fmla="*/ 834556 w 4610101"/>
              <a:gd name="connsiteY9611" fmla="*/ 1491391 h 6557032"/>
              <a:gd name="connsiteX9612" fmla="*/ 832734 w 4610101"/>
              <a:gd name="connsiteY9612" fmla="*/ 1485924 h 6557032"/>
              <a:gd name="connsiteX9613" fmla="*/ 754380 w 4610101"/>
              <a:gd name="connsiteY9613" fmla="*/ 1485924 h 6557032"/>
              <a:gd name="connsiteX9614" fmla="*/ 752558 w 4610101"/>
              <a:gd name="connsiteY9614" fmla="*/ 1489568 h 6557032"/>
              <a:gd name="connsiteX9615" fmla="*/ 759848 w 4610101"/>
              <a:gd name="connsiteY9615" fmla="*/ 1491391 h 6557032"/>
              <a:gd name="connsiteX9616" fmla="*/ 754380 w 4610101"/>
              <a:gd name="connsiteY9616" fmla="*/ 1485924 h 6557032"/>
              <a:gd name="connsiteX9617" fmla="*/ 741626 w 4610101"/>
              <a:gd name="connsiteY9617" fmla="*/ 1485924 h 6557032"/>
              <a:gd name="connsiteX9618" fmla="*/ 732515 w 4610101"/>
              <a:gd name="connsiteY9618" fmla="*/ 1493213 h 6557032"/>
              <a:gd name="connsiteX9619" fmla="*/ 741626 w 4610101"/>
              <a:gd name="connsiteY9619" fmla="*/ 1485924 h 6557032"/>
              <a:gd name="connsiteX9620" fmla="*/ 677849 w 4610101"/>
              <a:gd name="connsiteY9620" fmla="*/ 1485924 h 6557032"/>
              <a:gd name="connsiteX9621" fmla="*/ 677849 w 4610101"/>
              <a:gd name="connsiteY9621" fmla="*/ 1493213 h 6557032"/>
              <a:gd name="connsiteX9622" fmla="*/ 683316 w 4610101"/>
              <a:gd name="connsiteY9622" fmla="*/ 1487746 h 6557032"/>
              <a:gd name="connsiteX9623" fmla="*/ 677849 w 4610101"/>
              <a:gd name="connsiteY9623" fmla="*/ 1485924 h 6557032"/>
              <a:gd name="connsiteX9624" fmla="*/ 665094 w 4610101"/>
              <a:gd name="connsiteY9624" fmla="*/ 1485924 h 6557032"/>
              <a:gd name="connsiteX9625" fmla="*/ 667119 w 4610101"/>
              <a:gd name="connsiteY9625" fmla="*/ 1491324 h 6557032"/>
              <a:gd name="connsiteX9626" fmla="*/ 666916 w 4610101"/>
              <a:gd name="connsiteY9626" fmla="*/ 1491391 h 6557032"/>
              <a:gd name="connsiteX9627" fmla="*/ 667128 w 4610101"/>
              <a:gd name="connsiteY9627" fmla="*/ 1491347 h 6557032"/>
              <a:gd name="connsiteX9628" fmla="*/ 670560 w 4610101"/>
              <a:gd name="connsiteY9628" fmla="*/ 1500501 h 6557032"/>
              <a:gd name="connsiteX9629" fmla="*/ 676027 w 4610101"/>
              <a:gd name="connsiteY9629" fmla="*/ 1496857 h 6557032"/>
              <a:gd name="connsiteX9630" fmla="*/ 673522 w 4610101"/>
              <a:gd name="connsiteY9630" fmla="*/ 1490024 h 6557032"/>
              <a:gd name="connsiteX9631" fmla="*/ 667128 w 4610101"/>
              <a:gd name="connsiteY9631" fmla="*/ 1491347 h 6557032"/>
              <a:gd name="connsiteX9632" fmla="*/ 667119 w 4610101"/>
              <a:gd name="connsiteY9632" fmla="*/ 1491324 h 6557032"/>
              <a:gd name="connsiteX9633" fmla="*/ 672383 w 4610101"/>
              <a:gd name="connsiteY9633" fmla="*/ 1489568 h 6557032"/>
              <a:gd name="connsiteX9634" fmla="*/ 665094 w 4610101"/>
              <a:gd name="connsiteY9634" fmla="*/ 1485924 h 6557032"/>
              <a:gd name="connsiteX9635" fmla="*/ 604963 w 4610101"/>
              <a:gd name="connsiteY9635" fmla="*/ 1485924 h 6557032"/>
              <a:gd name="connsiteX9636" fmla="*/ 599496 w 4610101"/>
              <a:gd name="connsiteY9636" fmla="*/ 1500501 h 6557032"/>
              <a:gd name="connsiteX9637" fmla="*/ 604963 w 4610101"/>
              <a:gd name="connsiteY9637" fmla="*/ 1485924 h 6557032"/>
              <a:gd name="connsiteX9638" fmla="*/ 491987 w 4610101"/>
              <a:gd name="connsiteY9638" fmla="*/ 1485924 h 6557032"/>
              <a:gd name="connsiteX9639" fmla="*/ 491987 w 4610101"/>
              <a:gd name="connsiteY9639" fmla="*/ 1493213 h 6557032"/>
              <a:gd name="connsiteX9640" fmla="*/ 493809 w 4610101"/>
              <a:gd name="connsiteY9640" fmla="*/ 1489568 h 6557032"/>
              <a:gd name="connsiteX9641" fmla="*/ 491987 w 4610101"/>
              <a:gd name="connsiteY9641" fmla="*/ 1485924 h 6557032"/>
              <a:gd name="connsiteX9642" fmla="*/ 444611 w 4610101"/>
              <a:gd name="connsiteY9642" fmla="*/ 1485924 h 6557032"/>
              <a:gd name="connsiteX9643" fmla="*/ 439145 w 4610101"/>
              <a:gd name="connsiteY9643" fmla="*/ 1493213 h 6557032"/>
              <a:gd name="connsiteX9644" fmla="*/ 444611 w 4610101"/>
              <a:gd name="connsiteY9644" fmla="*/ 1496857 h 6557032"/>
              <a:gd name="connsiteX9645" fmla="*/ 448256 w 4610101"/>
              <a:gd name="connsiteY9645" fmla="*/ 1485924 h 6557032"/>
              <a:gd name="connsiteX9646" fmla="*/ 444611 w 4610101"/>
              <a:gd name="connsiteY9646" fmla="*/ 1485924 h 6557032"/>
              <a:gd name="connsiteX9647" fmla="*/ 1015029 w 4610101"/>
              <a:gd name="connsiteY9647" fmla="*/ 1484339 h 6557032"/>
              <a:gd name="connsiteX9648" fmla="*/ 1016546 w 4610101"/>
              <a:gd name="connsiteY9648" fmla="*/ 1485013 h 6557032"/>
              <a:gd name="connsiteX9649" fmla="*/ 1027707 w 4610101"/>
              <a:gd name="connsiteY9649" fmla="*/ 1490495 h 6557032"/>
              <a:gd name="connsiteX9650" fmla="*/ 1027707 w 4610101"/>
              <a:gd name="connsiteY9650" fmla="*/ 1493213 h 6557032"/>
              <a:gd name="connsiteX9651" fmla="*/ 484700 w 4610101"/>
              <a:gd name="connsiteY9651" fmla="*/ 1484102 h 6557032"/>
              <a:gd name="connsiteX9652" fmla="*/ 475589 w 4610101"/>
              <a:gd name="connsiteY9652" fmla="*/ 1491391 h 6557032"/>
              <a:gd name="connsiteX9653" fmla="*/ 484700 w 4610101"/>
              <a:gd name="connsiteY9653" fmla="*/ 1484102 h 6557032"/>
              <a:gd name="connsiteX9654" fmla="*/ 556447 w 4610101"/>
              <a:gd name="connsiteY9654" fmla="*/ 1483191 h 6557032"/>
              <a:gd name="connsiteX9655" fmla="*/ 553941 w 4610101"/>
              <a:gd name="connsiteY9655" fmla="*/ 1487746 h 6557032"/>
              <a:gd name="connsiteX9656" fmla="*/ 563052 w 4610101"/>
              <a:gd name="connsiteY9656" fmla="*/ 1484102 h 6557032"/>
              <a:gd name="connsiteX9657" fmla="*/ 556447 w 4610101"/>
              <a:gd name="connsiteY9657" fmla="*/ 1483191 h 6557032"/>
              <a:gd name="connsiteX9658" fmla="*/ 3245292 w 4610101"/>
              <a:gd name="connsiteY9658" fmla="*/ 1482280 h 6557032"/>
              <a:gd name="connsiteX9659" fmla="*/ 3228893 w 4610101"/>
              <a:gd name="connsiteY9659" fmla="*/ 1484102 h 6557032"/>
              <a:gd name="connsiteX9660" fmla="*/ 3238003 w 4610101"/>
              <a:gd name="connsiteY9660" fmla="*/ 1491391 h 6557032"/>
              <a:gd name="connsiteX9661" fmla="*/ 3238003 w 4610101"/>
              <a:gd name="connsiteY9661" fmla="*/ 1484102 h 6557032"/>
              <a:gd name="connsiteX9662" fmla="*/ 3243470 w 4610101"/>
              <a:gd name="connsiteY9662" fmla="*/ 1487746 h 6557032"/>
              <a:gd name="connsiteX9663" fmla="*/ 3245292 w 4610101"/>
              <a:gd name="connsiteY9663" fmla="*/ 1482280 h 6557032"/>
              <a:gd name="connsiteX9664" fmla="*/ 672383 w 4610101"/>
              <a:gd name="connsiteY9664" fmla="*/ 1482280 h 6557032"/>
              <a:gd name="connsiteX9665" fmla="*/ 672383 w 4610101"/>
              <a:gd name="connsiteY9665" fmla="*/ 1487746 h 6557032"/>
              <a:gd name="connsiteX9666" fmla="*/ 672383 w 4610101"/>
              <a:gd name="connsiteY9666" fmla="*/ 1482280 h 6557032"/>
              <a:gd name="connsiteX9667" fmla="*/ 454434 w 4610101"/>
              <a:gd name="connsiteY9667" fmla="*/ 1481739 h 6557032"/>
              <a:gd name="connsiteX9668" fmla="*/ 452583 w 4610101"/>
              <a:gd name="connsiteY9668" fmla="*/ 1486152 h 6557032"/>
              <a:gd name="connsiteX9669" fmla="*/ 451256 w 4610101"/>
              <a:gd name="connsiteY9669" fmla="*/ 1491819 h 6557032"/>
              <a:gd name="connsiteX9670" fmla="*/ 446433 w 4610101"/>
              <a:gd name="connsiteY9670" fmla="*/ 1495035 h 6557032"/>
              <a:gd name="connsiteX9671" fmla="*/ 448484 w 4610101"/>
              <a:gd name="connsiteY9671" fmla="*/ 1493896 h 6557032"/>
              <a:gd name="connsiteX9672" fmla="*/ 451244 w 4610101"/>
              <a:gd name="connsiteY9672" fmla="*/ 1491871 h 6557032"/>
              <a:gd name="connsiteX9673" fmla="*/ 450231 w 4610101"/>
              <a:gd name="connsiteY9673" fmla="*/ 1496198 h 6557032"/>
              <a:gd name="connsiteX9674" fmla="*/ 448256 w 4610101"/>
              <a:gd name="connsiteY9674" fmla="*/ 1496857 h 6557032"/>
              <a:gd name="connsiteX9675" fmla="*/ 451899 w 4610101"/>
              <a:gd name="connsiteY9675" fmla="*/ 1498679 h 6557032"/>
              <a:gd name="connsiteX9676" fmla="*/ 442884 w 4610101"/>
              <a:gd name="connsiteY9676" fmla="*/ 1500405 h 6557032"/>
              <a:gd name="connsiteX9677" fmla="*/ 444611 w 4610101"/>
              <a:gd name="connsiteY9677" fmla="*/ 1498679 h 6557032"/>
              <a:gd name="connsiteX9678" fmla="*/ 439145 w 4610101"/>
              <a:gd name="connsiteY9678" fmla="*/ 1495035 h 6557032"/>
              <a:gd name="connsiteX9679" fmla="*/ 431856 w 4610101"/>
              <a:gd name="connsiteY9679" fmla="*/ 1502324 h 6557032"/>
              <a:gd name="connsiteX9680" fmla="*/ 432311 w 4610101"/>
              <a:gd name="connsiteY9680" fmla="*/ 1505740 h 6557032"/>
              <a:gd name="connsiteX9681" fmla="*/ 434468 w 4610101"/>
              <a:gd name="connsiteY9681" fmla="*/ 1507127 h 6557032"/>
              <a:gd name="connsiteX9682" fmla="*/ 431856 w 4610101"/>
              <a:gd name="connsiteY9682" fmla="*/ 1509612 h 6557032"/>
              <a:gd name="connsiteX9683" fmla="*/ 435500 w 4610101"/>
              <a:gd name="connsiteY9683" fmla="*/ 1520545 h 6557032"/>
              <a:gd name="connsiteX9684" fmla="*/ 450077 w 4610101"/>
              <a:gd name="connsiteY9684" fmla="*/ 1515079 h 6557032"/>
              <a:gd name="connsiteX9685" fmla="*/ 444611 w 4610101"/>
              <a:gd name="connsiteY9685" fmla="*/ 1511434 h 6557032"/>
              <a:gd name="connsiteX9686" fmla="*/ 457367 w 4610101"/>
              <a:gd name="connsiteY9686" fmla="*/ 1507790 h 6557032"/>
              <a:gd name="connsiteX9687" fmla="*/ 453722 w 4610101"/>
              <a:gd name="connsiteY9687" fmla="*/ 1500501 h 6557032"/>
              <a:gd name="connsiteX9688" fmla="*/ 455544 w 4610101"/>
              <a:gd name="connsiteY9688" fmla="*/ 1500501 h 6557032"/>
              <a:gd name="connsiteX9689" fmla="*/ 453722 w 4610101"/>
              <a:gd name="connsiteY9689" fmla="*/ 1495035 h 6557032"/>
              <a:gd name="connsiteX9690" fmla="*/ 452212 w 4610101"/>
              <a:gd name="connsiteY9690" fmla="*/ 1495538 h 6557032"/>
              <a:gd name="connsiteX9691" fmla="*/ 457821 w 4610101"/>
              <a:gd name="connsiteY9691" fmla="*/ 1492074 h 6557032"/>
              <a:gd name="connsiteX9692" fmla="*/ 457367 w 4610101"/>
              <a:gd name="connsiteY9692" fmla="*/ 1485924 h 6557032"/>
              <a:gd name="connsiteX9693" fmla="*/ 459188 w 4610101"/>
              <a:gd name="connsiteY9693" fmla="*/ 1482280 h 6557032"/>
              <a:gd name="connsiteX9694" fmla="*/ 454434 w 4610101"/>
              <a:gd name="connsiteY9694" fmla="*/ 1481739 h 6557032"/>
              <a:gd name="connsiteX9695" fmla="*/ 866946 w 4610101"/>
              <a:gd name="connsiteY9695" fmla="*/ 1481406 h 6557032"/>
              <a:gd name="connsiteX9696" fmla="*/ 853916 w 4610101"/>
              <a:gd name="connsiteY9696" fmla="*/ 1486379 h 6557032"/>
              <a:gd name="connsiteX9697" fmla="*/ 846205 w 4610101"/>
              <a:gd name="connsiteY9697" fmla="*/ 1485773 h 6557032"/>
              <a:gd name="connsiteX9698" fmla="*/ 841120 w 4610101"/>
              <a:gd name="connsiteY9698" fmla="*/ 1480830 h 6557032"/>
              <a:gd name="connsiteX9699" fmla="*/ 841845 w 4610101"/>
              <a:gd name="connsiteY9699" fmla="*/ 1482280 h 6557032"/>
              <a:gd name="connsiteX9700" fmla="*/ 840598 w 4610101"/>
              <a:gd name="connsiteY9700" fmla="*/ 1480854 h 6557032"/>
              <a:gd name="connsiteX9701" fmla="*/ 3265336 w 4610101"/>
              <a:gd name="connsiteY9701" fmla="*/ 1480458 h 6557032"/>
              <a:gd name="connsiteX9702" fmla="*/ 3268980 w 4610101"/>
              <a:gd name="connsiteY9702" fmla="*/ 1509612 h 6557032"/>
              <a:gd name="connsiteX9703" fmla="*/ 3268980 w 4610101"/>
              <a:gd name="connsiteY9703" fmla="*/ 1493213 h 6557032"/>
              <a:gd name="connsiteX9704" fmla="*/ 3278091 w 4610101"/>
              <a:gd name="connsiteY9704" fmla="*/ 1527834 h 6557032"/>
              <a:gd name="connsiteX9705" fmla="*/ 3281736 w 4610101"/>
              <a:gd name="connsiteY9705" fmla="*/ 1509612 h 6557032"/>
              <a:gd name="connsiteX9706" fmla="*/ 3287202 w 4610101"/>
              <a:gd name="connsiteY9706" fmla="*/ 1520545 h 6557032"/>
              <a:gd name="connsiteX9707" fmla="*/ 3283558 w 4610101"/>
              <a:gd name="connsiteY9707" fmla="*/ 1518723 h 6557032"/>
              <a:gd name="connsiteX9708" fmla="*/ 3285380 w 4610101"/>
              <a:gd name="connsiteY9708" fmla="*/ 1526012 h 6557032"/>
              <a:gd name="connsiteX9709" fmla="*/ 3294491 w 4610101"/>
              <a:gd name="connsiteY9709" fmla="*/ 1518723 h 6557032"/>
              <a:gd name="connsiteX9710" fmla="*/ 3287202 w 4610101"/>
              <a:gd name="connsiteY9710" fmla="*/ 1493213 h 6557032"/>
              <a:gd name="connsiteX9711" fmla="*/ 3287202 w 4610101"/>
              <a:gd name="connsiteY9711" fmla="*/ 1498679 h 6557032"/>
              <a:gd name="connsiteX9712" fmla="*/ 3265336 w 4610101"/>
              <a:gd name="connsiteY9712" fmla="*/ 1480458 h 6557032"/>
              <a:gd name="connsiteX9713" fmla="*/ 3059430 w 4610101"/>
              <a:gd name="connsiteY9713" fmla="*/ 1480458 h 6557032"/>
              <a:gd name="connsiteX9714" fmla="*/ 3070363 w 4610101"/>
              <a:gd name="connsiteY9714" fmla="*/ 1487746 h 6557032"/>
              <a:gd name="connsiteX9715" fmla="*/ 3072186 w 4610101"/>
              <a:gd name="connsiteY9715" fmla="*/ 1482280 h 6557032"/>
              <a:gd name="connsiteX9716" fmla="*/ 3072869 w 4610101"/>
              <a:gd name="connsiteY9716" fmla="*/ 1485013 h 6557032"/>
              <a:gd name="connsiteX9717" fmla="*/ 3068574 w 4610101"/>
              <a:gd name="connsiteY9717" fmla="*/ 1494960 h 6557032"/>
              <a:gd name="connsiteX9718" fmla="*/ 1171658 w 4610101"/>
              <a:gd name="connsiteY9718" fmla="*/ 1480458 h 6557032"/>
              <a:gd name="connsiteX9719" fmla="*/ 1172499 w 4610101"/>
              <a:gd name="connsiteY9719" fmla="*/ 1485504 h 6557032"/>
              <a:gd name="connsiteX9720" fmla="*/ 1171658 w 4610101"/>
              <a:gd name="connsiteY9720" fmla="*/ 1487746 h 6557032"/>
              <a:gd name="connsiteX9721" fmla="*/ 1173036 w 4610101"/>
              <a:gd name="connsiteY9721" fmla="*/ 1488731 h 6557032"/>
              <a:gd name="connsiteX9722" fmla="*/ 1173481 w 4610101"/>
              <a:gd name="connsiteY9722" fmla="*/ 1491391 h 6557032"/>
              <a:gd name="connsiteX9723" fmla="*/ 1173253 w 4610101"/>
              <a:gd name="connsiteY9723" fmla="*/ 1488885 h 6557032"/>
              <a:gd name="connsiteX9724" fmla="*/ 1173036 w 4610101"/>
              <a:gd name="connsiteY9724" fmla="*/ 1488731 h 6557032"/>
              <a:gd name="connsiteX9725" fmla="*/ 1172499 w 4610101"/>
              <a:gd name="connsiteY9725" fmla="*/ 1485504 h 6557032"/>
              <a:gd name="connsiteX9726" fmla="*/ 1173025 w 4610101"/>
              <a:gd name="connsiteY9726" fmla="*/ 1484102 h 6557032"/>
              <a:gd name="connsiteX9727" fmla="*/ 1171658 w 4610101"/>
              <a:gd name="connsiteY9727" fmla="*/ 1480458 h 6557032"/>
              <a:gd name="connsiteX9728" fmla="*/ 1009485 w 4610101"/>
              <a:gd name="connsiteY9728" fmla="*/ 1480458 h 6557032"/>
              <a:gd name="connsiteX9729" fmla="*/ 1015029 w 4610101"/>
              <a:gd name="connsiteY9729" fmla="*/ 1484339 h 6557032"/>
              <a:gd name="connsiteX9730" fmla="*/ 1009485 w 4610101"/>
              <a:gd name="connsiteY9730" fmla="*/ 1481875 h 6557032"/>
              <a:gd name="connsiteX9731" fmla="*/ 572163 w 4610101"/>
              <a:gd name="connsiteY9731" fmla="*/ 1480458 h 6557032"/>
              <a:gd name="connsiteX9732" fmla="*/ 563052 w 4610101"/>
              <a:gd name="connsiteY9732" fmla="*/ 1489568 h 6557032"/>
              <a:gd name="connsiteX9733" fmla="*/ 572163 w 4610101"/>
              <a:gd name="connsiteY9733" fmla="*/ 1480458 h 6557032"/>
              <a:gd name="connsiteX9734" fmla="*/ 513853 w 4610101"/>
              <a:gd name="connsiteY9734" fmla="*/ 1480458 h 6557032"/>
              <a:gd name="connsiteX9735" fmla="*/ 517498 w 4610101"/>
              <a:gd name="connsiteY9735" fmla="*/ 1495035 h 6557032"/>
              <a:gd name="connsiteX9736" fmla="*/ 515676 w 4610101"/>
              <a:gd name="connsiteY9736" fmla="*/ 1480458 h 6557032"/>
              <a:gd name="connsiteX9737" fmla="*/ 513853 w 4610101"/>
              <a:gd name="connsiteY9737" fmla="*/ 1480458 h 6557032"/>
              <a:gd name="connsiteX9738" fmla="*/ 504743 w 4610101"/>
              <a:gd name="connsiteY9738" fmla="*/ 1480458 h 6557032"/>
              <a:gd name="connsiteX9739" fmla="*/ 506565 w 4610101"/>
              <a:gd name="connsiteY9739" fmla="*/ 1482280 h 6557032"/>
              <a:gd name="connsiteX9740" fmla="*/ 504743 w 4610101"/>
              <a:gd name="connsiteY9740" fmla="*/ 1480458 h 6557032"/>
              <a:gd name="connsiteX9741" fmla="*/ 444611 w 4610101"/>
              <a:gd name="connsiteY9741" fmla="*/ 1480458 h 6557032"/>
              <a:gd name="connsiteX9742" fmla="*/ 437322 w 4610101"/>
              <a:gd name="connsiteY9742" fmla="*/ 1485924 h 6557032"/>
              <a:gd name="connsiteX9743" fmla="*/ 444611 w 4610101"/>
              <a:gd name="connsiteY9743" fmla="*/ 1484102 h 6557032"/>
              <a:gd name="connsiteX9744" fmla="*/ 444611 w 4610101"/>
              <a:gd name="connsiteY9744" fmla="*/ 1480458 h 6557032"/>
              <a:gd name="connsiteX9745" fmla="*/ 431173 w 4610101"/>
              <a:gd name="connsiteY9745" fmla="*/ 1480230 h 6557032"/>
              <a:gd name="connsiteX9746" fmla="*/ 426389 w 4610101"/>
              <a:gd name="connsiteY9746" fmla="*/ 1482280 h 6557032"/>
              <a:gd name="connsiteX9747" fmla="*/ 422745 w 4610101"/>
              <a:gd name="connsiteY9747" fmla="*/ 1485924 h 6557032"/>
              <a:gd name="connsiteX9748" fmla="*/ 437322 w 4610101"/>
              <a:gd name="connsiteY9748" fmla="*/ 1482280 h 6557032"/>
              <a:gd name="connsiteX9749" fmla="*/ 431173 w 4610101"/>
              <a:gd name="connsiteY9749" fmla="*/ 1480230 h 6557032"/>
              <a:gd name="connsiteX9750" fmla="*/ 873802 w 4610101"/>
              <a:gd name="connsiteY9750" fmla="*/ 1478790 h 6557032"/>
              <a:gd name="connsiteX9751" fmla="*/ 876986 w 4610101"/>
              <a:gd name="connsiteY9751" fmla="*/ 1479293 h 6557032"/>
              <a:gd name="connsiteX9752" fmla="*/ 866946 w 4610101"/>
              <a:gd name="connsiteY9752" fmla="*/ 1481406 h 6557032"/>
              <a:gd name="connsiteX9753" fmla="*/ 3301780 w 4610101"/>
              <a:gd name="connsiteY9753" fmla="*/ 1478635 h 6557032"/>
              <a:gd name="connsiteX9754" fmla="*/ 3303602 w 4610101"/>
              <a:gd name="connsiteY9754" fmla="*/ 1489568 h 6557032"/>
              <a:gd name="connsiteX9755" fmla="*/ 3301780 w 4610101"/>
              <a:gd name="connsiteY9755" fmla="*/ 1478635 h 6557032"/>
              <a:gd name="connsiteX9756" fmla="*/ 1211747 w 4610101"/>
              <a:gd name="connsiteY9756" fmla="*/ 1478635 h 6557032"/>
              <a:gd name="connsiteX9757" fmla="*/ 1209925 w 4610101"/>
              <a:gd name="connsiteY9757" fmla="*/ 1489568 h 6557032"/>
              <a:gd name="connsiteX9758" fmla="*/ 1215390 w 4610101"/>
              <a:gd name="connsiteY9758" fmla="*/ 1482280 h 6557032"/>
              <a:gd name="connsiteX9759" fmla="*/ 1211747 w 4610101"/>
              <a:gd name="connsiteY9759" fmla="*/ 1478635 h 6557032"/>
              <a:gd name="connsiteX9760" fmla="*/ 1002196 w 4610101"/>
              <a:gd name="connsiteY9760" fmla="*/ 1478635 h 6557032"/>
              <a:gd name="connsiteX9761" fmla="*/ 1009485 w 4610101"/>
              <a:gd name="connsiteY9761" fmla="*/ 1481875 h 6557032"/>
              <a:gd name="connsiteX9762" fmla="*/ 1009485 w 4610101"/>
              <a:gd name="connsiteY9762" fmla="*/ 1484102 h 6557032"/>
              <a:gd name="connsiteX9763" fmla="*/ 1002196 w 4610101"/>
              <a:gd name="connsiteY9763" fmla="*/ 1478635 h 6557032"/>
              <a:gd name="connsiteX9764" fmla="*/ 880111 w 4610101"/>
              <a:gd name="connsiteY9764" fmla="*/ 1478635 h 6557032"/>
              <a:gd name="connsiteX9765" fmla="*/ 877149 w 4610101"/>
              <a:gd name="connsiteY9765" fmla="*/ 1479319 h 6557032"/>
              <a:gd name="connsiteX9766" fmla="*/ 876986 w 4610101"/>
              <a:gd name="connsiteY9766" fmla="*/ 1479293 h 6557032"/>
              <a:gd name="connsiteX9767" fmla="*/ 643228 w 4610101"/>
              <a:gd name="connsiteY9767" fmla="*/ 1478635 h 6557032"/>
              <a:gd name="connsiteX9768" fmla="*/ 639583 w 4610101"/>
              <a:gd name="connsiteY9768" fmla="*/ 1502324 h 6557032"/>
              <a:gd name="connsiteX9769" fmla="*/ 639583 w 4610101"/>
              <a:gd name="connsiteY9769" fmla="*/ 1509612 h 6557032"/>
              <a:gd name="connsiteX9770" fmla="*/ 648694 w 4610101"/>
              <a:gd name="connsiteY9770" fmla="*/ 1496857 h 6557032"/>
              <a:gd name="connsiteX9771" fmla="*/ 639583 w 4610101"/>
              <a:gd name="connsiteY9771" fmla="*/ 1502324 h 6557032"/>
              <a:gd name="connsiteX9772" fmla="*/ 652339 w 4610101"/>
              <a:gd name="connsiteY9772" fmla="*/ 1491391 h 6557032"/>
              <a:gd name="connsiteX9773" fmla="*/ 645050 w 4610101"/>
              <a:gd name="connsiteY9773" fmla="*/ 1485924 h 6557032"/>
              <a:gd name="connsiteX9774" fmla="*/ 643228 w 4610101"/>
              <a:gd name="connsiteY9774" fmla="*/ 1478635 h 6557032"/>
              <a:gd name="connsiteX9775" fmla="*/ 884372 w 4610101"/>
              <a:gd name="connsiteY9775" fmla="*/ 1477802 h 6557032"/>
              <a:gd name="connsiteX9776" fmla="*/ 872822 w 4610101"/>
              <a:gd name="connsiteY9776" fmla="*/ 1484102 h 6557032"/>
              <a:gd name="connsiteX9777" fmla="*/ 880111 w 4610101"/>
              <a:gd name="connsiteY9777" fmla="*/ 1478635 h 6557032"/>
              <a:gd name="connsiteX9778" fmla="*/ 881933 w 4610101"/>
              <a:gd name="connsiteY9778" fmla="*/ 1478635 h 6557032"/>
              <a:gd name="connsiteX9779" fmla="*/ 3309068 w 4610101"/>
              <a:gd name="connsiteY9779" fmla="*/ 1476813 h 6557032"/>
              <a:gd name="connsiteX9780" fmla="*/ 3323646 w 4610101"/>
              <a:gd name="connsiteY9780" fmla="*/ 1495035 h 6557032"/>
              <a:gd name="connsiteX9781" fmla="*/ 3323646 w 4610101"/>
              <a:gd name="connsiteY9781" fmla="*/ 1480458 h 6557032"/>
              <a:gd name="connsiteX9782" fmla="*/ 3309068 w 4610101"/>
              <a:gd name="connsiteY9782" fmla="*/ 1476813 h 6557032"/>
              <a:gd name="connsiteX9783" fmla="*/ 3068541 w 4610101"/>
              <a:gd name="connsiteY9783" fmla="*/ 1476813 h 6557032"/>
              <a:gd name="connsiteX9784" fmla="*/ 3071144 w 4610101"/>
              <a:gd name="connsiteY9784" fmla="*/ 1478114 h 6557032"/>
              <a:gd name="connsiteX9785" fmla="*/ 3072186 w 4610101"/>
              <a:gd name="connsiteY9785" fmla="*/ 1482280 h 6557032"/>
              <a:gd name="connsiteX9786" fmla="*/ 821801 w 4610101"/>
              <a:gd name="connsiteY9786" fmla="*/ 1476813 h 6557032"/>
              <a:gd name="connsiteX9787" fmla="*/ 819979 w 4610101"/>
              <a:gd name="connsiteY9787" fmla="*/ 1487746 h 6557032"/>
              <a:gd name="connsiteX9788" fmla="*/ 816334 w 4610101"/>
              <a:gd name="connsiteY9788" fmla="*/ 1484102 h 6557032"/>
              <a:gd name="connsiteX9789" fmla="*/ 810868 w 4610101"/>
              <a:gd name="connsiteY9789" fmla="*/ 1493213 h 6557032"/>
              <a:gd name="connsiteX9790" fmla="*/ 821801 w 4610101"/>
              <a:gd name="connsiteY9790" fmla="*/ 1491391 h 6557032"/>
              <a:gd name="connsiteX9791" fmla="*/ 821801 w 4610101"/>
              <a:gd name="connsiteY9791" fmla="*/ 1476813 h 6557032"/>
              <a:gd name="connsiteX9792" fmla="*/ 705182 w 4610101"/>
              <a:gd name="connsiteY9792" fmla="*/ 1476813 h 6557032"/>
              <a:gd name="connsiteX9793" fmla="*/ 703360 w 4610101"/>
              <a:gd name="connsiteY9793" fmla="*/ 1478863 h 6557032"/>
              <a:gd name="connsiteX9794" fmla="*/ 702805 w 4610101"/>
              <a:gd name="connsiteY9794" fmla="*/ 1478240 h 6557032"/>
              <a:gd name="connsiteX9795" fmla="*/ 590385 w 4610101"/>
              <a:gd name="connsiteY9795" fmla="*/ 1476813 h 6557032"/>
              <a:gd name="connsiteX9796" fmla="*/ 588562 w 4610101"/>
              <a:gd name="connsiteY9796" fmla="*/ 1489568 h 6557032"/>
              <a:gd name="connsiteX9797" fmla="*/ 590385 w 4610101"/>
              <a:gd name="connsiteY9797" fmla="*/ 1487746 h 6557032"/>
              <a:gd name="connsiteX9798" fmla="*/ 590385 w 4610101"/>
              <a:gd name="connsiteY9798" fmla="*/ 1476813 h 6557032"/>
              <a:gd name="connsiteX9799" fmla="*/ 526381 w 4610101"/>
              <a:gd name="connsiteY9799" fmla="*/ 1476358 h 6557032"/>
              <a:gd name="connsiteX9800" fmla="*/ 521142 w 4610101"/>
              <a:gd name="connsiteY9800" fmla="*/ 1480458 h 6557032"/>
              <a:gd name="connsiteX9801" fmla="*/ 517498 w 4610101"/>
              <a:gd name="connsiteY9801" fmla="*/ 1478635 h 6557032"/>
              <a:gd name="connsiteX9802" fmla="*/ 521142 w 4610101"/>
              <a:gd name="connsiteY9802" fmla="*/ 1493213 h 6557032"/>
              <a:gd name="connsiteX9803" fmla="*/ 526609 w 4610101"/>
              <a:gd name="connsiteY9803" fmla="*/ 1491391 h 6557032"/>
              <a:gd name="connsiteX9804" fmla="*/ 524786 w 4610101"/>
              <a:gd name="connsiteY9804" fmla="*/ 1484102 h 6557032"/>
              <a:gd name="connsiteX9805" fmla="*/ 528431 w 4610101"/>
              <a:gd name="connsiteY9805" fmla="*/ 1487746 h 6557032"/>
              <a:gd name="connsiteX9806" fmla="*/ 524786 w 4610101"/>
              <a:gd name="connsiteY9806" fmla="*/ 1480458 h 6557032"/>
              <a:gd name="connsiteX9807" fmla="*/ 530253 w 4610101"/>
              <a:gd name="connsiteY9807" fmla="*/ 1480458 h 6557032"/>
              <a:gd name="connsiteX9808" fmla="*/ 526381 w 4610101"/>
              <a:gd name="connsiteY9808" fmla="*/ 1476358 h 6557032"/>
              <a:gd name="connsiteX9809" fmla="*/ 379468 w 4610101"/>
              <a:gd name="connsiteY9809" fmla="*/ 1475902 h 6557032"/>
              <a:gd name="connsiteX9810" fmla="*/ 382667 w 4610101"/>
              <a:gd name="connsiteY9810" fmla="*/ 1476251 h 6557032"/>
              <a:gd name="connsiteX9811" fmla="*/ 382429 w 4610101"/>
              <a:gd name="connsiteY9811" fmla="*/ 1476358 h 6557032"/>
              <a:gd name="connsiteX9812" fmla="*/ 370697 w 4610101"/>
              <a:gd name="connsiteY9812" fmla="*/ 1478491 h 6557032"/>
              <a:gd name="connsiteX9813" fmla="*/ 768957 w 4610101"/>
              <a:gd name="connsiteY9813" fmla="*/ 1475047 h 6557032"/>
              <a:gd name="connsiteX9814" fmla="*/ 776246 w 4610101"/>
              <a:gd name="connsiteY9814" fmla="*/ 1482336 h 6557032"/>
              <a:gd name="connsiteX9815" fmla="*/ 778068 w 4610101"/>
              <a:gd name="connsiteY9815" fmla="*/ 1482336 h 6557032"/>
              <a:gd name="connsiteX9816" fmla="*/ 781712 w 4610101"/>
              <a:gd name="connsiteY9816" fmla="*/ 1493269 h 6557032"/>
              <a:gd name="connsiteX9817" fmla="*/ 776246 w 4610101"/>
              <a:gd name="connsiteY9817" fmla="*/ 1489625 h 6557032"/>
              <a:gd name="connsiteX9818" fmla="*/ 772602 w 4610101"/>
              <a:gd name="connsiteY9818" fmla="*/ 1482336 h 6557032"/>
              <a:gd name="connsiteX9819" fmla="*/ 768957 w 4610101"/>
              <a:gd name="connsiteY9819" fmla="*/ 1493269 h 6557032"/>
              <a:gd name="connsiteX9820" fmla="*/ 768957 w 4610101"/>
              <a:gd name="connsiteY9820" fmla="*/ 1475047 h 6557032"/>
              <a:gd name="connsiteX9821" fmla="*/ 3372844 w 4610101"/>
              <a:gd name="connsiteY9821" fmla="*/ 1474991 h 6557032"/>
              <a:gd name="connsiteX9822" fmla="*/ 3376489 w 4610101"/>
              <a:gd name="connsiteY9822" fmla="*/ 1493213 h 6557032"/>
              <a:gd name="connsiteX9823" fmla="*/ 3372844 w 4610101"/>
              <a:gd name="connsiteY9823" fmla="*/ 1474991 h 6557032"/>
              <a:gd name="connsiteX9824" fmla="*/ 3070363 w 4610101"/>
              <a:gd name="connsiteY9824" fmla="*/ 1474991 h 6557032"/>
              <a:gd name="connsiteX9825" fmla="*/ 3072186 w 4610101"/>
              <a:gd name="connsiteY9825" fmla="*/ 1478635 h 6557032"/>
              <a:gd name="connsiteX9826" fmla="*/ 3071144 w 4610101"/>
              <a:gd name="connsiteY9826" fmla="*/ 1478114 h 6557032"/>
              <a:gd name="connsiteX9827" fmla="*/ 1193525 w 4610101"/>
              <a:gd name="connsiteY9827" fmla="*/ 1474991 h 6557032"/>
              <a:gd name="connsiteX9828" fmla="*/ 1197169 w 4610101"/>
              <a:gd name="connsiteY9828" fmla="*/ 1476813 h 6557032"/>
              <a:gd name="connsiteX9829" fmla="*/ 1196837 w 4610101"/>
              <a:gd name="connsiteY9829" fmla="*/ 1476813 h 6557032"/>
              <a:gd name="connsiteX9830" fmla="*/ 883755 w 4610101"/>
              <a:gd name="connsiteY9830" fmla="*/ 1474991 h 6557032"/>
              <a:gd name="connsiteX9831" fmla="*/ 873802 w 4610101"/>
              <a:gd name="connsiteY9831" fmla="*/ 1478790 h 6557032"/>
              <a:gd name="connsiteX9832" fmla="*/ 872822 w 4610101"/>
              <a:gd name="connsiteY9832" fmla="*/ 1478635 h 6557032"/>
              <a:gd name="connsiteX9833" fmla="*/ 883755 w 4610101"/>
              <a:gd name="connsiteY9833" fmla="*/ 1474991 h 6557032"/>
              <a:gd name="connsiteX9834" fmla="*/ 825445 w 4610101"/>
              <a:gd name="connsiteY9834" fmla="*/ 1474991 h 6557032"/>
              <a:gd name="connsiteX9835" fmla="*/ 829089 w 4610101"/>
              <a:gd name="connsiteY9835" fmla="*/ 1487746 h 6557032"/>
              <a:gd name="connsiteX9836" fmla="*/ 825445 w 4610101"/>
              <a:gd name="connsiteY9836" fmla="*/ 1474991 h 6557032"/>
              <a:gd name="connsiteX9837" fmla="*/ 677849 w 4610101"/>
              <a:gd name="connsiteY9837" fmla="*/ 1474991 h 6557032"/>
              <a:gd name="connsiteX9838" fmla="*/ 677166 w 4610101"/>
              <a:gd name="connsiteY9838" fmla="*/ 1482507 h 6557032"/>
              <a:gd name="connsiteX9839" fmla="*/ 679121 w 4610101"/>
              <a:gd name="connsiteY9839" fmla="*/ 1483594 h 6557032"/>
              <a:gd name="connsiteX9840" fmla="*/ 677849 w 4610101"/>
              <a:gd name="connsiteY9840" fmla="*/ 1484102 h 6557032"/>
              <a:gd name="connsiteX9841" fmla="*/ 683316 w 4610101"/>
              <a:gd name="connsiteY9841" fmla="*/ 1485924 h 6557032"/>
              <a:gd name="connsiteX9842" fmla="*/ 679121 w 4610101"/>
              <a:gd name="connsiteY9842" fmla="*/ 1483594 h 6557032"/>
              <a:gd name="connsiteX9843" fmla="*/ 686960 w 4610101"/>
              <a:gd name="connsiteY9843" fmla="*/ 1480458 h 6557032"/>
              <a:gd name="connsiteX9844" fmla="*/ 677849 w 4610101"/>
              <a:gd name="connsiteY9844" fmla="*/ 1474991 h 6557032"/>
              <a:gd name="connsiteX9845" fmla="*/ 572163 w 4610101"/>
              <a:gd name="connsiteY9845" fmla="*/ 1474991 h 6557032"/>
              <a:gd name="connsiteX9846" fmla="*/ 568519 w 4610101"/>
              <a:gd name="connsiteY9846" fmla="*/ 1478635 h 6557032"/>
              <a:gd name="connsiteX9847" fmla="*/ 572163 w 4610101"/>
              <a:gd name="connsiteY9847" fmla="*/ 1474991 h 6557032"/>
              <a:gd name="connsiteX9848" fmla="*/ 568519 w 4610101"/>
              <a:gd name="connsiteY9848" fmla="*/ 1474991 h 6557032"/>
              <a:gd name="connsiteX9849" fmla="*/ 559408 w 4610101"/>
              <a:gd name="connsiteY9849" fmla="*/ 1480458 h 6557032"/>
              <a:gd name="connsiteX9850" fmla="*/ 568519 w 4610101"/>
              <a:gd name="connsiteY9850" fmla="*/ 1474991 h 6557032"/>
              <a:gd name="connsiteX9851" fmla="*/ 3330376 w 4610101"/>
              <a:gd name="connsiteY9851" fmla="*/ 1474578 h 6557032"/>
              <a:gd name="connsiteX9852" fmla="*/ 3331162 w 4610101"/>
              <a:gd name="connsiteY9852" fmla="*/ 1476586 h 6557032"/>
              <a:gd name="connsiteX9853" fmla="*/ 3329637 w 4610101"/>
              <a:gd name="connsiteY9853" fmla="*/ 1479467 h 6557032"/>
              <a:gd name="connsiteX9854" fmla="*/ 3329340 w 4610101"/>
              <a:gd name="connsiteY9854" fmla="*/ 1478408 h 6557032"/>
              <a:gd name="connsiteX9855" fmla="*/ 3329654 w 4610101"/>
              <a:gd name="connsiteY9855" fmla="*/ 1475133 h 6557032"/>
              <a:gd name="connsiteX9856" fmla="*/ 584919 w 4610101"/>
              <a:gd name="connsiteY9856" fmla="*/ 1473169 h 6557032"/>
              <a:gd name="connsiteX9857" fmla="*/ 573985 w 4610101"/>
              <a:gd name="connsiteY9857" fmla="*/ 1491391 h 6557032"/>
              <a:gd name="connsiteX9858" fmla="*/ 581274 w 4610101"/>
              <a:gd name="connsiteY9858" fmla="*/ 1493213 h 6557032"/>
              <a:gd name="connsiteX9859" fmla="*/ 584919 w 4610101"/>
              <a:gd name="connsiteY9859" fmla="*/ 1473169 h 6557032"/>
              <a:gd name="connsiteX9860" fmla="*/ 491987 w 4610101"/>
              <a:gd name="connsiteY9860" fmla="*/ 1473169 h 6557032"/>
              <a:gd name="connsiteX9861" fmla="*/ 481054 w 4610101"/>
              <a:gd name="connsiteY9861" fmla="*/ 1484102 h 6557032"/>
              <a:gd name="connsiteX9862" fmla="*/ 490165 w 4610101"/>
              <a:gd name="connsiteY9862" fmla="*/ 1480458 h 6557032"/>
              <a:gd name="connsiteX9863" fmla="*/ 491987 w 4610101"/>
              <a:gd name="connsiteY9863" fmla="*/ 1473169 h 6557032"/>
              <a:gd name="connsiteX9864" fmla="*/ 1213568 w 4610101"/>
              <a:gd name="connsiteY9864" fmla="*/ 1471347 h 6557032"/>
              <a:gd name="connsiteX9865" fmla="*/ 1214769 w 4610101"/>
              <a:gd name="connsiteY9865" fmla="*/ 1472947 h 6557032"/>
              <a:gd name="connsiteX9866" fmla="*/ 1214707 w 4610101"/>
              <a:gd name="connsiteY9866" fmla="*/ 1472941 h 6557032"/>
              <a:gd name="connsiteX9867" fmla="*/ 1213568 w 4610101"/>
              <a:gd name="connsiteY9867" fmla="*/ 1471347 h 6557032"/>
              <a:gd name="connsiteX9868" fmla="*/ 692426 w 4610101"/>
              <a:gd name="connsiteY9868" fmla="*/ 1471347 h 6557032"/>
              <a:gd name="connsiteX9869" fmla="*/ 696071 w 4610101"/>
              <a:gd name="connsiteY9869" fmla="*/ 1473169 h 6557032"/>
              <a:gd name="connsiteX9870" fmla="*/ 692426 w 4610101"/>
              <a:gd name="connsiteY9870" fmla="*/ 1471347 h 6557032"/>
              <a:gd name="connsiteX9871" fmla="*/ 645050 w 4610101"/>
              <a:gd name="connsiteY9871" fmla="*/ 1471347 h 6557032"/>
              <a:gd name="connsiteX9872" fmla="*/ 652339 w 4610101"/>
              <a:gd name="connsiteY9872" fmla="*/ 1487746 h 6557032"/>
              <a:gd name="connsiteX9873" fmla="*/ 661449 w 4610101"/>
              <a:gd name="connsiteY9873" fmla="*/ 1476813 h 6557032"/>
              <a:gd name="connsiteX9874" fmla="*/ 645050 w 4610101"/>
              <a:gd name="connsiteY9874" fmla="*/ 1471347 h 6557032"/>
              <a:gd name="connsiteX9875" fmla="*/ 834556 w 4610101"/>
              <a:gd name="connsiteY9875" fmla="*/ 1469525 h 6557032"/>
              <a:gd name="connsiteX9876" fmla="*/ 840022 w 4610101"/>
              <a:gd name="connsiteY9876" fmla="*/ 1471347 h 6557032"/>
              <a:gd name="connsiteX9877" fmla="*/ 834556 w 4610101"/>
              <a:gd name="connsiteY9877" fmla="*/ 1469525 h 6557032"/>
              <a:gd name="connsiteX9878" fmla="*/ 471943 w 4610101"/>
              <a:gd name="connsiteY9878" fmla="*/ 1469525 h 6557032"/>
              <a:gd name="connsiteX9879" fmla="*/ 459188 w 4610101"/>
              <a:gd name="connsiteY9879" fmla="*/ 1495035 h 6557032"/>
              <a:gd name="connsiteX9880" fmla="*/ 466478 w 4610101"/>
              <a:gd name="connsiteY9880" fmla="*/ 1504146 h 6557032"/>
              <a:gd name="connsiteX9881" fmla="*/ 464655 w 4610101"/>
              <a:gd name="connsiteY9881" fmla="*/ 1491391 h 6557032"/>
              <a:gd name="connsiteX9882" fmla="*/ 466478 w 4610101"/>
              <a:gd name="connsiteY9882" fmla="*/ 1493213 h 6557032"/>
              <a:gd name="connsiteX9883" fmla="*/ 464655 w 4610101"/>
              <a:gd name="connsiteY9883" fmla="*/ 1482280 h 6557032"/>
              <a:gd name="connsiteX9884" fmla="*/ 468299 w 4610101"/>
              <a:gd name="connsiteY9884" fmla="*/ 1485924 h 6557032"/>
              <a:gd name="connsiteX9885" fmla="*/ 471943 w 4610101"/>
              <a:gd name="connsiteY9885" fmla="*/ 1469525 h 6557032"/>
              <a:gd name="connsiteX9886" fmla="*/ 1184414 w 4610101"/>
              <a:gd name="connsiteY9886" fmla="*/ 1467702 h 6557032"/>
              <a:gd name="connsiteX9887" fmla="*/ 1186236 w 4610101"/>
              <a:gd name="connsiteY9887" fmla="*/ 1480458 h 6557032"/>
              <a:gd name="connsiteX9888" fmla="*/ 1188058 w 4610101"/>
              <a:gd name="connsiteY9888" fmla="*/ 1474991 h 6557032"/>
              <a:gd name="connsiteX9889" fmla="*/ 1184414 w 4610101"/>
              <a:gd name="connsiteY9889" fmla="*/ 1467702 h 6557032"/>
              <a:gd name="connsiteX9890" fmla="*/ 747092 w 4610101"/>
              <a:gd name="connsiteY9890" fmla="*/ 1467702 h 6557032"/>
              <a:gd name="connsiteX9891" fmla="*/ 747092 w 4610101"/>
              <a:gd name="connsiteY9891" fmla="*/ 1473169 h 6557032"/>
              <a:gd name="connsiteX9892" fmla="*/ 747092 w 4610101"/>
              <a:gd name="connsiteY9892" fmla="*/ 1467702 h 6557032"/>
              <a:gd name="connsiteX9893" fmla="*/ 546653 w 4610101"/>
              <a:gd name="connsiteY9893" fmla="*/ 1467702 h 6557032"/>
              <a:gd name="connsiteX9894" fmla="*/ 543008 w 4610101"/>
              <a:gd name="connsiteY9894" fmla="*/ 1478635 h 6557032"/>
              <a:gd name="connsiteX9895" fmla="*/ 546653 w 4610101"/>
              <a:gd name="connsiteY9895" fmla="*/ 1467702 h 6557032"/>
              <a:gd name="connsiteX9896" fmla="*/ 411584 w 4610101"/>
              <a:gd name="connsiteY9896" fmla="*/ 1467247 h 6557032"/>
              <a:gd name="connsiteX9897" fmla="*/ 406345 w 4610101"/>
              <a:gd name="connsiteY9897" fmla="*/ 1467702 h 6557032"/>
              <a:gd name="connsiteX9898" fmla="*/ 415456 w 4610101"/>
              <a:gd name="connsiteY9898" fmla="*/ 1474991 h 6557032"/>
              <a:gd name="connsiteX9899" fmla="*/ 415456 w 4610101"/>
              <a:gd name="connsiteY9899" fmla="*/ 1469525 h 6557032"/>
              <a:gd name="connsiteX9900" fmla="*/ 411584 w 4610101"/>
              <a:gd name="connsiteY9900" fmla="*/ 1467247 h 6557032"/>
              <a:gd name="connsiteX9901" fmla="*/ 659627 w 4610101"/>
              <a:gd name="connsiteY9901" fmla="*/ 1466335 h 6557032"/>
              <a:gd name="connsiteX9902" fmla="*/ 655983 w 4610101"/>
              <a:gd name="connsiteY9902" fmla="*/ 1467702 h 6557032"/>
              <a:gd name="connsiteX9903" fmla="*/ 663272 w 4610101"/>
              <a:gd name="connsiteY9903" fmla="*/ 1467702 h 6557032"/>
              <a:gd name="connsiteX9904" fmla="*/ 659627 w 4610101"/>
              <a:gd name="connsiteY9904" fmla="*/ 1466335 h 6557032"/>
              <a:gd name="connsiteX9905" fmla="*/ 3399332 w 4610101"/>
              <a:gd name="connsiteY9905" fmla="*/ 1466253 h 6557032"/>
              <a:gd name="connsiteX9906" fmla="*/ 3400177 w 4610101"/>
              <a:gd name="connsiteY9906" fmla="*/ 1467702 h 6557032"/>
              <a:gd name="connsiteX9907" fmla="*/ 3398675 w 4610101"/>
              <a:gd name="connsiteY9907" fmla="*/ 1467228 h 6557032"/>
              <a:gd name="connsiteX9908" fmla="*/ 1158903 w 4610101"/>
              <a:gd name="connsiteY9908" fmla="*/ 1465880 h 6557032"/>
              <a:gd name="connsiteX9909" fmla="*/ 1162547 w 4610101"/>
              <a:gd name="connsiteY9909" fmla="*/ 1471347 h 6557032"/>
              <a:gd name="connsiteX9910" fmla="*/ 1158903 w 4610101"/>
              <a:gd name="connsiteY9910" fmla="*/ 1465880 h 6557032"/>
              <a:gd name="connsiteX9911" fmla="*/ 464655 w 4610101"/>
              <a:gd name="connsiteY9911" fmla="*/ 1465880 h 6557032"/>
              <a:gd name="connsiteX9912" fmla="*/ 457367 w 4610101"/>
              <a:gd name="connsiteY9912" fmla="*/ 1471347 h 6557032"/>
              <a:gd name="connsiteX9913" fmla="*/ 464655 w 4610101"/>
              <a:gd name="connsiteY9913" fmla="*/ 1465880 h 6557032"/>
              <a:gd name="connsiteX9914" fmla="*/ 420923 w 4610101"/>
              <a:gd name="connsiteY9914" fmla="*/ 1465880 h 6557032"/>
              <a:gd name="connsiteX9915" fmla="*/ 424567 w 4610101"/>
              <a:gd name="connsiteY9915" fmla="*/ 1467702 h 6557032"/>
              <a:gd name="connsiteX9916" fmla="*/ 420923 w 4610101"/>
              <a:gd name="connsiteY9916" fmla="*/ 1465880 h 6557032"/>
              <a:gd name="connsiteX9917" fmla="*/ 631754 w 4610101"/>
              <a:gd name="connsiteY9917" fmla="*/ 1464571 h 6557032"/>
              <a:gd name="connsiteX9918" fmla="*/ 630472 w 4610101"/>
              <a:gd name="connsiteY9918" fmla="*/ 1480458 h 6557032"/>
              <a:gd name="connsiteX9919" fmla="*/ 625006 w 4610101"/>
              <a:gd name="connsiteY9919" fmla="*/ 1482280 h 6557032"/>
              <a:gd name="connsiteX9920" fmla="*/ 626828 w 4610101"/>
              <a:gd name="connsiteY9920" fmla="*/ 1469525 h 6557032"/>
              <a:gd name="connsiteX9921" fmla="*/ 615895 w 4610101"/>
              <a:gd name="connsiteY9921" fmla="*/ 1498679 h 6557032"/>
              <a:gd name="connsiteX9922" fmla="*/ 637761 w 4610101"/>
              <a:gd name="connsiteY9922" fmla="*/ 1500501 h 6557032"/>
              <a:gd name="connsiteX9923" fmla="*/ 635939 w 4610101"/>
              <a:gd name="connsiteY9923" fmla="*/ 1465880 h 6557032"/>
              <a:gd name="connsiteX9924" fmla="*/ 631754 w 4610101"/>
              <a:gd name="connsiteY9924" fmla="*/ 1464571 h 6557032"/>
              <a:gd name="connsiteX9925" fmla="*/ 3223426 w 4610101"/>
              <a:gd name="connsiteY9925" fmla="*/ 1464058 h 6557032"/>
              <a:gd name="connsiteX9926" fmla="*/ 3216137 w 4610101"/>
              <a:gd name="connsiteY9926" fmla="*/ 1465880 h 6557032"/>
              <a:gd name="connsiteX9927" fmla="*/ 3219782 w 4610101"/>
              <a:gd name="connsiteY9927" fmla="*/ 1482280 h 6557032"/>
              <a:gd name="connsiteX9928" fmla="*/ 3205204 w 4610101"/>
              <a:gd name="connsiteY9928" fmla="*/ 1482280 h 6557032"/>
              <a:gd name="connsiteX9929" fmla="*/ 3208849 w 4610101"/>
              <a:gd name="connsiteY9929" fmla="*/ 1491391 h 6557032"/>
              <a:gd name="connsiteX9930" fmla="*/ 3223426 w 4610101"/>
              <a:gd name="connsiteY9930" fmla="*/ 1476813 h 6557032"/>
              <a:gd name="connsiteX9931" fmla="*/ 3228893 w 4610101"/>
              <a:gd name="connsiteY9931" fmla="*/ 1474991 h 6557032"/>
              <a:gd name="connsiteX9932" fmla="*/ 3223426 w 4610101"/>
              <a:gd name="connsiteY9932" fmla="*/ 1464058 h 6557032"/>
              <a:gd name="connsiteX9933" fmla="*/ 825445 w 4610101"/>
              <a:gd name="connsiteY9933" fmla="*/ 1464058 h 6557032"/>
              <a:gd name="connsiteX9934" fmla="*/ 827267 w 4610101"/>
              <a:gd name="connsiteY9934" fmla="*/ 1471347 h 6557032"/>
              <a:gd name="connsiteX9935" fmla="*/ 832734 w 4610101"/>
              <a:gd name="connsiteY9935" fmla="*/ 1473169 h 6557032"/>
              <a:gd name="connsiteX9936" fmla="*/ 825445 w 4610101"/>
              <a:gd name="connsiteY9936" fmla="*/ 1464058 h 6557032"/>
              <a:gd name="connsiteX9937" fmla="*/ 816334 w 4610101"/>
              <a:gd name="connsiteY9937" fmla="*/ 1464058 h 6557032"/>
              <a:gd name="connsiteX9938" fmla="*/ 816334 w 4610101"/>
              <a:gd name="connsiteY9938" fmla="*/ 1476813 h 6557032"/>
              <a:gd name="connsiteX9939" fmla="*/ 819979 w 4610101"/>
              <a:gd name="connsiteY9939" fmla="*/ 1478635 h 6557032"/>
              <a:gd name="connsiteX9940" fmla="*/ 816334 w 4610101"/>
              <a:gd name="connsiteY9940" fmla="*/ 1464058 h 6557032"/>
              <a:gd name="connsiteX9941" fmla="*/ 650516 w 4610101"/>
              <a:gd name="connsiteY9941" fmla="*/ 1464058 h 6557032"/>
              <a:gd name="connsiteX9942" fmla="*/ 648694 w 4610101"/>
              <a:gd name="connsiteY9942" fmla="*/ 1465880 h 6557032"/>
              <a:gd name="connsiteX9943" fmla="*/ 646872 w 4610101"/>
              <a:gd name="connsiteY9943" fmla="*/ 1467702 h 6557032"/>
              <a:gd name="connsiteX9944" fmla="*/ 663272 w 4610101"/>
              <a:gd name="connsiteY9944" fmla="*/ 1473169 h 6557032"/>
              <a:gd name="connsiteX9945" fmla="*/ 648694 w 4610101"/>
              <a:gd name="connsiteY9945" fmla="*/ 1465880 h 6557032"/>
              <a:gd name="connsiteX9946" fmla="*/ 654161 w 4610101"/>
              <a:gd name="connsiteY9946" fmla="*/ 1467702 h 6557032"/>
              <a:gd name="connsiteX9947" fmla="*/ 650516 w 4610101"/>
              <a:gd name="connsiteY9947" fmla="*/ 1464058 h 6557032"/>
              <a:gd name="connsiteX9948" fmla="*/ 528431 w 4610101"/>
              <a:gd name="connsiteY9948" fmla="*/ 1464058 h 6557032"/>
              <a:gd name="connsiteX9949" fmla="*/ 533897 w 4610101"/>
              <a:gd name="connsiteY9949" fmla="*/ 1474991 h 6557032"/>
              <a:gd name="connsiteX9950" fmla="*/ 528431 w 4610101"/>
              <a:gd name="connsiteY9950" fmla="*/ 1464058 h 6557032"/>
              <a:gd name="connsiteX9951" fmla="*/ 1182592 w 4610101"/>
              <a:gd name="connsiteY9951" fmla="*/ 1462236 h 6557032"/>
              <a:gd name="connsiteX9952" fmla="*/ 1180769 w 4610101"/>
              <a:gd name="connsiteY9952" fmla="*/ 1464058 h 6557032"/>
              <a:gd name="connsiteX9953" fmla="*/ 1180769 w 4610101"/>
              <a:gd name="connsiteY9953" fmla="*/ 1467702 h 6557032"/>
              <a:gd name="connsiteX9954" fmla="*/ 1182592 w 4610101"/>
              <a:gd name="connsiteY9954" fmla="*/ 1462236 h 6557032"/>
              <a:gd name="connsiteX9955" fmla="*/ 588562 w 4610101"/>
              <a:gd name="connsiteY9955" fmla="*/ 1462236 h 6557032"/>
              <a:gd name="connsiteX9956" fmla="*/ 584919 w 4610101"/>
              <a:gd name="connsiteY9956" fmla="*/ 1467702 h 6557032"/>
              <a:gd name="connsiteX9957" fmla="*/ 588562 w 4610101"/>
              <a:gd name="connsiteY9957" fmla="*/ 1469525 h 6557032"/>
              <a:gd name="connsiteX9958" fmla="*/ 588562 w 4610101"/>
              <a:gd name="connsiteY9958" fmla="*/ 1462236 h 6557032"/>
              <a:gd name="connsiteX9959" fmla="*/ 530253 w 4610101"/>
              <a:gd name="connsiteY9959" fmla="*/ 1462236 h 6557032"/>
              <a:gd name="connsiteX9960" fmla="*/ 532075 w 4610101"/>
              <a:gd name="connsiteY9960" fmla="*/ 1464058 h 6557032"/>
              <a:gd name="connsiteX9961" fmla="*/ 530334 w 4610101"/>
              <a:gd name="connsiteY9961" fmla="*/ 1462681 h 6557032"/>
              <a:gd name="connsiteX9962" fmla="*/ 482876 w 4610101"/>
              <a:gd name="connsiteY9962" fmla="*/ 1462236 h 6557032"/>
              <a:gd name="connsiteX9963" fmla="*/ 482876 w 4610101"/>
              <a:gd name="connsiteY9963" fmla="*/ 1478635 h 6557032"/>
              <a:gd name="connsiteX9964" fmla="*/ 486521 w 4610101"/>
              <a:gd name="connsiteY9964" fmla="*/ 1462236 h 6557032"/>
              <a:gd name="connsiteX9965" fmla="*/ 486521 w 4610101"/>
              <a:gd name="connsiteY9965" fmla="*/ 1465880 h 6557032"/>
              <a:gd name="connsiteX9966" fmla="*/ 482876 w 4610101"/>
              <a:gd name="connsiteY9966" fmla="*/ 1462236 h 6557032"/>
              <a:gd name="connsiteX9967" fmla="*/ 674205 w 4610101"/>
              <a:gd name="connsiteY9967" fmla="*/ 1460414 h 6557032"/>
              <a:gd name="connsiteX9968" fmla="*/ 679671 w 4610101"/>
              <a:gd name="connsiteY9968" fmla="*/ 1462236 h 6557032"/>
              <a:gd name="connsiteX9969" fmla="*/ 674205 w 4610101"/>
              <a:gd name="connsiteY9969" fmla="*/ 1460414 h 6557032"/>
              <a:gd name="connsiteX9970" fmla="*/ 654161 w 4610101"/>
              <a:gd name="connsiteY9970" fmla="*/ 1460414 h 6557032"/>
              <a:gd name="connsiteX9971" fmla="*/ 652339 w 4610101"/>
              <a:gd name="connsiteY9971" fmla="*/ 1462236 h 6557032"/>
              <a:gd name="connsiteX9972" fmla="*/ 661449 w 4610101"/>
              <a:gd name="connsiteY9972" fmla="*/ 1464058 h 6557032"/>
              <a:gd name="connsiteX9973" fmla="*/ 654161 w 4610101"/>
              <a:gd name="connsiteY9973" fmla="*/ 1460414 h 6557032"/>
              <a:gd name="connsiteX9974" fmla="*/ 601318 w 4610101"/>
              <a:gd name="connsiteY9974" fmla="*/ 1460414 h 6557032"/>
              <a:gd name="connsiteX9975" fmla="*/ 601318 w 4610101"/>
              <a:gd name="connsiteY9975" fmla="*/ 1478635 h 6557032"/>
              <a:gd name="connsiteX9976" fmla="*/ 612251 w 4610101"/>
              <a:gd name="connsiteY9976" fmla="*/ 1464058 h 6557032"/>
              <a:gd name="connsiteX9977" fmla="*/ 601318 w 4610101"/>
              <a:gd name="connsiteY9977" fmla="*/ 1460414 h 6557032"/>
              <a:gd name="connsiteX9978" fmla="*/ 668510 w 4610101"/>
              <a:gd name="connsiteY9978" fmla="*/ 1459275 h 6557032"/>
              <a:gd name="connsiteX9979" fmla="*/ 663272 w 4610101"/>
              <a:gd name="connsiteY9979" fmla="*/ 1460414 h 6557032"/>
              <a:gd name="connsiteX9980" fmla="*/ 666916 w 4610101"/>
              <a:gd name="connsiteY9980" fmla="*/ 1462236 h 6557032"/>
              <a:gd name="connsiteX9981" fmla="*/ 668510 w 4610101"/>
              <a:gd name="connsiteY9981" fmla="*/ 1459275 h 6557032"/>
              <a:gd name="connsiteX9982" fmla="*/ 3228893 w 4610101"/>
              <a:gd name="connsiteY9982" fmla="*/ 1458592 h 6557032"/>
              <a:gd name="connsiteX9983" fmla="*/ 3227071 w 4610101"/>
              <a:gd name="connsiteY9983" fmla="*/ 1465880 h 6557032"/>
              <a:gd name="connsiteX9984" fmla="*/ 3234359 w 4610101"/>
              <a:gd name="connsiteY9984" fmla="*/ 1462236 h 6557032"/>
              <a:gd name="connsiteX9985" fmla="*/ 3228893 w 4610101"/>
              <a:gd name="connsiteY9985" fmla="*/ 1458592 h 6557032"/>
              <a:gd name="connsiteX9986" fmla="*/ 457367 w 4610101"/>
              <a:gd name="connsiteY9986" fmla="*/ 1458592 h 6557032"/>
              <a:gd name="connsiteX9987" fmla="*/ 442789 w 4610101"/>
              <a:gd name="connsiteY9987" fmla="*/ 1469525 h 6557032"/>
              <a:gd name="connsiteX9988" fmla="*/ 457367 w 4610101"/>
              <a:gd name="connsiteY9988" fmla="*/ 1458592 h 6557032"/>
              <a:gd name="connsiteX9989" fmla="*/ 1191213 w 4610101"/>
              <a:gd name="connsiteY9989" fmla="*/ 1457917 h 6557032"/>
              <a:gd name="connsiteX9990" fmla="*/ 1186504 w 4610101"/>
              <a:gd name="connsiteY9990" fmla="*/ 1465451 h 6557032"/>
              <a:gd name="connsiteX9991" fmla="*/ 1186187 w 4610101"/>
              <a:gd name="connsiteY9991" fmla="*/ 1465240 h 6557032"/>
              <a:gd name="connsiteX9992" fmla="*/ 1185986 w 4610101"/>
              <a:gd name="connsiteY9992" fmla="*/ 1462637 h 6557032"/>
              <a:gd name="connsiteX9993" fmla="*/ 3261692 w 4610101"/>
              <a:gd name="connsiteY9993" fmla="*/ 1456769 h 6557032"/>
              <a:gd name="connsiteX9994" fmla="*/ 3272625 w 4610101"/>
              <a:gd name="connsiteY9994" fmla="*/ 1474991 h 6557032"/>
              <a:gd name="connsiteX9995" fmla="*/ 3283558 w 4610101"/>
              <a:gd name="connsiteY9995" fmla="*/ 1471347 h 6557032"/>
              <a:gd name="connsiteX9996" fmla="*/ 3272625 w 4610101"/>
              <a:gd name="connsiteY9996" fmla="*/ 1471347 h 6557032"/>
              <a:gd name="connsiteX9997" fmla="*/ 3261692 w 4610101"/>
              <a:gd name="connsiteY9997" fmla="*/ 1456769 h 6557032"/>
              <a:gd name="connsiteX9998" fmla="*/ 470121 w 4610101"/>
              <a:gd name="connsiteY9998" fmla="*/ 1456769 h 6557032"/>
              <a:gd name="connsiteX9999" fmla="*/ 464655 w 4610101"/>
              <a:gd name="connsiteY9999" fmla="*/ 1464058 h 6557032"/>
              <a:gd name="connsiteX10000" fmla="*/ 470121 w 4610101"/>
              <a:gd name="connsiteY10000" fmla="*/ 1456769 h 6557032"/>
              <a:gd name="connsiteX10001" fmla="*/ 3252581 w 4610101"/>
              <a:gd name="connsiteY10001" fmla="*/ 1454947 h 6557032"/>
              <a:gd name="connsiteX10002" fmla="*/ 3247114 w 4610101"/>
              <a:gd name="connsiteY10002" fmla="*/ 1456769 h 6557032"/>
              <a:gd name="connsiteX10003" fmla="*/ 3254403 w 4610101"/>
              <a:gd name="connsiteY10003" fmla="*/ 1473169 h 6557032"/>
              <a:gd name="connsiteX10004" fmla="*/ 3250759 w 4610101"/>
              <a:gd name="connsiteY10004" fmla="*/ 1473169 h 6557032"/>
              <a:gd name="connsiteX10005" fmla="*/ 3258047 w 4610101"/>
              <a:gd name="connsiteY10005" fmla="*/ 1476813 h 6557032"/>
              <a:gd name="connsiteX10006" fmla="*/ 3258047 w 4610101"/>
              <a:gd name="connsiteY10006" fmla="*/ 1467702 h 6557032"/>
              <a:gd name="connsiteX10007" fmla="*/ 3252581 w 4610101"/>
              <a:gd name="connsiteY10007" fmla="*/ 1454947 h 6557032"/>
              <a:gd name="connsiteX10008" fmla="*/ 3241648 w 4610101"/>
              <a:gd name="connsiteY10008" fmla="*/ 1454947 h 6557032"/>
              <a:gd name="connsiteX10009" fmla="*/ 3243470 w 4610101"/>
              <a:gd name="connsiteY10009" fmla="*/ 1467702 h 6557032"/>
              <a:gd name="connsiteX10010" fmla="*/ 3241648 w 4610101"/>
              <a:gd name="connsiteY10010" fmla="*/ 1454947 h 6557032"/>
              <a:gd name="connsiteX10011" fmla="*/ 999946 w 4610101"/>
              <a:gd name="connsiteY10011" fmla="*/ 1454141 h 6557032"/>
              <a:gd name="connsiteX10012" fmla="*/ 1007663 w 4610101"/>
              <a:gd name="connsiteY10012" fmla="*/ 1455917 h 6557032"/>
              <a:gd name="connsiteX10013" fmla="*/ 1007663 w 4610101"/>
              <a:gd name="connsiteY10013" fmla="*/ 1456769 h 6557032"/>
              <a:gd name="connsiteX10014" fmla="*/ 994907 w 4610101"/>
              <a:gd name="connsiteY10014" fmla="*/ 1454947 h 6557032"/>
              <a:gd name="connsiteX10015" fmla="*/ 442789 w 4610101"/>
              <a:gd name="connsiteY10015" fmla="*/ 1453125 h 6557032"/>
              <a:gd name="connsiteX10016" fmla="*/ 439145 w 4610101"/>
              <a:gd name="connsiteY10016" fmla="*/ 1458592 h 6557032"/>
              <a:gd name="connsiteX10017" fmla="*/ 442789 w 4610101"/>
              <a:gd name="connsiteY10017" fmla="*/ 1453125 h 6557032"/>
              <a:gd name="connsiteX10018" fmla="*/ 1537915 w 4610101"/>
              <a:gd name="connsiteY10018" fmla="*/ 1451303 h 6557032"/>
              <a:gd name="connsiteX10019" fmla="*/ 1521516 w 4610101"/>
              <a:gd name="connsiteY10019" fmla="*/ 1453125 h 6557032"/>
              <a:gd name="connsiteX10020" fmla="*/ 1536093 w 4610101"/>
              <a:gd name="connsiteY10020" fmla="*/ 1467702 h 6557032"/>
              <a:gd name="connsiteX10021" fmla="*/ 779892 w 4610101"/>
              <a:gd name="connsiteY10021" fmla="*/ 1451303 h 6557032"/>
              <a:gd name="connsiteX10022" fmla="*/ 768959 w 4610101"/>
              <a:gd name="connsiteY10022" fmla="*/ 1473169 h 6557032"/>
              <a:gd name="connsiteX10023" fmla="*/ 763491 w 4610101"/>
              <a:gd name="connsiteY10023" fmla="*/ 1471347 h 6557032"/>
              <a:gd name="connsiteX10024" fmla="*/ 763491 w 4610101"/>
              <a:gd name="connsiteY10024" fmla="*/ 1495035 h 6557032"/>
              <a:gd name="connsiteX10025" fmla="*/ 763491 w 4610101"/>
              <a:gd name="connsiteY10025" fmla="*/ 1491391 h 6557032"/>
              <a:gd name="connsiteX10026" fmla="*/ 794468 w 4610101"/>
              <a:gd name="connsiteY10026" fmla="*/ 1496857 h 6557032"/>
              <a:gd name="connsiteX10027" fmla="*/ 779892 w 4610101"/>
              <a:gd name="connsiteY10027" fmla="*/ 1451303 h 6557032"/>
              <a:gd name="connsiteX10028" fmla="*/ 747092 w 4610101"/>
              <a:gd name="connsiteY10028" fmla="*/ 1451303 h 6557032"/>
              <a:gd name="connsiteX10029" fmla="*/ 748914 w 4610101"/>
              <a:gd name="connsiteY10029" fmla="*/ 1473169 h 6557032"/>
              <a:gd name="connsiteX10030" fmla="*/ 754380 w 4610101"/>
              <a:gd name="connsiteY10030" fmla="*/ 1458592 h 6557032"/>
              <a:gd name="connsiteX10031" fmla="*/ 747092 w 4610101"/>
              <a:gd name="connsiteY10031" fmla="*/ 1451303 h 6557032"/>
              <a:gd name="connsiteX10032" fmla="*/ 677849 w 4610101"/>
              <a:gd name="connsiteY10032" fmla="*/ 1451303 h 6557032"/>
              <a:gd name="connsiteX10033" fmla="*/ 674205 w 4610101"/>
              <a:gd name="connsiteY10033" fmla="*/ 1456769 h 6557032"/>
              <a:gd name="connsiteX10034" fmla="*/ 681493 w 4610101"/>
              <a:gd name="connsiteY10034" fmla="*/ 1458592 h 6557032"/>
              <a:gd name="connsiteX10035" fmla="*/ 677849 w 4610101"/>
              <a:gd name="connsiteY10035" fmla="*/ 1451303 h 6557032"/>
              <a:gd name="connsiteX10036" fmla="*/ 949036 w 4610101"/>
              <a:gd name="connsiteY10036" fmla="*/ 1450273 h 6557032"/>
              <a:gd name="connsiteX10037" fmla="*/ 954188 w 4610101"/>
              <a:gd name="connsiteY10037" fmla="*/ 1452205 h 6557032"/>
              <a:gd name="connsiteX10038" fmla="*/ 940148 w 4610101"/>
              <a:gd name="connsiteY10038" fmla="*/ 1458757 h 6557032"/>
              <a:gd name="connsiteX10039" fmla="*/ 919287 w 4610101"/>
              <a:gd name="connsiteY10039" fmla="*/ 1465880 h 6557032"/>
              <a:gd name="connsiteX10040" fmla="*/ 884372 w 4610101"/>
              <a:gd name="connsiteY10040" fmla="*/ 1477802 h 6557032"/>
              <a:gd name="connsiteX10041" fmla="*/ 892866 w 4610101"/>
              <a:gd name="connsiteY10041" fmla="*/ 1473169 h 6557032"/>
              <a:gd name="connsiteX10042" fmla="*/ 909265 w 4610101"/>
              <a:gd name="connsiteY10042" fmla="*/ 1467702 h 6557032"/>
              <a:gd name="connsiteX10043" fmla="*/ 901976 w 4610101"/>
              <a:gd name="connsiteY10043" fmla="*/ 1467702 h 6557032"/>
              <a:gd name="connsiteX10044" fmla="*/ 1168014 w 4610101"/>
              <a:gd name="connsiteY10044" fmla="*/ 1449481 h 6557032"/>
              <a:gd name="connsiteX10045" fmla="*/ 1168014 w 4610101"/>
              <a:gd name="connsiteY10045" fmla="*/ 1453125 h 6557032"/>
              <a:gd name="connsiteX10046" fmla="*/ 1175303 w 4610101"/>
              <a:gd name="connsiteY10046" fmla="*/ 1465880 h 6557032"/>
              <a:gd name="connsiteX10047" fmla="*/ 1168014 w 4610101"/>
              <a:gd name="connsiteY10047" fmla="*/ 1449481 h 6557032"/>
              <a:gd name="connsiteX10048" fmla="*/ 858244 w 4610101"/>
              <a:gd name="connsiteY10048" fmla="*/ 1449481 h 6557032"/>
              <a:gd name="connsiteX10049" fmla="*/ 876466 w 4610101"/>
              <a:gd name="connsiteY10049" fmla="*/ 1467702 h 6557032"/>
              <a:gd name="connsiteX10050" fmla="*/ 866314 w 4610101"/>
              <a:gd name="connsiteY10050" fmla="*/ 1461523 h 6557032"/>
              <a:gd name="connsiteX10051" fmla="*/ 865909 w 4610101"/>
              <a:gd name="connsiteY10051" fmla="*/ 1461204 h 6557032"/>
              <a:gd name="connsiteX10052" fmla="*/ 457367 w 4610101"/>
              <a:gd name="connsiteY10052" fmla="*/ 1449481 h 6557032"/>
              <a:gd name="connsiteX10053" fmla="*/ 446433 w 4610101"/>
              <a:gd name="connsiteY10053" fmla="*/ 1456769 h 6557032"/>
              <a:gd name="connsiteX10054" fmla="*/ 457367 w 4610101"/>
              <a:gd name="connsiteY10054" fmla="*/ 1449481 h 6557032"/>
              <a:gd name="connsiteX10055" fmla="*/ 3495477 w 4610101"/>
              <a:gd name="connsiteY10055" fmla="*/ 1447887 h 6557032"/>
              <a:gd name="connsiteX10056" fmla="*/ 3494930 w 4610101"/>
              <a:gd name="connsiteY10056" fmla="*/ 1451303 h 6557032"/>
              <a:gd name="connsiteX10057" fmla="*/ 3492225 w 4610101"/>
              <a:gd name="connsiteY10057" fmla="*/ 1449371 h 6557032"/>
              <a:gd name="connsiteX10058" fmla="*/ 794468 w 4610101"/>
              <a:gd name="connsiteY10058" fmla="*/ 1447658 h 6557032"/>
              <a:gd name="connsiteX10059" fmla="*/ 785357 w 4610101"/>
              <a:gd name="connsiteY10059" fmla="*/ 1467702 h 6557032"/>
              <a:gd name="connsiteX10060" fmla="*/ 805401 w 4610101"/>
              <a:gd name="connsiteY10060" fmla="*/ 1495035 h 6557032"/>
              <a:gd name="connsiteX10061" fmla="*/ 807223 w 4610101"/>
              <a:gd name="connsiteY10061" fmla="*/ 1473169 h 6557032"/>
              <a:gd name="connsiteX10062" fmla="*/ 814512 w 4610101"/>
              <a:gd name="connsiteY10062" fmla="*/ 1478635 h 6557032"/>
              <a:gd name="connsiteX10063" fmla="*/ 794468 w 4610101"/>
              <a:gd name="connsiteY10063" fmla="*/ 1447658 h 6557032"/>
              <a:gd name="connsiteX10064" fmla="*/ 661449 w 4610101"/>
              <a:gd name="connsiteY10064" fmla="*/ 1447658 h 6557032"/>
              <a:gd name="connsiteX10065" fmla="*/ 654161 w 4610101"/>
              <a:gd name="connsiteY10065" fmla="*/ 1454947 h 6557032"/>
              <a:gd name="connsiteX10066" fmla="*/ 663272 w 4610101"/>
              <a:gd name="connsiteY10066" fmla="*/ 1451303 h 6557032"/>
              <a:gd name="connsiteX10067" fmla="*/ 661449 w 4610101"/>
              <a:gd name="connsiteY10067" fmla="*/ 1447658 h 6557032"/>
              <a:gd name="connsiteX10068" fmla="*/ 643228 w 4610101"/>
              <a:gd name="connsiteY10068" fmla="*/ 1447658 h 6557032"/>
              <a:gd name="connsiteX10069" fmla="*/ 645050 w 4610101"/>
              <a:gd name="connsiteY10069" fmla="*/ 1467702 h 6557032"/>
              <a:gd name="connsiteX10070" fmla="*/ 648694 w 4610101"/>
              <a:gd name="connsiteY10070" fmla="*/ 1462236 h 6557032"/>
              <a:gd name="connsiteX10071" fmla="*/ 641407 w 4610101"/>
              <a:gd name="connsiteY10071" fmla="*/ 1458592 h 6557032"/>
              <a:gd name="connsiteX10072" fmla="*/ 646872 w 4610101"/>
              <a:gd name="connsiteY10072" fmla="*/ 1449481 h 6557032"/>
              <a:gd name="connsiteX10073" fmla="*/ 643228 w 4610101"/>
              <a:gd name="connsiteY10073" fmla="*/ 1447658 h 6557032"/>
              <a:gd name="connsiteX10074" fmla="*/ 570341 w 4610101"/>
              <a:gd name="connsiteY10074" fmla="*/ 1447658 h 6557032"/>
              <a:gd name="connsiteX10075" fmla="*/ 570341 w 4610101"/>
              <a:gd name="connsiteY10075" fmla="*/ 1454947 h 6557032"/>
              <a:gd name="connsiteX10076" fmla="*/ 570341 w 4610101"/>
              <a:gd name="connsiteY10076" fmla="*/ 1447658 h 6557032"/>
              <a:gd name="connsiteX10077" fmla="*/ 513853 w 4610101"/>
              <a:gd name="connsiteY10077" fmla="*/ 1447658 h 6557032"/>
              <a:gd name="connsiteX10078" fmla="*/ 515676 w 4610101"/>
              <a:gd name="connsiteY10078" fmla="*/ 1473169 h 6557032"/>
              <a:gd name="connsiteX10079" fmla="*/ 528431 w 4610101"/>
              <a:gd name="connsiteY10079" fmla="*/ 1474991 h 6557032"/>
              <a:gd name="connsiteX10080" fmla="*/ 513853 w 4610101"/>
              <a:gd name="connsiteY10080" fmla="*/ 1447658 h 6557032"/>
              <a:gd name="connsiteX10081" fmla="*/ 477410 w 4610101"/>
              <a:gd name="connsiteY10081" fmla="*/ 1447658 h 6557032"/>
              <a:gd name="connsiteX10082" fmla="*/ 473766 w 4610101"/>
              <a:gd name="connsiteY10082" fmla="*/ 1458592 h 6557032"/>
              <a:gd name="connsiteX10083" fmla="*/ 479232 w 4610101"/>
              <a:gd name="connsiteY10083" fmla="*/ 1454947 h 6557032"/>
              <a:gd name="connsiteX10084" fmla="*/ 477410 w 4610101"/>
              <a:gd name="connsiteY10084" fmla="*/ 1447658 h 6557032"/>
              <a:gd name="connsiteX10085" fmla="*/ 439145 w 4610101"/>
              <a:gd name="connsiteY10085" fmla="*/ 1447658 h 6557032"/>
              <a:gd name="connsiteX10086" fmla="*/ 413634 w 4610101"/>
              <a:gd name="connsiteY10086" fmla="*/ 1456769 h 6557032"/>
              <a:gd name="connsiteX10087" fmla="*/ 404523 w 4610101"/>
              <a:gd name="connsiteY10087" fmla="*/ 1454947 h 6557032"/>
              <a:gd name="connsiteX10088" fmla="*/ 411812 w 4610101"/>
              <a:gd name="connsiteY10088" fmla="*/ 1464058 h 6557032"/>
              <a:gd name="connsiteX10089" fmla="*/ 424567 w 4610101"/>
              <a:gd name="connsiteY10089" fmla="*/ 1454947 h 6557032"/>
              <a:gd name="connsiteX10090" fmla="*/ 426389 w 4610101"/>
              <a:gd name="connsiteY10090" fmla="*/ 1460414 h 6557032"/>
              <a:gd name="connsiteX10091" fmla="*/ 439145 w 4610101"/>
              <a:gd name="connsiteY10091" fmla="*/ 1447658 h 6557032"/>
              <a:gd name="connsiteX10092" fmla="*/ 1146148 w 4610101"/>
              <a:gd name="connsiteY10092" fmla="*/ 1445836 h 6557032"/>
              <a:gd name="connsiteX10093" fmla="*/ 1144326 w 4610101"/>
              <a:gd name="connsiteY10093" fmla="*/ 1447658 h 6557032"/>
              <a:gd name="connsiteX10094" fmla="*/ 1149792 w 4610101"/>
              <a:gd name="connsiteY10094" fmla="*/ 1451303 h 6557032"/>
              <a:gd name="connsiteX10095" fmla="*/ 1146148 w 4610101"/>
              <a:gd name="connsiteY10095" fmla="*/ 1445836 h 6557032"/>
              <a:gd name="connsiteX10096" fmla="*/ 985796 w 4610101"/>
              <a:gd name="connsiteY10096" fmla="*/ 1445836 h 6557032"/>
              <a:gd name="connsiteX10097" fmla="*/ 986629 w 4610101"/>
              <a:gd name="connsiteY10097" fmla="*/ 1445966 h 6557032"/>
              <a:gd name="connsiteX10098" fmla="*/ 987470 w 4610101"/>
              <a:gd name="connsiteY10098" fmla="*/ 1447018 h 6557032"/>
              <a:gd name="connsiteX10099" fmla="*/ 594030 w 4610101"/>
              <a:gd name="connsiteY10099" fmla="*/ 1445836 h 6557032"/>
              <a:gd name="connsiteX10100" fmla="*/ 590385 w 4610101"/>
              <a:gd name="connsiteY10100" fmla="*/ 1451303 h 6557032"/>
              <a:gd name="connsiteX10101" fmla="*/ 594030 w 4610101"/>
              <a:gd name="connsiteY10101" fmla="*/ 1445836 h 6557032"/>
              <a:gd name="connsiteX10102" fmla="*/ 573985 w 4610101"/>
              <a:gd name="connsiteY10102" fmla="*/ 1445836 h 6557032"/>
              <a:gd name="connsiteX10103" fmla="*/ 574835 w 4610101"/>
              <a:gd name="connsiteY10103" fmla="*/ 1446686 h 6557032"/>
              <a:gd name="connsiteX10104" fmla="*/ 573985 w 4610101"/>
              <a:gd name="connsiteY10104" fmla="*/ 1446181 h 6557032"/>
              <a:gd name="connsiteX10105" fmla="*/ 561230 w 4610101"/>
              <a:gd name="connsiteY10105" fmla="*/ 1445836 h 6557032"/>
              <a:gd name="connsiteX10106" fmla="*/ 546653 w 4610101"/>
              <a:gd name="connsiteY10106" fmla="*/ 1465880 h 6557032"/>
              <a:gd name="connsiteX10107" fmla="*/ 555763 w 4610101"/>
              <a:gd name="connsiteY10107" fmla="*/ 1469525 h 6557032"/>
              <a:gd name="connsiteX10108" fmla="*/ 568519 w 4610101"/>
              <a:gd name="connsiteY10108" fmla="*/ 1454947 h 6557032"/>
              <a:gd name="connsiteX10109" fmla="*/ 561230 w 4610101"/>
              <a:gd name="connsiteY10109" fmla="*/ 1445836 h 6557032"/>
              <a:gd name="connsiteX10110" fmla="*/ 459871 w 4610101"/>
              <a:gd name="connsiteY10110" fmla="*/ 1445153 h 6557032"/>
              <a:gd name="connsiteX10111" fmla="*/ 457367 w 4610101"/>
              <a:gd name="connsiteY10111" fmla="*/ 1445836 h 6557032"/>
              <a:gd name="connsiteX10112" fmla="*/ 461010 w 4610101"/>
              <a:gd name="connsiteY10112" fmla="*/ 1445836 h 6557032"/>
              <a:gd name="connsiteX10113" fmla="*/ 459871 w 4610101"/>
              <a:gd name="connsiteY10113" fmla="*/ 1445153 h 6557032"/>
              <a:gd name="connsiteX10114" fmla="*/ 3412932 w 4610101"/>
              <a:gd name="connsiteY10114" fmla="*/ 1444014 h 6557032"/>
              <a:gd name="connsiteX10115" fmla="*/ 3401999 w 4610101"/>
              <a:gd name="connsiteY10115" fmla="*/ 1447658 h 6557032"/>
              <a:gd name="connsiteX10116" fmla="*/ 3401999 w 4610101"/>
              <a:gd name="connsiteY10116" fmla="*/ 1458592 h 6557032"/>
              <a:gd name="connsiteX10117" fmla="*/ 3412932 w 4610101"/>
              <a:gd name="connsiteY10117" fmla="*/ 1444014 h 6557032"/>
              <a:gd name="connsiteX10118" fmla="*/ 3340045 w 4610101"/>
              <a:gd name="connsiteY10118" fmla="*/ 1444014 h 6557032"/>
              <a:gd name="connsiteX10119" fmla="*/ 3332756 w 4610101"/>
              <a:gd name="connsiteY10119" fmla="*/ 1445836 h 6557032"/>
              <a:gd name="connsiteX10120" fmla="*/ 3341867 w 4610101"/>
              <a:gd name="connsiteY10120" fmla="*/ 1456769 h 6557032"/>
              <a:gd name="connsiteX10121" fmla="*/ 3340045 w 4610101"/>
              <a:gd name="connsiteY10121" fmla="*/ 1444014 h 6557032"/>
              <a:gd name="connsiteX10122" fmla="*/ 1147970 w 4610101"/>
              <a:gd name="connsiteY10122" fmla="*/ 1444014 h 6557032"/>
              <a:gd name="connsiteX10123" fmla="*/ 1155259 w 4610101"/>
              <a:gd name="connsiteY10123" fmla="*/ 1460414 h 6557032"/>
              <a:gd name="connsiteX10124" fmla="*/ 1151614 w 4610101"/>
              <a:gd name="connsiteY10124" fmla="*/ 1444014 h 6557032"/>
              <a:gd name="connsiteX10125" fmla="*/ 1147970 w 4610101"/>
              <a:gd name="connsiteY10125" fmla="*/ 1444014 h 6557032"/>
              <a:gd name="connsiteX10126" fmla="*/ 785357 w 4610101"/>
              <a:gd name="connsiteY10126" fmla="*/ 1444014 h 6557032"/>
              <a:gd name="connsiteX10127" fmla="*/ 783535 w 4610101"/>
              <a:gd name="connsiteY10127" fmla="*/ 1445836 h 6557032"/>
              <a:gd name="connsiteX10128" fmla="*/ 781485 w 4610101"/>
              <a:gd name="connsiteY10128" fmla="*/ 1451075 h 6557032"/>
              <a:gd name="connsiteX10129" fmla="*/ 783535 w 4610101"/>
              <a:gd name="connsiteY10129" fmla="*/ 1460414 h 6557032"/>
              <a:gd name="connsiteX10130" fmla="*/ 785357 w 4610101"/>
              <a:gd name="connsiteY10130" fmla="*/ 1444014 h 6557032"/>
              <a:gd name="connsiteX10131" fmla="*/ 741626 w 4610101"/>
              <a:gd name="connsiteY10131" fmla="*/ 1444014 h 6557032"/>
              <a:gd name="connsiteX10132" fmla="*/ 716115 w 4610101"/>
              <a:gd name="connsiteY10132" fmla="*/ 1454947 h 6557032"/>
              <a:gd name="connsiteX10133" fmla="*/ 701537 w 4610101"/>
              <a:gd name="connsiteY10133" fmla="*/ 1476813 h 6557032"/>
              <a:gd name="connsiteX10134" fmla="*/ 702805 w 4610101"/>
              <a:gd name="connsiteY10134" fmla="*/ 1478240 h 6557032"/>
              <a:gd name="connsiteX10135" fmla="*/ 700627 w 4610101"/>
              <a:gd name="connsiteY10135" fmla="*/ 1479547 h 6557032"/>
              <a:gd name="connsiteX10136" fmla="*/ 696071 w 4610101"/>
              <a:gd name="connsiteY10136" fmla="*/ 1482280 h 6557032"/>
              <a:gd name="connsiteX10137" fmla="*/ 721581 w 4610101"/>
              <a:gd name="connsiteY10137" fmla="*/ 1495035 h 6557032"/>
              <a:gd name="connsiteX10138" fmla="*/ 719759 w 4610101"/>
              <a:gd name="connsiteY10138" fmla="*/ 1493213 h 6557032"/>
              <a:gd name="connsiteX10139" fmla="*/ 734336 w 4610101"/>
              <a:gd name="connsiteY10139" fmla="*/ 1485924 h 6557032"/>
              <a:gd name="connsiteX10140" fmla="*/ 730692 w 4610101"/>
              <a:gd name="connsiteY10140" fmla="*/ 1482280 h 6557032"/>
              <a:gd name="connsiteX10141" fmla="*/ 732515 w 4610101"/>
              <a:gd name="connsiteY10141" fmla="*/ 1480458 h 6557032"/>
              <a:gd name="connsiteX10142" fmla="*/ 721581 w 4610101"/>
              <a:gd name="connsiteY10142" fmla="*/ 1473169 h 6557032"/>
              <a:gd name="connsiteX10143" fmla="*/ 739803 w 4610101"/>
              <a:gd name="connsiteY10143" fmla="*/ 1476813 h 6557032"/>
              <a:gd name="connsiteX10144" fmla="*/ 736159 w 4610101"/>
              <a:gd name="connsiteY10144" fmla="*/ 1473169 h 6557032"/>
              <a:gd name="connsiteX10145" fmla="*/ 741626 w 4610101"/>
              <a:gd name="connsiteY10145" fmla="*/ 1444014 h 6557032"/>
              <a:gd name="connsiteX10146" fmla="*/ 708826 w 4610101"/>
              <a:gd name="connsiteY10146" fmla="*/ 1444014 h 6557032"/>
              <a:gd name="connsiteX10147" fmla="*/ 696071 w 4610101"/>
              <a:gd name="connsiteY10147" fmla="*/ 1449481 h 6557032"/>
              <a:gd name="connsiteX10148" fmla="*/ 699715 w 4610101"/>
              <a:gd name="connsiteY10148" fmla="*/ 1451303 h 6557032"/>
              <a:gd name="connsiteX10149" fmla="*/ 696071 w 4610101"/>
              <a:gd name="connsiteY10149" fmla="*/ 1456769 h 6557032"/>
              <a:gd name="connsiteX10150" fmla="*/ 714293 w 4610101"/>
              <a:gd name="connsiteY10150" fmla="*/ 1444014 h 6557032"/>
              <a:gd name="connsiteX10151" fmla="*/ 703359 w 4610101"/>
              <a:gd name="connsiteY10151" fmla="*/ 1447658 h 6557032"/>
              <a:gd name="connsiteX10152" fmla="*/ 708826 w 4610101"/>
              <a:gd name="connsiteY10152" fmla="*/ 1444014 h 6557032"/>
              <a:gd name="connsiteX10153" fmla="*/ 657805 w 4610101"/>
              <a:gd name="connsiteY10153" fmla="*/ 1444014 h 6557032"/>
              <a:gd name="connsiteX10154" fmla="*/ 655983 w 4610101"/>
              <a:gd name="connsiteY10154" fmla="*/ 1449481 h 6557032"/>
              <a:gd name="connsiteX10155" fmla="*/ 657805 w 4610101"/>
              <a:gd name="connsiteY10155" fmla="*/ 1444014 h 6557032"/>
              <a:gd name="connsiteX10156" fmla="*/ 635939 w 4610101"/>
              <a:gd name="connsiteY10156" fmla="*/ 1444014 h 6557032"/>
              <a:gd name="connsiteX10157" fmla="*/ 637761 w 4610101"/>
              <a:gd name="connsiteY10157" fmla="*/ 1451303 h 6557032"/>
              <a:gd name="connsiteX10158" fmla="*/ 641407 w 4610101"/>
              <a:gd name="connsiteY10158" fmla="*/ 1445836 h 6557032"/>
              <a:gd name="connsiteX10159" fmla="*/ 635939 w 4610101"/>
              <a:gd name="connsiteY10159" fmla="*/ 1444014 h 6557032"/>
              <a:gd name="connsiteX10160" fmla="*/ 564874 w 4610101"/>
              <a:gd name="connsiteY10160" fmla="*/ 1444014 h 6557032"/>
              <a:gd name="connsiteX10161" fmla="*/ 568519 w 4610101"/>
              <a:gd name="connsiteY10161" fmla="*/ 1447658 h 6557032"/>
              <a:gd name="connsiteX10162" fmla="*/ 564874 w 4610101"/>
              <a:gd name="connsiteY10162" fmla="*/ 1444014 h 6557032"/>
              <a:gd name="connsiteX10163" fmla="*/ 471943 w 4610101"/>
              <a:gd name="connsiteY10163" fmla="*/ 1444014 h 6557032"/>
              <a:gd name="connsiteX10164" fmla="*/ 461010 w 4610101"/>
              <a:gd name="connsiteY10164" fmla="*/ 1464058 h 6557032"/>
              <a:gd name="connsiteX10165" fmla="*/ 471943 w 4610101"/>
              <a:gd name="connsiteY10165" fmla="*/ 1444014 h 6557032"/>
              <a:gd name="connsiteX10166" fmla="*/ 424981 w 4610101"/>
              <a:gd name="connsiteY10166" fmla="*/ 1443062 h 6557032"/>
              <a:gd name="connsiteX10167" fmla="*/ 425256 w 4610101"/>
              <a:gd name="connsiteY10167" fmla="*/ 1443247 h 6557032"/>
              <a:gd name="connsiteX10168" fmla="*/ 425022 w 4610101"/>
              <a:gd name="connsiteY10168" fmla="*/ 1443331 h 6557032"/>
              <a:gd name="connsiteX10169" fmla="*/ 750281 w 4610101"/>
              <a:gd name="connsiteY10169" fmla="*/ 1442875 h 6557032"/>
              <a:gd name="connsiteX10170" fmla="*/ 747092 w 4610101"/>
              <a:gd name="connsiteY10170" fmla="*/ 1445836 h 6557032"/>
              <a:gd name="connsiteX10171" fmla="*/ 756203 w 4610101"/>
              <a:gd name="connsiteY10171" fmla="*/ 1453125 h 6557032"/>
              <a:gd name="connsiteX10172" fmla="*/ 756203 w 4610101"/>
              <a:gd name="connsiteY10172" fmla="*/ 1444014 h 6557032"/>
              <a:gd name="connsiteX10173" fmla="*/ 750281 w 4610101"/>
              <a:gd name="connsiteY10173" fmla="*/ 1442875 h 6557032"/>
              <a:gd name="connsiteX10174" fmla="*/ 1184414 w 4610101"/>
              <a:gd name="connsiteY10174" fmla="*/ 1442192 h 6557032"/>
              <a:gd name="connsiteX10175" fmla="*/ 1185986 w 4610101"/>
              <a:gd name="connsiteY10175" fmla="*/ 1462637 h 6557032"/>
              <a:gd name="connsiteX10176" fmla="*/ 1184414 w 4610101"/>
              <a:gd name="connsiteY10176" fmla="*/ 1464058 h 6557032"/>
              <a:gd name="connsiteX10177" fmla="*/ 1186187 w 4610101"/>
              <a:gd name="connsiteY10177" fmla="*/ 1465240 h 6557032"/>
              <a:gd name="connsiteX10178" fmla="*/ 1186236 w 4610101"/>
              <a:gd name="connsiteY10178" fmla="*/ 1465880 h 6557032"/>
              <a:gd name="connsiteX10179" fmla="*/ 1186504 w 4610101"/>
              <a:gd name="connsiteY10179" fmla="*/ 1465451 h 6557032"/>
              <a:gd name="connsiteX10180" fmla="*/ 1189880 w 4610101"/>
              <a:gd name="connsiteY10180" fmla="*/ 1467702 h 6557032"/>
              <a:gd name="connsiteX10181" fmla="*/ 1189880 w 4610101"/>
              <a:gd name="connsiteY10181" fmla="*/ 1474991 h 6557032"/>
              <a:gd name="connsiteX10182" fmla="*/ 1193525 w 4610101"/>
              <a:gd name="connsiteY10182" fmla="*/ 1476813 h 6557032"/>
              <a:gd name="connsiteX10183" fmla="*/ 1191703 w 4610101"/>
              <a:gd name="connsiteY10183" fmla="*/ 1478635 h 6557032"/>
              <a:gd name="connsiteX10184" fmla="*/ 1197169 w 4610101"/>
              <a:gd name="connsiteY10184" fmla="*/ 1491391 h 6557032"/>
              <a:gd name="connsiteX10185" fmla="*/ 1206279 w 4610101"/>
              <a:gd name="connsiteY10185" fmla="*/ 1485924 h 6557032"/>
              <a:gd name="connsiteX10186" fmla="*/ 1193525 w 4610101"/>
              <a:gd name="connsiteY10186" fmla="*/ 1476813 h 6557032"/>
              <a:gd name="connsiteX10187" fmla="*/ 1196837 w 4610101"/>
              <a:gd name="connsiteY10187" fmla="*/ 1476813 h 6557032"/>
              <a:gd name="connsiteX10188" fmla="*/ 1198080 w 4610101"/>
              <a:gd name="connsiteY10188" fmla="*/ 1477497 h 6557032"/>
              <a:gd name="connsiteX10189" fmla="*/ 1202636 w 4610101"/>
              <a:gd name="connsiteY10189" fmla="*/ 1478635 h 6557032"/>
              <a:gd name="connsiteX10190" fmla="*/ 1202636 w 4610101"/>
              <a:gd name="connsiteY10190" fmla="*/ 1473169 h 6557032"/>
              <a:gd name="connsiteX10191" fmla="*/ 1206279 w 4610101"/>
              <a:gd name="connsiteY10191" fmla="*/ 1484102 h 6557032"/>
              <a:gd name="connsiteX10192" fmla="*/ 1206279 w 4610101"/>
              <a:gd name="connsiteY10192" fmla="*/ 1467702 h 6557032"/>
              <a:gd name="connsiteX10193" fmla="*/ 1211747 w 4610101"/>
              <a:gd name="connsiteY10193" fmla="*/ 1464058 h 6557032"/>
              <a:gd name="connsiteX10194" fmla="*/ 1204457 w 4610101"/>
              <a:gd name="connsiteY10194" fmla="*/ 1456769 h 6557032"/>
              <a:gd name="connsiteX10195" fmla="*/ 1204457 w 4610101"/>
              <a:gd name="connsiteY10195" fmla="*/ 1464058 h 6557032"/>
              <a:gd name="connsiteX10196" fmla="*/ 1202636 w 4610101"/>
              <a:gd name="connsiteY10196" fmla="*/ 1456769 h 6557032"/>
              <a:gd name="connsiteX10197" fmla="*/ 1197169 w 4610101"/>
              <a:gd name="connsiteY10197" fmla="*/ 1451303 h 6557032"/>
              <a:gd name="connsiteX10198" fmla="*/ 1191475 w 4610101"/>
              <a:gd name="connsiteY10198" fmla="*/ 1457680 h 6557032"/>
              <a:gd name="connsiteX10199" fmla="*/ 1191213 w 4610101"/>
              <a:gd name="connsiteY10199" fmla="*/ 1457917 h 6557032"/>
              <a:gd name="connsiteX10200" fmla="*/ 1195346 w 4610101"/>
              <a:gd name="connsiteY10200" fmla="*/ 1451303 h 6557032"/>
              <a:gd name="connsiteX10201" fmla="*/ 1184414 w 4610101"/>
              <a:gd name="connsiteY10201" fmla="*/ 1442192 h 6557032"/>
              <a:gd name="connsiteX10202" fmla="*/ 730692 w 4610101"/>
              <a:gd name="connsiteY10202" fmla="*/ 1442192 h 6557032"/>
              <a:gd name="connsiteX10203" fmla="*/ 719759 w 4610101"/>
              <a:gd name="connsiteY10203" fmla="*/ 1451303 h 6557032"/>
              <a:gd name="connsiteX10204" fmla="*/ 737981 w 4610101"/>
              <a:gd name="connsiteY10204" fmla="*/ 1444014 h 6557032"/>
              <a:gd name="connsiteX10205" fmla="*/ 732515 w 4610101"/>
              <a:gd name="connsiteY10205" fmla="*/ 1444014 h 6557032"/>
              <a:gd name="connsiteX10206" fmla="*/ 732515 w 4610101"/>
              <a:gd name="connsiteY10206" fmla="*/ 1447658 h 6557032"/>
              <a:gd name="connsiteX10207" fmla="*/ 730692 w 4610101"/>
              <a:gd name="connsiteY10207" fmla="*/ 1442192 h 6557032"/>
              <a:gd name="connsiteX10208" fmla="*/ 632296 w 4610101"/>
              <a:gd name="connsiteY10208" fmla="*/ 1442192 h 6557032"/>
              <a:gd name="connsiteX10209" fmla="*/ 625006 w 4610101"/>
              <a:gd name="connsiteY10209" fmla="*/ 1458592 h 6557032"/>
              <a:gd name="connsiteX10210" fmla="*/ 630472 w 4610101"/>
              <a:gd name="connsiteY10210" fmla="*/ 1460414 h 6557032"/>
              <a:gd name="connsiteX10211" fmla="*/ 632296 w 4610101"/>
              <a:gd name="connsiteY10211" fmla="*/ 1442192 h 6557032"/>
              <a:gd name="connsiteX10212" fmla="*/ 1166192 w 4610101"/>
              <a:gd name="connsiteY10212" fmla="*/ 1440370 h 6557032"/>
              <a:gd name="connsiteX10213" fmla="*/ 1168014 w 4610101"/>
              <a:gd name="connsiteY10213" fmla="*/ 1445836 h 6557032"/>
              <a:gd name="connsiteX10214" fmla="*/ 1169836 w 4610101"/>
              <a:gd name="connsiteY10214" fmla="*/ 1442192 h 6557032"/>
              <a:gd name="connsiteX10215" fmla="*/ 1178947 w 4610101"/>
              <a:gd name="connsiteY10215" fmla="*/ 1462236 h 6557032"/>
              <a:gd name="connsiteX10216" fmla="*/ 1182592 w 4610101"/>
              <a:gd name="connsiteY10216" fmla="*/ 1460414 h 6557032"/>
              <a:gd name="connsiteX10217" fmla="*/ 1171658 w 4610101"/>
              <a:gd name="connsiteY10217" fmla="*/ 1440370 h 6557032"/>
              <a:gd name="connsiteX10218" fmla="*/ 1166192 w 4610101"/>
              <a:gd name="connsiteY10218" fmla="*/ 1440370 h 6557032"/>
              <a:gd name="connsiteX10219" fmla="*/ 672383 w 4610101"/>
              <a:gd name="connsiteY10219" fmla="*/ 1440370 h 6557032"/>
              <a:gd name="connsiteX10220" fmla="*/ 672383 w 4610101"/>
              <a:gd name="connsiteY10220" fmla="*/ 1444014 h 6557032"/>
              <a:gd name="connsiteX10221" fmla="*/ 672383 w 4610101"/>
              <a:gd name="connsiteY10221" fmla="*/ 1447658 h 6557032"/>
              <a:gd name="connsiteX10222" fmla="*/ 674205 w 4610101"/>
              <a:gd name="connsiteY10222" fmla="*/ 1449481 h 6557032"/>
              <a:gd name="connsiteX10223" fmla="*/ 672383 w 4610101"/>
              <a:gd name="connsiteY10223" fmla="*/ 1445836 h 6557032"/>
              <a:gd name="connsiteX10224" fmla="*/ 674205 w 4610101"/>
              <a:gd name="connsiteY10224" fmla="*/ 1445836 h 6557032"/>
              <a:gd name="connsiteX10225" fmla="*/ 672383 w 4610101"/>
              <a:gd name="connsiteY10225" fmla="*/ 1440370 h 6557032"/>
              <a:gd name="connsiteX10226" fmla="*/ 652339 w 4610101"/>
              <a:gd name="connsiteY10226" fmla="*/ 1440370 h 6557032"/>
              <a:gd name="connsiteX10227" fmla="*/ 650516 w 4610101"/>
              <a:gd name="connsiteY10227" fmla="*/ 1453125 h 6557032"/>
              <a:gd name="connsiteX10228" fmla="*/ 655983 w 4610101"/>
              <a:gd name="connsiteY10228" fmla="*/ 1444014 h 6557032"/>
              <a:gd name="connsiteX10229" fmla="*/ 652339 w 4610101"/>
              <a:gd name="connsiteY10229" fmla="*/ 1440370 h 6557032"/>
              <a:gd name="connsiteX10230" fmla="*/ 418645 w 4610101"/>
              <a:gd name="connsiteY10230" fmla="*/ 1438775 h 6557032"/>
              <a:gd name="connsiteX10231" fmla="*/ 408167 w 4610101"/>
              <a:gd name="connsiteY10231" fmla="*/ 1440370 h 6557032"/>
              <a:gd name="connsiteX10232" fmla="*/ 426389 w 4610101"/>
              <a:gd name="connsiteY10232" fmla="*/ 1444014 h 6557032"/>
              <a:gd name="connsiteX10233" fmla="*/ 425256 w 4610101"/>
              <a:gd name="connsiteY10233" fmla="*/ 1443247 h 6557032"/>
              <a:gd name="connsiteX10234" fmla="*/ 428211 w 4610101"/>
              <a:gd name="connsiteY10234" fmla="*/ 1442192 h 6557032"/>
              <a:gd name="connsiteX10235" fmla="*/ 424567 w 4610101"/>
              <a:gd name="connsiteY10235" fmla="*/ 1440370 h 6557032"/>
              <a:gd name="connsiteX10236" fmla="*/ 424981 w 4610101"/>
              <a:gd name="connsiteY10236" fmla="*/ 1443062 h 6557032"/>
              <a:gd name="connsiteX10237" fmla="*/ 812690 w 4610101"/>
              <a:gd name="connsiteY10237" fmla="*/ 1438548 h 6557032"/>
              <a:gd name="connsiteX10238" fmla="*/ 798112 w 4610101"/>
              <a:gd name="connsiteY10238" fmla="*/ 1445836 h 6557032"/>
              <a:gd name="connsiteX10239" fmla="*/ 810868 w 4610101"/>
              <a:gd name="connsiteY10239" fmla="*/ 1454947 h 6557032"/>
              <a:gd name="connsiteX10240" fmla="*/ 812690 w 4610101"/>
              <a:gd name="connsiteY10240" fmla="*/ 1438548 h 6557032"/>
              <a:gd name="connsiteX10241" fmla="*/ 584178 w 4610101"/>
              <a:gd name="connsiteY10241" fmla="*/ 1437609 h 6557032"/>
              <a:gd name="connsiteX10242" fmla="*/ 579907 w 4610101"/>
              <a:gd name="connsiteY10242" fmla="*/ 1438320 h 6557032"/>
              <a:gd name="connsiteX10243" fmla="*/ 570341 w 4610101"/>
              <a:gd name="connsiteY10243" fmla="*/ 1444014 h 6557032"/>
              <a:gd name="connsiteX10244" fmla="*/ 573985 w 4610101"/>
              <a:gd name="connsiteY10244" fmla="*/ 1446181 h 6557032"/>
              <a:gd name="connsiteX10245" fmla="*/ 573985 w 4610101"/>
              <a:gd name="connsiteY10245" fmla="*/ 1451303 h 6557032"/>
              <a:gd name="connsiteX10246" fmla="*/ 577630 w 4610101"/>
              <a:gd name="connsiteY10246" fmla="*/ 1449481 h 6557032"/>
              <a:gd name="connsiteX10247" fmla="*/ 574835 w 4610101"/>
              <a:gd name="connsiteY10247" fmla="*/ 1446686 h 6557032"/>
              <a:gd name="connsiteX10248" fmla="*/ 578768 w 4610101"/>
              <a:gd name="connsiteY10248" fmla="*/ 1449025 h 6557032"/>
              <a:gd name="connsiteX10249" fmla="*/ 583096 w 4610101"/>
              <a:gd name="connsiteY10249" fmla="*/ 1445836 h 6557032"/>
              <a:gd name="connsiteX10250" fmla="*/ 579452 w 4610101"/>
              <a:gd name="connsiteY10250" fmla="*/ 1444014 h 6557032"/>
              <a:gd name="connsiteX10251" fmla="*/ 586741 w 4610101"/>
              <a:gd name="connsiteY10251" fmla="*/ 1442192 h 6557032"/>
              <a:gd name="connsiteX10252" fmla="*/ 584178 w 4610101"/>
              <a:gd name="connsiteY10252" fmla="*/ 1437609 h 6557032"/>
              <a:gd name="connsiteX10253" fmla="*/ 3228893 w 4610101"/>
              <a:gd name="connsiteY10253" fmla="*/ 1436725 h 6557032"/>
              <a:gd name="connsiteX10254" fmla="*/ 3239826 w 4610101"/>
              <a:gd name="connsiteY10254" fmla="*/ 1454947 h 6557032"/>
              <a:gd name="connsiteX10255" fmla="*/ 3247114 w 4610101"/>
              <a:gd name="connsiteY10255" fmla="*/ 1451303 h 6557032"/>
              <a:gd name="connsiteX10256" fmla="*/ 3228893 w 4610101"/>
              <a:gd name="connsiteY10256" fmla="*/ 1436725 h 6557032"/>
              <a:gd name="connsiteX10257" fmla="*/ 1658179 w 4610101"/>
              <a:gd name="connsiteY10257" fmla="*/ 1436725 h 6557032"/>
              <a:gd name="connsiteX10258" fmla="*/ 1658179 w 4610101"/>
              <a:gd name="connsiteY10258" fmla="*/ 1451303 h 6557032"/>
              <a:gd name="connsiteX10259" fmla="*/ 1680046 w 4610101"/>
              <a:gd name="connsiteY10259" fmla="*/ 1436725 h 6557032"/>
              <a:gd name="connsiteX10260" fmla="*/ 842513 w 4610101"/>
              <a:gd name="connsiteY10260" fmla="*/ 1435749 h 6557032"/>
              <a:gd name="connsiteX10261" fmla="*/ 857105 w 4610101"/>
              <a:gd name="connsiteY10261" fmla="*/ 1454264 h 6557032"/>
              <a:gd name="connsiteX10262" fmla="*/ 865909 w 4610101"/>
              <a:gd name="connsiteY10262" fmla="*/ 1461204 h 6557032"/>
              <a:gd name="connsiteX10263" fmla="*/ 865988 w 4610101"/>
              <a:gd name="connsiteY10263" fmla="*/ 1461324 h 6557032"/>
              <a:gd name="connsiteX10264" fmla="*/ 866314 w 4610101"/>
              <a:gd name="connsiteY10264" fmla="*/ 1461523 h 6557032"/>
              <a:gd name="connsiteX10265" fmla="*/ 876466 w 4610101"/>
              <a:gd name="connsiteY10265" fmla="*/ 1469525 h 6557032"/>
              <a:gd name="connsiteX10266" fmla="*/ 880111 w 4610101"/>
              <a:gd name="connsiteY10266" fmla="*/ 1464058 h 6557032"/>
              <a:gd name="connsiteX10267" fmla="*/ 880111 w 4610101"/>
              <a:gd name="connsiteY10267" fmla="*/ 1471347 h 6557032"/>
              <a:gd name="connsiteX10268" fmla="*/ 867355 w 4610101"/>
              <a:gd name="connsiteY10268" fmla="*/ 1471347 h 6557032"/>
              <a:gd name="connsiteX10269" fmla="*/ 852778 w 4610101"/>
              <a:gd name="connsiteY10269" fmla="*/ 1453125 h 6557032"/>
              <a:gd name="connsiteX10270" fmla="*/ 850956 w 4610101"/>
              <a:gd name="connsiteY10270" fmla="*/ 1460414 h 6557032"/>
              <a:gd name="connsiteX10271" fmla="*/ 843667 w 4610101"/>
              <a:gd name="connsiteY10271" fmla="*/ 1440370 h 6557032"/>
              <a:gd name="connsiteX10272" fmla="*/ 3465775 w 4610101"/>
              <a:gd name="connsiteY10272" fmla="*/ 1434903 h 6557032"/>
              <a:gd name="connsiteX10273" fmla="*/ 3473064 w 4610101"/>
              <a:gd name="connsiteY10273" fmla="*/ 1442192 h 6557032"/>
              <a:gd name="connsiteX10274" fmla="*/ 3465775 w 4610101"/>
              <a:gd name="connsiteY10274" fmla="*/ 1434903 h 6557032"/>
              <a:gd name="connsiteX10275" fmla="*/ 1013129 w 4610101"/>
              <a:gd name="connsiteY10275" fmla="*/ 1434903 h 6557032"/>
              <a:gd name="connsiteX10276" fmla="*/ 1009485 w 4610101"/>
              <a:gd name="connsiteY10276" fmla="*/ 1442192 h 6557032"/>
              <a:gd name="connsiteX10277" fmla="*/ 1016774 w 4610101"/>
              <a:gd name="connsiteY10277" fmla="*/ 1449481 h 6557032"/>
              <a:gd name="connsiteX10278" fmla="*/ 1013129 w 4610101"/>
              <a:gd name="connsiteY10278" fmla="*/ 1434903 h 6557032"/>
              <a:gd name="connsiteX10279" fmla="*/ 790824 w 4610101"/>
              <a:gd name="connsiteY10279" fmla="*/ 1434903 h 6557032"/>
              <a:gd name="connsiteX10280" fmla="*/ 787179 w 4610101"/>
              <a:gd name="connsiteY10280" fmla="*/ 1438548 h 6557032"/>
              <a:gd name="connsiteX10281" fmla="*/ 790824 w 4610101"/>
              <a:gd name="connsiteY10281" fmla="*/ 1434903 h 6557032"/>
              <a:gd name="connsiteX10282" fmla="*/ 768959 w 4610101"/>
              <a:gd name="connsiteY10282" fmla="*/ 1434903 h 6557032"/>
              <a:gd name="connsiteX10283" fmla="*/ 768959 w 4610101"/>
              <a:gd name="connsiteY10283" fmla="*/ 1442192 h 6557032"/>
              <a:gd name="connsiteX10284" fmla="*/ 776246 w 4610101"/>
              <a:gd name="connsiteY10284" fmla="*/ 1436725 h 6557032"/>
              <a:gd name="connsiteX10285" fmla="*/ 768959 w 4610101"/>
              <a:gd name="connsiteY10285" fmla="*/ 1434903 h 6557032"/>
              <a:gd name="connsiteX10286" fmla="*/ 761670 w 4610101"/>
              <a:gd name="connsiteY10286" fmla="*/ 1434903 h 6557032"/>
              <a:gd name="connsiteX10287" fmla="*/ 756203 w 4610101"/>
              <a:gd name="connsiteY10287" fmla="*/ 1438548 h 6557032"/>
              <a:gd name="connsiteX10288" fmla="*/ 761670 w 4610101"/>
              <a:gd name="connsiteY10288" fmla="*/ 1434903 h 6557032"/>
              <a:gd name="connsiteX10289" fmla="*/ 448256 w 4610101"/>
              <a:gd name="connsiteY10289" fmla="*/ 1434903 h 6557032"/>
              <a:gd name="connsiteX10290" fmla="*/ 433678 w 4610101"/>
              <a:gd name="connsiteY10290" fmla="*/ 1440370 h 6557032"/>
              <a:gd name="connsiteX10291" fmla="*/ 448256 w 4610101"/>
              <a:gd name="connsiteY10291" fmla="*/ 1434903 h 6557032"/>
              <a:gd name="connsiteX10292" fmla="*/ 842209 w 4610101"/>
              <a:gd name="connsiteY10292" fmla="*/ 1434539 h 6557032"/>
              <a:gd name="connsiteX10293" fmla="*/ 842513 w 4610101"/>
              <a:gd name="connsiteY10293" fmla="*/ 1435749 h 6557032"/>
              <a:gd name="connsiteX10294" fmla="*/ 841845 w 4610101"/>
              <a:gd name="connsiteY10294" fmla="*/ 1434903 h 6557032"/>
              <a:gd name="connsiteX10295" fmla="*/ 590612 w 4610101"/>
              <a:gd name="connsiteY10295" fmla="*/ 1433992 h 6557032"/>
              <a:gd name="connsiteX10296" fmla="*/ 586741 w 4610101"/>
              <a:gd name="connsiteY10296" fmla="*/ 1434903 h 6557032"/>
              <a:gd name="connsiteX10297" fmla="*/ 590385 w 4610101"/>
              <a:gd name="connsiteY10297" fmla="*/ 1438548 h 6557032"/>
              <a:gd name="connsiteX10298" fmla="*/ 590612 w 4610101"/>
              <a:gd name="connsiteY10298" fmla="*/ 1433992 h 6557032"/>
              <a:gd name="connsiteX10299" fmla="*/ 1198991 w 4610101"/>
              <a:gd name="connsiteY10299" fmla="*/ 1433081 h 6557032"/>
              <a:gd name="connsiteX10300" fmla="*/ 1186236 w 4610101"/>
              <a:gd name="connsiteY10300" fmla="*/ 1438548 h 6557032"/>
              <a:gd name="connsiteX10301" fmla="*/ 1198991 w 4610101"/>
              <a:gd name="connsiteY10301" fmla="*/ 1433081 h 6557032"/>
              <a:gd name="connsiteX10302" fmla="*/ 637761 w 4610101"/>
              <a:gd name="connsiteY10302" fmla="*/ 1433081 h 6557032"/>
              <a:gd name="connsiteX10303" fmla="*/ 637761 w 4610101"/>
              <a:gd name="connsiteY10303" fmla="*/ 1444014 h 6557032"/>
              <a:gd name="connsiteX10304" fmla="*/ 643228 w 4610101"/>
              <a:gd name="connsiteY10304" fmla="*/ 1442192 h 6557032"/>
              <a:gd name="connsiteX10305" fmla="*/ 637761 w 4610101"/>
              <a:gd name="connsiteY10305" fmla="*/ 1433081 h 6557032"/>
              <a:gd name="connsiteX10306" fmla="*/ 3194271 w 4610101"/>
              <a:gd name="connsiteY10306" fmla="*/ 1431259 h 6557032"/>
              <a:gd name="connsiteX10307" fmla="*/ 3185160 w 4610101"/>
              <a:gd name="connsiteY10307" fmla="*/ 1458592 h 6557032"/>
              <a:gd name="connsiteX10308" fmla="*/ 3197916 w 4610101"/>
              <a:gd name="connsiteY10308" fmla="*/ 1444014 h 6557032"/>
              <a:gd name="connsiteX10309" fmla="*/ 3212493 w 4610101"/>
              <a:gd name="connsiteY10309" fmla="*/ 1454947 h 6557032"/>
              <a:gd name="connsiteX10310" fmla="*/ 3212493 w 4610101"/>
              <a:gd name="connsiteY10310" fmla="*/ 1453125 h 6557032"/>
              <a:gd name="connsiteX10311" fmla="*/ 3216137 w 4610101"/>
              <a:gd name="connsiteY10311" fmla="*/ 1456769 h 6557032"/>
              <a:gd name="connsiteX10312" fmla="*/ 3216137 w 4610101"/>
              <a:gd name="connsiteY10312" fmla="*/ 1445836 h 6557032"/>
              <a:gd name="connsiteX10313" fmla="*/ 3221604 w 4610101"/>
              <a:gd name="connsiteY10313" fmla="*/ 1445836 h 6557032"/>
              <a:gd name="connsiteX10314" fmla="*/ 3217960 w 4610101"/>
              <a:gd name="connsiteY10314" fmla="*/ 1438548 h 6557032"/>
              <a:gd name="connsiteX10315" fmla="*/ 3230715 w 4610101"/>
              <a:gd name="connsiteY10315" fmla="*/ 1456769 h 6557032"/>
              <a:gd name="connsiteX10316" fmla="*/ 3221604 w 4610101"/>
              <a:gd name="connsiteY10316" fmla="*/ 1431259 h 6557032"/>
              <a:gd name="connsiteX10317" fmla="*/ 3217960 w 4610101"/>
              <a:gd name="connsiteY10317" fmla="*/ 1433081 h 6557032"/>
              <a:gd name="connsiteX10318" fmla="*/ 3223426 w 4610101"/>
              <a:gd name="connsiteY10318" fmla="*/ 1436725 h 6557032"/>
              <a:gd name="connsiteX10319" fmla="*/ 3210671 w 4610101"/>
              <a:gd name="connsiteY10319" fmla="*/ 1434903 h 6557032"/>
              <a:gd name="connsiteX10320" fmla="*/ 3196093 w 4610101"/>
              <a:gd name="connsiteY10320" fmla="*/ 1436725 h 6557032"/>
              <a:gd name="connsiteX10321" fmla="*/ 3199738 w 4610101"/>
              <a:gd name="connsiteY10321" fmla="*/ 1431259 h 6557032"/>
              <a:gd name="connsiteX10322" fmla="*/ 3194271 w 4610101"/>
              <a:gd name="connsiteY10322" fmla="*/ 1431259 h 6557032"/>
              <a:gd name="connsiteX10323" fmla="*/ 563052 w 4610101"/>
              <a:gd name="connsiteY10323" fmla="*/ 1431259 h 6557032"/>
              <a:gd name="connsiteX10324" fmla="*/ 557586 w 4610101"/>
              <a:gd name="connsiteY10324" fmla="*/ 1440370 h 6557032"/>
              <a:gd name="connsiteX10325" fmla="*/ 566697 w 4610101"/>
              <a:gd name="connsiteY10325" fmla="*/ 1436725 h 6557032"/>
              <a:gd name="connsiteX10326" fmla="*/ 563052 w 4610101"/>
              <a:gd name="connsiteY10326" fmla="*/ 1431259 h 6557032"/>
              <a:gd name="connsiteX10327" fmla="*/ 461010 w 4610101"/>
              <a:gd name="connsiteY10327" fmla="*/ 1431259 h 6557032"/>
              <a:gd name="connsiteX10328" fmla="*/ 451899 w 4610101"/>
              <a:gd name="connsiteY10328" fmla="*/ 1442192 h 6557032"/>
              <a:gd name="connsiteX10329" fmla="*/ 446433 w 4610101"/>
              <a:gd name="connsiteY10329" fmla="*/ 1445836 h 6557032"/>
              <a:gd name="connsiteX10330" fmla="*/ 451899 w 4610101"/>
              <a:gd name="connsiteY10330" fmla="*/ 1442192 h 6557032"/>
              <a:gd name="connsiteX10331" fmla="*/ 457367 w 4610101"/>
              <a:gd name="connsiteY10331" fmla="*/ 1438548 h 6557032"/>
              <a:gd name="connsiteX10332" fmla="*/ 461010 w 4610101"/>
              <a:gd name="connsiteY10332" fmla="*/ 1431259 h 6557032"/>
              <a:gd name="connsiteX10333" fmla="*/ 415456 w 4610101"/>
              <a:gd name="connsiteY10333" fmla="*/ 1431259 h 6557032"/>
              <a:gd name="connsiteX10334" fmla="*/ 435500 w 4610101"/>
              <a:gd name="connsiteY10334" fmla="*/ 1436725 h 6557032"/>
              <a:gd name="connsiteX10335" fmla="*/ 415456 w 4610101"/>
              <a:gd name="connsiteY10335" fmla="*/ 1431259 h 6557032"/>
              <a:gd name="connsiteX10336" fmla="*/ 453494 w 4610101"/>
              <a:gd name="connsiteY10336" fmla="*/ 1430804 h 6557032"/>
              <a:gd name="connsiteX10337" fmla="*/ 450077 w 4610101"/>
              <a:gd name="connsiteY10337" fmla="*/ 1433081 h 6557032"/>
              <a:gd name="connsiteX10338" fmla="*/ 455544 w 4610101"/>
              <a:gd name="connsiteY10338" fmla="*/ 1431259 h 6557032"/>
              <a:gd name="connsiteX10339" fmla="*/ 453494 w 4610101"/>
              <a:gd name="connsiteY10339" fmla="*/ 1430804 h 6557032"/>
              <a:gd name="connsiteX10340" fmla="*/ 1417651 w 4610101"/>
              <a:gd name="connsiteY10340" fmla="*/ 1429563 h 6557032"/>
              <a:gd name="connsiteX10341" fmla="*/ 1432231 w 4610101"/>
              <a:gd name="connsiteY10341" fmla="*/ 1436852 h 6557032"/>
              <a:gd name="connsiteX10342" fmla="*/ 1417651 w 4610101"/>
              <a:gd name="connsiteY10342" fmla="*/ 1453251 h 6557032"/>
              <a:gd name="connsiteX10343" fmla="*/ 1424940 w 4610101"/>
              <a:gd name="connsiteY10343" fmla="*/ 1467827 h 6557032"/>
              <a:gd name="connsiteX10344" fmla="*/ 1386674 w 4610101"/>
              <a:gd name="connsiteY10344" fmla="*/ 1467827 h 6557032"/>
              <a:gd name="connsiteX10345" fmla="*/ 1417651 w 4610101"/>
              <a:gd name="connsiteY10345" fmla="*/ 1429563 h 6557032"/>
              <a:gd name="connsiteX10346" fmla="*/ 2857169 w 4610101"/>
              <a:gd name="connsiteY10346" fmla="*/ 1429502 h 6557032"/>
              <a:gd name="connsiteX10347" fmla="*/ 2873569 w 4610101"/>
              <a:gd name="connsiteY10347" fmla="*/ 1429502 h 6557032"/>
              <a:gd name="connsiteX10348" fmla="*/ 2857169 w 4610101"/>
              <a:gd name="connsiteY10348" fmla="*/ 1444079 h 6557032"/>
              <a:gd name="connsiteX10349" fmla="*/ 1160725 w 4610101"/>
              <a:gd name="connsiteY10349" fmla="*/ 1429437 h 6557032"/>
              <a:gd name="connsiteX10350" fmla="*/ 1164370 w 4610101"/>
              <a:gd name="connsiteY10350" fmla="*/ 1436725 h 6557032"/>
              <a:gd name="connsiteX10351" fmla="*/ 1168014 w 4610101"/>
              <a:gd name="connsiteY10351" fmla="*/ 1433081 h 6557032"/>
              <a:gd name="connsiteX10352" fmla="*/ 1160725 w 4610101"/>
              <a:gd name="connsiteY10352" fmla="*/ 1429437 h 6557032"/>
              <a:gd name="connsiteX10353" fmla="*/ 1116993 w 4610101"/>
              <a:gd name="connsiteY10353" fmla="*/ 1429437 h 6557032"/>
              <a:gd name="connsiteX10354" fmla="*/ 1133393 w 4610101"/>
              <a:gd name="connsiteY10354" fmla="*/ 1442192 h 6557032"/>
              <a:gd name="connsiteX10355" fmla="*/ 1116993 w 4610101"/>
              <a:gd name="connsiteY10355" fmla="*/ 1429437 h 6557032"/>
              <a:gd name="connsiteX10356" fmla="*/ 973041 w 4610101"/>
              <a:gd name="connsiteY10356" fmla="*/ 1429437 h 6557032"/>
              <a:gd name="connsiteX10357" fmla="*/ 1000374 w 4610101"/>
              <a:gd name="connsiteY10357" fmla="*/ 1449481 h 6557032"/>
              <a:gd name="connsiteX10358" fmla="*/ 993085 w 4610101"/>
              <a:gd name="connsiteY10358" fmla="*/ 1446975 h 6557032"/>
              <a:gd name="connsiteX10359" fmla="*/ 986629 w 4610101"/>
              <a:gd name="connsiteY10359" fmla="*/ 1445966 h 6557032"/>
              <a:gd name="connsiteX10360" fmla="*/ 982152 w 4610101"/>
              <a:gd name="connsiteY10360" fmla="*/ 1440370 h 6557032"/>
              <a:gd name="connsiteX10361" fmla="*/ 982152 w 4610101"/>
              <a:gd name="connsiteY10361" fmla="*/ 1442192 h 6557032"/>
              <a:gd name="connsiteX10362" fmla="*/ 973041 w 4610101"/>
              <a:gd name="connsiteY10362" fmla="*/ 1429437 h 6557032"/>
              <a:gd name="connsiteX10363" fmla="*/ 754380 w 4610101"/>
              <a:gd name="connsiteY10363" fmla="*/ 1429437 h 6557032"/>
              <a:gd name="connsiteX10364" fmla="*/ 750737 w 4610101"/>
              <a:gd name="connsiteY10364" fmla="*/ 1431259 h 6557032"/>
              <a:gd name="connsiteX10365" fmla="*/ 754380 w 4610101"/>
              <a:gd name="connsiteY10365" fmla="*/ 1429437 h 6557032"/>
              <a:gd name="connsiteX10366" fmla="*/ 566240 w 4610101"/>
              <a:gd name="connsiteY10366" fmla="*/ 1429209 h 6557032"/>
              <a:gd name="connsiteX10367" fmla="*/ 563052 w 4610101"/>
              <a:gd name="connsiteY10367" fmla="*/ 1429437 h 6557032"/>
              <a:gd name="connsiteX10368" fmla="*/ 566697 w 4610101"/>
              <a:gd name="connsiteY10368" fmla="*/ 1433081 h 6557032"/>
              <a:gd name="connsiteX10369" fmla="*/ 566240 w 4610101"/>
              <a:gd name="connsiteY10369" fmla="*/ 1429209 h 6557032"/>
              <a:gd name="connsiteX10370" fmla="*/ 3159650 w 4610101"/>
              <a:gd name="connsiteY10370" fmla="*/ 1427615 h 6557032"/>
              <a:gd name="connsiteX10371" fmla="*/ 3166939 w 4610101"/>
              <a:gd name="connsiteY10371" fmla="*/ 1440370 h 6557032"/>
              <a:gd name="connsiteX10372" fmla="*/ 3163294 w 4610101"/>
              <a:gd name="connsiteY10372" fmla="*/ 1427615 h 6557032"/>
              <a:gd name="connsiteX10373" fmla="*/ 3159650 w 4610101"/>
              <a:gd name="connsiteY10373" fmla="*/ 1427615 h 6557032"/>
              <a:gd name="connsiteX10374" fmla="*/ 2999299 w 4610101"/>
              <a:gd name="connsiteY10374" fmla="*/ 1427615 h 6557032"/>
              <a:gd name="connsiteX10375" fmla="*/ 2988366 w 4610101"/>
              <a:gd name="connsiteY10375" fmla="*/ 1444014 h 6557032"/>
              <a:gd name="connsiteX10376" fmla="*/ 2993832 w 4610101"/>
              <a:gd name="connsiteY10376" fmla="*/ 1444014 h 6557032"/>
              <a:gd name="connsiteX10377" fmla="*/ 3001121 w 4610101"/>
              <a:gd name="connsiteY10377" fmla="*/ 1429437 h 6557032"/>
              <a:gd name="connsiteX10378" fmla="*/ 2999299 w 4610101"/>
              <a:gd name="connsiteY10378" fmla="*/ 1427615 h 6557032"/>
              <a:gd name="connsiteX10379" fmla="*/ 1565248 w 4610101"/>
              <a:gd name="connsiteY10379" fmla="*/ 1427615 h 6557032"/>
              <a:gd name="connsiteX10380" fmla="*/ 1550670 w 4610101"/>
              <a:gd name="connsiteY10380" fmla="*/ 1442192 h 6557032"/>
              <a:gd name="connsiteX10381" fmla="*/ 1567070 w 4610101"/>
              <a:gd name="connsiteY10381" fmla="*/ 1451303 h 6557032"/>
              <a:gd name="connsiteX10382" fmla="*/ 801757 w 4610101"/>
              <a:gd name="connsiteY10382" fmla="*/ 1427615 h 6557032"/>
              <a:gd name="connsiteX10383" fmla="*/ 798112 w 4610101"/>
              <a:gd name="connsiteY10383" fmla="*/ 1429437 h 6557032"/>
              <a:gd name="connsiteX10384" fmla="*/ 794468 w 4610101"/>
              <a:gd name="connsiteY10384" fmla="*/ 1438548 h 6557032"/>
              <a:gd name="connsiteX10385" fmla="*/ 801757 w 4610101"/>
              <a:gd name="connsiteY10385" fmla="*/ 1427615 h 6557032"/>
              <a:gd name="connsiteX10386" fmla="*/ 745269 w 4610101"/>
              <a:gd name="connsiteY10386" fmla="*/ 1427615 h 6557032"/>
              <a:gd name="connsiteX10387" fmla="*/ 737981 w 4610101"/>
              <a:gd name="connsiteY10387" fmla="*/ 1434903 h 6557032"/>
              <a:gd name="connsiteX10388" fmla="*/ 739803 w 4610101"/>
              <a:gd name="connsiteY10388" fmla="*/ 1434903 h 6557032"/>
              <a:gd name="connsiteX10389" fmla="*/ 745269 w 4610101"/>
              <a:gd name="connsiteY10389" fmla="*/ 1427615 h 6557032"/>
              <a:gd name="connsiteX10390" fmla="*/ 838028 w 4610101"/>
              <a:gd name="connsiteY10390" fmla="*/ 1427528 h 6557032"/>
              <a:gd name="connsiteX10391" fmla="*/ 839112 w 4610101"/>
              <a:gd name="connsiteY10391" fmla="*/ 1428071 h 6557032"/>
              <a:gd name="connsiteX10392" fmla="*/ 835184 w 4610101"/>
              <a:gd name="connsiteY10392" fmla="*/ 1427678 h 6557032"/>
              <a:gd name="connsiteX10393" fmla="*/ 835158 w 4610101"/>
              <a:gd name="connsiteY10393" fmla="*/ 1427600 h 6557032"/>
              <a:gd name="connsiteX10394" fmla="*/ 1125442 w 4610101"/>
              <a:gd name="connsiteY10394" fmla="*/ 1427449 h 6557032"/>
              <a:gd name="connsiteX10395" fmla="*/ 1126104 w 4610101"/>
              <a:gd name="connsiteY10395" fmla="*/ 1427615 h 6557032"/>
              <a:gd name="connsiteX10396" fmla="*/ 1125876 w 4610101"/>
              <a:gd name="connsiteY10396" fmla="*/ 1428070 h 6557032"/>
              <a:gd name="connsiteX10397" fmla="*/ 575808 w 4610101"/>
              <a:gd name="connsiteY10397" fmla="*/ 1426704 h 6557032"/>
              <a:gd name="connsiteX10398" fmla="*/ 576053 w 4610101"/>
              <a:gd name="connsiteY10398" fmla="*/ 1427073 h 6557032"/>
              <a:gd name="connsiteX10399" fmla="*/ 575808 w 4610101"/>
              <a:gd name="connsiteY10399" fmla="*/ 1427615 h 6557032"/>
              <a:gd name="connsiteX10400" fmla="*/ 3247114 w 4610101"/>
              <a:gd name="connsiteY10400" fmla="*/ 1425792 h 6557032"/>
              <a:gd name="connsiteX10401" fmla="*/ 3254403 w 4610101"/>
              <a:gd name="connsiteY10401" fmla="*/ 1434903 h 6557032"/>
              <a:gd name="connsiteX10402" fmla="*/ 3252581 w 4610101"/>
              <a:gd name="connsiteY10402" fmla="*/ 1427615 h 6557032"/>
              <a:gd name="connsiteX10403" fmla="*/ 3247114 w 4610101"/>
              <a:gd name="connsiteY10403" fmla="*/ 1425792 h 6557032"/>
              <a:gd name="connsiteX10404" fmla="*/ 1118815 w 4610101"/>
              <a:gd name="connsiteY10404" fmla="*/ 1425792 h 6557032"/>
              <a:gd name="connsiteX10405" fmla="*/ 1140681 w 4610101"/>
              <a:gd name="connsiteY10405" fmla="*/ 1440370 h 6557032"/>
              <a:gd name="connsiteX10406" fmla="*/ 1127926 w 4610101"/>
              <a:gd name="connsiteY10406" fmla="*/ 1429437 h 6557032"/>
              <a:gd name="connsiteX10407" fmla="*/ 1129748 w 4610101"/>
              <a:gd name="connsiteY10407" fmla="*/ 1429437 h 6557032"/>
              <a:gd name="connsiteX10408" fmla="*/ 1124282 w 4610101"/>
              <a:gd name="connsiteY10408" fmla="*/ 1425792 h 6557032"/>
              <a:gd name="connsiteX10409" fmla="*/ 1125442 w 4610101"/>
              <a:gd name="connsiteY10409" fmla="*/ 1427449 h 6557032"/>
              <a:gd name="connsiteX10410" fmla="*/ 834556 w 4610101"/>
              <a:gd name="connsiteY10410" fmla="*/ 1425792 h 6557032"/>
              <a:gd name="connsiteX10411" fmla="*/ 852778 w 4610101"/>
              <a:gd name="connsiteY10411" fmla="*/ 1425792 h 6557032"/>
              <a:gd name="connsiteX10412" fmla="*/ 843667 w 4610101"/>
              <a:gd name="connsiteY10412" fmla="*/ 1427387 h 6557032"/>
              <a:gd name="connsiteX10413" fmla="*/ 838028 w 4610101"/>
              <a:gd name="connsiteY10413" fmla="*/ 1427528 h 6557032"/>
              <a:gd name="connsiteX10414" fmla="*/ 812690 w 4610101"/>
              <a:gd name="connsiteY10414" fmla="*/ 1425792 h 6557032"/>
              <a:gd name="connsiteX10415" fmla="*/ 799935 w 4610101"/>
              <a:gd name="connsiteY10415" fmla="*/ 1436725 h 6557032"/>
              <a:gd name="connsiteX10416" fmla="*/ 812690 w 4610101"/>
              <a:gd name="connsiteY10416" fmla="*/ 1425792 h 6557032"/>
              <a:gd name="connsiteX10417" fmla="*/ 665094 w 4610101"/>
              <a:gd name="connsiteY10417" fmla="*/ 1425792 h 6557032"/>
              <a:gd name="connsiteX10418" fmla="*/ 659627 w 4610101"/>
              <a:gd name="connsiteY10418" fmla="*/ 1440370 h 6557032"/>
              <a:gd name="connsiteX10419" fmla="*/ 668738 w 4610101"/>
              <a:gd name="connsiteY10419" fmla="*/ 1442192 h 6557032"/>
              <a:gd name="connsiteX10420" fmla="*/ 663272 w 4610101"/>
              <a:gd name="connsiteY10420" fmla="*/ 1438548 h 6557032"/>
              <a:gd name="connsiteX10421" fmla="*/ 665094 w 4610101"/>
              <a:gd name="connsiteY10421" fmla="*/ 1425792 h 6557032"/>
              <a:gd name="connsiteX10422" fmla="*/ 630472 w 4610101"/>
              <a:gd name="connsiteY10422" fmla="*/ 1425792 h 6557032"/>
              <a:gd name="connsiteX10423" fmla="*/ 621362 w 4610101"/>
              <a:gd name="connsiteY10423" fmla="*/ 1427615 h 6557032"/>
              <a:gd name="connsiteX10424" fmla="*/ 604963 w 4610101"/>
              <a:gd name="connsiteY10424" fmla="*/ 1449481 h 6557032"/>
              <a:gd name="connsiteX10425" fmla="*/ 612251 w 4610101"/>
              <a:gd name="connsiteY10425" fmla="*/ 1462236 h 6557032"/>
              <a:gd name="connsiteX10426" fmla="*/ 615895 w 4610101"/>
              <a:gd name="connsiteY10426" fmla="*/ 1458592 h 6557032"/>
              <a:gd name="connsiteX10427" fmla="*/ 610429 w 4610101"/>
              <a:gd name="connsiteY10427" fmla="*/ 1454947 h 6557032"/>
              <a:gd name="connsiteX10428" fmla="*/ 630472 w 4610101"/>
              <a:gd name="connsiteY10428" fmla="*/ 1425792 h 6557032"/>
              <a:gd name="connsiteX10429" fmla="*/ 3407466 w 4610101"/>
              <a:gd name="connsiteY10429" fmla="*/ 1423970 h 6557032"/>
              <a:gd name="connsiteX10430" fmla="*/ 3412932 w 4610101"/>
              <a:gd name="connsiteY10430" fmla="*/ 1438548 h 6557032"/>
              <a:gd name="connsiteX10431" fmla="*/ 3414754 w 4610101"/>
              <a:gd name="connsiteY10431" fmla="*/ 1434903 h 6557032"/>
              <a:gd name="connsiteX10432" fmla="*/ 3425687 w 4610101"/>
              <a:gd name="connsiteY10432" fmla="*/ 1444014 h 6557032"/>
              <a:gd name="connsiteX10433" fmla="*/ 3427510 w 4610101"/>
              <a:gd name="connsiteY10433" fmla="*/ 1434903 h 6557032"/>
              <a:gd name="connsiteX10434" fmla="*/ 3425687 w 4610101"/>
              <a:gd name="connsiteY10434" fmla="*/ 1442192 h 6557032"/>
              <a:gd name="connsiteX10435" fmla="*/ 3429332 w 4610101"/>
              <a:gd name="connsiteY10435" fmla="*/ 1427615 h 6557032"/>
              <a:gd name="connsiteX10436" fmla="*/ 3422043 w 4610101"/>
              <a:gd name="connsiteY10436" fmla="*/ 1434903 h 6557032"/>
              <a:gd name="connsiteX10437" fmla="*/ 3416577 w 4610101"/>
              <a:gd name="connsiteY10437" fmla="*/ 1434903 h 6557032"/>
              <a:gd name="connsiteX10438" fmla="*/ 3407466 w 4610101"/>
              <a:gd name="connsiteY10438" fmla="*/ 1423970 h 6557032"/>
              <a:gd name="connsiteX10439" fmla="*/ 3148717 w 4610101"/>
              <a:gd name="connsiteY10439" fmla="*/ 1423970 h 6557032"/>
              <a:gd name="connsiteX10440" fmla="*/ 3157828 w 4610101"/>
              <a:gd name="connsiteY10440" fmla="*/ 1433081 h 6557032"/>
              <a:gd name="connsiteX10441" fmla="*/ 3148717 w 4610101"/>
              <a:gd name="connsiteY10441" fmla="*/ 1423970 h 6557032"/>
              <a:gd name="connsiteX10442" fmla="*/ 991263 w 4610101"/>
              <a:gd name="connsiteY10442" fmla="*/ 1423970 h 6557032"/>
              <a:gd name="connsiteX10443" fmla="*/ 1007663 w 4610101"/>
              <a:gd name="connsiteY10443" fmla="*/ 1440370 h 6557032"/>
              <a:gd name="connsiteX10444" fmla="*/ 991263 w 4610101"/>
              <a:gd name="connsiteY10444" fmla="*/ 1423970 h 6557032"/>
              <a:gd name="connsiteX10445" fmla="*/ 830912 w 4610101"/>
              <a:gd name="connsiteY10445" fmla="*/ 1423970 h 6557032"/>
              <a:gd name="connsiteX10446" fmla="*/ 818156 w 4610101"/>
              <a:gd name="connsiteY10446" fmla="*/ 1434903 h 6557032"/>
              <a:gd name="connsiteX10447" fmla="*/ 830912 w 4610101"/>
              <a:gd name="connsiteY10447" fmla="*/ 1423970 h 6557032"/>
              <a:gd name="connsiteX10448" fmla="*/ 697893 w 4610101"/>
              <a:gd name="connsiteY10448" fmla="*/ 1423970 h 6557032"/>
              <a:gd name="connsiteX10449" fmla="*/ 694249 w 4610101"/>
              <a:gd name="connsiteY10449" fmla="*/ 1440370 h 6557032"/>
              <a:gd name="connsiteX10450" fmla="*/ 684454 w 4610101"/>
              <a:gd name="connsiteY10450" fmla="*/ 1448569 h 6557032"/>
              <a:gd name="connsiteX10451" fmla="*/ 684911 w 4610101"/>
              <a:gd name="connsiteY10451" fmla="*/ 1450062 h 6557032"/>
              <a:gd name="connsiteX10452" fmla="*/ 683316 w 4610101"/>
              <a:gd name="connsiteY10452" fmla="*/ 1451303 h 6557032"/>
              <a:gd name="connsiteX10453" fmla="*/ 685162 w 4610101"/>
              <a:gd name="connsiteY10453" fmla="*/ 1450886 h 6557032"/>
              <a:gd name="connsiteX10454" fmla="*/ 686960 w 4610101"/>
              <a:gd name="connsiteY10454" fmla="*/ 1456769 h 6557032"/>
              <a:gd name="connsiteX10455" fmla="*/ 688326 w 4610101"/>
              <a:gd name="connsiteY10455" fmla="*/ 1455175 h 6557032"/>
              <a:gd name="connsiteX10456" fmla="*/ 687188 w 4610101"/>
              <a:gd name="connsiteY10456" fmla="*/ 1450429 h 6557032"/>
              <a:gd name="connsiteX10457" fmla="*/ 687539 w 4610101"/>
              <a:gd name="connsiteY10457" fmla="*/ 1450349 h 6557032"/>
              <a:gd name="connsiteX10458" fmla="*/ 690604 w 4610101"/>
              <a:gd name="connsiteY10458" fmla="*/ 1454947 h 6557032"/>
              <a:gd name="connsiteX10459" fmla="*/ 690376 w 4610101"/>
              <a:gd name="connsiteY10459" fmla="*/ 1449708 h 6557032"/>
              <a:gd name="connsiteX10460" fmla="*/ 687539 w 4610101"/>
              <a:gd name="connsiteY10460" fmla="*/ 1450349 h 6557032"/>
              <a:gd name="connsiteX10461" fmla="*/ 686960 w 4610101"/>
              <a:gd name="connsiteY10461" fmla="*/ 1449481 h 6557032"/>
              <a:gd name="connsiteX10462" fmla="*/ 687188 w 4610101"/>
              <a:gd name="connsiteY10462" fmla="*/ 1450429 h 6557032"/>
              <a:gd name="connsiteX10463" fmla="*/ 685162 w 4610101"/>
              <a:gd name="connsiteY10463" fmla="*/ 1450886 h 6557032"/>
              <a:gd name="connsiteX10464" fmla="*/ 684911 w 4610101"/>
              <a:gd name="connsiteY10464" fmla="*/ 1450062 h 6557032"/>
              <a:gd name="connsiteX10465" fmla="*/ 689466 w 4610101"/>
              <a:gd name="connsiteY10465" fmla="*/ 1446519 h 6557032"/>
              <a:gd name="connsiteX10466" fmla="*/ 694249 w 4610101"/>
              <a:gd name="connsiteY10466" fmla="*/ 1440370 h 6557032"/>
              <a:gd name="connsiteX10467" fmla="*/ 705182 w 4610101"/>
              <a:gd name="connsiteY10467" fmla="*/ 1431259 h 6557032"/>
              <a:gd name="connsiteX10468" fmla="*/ 697893 w 4610101"/>
              <a:gd name="connsiteY10468" fmla="*/ 1444014 h 6557032"/>
              <a:gd name="connsiteX10469" fmla="*/ 719759 w 4610101"/>
              <a:gd name="connsiteY10469" fmla="*/ 1434903 h 6557032"/>
              <a:gd name="connsiteX10470" fmla="*/ 697893 w 4610101"/>
              <a:gd name="connsiteY10470" fmla="*/ 1423970 h 6557032"/>
              <a:gd name="connsiteX10471" fmla="*/ 508387 w 4610101"/>
              <a:gd name="connsiteY10471" fmla="*/ 1423970 h 6557032"/>
              <a:gd name="connsiteX10472" fmla="*/ 501098 w 4610101"/>
              <a:gd name="connsiteY10472" fmla="*/ 1429437 h 6557032"/>
              <a:gd name="connsiteX10473" fmla="*/ 504743 w 4610101"/>
              <a:gd name="connsiteY10473" fmla="*/ 1444014 h 6557032"/>
              <a:gd name="connsiteX10474" fmla="*/ 508387 w 4610101"/>
              <a:gd name="connsiteY10474" fmla="*/ 1423970 h 6557032"/>
              <a:gd name="connsiteX10475" fmla="*/ 471943 w 4610101"/>
              <a:gd name="connsiteY10475" fmla="*/ 1423970 h 6557032"/>
              <a:gd name="connsiteX10476" fmla="*/ 466478 w 4610101"/>
              <a:gd name="connsiteY10476" fmla="*/ 1429437 h 6557032"/>
              <a:gd name="connsiteX10477" fmla="*/ 471943 w 4610101"/>
              <a:gd name="connsiteY10477" fmla="*/ 1423970 h 6557032"/>
              <a:gd name="connsiteX10478" fmla="*/ 493809 w 4610101"/>
              <a:gd name="connsiteY10478" fmla="*/ 1422148 h 6557032"/>
              <a:gd name="connsiteX10479" fmla="*/ 490165 w 4610101"/>
              <a:gd name="connsiteY10479" fmla="*/ 1431259 h 6557032"/>
              <a:gd name="connsiteX10480" fmla="*/ 490165 w 4610101"/>
              <a:gd name="connsiteY10480" fmla="*/ 1454947 h 6557032"/>
              <a:gd name="connsiteX10481" fmla="*/ 490165 w 4610101"/>
              <a:gd name="connsiteY10481" fmla="*/ 1431259 h 6557032"/>
              <a:gd name="connsiteX10482" fmla="*/ 493809 w 4610101"/>
              <a:gd name="connsiteY10482" fmla="*/ 1422148 h 6557032"/>
              <a:gd name="connsiteX10483" fmla="*/ 605191 w 4610101"/>
              <a:gd name="connsiteY10483" fmla="*/ 1421465 h 6557032"/>
              <a:gd name="connsiteX10484" fmla="*/ 601318 w 4610101"/>
              <a:gd name="connsiteY10484" fmla="*/ 1422148 h 6557032"/>
              <a:gd name="connsiteX10485" fmla="*/ 599496 w 4610101"/>
              <a:gd name="connsiteY10485" fmla="*/ 1425792 h 6557032"/>
              <a:gd name="connsiteX10486" fmla="*/ 610429 w 4610101"/>
              <a:gd name="connsiteY10486" fmla="*/ 1422148 h 6557032"/>
              <a:gd name="connsiteX10487" fmla="*/ 605191 w 4610101"/>
              <a:gd name="connsiteY10487" fmla="*/ 1421465 h 6557032"/>
              <a:gd name="connsiteX10488" fmla="*/ 3176050 w 4610101"/>
              <a:gd name="connsiteY10488" fmla="*/ 1420326 h 6557032"/>
              <a:gd name="connsiteX10489" fmla="*/ 3177872 w 4610101"/>
              <a:gd name="connsiteY10489" fmla="*/ 1442192 h 6557032"/>
              <a:gd name="connsiteX10490" fmla="*/ 3185160 w 4610101"/>
              <a:gd name="connsiteY10490" fmla="*/ 1427615 h 6557032"/>
              <a:gd name="connsiteX10491" fmla="*/ 3176050 w 4610101"/>
              <a:gd name="connsiteY10491" fmla="*/ 1420326 h 6557032"/>
              <a:gd name="connsiteX10492" fmla="*/ 1137037 w 4610101"/>
              <a:gd name="connsiteY10492" fmla="*/ 1420326 h 6557032"/>
              <a:gd name="connsiteX10493" fmla="*/ 1133393 w 4610101"/>
              <a:gd name="connsiteY10493" fmla="*/ 1422148 h 6557032"/>
              <a:gd name="connsiteX10494" fmla="*/ 1138859 w 4610101"/>
              <a:gd name="connsiteY10494" fmla="*/ 1423970 h 6557032"/>
              <a:gd name="connsiteX10495" fmla="*/ 1129748 w 4610101"/>
              <a:gd name="connsiteY10495" fmla="*/ 1425792 h 6557032"/>
              <a:gd name="connsiteX10496" fmla="*/ 1147970 w 4610101"/>
              <a:gd name="connsiteY10496" fmla="*/ 1438548 h 6557032"/>
              <a:gd name="connsiteX10497" fmla="*/ 1142503 w 4610101"/>
              <a:gd name="connsiteY10497" fmla="*/ 1431259 h 6557032"/>
              <a:gd name="connsiteX10498" fmla="*/ 1144326 w 4610101"/>
              <a:gd name="connsiteY10498" fmla="*/ 1429437 h 6557032"/>
              <a:gd name="connsiteX10499" fmla="*/ 1138859 w 4610101"/>
              <a:gd name="connsiteY10499" fmla="*/ 1423970 h 6557032"/>
              <a:gd name="connsiteX10500" fmla="*/ 1137037 w 4610101"/>
              <a:gd name="connsiteY10500" fmla="*/ 1420326 h 6557032"/>
              <a:gd name="connsiteX10501" fmla="*/ 661449 w 4610101"/>
              <a:gd name="connsiteY10501" fmla="*/ 1420326 h 6557032"/>
              <a:gd name="connsiteX10502" fmla="*/ 657805 w 4610101"/>
              <a:gd name="connsiteY10502" fmla="*/ 1425792 h 6557032"/>
              <a:gd name="connsiteX10503" fmla="*/ 661449 w 4610101"/>
              <a:gd name="connsiteY10503" fmla="*/ 1420326 h 6557032"/>
              <a:gd name="connsiteX10504" fmla="*/ 646872 w 4610101"/>
              <a:gd name="connsiteY10504" fmla="*/ 1420326 h 6557032"/>
              <a:gd name="connsiteX10505" fmla="*/ 645050 w 4610101"/>
              <a:gd name="connsiteY10505" fmla="*/ 1431259 h 6557032"/>
              <a:gd name="connsiteX10506" fmla="*/ 645050 w 4610101"/>
              <a:gd name="connsiteY10506" fmla="*/ 1425792 h 6557032"/>
              <a:gd name="connsiteX10507" fmla="*/ 648694 w 4610101"/>
              <a:gd name="connsiteY10507" fmla="*/ 1429437 h 6557032"/>
              <a:gd name="connsiteX10508" fmla="*/ 646872 w 4610101"/>
              <a:gd name="connsiteY10508" fmla="*/ 1420326 h 6557032"/>
              <a:gd name="connsiteX10509" fmla="*/ 566697 w 4610101"/>
              <a:gd name="connsiteY10509" fmla="*/ 1420326 h 6557032"/>
              <a:gd name="connsiteX10510" fmla="*/ 564874 w 4610101"/>
              <a:gd name="connsiteY10510" fmla="*/ 1425792 h 6557032"/>
              <a:gd name="connsiteX10511" fmla="*/ 568519 w 4610101"/>
              <a:gd name="connsiteY10511" fmla="*/ 1425792 h 6557032"/>
              <a:gd name="connsiteX10512" fmla="*/ 566697 w 4610101"/>
              <a:gd name="connsiteY10512" fmla="*/ 1420326 h 6557032"/>
              <a:gd name="connsiteX10513" fmla="*/ 528431 w 4610101"/>
              <a:gd name="connsiteY10513" fmla="*/ 1420326 h 6557032"/>
              <a:gd name="connsiteX10514" fmla="*/ 532075 w 4610101"/>
              <a:gd name="connsiteY10514" fmla="*/ 1427615 h 6557032"/>
              <a:gd name="connsiteX10515" fmla="*/ 526609 w 4610101"/>
              <a:gd name="connsiteY10515" fmla="*/ 1425792 h 6557032"/>
              <a:gd name="connsiteX10516" fmla="*/ 513853 w 4610101"/>
              <a:gd name="connsiteY10516" fmla="*/ 1445836 h 6557032"/>
              <a:gd name="connsiteX10517" fmla="*/ 522282 w 4610101"/>
              <a:gd name="connsiteY10517" fmla="*/ 1456314 h 6557032"/>
              <a:gd name="connsiteX10518" fmla="*/ 530334 w 4610101"/>
              <a:gd name="connsiteY10518" fmla="*/ 1462681 h 6557032"/>
              <a:gd name="connsiteX10519" fmla="*/ 530709 w 4610101"/>
              <a:gd name="connsiteY10519" fmla="*/ 1464741 h 6557032"/>
              <a:gd name="connsiteX10520" fmla="*/ 533897 w 4610101"/>
              <a:gd name="connsiteY10520" fmla="*/ 1465880 h 6557032"/>
              <a:gd name="connsiteX10521" fmla="*/ 533897 w 4610101"/>
              <a:gd name="connsiteY10521" fmla="*/ 1464058 h 6557032"/>
              <a:gd name="connsiteX10522" fmla="*/ 535719 w 4610101"/>
              <a:gd name="connsiteY10522" fmla="*/ 1469525 h 6557032"/>
              <a:gd name="connsiteX10523" fmla="*/ 555763 w 4610101"/>
              <a:gd name="connsiteY10523" fmla="*/ 1442192 h 6557032"/>
              <a:gd name="connsiteX10524" fmla="*/ 550297 w 4610101"/>
              <a:gd name="connsiteY10524" fmla="*/ 1449481 h 6557032"/>
              <a:gd name="connsiteX10525" fmla="*/ 552119 w 4610101"/>
              <a:gd name="connsiteY10525" fmla="*/ 1440370 h 6557032"/>
              <a:gd name="connsiteX10526" fmla="*/ 543008 w 4610101"/>
              <a:gd name="connsiteY10526" fmla="*/ 1444014 h 6557032"/>
              <a:gd name="connsiteX10527" fmla="*/ 548475 w 4610101"/>
              <a:gd name="connsiteY10527" fmla="*/ 1442192 h 6557032"/>
              <a:gd name="connsiteX10528" fmla="*/ 528431 w 4610101"/>
              <a:gd name="connsiteY10528" fmla="*/ 1431259 h 6557032"/>
              <a:gd name="connsiteX10529" fmla="*/ 550297 w 4610101"/>
              <a:gd name="connsiteY10529" fmla="*/ 1436725 h 6557032"/>
              <a:gd name="connsiteX10530" fmla="*/ 541186 w 4610101"/>
              <a:gd name="connsiteY10530" fmla="*/ 1425792 h 6557032"/>
              <a:gd name="connsiteX10531" fmla="*/ 532075 w 4610101"/>
              <a:gd name="connsiteY10531" fmla="*/ 1427615 h 6557032"/>
              <a:gd name="connsiteX10532" fmla="*/ 537542 w 4610101"/>
              <a:gd name="connsiteY10532" fmla="*/ 1423970 h 6557032"/>
              <a:gd name="connsiteX10533" fmla="*/ 528431 w 4610101"/>
              <a:gd name="connsiteY10533" fmla="*/ 1420326 h 6557032"/>
              <a:gd name="connsiteX10534" fmla="*/ 1170255 w 4610101"/>
              <a:gd name="connsiteY10534" fmla="*/ 1419727 h 6557032"/>
              <a:gd name="connsiteX10535" fmla="*/ 1170975 w 4610101"/>
              <a:gd name="connsiteY10535" fmla="*/ 1421237 h 6557032"/>
              <a:gd name="connsiteX10536" fmla="*/ 1171027 w 4610101"/>
              <a:gd name="connsiteY10536" fmla="*/ 1422008 h 6557032"/>
              <a:gd name="connsiteX10537" fmla="*/ 1170291 w 4610101"/>
              <a:gd name="connsiteY10537" fmla="*/ 1420326 h 6557032"/>
              <a:gd name="connsiteX10538" fmla="*/ 3389244 w 4610101"/>
              <a:gd name="connsiteY10538" fmla="*/ 1418504 h 6557032"/>
              <a:gd name="connsiteX10539" fmla="*/ 3387422 w 4610101"/>
              <a:gd name="connsiteY10539" fmla="*/ 1425792 h 6557032"/>
              <a:gd name="connsiteX10540" fmla="*/ 3361911 w 4610101"/>
              <a:gd name="connsiteY10540" fmla="*/ 1436725 h 6557032"/>
              <a:gd name="connsiteX10541" fmla="*/ 3363734 w 4610101"/>
              <a:gd name="connsiteY10541" fmla="*/ 1442192 h 6557032"/>
              <a:gd name="connsiteX10542" fmla="*/ 3372844 w 4610101"/>
              <a:gd name="connsiteY10542" fmla="*/ 1445836 h 6557032"/>
              <a:gd name="connsiteX10543" fmla="*/ 3361911 w 4610101"/>
              <a:gd name="connsiteY10543" fmla="*/ 1440370 h 6557032"/>
              <a:gd name="connsiteX10544" fmla="*/ 3361911 w 4610101"/>
              <a:gd name="connsiteY10544" fmla="*/ 1458592 h 6557032"/>
              <a:gd name="connsiteX10545" fmla="*/ 3392888 w 4610101"/>
              <a:gd name="connsiteY10545" fmla="*/ 1429437 h 6557032"/>
              <a:gd name="connsiteX10546" fmla="*/ 3389244 w 4610101"/>
              <a:gd name="connsiteY10546" fmla="*/ 1418504 h 6557032"/>
              <a:gd name="connsiteX10547" fmla="*/ 1120637 w 4610101"/>
              <a:gd name="connsiteY10547" fmla="*/ 1418504 h 6557032"/>
              <a:gd name="connsiteX10548" fmla="*/ 1113349 w 4610101"/>
              <a:gd name="connsiteY10548" fmla="*/ 1420326 h 6557032"/>
              <a:gd name="connsiteX10549" fmla="*/ 1126104 w 4610101"/>
              <a:gd name="connsiteY10549" fmla="*/ 1425792 h 6557032"/>
              <a:gd name="connsiteX10550" fmla="*/ 1120637 w 4610101"/>
              <a:gd name="connsiteY10550" fmla="*/ 1418504 h 6557032"/>
              <a:gd name="connsiteX10551" fmla="*/ 816334 w 4610101"/>
              <a:gd name="connsiteY10551" fmla="*/ 1418504 h 6557032"/>
              <a:gd name="connsiteX10552" fmla="*/ 818156 w 4610101"/>
              <a:gd name="connsiteY10552" fmla="*/ 1433081 h 6557032"/>
              <a:gd name="connsiteX10553" fmla="*/ 829089 w 4610101"/>
              <a:gd name="connsiteY10553" fmla="*/ 1423970 h 6557032"/>
              <a:gd name="connsiteX10554" fmla="*/ 823395 w 4610101"/>
              <a:gd name="connsiteY10554" fmla="*/ 1418504 h 6557032"/>
              <a:gd name="connsiteX10555" fmla="*/ 816334 w 4610101"/>
              <a:gd name="connsiteY10555" fmla="*/ 1418504 h 6557032"/>
              <a:gd name="connsiteX10556" fmla="*/ 767136 w 4610101"/>
              <a:gd name="connsiteY10556" fmla="*/ 1418504 h 6557032"/>
              <a:gd name="connsiteX10557" fmla="*/ 759848 w 4610101"/>
              <a:gd name="connsiteY10557" fmla="*/ 1423970 h 6557032"/>
              <a:gd name="connsiteX10558" fmla="*/ 767136 w 4610101"/>
              <a:gd name="connsiteY10558" fmla="*/ 1418504 h 6557032"/>
              <a:gd name="connsiteX10559" fmla="*/ 581274 w 4610101"/>
              <a:gd name="connsiteY10559" fmla="*/ 1418504 h 6557032"/>
              <a:gd name="connsiteX10560" fmla="*/ 583096 w 4610101"/>
              <a:gd name="connsiteY10560" fmla="*/ 1429437 h 6557032"/>
              <a:gd name="connsiteX10561" fmla="*/ 592207 w 4610101"/>
              <a:gd name="connsiteY10561" fmla="*/ 1425792 h 6557032"/>
              <a:gd name="connsiteX10562" fmla="*/ 581274 w 4610101"/>
              <a:gd name="connsiteY10562" fmla="*/ 1418504 h 6557032"/>
              <a:gd name="connsiteX10563" fmla="*/ 570341 w 4610101"/>
              <a:gd name="connsiteY10563" fmla="*/ 1418504 h 6557032"/>
              <a:gd name="connsiteX10564" fmla="*/ 568519 w 4610101"/>
              <a:gd name="connsiteY10564" fmla="*/ 1433081 h 6557032"/>
              <a:gd name="connsiteX10565" fmla="*/ 577630 w 4610101"/>
              <a:gd name="connsiteY10565" fmla="*/ 1429437 h 6557032"/>
              <a:gd name="connsiteX10566" fmla="*/ 576053 w 4610101"/>
              <a:gd name="connsiteY10566" fmla="*/ 1427073 h 6557032"/>
              <a:gd name="connsiteX10567" fmla="*/ 576946 w 4610101"/>
              <a:gd name="connsiteY10567" fmla="*/ 1425109 h 6557032"/>
              <a:gd name="connsiteX10568" fmla="*/ 575808 w 4610101"/>
              <a:gd name="connsiteY10568" fmla="*/ 1424671 h 6557032"/>
              <a:gd name="connsiteX10569" fmla="*/ 575808 w 4610101"/>
              <a:gd name="connsiteY10569" fmla="*/ 1420326 h 6557032"/>
              <a:gd name="connsiteX10570" fmla="*/ 573985 w 4610101"/>
              <a:gd name="connsiteY10570" fmla="*/ 1423970 h 6557032"/>
              <a:gd name="connsiteX10571" fmla="*/ 575808 w 4610101"/>
              <a:gd name="connsiteY10571" fmla="*/ 1424671 h 6557032"/>
              <a:gd name="connsiteX10572" fmla="*/ 575808 w 4610101"/>
              <a:gd name="connsiteY10572" fmla="*/ 1426704 h 6557032"/>
              <a:gd name="connsiteX10573" fmla="*/ 462832 w 4610101"/>
              <a:gd name="connsiteY10573" fmla="*/ 1418504 h 6557032"/>
              <a:gd name="connsiteX10574" fmla="*/ 459188 w 4610101"/>
              <a:gd name="connsiteY10574" fmla="*/ 1420326 h 6557032"/>
              <a:gd name="connsiteX10575" fmla="*/ 462832 w 4610101"/>
              <a:gd name="connsiteY10575" fmla="*/ 1418504 h 6557032"/>
              <a:gd name="connsiteX10576" fmla="*/ 3401771 w 4610101"/>
              <a:gd name="connsiteY10576" fmla="*/ 1418504 h 6557032"/>
              <a:gd name="connsiteX10577" fmla="*/ 3398355 w 4610101"/>
              <a:gd name="connsiteY10577" fmla="*/ 1418504 h 6557032"/>
              <a:gd name="connsiteX10578" fmla="*/ 3401999 w 4610101"/>
              <a:gd name="connsiteY10578" fmla="*/ 1423970 h 6557032"/>
              <a:gd name="connsiteX10579" fmla="*/ 3403821 w 4610101"/>
              <a:gd name="connsiteY10579" fmla="*/ 1418504 h 6557032"/>
              <a:gd name="connsiteX10580" fmla="*/ 3401771 w 4610101"/>
              <a:gd name="connsiteY10580" fmla="*/ 1418504 h 6557032"/>
              <a:gd name="connsiteX10581" fmla="*/ 989441 w 4610101"/>
              <a:gd name="connsiteY10581" fmla="*/ 1416681 h 6557032"/>
              <a:gd name="connsiteX10582" fmla="*/ 1009485 w 4610101"/>
              <a:gd name="connsiteY10582" fmla="*/ 1440370 h 6557032"/>
              <a:gd name="connsiteX10583" fmla="*/ 989441 w 4610101"/>
              <a:gd name="connsiteY10583" fmla="*/ 1416681 h 6557032"/>
              <a:gd name="connsiteX10584" fmla="*/ 980330 w 4610101"/>
              <a:gd name="connsiteY10584" fmla="*/ 1416681 h 6557032"/>
              <a:gd name="connsiteX10585" fmla="*/ 987619 w 4610101"/>
              <a:gd name="connsiteY10585" fmla="*/ 1427615 h 6557032"/>
              <a:gd name="connsiteX10586" fmla="*/ 980330 w 4610101"/>
              <a:gd name="connsiteY10586" fmla="*/ 1416681 h 6557032"/>
              <a:gd name="connsiteX10587" fmla="*/ 659627 w 4610101"/>
              <a:gd name="connsiteY10587" fmla="*/ 1416681 h 6557032"/>
              <a:gd name="connsiteX10588" fmla="*/ 650516 w 4610101"/>
              <a:gd name="connsiteY10588" fmla="*/ 1418504 h 6557032"/>
              <a:gd name="connsiteX10589" fmla="*/ 648694 w 4610101"/>
              <a:gd name="connsiteY10589" fmla="*/ 1434903 h 6557032"/>
              <a:gd name="connsiteX10590" fmla="*/ 659627 w 4610101"/>
              <a:gd name="connsiteY10590" fmla="*/ 1416681 h 6557032"/>
              <a:gd name="connsiteX10591" fmla="*/ 535719 w 4610101"/>
              <a:gd name="connsiteY10591" fmla="*/ 1416681 h 6557032"/>
              <a:gd name="connsiteX10592" fmla="*/ 537542 w 4610101"/>
              <a:gd name="connsiteY10592" fmla="*/ 1420326 h 6557032"/>
              <a:gd name="connsiteX10593" fmla="*/ 543008 w 4610101"/>
              <a:gd name="connsiteY10593" fmla="*/ 1416681 h 6557032"/>
              <a:gd name="connsiteX10594" fmla="*/ 535719 w 4610101"/>
              <a:gd name="connsiteY10594" fmla="*/ 1416681 h 6557032"/>
              <a:gd name="connsiteX10595" fmla="*/ 608607 w 4610101"/>
              <a:gd name="connsiteY10595" fmla="*/ 1414859 h 6557032"/>
              <a:gd name="connsiteX10596" fmla="*/ 603140 w 4610101"/>
              <a:gd name="connsiteY10596" fmla="*/ 1418504 h 6557032"/>
              <a:gd name="connsiteX10597" fmla="*/ 614074 w 4610101"/>
              <a:gd name="connsiteY10597" fmla="*/ 1416681 h 6557032"/>
              <a:gd name="connsiteX10598" fmla="*/ 608607 w 4610101"/>
              <a:gd name="connsiteY10598" fmla="*/ 1414859 h 6557032"/>
              <a:gd name="connsiteX10599" fmla="*/ 1140681 w 4610101"/>
              <a:gd name="connsiteY10599" fmla="*/ 1414859 h 6557032"/>
              <a:gd name="connsiteX10600" fmla="*/ 1142503 w 4610101"/>
              <a:gd name="connsiteY10600" fmla="*/ 1416681 h 6557032"/>
              <a:gd name="connsiteX10601" fmla="*/ 1140681 w 4610101"/>
              <a:gd name="connsiteY10601" fmla="*/ 1414859 h 6557032"/>
              <a:gd name="connsiteX10602" fmla="*/ 761670 w 4610101"/>
              <a:gd name="connsiteY10602" fmla="*/ 1414859 h 6557032"/>
              <a:gd name="connsiteX10603" fmla="*/ 758025 w 4610101"/>
              <a:gd name="connsiteY10603" fmla="*/ 1418504 h 6557032"/>
              <a:gd name="connsiteX10604" fmla="*/ 761670 w 4610101"/>
              <a:gd name="connsiteY10604" fmla="*/ 1414859 h 6557032"/>
              <a:gd name="connsiteX10605" fmla="*/ 723404 w 4610101"/>
              <a:gd name="connsiteY10605" fmla="*/ 1414859 h 6557032"/>
              <a:gd name="connsiteX10606" fmla="*/ 717937 w 4610101"/>
              <a:gd name="connsiteY10606" fmla="*/ 1418504 h 6557032"/>
              <a:gd name="connsiteX10607" fmla="*/ 725226 w 4610101"/>
              <a:gd name="connsiteY10607" fmla="*/ 1423970 h 6557032"/>
              <a:gd name="connsiteX10608" fmla="*/ 723404 w 4610101"/>
              <a:gd name="connsiteY10608" fmla="*/ 1414859 h 6557032"/>
              <a:gd name="connsiteX10609" fmla="*/ 1171771 w 4610101"/>
              <a:gd name="connsiteY10609" fmla="*/ 1414004 h 6557032"/>
              <a:gd name="connsiteX10610" fmla="*/ 1172376 w 4610101"/>
              <a:gd name="connsiteY10610" fmla="*/ 1414307 h 6557032"/>
              <a:gd name="connsiteX10611" fmla="*/ 1171886 w 4610101"/>
              <a:gd name="connsiteY10611" fmla="*/ 1414176 h 6557032"/>
              <a:gd name="connsiteX10612" fmla="*/ 849361 w 4610101"/>
              <a:gd name="connsiteY10612" fmla="*/ 1413265 h 6557032"/>
              <a:gd name="connsiteX10613" fmla="*/ 832734 w 4610101"/>
              <a:gd name="connsiteY10613" fmla="*/ 1425792 h 6557032"/>
              <a:gd name="connsiteX10614" fmla="*/ 834556 w 4610101"/>
              <a:gd name="connsiteY10614" fmla="*/ 1425792 h 6557032"/>
              <a:gd name="connsiteX10615" fmla="*/ 835158 w 4610101"/>
              <a:gd name="connsiteY10615" fmla="*/ 1427600 h 6557032"/>
              <a:gd name="connsiteX10616" fmla="*/ 834556 w 4610101"/>
              <a:gd name="connsiteY10616" fmla="*/ 1427615 h 6557032"/>
              <a:gd name="connsiteX10617" fmla="*/ 835184 w 4610101"/>
              <a:gd name="connsiteY10617" fmla="*/ 1427678 h 6557032"/>
              <a:gd name="connsiteX10618" fmla="*/ 836378 w 4610101"/>
              <a:gd name="connsiteY10618" fmla="*/ 1431259 h 6557032"/>
              <a:gd name="connsiteX10619" fmla="*/ 841845 w 4610101"/>
              <a:gd name="connsiteY10619" fmla="*/ 1429437 h 6557032"/>
              <a:gd name="connsiteX10620" fmla="*/ 839112 w 4610101"/>
              <a:gd name="connsiteY10620" fmla="*/ 1428071 h 6557032"/>
              <a:gd name="connsiteX10621" fmla="*/ 852778 w 4610101"/>
              <a:gd name="connsiteY10621" fmla="*/ 1429437 h 6557032"/>
              <a:gd name="connsiteX10622" fmla="*/ 843667 w 4610101"/>
              <a:gd name="connsiteY10622" fmla="*/ 1433081 h 6557032"/>
              <a:gd name="connsiteX10623" fmla="*/ 842209 w 4610101"/>
              <a:gd name="connsiteY10623" fmla="*/ 1434539 h 6557032"/>
              <a:gd name="connsiteX10624" fmla="*/ 841845 w 4610101"/>
              <a:gd name="connsiteY10624" fmla="*/ 1433081 h 6557032"/>
              <a:gd name="connsiteX10625" fmla="*/ 836378 w 4610101"/>
              <a:gd name="connsiteY10625" fmla="*/ 1436725 h 6557032"/>
              <a:gd name="connsiteX10626" fmla="*/ 830912 w 4610101"/>
              <a:gd name="connsiteY10626" fmla="*/ 1434903 h 6557032"/>
              <a:gd name="connsiteX10627" fmla="*/ 825445 w 4610101"/>
              <a:gd name="connsiteY10627" fmla="*/ 1438548 h 6557032"/>
              <a:gd name="connsiteX10628" fmla="*/ 821801 w 4610101"/>
              <a:gd name="connsiteY10628" fmla="*/ 1436725 h 6557032"/>
              <a:gd name="connsiteX10629" fmla="*/ 816334 w 4610101"/>
              <a:gd name="connsiteY10629" fmla="*/ 1438548 h 6557032"/>
              <a:gd name="connsiteX10630" fmla="*/ 821801 w 4610101"/>
              <a:gd name="connsiteY10630" fmla="*/ 1438548 h 6557032"/>
              <a:gd name="connsiteX10631" fmla="*/ 821801 w 4610101"/>
              <a:gd name="connsiteY10631" fmla="*/ 1460414 h 6557032"/>
              <a:gd name="connsiteX10632" fmla="*/ 821801 w 4610101"/>
              <a:gd name="connsiteY10632" fmla="*/ 1456769 h 6557032"/>
              <a:gd name="connsiteX10633" fmla="*/ 834556 w 4610101"/>
              <a:gd name="connsiteY10633" fmla="*/ 1465880 h 6557032"/>
              <a:gd name="connsiteX10634" fmla="*/ 836378 w 4610101"/>
              <a:gd name="connsiteY10634" fmla="*/ 1462236 h 6557032"/>
              <a:gd name="connsiteX10635" fmla="*/ 847311 w 4610101"/>
              <a:gd name="connsiteY10635" fmla="*/ 1469525 h 6557032"/>
              <a:gd name="connsiteX10636" fmla="*/ 849133 w 4610101"/>
              <a:gd name="connsiteY10636" fmla="*/ 1465880 h 6557032"/>
              <a:gd name="connsiteX10637" fmla="*/ 865533 w 4610101"/>
              <a:gd name="connsiteY10637" fmla="*/ 1476813 h 6557032"/>
              <a:gd name="connsiteX10638" fmla="*/ 849133 w 4610101"/>
              <a:gd name="connsiteY10638" fmla="*/ 1484102 h 6557032"/>
              <a:gd name="connsiteX10639" fmla="*/ 849133 w 4610101"/>
              <a:gd name="connsiteY10639" fmla="*/ 1480458 h 6557032"/>
              <a:gd name="connsiteX10640" fmla="*/ 841120 w 4610101"/>
              <a:gd name="connsiteY10640" fmla="*/ 1480830 h 6557032"/>
              <a:gd name="connsiteX10641" fmla="*/ 840022 w 4610101"/>
              <a:gd name="connsiteY10641" fmla="*/ 1478635 h 6557032"/>
              <a:gd name="connsiteX10642" fmla="*/ 840250 w 4610101"/>
              <a:gd name="connsiteY10642" fmla="*/ 1480457 h 6557032"/>
              <a:gd name="connsiteX10643" fmla="*/ 840598 w 4610101"/>
              <a:gd name="connsiteY10643" fmla="*/ 1480854 h 6557032"/>
              <a:gd name="connsiteX10644" fmla="*/ 839339 w 4610101"/>
              <a:gd name="connsiteY10644" fmla="*/ 1480913 h 6557032"/>
              <a:gd name="connsiteX10645" fmla="*/ 830912 w 4610101"/>
              <a:gd name="connsiteY10645" fmla="*/ 1473169 h 6557032"/>
              <a:gd name="connsiteX10646" fmla="*/ 839424 w 4610101"/>
              <a:gd name="connsiteY10646" fmla="*/ 1485240 h 6557032"/>
              <a:gd name="connsiteX10647" fmla="*/ 846205 w 4610101"/>
              <a:gd name="connsiteY10647" fmla="*/ 1485773 h 6557032"/>
              <a:gd name="connsiteX10648" fmla="*/ 845489 w 4610101"/>
              <a:gd name="connsiteY10648" fmla="*/ 1485924 h 6557032"/>
              <a:gd name="connsiteX10649" fmla="*/ 856422 w 4610101"/>
              <a:gd name="connsiteY10649" fmla="*/ 1495035 h 6557032"/>
              <a:gd name="connsiteX10650" fmla="*/ 856422 w 4610101"/>
              <a:gd name="connsiteY10650" fmla="*/ 1500501 h 6557032"/>
              <a:gd name="connsiteX10651" fmla="*/ 858244 w 4610101"/>
              <a:gd name="connsiteY10651" fmla="*/ 1487746 h 6557032"/>
              <a:gd name="connsiteX10652" fmla="*/ 863711 w 4610101"/>
              <a:gd name="connsiteY10652" fmla="*/ 1493213 h 6557032"/>
              <a:gd name="connsiteX10653" fmla="*/ 872822 w 4610101"/>
              <a:gd name="connsiteY10653" fmla="*/ 1485924 h 6557032"/>
              <a:gd name="connsiteX10654" fmla="*/ 863711 w 4610101"/>
              <a:gd name="connsiteY10654" fmla="*/ 1502324 h 6557032"/>
              <a:gd name="connsiteX10655" fmla="*/ 860066 w 4610101"/>
              <a:gd name="connsiteY10655" fmla="*/ 1502324 h 6557032"/>
              <a:gd name="connsiteX10656" fmla="*/ 861889 w 4610101"/>
              <a:gd name="connsiteY10656" fmla="*/ 1498679 h 6557032"/>
              <a:gd name="connsiteX10657" fmla="*/ 852778 w 4610101"/>
              <a:gd name="connsiteY10657" fmla="*/ 1509612 h 6557032"/>
              <a:gd name="connsiteX10658" fmla="*/ 856422 w 4610101"/>
              <a:gd name="connsiteY10658" fmla="*/ 1511434 h 6557032"/>
              <a:gd name="connsiteX10659" fmla="*/ 860066 w 4610101"/>
              <a:gd name="connsiteY10659" fmla="*/ 1518723 h 6557032"/>
              <a:gd name="connsiteX10660" fmla="*/ 860066 w 4610101"/>
              <a:gd name="connsiteY10660" fmla="*/ 1513257 h 6557032"/>
              <a:gd name="connsiteX10661" fmla="*/ 865533 w 4610101"/>
              <a:gd name="connsiteY10661" fmla="*/ 1516901 h 6557032"/>
              <a:gd name="connsiteX10662" fmla="*/ 861889 w 4610101"/>
              <a:gd name="connsiteY10662" fmla="*/ 1522368 h 6557032"/>
              <a:gd name="connsiteX10663" fmla="*/ 856422 w 4610101"/>
              <a:gd name="connsiteY10663" fmla="*/ 1518723 h 6557032"/>
              <a:gd name="connsiteX10664" fmla="*/ 856422 w 4610101"/>
              <a:gd name="connsiteY10664" fmla="*/ 1522368 h 6557032"/>
              <a:gd name="connsiteX10665" fmla="*/ 854599 w 4610101"/>
              <a:gd name="connsiteY10665" fmla="*/ 1520544 h 6557032"/>
              <a:gd name="connsiteX10666" fmla="*/ 854600 w 4610101"/>
              <a:gd name="connsiteY10666" fmla="*/ 1520545 h 6557032"/>
              <a:gd name="connsiteX10667" fmla="*/ 849133 w 4610101"/>
              <a:gd name="connsiteY10667" fmla="*/ 1513257 h 6557032"/>
              <a:gd name="connsiteX10668" fmla="*/ 845489 w 4610101"/>
              <a:gd name="connsiteY10668" fmla="*/ 1516901 h 6557032"/>
              <a:gd name="connsiteX10669" fmla="*/ 853044 w 4610101"/>
              <a:gd name="connsiteY10669" fmla="*/ 1519923 h 6557032"/>
              <a:gd name="connsiteX10670" fmla="*/ 856877 w 4610101"/>
              <a:gd name="connsiteY10670" fmla="*/ 1537173 h 6557032"/>
              <a:gd name="connsiteX10671" fmla="*/ 869177 w 4610101"/>
              <a:gd name="connsiteY10671" fmla="*/ 1551522 h 6557032"/>
              <a:gd name="connsiteX10672" fmla="*/ 863711 w 4610101"/>
              <a:gd name="connsiteY10672" fmla="*/ 1551522 h 6557032"/>
              <a:gd name="connsiteX10673" fmla="*/ 909265 w 4610101"/>
              <a:gd name="connsiteY10673" fmla="*/ 1564278 h 6557032"/>
              <a:gd name="connsiteX10674" fmla="*/ 907444 w 4610101"/>
              <a:gd name="connsiteY10674" fmla="*/ 1562455 h 6557032"/>
              <a:gd name="connsiteX10675" fmla="*/ 949353 w 4610101"/>
              <a:gd name="connsiteY10675" fmla="*/ 1582499 h 6557032"/>
              <a:gd name="connsiteX10676" fmla="*/ 960286 w 4610101"/>
              <a:gd name="connsiteY10676" fmla="*/ 1589788 h 6557032"/>
              <a:gd name="connsiteX10677" fmla="*/ 969397 w 4610101"/>
              <a:gd name="connsiteY10677" fmla="*/ 1587966 h 6557032"/>
              <a:gd name="connsiteX10678" fmla="*/ 965753 w 4610101"/>
              <a:gd name="connsiteY10678" fmla="*/ 1591610 h 6557032"/>
              <a:gd name="connsiteX10679" fmla="*/ 1004018 w 4610101"/>
              <a:gd name="connsiteY10679" fmla="*/ 1602543 h 6557032"/>
              <a:gd name="connsiteX10680" fmla="*/ 976686 w 4610101"/>
              <a:gd name="connsiteY10680" fmla="*/ 1584321 h 6557032"/>
              <a:gd name="connsiteX10681" fmla="*/ 985796 w 4610101"/>
              <a:gd name="connsiteY10681" fmla="*/ 1578855 h 6557032"/>
              <a:gd name="connsiteX10682" fmla="*/ 960286 w 4610101"/>
              <a:gd name="connsiteY10682" fmla="*/ 1558811 h 6557032"/>
              <a:gd name="connsiteX10683" fmla="*/ 962108 w 4610101"/>
              <a:gd name="connsiteY10683" fmla="*/ 1556989 h 6557032"/>
              <a:gd name="connsiteX10684" fmla="*/ 942064 w 4610101"/>
              <a:gd name="connsiteY10684" fmla="*/ 1556989 h 6557032"/>
              <a:gd name="connsiteX10685" fmla="*/ 967575 w 4610101"/>
              <a:gd name="connsiteY10685" fmla="*/ 1551522 h 6557032"/>
              <a:gd name="connsiteX10686" fmla="*/ 951175 w 4610101"/>
              <a:gd name="connsiteY10686" fmla="*/ 1538767 h 6557032"/>
              <a:gd name="connsiteX10687" fmla="*/ 1025884 w 4610101"/>
              <a:gd name="connsiteY10687" fmla="*/ 1546056 h 6557032"/>
              <a:gd name="connsiteX10688" fmla="*/ 1024062 w 4610101"/>
              <a:gd name="connsiteY10688" fmla="*/ 1544234 h 6557032"/>
              <a:gd name="connsiteX10689" fmla="*/ 1036818 w 4610101"/>
              <a:gd name="connsiteY10689" fmla="*/ 1547878 h 6557032"/>
              <a:gd name="connsiteX10690" fmla="*/ 1020418 w 4610101"/>
              <a:gd name="connsiteY10690" fmla="*/ 1536945 h 6557032"/>
              <a:gd name="connsiteX10691" fmla="*/ 1055040 w 4610101"/>
              <a:gd name="connsiteY10691" fmla="*/ 1551522 h 6557032"/>
              <a:gd name="connsiteX10692" fmla="*/ 1049573 w 4610101"/>
              <a:gd name="connsiteY10692" fmla="*/ 1547878 h 6557032"/>
              <a:gd name="connsiteX10693" fmla="*/ 1074071 w 4610101"/>
              <a:gd name="connsiteY10693" fmla="*/ 1555976 h 6557032"/>
              <a:gd name="connsiteX10694" fmla="*/ 1049573 w 4610101"/>
              <a:gd name="connsiteY10694" fmla="*/ 1551522 h 6557032"/>
              <a:gd name="connsiteX10695" fmla="*/ 1065972 w 4610101"/>
              <a:gd name="connsiteY10695" fmla="*/ 1560633 h 6557032"/>
              <a:gd name="connsiteX10696" fmla="*/ 1040462 w 4610101"/>
              <a:gd name="connsiteY10696" fmla="*/ 1553345 h 6557032"/>
              <a:gd name="connsiteX10697" fmla="*/ 1045929 w 4610101"/>
              <a:gd name="connsiteY10697" fmla="*/ 1553345 h 6557032"/>
              <a:gd name="connsiteX10698" fmla="*/ 1021072 w 4610101"/>
              <a:gd name="connsiteY10698" fmla="*/ 1552063 h 6557032"/>
              <a:gd name="connsiteX10699" fmla="*/ 1020063 w 4610101"/>
              <a:gd name="connsiteY10699" fmla="*/ 1553328 h 6557032"/>
              <a:gd name="connsiteX10700" fmla="*/ 996502 w 4610101"/>
              <a:gd name="connsiteY10700" fmla="*/ 1552206 h 6557032"/>
              <a:gd name="connsiteX10701" fmla="*/ 971219 w 4610101"/>
              <a:gd name="connsiteY10701" fmla="*/ 1555167 h 6557032"/>
              <a:gd name="connsiteX10702" fmla="*/ 1014951 w 4610101"/>
              <a:gd name="connsiteY10702" fmla="*/ 1556989 h 6557032"/>
              <a:gd name="connsiteX10703" fmla="*/ 989441 w 4610101"/>
              <a:gd name="connsiteY10703" fmla="*/ 1573388 h 6557032"/>
              <a:gd name="connsiteX10704" fmla="*/ 1025884 w 4610101"/>
              <a:gd name="connsiteY10704" fmla="*/ 1611654 h 6557032"/>
              <a:gd name="connsiteX10705" fmla="*/ 1022240 w 4610101"/>
              <a:gd name="connsiteY10705" fmla="*/ 1606188 h 6557032"/>
              <a:gd name="connsiteX10706" fmla="*/ 1020418 w 4610101"/>
              <a:gd name="connsiteY10706" fmla="*/ 1602543 h 6557032"/>
              <a:gd name="connsiteX10707" fmla="*/ 1031351 w 4610101"/>
              <a:gd name="connsiteY10707" fmla="*/ 1611654 h 6557032"/>
              <a:gd name="connsiteX10708" fmla="*/ 1027707 w 4610101"/>
              <a:gd name="connsiteY10708" fmla="*/ 1611654 h 6557032"/>
              <a:gd name="connsiteX10709" fmla="*/ 1045929 w 4610101"/>
              <a:gd name="connsiteY10709" fmla="*/ 1618943 h 6557032"/>
              <a:gd name="connsiteX10710" fmla="*/ 1040462 w 4610101"/>
              <a:gd name="connsiteY10710" fmla="*/ 1609832 h 6557032"/>
              <a:gd name="connsiteX10711" fmla="*/ 1084194 w 4610101"/>
              <a:gd name="connsiteY10711" fmla="*/ 1635342 h 6557032"/>
              <a:gd name="connsiteX10712" fmla="*/ 1075083 w 4610101"/>
              <a:gd name="connsiteY10712" fmla="*/ 1613476 h 6557032"/>
              <a:gd name="connsiteX10713" fmla="*/ 1095127 w 4610101"/>
              <a:gd name="connsiteY10713" fmla="*/ 1635342 h 6557032"/>
              <a:gd name="connsiteX10714" fmla="*/ 1115171 w 4610101"/>
              <a:gd name="connsiteY10714" fmla="*/ 1638987 h 6557032"/>
              <a:gd name="connsiteX10715" fmla="*/ 1140681 w 4610101"/>
              <a:gd name="connsiteY10715" fmla="*/ 1648097 h 6557032"/>
              <a:gd name="connsiteX10716" fmla="*/ 1135215 w 4610101"/>
              <a:gd name="connsiteY10716" fmla="*/ 1642631 h 6557032"/>
              <a:gd name="connsiteX10717" fmla="*/ 1138859 w 4610101"/>
              <a:gd name="connsiteY10717" fmla="*/ 1640809 h 6557032"/>
              <a:gd name="connsiteX10718" fmla="*/ 1146148 w 4610101"/>
              <a:gd name="connsiteY10718" fmla="*/ 1644453 h 6557032"/>
              <a:gd name="connsiteX10719" fmla="*/ 1137037 w 4610101"/>
              <a:gd name="connsiteY10719" fmla="*/ 1635342 h 6557032"/>
              <a:gd name="connsiteX10720" fmla="*/ 1138859 w 4610101"/>
              <a:gd name="connsiteY10720" fmla="*/ 1640809 h 6557032"/>
              <a:gd name="connsiteX10721" fmla="*/ 1104238 w 4610101"/>
              <a:gd name="connsiteY10721" fmla="*/ 1613476 h 6557032"/>
              <a:gd name="connsiteX10722" fmla="*/ 1131570 w 4610101"/>
              <a:gd name="connsiteY10722" fmla="*/ 1629876 h 6557032"/>
              <a:gd name="connsiteX10723" fmla="*/ 1133393 w 4610101"/>
              <a:gd name="connsiteY10723" fmla="*/ 1628054 h 6557032"/>
              <a:gd name="connsiteX10724" fmla="*/ 1147970 w 4610101"/>
              <a:gd name="connsiteY10724" fmla="*/ 1640809 h 6557032"/>
              <a:gd name="connsiteX10725" fmla="*/ 1146148 w 4610101"/>
              <a:gd name="connsiteY10725" fmla="*/ 1633520 h 6557032"/>
              <a:gd name="connsiteX10726" fmla="*/ 1168014 w 4610101"/>
              <a:gd name="connsiteY10726" fmla="*/ 1649920 h 6557032"/>
              <a:gd name="connsiteX10727" fmla="*/ 1168014 w 4610101"/>
              <a:gd name="connsiteY10727" fmla="*/ 1631698 h 6557032"/>
              <a:gd name="connsiteX10728" fmla="*/ 1151614 w 4610101"/>
              <a:gd name="connsiteY10728" fmla="*/ 1624409 h 6557032"/>
              <a:gd name="connsiteX10729" fmla="*/ 1155259 w 4610101"/>
              <a:gd name="connsiteY10729" fmla="*/ 1620765 h 6557032"/>
              <a:gd name="connsiteX10730" fmla="*/ 1127926 w 4610101"/>
              <a:gd name="connsiteY10730" fmla="*/ 1608010 h 6557032"/>
              <a:gd name="connsiteX10731" fmla="*/ 1147970 w 4610101"/>
              <a:gd name="connsiteY10731" fmla="*/ 1615298 h 6557032"/>
              <a:gd name="connsiteX10732" fmla="*/ 1127797 w 4610101"/>
              <a:gd name="connsiteY10732" fmla="*/ 1591662 h 6557032"/>
              <a:gd name="connsiteX10733" fmla="*/ 1131115 w 4610101"/>
              <a:gd name="connsiteY10733" fmla="*/ 1595027 h 6557032"/>
              <a:gd name="connsiteX10734" fmla="*/ 1149792 w 4610101"/>
              <a:gd name="connsiteY10734" fmla="*/ 1615298 h 6557032"/>
              <a:gd name="connsiteX10735" fmla="*/ 1146148 w 4610101"/>
              <a:gd name="connsiteY10735" fmla="*/ 1609832 h 6557032"/>
              <a:gd name="connsiteX10736" fmla="*/ 1166192 w 4610101"/>
              <a:gd name="connsiteY10736" fmla="*/ 1615298 h 6557032"/>
              <a:gd name="connsiteX10737" fmla="*/ 1164370 w 4610101"/>
              <a:gd name="connsiteY10737" fmla="*/ 1604365 h 6557032"/>
              <a:gd name="connsiteX10738" fmla="*/ 1140681 w 4610101"/>
              <a:gd name="connsiteY10738" fmla="*/ 1591610 h 6557032"/>
              <a:gd name="connsiteX10739" fmla="*/ 1115171 w 4610101"/>
              <a:gd name="connsiteY10739" fmla="*/ 1578855 h 6557032"/>
              <a:gd name="connsiteX10740" fmla="*/ 1123780 w 4610101"/>
              <a:gd name="connsiteY10740" fmla="*/ 1587587 h 6557032"/>
              <a:gd name="connsiteX10741" fmla="*/ 1098771 w 4610101"/>
              <a:gd name="connsiteY10741" fmla="*/ 1567922 h 6557032"/>
              <a:gd name="connsiteX10742" fmla="*/ 1093027 w 4610101"/>
              <a:gd name="connsiteY10742" fmla="*/ 1569645 h 6557032"/>
              <a:gd name="connsiteX10743" fmla="*/ 1067794 w 4610101"/>
              <a:gd name="connsiteY10743" fmla="*/ 1560633 h 6557032"/>
              <a:gd name="connsiteX10744" fmla="*/ 1096949 w 4610101"/>
              <a:gd name="connsiteY10744" fmla="*/ 1566100 h 6557032"/>
              <a:gd name="connsiteX10745" fmla="*/ 1075326 w 4610101"/>
              <a:gd name="connsiteY10745" fmla="*/ 1556392 h 6557032"/>
              <a:gd name="connsiteX10746" fmla="*/ 1077133 w 4610101"/>
              <a:gd name="connsiteY10746" fmla="*/ 1556989 h 6557032"/>
              <a:gd name="connsiteX10747" fmla="*/ 1111526 w 4610101"/>
              <a:gd name="connsiteY10747" fmla="*/ 1566100 h 6557032"/>
              <a:gd name="connsiteX10748" fmla="*/ 1120637 w 4610101"/>
              <a:gd name="connsiteY10748" fmla="*/ 1575211 h 6557032"/>
              <a:gd name="connsiteX10749" fmla="*/ 1120637 w 4610101"/>
              <a:gd name="connsiteY10749" fmla="*/ 1569744 h 6557032"/>
              <a:gd name="connsiteX10750" fmla="*/ 1122459 w 4610101"/>
              <a:gd name="connsiteY10750" fmla="*/ 1575211 h 6557032"/>
              <a:gd name="connsiteX10751" fmla="*/ 1129748 w 4610101"/>
              <a:gd name="connsiteY10751" fmla="*/ 1578855 h 6557032"/>
              <a:gd name="connsiteX10752" fmla="*/ 1135750 w 4610101"/>
              <a:gd name="connsiteY10752" fmla="*/ 1574353 h 6557032"/>
              <a:gd name="connsiteX10753" fmla="*/ 1136228 w 4610101"/>
              <a:gd name="connsiteY10753" fmla="*/ 1575008 h 6557032"/>
              <a:gd name="connsiteX10754" fmla="*/ 1135670 w 4610101"/>
              <a:gd name="connsiteY10754" fmla="*/ 1576122 h 6557032"/>
              <a:gd name="connsiteX10755" fmla="*/ 1131570 w 4610101"/>
              <a:gd name="connsiteY10755" fmla="*/ 1578855 h 6557032"/>
              <a:gd name="connsiteX10756" fmla="*/ 1164370 w 4610101"/>
              <a:gd name="connsiteY10756" fmla="*/ 1595255 h 6557032"/>
              <a:gd name="connsiteX10757" fmla="*/ 1137037 w 4610101"/>
              <a:gd name="connsiteY10757" fmla="*/ 1571566 h 6557032"/>
              <a:gd name="connsiteX10758" fmla="*/ 1109704 w 4610101"/>
              <a:gd name="connsiteY10758" fmla="*/ 1558811 h 6557032"/>
              <a:gd name="connsiteX10759" fmla="*/ 1115171 w 4610101"/>
              <a:gd name="connsiteY10759" fmla="*/ 1555167 h 6557032"/>
              <a:gd name="connsiteX10760" fmla="*/ 1115171 w 4610101"/>
              <a:gd name="connsiteY10760" fmla="*/ 1551522 h 6557032"/>
              <a:gd name="connsiteX10761" fmla="*/ 1088932 w 4610101"/>
              <a:gd name="connsiteY10761" fmla="*/ 1537917 h 6557032"/>
              <a:gd name="connsiteX10762" fmla="*/ 1073427 w 4610101"/>
              <a:gd name="connsiteY10762" fmla="*/ 1529877 h 6557032"/>
              <a:gd name="connsiteX10763" fmla="*/ 1086016 w 4610101"/>
              <a:gd name="connsiteY10763" fmla="*/ 1535123 h 6557032"/>
              <a:gd name="connsiteX10764" fmla="*/ 1086016 w 4610101"/>
              <a:gd name="connsiteY10764" fmla="*/ 1529656 h 6557032"/>
              <a:gd name="connsiteX10765" fmla="*/ 1095127 w 4610101"/>
              <a:gd name="connsiteY10765" fmla="*/ 1538767 h 6557032"/>
              <a:gd name="connsiteX10766" fmla="*/ 1098771 w 4610101"/>
              <a:gd name="connsiteY10766" fmla="*/ 1529656 h 6557032"/>
              <a:gd name="connsiteX10767" fmla="*/ 1087838 w 4610101"/>
              <a:gd name="connsiteY10767" fmla="*/ 1522368 h 6557032"/>
              <a:gd name="connsiteX10768" fmla="*/ 1087838 w 4610101"/>
              <a:gd name="connsiteY10768" fmla="*/ 1523068 h 6557032"/>
              <a:gd name="connsiteX10769" fmla="*/ 1086699 w 4610101"/>
              <a:gd name="connsiteY10769" fmla="*/ 1522367 h 6557032"/>
              <a:gd name="connsiteX10770" fmla="*/ 1082373 w 4610101"/>
              <a:gd name="connsiteY10770" fmla="*/ 1520545 h 6557032"/>
              <a:gd name="connsiteX10771" fmla="*/ 1084265 w 4610101"/>
              <a:gd name="connsiteY10771" fmla="*/ 1523764 h 6557032"/>
              <a:gd name="connsiteX10772" fmla="*/ 1073716 w 4610101"/>
              <a:gd name="connsiteY10772" fmla="*/ 1517129 h 6557032"/>
              <a:gd name="connsiteX10773" fmla="*/ 1073457 w 4610101"/>
              <a:gd name="connsiteY10773" fmla="*/ 1517097 h 6557032"/>
              <a:gd name="connsiteX10774" fmla="*/ 1069616 w 4610101"/>
              <a:gd name="connsiteY10774" fmla="*/ 1513257 h 6557032"/>
              <a:gd name="connsiteX10775" fmla="*/ 1084194 w 4610101"/>
              <a:gd name="connsiteY10775" fmla="*/ 1515079 h 6557032"/>
              <a:gd name="connsiteX10776" fmla="*/ 1071439 w 4610101"/>
              <a:gd name="connsiteY10776" fmla="*/ 1505968 h 6557032"/>
              <a:gd name="connsiteX10777" fmla="*/ 1080549 w 4610101"/>
              <a:gd name="connsiteY10777" fmla="*/ 1505968 h 6557032"/>
              <a:gd name="connsiteX10778" fmla="*/ 1065972 w 4610101"/>
              <a:gd name="connsiteY10778" fmla="*/ 1500501 h 6557032"/>
              <a:gd name="connsiteX10779" fmla="*/ 1069616 w 4610101"/>
              <a:gd name="connsiteY10779" fmla="*/ 1504146 h 6557032"/>
              <a:gd name="connsiteX10780" fmla="*/ 1058000 w 4610101"/>
              <a:gd name="connsiteY10780" fmla="*/ 1502324 h 6557032"/>
              <a:gd name="connsiteX10781" fmla="*/ 1055863 w 4610101"/>
              <a:gd name="connsiteY10781" fmla="*/ 1503083 h 6557032"/>
              <a:gd name="connsiteX10782" fmla="*/ 1041230 w 4610101"/>
              <a:gd name="connsiteY10782" fmla="*/ 1496059 h 6557032"/>
              <a:gd name="connsiteX10783" fmla="*/ 1040462 w 4610101"/>
              <a:gd name="connsiteY10783" fmla="*/ 1495035 h 6557032"/>
              <a:gd name="connsiteX10784" fmla="*/ 1038950 w 4610101"/>
              <a:gd name="connsiteY10784" fmla="*/ 1494783 h 6557032"/>
              <a:gd name="connsiteX10785" fmla="*/ 1047067 w 4610101"/>
              <a:gd name="connsiteY10785" fmla="*/ 1488202 h 6557032"/>
              <a:gd name="connsiteX10786" fmla="*/ 1051395 w 4610101"/>
              <a:gd name="connsiteY10786" fmla="*/ 1478635 h 6557032"/>
              <a:gd name="connsiteX10787" fmla="*/ 1055040 w 4610101"/>
              <a:gd name="connsiteY10787" fmla="*/ 1480458 h 6557032"/>
              <a:gd name="connsiteX10788" fmla="*/ 1044106 w 4610101"/>
              <a:gd name="connsiteY10788" fmla="*/ 1491391 h 6557032"/>
              <a:gd name="connsiteX10789" fmla="*/ 1067794 w 4610101"/>
              <a:gd name="connsiteY10789" fmla="*/ 1495035 h 6557032"/>
              <a:gd name="connsiteX10790" fmla="*/ 1065972 w 4610101"/>
              <a:gd name="connsiteY10790" fmla="*/ 1495035 h 6557032"/>
              <a:gd name="connsiteX10791" fmla="*/ 1075083 w 4610101"/>
              <a:gd name="connsiteY10791" fmla="*/ 1493213 h 6557032"/>
              <a:gd name="connsiteX10792" fmla="*/ 1055040 w 4610101"/>
              <a:gd name="connsiteY10792" fmla="*/ 1471347 h 6557032"/>
              <a:gd name="connsiteX10793" fmla="*/ 1051395 w 4610101"/>
              <a:gd name="connsiteY10793" fmla="*/ 1476813 h 6557032"/>
              <a:gd name="connsiteX10794" fmla="*/ 1049573 w 4610101"/>
              <a:gd name="connsiteY10794" fmla="*/ 1471347 h 6557032"/>
              <a:gd name="connsiteX10795" fmla="*/ 1019279 w 4610101"/>
              <a:gd name="connsiteY10795" fmla="*/ 1458591 h 6557032"/>
              <a:gd name="connsiteX10796" fmla="*/ 1007663 w 4610101"/>
              <a:gd name="connsiteY10796" fmla="*/ 1455917 h 6557032"/>
              <a:gd name="connsiteX10797" fmla="*/ 1007663 w 4610101"/>
              <a:gd name="connsiteY10797" fmla="*/ 1454947 h 6557032"/>
              <a:gd name="connsiteX10798" fmla="*/ 1024062 w 4610101"/>
              <a:gd name="connsiteY10798" fmla="*/ 1458592 h 6557032"/>
              <a:gd name="connsiteX10799" fmla="*/ 1007663 w 4610101"/>
              <a:gd name="connsiteY10799" fmla="*/ 1454947 h 6557032"/>
              <a:gd name="connsiteX10800" fmla="*/ 1007663 w 4610101"/>
              <a:gd name="connsiteY10800" fmla="*/ 1453125 h 6557032"/>
              <a:gd name="connsiteX10801" fmla="*/ 1000602 w 4610101"/>
              <a:gd name="connsiteY10801" fmla="*/ 1454036 h 6557032"/>
              <a:gd name="connsiteX10802" fmla="*/ 999946 w 4610101"/>
              <a:gd name="connsiteY10802" fmla="*/ 1454141 h 6557032"/>
              <a:gd name="connsiteX10803" fmla="*/ 987619 w 4610101"/>
              <a:gd name="connsiteY10803" fmla="*/ 1451303 h 6557032"/>
              <a:gd name="connsiteX10804" fmla="*/ 983974 w 4610101"/>
              <a:gd name="connsiteY10804" fmla="*/ 1456769 h 6557032"/>
              <a:gd name="connsiteX10805" fmla="*/ 983974 w 4610101"/>
              <a:gd name="connsiteY10805" fmla="*/ 1451303 h 6557032"/>
              <a:gd name="connsiteX10806" fmla="*/ 973041 w 4610101"/>
              <a:gd name="connsiteY10806" fmla="*/ 1447658 h 6557032"/>
              <a:gd name="connsiteX10807" fmla="*/ 936598 w 4610101"/>
              <a:gd name="connsiteY10807" fmla="*/ 1460414 h 6557032"/>
              <a:gd name="connsiteX10808" fmla="*/ 940148 w 4610101"/>
              <a:gd name="connsiteY10808" fmla="*/ 1458757 h 6557032"/>
              <a:gd name="connsiteX10809" fmla="*/ 956642 w 4610101"/>
              <a:gd name="connsiteY10809" fmla="*/ 1453125 h 6557032"/>
              <a:gd name="connsiteX10810" fmla="*/ 954188 w 4610101"/>
              <a:gd name="connsiteY10810" fmla="*/ 1452205 h 6557032"/>
              <a:gd name="connsiteX10811" fmla="*/ 963930 w 4610101"/>
              <a:gd name="connsiteY10811" fmla="*/ 1447658 h 6557032"/>
              <a:gd name="connsiteX10812" fmla="*/ 951175 w 4610101"/>
              <a:gd name="connsiteY10812" fmla="*/ 1449481 h 6557032"/>
              <a:gd name="connsiteX10813" fmla="*/ 949036 w 4610101"/>
              <a:gd name="connsiteY10813" fmla="*/ 1450273 h 6557032"/>
              <a:gd name="connsiteX10814" fmla="*/ 927487 w 4610101"/>
              <a:gd name="connsiteY10814" fmla="*/ 1442192 h 6557032"/>
              <a:gd name="connsiteX10815" fmla="*/ 931131 w 4610101"/>
              <a:gd name="connsiteY10815" fmla="*/ 1440370 h 6557032"/>
              <a:gd name="connsiteX10816" fmla="*/ 860066 w 4610101"/>
              <a:gd name="connsiteY10816" fmla="*/ 1429437 h 6557032"/>
              <a:gd name="connsiteX10817" fmla="*/ 871000 w 4610101"/>
              <a:gd name="connsiteY10817" fmla="*/ 1422148 h 6557032"/>
              <a:gd name="connsiteX10818" fmla="*/ 874644 w 4610101"/>
              <a:gd name="connsiteY10818" fmla="*/ 1418504 h 6557032"/>
              <a:gd name="connsiteX10819" fmla="*/ 871000 w 4610101"/>
              <a:gd name="connsiteY10819" fmla="*/ 1420326 h 6557032"/>
              <a:gd name="connsiteX10820" fmla="*/ 872822 w 4610101"/>
              <a:gd name="connsiteY10820" fmla="*/ 1418504 h 6557032"/>
              <a:gd name="connsiteX10821" fmla="*/ 849361 w 4610101"/>
              <a:gd name="connsiteY10821" fmla="*/ 1413265 h 6557032"/>
              <a:gd name="connsiteX10822" fmla="*/ 3197916 w 4610101"/>
              <a:gd name="connsiteY10822" fmla="*/ 1413037 h 6557032"/>
              <a:gd name="connsiteX10823" fmla="*/ 3196093 w 4610101"/>
              <a:gd name="connsiteY10823" fmla="*/ 1423970 h 6557032"/>
              <a:gd name="connsiteX10824" fmla="*/ 3199738 w 4610101"/>
              <a:gd name="connsiteY10824" fmla="*/ 1425792 h 6557032"/>
              <a:gd name="connsiteX10825" fmla="*/ 3199738 w 4610101"/>
              <a:gd name="connsiteY10825" fmla="*/ 1418504 h 6557032"/>
              <a:gd name="connsiteX10826" fmla="*/ 3203382 w 4610101"/>
              <a:gd name="connsiteY10826" fmla="*/ 1423970 h 6557032"/>
              <a:gd name="connsiteX10827" fmla="*/ 3199738 w 4610101"/>
              <a:gd name="connsiteY10827" fmla="*/ 1413037 h 6557032"/>
              <a:gd name="connsiteX10828" fmla="*/ 3197916 w 4610101"/>
              <a:gd name="connsiteY10828" fmla="*/ 1413037 h 6557032"/>
              <a:gd name="connsiteX10829" fmla="*/ 3190627 w 4610101"/>
              <a:gd name="connsiteY10829" fmla="*/ 1413037 h 6557032"/>
              <a:gd name="connsiteX10830" fmla="*/ 3181516 w 4610101"/>
              <a:gd name="connsiteY10830" fmla="*/ 1414859 h 6557032"/>
              <a:gd name="connsiteX10831" fmla="*/ 3190627 w 4610101"/>
              <a:gd name="connsiteY10831" fmla="*/ 1420326 h 6557032"/>
              <a:gd name="connsiteX10832" fmla="*/ 3190627 w 4610101"/>
              <a:gd name="connsiteY10832" fmla="*/ 1413037 h 6557032"/>
              <a:gd name="connsiteX10833" fmla="*/ 674205 w 4610101"/>
              <a:gd name="connsiteY10833" fmla="*/ 1413037 h 6557032"/>
              <a:gd name="connsiteX10834" fmla="*/ 670560 w 4610101"/>
              <a:gd name="connsiteY10834" fmla="*/ 1427615 h 6557032"/>
              <a:gd name="connsiteX10835" fmla="*/ 677849 w 4610101"/>
              <a:gd name="connsiteY10835" fmla="*/ 1423970 h 6557032"/>
              <a:gd name="connsiteX10836" fmla="*/ 676027 w 4610101"/>
              <a:gd name="connsiteY10836" fmla="*/ 1431259 h 6557032"/>
              <a:gd name="connsiteX10837" fmla="*/ 681493 w 4610101"/>
              <a:gd name="connsiteY10837" fmla="*/ 1422148 h 6557032"/>
              <a:gd name="connsiteX10838" fmla="*/ 681493 w 4610101"/>
              <a:gd name="connsiteY10838" fmla="*/ 1440370 h 6557032"/>
              <a:gd name="connsiteX10839" fmla="*/ 676027 w 4610101"/>
              <a:gd name="connsiteY10839" fmla="*/ 1440370 h 6557032"/>
              <a:gd name="connsiteX10840" fmla="*/ 685138 w 4610101"/>
              <a:gd name="connsiteY10840" fmla="*/ 1445836 h 6557032"/>
              <a:gd name="connsiteX10841" fmla="*/ 692426 w 4610101"/>
              <a:gd name="connsiteY10841" fmla="*/ 1423970 h 6557032"/>
              <a:gd name="connsiteX10842" fmla="*/ 674205 w 4610101"/>
              <a:gd name="connsiteY10842" fmla="*/ 1413037 h 6557032"/>
              <a:gd name="connsiteX10843" fmla="*/ 652566 w 4610101"/>
              <a:gd name="connsiteY10843" fmla="*/ 1413037 h 6557032"/>
              <a:gd name="connsiteX10844" fmla="*/ 648694 w 4610101"/>
              <a:gd name="connsiteY10844" fmla="*/ 1416681 h 6557032"/>
              <a:gd name="connsiteX10845" fmla="*/ 657805 w 4610101"/>
              <a:gd name="connsiteY10845" fmla="*/ 1414859 h 6557032"/>
              <a:gd name="connsiteX10846" fmla="*/ 652566 w 4610101"/>
              <a:gd name="connsiteY10846" fmla="*/ 1413037 h 6557032"/>
              <a:gd name="connsiteX10847" fmla="*/ 573985 w 4610101"/>
              <a:gd name="connsiteY10847" fmla="*/ 1413037 h 6557032"/>
              <a:gd name="connsiteX10848" fmla="*/ 577630 w 4610101"/>
              <a:gd name="connsiteY10848" fmla="*/ 1418504 h 6557032"/>
              <a:gd name="connsiteX10849" fmla="*/ 575808 w 4610101"/>
              <a:gd name="connsiteY10849" fmla="*/ 1414859 h 6557032"/>
              <a:gd name="connsiteX10850" fmla="*/ 581274 w 4610101"/>
              <a:gd name="connsiteY10850" fmla="*/ 1416681 h 6557032"/>
              <a:gd name="connsiteX10851" fmla="*/ 573985 w 4610101"/>
              <a:gd name="connsiteY10851" fmla="*/ 1413037 h 6557032"/>
              <a:gd name="connsiteX10852" fmla="*/ 453494 w 4610101"/>
              <a:gd name="connsiteY10852" fmla="*/ 1413037 h 6557032"/>
              <a:gd name="connsiteX10853" fmla="*/ 453591 w 4610101"/>
              <a:gd name="connsiteY10853" fmla="*/ 1414586 h 6557032"/>
              <a:gd name="connsiteX10854" fmla="*/ 452782 w 4610101"/>
              <a:gd name="connsiteY10854" fmla="*/ 1414717 h 6557032"/>
              <a:gd name="connsiteX10855" fmla="*/ 452230 w 4610101"/>
              <a:gd name="connsiteY10855" fmla="*/ 1414480 h 6557032"/>
              <a:gd name="connsiteX10856" fmla="*/ 444967 w 4610101"/>
              <a:gd name="connsiteY10856" fmla="*/ 1411367 h 6557032"/>
              <a:gd name="connsiteX10857" fmla="*/ 452230 w 4610101"/>
              <a:gd name="connsiteY10857" fmla="*/ 1414480 h 6557032"/>
              <a:gd name="connsiteX10858" fmla="*/ 451899 w 4610101"/>
              <a:gd name="connsiteY10858" fmla="*/ 1414859 h 6557032"/>
              <a:gd name="connsiteX10859" fmla="*/ 452782 w 4610101"/>
              <a:gd name="connsiteY10859" fmla="*/ 1414717 h 6557032"/>
              <a:gd name="connsiteX10860" fmla="*/ 453621 w 4610101"/>
              <a:gd name="connsiteY10860" fmla="*/ 1415076 h 6557032"/>
              <a:gd name="connsiteX10861" fmla="*/ 453722 w 4610101"/>
              <a:gd name="connsiteY10861" fmla="*/ 1416681 h 6557032"/>
              <a:gd name="connsiteX10862" fmla="*/ 445294 w 4610101"/>
              <a:gd name="connsiteY10862" fmla="*/ 1412126 h 6557032"/>
              <a:gd name="connsiteX10863" fmla="*/ 3143250 w 4610101"/>
              <a:gd name="connsiteY10863" fmla="*/ 1411215 h 6557032"/>
              <a:gd name="connsiteX10864" fmla="*/ 3157828 w 4610101"/>
              <a:gd name="connsiteY10864" fmla="*/ 1423970 h 6557032"/>
              <a:gd name="connsiteX10865" fmla="*/ 3143250 w 4610101"/>
              <a:gd name="connsiteY10865" fmla="*/ 1411215 h 6557032"/>
              <a:gd name="connsiteX10866" fmla="*/ 3134140 w 4610101"/>
              <a:gd name="connsiteY10866" fmla="*/ 1411215 h 6557032"/>
              <a:gd name="connsiteX10867" fmla="*/ 3141428 w 4610101"/>
              <a:gd name="connsiteY10867" fmla="*/ 1418504 h 6557032"/>
              <a:gd name="connsiteX10868" fmla="*/ 3137784 w 4610101"/>
              <a:gd name="connsiteY10868" fmla="*/ 1411215 h 6557032"/>
              <a:gd name="connsiteX10869" fmla="*/ 3134140 w 4610101"/>
              <a:gd name="connsiteY10869" fmla="*/ 1411215 h 6557032"/>
              <a:gd name="connsiteX10870" fmla="*/ 1149792 w 4610101"/>
              <a:gd name="connsiteY10870" fmla="*/ 1411215 h 6557032"/>
              <a:gd name="connsiteX10871" fmla="*/ 1147970 w 4610101"/>
              <a:gd name="connsiteY10871" fmla="*/ 1414859 h 6557032"/>
              <a:gd name="connsiteX10872" fmla="*/ 1149792 w 4610101"/>
              <a:gd name="connsiteY10872" fmla="*/ 1411215 h 6557032"/>
              <a:gd name="connsiteX10873" fmla="*/ 1127926 w 4610101"/>
              <a:gd name="connsiteY10873" fmla="*/ 1411215 h 6557032"/>
              <a:gd name="connsiteX10874" fmla="*/ 1122459 w 4610101"/>
              <a:gd name="connsiteY10874" fmla="*/ 1414859 h 6557032"/>
              <a:gd name="connsiteX10875" fmla="*/ 1127926 w 4610101"/>
              <a:gd name="connsiteY10875" fmla="*/ 1422148 h 6557032"/>
              <a:gd name="connsiteX10876" fmla="*/ 1133393 w 4610101"/>
              <a:gd name="connsiteY10876" fmla="*/ 1416681 h 6557032"/>
              <a:gd name="connsiteX10877" fmla="*/ 1127926 w 4610101"/>
              <a:gd name="connsiteY10877" fmla="*/ 1411215 h 6557032"/>
              <a:gd name="connsiteX10878" fmla="*/ 701537 w 4610101"/>
              <a:gd name="connsiteY10878" fmla="*/ 1411215 h 6557032"/>
              <a:gd name="connsiteX10879" fmla="*/ 717937 w 4610101"/>
              <a:gd name="connsiteY10879" fmla="*/ 1413037 h 6557032"/>
              <a:gd name="connsiteX10880" fmla="*/ 701537 w 4610101"/>
              <a:gd name="connsiteY10880" fmla="*/ 1411215 h 6557032"/>
              <a:gd name="connsiteX10881" fmla="*/ 519320 w 4610101"/>
              <a:gd name="connsiteY10881" fmla="*/ 1411215 h 6557032"/>
              <a:gd name="connsiteX10882" fmla="*/ 515676 w 4610101"/>
              <a:gd name="connsiteY10882" fmla="*/ 1414859 h 6557032"/>
              <a:gd name="connsiteX10883" fmla="*/ 521142 w 4610101"/>
              <a:gd name="connsiteY10883" fmla="*/ 1413037 h 6557032"/>
              <a:gd name="connsiteX10884" fmla="*/ 519320 w 4610101"/>
              <a:gd name="connsiteY10884" fmla="*/ 1411215 h 6557032"/>
              <a:gd name="connsiteX10885" fmla="*/ 493809 w 4610101"/>
              <a:gd name="connsiteY10885" fmla="*/ 1411215 h 6557032"/>
              <a:gd name="connsiteX10886" fmla="*/ 484700 w 4610101"/>
              <a:gd name="connsiteY10886" fmla="*/ 1418504 h 6557032"/>
              <a:gd name="connsiteX10887" fmla="*/ 493809 w 4610101"/>
              <a:gd name="connsiteY10887" fmla="*/ 1411215 h 6557032"/>
              <a:gd name="connsiteX10888" fmla="*/ 444849 w 4610101"/>
              <a:gd name="connsiteY10888" fmla="*/ 1411096 h 6557032"/>
              <a:gd name="connsiteX10889" fmla="*/ 444967 w 4610101"/>
              <a:gd name="connsiteY10889" fmla="*/ 1411367 h 6557032"/>
              <a:gd name="connsiteX10890" fmla="*/ 444611 w 4610101"/>
              <a:gd name="connsiteY10890" fmla="*/ 1411215 h 6557032"/>
              <a:gd name="connsiteX10891" fmla="*/ 467388 w 4610101"/>
              <a:gd name="connsiteY10891" fmla="*/ 1410987 h 6557032"/>
              <a:gd name="connsiteX10892" fmla="*/ 464655 w 4610101"/>
              <a:gd name="connsiteY10892" fmla="*/ 1413037 h 6557032"/>
              <a:gd name="connsiteX10893" fmla="*/ 470121 w 4610101"/>
              <a:gd name="connsiteY10893" fmla="*/ 1413037 h 6557032"/>
              <a:gd name="connsiteX10894" fmla="*/ 467388 w 4610101"/>
              <a:gd name="connsiteY10894" fmla="*/ 1410987 h 6557032"/>
              <a:gd name="connsiteX10895" fmla="*/ 3114888 w 4610101"/>
              <a:gd name="connsiteY10895" fmla="*/ 1410901 h 6557032"/>
              <a:gd name="connsiteX10896" fmla="*/ 3117227 w 4610101"/>
              <a:gd name="connsiteY10896" fmla="*/ 1415642 h 6557032"/>
              <a:gd name="connsiteX10897" fmla="*/ 3114096 w 4610101"/>
              <a:gd name="connsiteY10897" fmla="*/ 1414859 h 6557032"/>
              <a:gd name="connsiteX10898" fmla="*/ 3039387 w 4610101"/>
              <a:gd name="connsiteY10898" fmla="*/ 1409393 h 6557032"/>
              <a:gd name="connsiteX10899" fmla="*/ 3043031 w 4610101"/>
              <a:gd name="connsiteY10899" fmla="*/ 1414859 h 6557032"/>
              <a:gd name="connsiteX10900" fmla="*/ 3043031 w 4610101"/>
              <a:gd name="connsiteY10900" fmla="*/ 1409393 h 6557032"/>
              <a:gd name="connsiteX10901" fmla="*/ 3039387 w 4610101"/>
              <a:gd name="connsiteY10901" fmla="*/ 1409393 h 6557032"/>
              <a:gd name="connsiteX10902" fmla="*/ 1162547 w 4610101"/>
              <a:gd name="connsiteY10902" fmla="*/ 1409393 h 6557032"/>
              <a:gd name="connsiteX10903" fmla="*/ 1160725 w 4610101"/>
              <a:gd name="connsiteY10903" fmla="*/ 1423970 h 6557032"/>
              <a:gd name="connsiteX10904" fmla="*/ 1166192 w 4610101"/>
              <a:gd name="connsiteY10904" fmla="*/ 1427615 h 6557032"/>
              <a:gd name="connsiteX10905" fmla="*/ 1162547 w 4610101"/>
              <a:gd name="connsiteY10905" fmla="*/ 1409393 h 6557032"/>
              <a:gd name="connsiteX10906" fmla="*/ 736159 w 4610101"/>
              <a:gd name="connsiteY10906" fmla="*/ 1409393 h 6557032"/>
              <a:gd name="connsiteX10907" fmla="*/ 728870 w 4610101"/>
              <a:gd name="connsiteY10907" fmla="*/ 1411215 h 6557032"/>
              <a:gd name="connsiteX10908" fmla="*/ 736159 w 4610101"/>
              <a:gd name="connsiteY10908" fmla="*/ 1409393 h 6557032"/>
              <a:gd name="connsiteX10909" fmla="*/ 690604 w 4610101"/>
              <a:gd name="connsiteY10909" fmla="*/ 1409393 h 6557032"/>
              <a:gd name="connsiteX10910" fmla="*/ 685138 w 4610101"/>
              <a:gd name="connsiteY10910" fmla="*/ 1411215 h 6557032"/>
              <a:gd name="connsiteX10911" fmla="*/ 705182 w 4610101"/>
              <a:gd name="connsiteY10911" fmla="*/ 1418504 h 6557032"/>
              <a:gd name="connsiteX10912" fmla="*/ 690604 w 4610101"/>
              <a:gd name="connsiteY10912" fmla="*/ 1409393 h 6557032"/>
              <a:gd name="connsiteX10913" fmla="*/ 530253 w 4610101"/>
              <a:gd name="connsiteY10913" fmla="*/ 1409393 h 6557032"/>
              <a:gd name="connsiteX10914" fmla="*/ 515676 w 4610101"/>
              <a:gd name="connsiteY10914" fmla="*/ 1431259 h 6557032"/>
              <a:gd name="connsiteX10915" fmla="*/ 512031 w 4610101"/>
              <a:gd name="connsiteY10915" fmla="*/ 1431259 h 6557032"/>
              <a:gd name="connsiteX10916" fmla="*/ 513853 w 4610101"/>
              <a:gd name="connsiteY10916" fmla="*/ 1438548 h 6557032"/>
              <a:gd name="connsiteX10917" fmla="*/ 530253 w 4610101"/>
              <a:gd name="connsiteY10917" fmla="*/ 1409393 h 6557032"/>
              <a:gd name="connsiteX10918" fmla="*/ 564874 w 4610101"/>
              <a:gd name="connsiteY10918" fmla="*/ 1408938 h 6557032"/>
              <a:gd name="connsiteX10919" fmla="*/ 563052 w 4610101"/>
              <a:gd name="connsiteY10919" fmla="*/ 1411215 h 6557032"/>
              <a:gd name="connsiteX10920" fmla="*/ 563507 w 4610101"/>
              <a:gd name="connsiteY10920" fmla="*/ 1414403 h 6557032"/>
              <a:gd name="connsiteX10921" fmla="*/ 564490 w 4610101"/>
              <a:gd name="connsiteY10921" fmla="*/ 1414544 h 6557032"/>
              <a:gd name="connsiteX10922" fmla="*/ 564399 w 4610101"/>
              <a:gd name="connsiteY10922" fmla="*/ 1414752 h 6557032"/>
              <a:gd name="connsiteX10923" fmla="*/ 556902 w 4610101"/>
              <a:gd name="connsiteY10923" fmla="*/ 1414403 h 6557032"/>
              <a:gd name="connsiteX10924" fmla="*/ 548475 w 4610101"/>
              <a:gd name="connsiteY10924" fmla="*/ 1411215 h 6557032"/>
              <a:gd name="connsiteX10925" fmla="*/ 544830 w 4610101"/>
              <a:gd name="connsiteY10925" fmla="*/ 1416681 h 6557032"/>
              <a:gd name="connsiteX10926" fmla="*/ 550297 w 4610101"/>
              <a:gd name="connsiteY10926" fmla="*/ 1420326 h 6557032"/>
              <a:gd name="connsiteX10927" fmla="*/ 544830 w 4610101"/>
              <a:gd name="connsiteY10927" fmla="*/ 1420326 h 6557032"/>
              <a:gd name="connsiteX10928" fmla="*/ 552119 w 4610101"/>
              <a:gd name="connsiteY10928" fmla="*/ 1434903 h 6557032"/>
              <a:gd name="connsiteX10929" fmla="*/ 555763 w 4610101"/>
              <a:gd name="connsiteY10929" fmla="*/ 1420326 h 6557032"/>
              <a:gd name="connsiteX10930" fmla="*/ 561230 w 4610101"/>
              <a:gd name="connsiteY10930" fmla="*/ 1422148 h 6557032"/>
              <a:gd name="connsiteX10931" fmla="*/ 564399 w 4610101"/>
              <a:gd name="connsiteY10931" fmla="*/ 1414752 h 6557032"/>
              <a:gd name="connsiteX10932" fmla="*/ 566697 w 4610101"/>
              <a:gd name="connsiteY10932" fmla="*/ 1414859 h 6557032"/>
              <a:gd name="connsiteX10933" fmla="*/ 564490 w 4610101"/>
              <a:gd name="connsiteY10933" fmla="*/ 1414544 h 6557032"/>
              <a:gd name="connsiteX10934" fmla="*/ 566697 w 4610101"/>
              <a:gd name="connsiteY10934" fmla="*/ 1409393 h 6557032"/>
              <a:gd name="connsiteX10935" fmla="*/ 564874 w 4610101"/>
              <a:gd name="connsiteY10935" fmla="*/ 1408938 h 6557032"/>
              <a:gd name="connsiteX10936" fmla="*/ 443848 w 4610101"/>
              <a:gd name="connsiteY10936" fmla="*/ 1408778 h 6557032"/>
              <a:gd name="connsiteX10937" fmla="*/ 448256 w 4610101"/>
              <a:gd name="connsiteY10937" fmla="*/ 1409393 h 6557032"/>
              <a:gd name="connsiteX10938" fmla="*/ 444849 w 4610101"/>
              <a:gd name="connsiteY10938" fmla="*/ 1411096 h 6557032"/>
              <a:gd name="connsiteX10939" fmla="*/ 438461 w 4610101"/>
              <a:gd name="connsiteY10939" fmla="*/ 1408026 h 6557032"/>
              <a:gd name="connsiteX10940" fmla="*/ 443159 w 4610101"/>
              <a:gd name="connsiteY10940" fmla="*/ 1408682 h 6557032"/>
              <a:gd name="connsiteX10941" fmla="*/ 444611 w 4610101"/>
              <a:gd name="connsiteY10941" fmla="*/ 1413037 h 6557032"/>
              <a:gd name="connsiteX10942" fmla="*/ 437094 w 4610101"/>
              <a:gd name="connsiteY10942" fmla="*/ 1410076 h 6557032"/>
              <a:gd name="connsiteX10943" fmla="*/ 436641 w 4610101"/>
              <a:gd name="connsiteY10943" fmla="*/ 1409502 h 6557032"/>
              <a:gd name="connsiteX10944" fmla="*/ 2895435 w 4610101"/>
              <a:gd name="connsiteY10944" fmla="*/ 1407571 h 6557032"/>
              <a:gd name="connsiteX10945" fmla="*/ 2893613 w 4610101"/>
              <a:gd name="connsiteY10945" fmla="*/ 1411215 h 6557032"/>
              <a:gd name="connsiteX10946" fmla="*/ 2902724 w 4610101"/>
              <a:gd name="connsiteY10946" fmla="*/ 1411215 h 6557032"/>
              <a:gd name="connsiteX10947" fmla="*/ 2895435 w 4610101"/>
              <a:gd name="connsiteY10947" fmla="*/ 1407571 h 6557032"/>
              <a:gd name="connsiteX10948" fmla="*/ 1494183 w 4610101"/>
              <a:gd name="connsiteY10948" fmla="*/ 1407571 h 6557032"/>
              <a:gd name="connsiteX10949" fmla="*/ 1475961 w 4610101"/>
              <a:gd name="connsiteY10949" fmla="*/ 1429437 h 6557032"/>
              <a:gd name="connsiteX10950" fmla="*/ 1497827 w 4610101"/>
              <a:gd name="connsiteY10950" fmla="*/ 1431259 h 6557032"/>
              <a:gd name="connsiteX10951" fmla="*/ 1514228 w 4610101"/>
              <a:gd name="connsiteY10951" fmla="*/ 1444014 h 6557032"/>
              <a:gd name="connsiteX10952" fmla="*/ 1530626 w 4610101"/>
              <a:gd name="connsiteY10952" fmla="*/ 1422148 h 6557032"/>
              <a:gd name="connsiteX10953" fmla="*/ 1494183 w 4610101"/>
              <a:gd name="connsiteY10953" fmla="*/ 1407571 h 6557032"/>
              <a:gd name="connsiteX10954" fmla="*/ 584919 w 4610101"/>
              <a:gd name="connsiteY10954" fmla="*/ 1407571 h 6557032"/>
              <a:gd name="connsiteX10955" fmla="*/ 594030 w 4610101"/>
              <a:gd name="connsiteY10955" fmla="*/ 1409393 h 6557032"/>
              <a:gd name="connsiteX10956" fmla="*/ 584919 w 4610101"/>
              <a:gd name="connsiteY10956" fmla="*/ 1407571 h 6557032"/>
              <a:gd name="connsiteX10957" fmla="*/ 3491391 w 4610101"/>
              <a:gd name="connsiteY10957" fmla="*/ 1405759 h 6557032"/>
              <a:gd name="connsiteX10958" fmla="*/ 3491414 w 4610101"/>
              <a:gd name="connsiteY10958" fmla="*/ 1406571 h 6557032"/>
              <a:gd name="connsiteX10959" fmla="*/ 3491286 w 4610101"/>
              <a:gd name="connsiteY10959" fmla="*/ 1406204 h 6557032"/>
              <a:gd name="connsiteX10960" fmla="*/ 1157081 w 4610101"/>
              <a:gd name="connsiteY10960" fmla="*/ 1405748 h 6557032"/>
              <a:gd name="connsiteX10961" fmla="*/ 1151614 w 4610101"/>
              <a:gd name="connsiteY10961" fmla="*/ 1413037 h 6557032"/>
              <a:gd name="connsiteX10962" fmla="*/ 1153436 w 4610101"/>
              <a:gd name="connsiteY10962" fmla="*/ 1407571 h 6557032"/>
              <a:gd name="connsiteX10963" fmla="*/ 1157081 w 4610101"/>
              <a:gd name="connsiteY10963" fmla="*/ 1413037 h 6557032"/>
              <a:gd name="connsiteX10964" fmla="*/ 1155259 w 4610101"/>
              <a:gd name="connsiteY10964" fmla="*/ 1420326 h 6557032"/>
              <a:gd name="connsiteX10965" fmla="*/ 1157081 w 4610101"/>
              <a:gd name="connsiteY10965" fmla="*/ 1405748 h 6557032"/>
              <a:gd name="connsiteX10966" fmla="*/ 838200 w 4610101"/>
              <a:gd name="connsiteY10966" fmla="*/ 1405748 h 6557032"/>
              <a:gd name="connsiteX10967" fmla="*/ 834556 w 4610101"/>
              <a:gd name="connsiteY10967" fmla="*/ 1407571 h 6557032"/>
              <a:gd name="connsiteX10968" fmla="*/ 827267 w 4610101"/>
              <a:gd name="connsiteY10968" fmla="*/ 1414859 h 6557032"/>
              <a:gd name="connsiteX10969" fmla="*/ 832734 w 4610101"/>
              <a:gd name="connsiteY10969" fmla="*/ 1422148 h 6557032"/>
              <a:gd name="connsiteX10970" fmla="*/ 841845 w 4610101"/>
              <a:gd name="connsiteY10970" fmla="*/ 1407571 h 6557032"/>
              <a:gd name="connsiteX10971" fmla="*/ 834556 w 4610101"/>
              <a:gd name="connsiteY10971" fmla="*/ 1407571 h 6557032"/>
              <a:gd name="connsiteX10972" fmla="*/ 840022 w 4610101"/>
              <a:gd name="connsiteY10972" fmla="*/ 1407571 h 6557032"/>
              <a:gd name="connsiteX10973" fmla="*/ 838200 w 4610101"/>
              <a:gd name="connsiteY10973" fmla="*/ 1405748 h 6557032"/>
              <a:gd name="connsiteX10974" fmla="*/ 758025 w 4610101"/>
              <a:gd name="connsiteY10974" fmla="*/ 1405748 h 6557032"/>
              <a:gd name="connsiteX10975" fmla="*/ 754380 w 4610101"/>
              <a:gd name="connsiteY10975" fmla="*/ 1411215 h 6557032"/>
              <a:gd name="connsiteX10976" fmla="*/ 758025 w 4610101"/>
              <a:gd name="connsiteY10976" fmla="*/ 1405748 h 6557032"/>
              <a:gd name="connsiteX10977" fmla="*/ 676027 w 4610101"/>
              <a:gd name="connsiteY10977" fmla="*/ 1405748 h 6557032"/>
              <a:gd name="connsiteX10978" fmla="*/ 676027 w 4610101"/>
              <a:gd name="connsiteY10978" fmla="*/ 1407571 h 6557032"/>
              <a:gd name="connsiteX10979" fmla="*/ 686960 w 4610101"/>
              <a:gd name="connsiteY10979" fmla="*/ 1407571 h 6557032"/>
              <a:gd name="connsiteX10980" fmla="*/ 676027 w 4610101"/>
              <a:gd name="connsiteY10980" fmla="*/ 1405748 h 6557032"/>
              <a:gd name="connsiteX10981" fmla="*/ 612478 w 4610101"/>
              <a:gd name="connsiteY10981" fmla="*/ 1404381 h 6557032"/>
              <a:gd name="connsiteX10982" fmla="*/ 608606 w 4610101"/>
              <a:gd name="connsiteY10982" fmla="*/ 1405748 h 6557032"/>
              <a:gd name="connsiteX10983" fmla="*/ 617717 w 4610101"/>
              <a:gd name="connsiteY10983" fmla="*/ 1405748 h 6557032"/>
              <a:gd name="connsiteX10984" fmla="*/ 612478 w 4610101"/>
              <a:gd name="connsiteY10984" fmla="*/ 1404381 h 6557032"/>
              <a:gd name="connsiteX10985" fmla="*/ 792646 w 4610101"/>
              <a:gd name="connsiteY10985" fmla="*/ 1403926 h 6557032"/>
              <a:gd name="connsiteX10986" fmla="*/ 793128 w 4610101"/>
              <a:gd name="connsiteY10986" fmla="*/ 1404802 h 6557032"/>
              <a:gd name="connsiteX10987" fmla="*/ 791990 w 4610101"/>
              <a:gd name="connsiteY10987" fmla="*/ 1403999 h 6557032"/>
              <a:gd name="connsiteX10988" fmla="*/ 625006 w 4610101"/>
              <a:gd name="connsiteY10988" fmla="*/ 1403926 h 6557032"/>
              <a:gd name="connsiteX10989" fmla="*/ 630472 w 4610101"/>
              <a:gd name="connsiteY10989" fmla="*/ 1403926 h 6557032"/>
              <a:gd name="connsiteX10990" fmla="*/ 625006 w 4610101"/>
              <a:gd name="connsiteY10990" fmla="*/ 1403926 h 6557032"/>
              <a:gd name="connsiteX10991" fmla="*/ 603140 w 4610101"/>
              <a:gd name="connsiteY10991" fmla="*/ 1403926 h 6557032"/>
              <a:gd name="connsiteX10992" fmla="*/ 606784 w 4610101"/>
              <a:gd name="connsiteY10992" fmla="*/ 1403926 h 6557032"/>
              <a:gd name="connsiteX10993" fmla="*/ 603140 w 4610101"/>
              <a:gd name="connsiteY10993" fmla="*/ 1403926 h 6557032"/>
              <a:gd name="connsiteX10994" fmla="*/ 546653 w 4610101"/>
              <a:gd name="connsiteY10994" fmla="*/ 1403926 h 6557032"/>
              <a:gd name="connsiteX10995" fmla="*/ 547108 w 4610101"/>
              <a:gd name="connsiteY10995" fmla="*/ 1406887 h 6557032"/>
              <a:gd name="connsiteX10996" fmla="*/ 549120 w 4610101"/>
              <a:gd name="connsiteY10996" fmla="*/ 1406169 h 6557032"/>
              <a:gd name="connsiteX10997" fmla="*/ 549159 w 4610101"/>
              <a:gd name="connsiteY10997" fmla="*/ 1406204 h 6557032"/>
              <a:gd name="connsiteX10998" fmla="*/ 550297 w 4610101"/>
              <a:gd name="connsiteY10998" fmla="*/ 1405748 h 6557032"/>
              <a:gd name="connsiteX10999" fmla="*/ 549120 w 4610101"/>
              <a:gd name="connsiteY10999" fmla="*/ 1406169 h 6557032"/>
              <a:gd name="connsiteX11000" fmla="*/ 1176404 w 4610101"/>
              <a:gd name="connsiteY11000" fmla="*/ 1403671 h 6557032"/>
              <a:gd name="connsiteX11001" fmla="*/ 1187067 w 4610101"/>
              <a:gd name="connsiteY11001" fmla="*/ 1417241 h 6557032"/>
              <a:gd name="connsiteX11002" fmla="*/ 1178035 w 4610101"/>
              <a:gd name="connsiteY11002" fmla="*/ 1407343 h 6557032"/>
              <a:gd name="connsiteX11003" fmla="*/ 661449 w 4610101"/>
              <a:gd name="connsiteY11003" fmla="*/ 1402104 h 6557032"/>
              <a:gd name="connsiteX11004" fmla="*/ 657805 w 4610101"/>
              <a:gd name="connsiteY11004" fmla="*/ 1407571 h 6557032"/>
              <a:gd name="connsiteX11005" fmla="*/ 666916 w 4610101"/>
              <a:gd name="connsiteY11005" fmla="*/ 1405748 h 6557032"/>
              <a:gd name="connsiteX11006" fmla="*/ 661449 w 4610101"/>
              <a:gd name="connsiteY11006" fmla="*/ 1402104 h 6557032"/>
              <a:gd name="connsiteX11007" fmla="*/ 535719 w 4610101"/>
              <a:gd name="connsiteY11007" fmla="*/ 1402104 h 6557032"/>
              <a:gd name="connsiteX11008" fmla="*/ 532075 w 4610101"/>
              <a:gd name="connsiteY11008" fmla="*/ 1405748 h 6557032"/>
              <a:gd name="connsiteX11009" fmla="*/ 539364 w 4610101"/>
              <a:gd name="connsiteY11009" fmla="*/ 1409393 h 6557032"/>
              <a:gd name="connsiteX11010" fmla="*/ 535719 w 4610101"/>
              <a:gd name="connsiteY11010" fmla="*/ 1402104 h 6557032"/>
              <a:gd name="connsiteX11011" fmla="*/ 440966 w 4610101"/>
              <a:gd name="connsiteY11011" fmla="*/ 1402104 h 6557032"/>
              <a:gd name="connsiteX11012" fmla="*/ 443848 w 4610101"/>
              <a:gd name="connsiteY11012" fmla="*/ 1408778 h 6557032"/>
              <a:gd name="connsiteX11013" fmla="*/ 443159 w 4610101"/>
              <a:gd name="connsiteY11013" fmla="*/ 1408682 h 6557032"/>
              <a:gd name="connsiteX11014" fmla="*/ 3115918 w 4610101"/>
              <a:gd name="connsiteY11014" fmla="*/ 1400282 h 6557032"/>
              <a:gd name="connsiteX11015" fmla="*/ 3128673 w 4610101"/>
              <a:gd name="connsiteY11015" fmla="*/ 1407571 h 6557032"/>
              <a:gd name="connsiteX11016" fmla="*/ 3115918 w 4610101"/>
              <a:gd name="connsiteY11016" fmla="*/ 1400282 h 6557032"/>
              <a:gd name="connsiteX11017" fmla="*/ 1158903 w 4610101"/>
              <a:gd name="connsiteY11017" fmla="*/ 1400282 h 6557032"/>
              <a:gd name="connsiteX11018" fmla="*/ 1157081 w 4610101"/>
              <a:gd name="connsiteY11018" fmla="*/ 1403926 h 6557032"/>
              <a:gd name="connsiteX11019" fmla="*/ 1160725 w 4610101"/>
              <a:gd name="connsiteY11019" fmla="*/ 1405748 h 6557032"/>
              <a:gd name="connsiteX11020" fmla="*/ 1158903 w 4610101"/>
              <a:gd name="connsiteY11020" fmla="*/ 1400282 h 6557032"/>
              <a:gd name="connsiteX11021" fmla="*/ 787179 w 4610101"/>
              <a:gd name="connsiteY11021" fmla="*/ 1400282 h 6557032"/>
              <a:gd name="connsiteX11022" fmla="*/ 783535 w 4610101"/>
              <a:gd name="connsiteY11022" fmla="*/ 1422148 h 6557032"/>
              <a:gd name="connsiteX11023" fmla="*/ 783535 w 4610101"/>
              <a:gd name="connsiteY11023" fmla="*/ 1413037 h 6557032"/>
              <a:gd name="connsiteX11024" fmla="*/ 789003 w 4610101"/>
              <a:gd name="connsiteY11024" fmla="*/ 1422148 h 6557032"/>
              <a:gd name="connsiteX11025" fmla="*/ 797658 w 4610101"/>
              <a:gd name="connsiteY11025" fmla="*/ 1413037 h 6557032"/>
              <a:gd name="connsiteX11026" fmla="*/ 793128 w 4610101"/>
              <a:gd name="connsiteY11026" fmla="*/ 1404802 h 6557032"/>
              <a:gd name="connsiteX11027" fmla="*/ 794468 w 4610101"/>
              <a:gd name="connsiteY11027" fmla="*/ 1405748 h 6557032"/>
              <a:gd name="connsiteX11028" fmla="*/ 790824 w 4610101"/>
              <a:gd name="connsiteY11028" fmla="*/ 1400282 h 6557032"/>
              <a:gd name="connsiteX11029" fmla="*/ 790596 w 4610101"/>
              <a:gd name="connsiteY11029" fmla="*/ 1403015 h 6557032"/>
              <a:gd name="connsiteX11030" fmla="*/ 791990 w 4610101"/>
              <a:gd name="connsiteY11030" fmla="*/ 1403999 h 6557032"/>
              <a:gd name="connsiteX11031" fmla="*/ 790596 w 4610101"/>
              <a:gd name="connsiteY11031" fmla="*/ 1404154 h 6557032"/>
              <a:gd name="connsiteX11032" fmla="*/ 787179 w 4610101"/>
              <a:gd name="connsiteY11032" fmla="*/ 1400282 h 6557032"/>
              <a:gd name="connsiteX11033" fmla="*/ 735020 w 4610101"/>
              <a:gd name="connsiteY11033" fmla="*/ 1398915 h 6557032"/>
              <a:gd name="connsiteX11034" fmla="*/ 730692 w 4610101"/>
              <a:gd name="connsiteY11034" fmla="*/ 1405748 h 6557032"/>
              <a:gd name="connsiteX11035" fmla="*/ 743447 w 4610101"/>
              <a:gd name="connsiteY11035" fmla="*/ 1400282 h 6557032"/>
              <a:gd name="connsiteX11036" fmla="*/ 735020 w 4610101"/>
              <a:gd name="connsiteY11036" fmla="*/ 1398915 h 6557032"/>
              <a:gd name="connsiteX11037" fmla="*/ 3493108 w 4610101"/>
              <a:gd name="connsiteY11037" fmla="*/ 1398460 h 6557032"/>
              <a:gd name="connsiteX11038" fmla="*/ 3493480 w 4610101"/>
              <a:gd name="connsiteY11038" fmla="*/ 1398609 h 6557032"/>
              <a:gd name="connsiteX11039" fmla="*/ 3493108 w 4610101"/>
              <a:gd name="connsiteY11039" fmla="*/ 1400282 h 6557032"/>
              <a:gd name="connsiteX11040" fmla="*/ 3492844 w 4610101"/>
              <a:gd name="connsiteY11040" fmla="*/ 1399583 h 6557032"/>
              <a:gd name="connsiteX11041" fmla="*/ 3465775 w 4610101"/>
              <a:gd name="connsiteY11041" fmla="*/ 1398460 h 6557032"/>
              <a:gd name="connsiteX11042" fmla="*/ 3471242 w 4610101"/>
              <a:gd name="connsiteY11042" fmla="*/ 1411215 h 6557032"/>
              <a:gd name="connsiteX11043" fmla="*/ 3471242 w 4610101"/>
              <a:gd name="connsiteY11043" fmla="*/ 1400282 h 6557032"/>
              <a:gd name="connsiteX11044" fmla="*/ 3465775 w 4610101"/>
              <a:gd name="connsiteY11044" fmla="*/ 1398460 h 6557032"/>
              <a:gd name="connsiteX11045" fmla="*/ 1641780 w 4610101"/>
              <a:gd name="connsiteY11045" fmla="*/ 1398460 h 6557032"/>
              <a:gd name="connsiteX11046" fmla="*/ 1627202 w 4610101"/>
              <a:gd name="connsiteY11046" fmla="*/ 1413037 h 6557032"/>
              <a:gd name="connsiteX11047" fmla="*/ 1643602 w 4610101"/>
              <a:gd name="connsiteY11047" fmla="*/ 1422148 h 6557032"/>
              <a:gd name="connsiteX11048" fmla="*/ 1649068 w 4610101"/>
              <a:gd name="connsiteY11048" fmla="*/ 1409393 h 6557032"/>
              <a:gd name="connsiteX11049" fmla="*/ 1096949 w 4610101"/>
              <a:gd name="connsiteY11049" fmla="*/ 1398460 h 6557032"/>
              <a:gd name="connsiteX11050" fmla="*/ 1096949 w 4610101"/>
              <a:gd name="connsiteY11050" fmla="*/ 1411215 h 6557032"/>
              <a:gd name="connsiteX11051" fmla="*/ 1116993 w 4610101"/>
              <a:gd name="connsiteY11051" fmla="*/ 1416681 h 6557032"/>
              <a:gd name="connsiteX11052" fmla="*/ 1096949 w 4610101"/>
              <a:gd name="connsiteY11052" fmla="*/ 1398460 h 6557032"/>
              <a:gd name="connsiteX11053" fmla="*/ 794468 w 4610101"/>
              <a:gd name="connsiteY11053" fmla="*/ 1398460 h 6557032"/>
              <a:gd name="connsiteX11054" fmla="*/ 799935 w 4610101"/>
              <a:gd name="connsiteY11054" fmla="*/ 1409393 h 6557032"/>
              <a:gd name="connsiteX11055" fmla="*/ 805401 w 4610101"/>
              <a:gd name="connsiteY11055" fmla="*/ 1402104 h 6557032"/>
              <a:gd name="connsiteX11056" fmla="*/ 794468 w 4610101"/>
              <a:gd name="connsiteY11056" fmla="*/ 1398460 h 6557032"/>
              <a:gd name="connsiteX11057" fmla="*/ 659627 w 4610101"/>
              <a:gd name="connsiteY11057" fmla="*/ 1398460 h 6557032"/>
              <a:gd name="connsiteX11058" fmla="*/ 655983 w 4610101"/>
              <a:gd name="connsiteY11058" fmla="*/ 1402104 h 6557032"/>
              <a:gd name="connsiteX11059" fmla="*/ 659627 w 4610101"/>
              <a:gd name="connsiteY11059" fmla="*/ 1398460 h 6557032"/>
              <a:gd name="connsiteX11060" fmla="*/ 612251 w 4610101"/>
              <a:gd name="connsiteY11060" fmla="*/ 1398460 h 6557032"/>
              <a:gd name="connsiteX11061" fmla="*/ 610429 w 4610101"/>
              <a:gd name="connsiteY11061" fmla="*/ 1402104 h 6557032"/>
              <a:gd name="connsiteX11062" fmla="*/ 615895 w 4610101"/>
              <a:gd name="connsiteY11062" fmla="*/ 1403926 h 6557032"/>
              <a:gd name="connsiteX11063" fmla="*/ 612251 w 4610101"/>
              <a:gd name="connsiteY11063" fmla="*/ 1398460 h 6557032"/>
              <a:gd name="connsiteX11064" fmla="*/ 1164371 w 4610101"/>
              <a:gd name="connsiteY11064" fmla="*/ 1398459 h 6557032"/>
              <a:gd name="connsiteX11065" fmla="*/ 1164370 w 4610101"/>
              <a:gd name="connsiteY11065" fmla="*/ 1398460 h 6557032"/>
              <a:gd name="connsiteX11066" fmla="*/ 1164370 w 4610101"/>
              <a:gd name="connsiteY11066" fmla="*/ 1398460 h 6557032"/>
              <a:gd name="connsiteX11067" fmla="*/ 3409288 w 4610101"/>
              <a:gd name="connsiteY11067" fmla="*/ 1396638 h 6557032"/>
              <a:gd name="connsiteX11068" fmla="*/ 3387422 w 4610101"/>
              <a:gd name="connsiteY11068" fmla="*/ 1407571 h 6557032"/>
              <a:gd name="connsiteX11069" fmla="*/ 3409288 w 4610101"/>
              <a:gd name="connsiteY11069" fmla="*/ 1403926 h 6557032"/>
              <a:gd name="connsiteX11070" fmla="*/ 3409288 w 4610101"/>
              <a:gd name="connsiteY11070" fmla="*/ 1396638 h 6557032"/>
              <a:gd name="connsiteX11071" fmla="*/ 1158903 w 4610101"/>
              <a:gd name="connsiteY11071" fmla="*/ 1396638 h 6557032"/>
              <a:gd name="connsiteX11072" fmla="*/ 1157081 w 4610101"/>
              <a:gd name="connsiteY11072" fmla="*/ 1398460 h 6557032"/>
              <a:gd name="connsiteX11073" fmla="*/ 1158903 w 4610101"/>
              <a:gd name="connsiteY11073" fmla="*/ 1396638 h 6557032"/>
              <a:gd name="connsiteX11074" fmla="*/ 754380 w 4610101"/>
              <a:gd name="connsiteY11074" fmla="*/ 1396638 h 6557032"/>
              <a:gd name="connsiteX11075" fmla="*/ 752558 w 4610101"/>
              <a:gd name="connsiteY11075" fmla="*/ 1402104 h 6557032"/>
              <a:gd name="connsiteX11076" fmla="*/ 754380 w 4610101"/>
              <a:gd name="connsiteY11076" fmla="*/ 1396638 h 6557032"/>
              <a:gd name="connsiteX11077" fmla="*/ 679671 w 4610101"/>
              <a:gd name="connsiteY11077" fmla="*/ 1396638 h 6557032"/>
              <a:gd name="connsiteX11078" fmla="*/ 677849 w 4610101"/>
              <a:gd name="connsiteY11078" fmla="*/ 1402104 h 6557032"/>
              <a:gd name="connsiteX11079" fmla="*/ 685138 w 4610101"/>
              <a:gd name="connsiteY11079" fmla="*/ 1403926 h 6557032"/>
              <a:gd name="connsiteX11080" fmla="*/ 679671 w 4610101"/>
              <a:gd name="connsiteY11080" fmla="*/ 1396638 h 6557032"/>
              <a:gd name="connsiteX11081" fmla="*/ 495375 w 4610101"/>
              <a:gd name="connsiteY11081" fmla="*/ 1396570 h 6557032"/>
              <a:gd name="connsiteX11082" fmla="*/ 495632 w 4610101"/>
              <a:gd name="connsiteY11082" fmla="*/ 1396638 h 6557032"/>
              <a:gd name="connsiteX11083" fmla="*/ 490165 w 4610101"/>
              <a:gd name="connsiteY11083" fmla="*/ 1400282 h 6557032"/>
              <a:gd name="connsiteX11084" fmla="*/ 490450 w 4610101"/>
              <a:gd name="connsiteY11084" fmla="*/ 1399648 h 6557032"/>
              <a:gd name="connsiteX11085" fmla="*/ 3197916 w 4610101"/>
              <a:gd name="connsiteY11085" fmla="*/ 1394815 h 6557032"/>
              <a:gd name="connsiteX11086" fmla="*/ 3203382 w 4610101"/>
              <a:gd name="connsiteY11086" fmla="*/ 1394815 h 6557032"/>
              <a:gd name="connsiteX11087" fmla="*/ 3197916 w 4610101"/>
              <a:gd name="connsiteY11087" fmla="*/ 1394815 h 6557032"/>
              <a:gd name="connsiteX11088" fmla="*/ 3015698 w 4610101"/>
              <a:gd name="connsiteY11088" fmla="*/ 1394815 h 6557032"/>
              <a:gd name="connsiteX11089" fmla="*/ 3010232 w 4610101"/>
              <a:gd name="connsiteY11089" fmla="*/ 1407571 h 6557032"/>
              <a:gd name="connsiteX11090" fmla="*/ 3022987 w 4610101"/>
              <a:gd name="connsiteY11090" fmla="*/ 1400282 h 6557032"/>
              <a:gd name="connsiteX11091" fmla="*/ 3015698 w 4610101"/>
              <a:gd name="connsiteY11091" fmla="*/ 1394815 h 6557032"/>
              <a:gd name="connsiteX11092" fmla="*/ 1166192 w 4610101"/>
              <a:gd name="connsiteY11092" fmla="*/ 1394815 h 6557032"/>
              <a:gd name="connsiteX11093" fmla="*/ 1166192 w 4610101"/>
              <a:gd name="connsiteY11093" fmla="*/ 1396638 h 6557032"/>
              <a:gd name="connsiteX11094" fmla="*/ 1164371 w 4610101"/>
              <a:gd name="connsiteY11094" fmla="*/ 1398459 h 6557032"/>
              <a:gd name="connsiteX11095" fmla="*/ 1142503 w 4610101"/>
              <a:gd name="connsiteY11095" fmla="*/ 1394815 h 6557032"/>
              <a:gd name="connsiteX11096" fmla="*/ 1142503 w 4610101"/>
              <a:gd name="connsiteY11096" fmla="*/ 1400282 h 6557032"/>
              <a:gd name="connsiteX11097" fmla="*/ 1147970 w 4610101"/>
              <a:gd name="connsiteY11097" fmla="*/ 1400282 h 6557032"/>
              <a:gd name="connsiteX11098" fmla="*/ 1142503 w 4610101"/>
              <a:gd name="connsiteY11098" fmla="*/ 1394815 h 6557032"/>
              <a:gd name="connsiteX11099" fmla="*/ 1096949 w 4610101"/>
              <a:gd name="connsiteY11099" fmla="*/ 1392993 h 6557032"/>
              <a:gd name="connsiteX11100" fmla="*/ 1120637 w 4610101"/>
              <a:gd name="connsiteY11100" fmla="*/ 1414859 h 6557032"/>
              <a:gd name="connsiteX11101" fmla="*/ 1129748 w 4610101"/>
              <a:gd name="connsiteY11101" fmla="*/ 1409393 h 6557032"/>
              <a:gd name="connsiteX11102" fmla="*/ 1122459 w 4610101"/>
              <a:gd name="connsiteY11102" fmla="*/ 1402104 h 6557032"/>
              <a:gd name="connsiteX11103" fmla="*/ 1116993 w 4610101"/>
              <a:gd name="connsiteY11103" fmla="*/ 1403926 h 6557032"/>
              <a:gd name="connsiteX11104" fmla="*/ 1120637 w 4610101"/>
              <a:gd name="connsiteY11104" fmla="*/ 1400282 h 6557032"/>
              <a:gd name="connsiteX11105" fmla="*/ 1116993 w 4610101"/>
              <a:gd name="connsiteY11105" fmla="*/ 1400282 h 6557032"/>
              <a:gd name="connsiteX11106" fmla="*/ 1120637 w 4610101"/>
              <a:gd name="connsiteY11106" fmla="*/ 1398460 h 6557032"/>
              <a:gd name="connsiteX11107" fmla="*/ 1096949 w 4610101"/>
              <a:gd name="connsiteY11107" fmla="*/ 1392993 h 6557032"/>
              <a:gd name="connsiteX11108" fmla="*/ 841845 w 4610101"/>
              <a:gd name="connsiteY11108" fmla="*/ 1392993 h 6557032"/>
              <a:gd name="connsiteX11109" fmla="*/ 845489 w 4610101"/>
              <a:gd name="connsiteY11109" fmla="*/ 1403926 h 6557032"/>
              <a:gd name="connsiteX11110" fmla="*/ 856422 w 4610101"/>
              <a:gd name="connsiteY11110" fmla="*/ 1398460 h 6557032"/>
              <a:gd name="connsiteX11111" fmla="*/ 841845 w 4610101"/>
              <a:gd name="connsiteY11111" fmla="*/ 1392993 h 6557032"/>
              <a:gd name="connsiteX11112" fmla="*/ 834556 w 4610101"/>
              <a:gd name="connsiteY11112" fmla="*/ 1392993 h 6557032"/>
              <a:gd name="connsiteX11113" fmla="*/ 832899 w 4610101"/>
              <a:gd name="connsiteY11113" fmla="*/ 1396721 h 6557032"/>
              <a:gd name="connsiteX11114" fmla="*/ 832734 w 4610101"/>
              <a:gd name="connsiteY11114" fmla="*/ 1396638 h 6557032"/>
              <a:gd name="connsiteX11115" fmla="*/ 832890 w 4610101"/>
              <a:gd name="connsiteY11115" fmla="*/ 1396742 h 6557032"/>
              <a:gd name="connsiteX11116" fmla="*/ 830912 w 4610101"/>
              <a:gd name="connsiteY11116" fmla="*/ 1401193 h 6557032"/>
              <a:gd name="connsiteX11117" fmla="*/ 821801 w 4610101"/>
              <a:gd name="connsiteY11117" fmla="*/ 1403926 h 6557032"/>
              <a:gd name="connsiteX11118" fmla="*/ 838200 w 4610101"/>
              <a:gd name="connsiteY11118" fmla="*/ 1400282 h 6557032"/>
              <a:gd name="connsiteX11119" fmla="*/ 832890 w 4610101"/>
              <a:gd name="connsiteY11119" fmla="*/ 1396742 h 6557032"/>
              <a:gd name="connsiteX11120" fmla="*/ 832899 w 4610101"/>
              <a:gd name="connsiteY11120" fmla="*/ 1396721 h 6557032"/>
              <a:gd name="connsiteX11121" fmla="*/ 836378 w 4610101"/>
              <a:gd name="connsiteY11121" fmla="*/ 1398460 h 6557032"/>
              <a:gd name="connsiteX11122" fmla="*/ 834556 w 4610101"/>
              <a:gd name="connsiteY11122" fmla="*/ 1392993 h 6557032"/>
              <a:gd name="connsiteX11123" fmla="*/ 557586 w 4610101"/>
              <a:gd name="connsiteY11123" fmla="*/ 1392993 h 6557032"/>
              <a:gd name="connsiteX11124" fmla="*/ 564874 w 4610101"/>
              <a:gd name="connsiteY11124" fmla="*/ 1407571 h 6557032"/>
              <a:gd name="connsiteX11125" fmla="*/ 557586 w 4610101"/>
              <a:gd name="connsiteY11125" fmla="*/ 1392993 h 6557032"/>
              <a:gd name="connsiteX11126" fmla="*/ 528658 w 4610101"/>
              <a:gd name="connsiteY11126" fmla="*/ 1392993 h 6557032"/>
              <a:gd name="connsiteX11127" fmla="*/ 524786 w 4610101"/>
              <a:gd name="connsiteY11127" fmla="*/ 1402104 h 6557032"/>
              <a:gd name="connsiteX11128" fmla="*/ 530253 w 4610101"/>
              <a:gd name="connsiteY11128" fmla="*/ 1405748 h 6557032"/>
              <a:gd name="connsiteX11129" fmla="*/ 533897 w 4610101"/>
              <a:gd name="connsiteY11129" fmla="*/ 1400282 h 6557032"/>
              <a:gd name="connsiteX11130" fmla="*/ 528658 w 4610101"/>
              <a:gd name="connsiteY11130" fmla="*/ 1392993 h 6557032"/>
              <a:gd name="connsiteX11131" fmla="*/ 501098 w 4610101"/>
              <a:gd name="connsiteY11131" fmla="*/ 1392993 h 6557032"/>
              <a:gd name="connsiteX11132" fmla="*/ 495375 w 4610101"/>
              <a:gd name="connsiteY11132" fmla="*/ 1396570 h 6557032"/>
              <a:gd name="connsiteX11133" fmla="*/ 492215 w 4610101"/>
              <a:gd name="connsiteY11133" fmla="*/ 1395727 h 6557032"/>
              <a:gd name="connsiteX11134" fmla="*/ 490450 w 4610101"/>
              <a:gd name="connsiteY11134" fmla="*/ 1399648 h 6557032"/>
              <a:gd name="connsiteX11135" fmla="*/ 486521 w 4610101"/>
              <a:gd name="connsiteY11135" fmla="*/ 1402104 h 6557032"/>
              <a:gd name="connsiteX11136" fmla="*/ 484700 w 4610101"/>
              <a:gd name="connsiteY11136" fmla="*/ 1409393 h 6557032"/>
              <a:gd name="connsiteX11137" fmla="*/ 501098 w 4610101"/>
              <a:gd name="connsiteY11137" fmla="*/ 1392993 h 6557032"/>
              <a:gd name="connsiteX11138" fmla="*/ 3249421 w 4610101"/>
              <a:gd name="connsiteY11138" fmla="*/ 1392481 h 6557032"/>
              <a:gd name="connsiteX11139" fmla="*/ 3241648 w 4610101"/>
              <a:gd name="connsiteY11139" fmla="*/ 1396638 h 6557032"/>
              <a:gd name="connsiteX11140" fmla="*/ 3247114 w 4610101"/>
              <a:gd name="connsiteY11140" fmla="*/ 1396638 h 6557032"/>
              <a:gd name="connsiteX11141" fmla="*/ 3236181 w 4610101"/>
              <a:gd name="connsiteY11141" fmla="*/ 1402104 h 6557032"/>
              <a:gd name="connsiteX11142" fmla="*/ 3232537 w 4610101"/>
              <a:gd name="connsiteY11142" fmla="*/ 1396638 h 6557032"/>
              <a:gd name="connsiteX11143" fmla="*/ 3216137 w 4610101"/>
              <a:gd name="connsiteY11143" fmla="*/ 1402104 h 6557032"/>
              <a:gd name="connsiteX11144" fmla="*/ 3236181 w 4610101"/>
              <a:gd name="connsiteY11144" fmla="*/ 1420326 h 6557032"/>
              <a:gd name="connsiteX11145" fmla="*/ 3241648 w 4610101"/>
              <a:gd name="connsiteY11145" fmla="*/ 1416681 h 6557032"/>
              <a:gd name="connsiteX11146" fmla="*/ 3247114 w 4610101"/>
              <a:gd name="connsiteY11146" fmla="*/ 1422148 h 6557032"/>
              <a:gd name="connsiteX11147" fmla="*/ 3247114 w 4610101"/>
              <a:gd name="connsiteY11147" fmla="*/ 1414859 h 6557032"/>
              <a:gd name="connsiteX11148" fmla="*/ 3252581 w 4610101"/>
              <a:gd name="connsiteY11148" fmla="*/ 1418504 h 6557032"/>
              <a:gd name="connsiteX11149" fmla="*/ 3272625 w 4610101"/>
              <a:gd name="connsiteY11149" fmla="*/ 1436725 h 6557032"/>
              <a:gd name="connsiteX11150" fmla="*/ 3263514 w 4610101"/>
              <a:gd name="connsiteY11150" fmla="*/ 1409393 h 6557032"/>
              <a:gd name="connsiteX11151" fmla="*/ 3249421 w 4610101"/>
              <a:gd name="connsiteY11151" fmla="*/ 1392481 h 6557032"/>
              <a:gd name="connsiteX11152" fmla="*/ 1506938 w 4610101"/>
              <a:gd name="connsiteY11152" fmla="*/ 1391171 h 6557032"/>
              <a:gd name="connsiteX11153" fmla="*/ 1545204 w 4610101"/>
              <a:gd name="connsiteY11153" fmla="*/ 1414859 h 6557032"/>
              <a:gd name="connsiteX11154" fmla="*/ 1545204 w 4610101"/>
              <a:gd name="connsiteY11154" fmla="*/ 1391171 h 6557032"/>
              <a:gd name="connsiteX11155" fmla="*/ 1530626 w 4610101"/>
              <a:gd name="connsiteY11155" fmla="*/ 1394815 h 6557032"/>
              <a:gd name="connsiteX11156" fmla="*/ 685138 w 4610101"/>
              <a:gd name="connsiteY11156" fmla="*/ 1391171 h 6557032"/>
              <a:gd name="connsiteX11157" fmla="*/ 683316 w 4610101"/>
              <a:gd name="connsiteY11157" fmla="*/ 1394815 h 6557032"/>
              <a:gd name="connsiteX11158" fmla="*/ 686960 w 4610101"/>
              <a:gd name="connsiteY11158" fmla="*/ 1398460 h 6557032"/>
              <a:gd name="connsiteX11159" fmla="*/ 685138 w 4610101"/>
              <a:gd name="connsiteY11159" fmla="*/ 1391171 h 6557032"/>
              <a:gd name="connsiteX11160" fmla="*/ 672383 w 4610101"/>
              <a:gd name="connsiteY11160" fmla="*/ 1391171 h 6557032"/>
              <a:gd name="connsiteX11161" fmla="*/ 663272 w 4610101"/>
              <a:gd name="connsiteY11161" fmla="*/ 1398460 h 6557032"/>
              <a:gd name="connsiteX11162" fmla="*/ 672383 w 4610101"/>
              <a:gd name="connsiteY11162" fmla="*/ 1391171 h 6557032"/>
              <a:gd name="connsiteX11163" fmla="*/ 614074 w 4610101"/>
              <a:gd name="connsiteY11163" fmla="*/ 1391171 h 6557032"/>
              <a:gd name="connsiteX11164" fmla="*/ 630472 w 4610101"/>
              <a:gd name="connsiteY11164" fmla="*/ 1402104 h 6557032"/>
              <a:gd name="connsiteX11165" fmla="*/ 619539 w 4610101"/>
              <a:gd name="connsiteY11165" fmla="*/ 1394815 h 6557032"/>
              <a:gd name="connsiteX11166" fmla="*/ 619539 w 4610101"/>
              <a:gd name="connsiteY11166" fmla="*/ 1398460 h 6557032"/>
              <a:gd name="connsiteX11167" fmla="*/ 614074 w 4610101"/>
              <a:gd name="connsiteY11167" fmla="*/ 1391171 h 6557032"/>
              <a:gd name="connsiteX11168" fmla="*/ 3504998 w 4610101"/>
              <a:gd name="connsiteY11168" fmla="*/ 1390015 h 6557032"/>
              <a:gd name="connsiteX11169" fmla="*/ 3504041 w 4610101"/>
              <a:gd name="connsiteY11169" fmla="*/ 1392993 h 6557032"/>
              <a:gd name="connsiteX11170" fmla="*/ 3503807 w 4610101"/>
              <a:gd name="connsiteY11170" fmla="*/ 1391667 h 6557032"/>
              <a:gd name="connsiteX11171" fmla="*/ 3503814 w 4610101"/>
              <a:gd name="connsiteY11171" fmla="*/ 1391627 h 6557032"/>
              <a:gd name="connsiteX11172" fmla="*/ 1142908 w 4610101"/>
              <a:gd name="connsiteY11172" fmla="*/ 1389552 h 6557032"/>
              <a:gd name="connsiteX11173" fmla="*/ 1142503 w 4610101"/>
              <a:gd name="connsiteY11173" fmla="*/ 1391171 h 6557032"/>
              <a:gd name="connsiteX11174" fmla="*/ 1142731 w 4610101"/>
              <a:gd name="connsiteY11174" fmla="*/ 1389577 h 6557032"/>
              <a:gd name="connsiteX11175" fmla="*/ 606777 w 4610101"/>
              <a:gd name="connsiteY11175" fmla="*/ 1389515 h 6557032"/>
              <a:gd name="connsiteX11176" fmla="*/ 606556 w 4610101"/>
              <a:gd name="connsiteY11176" fmla="*/ 1394815 h 6557032"/>
              <a:gd name="connsiteX11177" fmla="*/ 604963 w 4610101"/>
              <a:gd name="connsiteY11177" fmla="*/ 1400282 h 6557032"/>
              <a:gd name="connsiteX11178" fmla="*/ 604963 w 4610101"/>
              <a:gd name="connsiteY11178" fmla="*/ 1391488 h 6557032"/>
              <a:gd name="connsiteX11179" fmla="*/ 1155259 w 4610101"/>
              <a:gd name="connsiteY11179" fmla="*/ 1389349 h 6557032"/>
              <a:gd name="connsiteX11180" fmla="*/ 1149792 w 4610101"/>
              <a:gd name="connsiteY11180" fmla="*/ 1396638 h 6557032"/>
              <a:gd name="connsiteX11181" fmla="*/ 1155259 w 4610101"/>
              <a:gd name="connsiteY11181" fmla="*/ 1402104 h 6557032"/>
              <a:gd name="connsiteX11182" fmla="*/ 1151614 w 4610101"/>
              <a:gd name="connsiteY11182" fmla="*/ 1400282 h 6557032"/>
              <a:gd name="connsiteX11183" fmla="*/ 1149792 w 4610101"/>
              <a:gd name="connsiteY11183" fmla="*/ 1407571 h 6557032"/>
              <a:gd name="connsiteX11184" fmla="*/ 1155259 w 4610101"/>
              <a:gd name="connsiteY11184" fmla="*/ 1402104 h 6557032"/>
              <a:gd name="connsiteX11185" fmla="*/ 1155259 w 4610101"/>
              <a:gd name="connsiteY11185" fmla="*/ 1389349 h 6557032"/>
              <a:gd name="connsiteX11186" fmla="*/ 1080549 w 4610101"/>
              <a:gd name="connsiteY11186" fmla="*/ 1389349 h 6557032"/>
              <a:gd name="connsiteX11187" fmla="*/ 1084194 w 4610101"/>
              <a:gd name="connsiteY11187" fmla="*/ 1391171 h 6557032"/>
              <a:gd name="connsiteX11188" fmla="*/ 1080549 w 4610101"/>
              <a:gd name="connsiteY11188" fmla="*/ 1389349 h 6557032"/>
              <a:gd name="connsiteX11189" fmla="*/ 923843 w 4610101"/>
              <a:gd name="connsiteY11189" fmla="*/ 1389349 h 6557032"/>
              <a:gd name="connsiteX11190" fmla="*/ 927487 w 4610101"/>
              <a:gd name="connsiteY11190" fmla="*/ 1389349 h 6557032"/>
              <a:gd name="connsiteX11191" fmla="*/ 909720 w 4610101"/>
              <a:gd name="connsiteY11191" fmla="*/ 1393449 h 6557032"/>
              <a:gd name="connsiteX11192" fmla="*/ 908630 w 4610101"/>
              <a:gd name="connsiteY11192" fmla="*/ 1393152 h 6557032"/>
              <a:gd name="connsiteX11193" fmla="*/ 912909 w 4610101"/>
              <a:gd name="connsiteY11193" fmla="*/ 1392082 h 6557032"/>
              <a:gd name="connsiteX11194" fmla="*/ 923843 w 4610101"/>
              <a:gd name="connsiteY11194" fmla="*/ 1389349 h 6557032"/>
              <a:gd name="connsiteX11195" fmla="*/ 838200 w 4610101"/>
              <a:gd name="connsiteY11195" fmla="*/ 1389349 h 6557032"/>
              <a:gd name="connsiteX11196" fmla="*/ 847311 w 4610101"/>
              <a:gd name="connsiteY11196" fmla="*/ 1391171 h 6557032"/>
              <a:gd name="connsiteX11197" fmla="*/ 838200 w 4610101"/>
              <a:gd name="connsiteY11197" fmla="*/ 1389349 h 6557032"/>
              <a:gd name="connsiteX11198" fmla="*/ 639583 w 4610101"/>
              <a:gd name="connsiteY11198" fmla="*/ 1389349 h 6557032"/>
              <a:gd name="connsiteX11199" fmla="*/ 632296 w 4610101"/>
              <a:gd name="connsiteY11199" fmla="*/ 1392993 h 6557032"/>
              <a:gd name="connsiteX11200" fmla="*/ 639583 w 4610101"/>
              <a:gd name="connsiteY11200" fmla="*/ 1389349 h 6557032"/>
              <a:gd name="connsiteX11201" fmla="*/ 617717 w 4610101"/>
              <a:gd name="connsiteY11201" fmla="*/ 1389349 h 6557032"/>
              <a:gd name="connsiteX11202" fmla="*/ 632296 w 4610101"/>
              <a:gd name="connsiteY11202" fmla="*/ 1398460 h 6557032"/>
              <a:gd name="connsiteX11203" fmla="*/ 617717 w 4610101"/>
              <a:gd name="connsiteY11203" fmla="*/ 1389349 h 6557032"/>
              <a:gd name="connsiteX11204" fmla="*/ 1071439 w 4610101"/>
              <a:gd name="connsiteY11204" fmla="*/ 1387527 h 6557032"/>
              <a:gd name="connsiteX11205" fmla="*/ 1093305 w 4610101"/>
              <a:gd name="connsiteY11205" fmla="*/ 1409393 h 6557032"/>
              <a:gd name="connsiteX11206" fmla="*/ 1093305 w 4610101"/>
              <a:gd name="connsiteY11206" fmla="*/ 1394815 h 6557032"/>
              <a:gd name="connsiteX11207" fmla="*/ 1084194 w 4610101"/>
              <a:gd name="connsiteY11207" fmla="*/ 1389349 h 6557032"/>
              <a:gd name="connsiteX11208" fmla="*/ 1086016 w 4610101"/>
              <a:gd name="connsiteY11208" fmla="*/ 1392993 h 6557032"/>
              <a:gd name="connsiteX11209" fmla="*/ 1071439 w 4610101"/>
              <a:gd name="connsiteY11209" fmla="*/ 1387527 h 6557032"/>
              <a:gd name="connsiteX11210" fmla="*/ 1067794 w 4610101"/>
              <a:gd name="connsiteY11210" fmla="*/ 1387527 h 6557032"/>
              <a:gd name="connsiteX11211" fmla="*/ 1073262 w 4610101"/>
              <a:gd name="connsiteY11211" fmla="*/ 1394815 h 6557032"/>
              <a:gd name="connsiteX11212" fmla="*/ 1067794 w 4610101"/>
              <a:gd name="connsiteY11212" fmla="*/ 1387527 h 6557032"/>
              <a:gd name="connsiteX11213" fmla="*/ 608606 w 4610101"/>
              <a:gd name="connsiteY11213" fmla="*/ 1387527 h 6557032"/>
              <a:gd name="connsiteX11214" fmla="*/ 606777 w 4610101"/>
              <a:gd name="connsiteY11214" fmla="*/ 1389515 h 6557032"/>
              <a:gd name="connsiteX11215" fmla="*/ 606784 w 4610101"/>
              <a:gd name="connsiteY11215" fmla="*/ 1389349 h 6557032"/>
              <a:gd name="connsiteX11216" fmla="*/ 604963 w 4610101"/>
              <a:gd name="connsiteY11216" fmla="*/ 1389349 h 6557032"/>
              <a:gd name="connsiteX11217" fmla="*/ 604963 w 4610101"/>
              <a:gd name="connsiteY11217" fmla="*/ 1391488 h 6557032"/>
              <a:gd name="connsiteX11218" fmla="*/ 603369 w 4610101"/>
              <a:gd name="connsiteY11218" fmla="*/ 1393221 h 6557032"/>
              <a:gd name="connsiteX11219" fmla="*/ 604963 w 4610101"/>
              <a:gd name="connsiteY11219" fmla="*/ 1400282 h 6557032"/>
              <a:gd name="connsiteX11220" fmla="*/ 608606 w 4610101"/>
              <a:gd name="connsiteY11220" fmla="*/ 1387527 h 6557032"/>
              <a:gd name="connsiteX11221" fmla="*/ 501098 w 4610101"/>
              <a:gd name="connsiteY11221" fmla="*/ 1387527 h 6557032"/>
              <a:gd name="connsiteX11222" fmla="*/ 495632 w 4610101"/>
              <a:gd name="connsiteY11222" fmla="*/ 1391171 h 6557032"/>
              <a:gd name="connsiteX11223" fmla="*/ 501098 w 4610101"/>
              <a:gd name="connsiteY11223" fmla="*/ 1387527 h 6557032"/>
              <a:gd name="connsiteX11224" fmla="*/ 3357584 w 4610101"/>
              <a:gd name="connsiteY11224" fmla="*/ 1386160 h 6557032"/>
              <a:gd name="connsiteX11225" fmla="*/ 3352800 w 4610101"/>
              <a:gd name="connsiteY11225" fmla="*/ 1387527 h 6557032"/>
              <a:gd name="connsiteX11226" fmla="*/ 3349156 w 4610101"/>
              <a:gd name="connsiteY11226" fmla="*/ 1411215 h 6557032"/>
              <a:gd name="connsiteX11227" fmla="*/ 3341867 w 4610101"/>
              <a:gd name="connsiteY11227" fmla="*/ 1409393 h 6557032"/>
              <a:gd name="connsiteX11228" fmla="*/ 3340045 w 4610101"/>
              <a:gd name="connsiteY11228" fmla="*/ 1418504 h 6557032"/>
              <a:gd name="connsiteX11229" fmla="*/ 3350978 w 4610101"/>
              <a:gd name="connsiteY11229" fmla="*/ 1427615 h 6557032"/>
              <a:gd name="connsiteX11230" fmla="*/ 3358267 w 4610101"/>
              <a:gd name="connsiteY11230" fmla="*/ 1418504 h 6557032"/>
              <a:gd name="connsiteX11231" fmla="*/ 3361911 w 4610101"/>
              <a:gd name="connsiteY11231" fmla="*/ 1422148 h 6557032"/>
              <a:gd name="connsiteX11232" fmla="*/ 3361911 w 4610101"/>
              <a:gd name="connsiteY11232" fmla="*/ 1411215 h 6557032"/>
              <a:gd name="connsiteX11233" fmla="*/ 3369200 w 4610101"/>
              <a:gd name="connsiteY11233" fmla="*/ 1414859 h 6557032"/>
              <a:gd name="connsiteX11234" fmla="*/ 3363734 w 4610101"/>
              <a:gd name="connsiteY11234" fmla="*/ 1387527 h 6557032"/>
              <a:gd name="connsiteX11235" fmla="*/ 3357584 w 4610101"/>
              <a:gd name="connsiteY11235" fmla="*/ 1386160 h 6557032"/>
              <a:gd name="connsiteX11236" fmla="*/ 3398355 w 4610101"/>
              <a:gd name="connsiteY11236" fmla="*/ 1385705 h 6557032"/>
              <a:gd name="connsiteX11237" fmla="*/ 3391066 w 4610101"/>
              <a:gd name="connsiteY11237" fmla="*/ 1398460 h 6557032"/>
              <a:gd name="connsiteX11238" fmla="*/ 3403821 w 4610101"/>
              <a:gd name="connsiteY11238" fmla="*/ 1391171 h 6557032"/>
              <a:gd name="connsiteX11239" fmla="*/ 3398355 w 4610101"/>
              <a:gd name="connsiteY11239" fmla="*/ 1385705 h 6557032"/>
              <a:gd name="connsiteX11240" fmla="*/ 723404 w 4610101"/>
              <a:gd name="connsiteY11240" fmla="*/ 1385705 h 6557032"/>
              <a:gd name="connsiteX11241" fmla="*/ 727048 w 4610101"/>
              <a:gd name="connsiteY11241" fmla="*/ 1398460 h 6557032"/>
              <a:gd name="connsiteX11242" fmla="*/ 730692 w 4610101"/>
              <a:gd name="connsiteY11242" fmla="*/ 1391171 h 6557032"/>
              <a:gd name="connsiteX11243" fmla="*/ 730692 w 4610101"/>
              <a:gd name="connsiteY11243" fmla="*/ 1396638 h 6557032"/>
              <a:gd name="connsiteX11244" fmla="*/ 747092 w 4610101"/>
              <a:gd name="connsiteY11244" fmla="*/ 1396638 h 6557032"/>
              <a:gd name="connsiteX11245" fmla="*/ 723404 w 4610101"/>
              <a:gd name="connsiteY11245" fmla="*/ 1385705 h 6557032"/>
              <a:gd name="connsiteX11246" fmla="*/ 688782 w 4610101"/>
              <a:gd name="connsiteY11246" fmla="*/ 1385705 h 6557032"/>
              <a:gd name="connsiteX11247" fmla="*/ 705182 w 4610101"/>
              <a:gd name="connsiteY11247" fmla="*/ 1403926 h 6557032"/>
              <a:gd name="connsiteX11248" fmla="*/ 716115 w 4610101"/>
              <a:gd name="connsiteY11248" fmla="*/ 1402104 h 6557032"/>
              <a:gd name="connsiteX11249" fmla="*/ 717937 w 4610101"/>
              <a:gd name="connsiteY11249" fmla="*/ 1405748 h 6557032"/>
              <a:gd name="connsiteX11250" fmla="*/ 716115 w 4610101"/>
              <a:gd name="connsiteY11250" fmla="*/ 1400282 h 6557032"/>
              <a:gd name="connsiteX11251" fmla="*/ 688782 w 4610101"/>
              <a:gd name="connsiteY11251" fmla="*/ 1385705 h 6557032"/>
              <a:gd name="connsiteX11252" fmla="*/ 666916 w 4610101"/>
              <a:gd name="connsiteY11252" fmla="*/ 1385705 h 6557032"/>
              <a:gd name="connsiteX11253" fmla="*/ 664673 w 4610101"/>
              <a:gd name="connsiteY11253" fmla="*/ 1389965 h 6557032"/>
              <a:gd name="connsiteX11254" fmla="*/ 659627 w 4610101"/>
              <a:gd name="connsiteY11254" fmla="*/ 1392993 h 6557032"/>
              <a:gd name="connsiteX11255" fmla="*/ 664638 w 4610101"/>
              <a:gd name="connsiteY11255" fmla="*/ 1390032 h 6557032"/>
              <a:gd name="connsiteX11256" fmla="*/ 664673 w 4610101"/>
              <a:gd name="connsiteY11256" fmla="*/ 1389965 h 6557032"/>
              <a:gd name="connsiteX11257" fmla="*/ 668738 w 4610101"/>
              <a:gd name="connsiteY11257" fmla="*/ 1387527 h 6557032"/>
              <a:gd name="connsiteX11258" fmla="*/ 666916 w 4610101"/>
              <a:gd name="connsiteY11258" fmla="*/ 1385705 h 6557032"/>
              <a:gd name="connsiteX11259" fmla="*/ 621362 w 4610101"/>
              <a:gd name="connsiteY11259" fmla="*/ 1385705 h 6557032"/>
              <a:gd name="connsiteX11260" fmla="*/ 615895 w 4610101"/>
              <a:gd name="connsiteY11260" fmla="*/ 1387527 h 6557032"/>
              <a:gd name="connsiteX11261" fmla="*/ 621362 w 4610101"/>
              <a:gd name="connsiteY11261" fmla="*/ 1387527 h 6557032"/>
              <a:gd name="connsiteX11262" fmla="*/ 621362 w 4610101"/>
              <a:gd name="connsiteY11262" fmla="*/ 1385705 h 6557032"/>
              <a:gd name="connsiteX11263" fmla="*/ 3474886 w 4610101"/>
              <a:gd name="connsiteY11263" fmla="*/ 1383882 h 6557032"/>
              <a:gd name="connsiteX11264" fmla="*/ 3478530 w 4610101"/>
              <a:gd name="connsiteY11264" fmla="*/ 1402104 h 6557032"/>
              <a:gd name="connsiteX11265" fmla="*/ 3487641 w 4610101"/>
              <a:gd name="connsiteY11265" fmla="*/ 1403926 h 6557032"/>
              <a:gd name="connsiteX11266" fmla="*/ 3482175 w 4610101"/>
              <a:gd name="connsiteY11266" fmla="*/ 1383882 h 6557032"/>
              <a:gd name="connsiteX11267" fmla="*/ 3474886 w 4610101"/>
              <a:gd name="connsiteY11267" fmla="*/ 1383882 h 6557032"/>
              <a:gd name="connsiteX11268" fmla="*/ 3453020 w 4610101"/>
              <a:gd name="connsiteY11268" fmla="*/ 1383882 h 6557032"/>
              <a:gd name="connsiteX11269" fmla="*/ 3434798 w 4610101"/>
              <a:gd name="connsiteY11269" fmla="*/ 1391171 h 6557032"/>
              <a:gd name="connsiteX11270" fmla="*/ 3431154 w 4610101"/>
              <a:gd name="connsiteY11270" fmla="*/ 1389349 h 6557032"/>
              <a:gd name="connsiteX11271" fmla="*/ 3412932 w 4610101"/>
              <a:gd name="connsiteY11271" fmla="*/ 1407571 h 6557032"/>
              <a:gd name="connsiteX11272" fmla="*/ 3420221 w 4610101"/>
              <a:gd name="connsiteY11272" fmla="*/ 1409393 h 6557032"/>
              <a:gd name="connsiteX11273" fmla="*/ 3420221 w 4610101"/>
              <a:gd name="connsiteY11273" fmla="*/ 1405748 h 6557032"/>
              <a:gd name="connsiteX11274" fmla="*/ 3436621 w 4610101"/>
              <a:gd name="connsiteY11274" fmla="*/ 1420326 h 6557032"/>
              <a:gd name="connsiteX11275" fmla="*/ 3445731 w 4610101"/>
              <a:gd name="connsiteY11275" fmla="*/ 1422148 h 6557032"/>
              <a:gd name="connsiteX11276" fmla="*/ 3443909 w 4610101"/>
              <a:gd name="connsiteY11276" fmla="*/ 1394815 h 6557032"/>
              <a:gd name="connsiteX11277" fmla="*/ 3458487 w 4610101"/>
              <a:gd name="connsiteY11277" fmla="*/ 1405748 h 6557032"/>
              <a:gd name="connsiteX11278" fmla="*/ 3460309 w 4610101"/>
              <a:gd name="connsiteY11278" fmla="*/ 1383882 h 6557032"/>
              <a:gd name="connsiteX11279" fmla="*/ 3451198 w 4610101"/>
              <a:gd name="connsiteY11279" fmla="*/ 1391171 h 6557032"/>
              <a:gd name="connsiteX11280" fmla="*/ 3453020 w 4610101"/>
              <a:gd name="connsiteY11280" fmla="*/ 1383882 h 6557032"/>
              <a:gd name="connsiteX11281" fmla="*/ 3409288 w 4610101"/>
              <a:gd name="connsiteY11281" fmla="*/ 1383882 h 6557032"/>
              <a:gd name="connsiteX11282" fmla="*/ 3405643 w 4610101"/>
              <a:gd name="connsiteY11282" fmla="*/ 1387527 h 6557032"/>
              <a:gd name="connsiteX11283" fmla="*/ 3409288 w 4610101"/>
              <a:gd name="connsiteY11283" fmla="*/ 1392993 h 6557032"/>
              <a:gd name="connsiteX11284" fmla="*/ 3409288 w 4610101"/>
              <a:gd name="connsiteY11284" fmla="*/ 1383882 h 6557032"/>
              <a:gd name="connsiteX11285" fmla="*/ 2815259 w 4610101"/>
              <a:gd name="connsiteY11285" fmla="*/ 1383882 h 6557032"/>
              <a:gd name="connsiteX11286" fmla="*/ 2778816 w 4610101"/>
              <a:gd name="connsiteY11286" fmla="*/ 1385705 h 6557032"/>
              <a:gd name="connsiteX11287" fmla="*/ 2780638 w 4610101"/>
              <a:gd name="connsiteY11287" fmla="*/ 1389349 h 6557032"/>
              <a:gd name="connsiteX11288" fmla="*/ 2769705 w 4610101"/>
              <a:gd name="connsiteY11288" fmla="*/ 1400282 h 6557032"/>
              <a:gd name="connsiteX11289" fmla="*/ 2767882 w 4610101"/>
              <a:gd name="connsiteY11289" fmla="*/ 1402104 h 6557032"/>
              <a:gd name="connsiteX11290" fmla="*/ 2767882 w 4610101"/>
              <a:gd name="connsiteY11290" fmla="*/ 1422148 h 6557032"/>
              <a:gd name="connsiteX11291" fmla="*/ 2782460 w 4610101"/>
              <a:gd name="connsiteY11291" fmla="*/ 1394815 h 6557032"/>
              <a:gd name="connsiteX11292" fmla="*/ 2791571 w 4610101"/>
              <a:gd name="connsiteY11292" fmla="*/ 1414859 h 6557032"/>
              <a:gd name="connsiteX11293" fmla="*/ 2797037 w 4610101"/>
              <a:gd name="connsiteY11293" fmla="*/ 1420326 h 6557032"/>
              <a:gd name="connsiteX11294" fmla="*/ 2806148 w 4610101"/>
              <a:gd name="connsiteY11294" fmla="*/ 1425792 h 6557032"/>
              <a:gd name="connsiteX11295" fmla="*/ 2802504 w 4610101"/>
              <a:gd name="connsiteY11295" fmla="*/ 1431259 h 6557032"/>
              <a:gd name="connsiteX11296" fmla="*/ 2809793 w 4610101"/>
              <a:gd name="connsiteY11296" fmla="*/ 1429437 h 6557032"/>
              <a:gd name="connsiteX11297" fmla="*/ 2806148 w 4610101"/>
              <a:gd name="connsiteY11297" fmla="*/ 1418504 h 6557032"/>
              <a:gd name="connsiteX11298" fmla="*/ 2811615 w 4610101"/>
              <a:gd name="connsiteY11298" fmla="*/ 1416681 h 6557032"/>
              <a:gd name="connsiteX11299" fmla="*/ 2806148 w 4610101"/>
              <a:gd name="connsiteY11299" fmla="*/ 1409393 h 6557032"/>
              <a:gd name="connsiteX11300" fmla="*/ 2820726 w 4610101"/>
              <a:gd name="connsiteY11300" fmla="*/ 1394815 h 6557032"/>
              <a:gd name="connsiteX11301" fmla="*/ 2815259 w 4610101"/>
              <a:gd name="connsiteY11301" fmla="*/ 1383882 h 6557032"/>
              <a:gd name="connsiteX11302" fmla="*/ 1129748 w 4610101"/>
              <a:gd name="connsiteY11302" fmla="*/ 1383882 h 6557032"/>
              <a:gd name="connsiteX11303" fmla="*/ 1131570 w 4610101"/>
              <a:gd name="connsiteY11303" fmla="*/ 1391171 h 6557032"/>
              <a:gd name="connsiteX11304" fmla="*/ 1133393 w 4610101"/>
              <a:gd name="connsiteY11304" fmla="*/ 1385705 h 6557032"/>
              <a:gd name="connsiteX11305" fmla="*/ 1129748 w 4610101"/>
              <a:gd name="connsiteY11305" fmla="*/ 1383882 h 6557032"/>
              <a:gd name="connsiteX11306" fmla="*/ 3420221 w 4610101"/>
              <a:gd name="connsiteY11306" fmla="*/ 1383199 h 6557032"/>
              <a:gd name="connsiteX11307" fmla="*/ 3416577 w 4610101"/>
              <a:gd name="connsiteY11307" fmla="*/ 1387527 h 6557032"/>
              <a:gd name="connsiteX11308" fmla="*/ 3423865 w 4610101"/>
              <a:gd name="connsiteY11308" fmla="*/ 1385705 h 6557032"/>
              <a:gd name="connsiteX11309" fmla="*/ 3420221 w 4610101"/>
              <a:gd name="connsiteY11309" fmla="*/ 1383199 h 6557032"/>
              <a:gd name="connsiteX11310" fmla="*/ 2831659 w 4610101"/>
              <a:gd name="connsiteY11310" fmla="*/ 1382060 h 6557032"/>
              <a:gd name="connsiteX11311" fmla="*/ 2835303 w 4610101"/>
              <a:gd name="connsiteY11311" fmla="*/ 1409393 h 6557032"/>
              <a:gd name="connsiteX11312" fmla="*/ 2815259 w 4610101"/>
              <a:gd name="connsiteY11312" fmla="*/ 1416681 h 6557032"/>
              <a:gd name="connsiteX11313" fmla="*/ 2824370 w 4610101"/>
              <a:gd name="connsiteY11313" fmla="*/ 1427615 h 6557032"/>
              <a:gd name="connsiteX11314" fmla="*/ 2826192 w 4610101"/>
              <a:gd name="connsiteY11314" fmla="*/ 1433081 h 6557032"/>
              <a:gd name="connsiteX11315" fmla="*/ 2804326 w 4610101"/>
              <a:gd name="connsiteY11315" fmla="*/ 1431259 h 6557032"/>
              <a:gd name="connsiteX11316" fmla="*/ 2800682 w 4610101"/>
              <a:gd name="connsiteY11316" fmla="*/ 1436725 h 6557032"/>
              <a:gd name="connsiteX11317" fmla="*/ 2802504 w 4610101"/>
              <a:gd name="connsiteY11317" fmla="*/ 1442192 h 6557032"/>
              <a:gd name="connsiteX11318" fmla="*/ 2798860 w 4610101"/>
              <a:gd name="connsiteY11318" fmla="*/ 1440370 h 6557032"/>
              <a:gd name="connsiteX11319" fmla="*/ 2795215 w 4610101"/>
              <a:gd name="connsiteY11319" fmla="*/ 1445836 h 6557032"/>
              <a:gd name="connsiteX11320" fmla="*/ 2802504 w 4610101"/>
              <a:gd name="connsiteY11320" fmla="*/ 1456769 h 6557032"/>
              <a:gd name="connsiteX11321" fmla="*/ 2837125 w 4610101"/>
              <a:gd name="connsiteY11321" fmla="*/ 1425792 h 6557032"/>
              <a:gd name="connsiteX11322" fmla="*/ 2846236 w 4610101"/>
              <a:gd name="connsiteY11322" fmla="*/ 1433081 h 6557032"/>
              <a:gd name="connsiteX11323" fmla="*/ 2829837 w 4610101"/>
              <a:gd name="connsiteY11323" fmla="*/ 1454947 h 6557032"/>
              <a:gd name="connsiteX11324" fmla="*/ 2851703 w 4610101"/>
              <a:gd name="connsiteY11324" fmla="*/ 1456769 h 6557032"/>
              <a:gd name="connsiteX11325" fmla="*/ 2868102 w 4610101"/>
              <a:gd name="connsiteY11325" fmla="*/ 1469525 h 6557032"/>
              <a:gd name="connsiteX11326" fmla="*/ 2873569 w 4610101"/>
              <a:gd name="connsiteY11326" fmla="*/ 1489568 h 6557032"/>
              <a:gd name="connsiteX11327" fmla="*/ 2886324 w 4610101"/>
              <a:gd name="connsiteY11327" fmla="*/ 1493213 h 6557032"/>
              <a:gd name="connsiteX11328" fmla="*/ 2891790 w 4610101"/>
              <a:gd name="connsiteY11328" fmla="*/ 1489568 h 6557032"/>
              <a:gd name="connsiteX11329" fmla="*/ 2868102 w 4610101"/>
              <a:gd name="connsiteY11329" fmla="*/ 1467702 h 6557032"/>
              <a:gd name="connsiteX11330" fmla="*/ 2875391 w 4610101"/>
              <a:gd name="connsiteY11330" fmla="*/ 1451303 h 6557032"/>
              <a:gd name="connsiteX11331" fmla="*/ 2889968 w 4610101"/>
              <a:gd name="connsiteY11331" fmla="*/ 1458592 h 6557032"/>
              <a:gd name="connsiteX11332" fmla="*/ 2911834 w 4610101"/>
              <a:gd name="connsiteY11332" fmla="*/ 1436725 h 6557032"/>
              <a:gd name="connsiteX11333" fmla="*/ 2917301 w 4610101"/>
              <a:gd name="connsiteY11333" fmla="*/ 1453125 h 6557032"/>
              <a:gd name="connsiteX11334" fmla="*/ 2926412 w 4610101"/>
              <a:gd name="connsiteY11334" fmla="*/ 1427615 h 6557032"/>
              <a:gd name="connsiteX11335" fmla="*/ 2891790 w 4610101"/>
              <a:gd name="connsiteY11335" fmla="*/ 1416681 h 6557032"/>
              <a:gd name="connsiteX11336" fmla="*/ 2884502 w 4610101"/>
              <a:gd name="connsiteY11336" fmla="*/ 1425792 h 6557032"/>
              <a:gd name="connsiteX11337" fmla="*/ 2875391 w 4610101"/>
              <a:gd name="connsiteY11337" fmla="*/ 1402104 h 6557032"/>
              <a:gd name="connsiteX11338" fmla="*/ 2880857 w 4610101"/>
              <a:gd name="connsiteY11338" fmla="*/ 1400282 h 6557032"/>
              <a:gd name="connsiteX11339" fmla="*/ 2831659 w 4610101"/>
              <a:gd name="connsiteY11339" fmla="*/ 1382060 h 6557032"/>
              <a:gd name="connsiteX11340" fmla="*/ 768959 w 4610101"/>
              <a:gd name="connsiteY11340" fmla="*/ 1382060 h 6557032"/>
              <a:gd name="connsiteX11341" fmla="*/ 767136 w 4610101"/>
              <a:gd name="connsiteY11341" fmla="*/ 1392993 h 6557032"/>
              <a:gd name="connsiteX11342" fmla="*/ 781713 w 4610101"/>
              <a:gd name="connsiteY11342" fmla="*/ 1391171 h 6557032"/>
              <a:gd name="connsiteX11343" fmla="*/ 778070 w 4610101"/>
              <a:gd name="connsiteY11343" fmla="*/ 1389349 h 6557032"/>
              <a:gd name="connsiteX11344" fmla="*/ 783535 w 4610101"/>
              <a:gd name="connsiteY11344" fmla="*/ 1389349 h 6557032"/>
              <a:gd name="connsiteX11345" fmla="*/ 768959 w 4610101"/>
              <a:gd name="connsiteY11345" fmla="*/ 1382060 h 6557032"/>
              <a:gd name="connsiteX11346" fmla="*/ 532075 w 4610101"/>
              <a:gd name="connsiteY11346" fmla="*/ 1382060 h 6557032"/>
              <a:gd name="connsiteX11347" fmla="*/ 535719 w 4610101"/>
              <a:gd name="connsiteY11347" fmla="*/ 1394815 h 6557032"/>
              <a:gd name="connsiteX11348" fmla="*/ 543008 w 4610101"/>
              <a:gd name="connsiteY11348" fmla="*/ 1385705 h 6557032"/>
              <a:gd name="connsiteX11349" fmla="*/ 541186 w 4610101"/>
              <a:gd name="connsiteY11349" fmla="*/ 1382060 h 6557032"/>
              <a:gd name="connsiteX11350" fmla="*/ 532075 w 4610101"/>
              <a:gd name="connsiteY11350" fmla="*/ 1382060 h 6557032"/>
              <a:gd name="connsiteX11351" fmla="*/ 3053964 w 4610101"/>
              <a:gd name="connsiteY11351" fmla="*/ 1380921 h 6557032"/>
              <a:gd name="connsiteX11352" fmla="*/ 3036824 w 4610101"/>
              <a:gd name="connsiteY11352" fmla="*/ 1381690 h 6557032"/>
              <a:gd name="connsiteX11353" fmla="*/ 3026766 w 4610101"/>
              <a:gd name="connsiteY11353" fmla="*/ 1389627 h 6557032"/>
              <a:gd name="connsiteX11354" fmla="*/ 3026631 w 4610101"/>
              <a:gd name="connsiteY11354" fmla="*/ 1389349 h 6557032"/>
              <a:gd name="connsiteX11355" fmla="*/ 3024809 w 4610101"/>
              <a:gd name="connsiteY11355" fmla="*/ 1391171 h 6557032"/>
              <a:gd name="connsiteX11356" fmla="*/ 3026766 w 4610101"/>
              <a:gd name="connsiteY11356" fmla="*/ 1389627 h 6557032"/>
              <a:gd name="connsiteX11357" fmla="*/ 3034148 w 4610101"/>
              <a:gd name="connsiteY11357" fmla="*/ 1404837 h 6557032"/>
              <a:gd name="connsiteX11358" fmla="*/ 3048497 w 4610101"/>
              <a:gd name="connsiteY11358" fmla="*/ 1409393 h 6557032"/>
              <a:gd name="connsiteX11359" fmla="*/ 3059430 w 4610101"/>
              <a:gd name="connsiteY11359" fmla="*/ 1429437 h 6557032"/>
              <a:gd name="connsiteX11360" fmla="*/ 3043031 w 4610101"/>
              <a:gd name="connsiteY11360" fmla="*/ 1423970 h 6557032"/>
              <a:gd name="connsiteX11361" fmla="*/ 3046675 w 4610101"/>
              <a:gd name="connsiteY11361" fmla="*/ 1427615 h 6557032"/>
              <a:gd name="connsiteX11362" fmla="*/ 3039387 w 4610101"/>
              <a:gd name="connsiteY11362" fmla="*/ 1429437 h 6557032"/>
              <a:gd name="connsiteX11363" fmla="*/ 3032098 w 4610101"/>
              <a:gd name="connsiteY11363" fmla="*/ 1418504 h 6557032"/>
              <a:gd name="connsiteX11364" fmla="*/ 3017521 w 4610101"/>
              <a:gd name="connsiteY11364" fmla="*/ 1413037 h 6557032"/>
              <a:gd name="connsiteX11365" fmla="*/ 3022987 w 4610101"/>
              <a:gd name="connsiteY11365" fmla="*/ 1423970 h 6557032"/>
              <a:gd name="connsiteX11366" fmla="*/ 3012054 w 4610101"/>
              <a:gd name="connsiteY11366" fmla="*/ 1414859 h 6557032"/>
              <a:gd name="connsiteX11367" fmla="*/ 3013876 w 4610101"/>
              <a:gd name="connsiteY11367" fmla="*/ 1414859 h 6557032"/>
              <a:gd name="connsiteX11368" fmla="*/ 3004765 w 4610101"/>
              <a:gd name="connsiteY11368" fmla="*/ 1416681 h 6557032"/>
              <a:gd name="connsiteX11369" fmla="*/ 3004765 w 4610101"/>
              <a:gd name="connsiteY11369" fmla="*/ 1433081 h 6557032"/>
              <a:gd name="connsiteX11370" fmla="*/ 3015698 w 4610101"/>
              <a:gd name="connsiteY11370" fmla="*/ 1436725 h 6557032"/>
              <a:gd name="connsiteX11371" fmla="*/ 3032098 w 4610101"/>
              <a:gd name="connsiteY11371" fmla="*/ 1431259 h 6557032"/>
              <a:gd name="connsiteX11372" fmla="*/ 3053964 w 4610101"/>
              <a:gd name="connsiteY11372" fmla="*/ 1447658 h 6557032"/>
              <a:gd name="connsiteX11373" fmla="*/ 3052142 w 4610101"/>
              <a:gd name="connsiteY11373" fmla="*/ 1484102 h 6557032"/>
              <a:gd name="connsiteX11374" fmla="*/ 3030276 w 4610101"/>
              <a:gd name="connsiteY11374" fmla="*/ 1507790 h 6557032"/>
              <a:gd name="connsiteX11375" fmla="*/ 3008410 w 4610101"/>
              <a:gd name="connsiteY11375" fmla="*/ 1507790 h 6557032"/>
              <a:gd name="connsiteX11376" fmla="*/ 3015698 w 4610101"/>
              <a:gd name="connsiteY11376" fmla="*/ 1535123 h 6557032"/>
              <a:gd name="connsiteX11377" fmla="*/ 3017521 w 4610101"/>
              <a:gd name="connsiteY11377" fmla="*/ 1529656 h 6557032"/>
              <a:gd name="connsiteX11378" fmla="*/ 3019343 w 4610101"/>
              <a:gd name="connsiteY11378" fmla="*/ 1533301 h 6557032"/>
              <a:gd name="connsiteX11379" fmla="*/ 3021165 w 4610101"/>
              <a:gd name="connsiteY11379" fmla="*/ 1524190 h 6557032"/>
              <a:gd name="connsiteX11380" fmla="*/ 3032098 w 4610101"/>
              <a:gd name="connsiteY11380" fmla="*/ 1535123 h 6557032"/>
              <a:gd name="connsiteX11381" fmla="*/ 3037564 w 4610101"/>
              <a:gd name="connsiteY11381" fmla="*/ 1529656 h 6557032"/>
              <a:gd name="connsiteX11382" fmla="*/ 3038174 w 4610101"/>
              <a:gd name="connsiteY11382" fmla="*/ 1534735 h 6557032"/>
              <a:gd name="connsiteX11383" fmla="*/ 3032098 w 4610101"/>
              <a:gd name="connsiteY11383" fmla="*/ 1536945 h 6557032"/>
              <a:gd name="connsiteX11384" fmla="*/ 3038248 w 4610101"/>
              <a:gd name="connsiteY11384" fmla="*/ 1535351 h 6557032"/>
              <a:gd name="connsiteX11385" fmla="*/ 3038174 w 4610101"/>
              <a:gd name="connsiteY11385" fmla="*/ 1534735 h 6557032"/>
              <a:gd name="connsiteX11386" fmla="*/ 3044626 w 4610101"/>
              <a:gd name="connsiteY11386" fmla="*/ 1532389 h 6557032"/>
              <a:gd name="connsiteX11387" fmla="*/ 3044853 w 4610101"/>
              <a:gd name="connsiteY11387" fmla="*/ 1522368 h 6557032"/>
              <a:gd name="connsiteX11388" fmla="*/ 3026631 w 4610101"/>
              <a:gd name="connsiteY11388" fmla="*/ 1511434 h 6557032"/>
              <a:gd name="connsiteX11389" fmla="*/ 3046675 w 4610101"/>
              <a:gd name="connsiteY11389" fmla="*/ 1513257 h 6557032"/>
              <a:gd name="connsiteX11390" fmla="*/ 3044853 w 4610101"/>
              <a:gd name="connsiteY11390" fmla="*/ 1507790 h 6557032"/>
              <a:gd name="connsiteX11391" fmla="*/ 3048497 w 4610101"/>
              <a:gd name="connsiteY11391" fmla="*/ 1513257 h 6557032"/>
              <a:gd name="connsiteX11392" fmla="*/ 3052142 w 4610101"/>
              <a:gd name="connsiteY11392" fmla="*/ 1511434 h 6557032"/>
              <a:gd name="connsiteX11393" fmla="*/ 3068541 w 4610101"/>
              <a:gd name="connsiteY11393" fmla="*/ 1518723 h 6557032"/>
              <a:gd name="connsiteX11394" fmla="*/ 3072186 w 4610101"/>
              <a:gd name="connsiteY11394" fmla="*/ 1522368 h 6557032"/>
              <a:gd name="connsiteX11395" fmla="*/ 3072642 w 4610101"/>
              <a:gd name="connsiteY11395" fmla="*/ 1501412 h 6557032"/>
              <a:gd name="connsiteX11396" fmla="*/ 3068594 w 4610101"/>
              <a:gd name="connsiteY11396" fmla="*/ 1494993 h 6557032"/>
              <a:gd name="connsiteX11397" fmla="*/ 3077652 w 4610101"/>
              <a:gd name="connsiteY11397" fmla="*/ 1487746 h 6557032"/>
              <a:gd name="connsiteX11398" fmla="*/ 3088585 w 4610101"/>
              <a:gd name="connsiteY11398" fmla="*/ 1520545 h 6557032"/>
              <a:gd name="connsiteX11399" fmla="*/ 3090407 w 4610101"/>
              <a:gd name="connsiteY11399" fmla="*/ 1516901 h 6557032"/>
              <a:gd name="connsiteX11400" fmla="*/ 3092230 w 4610101"/>
              <a:gd name="connsiteY11400" fmla="*/ 1524190 h 6557032"/>
              <a:gd name="connsiteX11401" fmla="*/ 3094052 w 4610101"/>
              <a:gd name="connsiteY11401" fmla="*/ 1496857 h 6557032"/>
              <a:gd name="connsiteX11402" fmla="*/ 3099518 w 4610101"/>
              <a:gd name="connsiteY11402" fmla="*/ 1513257 h 6557032"/>
              <a:gd name="connsiteX11403" fmla="*/ 3114096 w 4610101"/>
              <a:gd name="connsiteY11403" fmla="*/ 1518723 h 6557032"/>
              <a:gd name="connsiteX11404" fmla="*/ 3146895 w 4610101"/>
              <a:gd name="connsiteY11404" fmla="*/ 1507790 h 6557032"/>
              <a:gd name="connsiteX11405" fmla="*/ 3163294 w 4610101"/>
              <a:gd name="connsiteY11405" fmla="*/ 1509612 h 6557032"/>
              <a:gd name="connsiteX11406" fmla="*/ 3157828 w 4610101"/>
              <a:gd name="connsiteY11406" fmla="*/ 1489568 h 6557032"/>
              <a:gd name="connsiteX11407" fmla="*/ 3150539 w 4610101"/>
              <a:gd name="connsiteY11407" fmla="*/ 1491391 h 6557032"/>
              <a:gd name="connsiteX11408" fmla="*/ 3152361 w 4610101"/>
              <a:gd name="connsiteY11408" fmla="*/ 1478635 h 6557032"/>
              <a:gd name="connsiteX11409" fmla="*/ 3157828 w 4610101"/>
              <a:gd name="connsiteY11409" fmla="*/ 1480458 h 6557032"/>
              <a:gd name="connsiteX11410" fmla="*/ 3186982 w 4610101"/>
              <a:gd name="connsiteY11410" fmla="*/ 1515079 h 6557032"/>
              <a:gd name="connsiteX11411" fmla="*/ 3181516 w 4610101"/>
              <a:gd name="connsiteY11411" fmla="*/ 1489568 h 6557032"/>
              <a:gd name="connsiteX11412" fmla="*/ 3139606 w 4610101"/>
              <a:gd name="connsiteY11412" fmla="*/ 1418504 h 6557032"/>
              <a:gd name="connsiteX11413" fmla="*/ 3128673 w 4610101"/>
              <a:gd name="connsiteY11413" fmla="*/ 1409393 h 6557032"/>
              <a:gd name="connsiteX11414" fmla="*/ 3128673 w 4610101"/>
              <a:gd name="connsiteY11414" fmla="*/ 1420326 h 6557032"/>
              <a:gd name="connsiteX11415" fmla="*/ 3117740 w 4610101"/>
              <a:gd name="connsiteY11415" fmla="*/ 1418504 h 6557032"/>
              <a:gd name="connsiteX11416" fmla="*/ 3119562 w 4610101"/>
              <a:gd name="connsiteY11416" fmla="*/ 1429437 h 6557032"/>
              <a:gd name="connsiteX11417" fmla="*/ 3121384 w 4610101"/>
              <a:gd name="connsiteY11417" fmla="*/ 1422148 h 6557032"/>
              <a:gd name="connsiteX11418" fmla="*/ 3126851 w 4610101"/>
              <a:gd name="connsiteY11418" fmla="*/ 1427615 h 6557032"/>
              <a:gd name="connsiteX11419" fmla="*/ 3121384 w 4610101"/>
              <a:gd name="connsiteY11419" fmla="*/ 1433081 h 6557032"/>
              <a:gd name="connsiteX11420" fmla="*/ 3128673 w 4610101"/>
              <a:gd name="connsiteY11420" fmla="*/ 1431259 h 6557032"/>
              <a:gd name="connsiteX11421" fmla="*/ 3121384 w 4610101"/>
              <a:gd name="connsiteY11421" fmla="*/ 1451303 h 6557032"/>
              <a:gd name="connsiteX11422" fmla="*/ 3115918 w 4610101"/>
              <a:gd name="connsiteY11422" fmla="*/ 1423970 h 6557032"/>
              <a:gd name="connsiteX11423" fmla="*/ 3108629 w 4610101"/>
              <a:gd name="connsiteY11423" fmla="*/ 1423970 h 6557032"/>
              <a:gd name="connsiteX11424" fmla="*/ 3115918 w 4610101"/>
              <a:gd name="connsiteY11424" fmla="*/ 1422148 h 6557032"/>
              <a:gd name="connsiteX11425" fmla="*/ 3114096 w 4610101"/>
              <a:gd name="connsiteY11425" fmla="*/ 1416681 h 6557032"/>
              <a:gd name="connsiteX11426" fmla="*/ 3117740 w 4610101"/>
              <a:gd name="connsiteY11426" fmla="*/ 1416681 h 6557032"/>
              <a:gd name="connsiteX11427" fmla="*/ 3117227 w 4610101"/>
              <a:gd name="connsiteY11427" fmla="*/ 1415642 h 6557032"/>
              <a:gd name="connsiteX11428" fmla="*/ 3121384 w 4610101"/>
              <a:gd name="connsiteY11428" fmla="*/ 1416681 h 6557032"/>
              <a:gd name="connsiteX11429" fmla="*/ 3115918 w 4610101"/>
              <a:gd name="connsiteY11429" fmla="*/ 1405748 h 6557032"/>
              <a:gd name="connsiteX11430" fmla="*/ 3114888 w 4610101"/>
              <a:gd name="connsiteY11430" fmla="*/ 1410901 h 6557032"/>
              <a:gd name="connsiteX11431" fmla="*/ 3109085 w 4610101"/>
              <a:gd name="connsiteY11431" fmla="*/ 1399143 h 6557032"/>
              <a:gd name="connsiteX11432" fmla="*/ 3092230 w 4610101"/>
              <a:gd name="connsiteY11432" fmla="*/ 1391171 h 6557032"/>
              <a:gd name="connsiteX11433" fmla="*/ 3090407 w 4610101"/>
              <a:gd name="connsiteY11433" fmla="*/ 1394815 h 6557032"/>
              <a:gd name="connsiteX11434" fmla="*/ 3084941 w 4610101"/>
              <a:gd name="connsiteY11434" fmla="*/ 1391171 h 6557032"/>
              <a:gd name="connsiteX11435" fmla="*/ 3088585 w 4610101"/>
              <a:gd name="connsiteY11435" fmla="*/ 1391171 h 6557032"/>
              <a:gd name="connsiteX11436" fmla="*/ 3053964 w 4610101"/>
              <a:gd name="connsiteY11436" fmla="*/ 1380921 h 6557032"/>
              <a:gd name="connsiteX11437" fmla="*/ 1142655 w 4610101"/>
              <a:gd name="connsiteY11437" fmla="*/ 1380845 h 6557032"/>
              <a:gd name="connsiteX11438" fmla="*/ 1142867 w 4610101"/>
              <a:gd name="connsiteY11438" fmla="*/ 1381696 h 6557032"/>
              <a:gd name="connsiteX11439" fmla="*/ 1142503 w 4610101"/>
              <a:gd name="connsiteY11439" fmla="*/ 1382060 h 6557032"/>
              <a:gd name="connsiteX11440" fmla="*/ 3252581 w 4610101"/>
              <a:gd name="connsiteY11440" fmla="*/ 1380238 h 6557032"/>
              <a:gd name="connsiteX11441" fmla="*/ 3252581 w 4610101"/>
              <a:gd name="connsiteY11441" fmla="*/ 1387527 h 6557032"/>
              <a:gd name="connsiteX11442" fmla="*/ 3252581 w 4610101"/>
              <a:gd name="connsiteY11442" fmla="*/ 1380238 h 6557032"/>
              <a:gd name="connsiteX11443" fmla="*/ 748914 w 4610101"/>
              <a:gd name="connsiteY11443" fmla="*/ 1380238 h 6557032"/>
              <a:gd name="connsiteX11444" fmla="*/ 734336 w 4610101"/>
              <a:gd name="connsiteY11444" fmla="*/ 1385705 h 6557032"/>
              <a:gd name="connsiteX11445" fmla="*/ 748914 w 4610101"/>
              <a:gd name="connsiteY11445" fmla="*/ 1392993 h 6557032"/>
              <a:gd name="connsiteX11446" fmla="*/ 748914 w 4610101"/>
              <a:gd name="connsiteY11446" fmla="*/ 1380238 h 6557032"/>
              <a:gd name="connsiteX11447" fmla="*/ 727048 w 4610101"/>
              <a:gd name="connsiteY11447" fmla="*/ 1380238 h 6557032"/>
              <a:gd name="connsiteX11448" fmla="*/ 732515 w 4610101"/>
              <a:gd name="connsiteY11448" fmla="*/ 1383882 h 6557032"/>
              <a:gd name="connsiteX11449" fmla="*/ 727048 w 4610101"/>
              <a:gd name="connsiteY11449" fmla="*/ 1380238 h 6557032"/>
              <a:gd name="connsiteX11450" fmla="*/ 625006 w 4610101"/>
              <a:gd name="connsiteY11450" fmla="*/ 1380238 h 6557032"/>
              <a:gd name="connsiteX11451" fmla="*/ 625006 w 4610101"/>
              <a:gd name="connsiteY11451" fmla="*/ 1389349 h 6557032"/>
              <a:gd name="connsiteX11452" fmla="*/ 634117 w 4610101"/>
              <a:gd name="connsiteY11452" fmla="*/ 1387527 h 6557032"/>
              <a:gd name="connsiteX11453" fmla="*/ 625006 w 4610101"/>
              <a:gd name="connsiteY11453" fmla="*/ 1380238 h 6557032"/>
              <a:gd name="connsiteX11454" fmla="*/ 619539 w 4610101"/>
              <a:gd name="connsiteY11454" fmla="*/ 1380238 h 6557032"/>
              <a:gd name="connsiteX11455" fmla="*/ 614074 w 4610101"/>
              <a:gd name="connsiteY11455" fmla="*/ 1385705 h 6557032"/>
              <a:gd name="connsiteX11456" fmla="*/ 619539 w 4610101"/>
              <a:gd name="connsiteY11456" fmla="*/ 1380238 h 6557032"/>
              <a:gd name="connsiteX11457" fmla="*/ 544830 w 4610101"/>
              <a:gd name="connsiteY11457" fmla="*/ 1380238 h 6557032"/>
              <a:gd name="connsiteX11458" fmla="*/ 543008 w 4610101"/>
              <a:gd name="connsiteY11458" fmla="*/ 1396638 h 6557032"/>
              <a:gd name="connsiteX11459" fmla="*/ 546653 w 4610101"/>
              <a:gd name="connsiteY11459" fmla="*/ 1391171 h 6557032"/>
              <a:gd name="connsiteX11460" fmla="*/ 552119 w 4610101"/>
              <a:gd name="connsiteY11460" fmla="*/ 1403926 h 6557032"/>
              <a:gd name="connsiteX11461" fmla="*/ 553941 w 4610101"/>
              <a:gd name="connsiteY11461" fmla="*/ 1389349 h 6557032"/>
              <a:gd name="connsiteX11462" fmla="*/ 544830 w 4610101"/>
              <a:gd name="connsiteY11462" fmla="*/ 1380238 h 6557032"/>
              <a:gd name="connsiteX11463" fmla="*/ 1060392 w 4610101"/>
              <a:gd name="connsiteY11463" fmla="*/ 1379725 h 6557032"/>
              <a:gd name="connsiteX11464" fmla="*/ 1060506 w 4610101"/>
              <a:gd name="connsiteY11464" fmla="*/ 1380238 h 6557032"/>
              <a:gd name="connsiteX11465" fmla="*/ 1059947 w 4610101"/>
              <a:gd name="connsiteY11465" fmla="*/ 1379859 h 6557032"/>
              <a:gd name="connsiteX11466" fmla="*/ 907444 w 4610101"/>
              <a:gd name="connsiteY11466" fmla="*/ 1378416 h 6557032"/>
              <a:gd name="connsiteX11467" fmla="*/ 894688 w 4610101"/>
              <a:gd name="connsiteY11467" fmla="*/ 1389349 h 6557032"/>
              <a:gd name="connsiteX11468" fmla="*/ 908630 w 4610101"/>
              <a:gd name="connsiteY11468" fmla="*/ 1393152 h 6557032"/>
              <a:gd name="connsiteX11469" fmla="*/ 901976 w 4610101"/>
              <a:gd name="connsiteY11469" fmla="*/ 1394815 h 6557032"/>
              <a:gd name="connsiteX11470" fmla="*/ 962108 w 4610101"/>
              <a:gd name="connsiteY11470" fmla="*/ 1440370 h 6557032"/>
              <a:gd name="connsiteX11471" fmla="*/ 956642 w 4610101"/>
              <a:gd name="connsiteY11471" fmla="*/ 1434903 h 6557032"/>
              <a:gd name="connsiteX11472" fmla="*/ 989441 w 4610101"/>
              <a:gd name="connsiteY11472" fmla="*/ 1449481 h 6557032"/>
              <a:gd name="connsiteX11473" fmla="*/ 987470 w 4610101"/>
              <a:gd name="connsiteY11473" fmla="*/ 1447018 h 6557032"/>
              <a:gd name="connsiteX11474" fmla="*/ 993540 w 4610101"/>
              <a:gd name="connsiteY11474" fmla="*/ 1451303 h 6557032"/>
              <a:gd name="connsiteX11475" fmla="*/ 1004018 w 4610101"/>
              <a:gd name="connsiteY11475" fmla="*/ 1451303 h 6557032"/>
              <a:gd name="connsiteX11476" fmla="*/ 942064 w 4610101"/>
              <a:gd name="connsiteY11476" fmla="*/ 1422148 h 6557032"/>
              <a:gd name="connsiteX11477" fmla="*/ 940242 w 4610101"/>
              <a:gd name="connsiteY11477" fmla="*/ 1394815 h 6557032"/>
              <a:gd name="connsiteX11478" fmla="*/ 931814 w 4610101"/>
              <a:gd name="connsiteY11478" fmla="*/ 1389349 h 6557032"/>
              <a:gd name="connsiteX11479" fmla="*/ 927487 w 4610101"/>
              <a:gd name="connsiteY11479" fmla="*/ 1389349 h 6557032"/>
              <a:gd name="connsiteX11480" fmla="*/ 907444 w 4610101"/>
              <a:gd name="connsiteY11480" fmla="*/ 1378416 h 6557032"/>
              <a:gd name="connsiteX11481" fmla="*/ 834556 w 4610101"/>
              <a:gd name="connsiteY11481" fmla="*/ 1378416 h 6557032"/>
              <a:gd name="connsiteX11482" fmla="*/ 834556 w 4610101"/>
              <a:gd name="connsiteY11482" fmla="*/ 1378416 h 6557032"/>
              <a:gd name="connsiteX11483" fmla="*/ 774424 w 4610101"/>
              <a:gd name="connsiteY11483" fmla="*/ 1378416 h 6557032"/>
              <a:gd name="connsiteX11484" fmla="*/ 779892 w 4610101"/>
              <a:gd name="connsiteY11484" fmla="*/ 1382060 h 6557032"/>
              <a:gd name="connsiteX11485" fmla="*/ 774424 w 4610101"/>
              <a:gd name="connsiteY11485" fmla="*/ 1378416 h 6557032"/>
              <a:gd name="connsiteX11486" fmla="*/ 630472 w 4610101"/>
              <a:gd name="connsiteY11486" fmla="*/ 1378416 h 6557032"/>
              <a:gd name="connsiteX11487" fmla="*/ 631079 w 4610101"/>
              <a:gd name="connsiteY11487" fmla="*/ 1380846 h 6557032"/>
              <a:gd name="connsiteX11488" fmla="*/ 630472 w 4610101"/>
              <a:gd name="connsiteY11488" fmla="*/ 1382060 h 6557032"/>
              <a:gd name="connsiteX11489" fmla="*/ 631466 w 4610101"/>
              <a:gd name="connsiteY11489" fmla="*/ 1382391 h 6557032"/>
              <a:gd name="connsiteX11490" fmla="*/ 631840 w 4610101"/>
              <a:gd name="connsiteY11490" fmla="*/ 1383882 h 6557032"/>
              <a:gd name="connsiteX11491" fmla="*/ 635939 w 4610101"/>
              <a:gd name="connsiteY11491" fmla="*/ 1383882 h 6557032"/>
              <a:gd name="connsiteX11492" fmla="*/ 631466 w 4610101"/>
              <a:gd name="connsiteY11492" fmla="*/ 1382391 h 6557032"/>
              <a:gd name="connsiteX11493" fmla="*/ 631079 w 4610101"/>
              <a:gd name="connsiteY11493" fmla="*/ 1380846 h 6557032"/>
              <a:gd name="connsiteX11494" fmla="*/ 632296 w 4610101"/>
              <a:gd name="connsiteY11494" fmla="*/ 1378416 h 6557032"/>
              <a:gd name="connsiteX11495" fmla="*/ 630472 w 4610101"/>
              <a:gd name="connsiteY11495" fmla="*/ 1378416 h 6557032"/>
              <a:gd name="connsiteX11496" fmla="*/ 389946 w 4610101"/>
              <a:gd name="connsiteY11496" fmla="*/ 1378416 h 6557032"/>
              <a:gd name="connsiteX11497" fmla="*/ 390122 w 4610101"/>
              <a:gd name="connsiteY11497" fmla="*/ 1378651 h 6557032"/>
              <a:gd name="connsiteX11498" fmla="*/ 389218 w 4610101"/>
              <a:gd name="connsiteY11498" fmla="*/ 1378780 h 6557032"/>
              <a:gd name="connsiteX11499" fmla="*/ 922020 w 4610101"/>
              <a:gd name="connsiteY11499" fmla="*/ 1376594 h 6557032"/>
              <a:gd name="connsiteX11500" fmla="*/ 929309 w 4610101"/>
              <a:gd name="connsiteY11500" fmla="*/ 1382060 h 6557032"/>
              <a:gd name="connsiteX11501" fmla="*/ 929309 w 4610101"/>
              <a:gd name="connsiteY11501" fmla="*/ 1376594 h 6557032"/>
              <a:gd name="connsiteX11502" fmla="*/ 922020 w 4610101"/>
              <a:gd name="connsiteY11502" fmla="*/ 1376594 h 6557032"/>
              <a:gd name="connsiteX11503" fmla="*/ 708826 w 4610101"/>
              <a:gd name="connsiteY11503" fmla="*/ 1376594 h 6557032"/>
              <a:gd name="connsiteX11504" fmla="*/ 708692 w 4610101"/>
              <a:gd name="connsiteY11504" fmla="*/ 1377130 h 6557032"/>
              <a:gd name="connsiteX11505" fmla="*/ 708259 w 4610101"/>
              <a:gd name="connsiteY11505" fmla="*/ 1376846 h 6557032"/>
              <a:gd name="connsiteX11506" fmla="*/ 731603 w 4610101"/>
              <a:gd name="connsiteY11506" fmla="*/ 1374999 h 6557032"/>
              <a:gd name="connsiteX11507" fmla="*/ 725226 w 4610101"/>
              <a:gd name="connsiteY11507" fmla="*/ 1376594 h 6557032"/>
              <a:gd name="connsiteX11508" fmla="*/ 737981 w 4610101"/>
              <a:gd name="connsiteY11508" fmla="*/ 1380238 h 6557032"/>
              <a:gd name="connsiteX11509" fmla="*/ 731603 w 4610101"/>
              <a:gd name="connsiteY11509" fmla="*/ 1374999 h 6557032"/>
              <a:gd name="connsiteX11510" fmla="*/ 693793 w 4610101"/>
              <a:gd name="connsiteY11510" fmla="*/ 1374999 h 6557032"/>
              <a:gd name="connsiteX11511" fmla="*/ 692426 w 4610101"/>
              <a:gd name="connsiteY11511" fmla="*/ 1380238 h 6557032"/>
              <a:gd name="connsiteX11512" fmla="*/ 697893 w 4610101"/>
              <a:gd name="connsiteY11512" fmla="*/ 1376594 h 6557032"/>
              <a:gd name="connsiteX11513" fmla="*/ 693793 w 4610101"/>
              <a:gd name="connsiteY11513" fmla="*/ 1374999 h 6557032"/>
              <a:gd name="connsiteX11514" fmla="*/ 3522263 w 4610101"/>
              <a:gd name="connsiteY11514" fmla="*/ 1374771 h 6557032"/>
              <a:gd name="connsiteX11515" fmla="*/ 3513815 w 4610101"/>
              <a:gd name="connsiteY11515" fmla="*/ 1383220 h 6557032"/>
              <a:gd name="connsiteX11516" fmla="*/ 3515849 w 4610101"/>
              <a:gd name="connsiteY11516" fmla="*/ 1376708 h 6557032"/>
              <a:gd name="connsiteX11517" fmla="*/ 3516113 w 4610101"/>
              <a:gd name="connsiteY11517" fmla="*/ 1376821 h 6557032"/>
              <a:gd name="connsiteX11518" fmla="*/ 3522263 w 4610101"/>
              <a:gd name="connsiteY11518" fmla="*/ 1374771 h 6557032"/>
              <a:gd name="connsiteX11519" fmla="*/ 3230715 w 4610101"/>
              <a:gd name="connsiteY11519" fmla="*/ 1374771 h 6557032"/>
              <a:gd name="connsiteX11520" fmla="*/ 3221604 w 4610101"/>
              <a:gd name="connsiteY11520" fmla="*/ 1376594 h 6557032"/>
              <a:gd name="connsiteX11521" fmla="*/ 3228893 w 4610101"/>
              <a:gd name="connsiteY11521" fmla="*/ 1383882 h 6557032"/>
              <a:gd name="connsiteX11522" fmla="*/ 3208849 w 4610101"/>
              <a:gd name="connsiteY11522" fmla="*/ 1385705 h 6557032"/>
              <a:gd name="connsiteX11523" fmla="*/ 3212493 w 4610101"/>
              <a:gd name="connsiteY11523" fmla="*/ 1392993 h 6557032"/>
              <a:gd name="connsiteX11524" fmla="*/ 3205204 w 4610101"/>
              <a:gd name="connsiteY11524" fmla="*/ 1387527 h 6557032"/>
              <a:gd name="connsiteX11525" fmla="*/ 3207027 w 4610101"/>
              <a:gd name="connsiteY11525" fmla="*/ 1402104 h 6557032"/>
              <a:gd name="connsiteX11526" fmla="*/ 3223426 w 4610101"/>
              <a:gd name="connsiteY11526" fmla="*/ 1391171 h 6557032"/>
              <a:gd name="connsiteX11527" fmla="*/ 3238003 w 4610101"/>
              <a:gd name="connsiteY11527" fmla="*/ 1389349 h 6557032"/>
              <a:gd name="connsiteX11528" fmla="*/ 3238003 w 4610101"/>
              <a:gd name="connsiteY11528" fmla="*/ 1385705 h 6557032"/>
              <a:gd name="connsiteX11529" fmla="*/ 3230715 w 4610101"/>
              <a:gd name="connsiteY11529" fmla="*/ 1374771 h 6557032"/>
              <a:gd name="connsiteX11530" fmla="*/ 717937 w 4610101"/>
              <a:gd name="connsiteY11530" fmla="*/ 1374771 h 6557032"/>
              <a:gd name="connsiteX11531" fmla="*/ 714293 w 4610101"/>
              <a:gd name="connsiteY11531" fmla="*/ 1378416 h 6557032"/>
              <a:gd name="connsiteX11532" fmla="*/ 719759 w 4610101"/>
              <a:gd name="connsiteY11532" fmla="*/ 1380238 h 6557032"/>
              <a:gd name="connsiteX11533" fmla="*/ 717937 w 4610101"/>
              <a:gd name="connsiteY11533" fmla="*/ 1374771 h 6557032"/>
              <a:gd name="connsiteX11534" fmla="*/ 606784 w 4610101"/>
              <a:gd name="connsiteY11534" fmla="*/ 1374771 h 6557032"/>
              <a:gd name="connsiteX11535" fmla="*/ 604963 w 4610101"/>
              <a:gd name="connsiteY11535" fmla="*/ 1380238 h 6557032"/>
              <a:gd name="connsiteX11536" fmla="*/ 610429 w 4610101"/>
              <a:gd name="connsiteY11536" fmla="*/ 1376594 h 6557032"/>
              <a:gd name="connsiteX11537" fmla="*/ 606784 w 4610101"/>
              <a:gd name="connsiteY11537" fmla="*/ 1374771 h 6557032"/>
              <a:gd name="connsiteX11538" fmla="*/ 3385600 w 4610101"/>
              <a:gd name="connsiteY11538" fmla="*/ 1372949 h 6557032"/>
              <a:gd name="connsiteX11539" fmla="*/ 3374666 w 4610101"/>
              <a:gd name="connsiteY11539" fmla="*/ 1396638 h 6557032"/>
              <a:gd name="connsiteX11540" fmla="*/ 3367378 w 4610101"/>
              <a:gd name="connsiteY11540" fmla="*/ 1389349 h 6557032"/>
              <a:gd name="connsiteX11541" fmla="*/ 3369200 w 4610101"/>
              <a:gd name="connsiteY11541" fmla="*/ 1402104 h 6557032"/>
              <a:gd name="connsiteX11542" fmla="*/ 3374666 w 4610101"/>
              <a:gd name="connsiteY11542" fmla="*/ 1400282 h 6557032"/>
              <a:gd name="connsiteX11543" fmla="*/ 3371022 w 4610101"/>
              <a:gd name="connsiteY11543" fmla="*/ 1407571 h 6557032"/>
              <a:gd name="connsiteX11544" fmla="*/ 3380133 w 4610101"/>
              <a:gd name="connsiteY11544" fmla="*/ 1407571 h 6557032"/>
              <a:gd name="connsiteX11545" fmla="*/ 3385600 w 4610101"/>
              <a:gd name="connsiteY11545" fmla="*/ 1372949 h 6557032"/>
              <a:gd name="connsiteX11546" fmla="*/ 900610 w 4610101"/>
              <a:gd name="connsiteY11546" fmla="*/ 1372949 h 6557032"/>
              <a:gd name="connsiteX11547" fmla="*/ 891043 w 4610101"/>
              <a:gd name="connsiteY11547" fmla="*/ 1378416 h 6557032"/>
              <a:gd name="connsiteX11548" fmla="*/ 889222 w 4610101"/>
              <a:gd name="connsiteY11548" fmla="*/ 1378416 h 6557032"/>
              <a:gd name="connsiteX11549" fmla="*/ 883755 w 4610101"/>
              <a:gd name="connsiteY11549" fmla="*/ 1382060 h 6557032"/>
              <a:gd name="connsiteX11550" fmla="*/ 901976 w 4610101"/>
              <a:gd name="connsiteY11550" fmla="*/ 1378416 h 6557032"/>
              <a:gd name="connsiteX11551" fmla="*/ 900610 w 4610101"/>
              <a:gd name="connsiteY11551" fmla="*/ 1372949 h 6557032"/>
              <a:gd name="connsiteX11552" fmla="*/ 948214 w 4610101"/>
              <a:gd name="connsiteY11552" fmla="*/ 1372493 h 6557032"/>
              <a:gd name="connsiteX11553" fmla="*/ 943886 w 4610101"/>
              <a:gd name="connsiteY11553" fmla="*/ 1372949 h 6557032"/>
              <a:gd name="connsiteX11554" fmla="*/ 951175 w 4610101"/>
              <a:gd name="connsiteY11554" fmla="*/ 1374771 h 6557032"/>
              <a:gd name="connsiteX11555" fmla="*/ 948214 w 4610101"/>
              <a:gd name="connsiteY11555" fmla="*/ 1372493 h 6557032"/>
              <a:gd name="connsiteX11556" fmla="*/ 858191 w 4610101"/>
              <a:gd name="connsiteY11556" fmla="*/ 1372288 h 6557032"/>
              <a:gd name="connsiteX11557" fmla="*/ 857788 w 4610101"/>
              <a:gd name="connsiteY11557" fmla="*/ 1372949 h 6557032"/>
              <a:gd name="connsiteX11558" fmla="*/ 847311 w 4610101"/>
              <a:gd name="connsiteY11558" fmla="*/ 1380238 h 6557032"/>
              <a:gd name="connsiteX11559" fmla="*/ 626600 w 4610101"/>
              <a:gd name="connsiteY11559" fmla="*/ 1371583 h 6557032"/>
              <a:gd name="connsiteX11560" fmla="*/ 621362 w 4610101"/>
              <a:gd name="connsiteY11560" fmla="*/ 1372949 h 6557032"/>
              <a:gd name="connsiteX11561" fmla="*/ 625006 w 4610101"/>
              <a:gd name="connsiteY11561" fmla="*/ 1376594 h 6557032"/>
              <a:gd name="connsiteX11562" fmla="*/ 630472 w 4610101"/>
              <a:gd name="connsiteY11562" fmla="*/ 1372949 h 6557032"/>
              <a:gd name="connsiteX11563" fmla="*/ 626600 w 4610101"/>
              <a:gd name="connsiteY11563" fmla="*/ 1371583 h 6557032"/>
              <a:gd name="connsiteX11564" fmla="*/ 3199738 w 4610101"/>
              <a:gd name="connsiteY11564" fmla="*/ 1371127 h 6557032"/>
              <a:gd name="connsiteX11565" fmla="*/ 3207027 w 4610101"/>
              <a:gd name="connsiteY11565" fmla="*/ 1374771 h 6557032"/>
              <a:gd name="connsiteX11566" fmla="*/ 3207027 w 4610101"/>
              <a:gd name="connsiteY11566" fmla="*/ 1371127 h 6557032"/>
              <a:gd name="connsiteX11567" fmla="*/ 3199738 w 4610101"/>
              <a:gd name="connsiteY11567" fmla="*/ 1371127 h 6557032"/>
              <a:gd name="connsiteX11568" fmla="*/ 934777 w 4610101"/>
              <a:gd name="connsiteY11568" fmla="*/ 1371127 h 6557032"/>
              <a:gd name="connsiteX11569" fmla="*/ 934777 w 4610101"/>
              <a:gd name="connsiteY11569" fmla="*/ 1376594 h 6557032"/>
              <a:gd name="connsiteX11570" fmla="*/ 935688 w 4610101"/>
              <a:gd name="connsiteY11570" fmla="*/ 1376594 h 6557032"/>
              <a:gd name="connsiteX11571" fmla="*/ 936598 w 4610101"/>
              <a:gd name="connsiteY11571" fmla="*/ 1382060 h 6557032"/>
              <a:gd name="connsiteX11572" fmla="*/ 932953 w 4610101"/>
              <a:gd name="connsiteY11572" fmla="*/ 1382060 h 6557032"/>
              <a:gd name="connsiteX11573" fmla="*/ 934777 w 4610101"/>
              <a:gd name="connsiteY11573" fmla="*/ 1387527 h 6557032"/>
              <a:gd name="connsiteX11574" fmla="*/ 951175 w 4610101"/>
              <a:gd name="connsiteY11574" fmla="*/ 1396638 h 6557032"/>
              <a:gd name="connsiteX11575" fmla="*/ 949353 w 4610101"/>
              <a:gd name="connsiteY11575" fmla="*/ 1376594 h 6557032"/>
              <a:gd name="connsiteX11576" fmla="*/ 935688 w 4610101"/>
              <a:gd name="connsiteY11576" fmla="*/ 1376594 h 6557032"/>
              <a:gd name="connsiteX11577" fmla="*/ 901976 w 4610101"/>
              <a:gd name="connsiteY11577" fmla="*/ 1371127 h 6557032"/>
              <a:gd name="connsiteX11578" fmla="*/ 911087 w 4610101"/>
              <a:gd name="connsiteY11578" fmla="*/ 1376594 h 6557032"/>
              <a:gd name="connsiteX11579" fmla="*/ 901976 w 4610101"/>
              <a:gd name="connsiteY11579" fmla="*/ 1371127 h 6557032"/>
              <a:gd name="connsiteX11580" fmla="*/ 3130723 w 4610101"/>
              <a:gd name="connsiteY11580" fmla="*/ 1370672 h 6557032"/>
              <a:gd name="connsiteX11581" fmla="*/ 3119562 w 4610101"/>
              <a:gd name="connsiteY11581" fmla="*/ 1371127 h 6557032"/>
              <a:gd name="connsiteX11582" fmla="*/ 3128673 w 4610101"/>
              <a:gd name="connsiteY11582" fmla="*/ 1382060 h 6557032"/>
              <a:gd name="connsiteX11583" fmla="*/ 3130495 w 4610101"/>
              <a:gd name="connsiteY11583" fmla="*/ 1376594 h 6557032"/>
              <a:gd name="connsiteX11584" fmla="*/ 3128673 w 4610101"/>
              <a:gd name="connsiteY11584" fmla="*/ 1387527 h 6557032"/>
              <a:gd name="connsiteX11585" fmla="*/ 3137784 w 4610101"/>
              <a:gd name="connsiteY11585" fmla="*/ 1378416 h 6557032"/>
              <a:gd name="connsiteX11586" fmla="*/ 3130723 w 4610101"/>
              <a:gd name="connsiteY11586" fmla="*/ 1370672 h 6557032"/>
              <a:gd name="connsiteX11587" fmla="*/ 859208 w 4610101"/>
              <a:gd name="connsiteY11587" fmla="*/ 1370612 h 6557032"/>
              <a:gd name="connsiteX11588" fmla="*/ 859155 w 4610101"/>
              <a:gd name="connsiteY11588" fmla="*/ 1371583 h 6557032"/>
              <a:gd name="connsiteX11589" fmla="*/ 858191 w 4610101"/>
              <a:gd name="connsiteY11589" fmla="*/ 1372288 h 6557032"/>
              <a:gd name="connsiteX11590" fmla="*/ 3292669 w 4610101"/>
              <a:gd name="connsiteY11590" fmla="*/ 1369305 h 6557032"/>
              <a:gd name="connsiteX11591" fmla="*/ 3287202 w 4610101"/>
              <a:gd name="connsiteY11591" fmla="*/ 1371127 h 6557032"/>
              <a:gd name="connsiteX11592" fmla="*/ 3294491 w 4610101"/>
              <a:gd name="connsiteY11592" fmla="*/ 1372949 h 6557032"/>
              <a:gd name="connsiteX11593" fmla="*/ 3292669 w 4610101"/>
              <a:gd name="connsiteY11593" fmla="*/ 1369305 h 6557032"/>
              <a:gd name="connsiteX11594" fmla="*/ 3263514 w 4610101"/>
              <a:gd name="connsiteY11594" fmla="*/ 1369305 h 6557032"/>
              <a:gd name="connsiteX11595" fmla="*/ 3265336 w 4610101"/>
              <a:gd name="connsiteY11595" fmla="*/ 1378416 h 6557032"/>
              <a:gd name="connsiteX11596" fmla="*/ 3270803 w 4610101"/>
              <a:gd name="connsiteY11596" fmla="*/ 1376594 h 6557032"/>
              <a:gd name="connsiteX11597" fmla="*/ 3268980 w 4610101"/>
              <a:gd name="connsiteY11597" fmla="*/ 1369305 h 6557032"/>
              <a:gd name="connsiteX11598" fmla="*/ 3263514 w 4610101"/>
              <a:gd name="connsiteY11598" fmla="*/ 1369305 h 6557032"/>
              <a:gd name="connsiteX11599" fmla="*/ 3183566 w 4610101"/>
              <a:gd name="connsiteY11599" fmla="*/ 1368849 h 6557032"/>
              <a:gd name="connsiteX11600" fmla="*/ 3179694 w 4610101"/>
              <a:gd name="connsiteY11600" fmla="*/ 1380238 h 6557032"/>
              <a:gd name="connsiteX11601" fmla="*/ 3185160 w 4610101"/>
              <a:gd name="connsiteY11601" fmla="*/ 1380238 h 6557032"/>
              <a:gd name="connsiteX11602" fmla="*/ 3179694 w 4610101"/>
              <a:gd name="connsiteY11602" fmla="*/ 1383882 h 6557032"/>
              <a:gd name="connsiteX11603" fmla="*/ 3181516 w 4610101"/>
              <a:gd name="connsiteY11603" fmla="*/ 1392993 h 6557032"/>
              <a:gd name="connsiteX11604" fmla="*/ 3190627 w 4610101"/>
              <a:gd name="connsiteY11604" fmla="*/ 1387527 h 6557032"/>
              <a:gd name="connsiteX11605" fmla="*/ 3194271 w 4610101"/>
              <a:gd name="connsiteY11605" fmla="*/ 1371127 h 6557032"/>
              <a:gd name="connsiteX11606" fmla="*/ 3183566 w 4610101"/>
              <a:gd name="connsiteY11606" fmla="*/ 1368849 h 6557032"/>
              <a:gd name="connsiteX11607" fmla="*/ 1144326 w 4610101"/>
              <a:gd name="connsiteY11607" fmla="*/ 1367483 h 6557032"/>
              <a:gd name="connsiteX11608" fmla="*/ 1142655 w 4610101"/>
              <a:gd name="connsiteY11608" fmla="*/ 1380845 h 6557032"/>
              <a:gd name="connsiteX11609" fmla="*/ 1142503 w 4610101"/>
              <a:gd name="connsiteY11609" fmla="*/ 1380238 h 6557032"/>
              <a:gd name="connsiteX11610" fmla="*/ 1138859 w 4610101"/>
              <a:gd name="connsiteY11610" fmla="*/ 1389349 h 6557032"/>
              <a:gd name="connsiteX11611" fmla="*/ 1144326 w 4610101"/>
              <a:gd name="connsiteY11611" fmla="*/ 1392993 h 6557032"/>
              <a:gd name="connsiteX11612" fmla="*/ 1144326 w 4610101"/>
              <a:gd name="connsiteY11612" fmla="*/ 1389349 h 6557032"/>
              <a:gd name="connsiteX11613" fmla="*/ 1142908 w 4610101"/>
              <a:gd name="connsiteY11613" fmla="*/ 1389552 h 6557032"/>
              <a:gd name="connsiteX11614" fmla="*/ 1143870 w 4610101"/>
              <a:gd name="connsiteY11614" fmla="*/ 1385705 h 6557032"/>
              <a:gd name="connsiteX11615" fmla="*/ 1142867 w 4610101"/>
              <a:gd name="connsiteY11615" fmla="*/ 1381696 h 6557032"/>
              <a:gd name="connsiteX11616" fmla="*/ 1144326 w 4610101"/>
              <a:gd name="connsiteY11616" fmla="*/ 1380238 h 6557032"/>
              <a:gd name="connsiteX11617" fmla="*/ 1147970 w 4610101"/>
              <a:gd name="connsiteY11617" fmla="*/ 1396638 h 6557032"/>
              <a:gd name="connsiteX11618" fmla="*/ 1147970 w 4610101"/>
              <a:gd name="connsiteY11618" fmla="*/ 1392993 h 6557032"/>
              <a:gd name="connsiteX11619" fmla="*/ 1144326 w 4610101"/>
              <a:gd name="connsiteY11619" fmla="*/ 1367483 h 6557032"/>
              <a:gd name="connsiteX11620" fmla="*/ 599496 w 4610101"/>
              <a:gd name="connsiteY11620" fmla="*/ 1367483 h 6557032"/>
              <a:gd name="connsiteX11621" fmla="*/ 594030 w 4610101"/>
              <a:gd name="connsiteY11621" fmla="*/ 1378416 h 6557032"/>
              <a:gd name="connsiteX11622" fmla="*/ 601318 w 4610101"/>
              <a:gd name="connsiteY11622" fmla="*/ 1382060 h 6557032"/>
              <a:gd name="connsiteX11623" fmla="*/ 601318 w 4610101"/>
              <a:gd name="connsiteY11623" fmla="*/ 1372949 h 6557032"/>
              <a:gd name="connsiteX11624" fmla="*/ 599496 w 4610101"/>
              <a:gd name="connsiteY11624" fmla="*/ 1367483 h 6557032"/>
              <a:gd name="connsiteX11625" fmla="*/ 561230 w 4610101"/>
              <a:gd name="connsiteY11625" fmla="*/ 1367483 h 6557032"/>
              <a:gd name="connsiteX11626" fmla="*/ 564874 w 4610101"/>
              <a:gd name="connsiteY11626" fmla="*/ 1374771 h 6557032"/>
              <a:gd name="connsiteX11627" fmla="*/ 566697 w 4610101"/>
              <a:gd name="connsiteY11627" fmla="*/ 1371127 h 6557032"/>
              <a:gd name="connsiteX11628" fmla="*/ 561230 w 4610101"/>
              <a:gd name="connsiteY11628" fmla="*/ 1367483 h 6557032"/>
              <a:gd name="connsiteX11629" fmla="*/ 535719 w 4610101"/>
              <a:gd name="connsiteY11629" fmla="*/ 1367483 h 6557032"/>
              <a:gd name="connsiteX11630" fmla="*/ 535112 w 4610101"/>
              <a:gd name="connsiteY11630" fmla="*/ 1369305 h 6557032"/>
              <a:gd name="connsiteX11631" fmla="*/ 535315 w 4610101"/>
              <a:gd name="connsiteY11631" fmla="*/ 1368090 h 6557032"/>
              <a:gd name="connsiteX11632" fmla="*/ 642089 w 4610101"/>
              <a:gd name="connsiteY11632" fmla="*/ 1367255 h 6557032"/>
              <a:gd name="connsiteX11633" fmla="*/ 637761 w 4610101"/>
              <a:gd name="connsiteY11633" fmla="*/ 1367483 h 6557032"/>
              <a:gd name="connsiteX11634" fmla="*/ 645050 w 4610101"/>
              <a:gd name="connsiteY11634" fmla="*/ 1371127 h 6557032"/>
              <a:gd name="connsiteX11635" fmla="*/ 642089 w 4610101"/>
              <a:gd name="connsiteY11635" fmla="*/ 1367255 h 6557032"/>
              <a:gd name="connsiteX11636" fmla="*/ 3403366 w 4610101"/>
              <a:gd name="connsiteY11636" fmla="*/ 1366344 h 6557032"/>
              <a:gd name="connsiteX11637" fmla="*/ 3398355 w 4610101"/>
              <a:gd name="connsiteY11637" fmla="*/ 1367483 h 6557032"/>
              <a:gd name="connsiteX11638" fmla="*/ 3405643 w 4610101"/>
              <a:gd name="connsiteY11638" fmla="*/ 1369305 h 6557032"/>
              <a:gd name="connsiteX11639" fmla="*/ 3403366 w 4610101"/>
              <a:gd name="connsiteY11639" fmla="*/ 1366344 h 6557032"/>
              <a:gd name="connsiteX11640" fmla="*/ 696071 w 4610101"/>
              <a:gd name="connsiteY11640" fmla="*/ 1365661 h 6557032"/>
              <a:gd name="connsiteX11641" fmla="*/ 694249 w 4610101"/>
              <a:gd name="connsiteY11641" fmla="*/ 1369305 h 6557032"/>
              <a:gd name="connsiteX11642" fmla="*/ 699715 w 4610101"/>
              <a:gd name="connsiteY11642" fmla="*/ 1371127 h 6557032"/>
              <a:gd name="connsiteX11643" fmla="*/ 696071 w 4610101"/>
              <a:gd name="connsiteY11643" fmla="*/ 1365661 h 6557032"/>
              <a:gd name="connsiteX11644" fmla="*/ 378785 w 4610101"/>
              <a:gd name="connsiteY11644" fmla="*/ 1365661 h 6557032"/>
              <a:gd name="connsiteX11645" fmla="*/ 373546 w 4610101"/>
              <a:gd name="connsiteY11645" fmla="*/ 1367483 h 6557032"/>
              <a:gd name="connsiteX11646" fmla="*/ 382657 w 4610101"/>
              <a:gd name="connsiteY11646" fmla="*/ 1369305 h 6557032"/>
              <a:gd name="connsiteX11647" fmla="*/ 378785 w 4610101"/>
              <a:gd name="connsiteY11647" fmla="*/ 1365661 h 6557032"/>
              <a:gd name="connsiteX11648" fmla="*/ 3092230 w 4610101"/>
              <a:gd name="connsiteY11648" fmla="*/ 1363838 h 6557032"/>
              <a:gd name="connsiteX11649" fmla="*/ 3081297 w 4610101"/>
              <a:gd name="connsiteY11649" fmla="*/ 1369305 h 6557032"/>
              <a:gd name="connsiteX11650" fmla="*/ 3092230 w 4610101"/>
              <a:gd name="connsiteY11650" fmla="*/ 1372949 h 6557032"/>
              <a:gd name="connsiteX11651" fmla="*/ 3092230 w 4610101"/>
              <a:gd name="connsiteY11651" fmla="*/ 1363838 h 6557032"/>
              <a:gd name="connsiteX11652" fmla="*/ 461010 w 4610101"/>
              <a:gd name="connsiteY11652" fmla="*/ 1363838 h 6557032"/>
              <a:gd name="connsiteX11653" fmla="*/ 459188 w 4610101"/>
              <a:gd name="connsiteY11653" fmla="*/ 1365661 h 6557032"/>
              <a:gd name="connsiteX11654" fmla="*/ 466478 w 4610101"/>
              <a:gd name="connsiteY11654" fmla="*/ 1365661 h 6557032"/>
              <a:gd name="connsiteX11655" fmla="*/ 461010 w 4610101"/>
              <a:gd name="connsiteY11655" fmla="*/ 1363838 h 6557032"/>
              <a:gd name="connsiteX11656" fmla="*/ 446433 w 4610101"/>
              <a:gd name="connsiteY11656" fmla="*/ 1363838 h 6557032"/>
              <a:gd name="connsiteX11657" fmla="*/ 437322 w 4610101"/>
              <a:gd name="connsiteY11657" fmla="*/ 1367483 h 6557032"/>
              <a:gd name="connsiteX11658" fmla="*/ 446433 w 4610101"/>
              <a:gd name="connsiteY11658" fmla="*/ 1363838 h 6557032"/>
              <a:gd name="connsiteX11659" fmla="*/ 1104899 w 4610101"/>
              <a:gd name="connsiteY11659" fmla="*/ 1362897 h 6557032"/>
              <a:gd name="connsiteX11660" fmla="*/ 1109039 w 4610101"/>
              <a:gd name="connsiteY11660" fmla="*/ 1364367 h 6557032"/>
              <a:gd name="connsiteX11661" fmla="*/ 1109704 w 4610101"/>
              <a:gd name="connsiteY11661" fmla="*/ 1369305 h 6557032"/>
              <a:gd name="connsiteX11662" fmla="*/ 1124282 w 4610101"/>
              <a:gd name="connsiteY11662" fmla="*/ 1362016 h 6557032"/>
              <a:gd name="connsiteX11663" fmla="*/ 1124282 w 4610101"/>
              <a:gd name="connsiteY11663" fmla="*/ 1378416 h 6557032"/>
              <a:gd name="connsiteX11664" fmla="*/ 1131570 w 4610101"/>
              <a:gd name="connsiteY11664" fmla="*/ 1383882 h 6557032"/>
              <a:gd name="connsiteX11665" fmla="*/ 1124282 w 4610101"/>
              <a:gd name="connsiteY11665" fmla="*/ 1362016 h 6557032"/>
              <a:gd name="connsiteX11666" fmla="*/ 1104238 w 4610101"/>
              <a:gd name="connsiteY11666" fmla="*/ 1362016 h 6557032"/>
              <a:gd name="connsiteX11667" fmla="*/ 1104899 w 4610101"/>
              <a:gd name="connsiteY11667" fmla="*/ 1362897 h 6557032"/>
              <a:gd name="connsiteX11668" fmla="*/ 1103102 w 4610101"/>
              <a:gd name="connsiteY11668" fmla="*/ 1362259 h 6557032"/>
              <a:gd name="connsiteX11669" fmla="*/ 1102416 w 4610101"/>
              <a:gd name="connsiteY11669" fmla="*/ 1362016 h 6557032"/>
              <a:gd name="connsiteX11670" fmla="*/ 1103102 w 4610101"/>
              <a:gd name="connsiteY11670" fmla="*/ 1362259 h 6557032"/>
              <a:gd name="connsiteX11671" fmla="*/ 1102669 w 4610101"/>
              <a:gd name="connsiteY11671" fmla="*/ 1362352 h 6557032"/>
              <a:gd name="connsiteX11672" fmla="*/ 898333 w 4610101"/>
              <a:gd name="connsiteY11672" fmla="*/ 1362016 h 6557032"/>
              <a:gd name="connsiteX11673" fmla="*/ 898333 w 4610101"/>
              <a:gd name="connsiteY11673" fmla="*/ 1369305 h 6557032"/>
              <a:gd name="connsiteX11674" fmla="*/ 901976 w 4610101"/>
              <a:gd name="connsiteY11674" fmla="*/ 1365661 h 6557032"/>
              <a:gd name="connsiteX11675" fmla="*/ 898333 w 4610101"/>
              <a:gd name="connsiteY11675" fmla="*/ 1362016 h 6557032"/>
              <a:gd name="connsiteX11676" fmla="*/ 639583 w 4610101"/>
              <a:gd name="connsiteY11676" fmla="*/ 1362016 h 6557032"/>
              <a:gd name="connsiteX11677" fmla="*/ 639583 w 4610101"/>
              <a:gd name="connsiteY11677" fmla="*/ 1365661 h 6557032"/>
              <a:gd name="connsiteX11678" fmla="*/ 639583 w 4610101"/>
              <a:gd name="connsiteY11678" fmla="*/ 1362016 h 6557032"/>
              <a:gd name="connsiteX11679" fmla="*/ 563052 w 4610101"/>
              <a:gd name="connsiteY11679" fmla="*/ 1362016 h 6557032"/>
              <a:gd name="connsiteX11680" fmla="*/ 581274 w 4610101"/>
              <a:gd name="connsiteY11680" fmla="*/ 1376594 h 6557032"/>
              <a:gd name="connsiteX11681" fmla="*/ 563052 w 4610101"/>
              <a:gd name="connsiteY11681" fmla="*/ 1362016 h 6557032"/>
              <a:gd name="connsiteX11682" fmla="*/ 557586 w 4610101"/>
              <a:gd name="connsiteY11682" fmla="*/ 1362016 h 6557032"/>
              <a:gd name="connsiteX11683" fmla="*/ 555763 w 4610101"/>
              <a:gd name="connsiteY11683" fmla="*/ 1365661 h 6557032"/>
              <a:gd name="connsiteX11684" fmla="*/ 553941 w 4610101"/>
              <a:gd name="connsiteY11684" fmla="*/ 1387527 h 6557032"/>
              <a:gd name="connsiteX11685" fmla="*/ 557586 w 4610101"/>
              <a:gd name="connsiteY11685" fmla="*/ 1383882 h 6557032"/>
              <a:gd name="connsiteX11686" fmla="*/ 570341 w 4610101"/>
              <a:gd name="connsiteY11686" fmla="*/ 1398460 h 6557032"/>
              <a:gd name="connsiteX11687" fmla="*/ 572163 w 4610101"/>
              <a:gd name="connsiteY11687" fmla="*/ 1394815 h 6557032"/>
              <a:gd name="connsiteX11688" fmla="*/ 577630 w 4610101"/>
              <a:gd name="connsiteY11688" fmla="*/ 1402104 h 6557032"/>
              <a:gd name="connsiteX11689" fmla="*/ 564874 w 4610101"/>
              <a:gd name="connsiteY11689" fmla="*/ 1402104 h 6557032"/>
              <a:gd name="connsiteX11690" fmla="*/ 588562 w 4610101"/>
              <a:gd name="connsiteY11690" fmla="*/ 1405748 h 6557032"/>
              <a:gd name="connsiteX11691" fmla="*/ 586741 w 4610101"/>
              <a:gd name="connsiteY11691" fmla="*/ 1402104 h 6557032"/>
              <a:gd name="connsiteX11692" fmla="*/ 595852 w 4610101"/>
              <a:gd name="connsiteY11692" fmla="*/ 1402104 h 6557032"/>
              <a:gd name="connsiteX11693" fmla="*/ 592207 w 4610101"/>
              <a:gd name="connsiteY11693" fmla="*/ 1400282 h 6557032"/>
              <a:gd name="connsiteX11694" fmla="*/ 594030 w 4610101"/>
              <a:gd name="connsiteY11694" fmla="*/ 1400282 h 6557032"/>
              <a:gd name="connsiteX11695" fmla="*/ 599496 w 4610101"/>
              <a:gd name="connsiteY11695" fmla="*/ 1400282 h 6557032"/>
              <a:gd name="connsiteX11696" fmla="*/ 601318 w 4610101"/>
              <a:gd name="connsiteY11696" fmla="*/ 1407571 h 6557032"/>
              <a:gd name="connsiteX11697" fmla="*/ 599496 w 4610101"/>
              <a:gd name="connsiteY11697" fmla="*/ 1400282 h 6557032"/>
              <a:gd name="connsiteX11698" fmla="*/ 599496 w 4610101"/>
              <a:gd name="connsiteY11698" fmla="*/ 1391171 h 6557032"/>
              <a:gd name="connsiteX11699" fmla="*/ 561230 w 4610101"/>
              <a:gd name="connsiteY11699" fmla="*/ 1378416 h 6557032"/>
              <a:gd name="connsiteX11700" fmla="*/ 559408 w 4610101"/>
              <a:gd name="connsiteY11700" fmla="*/ 1380238 h 6557032"/>
              <a:gd name="connsiteX11701" fmla="*/ 557586 w 4610101"/>
              <a:gd name="connsiteY11701" fmla="*/ 1362016 h 6557032"/>
              <a:gd name="connsiteX11702" fmla="*/ 914504 w 4610101"/>
              <a:gd name="connsiteY11702" fmla="*/ 1361105 h 6557032"/>
              <a:gd name="connsiteX11703" fmla="*/ 907444 w 4610101"/>
              <a:gd name="connsiteY11703" fmla="*/ 1367483 h 6557032"/>
              <a:gd name="connsiteX11704" fmla="*/ 914732 w 4610101"/>
              <a:gd name="connsiteY11704" fmla="*/ 1374771 h 6557032"/>
              <a:gd name="connsiteX11705" fmla="*/ 922020 w 4610101"/>
              <a:gd name="connsiteY11705" fmla="*/ 1365661 h 6557032"/>
              <a:gd name="connsiteX11706" fmla="*/ 925666 w 4610101"/>
              <a:gd name="connsiteY11706" fmla="*/ 1365661 h 6557032"/>
              <a:gd name="connsiteX11707" fmla="*/ 914504 w 4610101"/>
              <a:gd name="connsiteY11707" fmla="*/ 1361105 h 6557032"/>
              <a:gd name="connsiteX11708" fmla="*/ 3287202 w 4610101"/>
              <a:gd name="connsiteY11708" fmla="*/ 1360194 h 6557032"/>
              <a:gd name="connsiteX11709" fmla="*/ 3283558 w 4610101"/>
              <a:gd name="connsiteY11709" fmla="*/ 1362016 h 6557032"/>
              <a:gd name="connsiteX11710" fmla="*/ 3290847 w 4610101"/>
              <a:gd name="connsiteY11710" fmla="*/ 1365661 h 6557032"/>
              <a:gd name="connsiteX11711" fmla="*/ 3287202 w 4610101"/>
              <a:gd name="connsiteY11711" fmla="*/ 1360194 h 6557032"/>
              <a:gd name="connsiteX11712" fmla="*/ 3203382 w 4610101"/>
              <a:gd name="connsiteY11712" fmla="*/ 1360194 h 6557032"/>
              <a:gd name="connsiteX11713" fmla="*/ 3208849 w 4610101"/>
              <a:gd name="connsiteY11713" fmla="*/ 1371127 h 6557032"/>
              <a:gd name="connsiteX11714" fmla="*/ 3208849 w 4610101"/>
              <a:gd name="connsiteY11714" fmla="*/ 1360194 h 6557032"/>
              <a:gd name="connsiteX11715" fmla="*/ 2664019 w 4610101"/>
              <a:gd name="connsiteY11715" fmla="*/ 1360194 h 6557032"/>
              <a:gd name="connsiteX11716" fmla="*/ 2654908 w 4610101"/>
              <a:gd name="connsiteY11716" fmla="*/ 1371127 h 6557032"/>
              <a:gd name="connsiteX11717" fmla="*/ 2667663 w 4610101"/>
              <a:gd name="connsiteY11717" fmla="*/ 1367483 h 6557032"/>
              <a:gd name="connsiteX11718" fmla="*/ 2664019 w 4610101"/>
              <a:gd name="connsiteY11718" fmla="*/ 1360194 h 6557032"/>
              <a:gd name="connsiteX11719" fmla="*/ 1095127 w 4610101"/>
              <a:gd name="connsiteY11719" fmla="*/ 1360194 h 6557032"/>
              <a:gd name="connsiteX11720" fmla="*/ 1096949 w 4610101"/>
              <a:gd name="connsiteY11720" fmla="*/ 1374771 h 6557032"/>
              <a:gd name="connsiteX11721" fmla="*/ 1096949 w 4610101"/>
              <a:gd name="connsiteY11721" fmla="*/ 1389349 h 6557032"/>
              <a:gd name="connsiteX11722" fmla="*/ 1118815 w 4610101"/>
              <a:gd name="connsiteY11722" fmla="*/ 1394815 h 6557032"/>
              <a:gd name="connsiteX11723" fmla="*/ 1100593 w 4610101"/>
              <a:gd name="connsiteY11723" fmla="*/ 1367483 h 6557032"/>
              <a:gd name="connsiteX11724" fmla="*/ 1098771 w 4610101"/>
              <a:gd name="connsiteY11724" fmla="*/ 1367483 h 6557032"/>
              <a:gd name="connsiteX11725" fmla="*/ 1095127 w 4610101"/>
              <a:gd name="connsiteY11725" fmla="*/ 1360194 h 6557032"/>
              <a:gd name="connsiteX11726" fmla="*/ 484700 w 4610101"/>
              <a:gd name="connsiteY11726" fmla="*/ 1360194 h 6557032"/>
              <a:gd name="connsiteX11727" fmla="*/ 479232 w 4610101"/>
              <a:gd name="connsiteY11727" fmla="*/ 1365661 h 6557032"/>
              <a:gd name="connsiteX11728" fmla="*/ 482876 w 4610101"/>
              <a:gd name="connsiteY11728" fmla="*/ 1369305 h 6557032"/>
              <a:gd name="connsiteX11729" fmla="*/ 484700 w 4610101"/>
              <a:gd name="connsiteY11729" fmla="*/ 1360194 h 6557032"/>
              <a:gd name="connsiteX11730" fmla="*/ 3225248 w 4610101"/>
              <a:gd name="connsiteY11730" fmla="*/ 1358372 h 6557032"/>
              <a:gd name="connsiteX11731" fmla="*/ 3219782 w 4610101"/>
              <a:gd name="connsiteY11731" fmla="*/ 1360194 h 6557032"/>
              <a:gd name="connsiteX11732" fmla="*/ 3219782 w 4610101"/>
              <a:gd name="connsiteY11732" fmla="*/ 1363838 h 6557032"/>
              <a:gd name="connsiteX11733" fmla="*/ 3216137 w 4610101"/>
              <a:gd name="connsiteY11733" fmla="*/ 1363838 h 6557032"/>
              <a:gd name="connsiteX11734" fmla="*/ 3216137 w 4610101"/>
              <a:gd name="connsiteY11734" fmla="*/ 1372949 h 6557032"/>
              <a:gd name="connsiteX11735" fmla="*/ 3228893 w 4610101"/>
              <a:gd name="connsiteY11735" fmla="*/ 1374771 h 6557032"/>
              <a:gd name="connsiteX11736" fmla="*/ 3228893 w 4610101"/>
              <a:gd name="connsiteY11736" fmla="*/ 1367483 h 6557032"/>
              <a:gd name="connsiteX11737" fmla="*/ 3223426 w 4610101"/>
              <a:gd name="connsiteY11737" fmla="*/ 1365661 h 6557032"/>
              <a:gd name="connsiteX11738" fmla="*/ 3225248 w 4610101"/>
              <a:gd name="connsiteY11738" fmla="*/ 1358372 h 6557032"/>
              <a:gd name="connsiteX11739" fmla="*/ 3168761 w 4610101"/>
              <a:gd name="connsiteY11739" fmla="*/ 1358372 h 6557032"/>
              <a:gd name="connsiteX11740" fmla="*/ 3172405 w 4610101"/>
              <a:gd name="connsiteY11740" fmla="*/ 1387527 h 6557032"/>
              <a:gd name="connsiteX11741" fmla="*/ 3168761 w 4610101"/>
              <a:gd name="connsiteY11741" fmla="*/ 1358372 h 6557032"/>
              <a:gd name="connsiteX11742" fmla="*/ 767136 w 4610101"/>
              <a:gd name="connsiteY11742" fmla="*/ 1358372 h 6557032"/>
              <a:gd name="connsiteX11743" fmla="*/ 761670 w 4610101"/>
              <a:gd name="connsiteY11743" fmla="*/ 1362016 h 6557032"/>
              <a:gd name="connsiteX11744" fmla="*/ 768959 w 4610101"/>
              <a:gd name="connsiteY11744" fmla="*/ 1367483 h 6557032"/>
              <a:gd name="connsiteX11745" fmla="*/ 767136 w 4610101"/>
              <a:gd name="connsiteY11745" fmla="*/ 1358372 h 6557032"/>
              <a:gd name="connsiteX11746" fmla="*/ 655983 w 4610101"/>
              <a:gd name="connsiteY11746" fmla="*/ 1358372 h 6557032"/>
              <a:gd name="connsiteX11747" fmla="*/ 652339 w 4610101"/>
              <a:gd name="connsiteY11747" fmla="*/ 1365661 h 6557032"/>
              <a:gd name="connsiteX11748" fmla="*/ 655983 w 4610101"/>
              <a:gd name="connsiteY11748" fmla="*/ 1358372 h 6557032"/>
              <a:gd name="connsiteX11749" fmla="*/ 499276 w 4610101"/>
              <a:gd name="connsiteY11749" fmla="*/ 1358372 h 6557032"/>
              <a:gd name="connsiteX11750" fmla="*/ 495632 w 4610101"/>
              <a:gd name="connsiteY11750" fmla="*/ 1369305 h 6557032"/>
              <a:gd name="connsiteX11751" fmla="*/ 499276 w 4610101"/>
              <a:gd name="connsiteY11751" fmla="*/ 1358372 h 6557032"/>
              <a:gd name="connsiteX11752" fmla="*/ 473766 w 4610101"/>
              <a:gd name="connsiteY11752" fmla="*/ 1358372 h 6557032"/>
              <a:gd name="connsiteX11753" fmla="*/ 470121 w 4610101"/>
              <a:gd name="connsiteY11753" fmla="*/ 1360194 h 6557032"/>
              <a:gd name="connsiteX11754" fmla="*/ 475589 w 4610101"/>
              <a:gd name="connsiteY11754" fmla="*/ 1363838 h 6557032"/>
              <a:gd name="connsiteX11755" fmla="*/ 482876 w 4610101"/>
              <a:gd name="connsiteY11755" fmla="*/ 1358372 h 6557032"/>
              <a:gd name="connsiteX11756" fmla="*/ 473766 w 4610101"/>
              <a:gd name="connsiteY11756" fmla="*/ 1362016 h 6557032"/>
              <a:gd name="connsiteX11757" fmla="*/ 473766 w 4610101"/>
              <a:gd name="connsiteY11757" fmla="*/ 1358372 h 6557032"/>
              <a:gd name="connsiteX11758" fmla="*/ 3393572 w 4610101"/>
              <a:gd name="connsiteY11758" fmla="*/ 1357461 h 6557032"/>
              <a:gd name="connsiteX11759" fmla="*/ 3387422 w 4610101"/>
              <a:gd name="connsiteY11759" fmla="*/ 1358372 h 6557032"/>
              <a:gd name="connsiteX11760" fmla="*/ 3392888 w 4610101"/>
              <a:gd name="connsiteY11760" fmla="*/ 1362016 h 6557032"/>
              <a:gd name="connsiteX11761" fmla="*/ 3393572 w 4610101"/>
              <a:gd name="connsiteY11761" fmla="*/ 1357461 h 6557032"/>
              <a:gd name="connsiteX11762" fmla="*/ 3197916 w 4610101"/>
              <a:gd name="connsiteY11762" fmla="*/ 1356550 h 6557032"/>
              <a:gd name="connsiteX11763" fmla="*/ 3192449 w 4610101"/>
              <a:gd name="connsiteY11763" fmla="*/ 1358372 h 6557032"/>
              <a:gd name="connsiteX11764" fmla="*/ 3194636 w 4610101"/>
              <a:gd name="connsiteY11764" fmla="*/ 1359829 h 6557032"/>
              <a:gd name="connsiteX11765" fmla="*/ 3194271 w 4610101"/>
              <a:gd name="connsiteY11765" fmla="*/ 1360194 h 6557032"/>
              <a:gd name="connsiteX11766" fmla="*/ 3195183 w 4610101"/>
              <a:gd name="connsiteY11766" fmla="*/ 1360194 h 6557032"/>
              <a:gd name="connsiteX11767" fmla="*/ 3197916 w 4610101"/>
              <a:gd name="connsiteY11767" fmla="*/ 1362016 h 6557032"/>
              <a:gd name="connsiteX11768" fmla="*/ 3197916 w 4610101"/>
              <a:gd name="connsiteY11768" fmla="*/ 1360194 h 6557032"/>
              <a:gd name="connsiteX11769" fmla="*/ 3195183 w 4610101"/>
              <a:gd name="connsiteY11769" fmla="*/ 1360194 h 6557032"/>
              <a:gd name="connsiteX11770" fmla="*/ 3194636 w 4610101"/>
              <a:gd name="connsiteY11770" fmla="*/ 1359829 h 6557032"/>
              <a:gd name="connsiteX11771" fmla="*/ 2525534 w 4610101"/>
              <a:gd name="connsiteY11771" fmla="*/ 1356550 h 6557032"/>
              <a:gd name="connsiteX11772" fmla="*/ 2532822 w 4610101"/>
              <a:gd name="connsiteY11772" fmla="*/ 1363838 h 6557032"/>
              <a:gd name="connsiteX11773" fmla="*/ 2532822 w 4610101"/>
              <a:gd name="connsiteY11773" fmla="*/ 1360194 h 6557032"/>
              <a:gd name="connsiteX11774" fmla="*/ 2525534 w 4610101"/>
              <a:gd name="connsiteY11774" fmla="*/ 1356550 h 6557032"/>
              <a:gd name="connsiteX11775" fmla="*/ 792646 w 4610101"/>
              <a:gd name="connsiteY11775" fmla="*/ 1356550 h 6557032"/>
              <a:gd name="connsiteX11776" fmla="*/ 790824 w 4610101"/>
              <a:gd name="connsiteY11776" fmla="*/ 1369305 h 6557032"/>
              <a:gd name="connsiteX11777" fmla="*/ 792646 w 4610101"/>
              <a:gd name="connsiteY11777" fmla="*/ 1356550 h 6557032"/>
              <a:gd name="connsiteX11778" fmla="*/ 716115 w 4610101"/>
              <a:gd name="connsiteY11778" fmla="*/ 1356550 h 6557032"/>
              <a:gd name="connsiteX11779" fmla="*/ 696071 w 4610101"/>
              <a:gd name="connsiteY11779" fmla="*/ 1363838 h 6557032"/>
              <a:gd name="connsiteX11780" fmla="*/ 702676 w 4610101"/>
              <a:gd name="connsiteY11780" fmla="*/ 1373177 h 6557032"/>
              <a:gd name="connsiteX11781" fmla="*/ 708259 w 4610101"/>
              <a:gd name="connsiteY11781" fmla="*/ 1376846 h 6557032"/>
              <a:gd name="connsiteX11782" fmla="*/ 692426 w 4610101"/>
              <a:gd name="connsiteY11782" fmla="*/ 1383882 h 6557032"/>
              <a:gd name="connsiteX11783" fmla="*/ 696071 w 4610101"/>
              <a:gd name="connsiteY11783" fmla="*/ 1385705 h 6557032"/>
              <a:gd name="connsiteX11784" fmla="*/ 719759 w 4610101"/>
              <a:gd name="connsiteY11784" fmla="*/ 1398460 h 6557032"/>
              <a:gd name="connsiteX11785" fmla="*/ 721581 w 4610101"/>
              <a:gd name="connsiteY11785" fmla="*/ 1382060 h 6557032"/>
              <a:gd name="connsiteX11786" fmla="*/ 707004 w 4610101"/>
              <a:gd name="connsiteY11786" fmla="*/ 1383882 h 6557032"/>
              <a:gd name="connsiteX11787" fmla="*/ 708692 w 4610101"/>
              <a:gd name="connsiteY11787" fmla="*/ 1377130 h 6557032"/>
              <a:gd name="connsiteX11788" fmla="*/ 710648 w 4610101"/>
              <a:gd name="connsiteY11788" fmla="*/ 1378416 h 6557032"/>
              <a:gd name="connsiteX11789" fmla="*/ 716115 w 4610101"/>
              <a:gd name="connsiteY11789" fmla="*/ 1356550 h 6557032"/>
              <a:gd name="connsiteX11790" fmla="*/ 634117 w 4610101"/>
              <a:gd name="connsiteY11790" fmla="*/ 1356550 h 6557032"/>
              <a:gd name="connsiteX11791" fmla="*/ 625006 w 4610101"/>
              <a:gd name="connsiteY11791" fmla="*/ 1362016 h 6557032"/>
              <a:gd name="connsiteX11792" fmla="*/ 637761 w 4610101"/>
              <a:gd name="connsiteY11792" fmla="*/ 1360194 h 6557032"/>
              <a:gd name="connsiteX11793" fmla="*/ 634117 w 4610101"/>
              <a:gd name="connsiteY11793" fmla="*/ 1356550 h 6557032"/>
              <a:gd name="connsiteX11794" fmla="*/ 541186 w 4610101"/>
              <a:gd name="connsiteY11794" fmla="*/ 1356550 h 6557032"/>
              <a:gd name="connsiteX11795" fmla="*/ 539364 w 4610101"/>
              <a:gd name="connsiteY11795" fmla="*/ 1367483 h 6557032"/>
              <a:gd name="connsiteX11796" fmla="*/ 535719 w 4610101"/>
              <a:gd name="connsiteY11796" fmla="*/ 1365661 h 6557032"/>
              <a:gd name="connsiteX11797" fmla="*/ 535315 w 4610101"/>
              <a:gd name="connsiteY11797" fmla="*/ 1368090 h 6557032"/>
              <a:gd name="connsiteX11798" fmla="*/ 532075 w 4610101"/>
              <a:gd name="connsiteY11798" fmla="*/ 1372949 h 6557032"/>
              <a:gd name="connsiteX11799" fmla="*/ 534580 w 4610101"/>
              <a:gd name="connsiteY11799" fmla="*/ 1370899 h 6557032"/>
              <a:gd name="connsiteX11800" fmla="*/ 535112 w 4610101"/>
              <a:gd name="connsiteY11800" fmla="*/ 1369305 h 6557032"/>
              <a:gd name="connsiteX11801" fmla="*/ 533897 w 4610101"/>
              <a:gd name="connsiteY11801" fmla="*/ 1376594 h 6557032"/>
              <a:gd name="connsiteX11802" fmla="*/ 544830 w 4610101"/>
              <a:gd name="connsiteY11802" fmla="*/ 1378416 h 6557032"/>
              <a:gd name="connsiteX11803" fmla="*/ 541186 w 4610101"/>
              <a:gd name="connsiteY11803" fmla="*/ 1374771 h 6557032"/>
              <a:gd name="connsiteX11804" fmla="*/ 546653 w 4610101"/>
              <a:gd name="connsiteY11804" fmla="*/ 1374771 h 6557032"/>
              <a:gd name="connsiteX11805" fmla="*/ 543008 w 4610101"/>
              <a:gd name="connsiteY11805" fmla="*/ 1371127 h 6557032"/>
              <a:gd name="connsiteX11806" fmla="*/ 550297 w 4610101"/>
              <a:gd name="connsiteY11806" fmla="*/ 1371127 h 6557032"/>
              <a:gd name="connsiteX11807" fmla="*/ 541186 w 4610101"/>
              <a:gd name="connsiteY11807" fmla="*/ 1356550 h 6557032"/>
              <a:gd name="connsiteX11808" fmla="*/ 448256 w 4610101"/>
              <a:gd name="connsiteY11808" fmla="*/ 1356550 h 6557032"/>
              <a:gd name="connsiteX11809" fmla="*/ 389946 w 4610101"/>
              <a:gd name="connsiteY11809" fmla="*/ 1367483 h 6557032"/>
              <a:gd name="connsiteX11810" fmla="*/ 420923 w 4610101"/>
              <a:gd name="connsiteY11810" fmla="*/ 1383882 h 6557032"/>
              <a:gd name="connsiteX11811" fmla="*/ 415456 w 4610101"/>
              <a:gd name="connsiteY11811" fmla="*/ 1382060 h 6557032"/>
              <a:gd name="connsiteX11812" fmla="*/ 439145 w 4610101"/>
              <a:gd name="connsiteY11812" fmla="*/ 1376594 h 6557032"/>
              <a:gd name="connsiteX11813" fmla="*/ 400879 w 4610101"/>
              <a:gd name="connsiteY11813" fmla="*/ 1387527 h 6557032"/>
              <a:gd name="connsiteX11814" fmla="*/ 444611 w 4610101"/>
              <a:gd name="connsiteY11814" fmla="*/ 1420326 h 6557032"/>
              <a:gd name="connsiteX11815" fmla="*/ 437322 w 4610101"/>
              <a:gd name="connsiteY11815" fmla="*/ 1414859 h 6557032"/>
              <a:gd name="connsiteX11816" fmla="*/ 447344 w 4610101"/>
              <a:gd name="connsiteY11816" fmla="*/ 1417137 h 6557032"/>
              <a:gd name="connsiteX11817" fmla="*/ 455696 w 4610101"/>
              <a:gd name="connsiteY11817" fmla="*/ 1416757 h 6557032"/>
              <a:gd name="connsiteX11818" fmla="*/ 457367 w 4610101"/>
              <a:gd name="connsiteY11818" fmla="*/ 1416681 h 6557032"/>
              <a:gd name="connsiteX11819" fmla="*/ 453621 w 4610101"/>
              <a:gd name="connsiteY11819" fmla="*/ 1415076 h 6557032"/>
              <a:gd name="connsiteX11820" fmla="*/ 453591 w 4610101"/>
              <a:gd name="connsiteY11820" fmla="*/ 1414586 h 6557032"/>
              <a:gd name="connsiteX11821" fmla="*/ 458960 w 4610101"/>
              <a:gd name="connsiteY11821" fmla="*/ 1413720 h 6557032"/>
              <a:gd name="connsiteX11822" fmla="*/ 464655 w 4610101"/>
              <a:gd name="connsiteY11822" fmla="*/ 1411215 h 6557032"/>
              <a:gd name="connsiteX11823" fmla="*/ 451899 w 4610101"/>
              <a:gd name="connsiteY11823" fmla="*/ 1398460 h 6557032"/>
              <a:gd name="connsiteX11824" fmla="*/ 464655 w 4610101"/>
              <a:gd name="connsiteY11824" fmla="*/ 1405748 h 6557032"/>
              <a:gd name="connsiteX11825" fmla="*/ 462832 w 4610101"/>
              <a:gd name="connsiteY11825" fmla="*/ 1400282 h 6557032"/>
              <a:gd name="connsiteX11826" fmla="*/ 470121 w 4610101"/>
              <a:gd name="connsiteY11826" fmla="*/ 1409393 h 6557032"/>
              <a:gd name="connsiteX11827" fmla="*/ 473766 w 4610101"/>
              <a:gd name="connsiteY11827" fmla="*/ 1405748 h 6557032"/>
              <a:gd name="connsiteX11828" fmla="*/ 470121 w 4610101"/>
              <a:gd name="connsiteY11828" fmla="*/ 1394815 h 6557032"/>
              <a:gd name="connsiteX11829" fmla="*/ 477410 w 4610101"/>
              <a:gd name="connsiteY11829" fmla="*/ 1407571 h 6557032"/>
              <a:gd name="connsiteX11830" fmla="*/ 486521 w 4610101"/>
              <a:gd name="connsiteY11830" fmla="*/ 1392993 h 6557032"/>
              <a:gd name="connsiteX11831" fmla="*/ 479232 w 4610101"/>
              <a:gd name="connsiteY11831" fmla="*/ 1389349 h 6557032"/>
              <a:gd name="connsiteX11832" fmla="*/ 484700 w 4610101"/>
              <a:gd name="connsiteY11832" fmla="*/ 1389349 h 6557032"/>
              <a:gd name="connsiteX11833" fmla="*/ 486521 w 4610101"/>
              <a:gd name="connsiteY11833" fmla="*/ 1380238 h 6557032"/>
              <a:gd name="connsiteX11834" fmla="*/ 477410 w 4610101"/>
              <a:gd name="connsiteY11834" fmla="*/ 1378416 h 6557032"/>
              <a:gd name="connsiteX11835" fmla="*/ 481054 w 4610101"/>
              <a:gd name="connsiteY11835" fmla="*/ 1382060 h 6557032"/>
              <a:gd name="connsiteX11836" fmla="*/ 433678 w 4610101"/>
              <a:gd name="connsiteY11836" fmla="*/ 1405748 h 6557032"/>
              <a:gd name="connsiteX11837" fmla="*/ 436641 w 4610101"/>
              <a:gd name="connsiteY11837" fmla="*/ 1409502 h 6557032"/>
              <a:gd name="connsiteX11838" fmla="*/ 435342 w 4610101"/>
              <a:gd name="connsiteY11838" fmla="*/ 1410555 h 6557032"/>
              <a:gd name="connsiteX11839" fmla="*/ 430034 w 4610101"/>
              <a:gd name="connsiteY11839" fmla="*/ 1414859 h 6557032"/>
              <a:gd name="connsiteX11840" fmla="*/ 433678 w 4610101"/>
              <a:gd name="connsiteY11840" fmla="*/ 1407571 h 6557032"/>
              <a:gd name="connsiteX11841" fmla="*/ 419100 w 4610101"/>
              <a:gd name="connsiteY11841" fmla="*/ 1398460 h 6557032"/>
              <a:gd name="connsiteX11842" fmla="*/ 431856 w 4610101"/>
              <a:gd name="connsiteY11842" fmla="*/ 1402104 h 6557032"/>
              <a:gd name="connsiteX11843" fmla="*/ 420923 w 4610101"/>
              <a:gd name="connsiteY11843" fmla="*/ 1394815 h 6557032"/>
              <a:gd name="connsiteX11844" fmla="*/ 428211 w 4610101"/>
              <a:gd name="connsiteY11844" fmla="*/ 1398460 h 6557032"/>
              <a:gd name="connsiteX11845" fmla="*/ 431856 w 4610101"/>
              <a:gd name="connsiteY11845" fmla="*/ 1392993 h 6557032"/>
              <a:gd name="connsiteX11846" fmla="*/ 431856 w 4610101"/>
              <a:gd name="connsiteY11846" fmla="*/ 1396638 h 6557032"/>
              <a:gd name="connsiteX11847" fmla="*/ 459188 w 4610101"/>
              <a:gd name="connsiteY11847" fmla="*/ 1363838 h 6557032"/>
              <a:gd name="connsiteX11848" fmla="*/ 451899 w 4610101"/>
              <a:gd name="connsiteY11848" fmla="*/ 1360194 h 6557032"/>
              <a:gd name="connsiteX11849" fmla="*/ 442789 w 4610101"/>
              <a:gd name="connsiteY11849" fmla="*/ 1371127 h 6557032"/>
              <a:gd name="connsiteX11850" fmla="*/ 419100 w 4610101"/>
              <a:gd name="connsiteY11850" fmla="*/ 1372949 h 6557032"/>
              <a:gd name="connsiteX11851" fmla="*/ 448256 w 4610101"/>
              <a:gd name="connsiteY11851" fmla="*/ 1356550 h 6557032"/>
              <a:gd name="connsiteX11852" fmla="*/ 815309 w 4610101"/>
              <a:gd name="connsiteY11852" fmla="*/ 1356151 h 6557032"/>
              <a:gd name="connsiteX11853" fmla="*/ 818301 w 4610101"/>
              <a:gd name="connsiteY11853" fmla="*/ 1356407 h 6557032"/>
              <a:gd name="connsiteX11854" fmla="*/ 816334 w 4610101"/>
              <a:gd name="connsiteY11854" fmla="*/ 1358372 h 6557032"/>
              <a:gd name="connsiteX11855" fmla="*/ 815328 w 4610101"/>
              <a:gd name="connsiteY11855" fmla="*/ 1356359 h 6557032"/>
              <a:gd name="connsiteX11856" fmla="*/ 763491 w 4610101"/>
              <a:gd name="connsiteY11856" fmla="*/ 1354728 h 6557032"/>
              <a:gd name="connsiteX11857" fmla="*/ 765313 w 4610101"/>
              <a:gd name="connsiteY11857" fmla="*/ 1356550 h 6557032"/>
              <a:gd name="connsiteX11858" fmla="*/ 763491 w 4610101"/>
              <a:gd name="connsiteY11858" fmla="*/ 1354728 h 6557032"/>
              <a:gd name="connsiteX11859" fmla="*/ 727048 w 4610101"/>
              <a:gd name="connsiteY11859" fmla="*/ 1354728 h 6557032"/>
              <a:gd name="connsiteX11860" fmla="*/ 737981 w 4610101"/>
              <a:gd name="connsiteY11860" fmla="*/ 1365661 h 6557032"/>
              <a:gd name="connsiteX11861" fmla="*/ 727048 w 4610101"/>
              <a:gd name="connsiteY11861" fmla="*/ 1354728 h 6557032"/>
              <a:gd name="connsiteX11862" fmla="*/ 594030 w 4610101"/>
              <a:gd name="connsiteY11862" fmla="*/ 1354728 h 6557032"/>
              <a:gd name="connsiteX11863" fmla="*/ 597673 w 4610101"/>
              <a:gd name="connsiteY11863" fmla="*/ 1358372 h 6557032"/>
              <a:gd name="connsiteX11864" fmla="*/ 594030 w 4610101"/>
              <a:gd name="connsiteY11864" fmla="*/ 1354728 h 6557032"/>
              <a:gd name="connsiteX11865" fmla="*/ 557586 w 4610101"/>
              <a:gd name="connsiteY11865" fmla="*/ 1354728 h 6557032"/>
              <a:gd name="connsiteX11866" fmla="*/ 563052 w 4610101"/>
              <a:gd name="connsiteY11866" fmla="*/ 1360194 h 6557032"/>
              <a:gd name="connsiteX11867" fmla="*/ 557586 w 4610101"/>
              <a:gd name="connsiteY11867" fmla="*/ 1354728 h 6557032"/>
              <a:gd name="connsiteX11868" fmla="*/ 3411110 w 4610101"/>
              <a:gd name="connsiteY11868" fmla="*/ 1352905 h 6557032"/>
              <a:gd name="connsiteX11869" fmla="*/ 3411110 w 4610101"/>
              <a:gd name="connsiteY11869" fmla="*/ 1362016 h 6557032"/>
              <a:gd name="connsiteX11870" fmla="*/ 3414754 w 4610101"/>
              <a:gd name="connsiteY11870" fmla="*/ 1352905 h 6557032"/>
              <a:gd name="connsiteX11871" fmla="*/ 3411110 w 4610101"/>
              <a:gd name="connsiteY11871" fmla="*/ 1352905 h 6557032"/>
              <a:gd name="connsiteX11872" fmla="*/ 3403821 w 4610101"/>
              <a:gd name="connsiteY11872" fmla="*/ 1352905 h 6557032"/>
              <a:gd name="connsiteX11873" fmla="*/ 3400177 w 4610101"/>
              <a:gd name="connsiteY11873" fmla="*/ 1354728 h 6557032"/>
              <a:gd name="connsiteX11874" fmla="*/ 3407466 w 4610101"/>
              <a:gd name="connsiteY11874" fmla="*/ 1363838 h 6557032"/>
              <a:gd name="connsiteX11875" fmla="*/ 3403821 w 4610101"/>
              <a:gd name="connsiteY11875" fmla="*/ 1352905 h 6557032"/>
              <a:gd name="connsiteX11876" fmla="*/ 3360089 w 4610101"/>
              <a:gd name="connsiteY11876" fmla="*/ 1352905 h 6557032"/>
              <a:gd name="connsiteX11877" fmla="*/ 3343690 w 4610101"/>
              <a:gd name="connsiteY11877" fmla="*/ 1376594 h 6557032"/>
              <a:gd name="connsiteX11878" fmla="*/ 3349156 w 4610101"/>
              <a:gd name="connsiteY11878" fmla="*/ 1360194 h 6557032"/>
              <a:gd name="connsiteX11879" fmla="*/ 3338223 w 4610101"/>
              <a:gd name="connsiteY11879" fmla="*/ 1365661 h 6557032"/>
              <a:gd name="connsiteX11880" fmla="*/ 3338223 w 4610101"/>
              <a:gd name="connsiteY11880" fmla="*/ 1360194 h 6557032"/>
              <a:gd name="connsiteX11881" fmla="*/ 3327290 w 4610101"/>
              <a:gd name="connsiteY11881" fmla="*/ 1372949 h 6557032"/>
              <a:gd name="connsiteX11882" fmla="*/ 3329112 w 4610101"/>
              <a:gd name="connsiteY11882" fmla="*/ 1362016 h 6557032"/>
              <a:gd name="connsiteX11883" fmla="*/ 3325468 w 4610101"/>
              <a:gd name="connsiteY11883" fmla="*/ 1365661 h 6557032"/>
              <a:gd name="connsiteX11884" fmla="*/ 3327290 w 4610101"/>
              <a:gd name="connsiteY11884" fmla="*/ 1358372 h 6557032"/>
              <a:gd name="connsiteX11885" fmla="*/ 3317724 w 4610101"/>
              <a:gd name="connsiteY11885" fmla="*/ 1355411 h 6557032"/>
              <a:gd name="connsiteX11886" fmla="*/ 3312655 w 4610101"/>
              <a:gd name="connsiteY11886" fmla="*/ 1360310 h 6557032"/>
              <a:gd name="connsiteX11887" fmla="*/ 3312713 w 4610101"/>
              <a:gd name="connsiteY11887" fmla="*/ 1360194 h 6557032"/>
              <a:gd name="connsiteX11888" fmla="*/ 3310890 w 4610101"/>
              <a:gd name="connsiteY11888" fmla="*/ 1362016 h 6557032"/>
              <a:gd name="connsiteX11889" fmla="*/ 3312655 w 4610101"/>
              <a:gd name="connsiteY11889" fmla="*/ 1360310 h 6557032"/>
              <a:gd name="connsiteX11890" fmla="*/ 3310890 w 4610101"/>
              <a:gd name="connsiteY11890" fmla="*/ 1363838 h 6557032"/>
              <a:gd name="connsiteX11891" fmla="*/ 3307246 w 4610101"/>
              <a:gd name="connsiteY11891" fmla="*/ 1362016 h 6557032"/>
              <a:gd name="connsiteX11892" fmla="*/ 3305424 w 4610101"/>
              <a:gd name="connsiteY11892" fmla="*/ 1380238 h 6557032"/>
              <a:gd name="connsiteX11893" fmla="*/ 3289024 w 4610101"/>
              <a:gd name="connsiteY11893" fmla="*/ 1376594 h 6557032"/>
              <a:gd name="connsiteX11894" fmla="*/ 3287202 w 4610101"/>
              <a:gd name="connsiteY11894" fmla="*/ 1387527 h 6557032"/>
              <a:gd name="connsiteX11895" fmla="*/ 3279913 w 4610101"/>
              <a:gd name="connsiteY11895" fmla="*/ 1383882 h 6557032"/>
              <a:gd name="connsiteX11896" fmla="*/ 3278091 w 4610101"/>
              <a:gd name="connsiteY11896" fmla="*/ 1374771 h 6557032"/>
              <a:gd name="connsiteX11897" fmla="*/ 3267158 w 4610101"/>
              <a:gd name="connsiteY11897" fmla="*/ 1382060 h 6557032"/>
              <a:gd name="connsiteX11898" fmla="*/ 3281736 w 4610101"/>
              <a:gd name="connsiteY11898" fmla="*/ 1414859 h 6557032"/>
              <a:gd name="connsiteX11899" fmla="*/ 3283558 w 4610101"/>
              <a:gd name="connsiteY11899" fmla="*/ 1433081 h 6557032"/>
              <a:gd name="connsiteX11900" fmla="*/ 3278091 w 4610101"/>
              <a:gd name="connsiteY11900" fmla="*/ 1427615 h 6557032"/>
              <a:gd name="connsiteX11901" fmla="*/ 3281736 w 4610101"/>
              <a:gd name="connsiteY11901" fmla="*/ 1438548 h 6557032"/>
              <a:gd name="connsiteX11902" fmla="*/ 3276269 w 4610101"/>
              <a:gd name="connsiteY11902" fmla="*/ 1440370 h 6557032"/>
              <a:gd name="connsiteX11903" fmla="*/ 3287202 w 4610101"/>
              <a:gd name="connsiteY11903" fmla="*/ 1449481 h 6557032"/>
              <a:gd name="connsiteX11904" fmla="*/ 3294491 w 4610101"/>
              <a:gd name="connsiteY11904" fmla="*/ 1438548 h 6557032"/>
              <a:gd name="connsiteX11905" fmla="*/ 3290847 w 4610101"/>
              <a:gd name="connsiteY11905" fmla="*/ 1431259 h 6557032"/>
              <a:gd name="connsiteX11906" fmla="*/ 3295402 w 4610101"/>
              <a:gd name="connsiteY11906" fmla="*/ 1430120 h 6557032"/>
              <a:gd name="connsiteX11907" fmla="*/ 3299946 w 4610101"/>
              <a:gd name="connsiteY11907" fmla="*/ 1433073 h 6557032"/>
              <a:gd name="connsiteX11908" fmla="*/ 3298135 w 4610101"/>
              <a:gd name="connsiteY11908" fmla="*/ 1427641 h 6557032"/>
              <a:gd name="connsiteX11909" fmla="*/ 3305424 w 4610101"/>
              <a:gd name="connsiteY11909" fmla="*/ 1425819 h 6557032"/>
              <a:gd name="connsiteX11910" fmla="*/ 3299957 w 4610101"/>
              <a:gd name="connsiteY11910" fmla="*/ 1433108 h 6557032"/>
              <a:gd name="connsiteX11911" fmla="*/ 3299957 w 4610101"/>
              <a:gd name="connsiteY11911" fmla="*/ 1434903 h 6557032"/>
              <a:gd name="connsiteX11912" fmla="*/ 3312713 w 4610101"/>
              <a:gd name="connsiteY11912" fmla="*/ 1449481 h 6557032"/>
              <a:gd name="connsiteX11913" fmla="*/ 3325468 w 4610101"/>
              <a:gd name="connsiteY11913" fmla="*/ 1434903 h 6557032"/>
              <a:gd name="connsiteX11914" fmla="*/ 3327290 w 4610101"/>
              <a:gd name="connsiteY11914" fmla="*/ 1445836 h 6557032"/>
              <a:gd name="connsiteX11915" fmla="*/ 3336401 w 4610101"/>
              <a:gd name="connsiteY11915" fmla="*/ 1431259 h 6557032"/>
              <a:gd name="connsiteX11916" fmla="*/ 3340045 w 4610101"/>
              <a:gd name="connsiteY11916" fmla="*/ 1438548 h 6557032"/>
              <a:gd name="connsiteX11917" fmla="*/ 3343690 w 4610101"/>
              <a:gd name="connsiteY11917" fmla="*/ 1434903 h 6557032"/>
              <a:gd name="connsiteX11918" fmla="*/ 3345512 w 4610101"/>
              <a:gd name="connsiteY11918" fmla="*/ 1440370 h 6557032"/>
              <a:gd name="connsiteX11919" fmla="*/ 3349156 w 4610101"/>
              <a:gd name="connsiteY11919" fmla="*/ 1429437 h 6557032"/>
              <a:gd name="connsiteX11920" fmla="*/ 3345512 w 4610101"/>
              <a:gd name="connsiteY11920" fmla="*/ 1433081 h 6557032"/>
              <a:gd name="connsiteX11921" fmla="*/ 3340045 w 4610101"/>
              <a:gd name="connsiteY11921" fmla="*/ 1425792 h 6557032"/>
              <a:gd name="connsiteX11922" fmla="*/ 3332756 w 4610101"/>
              <a:gd name="connsiteY11922" fmla="*/ 1414859 h 6557032"/>
              <a:gd name="connsiteX11923" fmla="*/ 3329112 w 4610101"/>
              <a:gd name="connsiteY11923" fmla="*/ 1422148 h 6557032"/>
              <a:gd name="connsiteX11924" fmla="*/ 3329112 w 4610101"/>
              <a:gd name="connsiteY11924" fmla="*/ 1403926 h 6557032"/>
              <a:gd name="connsiteX11925" fmla="*/ 3330934 w 4610101"/>
              <a:gd name="connsiteY11925" fmla="*/ 1392993 h 6557032"/>
              <a:gd name="connsiteX11926" fmla="*/ 3336401 w 4610101"/>
              <a:gd name="connsiteY11926" fmla="*/ 1387527 h 6557032"/>
              <a:gd name="connsiteX11927" fmla="*/ 3336401 w 4610101"/>
              <a:gd name="connsiteY11927" fmla="*/ 1378416 h 6557032"/>
              <a:gd name="connsiteX11928" fmla="*/ 3343690 w 4610101"/>
              <a:gd name="connsiteY11928" fmla="*/ 1376594 h 6557032"/>
              <a:gd name="connsiteX11929" fmla="*/ 3334579 w 4610101"/>
              <a:gd name="connsiteY11929" fmla="*/ 1398460 h 6557032"/>
              <a:gd name="connsiteX11930" fmla="*/ 3345512 w 4610101"/>
              <a:gd name="connsiteY11930" fmla="*/ 1389349 h 6557032"/>
              <a:gd name="connsiteX11931" fmla="*/ 3347334 w 4610101"/>
              <a:gd name="connsiteY11931" fmla="*/ 1400282 h 6557032"/>
              <a:gd name="connsiteX11932" fmla="*/ 3354623 w 4610101"/>
              <a:gd name="connsiteY11932" fmla="*/ 1374771 h 6557032"/>
              <a:gd name="connsiteX11933" fmla="*/ 3360089 w 4610101"/>
              <a:gd name="connsiteY11933" fmla="*/ 1376594 h 6557032"/>
              <a:gd name="connsiteX11934" fmla="*/ 3361911 w 4610101"/>
              <a:gd name="connsiteY11934" fmla="*/ 1358372 h 6557032"/>
              <a:gd name="connsiteX11935" fmla="*/ 3369200 w 4610101"/>
              <a:gd name="connsiteY11935" fmla="*/ 1378416 h 6557032"/>
              <a:gd name="connsiteX11936" fmla="*/ 3376489 w 4610101"/>
              <a:gd name="connsiteY11936" fmla="*/ 1369305 h 6557032"/>
              <a:gd name="connsiteX11937" fmla="*/ 3381955 w 4610101"/>
              <a:gd name="connsiteY11937" fmla="*/ 1374771 h 6557032"/>
              <a:gd name="connsiteX11938" fmla="*/ 3376489 w 4610101"/>
              <a:gd name="connsiteY11938" fmla="*/ 1360194 h 6557032"/>
              <a:gd name="connsiteX11939" fmla="*/ 3360089 w 4610101"/>
              <a:gd name="connsiteY11939" fmla="*/ 1352905 h 6557032"/>
              <a:gd name="connsiteX11940" fmla="*/ 3349156 w 4610101"/>
              <a:gd name="connsiteY11940" fmla="*/ 1352905 h 6557032"/>
              <a:gd name="connsiteX11941" fmla="*/ 3350978 w 4610101"/>
              <a:gd name="connsiteY11941" fmla="*/ 1360194 h 6557032"/>
              <a:gd name="connsiteX11942" fmla="*/ 3354623 w 4610101"/>
              <a:gd name="connsiteY11942" fmla="*/ 1354728 h 6557032"/>
              <a:gd name="connsiteX11943" fmla="*/ 3349156 w 4610101"/>
              <a:gd name="connsiteY11943" fmla="*/ 1352905 h 6557032"/>
              <a:gd name="connsiteX11944" fmla="*/ 830912 w 4610101"/>
              <a:gd name="connsiteY11944" fmla="*/ 1352905 h 6557032"/>
              <a:gd name="connsiteX11945" fmla="*/ 827267 w 4610101"/>
              <a:gd name="connsiteY11945" fmla="*/ 1354728 h 6557032"/>
              <a:gd name="connsiteX11946" fmla="*/ 829089 w 4610101"/>
              <a:gd name="connsiteY11946" fmla="*/ 1356550 h 6557032"/>
              <a:gd name="connsiteX11947" fmla="*/ 830912 w 4610101"/>
              <a:gd name="connsiteY11947" fmla="*/ 1352905 h 6557032"/>
              <a:gd name="connsiteX11948" fmla="*/ 810868 w 4610101"/>
              <a:gd name="connsiteY11948" fmla="*/ 1352905 h 6557032"/>
              <a:gd name="connsiteX11949" fmla="*/ 809046 w 4610101"/>
              <a:gd name="connsiteY11949" fmla="*/ 1356550 h 6557032"/>
              <a:gd name="connsiteX11950" fmla="*/ 812690 w 4610101"/>
              <a:gd name="connsiteY11950" fmla="*/ 1358372 h 6557032"/>
              <a:gd name="connsiteX11951" fmla="*/ 810868 w 4610101"/>
              <a:gd name="connsiteY11951" fmla="*/ 1352905 h 6557032"/>
              <a:gd name="connsiteX11952" fmla="*/ 628650 w 4610101"/>
              <a:gd name="connsiteY11952" fmla="*/ 1352905 h 6557032"/>
              <a:gd name="connsiteX11953" fmla="*/ 628650 w 4610101"/>
              <a:gd name="connsiteY11953" fmla="*/ 1358372 h 6557032"/>
              <a:gd name="connsiteX11954" fmla="*/ 630472 w 4610101"/>
              <a:gd name="connsiteY11954" fmla="*/ 1354728 h 6557032"/>
              <a:gd name="connsiteX11955" fmla="*/ 628650 w 4610101"/>
              <a:gd name="connsiteY11955" fmla="*/ 1352905 h 6557032"/>
              <a:gd name="connsiteX11956" fmla="*/ 548475 w 4610101"/>
              <a:gd name="connsiteY11956" fmla="*/ 1352905 h 6557032"/>
              <a:gd name="connsiteX11957" fmla="*/ 544830 w 4610101"/>
              <a:gd name="connsiteY11957" fmla="*/ 1358372 h 6557032"/>
              <a:gd name="connsiteX11958" fmla="*/ 548475 w 4610101"/>
              <a:gd name="connsiteY11958" fmla="*/ 1360194 h 6557032"/>
              <a:gd name="connsiteX11959" fmla="*/ 548475 w 4610101"/>
              <a:gd name="connsiteY11959" fmla="*/ 1352905 h 6557032"/>
              <a:gd name="connsiteX11960" fmla="*/ 371724 w 4610101"/>
              <a:gd name="connsiteY11960" fmla="*/ 1352905 h 6557032"/>
              <a:gd name="connsiteX11961" fmla="*/ 371992 w 4610101"/>
              <a:gd name="connsiteY11961" fmla="*/ 1353423 h 6557032"/>
              <a:gd name="connsiteX11962" fmla="*/ 370423 w 4610101"/>
              <a:gd name="connsiteY11962" fmla="*/ 1353946 h 6557032"/>
              <a:gd name="connsiteX11963" fmla="*/ 3093779 w 4610101"/>
              <a:gd name="connsiteY11963" fmla="*/ 1352450 h 6557032"/>
              <a:gd name="connsiteX11964" fmla="*/ 3094052 w 4610101"/>
              <a:gd name="connsiteY11964" fmla="*/ 1352905 h 6557032"/>
              <a:gd name="connsiteX11965" fmla="*/ 3093645 w 4610101"/>
              <a:gd name="connsiteY11965" fmla="*/ 1353118 h 6557032"/>
              <a:gd name="connsiteX11966" fmla="*/ 3168761 w 4610101"/>
              <a:gd name="connsiteY11966" fmla="*/ 1351083 h 6557032"/>
              <a:gd name="connsiteX11967" fmla="*/ 3166939 w 4610101"/>
              <a:gd name="connsiteY11967" fmla="*/ 1358372 h 6557032"/>
              <a:gd name="connsiteX11968" fmla="*/ 3168761 w 4610101"/>
              <a:gd name="connsiteY11968" fmla="*/ 1351083 h 6557032"/>
              <a:gd name="connsiteX11969" fmla="*/ 1027707 w 4610101"/>
              <a:gd name="connsiteY11969" fmla="*/ 1351083 h 6557032"/>
              <a:gd name="connsiteX11970" fmla="*/ 1042056 w 4610101"/>
              <a:gd name="connsiteY11970" fmla="*/ 1367711 h 6557032"/>
              <a:gd name="connsiteX11971" fmla="*/ 1059947 w 4610101"/>
              <a:gd name="connsiteY11971" fmla="*/ 1379859 h 6557032"/>
              <a:gd name="connsiteX11972" fmla="*/ 1058683 w 4610101"/>
              <a:gd name="connsiteY11972" fmla="*/ 1380238 h 6557032"/>
              <a:gd name="connsiteX11973" fmla="*/ 1065972 w 4610101"/>
              <a:gd name="connsiteY11973" fmla="*/ 1383882 h 6557032"/>
              <a:gd name="connsiteX11974" fmla="*/ 1064151 w 4610101"/>
              <a:gd name="connsiteY11974" fmla="*/ 1380238 h 6557032"/>
              <a:gd name="connsiteX11975" fmla="*/ 1086016 w 4610101"/>
              <a:gd name="connsiteY11975" fmla="*/ 1385705 h 6557032"/>
              <a:gd name="connsiteX11976" fmla="*/ 1072350 w 4610101"/>
              <a:gd name="connsiteY11976" fmla="*/ 1376138 h 6557032"/>
              <a:gd name="connsiteX11977" fmla="*/ 1060392 w 4610101"/>
              <a:gd name="connsiteY11977" fmla="*/ 1379725 h 6557032"/>
              <a:gd name="connsiteX11978" fmla="*/ 1059139 w 4610101"/>
              <a:gd name="connsiteY11978" fmla="*/ 1374088 h 6557032"/>
              <a:gd name="connsiteX11979" fmla="*/ 1055040 w 4610101"/>
              <a:gd name="connsiteY11979" fmla="*/ 1369305 h 6557032"/>
              <a:gd name="connsiteX11980" fmla="*/ 1062328 w 4610101"/>
              <a:gd name="connsiteY11980" fmla="*/ 1376594 h 6557032"/>
              <a:gd name="connsiteX11981" fmla="*/ 1069616 w 4610101"/>
              <a:gd name="connsiteY11981" fmla="*/ 1374771 h 6557032"/>
              <a:gd name="connsiteX11982" fmla="*/ 1042284 w 4610101"/>
              <a:gd name="connsiteY11982" fmla="*/ 1354728 h 6557032"/>
              <a:gd name="connsiteX11983" fmla="*/ 1027707 w 4610101"/>
              <a:gd name="connsiteY11983" fmla="*/ 1351083 h 6557032"/>
              <a:gd name="connsiteX11984" fmla="*/ 863711 w 4610101"/>
              <a:gd name="connsiteY11984" fmla="*/ 1351083 h 6557032"/>
              <a:gd name="connsiteX11985" fmla="*/ 871000 w 4610101"/>
              <a:gd name="connsiteY11985" fmla="*/ 1360194 h 6557032"/>
              <a:gd name="connsiteX11986" fmla="*/ 865533 w 4610101"/>
              <a:gd name="connsiteY11986" fmla="*/ 1360194 h 6557032"/>
              <a:gd name="connsiteX11987" fmla="*/ 859208 w 4610101"/>
              <a:gd name="connsiteY11987" fmla="*/ 1370612 h 6557032"/>
              <a:gd name="connsiteX11988" fmla="*/ 859671 w 4610101"/>
              <a:gd name="connsiteY11988" fmla="*/ 1362026 h 6557032"/>
              <a:gd name="connsiteX11989" fmla="*/ 860066 w 4610101"/>
              <a:gd name="connsiteY11989" fmla="*/ 1362016 h 6557032"/>
              <a:gd name="connsiteX11990" fmla="*/ 859692 w 4610101"/>
              <a:gd name="connsiteY11990" fmla="*/ 1361642 h 6557032"/>
              <a:gd name="connsiteX11991" fmla="*/ 860066 w 4610101"/>
              <a:gd name="connsiteY11991" fmla="*/ 1354728 h 6557032"/>
              <a:gd name="connsiteX11992" fmla="*/ 856422 w 4610101"/>
              <a:gd name="connsiteY11992" fmla="*/ 1358372 h 6557032"/>
              <a:gd name="connsiteX11993" fmla="*/ 859692 w 4610101"/>
              <a:gd name="connsiteY11993" fmla="*/ 1361642 h 6557032"/>
              <a:gd name="connsiteX11994" fmla="*/ 859671 w 4610101"/>
              <a:gd name="connsiteY11994" fmla="*/ 1362026 h 6557032"/>
              <a:gd name="connsiteX11995" fmla="*/ 851183 w 4610101"/>
              <a:gd name="connsiteY11995" fmla="*/ 1362244 h 6557032"/>
              <a:gd name="connsiteX11996" fmla="*/ 843667 w 4610101"/>
              <a:gd name="connsiteY11996" fmla="*/ 1369305 h 6557032"/>
              <a:gd name="connsiteX11997" fmla="*/ 843667 w 4610101"/>
              <a:gd name="connsiteY11997" fmla="*/ 1378416 h 6557032"/>
              <a:gd name="connsiteX11998" fmla="*/ 845489 w 4610101"/>
              <a:gd name="connsiteY11998" fmla="*/ 1374771 h 6557032"/>
              <a:gd name="connsiteX11999" fmla="*/ 847311 w 4610101"/>
              <a:gd name="connsiteY11999" fmla="*/ 1380238 h 6557032"/>
              <a:gd name="connsiteX12000" fmla="*/ 854600 w 4610101"/>
              <a:gd name="connsiteY12000" fmla="*/ 1380238 h 6557032"/>
              <a:gd name="connsiteX12001" fmla="*/ 850956 w 4610101"/>
              <a:gd name="connsiteY12001" fmla="*/ 1385705 h 6557032"/>
              <a:gd name="connsiteX12002" fmla="*/ 856422 w 4610101"/>
              <a:gd name="connsiteY12002" fmla="*/ 1382288 h 6557032"/>
              <a:gd name="connsiteX12003" fmla="*/ 860657 w 4610101"/>
              <a:gd name="connsiteY12003" fmla="*/ 1380700 h 6557032"/>
              <a:gd name="connsiteX12004" fmla="*/ 863027 w 4610101"/>
              <a:gd name="connsiteY12004" fmla="*/ 1375050 h 6557032"/>
              <a:gd name="connsiteX12005" fmla="*/ 867355 w 4610101"/>
              <a:gd name="connsiteY12005" fmla="*/ 1369355 h 6557032"/>
              <a:gd name="connsiteX12006" fmla="*/ 860930 w 4610101"/>
              <a:gd name="connsiteY12006" fmla="*/ 1380598 h 6557032"/>
              <a:gd name="connsiteX12007" fmla="*/ 861889 w 4610101"/>
              <a:gd name="connsiteY12007" fmla="*/ 1380238 h 6557032"/>
              <a:gd name="connsiteX12008" fmla="*/ 860066 w 4610101"/>
              <a:gd name="connsiteY12008" fmla="*/ 1385705 h 6557032"/>
              <a:gd name="connsiteX12009" fmla="*/ 874644 w 4610101"/>
              <a:gd name="connsiteY12009" fmla="*/ 1385705 h 6557032"/>
              <a:gd name="connsiteX12010" fmla="*/ 856422 w 4610101"/>
              <a:gd name="connsiteY12010" fmla="*/ 1391171 h 6557032"/>
              <a:gd name="connsiteX12011" fmla="*/ 874644 w 4610101"/>
              <a:gd name="connsiteY12011" fmla="*/ 1394815 h 6557032"/>
              <a:gd name="connsiteX12012" fmla="*/ 872822 w 4610101"/>
              <a:gd name="connsiteY12012" fmla="*/ 1392993 h 6557032"/>
              <a:gd name="connsiteX12013" fmla="*/ 888428 w 4610101"/>
              <a:gd name="connsiteY12013" fmla="*/ 1386057 h 6557032"/>
              <a:gd name="connsiteX12014" fmla="*/ 888780 w 4610101"/>
              <a:gd name="connsiteY12014" fmla="*/ 1386274 h 6557032"/>
              <a:gd name="connsiteX12015" fmla="*/ 882160 w 4610101"/>
              <a:gd name="connsiteY12015" fmla="*/ 1394815 h 6557032"/>
              <a:gd name="connsiteX12016" fmla="*/ 871000 w 4610101"/>
              <a:gd name="connsiteY12016" fmla="*/ 1398460 h 6557032"/>
              <a:gd name="connsiteX12017" fmla="*/ 878288 w 4610101"/>
              <a:gd name="connsiteY12017" fmla="*/ 1402104 h 6557032"/>
              <a:gd name="connsiteX12018" fmla="*/ 869177 w 4610101"/>
              <a:gd name="connsiteY12018" fmla="*/ 1403926 h 6557032"/>
              <a:gd name="connsiteX12019" fmla="*/ 922020 w 4610101"/>
              <a:gd name="connsiteY12019" fmla="*/ 1425792 h 6557032"/>
              <a:gd name="connsiteX12020" fmla="*/ 894688 w 4610101"/>
              <a:gd name="connsiteY12020" fmla="*/ 1409393 h 6557032"/>
              <a:gd name="connsiteX12021" fmla="*/ 905621 w 4610101"/>
              <a:gd name="connsiteY12021" fmla="*/ 1413037 h 6557032"/>
              <a:gd name="connsiteX12022" fmla="*/ 900154 w 4610101"/>
              <a:gd name="connsiteY12022" fmla="*/ 1396638 h 6557032"/>
              <a:gd name="connsiteX12023" fmla="*/ 894688 w 4610101"/>
              <a:gd name="connsiteY12023" fmla="*/ 1402104 h 6557032"/>
              <a:gd name="connsiteX12024" fmla="*/ 893776 w 4610101"/>
              <a:gd name="connsiteY12024" fmla="*/ 1389349 h 6557032"/>
              <a:gd name="connsiteX12025" fmla="*/ 888780 w 4610101"/>
              <a:gd name="connsiteY12025" fmla="*/ 1386274 h 6557032"/>
              <a:gd name="connsiteX12026" fmla="*/ 889222 w 4610101"/>
              <a:gd name="connsiteY12026" fmla="*/ 1385705 h 6557032"/>
              <a:gd name="connsiteX12027" fmla="*/ 888428 w 4610101"/>
              <a:gd name="connsiteY12027" fmla="*/ 1386057 h 6557032"/>
              <a:gd name="connsiteX12028" fmla="*/ 881933 w 4610101"/>
              <a:gd name="connsiteY12028" fmla="*/ 1382060 h 6557032"/>
              <a:gd name="connsiteX12029" fmla="*/ 874644 w 4610101"/>
              <a:gd name="connsiteY12029" fmla="*/ 1385705 h 6557032"/>
              <a:gd name="connsiteX12030" fmla="*/ 880111 w 4610101"/>
              <a:gd name="connsiteY12030" fmla="*/ 1380238 h 6557032"/>
              <a:gd name="connsiteX12031" fmla="*/ 880111 w 4610101"/>
              <a:gd name="connsiteY12031" fmla="*/ 1378416 h 6557032"/>
              <a:gd name="connsiteX12032" fmla="*/ 891043 w 4610101"/>
              <a:gd name="connsiteY12032" fmla="*/ 1374771 h 6557032"/>
              <a:gd name="connsiteX12033" fmla="*/ 881933 w 4610101"/>
              <a:gd name="connsiteY12033" fmla="*/ 1369305 h 6557032"/>
              <a:gd name="connsiteX12034" fmla="*/ 892866 w 4610101"/>
              <a:gd name="connsiteY12034" fmla="*/ 1363838 h 6557032"/>
              <a:gd name="connsiteX12035" fmla="*/ 894688 w 4610101"/>
              <a:gd name="connsiteY12035" fmla="*/ 1367483 h 6557032"/>
              <a:gd name="connsiteX12036" fmla="*/ 896510 w 4610101"/>
              <a:gd name="connsiteY12036" fmla="*/ 1354728 h 6557032"/>
              <a:gd name="connsiteX12037" fmla="*/ 894688 w 4610101"/>
              <a:gd name="connsiteY12037" fmla="*/ 1358372 h 6557032"/>
              <a:gd name="connsiteX12038" fmla="*/ 863711 w 4610101"/>
              <a:gd name="connsiteY12038" fmla="*/ 1351083 h 6557032"/>
              <a:gd name="connsiteX12039" fmla="*/ 799935 w 4610101"/>
              <a:gd name="connsiteY12039" fmla="*/ 1351083 h 6557032"/>
              <a:gd name="connsiteX12040" fmla="*/ 796290 w 4610101"/>
              <a:gd name="connsiteY12040" fmla="*/ 1358372 h 6557032"/>
              <a:gd name="connsiteX12041" fmla="*/ 799935 w 4610101"/>
              <a:gd name="connsiteY12041" fmla="*/ 1351083 h 6557032"/>
              <a:gd name="connsiteX12042" fmla="*/ 581274 w 4610101"/>
              <a:gd name="connsiteY12042" fmla="*/ 1351083 h 6557032"/>
              <a:gd name="connsiteX12043" fmla="*/ 583096 w 4610101"/>
              <a:gd name="connsiteY12043" fmla="*/ 1356550 h 6557032"/>
              <a:gd name="connsiteX12044" fmla="*/ 590385 w 4610101"/>
              <a:gd name="connsiteY12044" fmla="*/ 1365661 h 6557032"/>
              <a:gd name="connsiteX12045" fmla="*/ 592207 w 4610101"/>
              <a:gd name="connsiteY12045" fmla="*/ 1374771 h 6557032"/>
              <a:gd name="connsiteX12046" fmla="*/ 599496 w 4610101"/>
              <a:gd name="connsiteY12046" fmla="*/ 1363838 h 6557032"/>
              <a:gd name="connsiteX12047" fmla="*/ 594030 w 4610101"/>
              <a:gd name="connsiteY12047" fmla="*/ 1363838 h 6557032"/>
              <a:gd name="connsiteX12048" fmla="*/ 595852 w 4610101"/>
              <a:gd name="connsiteY12048" fmla="*/ 1362016 h 6557032"/>
              <a:gd name="connsiteX12049" fmla="*/ 581274 w 4610101"/>
              <a:gd name="connsiteY12049" fmla="*/ 1351083 h 6557032"/>
              <a:gd name="connsiteX12050" fmla="*/ 502920 w 4610101"/>
              <a:gd name="connsiteY12050" fmla="*/ 1351083 h 6557032"/>
              <a:gd name="connsiteX12051" fmla="*/ 499276 w 4610101"/>
              <a:gd name="connsiteY12051" fmla="*/ 1352905 h 6557032"/>
              <a:gd name="connsiteX12052" fmla="*/ 502920 w 4610101"/>
              <a:gd name="connsiteY12052" fmla="*/ 1351083 h 6557032"/>
              <a:gd name="connsiteX12053" fmla="*/ 461010 w 4610101"/>
              <a:gd name="connsiteY12053" fmla="*/ 1351083 h 6557032"/>
              <a:gd name="connsiteX12054" fmla="*/ 455544 w 4610101"/>
              <a:gd name="connsiteY12054" fmla="*/ 1354728 h 6557032"/>
              <a:gd name="connsiteX12055" fmla="*/ 462832 w 4610101"/>
              <a:gd name="connsiteY12055" fmla="*/ 1352905 h 6557032"/>
              <a:gd name="connsiteX12056" fmla="*/ 461010 w 4610101"/>
              <a:gd name="connsiteY12056" fmla="*/ 1351083 h 6557032"/>
              <a:gd name="connsiteX12057" fmla="*/ 200439 w 4610101"/>
              <a:gd name="connsiteY12057" fmla="*/ 1351083 h 6557032"/>
              <a:gd name="connsiteX12058" fmla="*/ 233947 w 4610101"/>
              <a:gd name="connsiteY12058" fmla="*/ 1358455 h 6557032"/>
              <a:gd name="connsiteX12059" fmla="*/ 232783 w 4610101"/>
              <a:gd name="connsiteY12059" fmla="*/ 1359055 h 6557032"/>
              <a:gd name="connsiteX12060" fmla="*/ 200439 w 4610101"/>
              <a:gd name="connsiteY12060" fmla="*/ 1351083 h 6557032"/>
              <a:gd name="connsiteX12061" fmla="*/ 1135215 w 4610101"/>
              <a:gd name="connsiteY12061" fmla="*/ 1349261 h 6557032"/>
              <a:gd name="connsiteX12062" fmla="*/ 1136855 w 4610101"/>
              <a:gd name="connsiteY12062" fmla="*/ 1350901 h 6557032"/>
              <a:gd name="connsiteX12063" fmla="*/ 1136355 w 4610101"/>
              <a:gd name="connsiteY12063" fmla="*/ 1350856 h 6557032"/>
              <a:gd name="connsiteX12064" fmla="*/ 1135215 w 4610101"/>
              <a:gd name="connsiteY12064" fmla="*/ 1349261 h 6557032"/>
              <a:gd name="connsiteX12065" fmla="*/ 619539 w 4610101"/>
              <a:gd name="connsiteY12065" fmla="*/ 1349261 h 6557032"/>
              <a:gd name="connsiteX12066" fmla="*/ 610429 w 4610101"/>
              <a:gd name="connsiteY12066" fmla="*/ 1363838 h 6557032"/>
              <a:gd name="connsiteX12067" fmla="*/ 614074 w 4610101"/>
              <a:gd name="connsiteY12067" fmla="*/ 1356550 h 6557032"/>
              <a:gd name="connsiteX12068" fmla="*/ 619539 w 4610101"/>
              <a:gd name="connsiteY12068" fmla="*/ 1354728 h 6557032"/>
              <a:gd name="connsiteX12069" fmla="*/ 621362 w 4610101"/>
              <a:gd name="connsiteY12069" fmla="*/ 1356550 h 6557032"/>
              <a:gd name="connsiteX12070" fmla="*/ 615895 w 4610101"/>
              <a:gd name="connsiteY12070" fmla="*/ 1360194 h 6557032"/>
              <a:gd name="connsiteX12071" fmla="*/ 625006 w 4610101"/>
              <a:gd name="connsiteY12071" fmla="*/ 1358372 h 6557032"/>
              <a:gd name="connsiteX12072" fmla="*/ 621362 w 4610101"/>
              <a:gd name="connsiteY12072" fmla="*/ 1356550 h 6557032"/>
              <a:gd name="connsiteX12073" fmla="*/ 626828 w 4610101"/>
              <a:gd name="connsiteY12073" fmla="*/ 1354728 h 6557032"/>
              <a:gd name="connsiteX12074" fmla="*/ 623185 w 4610101"/>
              <a:gd name="connsiteY12074" fmla="*/ 1351083 h 6557032"/>
              <a:gd name="connsiteX12075" fmla="*/ 619539 w 4610101"/>
              <a:gd name="connsiteY12075" fmla="*/ 1354728 h 6557032"/>
              <a:gd name="connsiteX12076" fmla="*/ 619539 w 4610101"/>
              <a:gd name="connsiteY12076" fmla="*/ 1349261 h 6557032"/>
              <a:gd name="connsiteX12077" fmla="*/ 491987 w 4610101"/>
              <a:gd name="connsiteY12077" fmla="*/ 1349261 h 6557032"/>
              <a:gd name="connsiteX12078" fmla="*/ 488343 w 4610101"/>
              <a:gd name="connsiteY12078" fmla="*/ 1354728 h 6557032"/>
              <a:gd name="connsiteX12079" fmla="*/ 491987 w 4610101"/>
              <a:gd name="connsiteY12079" fmla="*/ 1349261 h 6557032"/>
              <a:gd name="connsiteX12080" fmla="*/ 1607158 w 4610101"/>
              <a:gd name="connsiteY12080" fmla="*/ 1347520 h 6557032"/>
              <a:gd name="connsiteX12081" fmla="*/ 1621735 w 4610101"/>
              <a:gd name="connsiteY12081" fmla="*/ 1360276 h 6557032"/>
              <a:gd name="connsiteX12082" fmla="*/ 1598046 w 4610101"/>
              <a:gd name="connsiteY12082" fmla="*/ 1362098 h 6557032"/>
              <a:gd name="connsiteX12083" fmla="*/ 1576180 w 4610101"/>
              <a:gd name="connsiteY12083" fmla="*/ 1347520 h 6557032"/>
              <a:gd name="connsiteX12084" fmla="*/ 1592580 w 4610101"/>
              <a:gd name="connsiteY12084" fmla="*/ 1360276 h 6557032"/>
              <a:gd name="connsiteX12085" fmla="*/ 1567069 w 4610101"/>
              <a:gd name="connsiteY12085" fmla="*/ 1362098 h 6557032"/>
              <a:gd name="connsiteX12086" fmla="*/ 3115918 w 4610101"/>
              <a:gd name="connsiteY12086" fmla="*/ 1347439 h 6557032"/>
              <a:gd name="connsiteX12087" fmla="*/ 3114096 w 4610101"/>
              <a:gd name="connsiteY12087" fmla="*/ 1354728 h 6557032"/>
              <a:gd name="connsiteX12088" fmla="*/ 3115918 w 4610101"/>
              <a:gd name="connsiteY12088" fmla="*/ 1347439 h 6557032"/>
              <a:gd name="connsiteX12089" fmla="*/ 3053964 w 4610101"/>
              <a:gd name="connsiteY12089" fmla="*/ 1347439 h 6557032"/>
              <a:gd name="connsiteX12090" fmla="*/ 3050319 w 4610101"/>
              <a:gd name="connsiteY12090" fmla="*/ 1363838 h 6557032"/>
              <a:gd name="connsiteX12091" fmla="*/ 3057608 w 4610101"/>
              <a:gd name="connsiteY12091" fmla="*/ 1363838 h 6557032"/>
              <a:gd name="connsiteX12092" fmla="*/ 3053964 w 4610101"/>
              <a:gd name="connsiteY12092" fmla="*/ 1347439 h 6557032"/>
              <a:gd name="connsiteX12093" fmla="*/ 659627 w 4610101"/>
              <a:gd name="connsiteY12093" fmla="*/ 1347439 h 6557032"/>
              <a:gd name="connsiteX12094" fmla="*/ 663272 w 4610101"/>
              <a:gd name="connsiteY12094" fmla="*/ 1354728 h 6557032"/>
              <a:gd name="connsiteX12095" fmla="*/ 665094 w 4610101"/>
              <a:gd name="connsiteY12095" fmla="*/ 1351083 h 6557032"/>
              <a:gd name="connsiteX12096" fmla="*/ 659627 w 4610101"/>
              <a:gd name="connsiteY12096" fmla="*/ 1347439 h 6557032"/>
              <a:gd name="connsiteX12097" fmla="*/ 608606 w 4610101"/>
              <a:gd name="connsiteY12097" fmla="*/ 1347439 h 6557032"/>
              <a:gd name="connsiteX12098" fmla="*/ 608606 w 4610101"/>
              <a:gd name="connsiteY12098" fmla="*/ 1360194 h 6557032"/>
              <a:gd name="connsiteX12099" fmla="*/ 610429 w 4610101"/>
              <a:gd name="connsiteY12099" fmla="*/ 1347439 h 6557032"/>
              <a:gd name="connsiteX12100" fmla="*/ 608606 w 4610101"/>
              <a:gd name="connsiteY12100" fmla="*/ 1347439 h 6557032"/>
              <a:gd name="connsiteX12101" fmla="*/ 508387 w 4610101"/>
              <a:gd name="connsiteY12101" fmla="*/ 1347439 h 6557032"/>
              <a:gd name="connsiteX12102" fmla="*/ 508387 w 4610101"/>
              <a:gd name="connsiteY12102" fmla="*/ 1356550 h 6557032"/>
              <a:gd name="connsiteX12103" fmla="*/ 508387 w 4610101"/>
              <a:gd name="connsiteY12103" fmla="*/ 1347439 h 6557032"/>
              <a:gd name="connsiteX12104" fmla="*/ 379012 w 4610101"/>
              <a:gd name="connsiteY12104" fmla="*/ 1347439 h 6557032"/>
              <a:gd name="connsiteX12105" fmla="*/ 371724 w 4610101"/>
              <a:gd name="connsiteY12105" fmla="*/ 1351083 h 6557032"/>
              <a:gd name="connsiteX12106" fmla="*/ 384479 w 4610101"/>
              <a:gd name="connsiteY12106" fmla="*/ 1354728 h 6557032"/>
              <a:gd name="connsiteX12107" fmla="*/ 379012 w 4610101"/>
              <a:gd name="connsiteY12107" fmla="*/ 1347439 h 6557032"/>
              <a:gd name="connsiteX12108" fmla="*/ 652795 w 4610101"/>
              <a:gd name="connsiteY12108" fmla="*/ 1347211 h 6557032"/>
              <a:gd name="connsiteX12109" fmla="*/ 648694 w 4610101"/>
              <a:gd name="connsiteY12109" fmla="*/ 1349261 h 6557032"/>
              <a:gd name="connsiteX12110" fmla="*/ 654161 w 4610101"/>
              <a:gd name="connsiteY12110" fmla="*/ 1349261 h 6557032"/>
              <a:gd name="connsiteX12111" fmla="*/ 652795 w 4610101"/>
              <a:gd name="connsiteY12111" fmla="*/ 1347211 h 6557032"/>
              <a:gd name="connsiteX12112" fmla="*/ 816790 w 4610101"/>
              <a:gd name="connsiteY12112" fmla="*/ 1346983 h 6557032"/>
              <a:gd name="connsiteX12113" fmla="*/ 810868 w 4610101"/>
              <a:gd name="connsiteY12113" fmla="*/ 1347439 h 6557032"/>
              <a:gd name="connsiteX12114" fmla="*/ 815328 w 4610101"/>
              <a:gd name="connsiteY12114" fmla="*/ 1356359 h 6557032"/>
              <a:gd name="connsiteX12115" fmla="*/ 815424 w 4610101"/>
              <a:gd name="connsiteY12115" fmla="*/ 1357461 h 6557032"/>
              <a:gd name="connsiteX12116" fmla="*/ 816334 w 4610101"/>
              <a:gd name="connsiteY12116" fmla="*/ 1363838 h 6557032"/>
              <a:gd name="connsiteX12117" fmla="*/ 805401 w 4610101"/>
              <a:gd name="connsiteY12117" fmla="*/ 1356550 h 6557032"/>
              <a:gd name="connsiteX12118" fmla="*/ 807223 w 4610101"/>
              <a:gd name="connsiteY12118" fmla="*/ 1372949 h 6557032"/>
              <a:gd name="connsiteX12119" fmla="*/ 819979 w 4610101"/>
              <a:gd name="connsiteY12119" fmla="*/ 1356550 h 6557032"/>
              <a:gd name="connsiteX12120" fmla="*/ 818301 w 4610101"/>
              <a:gd name="connsiteY12120" fmla="*/ 1356407 h 6557032"/>
              <a:gd name="connsiteX12121" fmla="*/ 819979 w 4610101"/>
              <a:gd name="connsiteY12121" fmla="*/ 1354728 h 6557032"/>
              <a:gd name="connsiteX12122" fmla="*/ 816790 w 4610101"/>
              <a:gd name="connsiteY12122" fmla="*/ 1346983 h 6557032"/>
              <a:gd name="connsiteX12123" fmla="*/ 742764 w 4610101"/>
              <a:gd name="connsiteY12123" fmla="*/ 1346300 h 6557032"/>
              <a:gd name="connsiteX12124" fmla="*/ 728870 w 4610101"/>
              <a:gd name="connsiteY12124" fmla="*/ 1354728 h 6557032"/>
              <a:gd name="connsiteX12125" fmla="*/ 745269 w 4610101"/>
              <a:gd name="connsiteY12125" fmla="*/ 1371127 h 6557032"/>
              <a:gd name="connsiteX12126" fmla="*/ 752558 w 4610101"/>
              <a:gd name="connsiteY12126" fmla="*/ 1352905 h 6557032"/>
              <a:gd name="connsiteX12127" fmla="*/ 742764 w 4610101"/>
              <a:gd name="connsiteY12127" fmla="*/ 1346300 h 6557032"/>
              <a:gd name="connsiteX12128" fmla="*/ 3431154 w 4610101"/>
              <a:gd name="connsiteY12128" fmla="*/ 1345617 h 6557032"/>
              <a:gd name="connsiteX12129" fmla="*/ 3432976 w 4610101"/>
              <a:gd name="connsiteY12129" fmla="*/ 1352905 h 6557032"/>
              <a:gd name="connsiteX12130" fmla="*/ 3431154 w 4610101"/>
              <a:gd name="connsiteY12130" fmla="*/ 1345617 h 6557032"/>
              <a:gd name="connsiteX12131" fmla="*/ 821801 w 4610101"/>
              <a:gd name="connsiteY12131" fmla="*/ 1345617 h 6557032"/>
              <a:gd name="connsiteX12132" fmla="*/ 834556 w 4610101"/>
              <a:gd name="connsiteY12132" fmla="*/ 1347439 h 6557032"/>
              <a:gd name="connsiteX12133" fmla="*/ 821801 w 4610101"/>
              <a:gd name="connsiteY12133" fmla="*/ 1345617 h 6557032"/>
              <a:gd name="connsiteX12134" fmla="*/ 637761 w 4610101"/>
              <a:gd name="connsiteY12134" fmla="*/ 1345617 h 6557032"/>
              <a:gd name="connsiteX12135" fmla="*/ 634117 w 4610101"/>
              <a:gd name="connsiteY12135" fmla="*/ 1351083 h 6557032"/>
              <a:gd name="connsiteX12136" fmla="*/ 637761 w 4610101"/>
              <a:gd name="connsiteY12136" fmla="*/ 1345617 h 6557032"/>
              <a:gd name="connsiteX12137" fmla="*/ 482876 w 4610101"/>
              <a:gd name="connsiteY12137" fmla="*/ 1345617 h 6557032"/>
              <a:gd name="connsiteX12138" fmla="*/ 482876 w 4610101"/>
              <a:gd name="connsiteY12138" fmla="*/ 1351083 h 6557032"/>
              <a:gd name="connsiteX12139" fmla="*/ 482876 w 4610101"/>
              <a:gd name="connsiteY12139" fmla="*/ 1345617 h 6557032"/>
              <a:gd name="connsiteX12140" fmla="*/ 647783 w 4610101"/>
              <a:gd name="connsiteY12140" fmla="*/ 1344478 h 6557032"/>
              <a:gd name="connsiteX12141" fmla="*/ 643228 w 4610101"/>
              <a:gd name="connsiteY12141" fmla="*/ 1347439 h 6557032"/>
              <a:gd name="connsiteX12142" fmla="*/ 645050 w 4610101"/>
              <a:gd name="connsiteY12142" fmla="*/ 1365661 h 6557032"/>
              <a:gd name="connsiteX12143" fmla="*/ 643228 w 4610101"/>
              <a:gd name="connsiteY12143" fmla="*/ 1347439 h 6557032"/>
              <a:gd name="connsiteX12144" fmla="*/ 652339 w 4610101"/>
              <a:gd name="connsiteY12144" fmla="*/ 1345617 h 6557032"/>
              <a:gd name="connsiteX12145" fmla="*/ 647783 w 4610101"/>
              <a:gd name="connsiteY12145" fmla="*/ 1344478 h 6557032"/>
              <a:gd name="connsiteX12146" fmla="*/ 573985 w 4610101"/>
              <a:gd name="connsiteY12146" fmla="*/ 1343795 h 6557032"/>
              <a:gd name="connsiteX12147" fmla="*/ 568519 w 4610101"/>
              <a:gd name="connsiteY12147" fmla="*/ 1351083 h 6557032"/>
              <a:gd name="connsiteX12148" fmla="*/ 559408 w 4610101"/>
              <a:gd name="connsiteY12148" fmla="*/ 1352905 h 6557032"/>
              <a:gd name="connsiteX12149" fmla="*/ 586741 w 4610101"/>
              <a:gd name="connsiteY12149" fmla="*/ 1374771 h 6557032"/>
              <a:gd name="connsiteX12150" fmla="*/ 573985 w 4610101"/>
              <a:gd name="connsiteY12150" fmla="*/ 1349261 h 6557032"/>
              <a:gd name="connsiteX12151" fmla="*/ 581274 w 4610101"/>
              <a:gd name="connsiteY12151" fmla="*/ 1354728 h 6557032"/>
              <a:gd name="connsiteX12152" fmla="*/ 573985 w 4610101"/>
              <a:gd name="connsiteY12152" fmla="*/ 1343795 h 6557032"/>
              <a:gd name="connsiteX12153" fmla="*/ 468299 w 4610101"/>
              <a:gd name="connsiteY12153" fmla="*/ 1343795 h 6557032"/>
              <a:gd name="connsiteX12154" fmla="*/ 464655 w 4610101"/>
              <a:gd name="connsiteY12154" fmla="*/ 1352905 h 6557032"/>
              <a:gd name="connsiteX12155" fmla="*/ 471943 w 4610101"/>
              <a:gd name="connsiteY12155" fmla="*/ 1347439 h 6557032"/>
              <a:gd name="connsiteX12156" fmla="*/ 468299 w 4610101"/>
              <a:gd name="connsiteY12156" fmla="*/ 1343795 h 6557032"/>
              <a:gd name="connsiteX12157" fmla="*/ 389946 w 4610101"/>
              <a:gd name="connsiteY12157" fmla="*/ 1343795 h 6557032"/>
              <a:gd name="connsiteX12158" fmla="*/ 380835 w 4610101"/>
              <a:gd name="connsiteY12158" fmla="*/ 1347439 h 6557032"/>
              <a:gd name="connsiteX12159" fmla="*/ 411812 w 4610101"/>
              <a:gd name="connsiteY12159" fmla="*/ 1356550 h 6557032"/>
              <a:gd name="connsiteX12160" fmla="*/ 389946 w 4610101"/>
              <a:gd name="connsiteY12160" fmla="*/ 1347439 h 6557032"/>
              <a:gd name="connsiteX12161" fmla="*/ 386301 w 4610101"/>
              <a:gd name="connsiteY12161" fmla="*/ 1349261 h 6557032"/>
              <a:gd name="connsiteX12162" fmla="*/ 389946 w 4610101"/>
              <a:gd name="connsiteY12162" fmla="*/ 1343795 h 6557032"/>
              <a:gd name="connsiteX12163" fmla="*/ 463516 w 4610101"/>
              <a:gd name="connsiteY12163" fmla="*/ 1343795 h 6557032"/>
              <a:gd name="connsiteX12164" fmla="*/ 461010 w 4610101"/>
              <a:gd name="connsiteY12164" fmla="*/ 1343795 h 6557032"/>
              <a:gd name="connsiteX12165" fmla="*/ 461010 w 4610101"/>
              <a:gd name="connsiteY12165" fmla="*/ 1347439 h 6557032"/>
              <a:gd name="connsiteX12166" fmla="*/ 464655 w 4610101"/>
              <a:gd name="connsiteY12166" fmla="*/ 1343795 h 6557032"/>
              <a:gd name="connsiteX12167" fmla="*/ 463516 w 4610101"/>
              <a:gd name="connsiteY12167" fmla="*/ 1343795 h 6557032"/>
              <a:gd name="connsiteX12168" fmla="*/ 1257817 w 4610101"/>
              <a:gd name="connsiteY12168" fmla="*/ 1342489 h 6557032"/>
              <a:gd name="connsiteX12169" fmla="*/ 1260945 w 4610101"/>
              <a:gd name="connsiteY12169" fmla="*/ 1345617 h 6557032"/>
              <a:gd name="connsiteX12170" fmla="*/ 1257606 w 4610101"/>
              <a:gd name="connsiteY12170" fmla="*/ 1344504 h 6557032"/>
              <a:gd name="connsiteX12171" fmla="*/ 3460107 w 4610101"/>
              <a:gd name="connsiteY12171" fmla="*/ 1341972 h 6557032"/>
              <a:gd name="connsiteX12172" fmla="*/ 3463042 w 4610101"/>
              <a:gd name="connsiteY12172" fmla="*/ 1341972 h 6557032"/>
              <a:gd name="connsiteX12173" fmla="*/ 3460309 w 4610101"/>
              <a:gd name="connsiteY12173" fmla="*/ 1343795 h 6557032"/>
              <a:gd name="connsiteX12174" fmla="*/ 785357 w 4610101"/>
              <a:gd name="connsiteY12174" fmla="*/ 1341972 h 6557032"/>
              <a:gd name="connsiteX12175" fmla="*/ 779892 w 4610101"/>
              <a:gd name="connsiteY12175" fmla="*/ 1347439 h 6557032"/>
              <a:gd name="connsiteX12176" fmla="*/ 781713 w 4610101"/>
              <a:gd name="connsiteY12176" fmla="*/ 1351083 h 6557032"/>
              <a:gd name="connsiteX12177" fmla="*/ 783535 w 4610101"/>
              <a:gd name="connsiteY12177" fmla="*/ 1345617 h 6557032"/>
              <a:gd name="connsiteX12178" fmla="*/ 787179 w 4610101"/>
              <a:gd name="connsiteY12178" fmla="*/ 1360194 h 6557032"/>
              <a:gd name="connsiteX12179" fmla="*/ 789003 w 4610101"/>
              <a:gd name="connsiteY12179" fmla="*/ 1347439 h 6557032"/>
              <a:gd name="connsiteX12180" fmla="*/ 792646 w 4610101"/>
              <a:gd name="connsiteY12180" fmla="*/ 1351083 h 6557032"/>
              <a:gd name="connsiteX12181" fmla="*/ 796290 w 4610101"/>
              <a:gd name="connsiteY12181" fmla="*/ 1343795 h 6557032"/>
              <a:gd name="connsiteX12182" fmla="*/ 785357 w 4610101"/>
              <a:gd name="connsiteY12182" fmla="*/ 1341972 h 6557032"/>
              <a:gd name="connsiteX12183" fmla="*/ 774424 w 4610101"/>
              <a:gd name="connsiteY12183" fmla="*/ 1341972 h 6557032"/>
              <a:gd name="connsiteX12184" fmla="*/ 774424 w 4610101"/>
              <a:gd name="connsiteY12184" fmla="*/ 1356550 h 6557032"/>
              <a:gd name="connsiteX12185" fmla="*/ 774424 w 4610101"/>
              <a:gd name="connsiteY12185" fmla="*/ 1341972 h 6557032"/>
              <a:gd name="connsiteX12186" fmla="*/ 590385 w 4610101"/>
              <a:gd name="connsiteY12186" fmla="*/ 1341972 h 6557032"/>
              <a:gd name="connsiteX12187" fmla="*/ 594030 w 4610101"/>
              <a:gd name="connsiteY12187" fmla="*/ 1345617 h 6557032"/>
              <a:gd name="connsiteX12188" fmla="*/ 590385 w 4610101"/>
              <a:gd name="connsiteY12188" fmla="*/ 1341972 h 6557032"/>
              <a:gd name="connsiteX12189" fmla="*/ 3041835 w 4610101"/>
              <a:gd name="connsiteY12189" fmla="*/ 1340236 h 6557032"/>
              <a:gd name="connsiteX12190" fmla="*/ 3032098 w 4610101"/>
              <a:gd name="connsiteY12190" fmla="*/ 1341972 h 6557032"/>
              <a:gd name="connsiteX12191" fmla="*/ 3028453 w 4610101"/>
              <a:gd name="connsiteY12191" fmla="*/ 1360194 h 6557032"/>
              <a:gd name="connsiteX12192" fmla="*/ 3048497 w 4610101"/>
              <a:gd name="connsiteY12192" fmla="*/ 1362016 h 6557032"/>
              <a:gd name="connsiteX12193" fmla="*/ 3041835 w 4610101"/>
              <a:gd name="connsiteY12193" fmla="*/ 1340236 h 6557032"/>
              <a:gd name="connsiteX12194" fmla="*/ 1255478 w 4610101"/>
              <a:gd name="connsiteY12194" fmla="*/ 1340150 h 6557032"/>
              <a:gd name="connsiteX12195" fmla="*/ 1256121 w 4610101"/>
              <a:gd name="connsiteY12195" fmla="*/ 1340793 h 6557032"/>
              <a:gd name="connsiteX12196" fmla="*/ 1255953 w 4610101"/>
              <a:gd name="connsiteY12196" fmla="*/ 1341576 h 6557032"/>
              <a:gd name="connsiteX12197" fmla="*/ 282438 w 4610101"/>
              <a:gd name="connsiteY12197" fmla="*/ 1340150 h 6557032"/>
              <a:gd name="connsiteX12198" fmla="*/ 271504 w 4610101"/>
              <a:gd name="connsiteY12198" fmla="*/ 1343795 h 6557032"/>
              <a:gd name="connsiteX12199" fmla="*/ 282438 w 4610101"/>
              <a:gd name="connsiteY12199" fmla="*/ 1340150 h 6557032"/>
              <a:gd name="connsiteX12200" fmla="*/ 3371055 w 4610101"/>
              <a:gd name="connsiteY12200" fmla="*/ 1340058 h 6557032"/>
              <a:gd name="connsiteX12201" fmla="*/ 3371022 w 4610101"/>
              <a:gd name="connsiteY12201" fmla="*/ 1340150 h 6557032"/>
              <a:gd name="connsiteX12202" fmla="*/ 3369314 w 4610101"/>
              <a:gd name="connsiteY12202" fmla="*/ 1340653 h 6557032"/>
              <a:gd name="connsiteX12203" fmla="*/ 3369200 w 4610101"/>
              <a:gd name="connsiteY12203" fmla="*/ 1340150 h 6557032"/>
              <a:gd name="connsiteX12204" fmla="*/ 3465880 w 4610101"/>
              <a:gd name="connsiteY12204" fmla="*/ 1339929 h 6557032"/>
              <a:gd name="connsiteX12205" fmla="*/ 3465775 w 4610101"/>
              <a:gd name="connsiteY12205" fmla="*/ 1341972 h 6557032"/>
              <a:gd name="connsiteX12206" fmla="*/ 3463043 w 4610101"/>
              <a:gd name="connsiteY12206" fmla="*/ 1341972 h 6557032"/>
              <a:gd name="connsiteX12207" fmla="*/ 3465775 w 4610101"/>
              <a:gd name="connsiteY12207" fmla="*/ 1340150 h 6557032"/>
              <a:gd name="connsiteX12208" fmla="*/ 1629023 w 4610101"/>
              <a:gd name="connsiteY12208" fmla="*/ 1338447 h 6557032"/>
              <a:gd name="connsiteX12209" fmla="*/ 1650889 w 4610101"/>
              <a:gd name="connsiteY12209" fmla="*/ 1338447 h 6557032"/>
              <a:gd name="connsiteX12210" fmla="*/ 1643602 w 4610101"/>
              <a:gd name="connsiteY12210" fmla="*/ 1353024 h 6557032"/>
              <a:gd name="connsiteX12211" fmla="*/ 1650889 w 4610101"/>
              <a:gd name="connsiteY12211" fmla="*/ 1362134 h 6557032"/>
              <a:gd name="connsiteX12212" fmla="*/ 1629023 w 4610101"/>
              <a:gd name="connsiteY12212" fmla="*/ 1362134 h 6557032"/>
              <a:gd name="connsiteX12213" fmla="*/ 1111526 w 4610101"/>
              <a:gd name="connsiteY12213" fmla="*/ 1338328 h 6557032"/>
              <a:gd name="connsiteX12214" fmla="*/ 1120637 w 4610101"/>
              <a:gd name="connsiteY12214" fmla="*/ 1369305 h 6557032"/>
              <a:gd name="connsiteX12215" fmla="*/ 1111526 w 4610101"/>
              <a:gd name="connsiteY12215" fmla="*/ 1338328 h 6557032"/>
              <a:gd name="connsiteX12216" fmla="*/ 621362 w 4610101"/>
              <a:gd name="connsiteY12216" fmla="*/ 1338328 h 6557032"/>
              <a:gd name="connsiteX12217" fmla="*/ 619539 w 4610101"/>
              <a:gd name="connsiteY12217" fmla="*/ 1341972 h 6557032"/>
              <a:gd name="connsiteX12218" fmla="*/ 619539 w 4610101"/>
              <a:gd name="connsiteY12218" fmla="*/ 1340150 h 6557032"/>
              <a:gd name="connsiteX12219" fmla="*/ 621362 w 4610101"/>
              <a:gd name="connsiteY12219" fmla="*/ 1349261 h 6557032"/>
              <a:gd name="connsiteX12220" fmla="*/ 623185 w 4610101"/>
              <a:gd name="connsiteY12220" fmla="*/ 1341972 h 6557032"/>
              <a:gd name="connsiteX12221" fmla="*/ 623185 w 4610101"/>
              <a:gd name="connsiteY12221" fmla="*/ 1349261 h 6557032"/>
              <a:gd name="connsiteX12222" fmla="*/ 630472 w 4610101"/>
              <a:gd name="connsiteY12222" fmla="*/ 1347439 h 6557032"/>
              <a:gd name="connsiteX12223" fmla="*/ 634117 w 4610101"/>
              <a:gd name="connsiteY12223" fmla="*/ 1343795 h 6557032"/>
              <a:gd name="connsiteX12224" fmla="*/ 628650 w 4610101"/>
              <a:gd name="connsiteY12224" fmla="*/ 1338328 h 6557032"/>
              <a:gd name="connsiteX12225" fmla="*/ 630472 w 4610101"/>
              <a:gd name="connsiteY12225" fmla="*/ 1347439 h 6557032"/>
              <a:gd name="connsiteX12226" fmla="*/ 621362 w 4610101"/>
              <a:gd name="connsiteY12226" fmla="*/ 1338328 h 6557032"/>
              <a:gd name="connsiteX12227" fmla="*/ 579452 w 4610101"/>
              <a:gd name="connsiteY12227" fmla="*/ 1338328 h 6557032"/>
              <a:gd name="connsiteX12228" fmla="*/ 575808 w 4610101"/>
              <a:gd name="connsiteY12228" fmla="*/ 1341972 h 6557032"/>
              <a:gd name="connsiteX12229" fmla="*/ 594030 w 4610101"/>
              <a:gd name="connsiteY12229" fmla="*/ 1352905 h 6557032"/>
              <a:gd name="connsiteX12230" fmla="*/ 584919 w 4610101"/>
              <a:gd name="connsiteY12230" fmla="*/ 1338328 h 6557032"/>
              <a:gd name="connsiteX12231" fmla="*/ 579452 w 4610101"/>
              <a:gd name="connsiteY12231" fmla="*/ 1343795 h 6557032"/>
              <a:gd name="connsiteX12232" fmla="*/ 579452 w 4610101"/>
              <a:gd name="connsiteY12232" fmla="*/ 1338328 h 6557032"/>
              <a:gd name="connsiteX12233" fmla="*/ 455544 w 4610101"/>
              <a:gd name="connsiteY12233" fmla="*/ 1338328 h 6557032"/>
              <a:gd name="connsiteX12234" fmla="*/ 457367 w 4610101"/>
              <a:gd name="connsiteY12234" fmla="*/ 1343795 h 6557032"/>
              <a:gd name="connsiteX12235" fmla="*/ 455544 w 4610101"/>
              <a:gd name="connsiteY12235" fmla="*/ 1338328 h 6557032"/>
              <a:gd name="connsiteX12236" fmla="*/ 371724 w 4610101"/>
              <a:gd name="connsiteY12236" fmla="*/ 1338328 h 6557032"/>
              <a:gd name="connsiteX12237" fmla="*/ 384479 w 4610101"/>
              <a:gd name="connsiteY12237" fmla="*/ 1341972 h 6557032"/>
              <a:gd name="connsiteX12238" fmla="*/ 371724 w 4610101"/>
              <a:gd name="connsiteY12238" fmla="*/ 1338328 h 6557032"/>
              <a:gd name="connsiteX12239" fmla="*/ 3407466 w 4610101"/>
              <a:gd name="connsiteY12239" fmla="*/ 1336506 h 6557032"/>
              <a:gd name="connsiteX12240" fmla="*/ 3407466 w 4610101"/>
              <a:gd name="connsiteY12240" fmla="*/ 1347439 h 6557032"/>
              <a:gd name="connsiteX12241" fmla="*/ 3407466 w 4610101"/>
              <a:gd name="connsiteY12241" fmla="*/ 1336506 h 6557032"/>
              <a:gd name="connsiteX12242" fmla="*/ 2917301 w 4610101"/>
              <a:gd name="connsiteY12242" fmla="*/ 1336506 h 6557032"/>
              <a:gd name="connsiteX12243" fmla="*/ 2913656 w 4610101"/>
              <a:gd name="connsiteY12243" fmla="*/ 1338328 h 6557032"/>
              <a:gd name="connsiteX12244" fmla="*/ 2917301 w 4610101"/>
              <a:gd name="connsiteY12244" fmla="*/ 1341972 h 6557032"/>
              <a:gd name="connsiteX12245" fmla="*/ 2897257 w 4610101"/>
              <a:gd name="connsiteY12245" fmla="*/ 1367483 h 6557032"/>
              <a:gd name="connsiteX12246" fmla="*/ 2922767 w 4610101"/>
              <a:gd name="connsiteY12246" fmla="*/ 1358372 h 6557032"/>
              <a:gd name="connsiteX12247" fmla="*/ 2915479 w 4610101"/>
              <a:gd name="connsiteY12247" fmla="*/ 1356550 h 6557032"/>
              <a:gd name="connsiteX12248" fmla="*/ 2917301 w 4610101"/>
              <a:gd name="connsiteY12248" fmla="*/ 1347439 h 6557032"/>
              <a:gd name="connsiteX12249" fmla="*/ 2919123 w 4610101"/>
              <a:gd name="connsiteY12249" fmla="*/ 1347439 h 6557032"/>
              <a:gd name="connsiteX12250" fmla="*/ 2919123 w 4610101"/>
              <a:gd name="connsiteY12250" fmla="*/ 1341972 h 6557032"/>
              <a:gd name="connsiteX12251" fmla="*/ 2917301 w 4610101"/>
              <a:gd name="connsiteY12251" fmla="*/ 1336506 h 6557032"/>
              <a:gd name="connsiteX12252" fmla="*/ 2830065 w 4610101"/>
              <a:gd name="connsiteY12252" fmla="*/ 1336506 h 6557032"/>
              <a:gd name="connsiteX12253" fmla="*/ 2817081 w 4610101"/>
              <a:gd name="connsiteY12253" fmla="*/ 1349261 h 6557032"/>
              <a:gd name="connsiteX12254" fmla="*/ 2828014 w 4610101"/>
              <a:gd name="connsiteY12254" fmla="*/ 1341972 h 6557032"/>
              <a:gd name="connsiteX12255" fmla="*/ 2828014 w 4610101"/>
              <a:gd name="connsiteY12255" fmla="*/ 1349261 h 6557032"/>
              <a:gd name="connsiteX12256" fmla="*/ 2844414 w 4610101"/>
              <a:gd name="connsiteY12256" fmla="*/ 1351083 h 6557032"/>
              <a:gd name="connsiteX12257" fmla="*/ 2830065 w 4610101"/>
              <a:gd name="connsiteY12257" fmla="*/ 1336506 h 6557032"/>
              <a:gd name="connsiteX12258" fmla="*/ 1102416 w 4610101"/>
              <a:gd name="connsiteY12258" fmla="*/ 1336506 h 6557032"/>
              <a:gd name="connsiteX12259" fmla="*/ 1106060 w 4610101"/>
              <a:gd name="connsiteY12259" fmla="*/ 1343795 h 6557032"/>
              <a:gd name="connsiteX12260" fmla="*/ 1102416 w 4610101"/>
              <a:gd name="connsiteY12260" fmla="*/ 1336506 h 6557032"/>
              <a:gd name="connsiteX12261" fmla="*/ 666916 w 4610101"/>
              <a:gd name="connsiteY12261" fmla="*/ 1336506 h 6557032"/>
              <a:gd name="connsiteX12262" fmla="*/ 668738 w 4610101"/>
              <a:gd name="connsiteY12262" fmla="*/ 1347439 h 6557032"/>
              <a:gd name="connsiteX12263" fmla="*/ 674205 w 4610101"/>
              <a:gd name="connsiteY12263" fmla="*/ 1341972 h 6557032"/>
              <a:gd name="connsiteX12264" fmla="*/ 666916 w 4610101"/>
              <a:gd name="connsiteY12264" fmla="*/ 1336506 h 6557032"/>
              <a:gd name="connsiteX12265" fmla="*/ 654161 w 4610101"/>
              <a:gd name="connsiteY12265" fmla="*/ 1336506 h 6557032"/>
              <a:gd name="connsiteX12266" fmla="*/ 655983 w 4610101"/>
              <a:gd name="connsiteY12266" fmla="*/ 1341972 h 6557032"/>
              <a:gd name="connsiteX12267" fmla="*/ 654161 w 4610101"/>
              <a:gd name="connsiteY12267" fmla="*/ 1336506 h 6557032"/>
              <a:gd name="connsiteX12268" fmla="*/ 3434798 w 4610101"/>
              <a:gd name="connsiteY12268" fmla="*/ 1334684 h 6557032"/>
              <a:gd name="connsiteX12269" fmla="*/ 3436621 w 4610101"/>
              <a:gd name="connsiteY12269" fmla="*/ 1343795 h 6557032"/>
              <a:gd name="connsiteX12270" fmla="*/ 3434798 w 4610101"/>
              <a:gd name="connsiteY12270" fmla="*/ 1334684 h 6557032"/>
              <a:gd name="connsiteX12271" fmla="*/ 3234359 w 4610101"/>
              <a:gd name="connsiteY12271" fmla="*/ 1334684 h 6557032"/>
              <a:gd name="connsiteX12272" fmla="*/ 3219782 w 4610101"/>
              <a:gd name="connsiteY12272" fmla="*/ 1341972 h 6557032"/>
              <a:gd name="connsiteX12273" fmla="*/ 3219782 w 4610101"/>
              <a:gd name="connsiteY12273" fmla="*/ 1347439 h 6557032"/>
              <a:gd name="connsiteX12274" fmla="*/ 3232537 w 4610101"/>
              <a:gd name="connsiteY12274" fmla="*/ 1356550 h 6557032"/>
              <a:gd name="connsiteX12275" fmla="*/ 3239826 w 4610101"/>
              <a:gd name="connsiteY12275" fmla="*/ 1371127 h 6557032"/>
              <a:gd name="connsiteX12276" fmla="*/ 3239826 w 4610101"/>
              <a:gd name="connsiteY12276" fmla="*/ 1367483 h 6557032"/>
              <a:gd name="connsiteX12277" fmla="*/ 3245292 w 4610101"/>
              <a:gd name="connsiteY12277" fmla="*/ 1372949 h 6557032"/>
              <a:gd name="connsiteX12278" fmla="*/ 3254403 w 4610101"/>
              <a:gd name="connsiteY12278" fmla="*/ 1369305 h 6557032"/>
              <a:gd name="connsiteX12279" fmla="*/ 3252581 w 4610101"/>
              <a:gd name="connsiteY12279" fmla="*/ 1360194 h 6557032"/>
              <a:gd name="connsiteX12280" fmla="*/ 3245292 w 4610101"/>
              <a:gd name="connsiteY12280" fmla="*/ 1358372 h 6557032"/>
              <a:gd name="connsiteX12281" fmla="*/ 3234359 w 4610101"/>
              <a:gd name="connsiteY12281" fmla="*/ 1334684 h 6557032"/>
              <a:gd name="connsiteX12282" fmla="*/ 3066719 w 4610101"/>
              <a:gd name="connsiteY12282" fmla="*/ 1334684 h 6557032"/>
              <a:gd name="connsiteX12283" fmla="*/ 3072186 w 4610101"/>
              <a:gd name="connsiteY12283" fmla="*/ 1341972 h 6557032"/>
              <a:gd name="connsiteX12284" fmla="*/ 3066719 w 4610101"/>
              <a:gd name="connsiteY12284" fmla="*/ 1349261 h 6557032"/>
              <a:gd name="connsiteX12285" fmla="*/ 3063075 w 4610101"/>
              <a:gd name="connsiteY12285" fmla="*/ 1343795 h 6557032"/>
              <a:gd name="connsiteX12286" fmla="*/ 3066719 w 4610101"/>
              <a:gd name="connsiteY12286" fmla="*/ 1362016 h 6557032"/>
              <a:gd name="connsiteX12287" fmla="*/ 3066719 w 4610101"/>
              <a:gd name="connsiteY12287" fmla="*/ 1354728 h 6557032"/>
              <a:gd name="connsiteX12288" fmla="*/ 3072186 w 4610101"/>
              <a:gd name="connsiteY12288" fmla="*/ 1358372 h 6557032"/>
              <a:gd name="connsiteX12289" fmla="*/ 3070363 w 4610101"/>
              <a:gd name="connsiteY12289" fmla="*/ 1367483 h 6557032"/>
              <a:gd name="connsiteX12290" fmla="*/ 3079474 w 4610101"/>
              <a:gd name="connsiteY12290" fmla="*/ 1367483 h 6557032"/>
              <a:gd name="connsiteX12291" fmla="*/ 3084030 w 4610101"/>
              <a:gd name="connsiteY12291" fmla="*/ 1358144 h 6557032"/>
              <a:gd name="connsiteX12292" fmla="*/ 3093645 w 4610101"/>
              <a:gd name="connsiteY12292" fmla="*/ 1353118 h 6557032"/>
              <a:gd name="connsiteX12293" fmla="*/ 3092230 w 4610101"/>
              <a:gd name="connsiteY12293" fmla="*/ 1360194 h 6557032"/>
              <a:gd name="connsiteX12294" fmla="*/ 3099518 w 4610101"/>
              <a:gd name="connsiteY12294" fmla="*/ 1362016 h 6557032"/>
              <a:gd name="connsiteX12295" fmla="*/ 3103163 w 4610101"/>
              <a:gd name="connsiteY12295" fmla="*/ 1376594 h 6557032"/>
              <a:gd name="connsiteX12296" fmla="*/ 3103163 w 4610101"/>
              <a:gd name="connsiteY12296" fmla="*/ 1362016 h 6557032"/>
              <a:gd name="connsiteX12297" fmla="*/ 3106807 w 4610101"/>
              <a:gd name="connsiteY12297" fmla="*/ 1360194 h 6557032"/>
              <a:gd name="connsiteX12298" fmla="*/ 3106807 w 4610101"/>
              <a:gd name="connsiteY12298" fmla="*/ 1354728 h 6557032"/>
              <a:gd name="connsiteX12299" fmla="*/ 3094052 w 4610101"/>
              <a:gd name="connsiteY12299" fmla="*/ 1351083 h 6557032"/>
              <a:gd name="connsiteX12300" fmla="*/ 3093779 w 4610101"/>
              <a:gd name="connsiteY12300" fmla="*/ 1352450 h 6557032"/>
              <a:gd name="connsiteX12301" fmla="*/ 3092685 w 4610101"/>
              <a:gd name="connsiteY12301" fmla="*/ 1350628 h 6557032"/>
              <a:gd name="connsiteX12302" fmla="*/ 3094052 w 4610101"/>
              <a:gd name="connsiteY12302" fmla="*/ 1345617 h 6557032"/>
              <a:gd name="connsiteX12303" fmla="*/ 3084941 w 4610101"/>
              <a:gd name="connsiteY12303" fmla="*/ 1343795 h 6557032"/>
              <a:gd name="connsiteX12304" fmla="*/ 3074008 w 4610101"/>
              <a:gd name="connsiteY12304" fmla="*/ 1334684 h 6557032"/>
              <a:gd name="connsiteX12305" fmla="*/ 3066719 w 4610101"/>
              <a:gd name="connsiteY12305" fmla="*/ 1334684 h 6557032"/>
              <a:gd name="connsiteX12306" fmla="*/ 1231790 w 4610101"/>
              <a:gd name="connsiteY12306" fmla="*/ 1334684 h 6557032"/>
              <a:gd name="connsiteX12307" fmla="*/ 1229969 w 4610101"/>
              <a:gd name="connsiteY12307" fmla="*/ 1340150 h 6557032"/>
              <a:gd name="connsiteX12308" fmla="*/ 1233612 w 4610101"/>
              <a:gd name="connsiteY12308" fmla="*/ 1340150 h 6557032"/>
              <a:gd name="connsiteX12309" fmla="*/ 1231790 w 4610101"/>
              <a:gd name="connsiteY12309" fmla="*/ 1334684 h 6557032"/>
              <a:gd name="connsiteX12310" fmla="*/ 1091484 w 4610101"/>
              <a:gd name="connsiteY12310" fmla="*/ 1334684 h 6557032"/>
              <a:gd name="connsiteX12311" fmla="*/ 1093305 w 4610101"/>
              <a:gd name="connsiteY12311" fmla="*/ 1352905 h 6557032"/>
              <a:gd name="connsiteX12312" fmla="*/ 1098771 w 4610101"/>
              <a:gd name="connsiteY12312" fmla="*/ 1360194 h 6557032"/>
              <a:gd name="connsiteX12313" fmla="*/ 1100593 w 4610101"/>
              <a:gd name="connsiteY12313" fmla="*/ 1356550 h 6557032"/>
              <a:gd name="connsiteX12314" fmla="*/ 1100593 w 4610101"/>
              <a:gd name="connsiteY12314" fmla="*/ 1362016 h 6557032"/>
              <a:gd name="connsiteX12315" fmla="*/ 1101049 w 4610101"/>
              <a:gd name="connsiteY12315" fmla="*/ 1362699 h 6557032"/>
              <a:gd name="connsiteX12316" fmla="*/ 1102669 w 4610101"/>
              <a:gd name="connsiteY12316" fmla="*/ 1362352 h 6557032"/>
              <a:gd name="connsiteX12317" fmla="*/ 1129748 w 4610101"/>
              <a:gd name="connsiteY12317" fmla="*/ 1398460 h 6557032"/>
              <a:gd name="connsiteX12318" fmla="*/ 1130721 w 4610101"/>
              <a:gd name="connsiteY12318" fmla="*/ 1397292 h 6557032"/>
              <a:gd name="connsiteX12319" fmla="*/ 1131750 w 4610101"/>
              <a:gd name="connsiteY12319" fmla="*/ 1399281 h 6557032"/>
              <a:gd name="connsiteX12320" fmla="*/ 1131115 w 4610101"/>
              <a:gd name="connsiteY12320" fmla="*/ 1399599 h 6557032"/>
              <a:gd name="connsiteX12321" fmla="*/ 1131570 w 4610101"/>
              <a:gd name="connsiteY12321" fmla="*/ 1402104 h 6557032"/>
              <a:gd name="connsiteX12322" fmla="*/ 1132481 w 4610101"/>
              <a:gd name="connsiteY12322" fmla="*/ 1402559 h 6557032"/>
              <a:gd name="connsiteX12323" fmla="*/ 1132901 w 4610101"/>
              <a:gd name="connsiteY12323" fmla="*/ 1401510 h 6557032"/>
              <a:gd name="connsiteX12324" fmla="*/ 1138859 w 4610101"/>
              <a:gd name="connsiteY12324" fmla="*/ 1413037 h 6557032"/>
              <a:gd name="connsiteX12325" fmla="*/ 1133393 w 4610101"/>
              <a:gd name="connsiteY12325" fmla="*/ 1400282 h 6557032"/>
              <a:gd name="connsiteX12326" fmla="*/ 1132901 w 4610101"/>
              <a:gd name="connsiteY12326" fmla="*/ 1401510 h 6557032"/>
              <a:gd name="connsiteX12327" fmla="*/ 1131750 w 4610101"/>
              <a:gd name="connsiteY12327" fmla="*/ 1399281 h 6557032"/>
              <a:gd name="connsiteX12328" fmla="*/ 1133393 w 4610101"/>
              <a:gd name="connsiteY12328" fmla="*/ 1398460 h 6557032"/>
              <a:gd name="connsiteX12329" fmla="*/ 1130887 w 4610101"/>
              <a:gd name="connsiteY12329" fmla="*/ 1397093 h 6557032"/>
              <a:gd name="connsiteX12330" fmla="*/ 1130721 w 4610101"/>
              <a:gd name="connsiteY12330" fmla="*/ 1397292 h 6557032"/>
              <a:gd name="connsiteX12331" fmla="*/ 1128382 w 4610101"/>
              <a:gd name="connsiteY12331" fmla="*/ 1392765 h 6557032"/>
              <a:gd name="connsiteX12332" fmla="*/ 1115171 w 4610101"/>
              <a:gd name="connsiteY12332" fmla="*/ 1371127 h 6557032"/>
              <a:gd name="connsiteX12333" fmla="*/ 1113349 w 4610101"/>
              <a:gd name="connsiteY12333" fmla="*/ 1363838 h 6557032"/>
              <a:gd name="connsiteX12334" fmla="*/ 1115171 w 4610101"/>
              <a:gd name="connsiteY12334" fmla="*/ 1371127 h 6557032"/>
              <a:gd name="connsiteX12335" fmla="*/ 1109476 w 4610101"/>
              <a:gd name="connsiteY12335" fmla="*/ 1364522 h 6557032"/>
              <a:gd name="connsiteX12336" fmla="*/ 1109039 w 4610101"/>
              <a:gd name="connsiteY12336" fmla="*/ 1364367 h 6557032"/>
              <a:gd name="connsiteX12337" fmla="*/ 1108110 w 4610101"/>
              <a:gd name="connsiteY12337" fmla="*/ 1357461 h 6557032"/>
              <a:gd name="connsiteX12338" fmla="*/ 1102416 w 4610101"/>
              <a:gd name="connsiteY12338" fmla="*/ 1345617 h 6557032"/>
              <a:gd name="connsiteX12339" fmla="*/ 1093305 w 4610101"/>
              <a:gd name="connsiteY12339" fmla="*/ 1352905 h 6557032"/>
              <a:gd name="connsiteX12340" fmla="*/ 1100593 w 4610101"/>
              <a:gd name="connsiteY12340" fmla="*/ 1345617 h 6557032"/>
              <a:gd name="connsiteX12341" fmla="*/ 1091484 w 4610101"/>
              <a:gd name="connsiteY12341" fmla="*/ 1334684 h 6557032"/>
              <a:gd name="connsiteX12342" fmla="*/ 645050 w 4610101"/>
              <a:gd name="connsiteY12342" fmla="*/ 1334684 h 6557032"/>
              <a:gd name="connsiteX12343" fmla="*/ 643228 w 4610101"/>
              <a:gd name="connsiteY12343" fmla="*/ 1338328 h 6557032"/>
              <a:gd name="connsiteX12344" fmla="*/ 648694 w 4610101"/>
              <a:gd name="connsiteY12344" fmla="*/ 1340150 h 6557032"/>
              <a:gd name="connsiteX12345" fmla="*/ 645050 w 4610101"/>
              <a:gd name="connsiteY12345" fmla="*/ 1334684 h 6557032"/>
              <a:gd name="connsiteX12346" fmla="*/ 632295 w 4610101"/>
              <a:gd name="connsiteY12346" fmla="*/ 1334229 h 6557032"/>
              <a:gd name="connsiteX12347" fmla="*/ 626828 w 4610101"/>
              <a:gd name="connsiteY12347" fmla="*/ 1334684 h 6557032"/>
              <a:gd name="connsiteX12348" fmla="*/ 637761 w 4610101"/>
              <a:gd name="connsiteY12348" fmla="*/ 1336506 h 6557032"/>
              <a:gd name="connsiteX12349" fmla="*/ 632295 w 4610101"/>
              <a:gd name="connsiteY12349" fmla="*/ 1334229 h 6557032"/>
              <a:gd name="connsiteX12350" fmla="*/ 901325 w 4610101"/>
              <a:gd name="connsiteY12350" fmla="*/ 1333513 h 6557032"/>
              <a:gd name="connsiteX12351" fmla="*/ 900896 w 4610101"/>
              <a:gd name="connsiteY12351" fmla="*/ 1335147 h 6557032"/>
              <a:gd name="connsiteX12352" fmla="*/ 900154 w 4610101"/>
              <a:gd name="connsiteY12352" fmla="*/ 1334684 h 6557032"/>
              <a:gd name="connsiteX12353" fmla="*/ 3466210 w 4610101"/>
              <a:gd name="connsiteY12353" fmla="*/ 1333490 h 6557032"/>
              <a:gd name="connsiteX12354" fmla="*/ 3467825 w 4610101"/>
              <a:gd name="connsiteY12354" fmla="*/ 1335823 h 6557032"/>
              <a:gd name="connsiteX12355" fmla="*/ 3465880 w 4610101"/>
              <a:gd name="connsiteY12355" fmla="*/ 1339929 h 6557032"/>
              <a:gd name="connsiteX12356" fmla="*/ 3465866 w 4610101"/>
              <a:gd name="connsiteY12356" fmla="*/ 1332993 h 6557032"/>
              <a:gd name="connsiteX12357" fmla="*/ 3466231 w 4610101"/>
              <a:gd name="connsiteY12357" fmla="*/ 1333089 h 6557032"/>
              <a:gd name="connsiteX12358" fmla="*/ 3466210 w 4610101"/>
              <a:gd name="connsiteY12358" fmla="*/ 1333490 h 6557032"/>
              <a:gd name="connsiteX12359" fmla="*/ 3465775 w 4610101"/>
              <a:gd name="connsiteY12359" fmla="*/ 1332862 h 6557032"/>
              <a:gd name="connsiteX12360" fmla="*/ 3465866 w 4610101"/>
              <a:gd name="connsiteY12360" fmla="*/ 1332993 h 6557032"/>
              <a:gd name="connsiteX12361" fmla="*/ 3465673 w 4610101"/>
              <a:gd name="connsiteY12361" fmla="*/ 1332941 h 6557032"/>
              <a:gd name="connsiteX12362" fmla="*/ 3132317 w 4610101"/>
              <a:gd name="connsiteY12362" fmla="*/ 1332862 h 6557032"/>
              <a:gd name="connsiteX12363" fmla="*/ 3148717 w 4610101"/>
              <a:gd name="connsiteY12363" fmla="*/ 1372949 h 6557032"/>
              <a:gd name="connsiteX12364" fmla="*/ 3148717 w 4610101"/>
              <a:gd name="connsiteY12364" fmla="*/ 1380238 h 6557032"/>
              <a:gd name="connsiteX12365" fmla="*/ 3161472 w 4610101"/>
              <a:gd name="connsiteY12365" fmla="*/ 1389349 h 6557032"/>
              <a:gd name="connsiteX12366" fmla="*/ 3166939 w 4610101"/>
              <a:gd name="connsiteY12366" fmla="*/ 1387527 h 6557032"/>
              <a:gd name="connsiteX12367" fmla="*/ 3168761 w 4610101"/>
              <a:gd name="connsiteY12367" fmla="*/ 1396638 h 6557032"/>
              <a:gd name="connsiteX12368" fmla="*/ 3165116 w 4610101"/>
              <a:gd name="connsiteY12368" fmla="*/ 1382060 h 6557032"/>
              <a:gd name="connsiteX12369" fmla="*/ 3150539 w 4610101"/>
              <a:gd name="connsiteY12369" fmla="*/ 1363838 h 6557032"/>
              <a:gd name="connsiteX12370" fmla="*/ 3143250 w 4610101"/>
              <a:gd name="connsiteY12370" fmla="*/ 1356550 h 6557032"/>
              <a:gd name="connsiteX12371" fmla="*/ 3161472 w 4610101"/>
              <a:gd name="connsiteY12371" fmla="*/ 1354728 h 6557032"/>
              <a:gd name="connsiteX12372" fmla="*/ 3156006 w 4610101"/>
              <a:gd name="connsiteY12372" fmla="*/ 1343795 h 6557032"/>
              <a:gd name="connsiteX12373" fmla="*/ 3156006 w 4610101"/>
              <a:gd name="connsiteY12373" fmla="*/ 1347439 h 6557032"/>
              <a:gd name="connsiteX12374" fmla="*/ 3139606 w 4610101"/>
              <a:gd name="connsiteY12374" fmla="*/ 1334684 h 6557032"/>
              <a:gd name="connsiteX12375" fmla="*/ 3137784 w 4610101"/>
              <a:gd name="connsiteY12375" fmla="*/ 1338328 h 6557032"/>
              <a:gd name="connsiteX12376" fmla="*/ 3132317 w 4610101"/>
              <a:gd name="connsiteY12376" fmla="*/ 1332862 h 6557032"/>
              <a:gd name="connsiteX12377" fmla="*/ 1235434 w 4610101"/>
              <a:gd name="connsiteY12377" fmla="*/ 1332862 h 6557032"/>
              <a:gd name="connsiteX12378" fmla="*/ 1242723 w 4610101"/>
              <a:gd name="connsiteY12378" fmla="*/ 1338328 h 6557032"/>
              <a:gd name="connsiteX12379" fmla="*/ 1242723 w 4610101"/>
              <a:gd name="connsiteY12379" fmla="*/ 1334684 h 6557032"/>
              <a:gd name="connsiteX12380" fmla="*/ 1235434 w 4610101"/>
              <a:gd name="connsiteY12380" fmla="*/ 1332862 h 6557032"/>
              <a:gd name="connsiteX12381" fmla="*/ 1147970 w 4610101"/>
              <a:gd name="connsiteY12381" fmla="*/ 1332862 h 6557032"/>
              <a:gd name="connsiteX12382" fmla="*/ 1151614 w 4610101"/>
              <a:gd name="connsiteY12382" fmla="*/ 1372949 h 6557032"/>
              <a:gd name="connsiteX12383" fmla="*/ 1151614 w 4610101"/>
              <a:gd name="connsiteY12383" fmla="*/ 1365661 h 6557032"/>
              <a:gd name="connsiteX12384" fmla="*/ 1153436 w 4610101"/>
              <a:gd name="connsiteY12384" fmla="*/ 1374771 h 6557032"/>
              <a:gd name="connsiteX12385" fmla="*/ 1158903 w 4610101"/>
              <a:gd name="connsiteY12385" fmla="*/ 1380238 h 6557032"/>
              <a:gd name="connsiteX12386" fmla="*/ 1155259 w 4610101"/>
              <a:gd name="connsiteY12386" fmla="*/ 1378416 h 6557032"/>
              <a:gd name="connsiteX12387" fmla="*/ 1158903 w 4610101"/>
              <a:gd name="connsiteY12387" fmla="*/ 1387527 h 6557032"/>
              <a:gd name="connsiteX12388" fmla="*/ 1158903 w 4610101"/>
              <a:gd name="connsiteY12388" fmla="*/ 1382060 h 6557032"/>
              <a:gd name="connsiteX12389" fmla="*/ 1162547 w 4610101"/>
              <a:gd name="connsiteY12389" fmla="*/ 1382060 h 6557032"/>
              <a:gd name="connsiteX12390" fmla="*/ 1157081 w 4610101"/>
              <a:gd name="connsiteY12390" fmla="*/ 1371127 h 6557032"/>
              <a:gd name="connsiteX12391" fmla="*/ 1159608 w 4610101"/>
              <a:gd name="connsiteY12391" fmla="*/ 1371127 h 6557032"/>
              <a:gd name="connsiteX12392" fmla="*/ 1160725 w 4610101"/>
              <a:gd name="connsiteY12392" fmla="*/ 1376594 h 6557032"/>
              <a:gd name="connsiteX12393" fmla="*/ 1160725 w 4610101"/>
              <a:gd name="connsiteY12393" fmla="*/ 1371127 h 6557032"/>
              <a:gd name="connsiteX12394" fmla="*/ 1159608 w 4610101"/>
              <a:gd name="connsiteY12394" fmla="*/ 1371127 h 6557032"/>
              <a:gd name="connsiteX12395" fmla="*/ 1156397 w 4610101"/>
              <a:gd name="connsiteY12395" fmla="*/ 1355411 h 6557032"/>
              <a:gd name="connsiteX12396" fmla="*/ 1147970 w 4610101"/>
              <a:gd name="connsiteY12396" fmla="*/ 1332862 h 6557032"/>
              <a:gd name="connsiteX12397" fmla="*/ 502920 w 4610101"/>
              <a:gd name="connsiteY12397" fmla="*/ 1332862 h 6557032"/>
              <a:gd name="connsiteX12398" fmla="*/ 497454 w 4610101"/>
              <a:gd name="connsiteY12398" fmla="*/ 1340150 h 6557032"/>
              <a:gd name="connsiteX12399" fmla="*/ 502920 w 4610101"/>
              <a:gd name="connsiteY12399" fmla="*/ 1332862 h 6557032"/>
              <a:gd name="connsiteX12400" fmla="*/ 337102 w 4610101"/>
              <a:gd name="connsiteY12400" fmla="*/ 1332862 h 6557032"/>
              <a:gd name="connsiteX12401" fmla="*/ 320703 w 4610101"/>
              <a:gd name="connsiteY12401" fmla="*/ 1341972 h 6557032"/>
              <a:gd name="connsiteX12402" fmla="*/ 327993 w 4610101"/>
              <a:gd name="connsiteY12402" fmla="*/ 1349261 h 6557032"/>
              <a:gd name="connsiteX12403" fmla="*/ 337102 w 4610101"/>
              <a:gd name="connsiteY12403" fmla="*/ 1332862 h 6557032"/>
              <a:gd name="connsiteX12404" fmla="*/ 1023151 w 4610101"/>
              <a:gd name="connsiteY12404" fmla="*/ 1331495 h 6557032"/>
              <a:gd name="connsiteX12405" fmla="*/ 1020418 w 4610101"/>
              <a:gd name="connsiteY12405" fmla="*/ 1332862 h 6557032"/>
              <a:gd name="connsiteX12406" fmla="*/ 1022240 w 4610101"/>
              <a:gd name="connsiteY12406" fmla="*/ 1336506 h 6557032"/>
              <a:gd name="connsiteX12407" fmla="*/ 1025884 w 4610101"/>
              <a:gd name="connsiteY12407" fmla="*/ 1332862 h 6557032"/>
              <a:gd name="connsiteX12408" fmla="*/ 1023151 w 4610101"/>
              <a:gd name="connsiteY12408" fmla="*/ 1331495 h 6557032"/>
              <a:gd name="connsiteX12409" fmla="*/ 3097468 w 4610101"/>
              <a:gd name="connsiteY12409" fmla="*/ 1331039 h 6557032"/>
              <a:gd name="connsiteX12410" fmla="*/ 3075830 w 4610101"/>
              <a:gd name="connsiteY12410" fmla="*/ 1332862 h 6557032"/>
              <a:gd name="connsiteX12411" fmla="*/ 3095874 w 4610101"/>
              <a:gd name="connsiteY12411" fmla="*/ 1340150 h 6557032"/>
              <a:gd name="connsiteX12412" fmla="*/ 3101340 w 4610101"/>
              <a:gd name="connsiteY12412" fmla="*/ 1341972 h 6557032"/>
              <a:gd name="connsiteX12413" fmla="*/ 3108629 w 4610101"/>
              <a:gd name="connsiteY12413" fmla="*/ 1347439 h 6557032"/>
              <a:gd name="connsiteX12414" fmla="*/ 3103163 w 4610101"/>
              <a:gd name="connsiteY12414" fmla="*/ 1345617 h 6557032"/>
              <a:gd name="connsiteX12415" fmla="*/ 3110451 w 4610101"/>
              <a:gd name="connsiteY12415" fmla="*/ 1338328 h 6557032"/>
              <a:gd name="connsiteX12416" fmla="*/ 3114096 w 4610101"/>
              <a:gd name="connsiteY12416" fmla="*/ 1345617 h 6557032"/>
              <a:gd name="connsiteX12417" fmla="*/ 3117740 w 4610101"/>
              <a:gd name="connsiteY12417" fmla="*/ 1334684 h 6557032"/>
              <a:gd name="connsiteX12418" fmla="*/ 3097468 w 4610101"/>
              <a:gd name="connsiteY12418" fmla="*/ 1331039 h 6557032"/>
              <a:gd name="connsiteX12419" fmla="*/ 2946456 w 4610101"/>
              <a:gd name="connsiteY12419" fmla="*/ 1331039 h 6557032"/>
              <a:gd name="connsiteX12420" fmla="*/ 2946456 w 4610101"/>
              <a:gd name="connsiteY12420" fmla="*/ 1338328 h 6557032"/>
              <a:gd name="connsiteX12421" fmla="*/ 2955566 w 4610101"/>
              <a:gd name="connsiteY12421" fmla="*/ 1338328 h 6557032"/>
              <a:gd name="connsiteX12422" fmla="*/ 2946456 w 4610101"/>
              <a:gd name="connsiteY12422" fmla="*/ 1331039 h 6557032"/>
              <a:gd name="connsiteX12423" fmla="*/ 1929683 w 4610101"/>
              <a:gd name="connsiteY12423" fmla="*/ 1331039 h 6557032"/>
              <a:gd name="connsiteX12424" fmla="*/ 1913283 w 4610101"/>
              <a:gd name="connsiteY12424" fmla="*/ 1332862 h 6557032"/>
              <a:gd name="connsiteX12425" fmla="*/ 1927861 w 4610101"/>
              <a:gd name="connsiteY12425" fmla="*/ 1347439 h 6557032"/>
              <a:gd name="connsiteX12426" fmla="*/ 901976 w 4610101"/>
              <a:gd name="connsiteY12426" fmla="*/ 1331039 h 6557032"/>
              <a:gd name="connsiteX12427" fmla="*/ 891043 w 4610101"/>
              <a:gd name="connsiteY12427" fmla="*/ 1334684 h 6557032"/>
              <a:gd name="connsiteX12428" fmla="*/ 898333 w 4610101"/>
              <a:gd name="connsiteY12428" fmla="*/ 1338328 h 6557032"/>
              <a:gd name="connsiteX12429" fmla="*/ 900838 w 4610101"/>
              <a:gd name="connsiteY12429" fmla="*/ 1335367 h 6557032"/>
              <a:gd name="connsiteX12430" fmla="*/ 900896 w 4610101"/>
              <a:gd name="connsiteY12430" fmla="*/ 1335147 h 6557032"/>
              <a:gd name="connsiteX12431" fmla="*/ 903799 w 4610101"/>
              <a:gd name="connsiteY12431" fmla="*/ 1336962 h 6557032"/>
              <a:gd name="connsiteX12432" fmla="*/ 907444 w 4610101"/>
              <a:gd name="connsiteY12432" fmla="*/ 1336506 h 6557032"/>
              <a:gd name="connsiteX12433" fmla="*/ 903799 w 4610101"/>
              <a:gd name="connsiteY12433" fmla="*/ 1331039 h 6557032"/>
              <a:gd name="connsiteX12434" fmla="*/ 901325 w 4610101"/>
              <a:gd name="connsiteY12434" fmla="*/ 1333513 h 6557032"/>
              <a:gd name="connsiteX12435" fmla="*/ 388123 w 4610101"/>
              <a:gd name="connsiteY12435" fmla="*/ 1331039 h 6557032"/>
              <a:gd name="connsiteX12436" fmla="*/ 391768 w 4610101"/>
              <a:gd name="connsiteY12436" fmla="*/ 1331039 h 6557032"/>
              <a:gd name="connsiteX12437" fmla="*/ 388123 w 4610101"/>
              <a:gd name="connsiteY12437" fmla="*/ 1331039 h 6557032"/>
              <a:gd name="connsiteX12438" fmla="*/ 1222186 w 4610101"/>
              <a:gd name="connsiteY12438" fmla="*/ 1329808 h 6557032"/>
              <a:gd name="connsiteX12439" fmla="*/ 1222323 w 4610101"/>
              <a:gd name="connsiteY12439" fmla="*/ 1329920 h 6557032"/>
              <a:gd name="connsiteX12440" fmla="*/ 1222223 w 4610101"/>
              <a:gd name="connsiteY12440" fmla="*/ 1329901 h 6557032"/>
              <a:gd name="connsiteX12441" fmla="*/ 3558707 w 4610101"/>
              <a:gd name="connsiteY12441" fmla="*/ 1329320 h 6557032"/>
              <a:gd name="connsiteX12442" fmla="*/ 3567818 w 4610101"/>
              <a:gd name="connsiteY12442" fmla="*/ 1353007 h 6557032"/>
              <a:gd name="connsiteX12443" fmla="*/ 3542307 w 4610101"/>
              <a:gd name="connsiteY12443" fmla="*/ 1345719 h 6557032"/>
              <a:gd name="connsiteX12444" fmla="*/ 3378311 w 4610101"/>
              <a:gd name="connsiteY12444" fmla="*/ 1329217 h 6557032"/>
              <a:gd name="connsiteX12445" fmla="*/ 3381955 w 4610101"/>
              <a:gd name="connsiteY12445" fmla="*/ 1338328 h 6557032"/>
              <a:gd name="connsiteX12446" fmla="*/ 3378311 w 4610101"/>
              <a:gd name="connsiteY12446" fmla="*/ 1329217 h 6557032"/>
              <a:gd name="connsiteX12447" fmla="*/ 699715 w 4610101"/>
              <a:gd name="connsiteY12447" fmla="*/ 1329217 h 6557032"/>
              <a:gd name="connsiteX12448" fmla="*/ 697893 w 4610101"/>
              <a:gd name="connsiteY12448" fmla="*/ 1332862 h 6557032"/>
              <a:gd name="connsiteX12449" fmla="*/ 703359 w 4610101"/>
              <a:gd name="connsiteY12449" fmla="*/ 1332862 h 6557032"/>
              <a:gd name="connsiteX12450" fmla="*/ 699715 w 4610101"/>
              <a:gd name="connsiteY12450" fmla="*/ 1329217 h 6557032"/>
              <a:gd name="connsiteX12451" fmla="*/ 690604 w 4610101"/>
              <a:gd name="connsiteY12451" fmla="*/ 1329217 h 6557032"/>
              <a:gd name="connsiteX12452" fmla="*/ 690604 w 4610101"/>
              <a:gd name="connsiteY12452" fmla="*/ 1334684 h 6557032"/>
              <a:gd name="connsiteX12453" fmla="*/ 690604 w 4610101"/>
              <a:gd name="connsiteY12453" fmla="*/ 1329217 h 6557032"/>
              <a:gd name="connsiteX12454" fmla="*/ 466478 w 4610101"/>
              <a:gd name="connsiteY12454" fmla="*/ 1329217 h 6557032"/>
              <a:gd name="connsiteX12455" fmla="*/ 471943 w 4610101"/>
              <a:gd name="connsiteY12455" fmla="*/ 1338328 h 6557032"/>
              <a:gd name="connsiteX12456" fmla="*/ 477410 w 4610101"/>
              <a:gd name="connsiteY12456" fmla="*/ 1334684 h 6557032"/>
              <a:gd name="connsiteX12457" fmla="*/ 466478 w 4610101"/>
              <a:gd name="connsiteY12457" fmla="*/ 1329217 h 6557032"/>
              <a:gd name="connsiteX12458" fmla="*/ 379012 w 4610101"/>
              <a:gd name="connsiteY12458" fmla="*/ 1329217 h 6557032"/>
              <a:gd name="connsiteX12459" fmla="*/ 388123 w 4610101"/>
              <a:gd name="connsiteY12459" fmla="*/ 1340150 h 6557032"/>
              <a:gd name="connsiteX12460" fmla="*/ 379012 w 4610101"/>
              <a:gd name="connsiteY12460" fmla="*/ 1329217 h 6557032"/>
              <a:gd name="connsiteX12461" fmla="*/ 346213 w 4610101"/>
              <a:gd name="connsiteY12461" fmla="*/ 1329217 h 6557032"/>
              <a:gd name="connsiteX12462" fmla="*/ 331636 w 4610101"/>
              <a:gd name="connsiteY12462" fmla="*/ 1349261 h 6557032"/>
              <a:gd name="connsiteX12463" fmla="*/ 357146 w 4610101"/>
              <a:gd name="connsiteY12463" fmla="*/ 1358372 h 6557032"/>
              <a:gd name="connsiteX12464" fmla="*/ 365347 w 4610101"/>
              <a:gd name="connsiteY12464" fmla="*/ 1355639 h 6557032"/>
              <a:gd name="connsiteX12465" fmla="*/ 370423 w 4610101"/>
              <a:gd name="connsiteY12465" fmla="*/ 1353946 h 6557032"/>
              <a:gd name="connsiteX12466" fmla="*/ 362613 w 4610101"/>
              <a:gd name="connsiteY12466" fmla="*/ 1360194 h 6557032"/>
              <a:gd name="connsiteX12467" fmla="*/ 366257 w 4610101"/>
              <a:gd name="connsiteY12467" fmla="*/ 1362016 h 6557032"/>
              <a:gd name="connsiteX12468" fmla="*/ 371724 w 4610101"/>
              <a:gd name="connsiteY12468" fmla="*/ 1363838 h 6557032"/>
              <a:gd name="connsiteX12469" fmla="*/ 373546 w 4610101"/>
              <a:gd name="connsiteY12469" fmla="*/ 1360194 h 6557032"/>
              <a:gd name="connsiteX12470" fmla="*/ 375368 w 4610101"/>
              <a:gd name="connsiteY12470" fmla="*/ 1363838 h 6557032"/>
              <a:gd name="connsiteX12471" fmla="*/ 374912 w 4610101"/>
              <a:gd name="connsiteY12471" fmla="*/ 1359055 h 6557032"/>
              <a:gd name="connsiteX12472" fmla="*/ 371992 w 4610101"/>
              <a:gd name="connsiteY12472" fmla="*/ 1353423 h 6557032"/>
              <a:gd name="connsiteX12473" fmla="*/ 373546 w 4610101"/>
              <a:gd name="connsiteY12473" fmla="*/ 1352905 h 6557032"/>
              <a:gd name="connsiteX12474" fmla="*/ 368079 w 4610101"/>
              <a:gd name="connsiteY12474" fmla="*/ 1347439 h 6557032"/>
              <a:gd name="connsiteX12475" fmla="*/ 377190 w 4610101"/>
              <a:gd name="connsiteY12475" fmla="*/ 1349261 h 6557032"/>
              <a:gd name="connsiteX12476" fmla="*/ 346213 w 4610101"/>
              <a:gd name="connsiteY12476" fmla="*/ 1332862 h 6557032"/>
              <a:gd name="connsiteX12477" fmla="*/ 346213 w 4610101"/>
              <a:gd name="connsiteY12477" fmla="*/ 1329217 h 6557032"/>
              <a:gd name="connsiteX12478" fmla="*/ 3464015 w 4610101"/>
              <a:gd name="connsiteY12478" fmla="*/ 1328831 h 6557032"/>
              <a:gd name="connsiteX12479" fmla="*/ 3463953 w 4610101"/>
              <a:gd name="connsiteY12479" fmla="*/ 1329217 h 6557032"/>
              <a:gd name="connsiteX12480" fmla="*/ 3463552 w 4610101"/>
              <a:gd name="connsiteY12480" fmla="*/ 1329016 h 6557032"/>
              <a:gd name="connsiteX12481" fmla="*/ 3414754 w 4610101"/>
              <a:gd name="connsiteY12481" fmla="*/ 1327395 h 6557032"/>
              <a:gd name="connsiteX12482" fmla="*/ 3412932 w 4610101"/>
              <a:gd name="connsiteY12482" fmla="*/ 1332862 h 6557032"/>
              <a:gd name="connsiteX12483" fmla="*/ 3422043 w 4610101"/>
              <a:gd name="connsiteY12483" fmla="*/ 1332862 h 6557032"/>
              <a:gd name="connsiteX12484" fmla="*/ 3414754 w 4610101"/>
              <a:gd name="connsiteY12484" fmla="*/ 1327395 h 6557032"/>
              <a:gd name="connsiteX12485" fmla="*/ 3349156 w 4610101"/>
              <a:gd name="connsiteY12485" fmla="*/ 1327395 h 6557032"/>
              <a:gd name="connsiteX12486" fmla="*/ 3347334 w 4610101"/>
              <a:gd name="connsiteY12486" fmla="*/ 1340150 h 6557032"/>
              <a:gd name="connsiteX12487" fmla="*/ 3356445 w 4610101"/>
              <a:gd name="connsiteY12487" fmla="*/ 1338328 h 6557032"/>
              <a:gd name="connsiteX12488" fmla="*/ 3349156 w 4610101"/>
              <a:gd name="connsiteY12488" fmla="*/ 1327395 h 6557032"/>
              <a:gd name="connsiteX12489" fmla="*/ 3192449 w 4610101"/>
              <a:gd name="connsiteY12489" fmla="*/ 1327395 h 6557032"/>
              <a:gd name="connsiteX12490" fmla="*/ 3194271 w 4610101"/>
              <a:gd name="connsiteY12490" fmla="*/ 1338328 h 6557032"/>
              <a:gd name="connsiteX12491" fmla="*/ 3192449 w 4610101"/>
              <a:gd name="connsiteY12491" fmla="*/ 1327395 h 6557032"/>
              <a:gd name="connsiteX12492" fmla="*/ 2982672 w 4610101"/>
              <a:gd name="connsiteY12492" fmla="*/ 1326712 h 6557032"/>
              <a:gd name="connsiteX12493" fmla="*/ 2981077 w 4610101"/>
              <a:gd name="connsiteY12493" fmla="*/ 1332862 h 6557032"/>
              <a:gd name="connsiteX12494" fmla="*/ 2988366 w 4610101"/>
              <a:gd name="connsiteY12494" fmla="*/ 1327395 h 6557032"/>
              <a:gd name="connsiteX12495" fmla="*/ 2982672 w 4610101"/>
              <a:gd name="connsiteY12495" fmla="*/ 1326712 h 6557032"/>
              <a:gd name="connsiteX12496" fmla="*/ 332686 w 4610101"/>
              <a:gd name="connsiteY12496" fmla="*/ 1326558 h 6557032"/>
              <a:gd name="connsiteX12497" fmla="*/ 327689 w 4610101"/>
              <a:gd name="connsiteY12497" fmla="*/ 1329734 h 6557032"/>
              <a:gd name="connsiteX12498" fmla="*/ 331408 w 4610101"/>
              <a:gd name="connsiteY12498" fmla="*/ 1327167 h 6557032"/>
              <a:gd name="connsiteX12499" fmla="*/ 554398 w 4610101"/>
              <a:gd name="connsiteY12499" fmla="*/ 1326029 h 6557032"/>
              <a:gd name="connsiteX12500" fmla="*/ 557586 w 4610101"/>
              <a:gd name="connsiteY12500" fmla="*/ 1329217 h 6557032"/>
              <a:gd name="connsiteX12501" fmla="*/ 556867 w 4610101"/>
              <a:gd name="connsiteY12501" fmla="*/ 1329909 h 6557032"/>
              <a:gd name="connsiteX12502" fmla="*/ 728870 w 4610101"/>
              <a:gd name="connsiteY12502" fmla="*/ 1325573 h 6557032"/>
              <a:gd name="connsiteX12503" fmla="*/ 717937 w 4610101"/>
              <a:gd name="connsiteY12503" fmla="*/ 1332862 h 6557032"/>
              <a:gd name="connsiteX12504" fmla="*/ 728870 w 4610101"/>
              <a:gd name="connsiteY12504" fmla="*/ 1325573 h 6557032"/>
              <a:gd name="connsiteX12505" fmla="*/ 595852 w 4610101"/>
              <a:gd name="connsiteY12505" fmla="*/ 1325573 h 6557032"/>
              <a:gd name="connsiteX12506" fmla="*/ 586741 w 4610101"/>
              <a:gd name="connsiteY12506" fmla="*/ 1331039 h 6557032"/>
              <a:gd name="connsiteX12507" fmla="*/ 594030 w 4610101"/>
              <a:gd name="connsiteY12507" fmla="*/ 1332862 h 6557032"/>
              <a:gd name="connsiteX12508" fmla="*/ 590385 w 4610101"/>
              <a:gd name="connsiteY12508" fmla="*/ 1329217 h 6557032"/>
              <a:gd name="connsiteX12509" fmla="*/ 599496 w 4610101"/>
              <a:gd name="connsiteY12509" fmla="*/ 1329217 h 6557032"/>
              <a:gd name="connsiteX12510" fmla="*/ 595852 w 4610101"/>
              <a:gd name="connsiteY12510" fmla="*/ 1325573 h 6557032"/>
              <a:gd name="connsiteX12511" fmla="*/ 3372844 w 4610101"/>
              <a:gd name="connsiteY12511" fmla="*/ 1323751 h 6557032"/>
              <a:gd name="connsiteX12512" fmla="*/ 3365556 w 4610101"/>
              <a:gd name="connsiteY12512" fmla="*/ 1327395 h 6557032"/>
              <a:gd name="connsiteX12513" fmla="*/ 3371022 w 4610101"/>
              <a:gd name="connsiteY12513" fmla="*/ 1332862 h 6557032"/>
              <a:gd name="connsiteX12514" fmla="*/ 3365556 w 4610101"/>
              <a:gd name="connsiteY12514" fmla="*/ 1331039 h 6557032"/>
              <a:gd name="connsiteX12515" fmla="*/ 3361911 w 4610101"/>
              <a:gd name="connsiteY12515" fmla="*/ 1343795 h 6557032"/>
              <a:gd name="connsiteX12516" fmla="*/ 3367150 w 4610101"/>
              <a:gd name="connsiteY12516" fmla="*/ 1341289 h 6557032"/>
              <a:gd name="connsiteX12517" fmla="*/ 3369314 w 4610101"/>
              <a:gd name="connsiteY12517" fmla="*/ 1340653 h 6557032"/>
              <a:gd name="connsiteX12518" fmla="*/ 3370795 w 4610101"/>
              <a:gd name="connsiteY12518" fmla="*/ 1347211 h 6557032"/>
              <a:gd name="connsiteX12519" fmla="*/ 3371022 w 4610101"/>
              <a:gd name="connsiteY12519" fmla="*/ 1352905 h 6557032"/>
              <a:gd name="connsiteX12520" fmla="*/ 3381955 w 4610101"/>
              <a:gd name="connsiteY12520" fmla="*/ 1345617 h 6557032"/>
              <a:gd name="connsiteX12521" fmla="*/ 3383777 w 4610101"/>
              <a:gd name="connsiteY12521" fmla="*/ 1358372 h 6557032"/>
              <a:gd name="connsiteX12522" fmla="*/ 3401999 w 4610101"/>
              <a:gd name="connsiteY12522" fmla="*/ 1338328 h 6557032"/>
              <a:gd name="connsiteX12523" fmla="*/ 3387649 w 4610101"/>
              <a:gd name="connsiteY12523" fmla="*/ 1339239 h 6557032"/>
              <a:gd name="connsiteX12524" fmla="*/ 3371055 w 4610101"/>
              <a:gd name="connsiteY12524" fmla="*/ 1340058 h 6557032"/>
              <a:gd name="connsiteX12525" fmla="*/ 3373983 w 4610101"/>
              <a:gd name="connsiteY12525" fmla="*/ 1331950 h 6557032"/>
              <a:gd name="connsiteX12526" fmla="*/ 3372844 w 4610101"/>
              <a:gd name="connsiteY12526" fmla="*/ 1323751 h 6557032"/>
              <a:gd name="connsiteX12527" fmla="*/ 686960 w 4610101"/>
              <a:gd name="connsiteY12527" fmla="*/ 1323751 h 6557032"/>
              <a:gd name="connsiteX12528" fmla="*/ 686960 w 4610101"/>
              <a:gd name="connsiteY12528" fmla="*/ 1332862 h 6557032"/>
              <a:gd name="connsiteX12529" fmla="*/ 686960 w 4610101"/>
              <a:gd name="connsiteY12529" fmla="*/ 1323751 h 6557032"/>
              <a:gd name="connsiteX12530" fmla="*/ 621362 w 4610101"/>
              <a:gd name="connsiteY12530" fmla="*/ 1323751 h 6557032"/>
              <a:gd name="connsiteX12531" fmla="*/ 634117 w 4610101"/>
              <a:gd name="connsiteY12531" fmla="*/ 1329217 h 6557032"/>
              <a:gd name="connsiteX12532" fmla="*/ 621362 w 4610101"/>
              <a:gd name="connsiteY12532" fmla="*/ 1323751 h 6557032"/>
              <a:gd name="connsiteX12533" fmla="*/ 377190 w 4610101"/>
              <a:gd name="connsiteY12533" fmla="*/ 1323751 h 6557032"/>
              <a:gd name="connsiteX12534" fmla="*/ 373546 w 4610101"/>
              <a:gd name="connsiteY12534" fmla="*/ 1325573 h 6557032"/>
              <a:gd name="connsiteX12535" fmla="*/ 377190 w 4610101"/>
              <a:gd name="connsiteY12535" fmla="*/ 1323751 h 6557032"/>
              <a:gd name="connsiteX12536" fmla="*/ 304303 w 4610101"/>
              <a:gd name="connsiteY12536" fmla="*/ 1323751 h 6557032"/>
              <a:gd name="connsiteX12537" fmla="*/ 289726 w 4610101"/>
              <a:gd name="connsiteY12537" fmla="*/ 1336506 h 6557032"/>
              <a:gd name="connsiteX12538" fmla="*/ 304303 w 4610101"/>
              <a:gd name="connsiteY12538" fmla="*/ 1323751 h 6557032"/>
              <a:gd name="connsiteX12539" fmla="*/ 515903 w 4610101"/>
              <a:gd name="connsiteY12539" fmla="*/ 1323523 h 6557032"/>
              <a:gd name="connsiteX12540" fmla="*/ 513853 w 4610101"/>
              <a:gd name="connsiteY12540" fmla="*/ 1327395 h 6557032"/>
              <a:gd name="connsiteX12541" fmla="*/ 519320 w 4610101"/>
              <a:gd name="connsiteY12541" fmla="*/ 1323751 h 6557032"/>
              <a:gd name="connsiteX12542" fmla="*/ 515903 w 4610101"/>
              <a:gd name="connsiteY12542" fmla="*/ 1323523 h 6557032"/>
              <a:gd name="connsiteX12543" fmla="*/ 2833481 w 4610101"/>
              <a:gd name="connsiteY12543" fmla="*/ 1321929 h 6557032"/>
              <a:gd name="connsiteX12544" fmla="*/ 2833481 w 4610101"/>
              <a:gd name="connsiteY12544" fmla="*/ 1329217 h 6557032"/>
              <a:gd name="connsiteX12545" fmla="*/ 2833481 w 4610101"/>
              <a:gd name="connsiteY12545" fmla="*/ 1321929 h 6557032"/>
              <a:gd name="connsiteX12546" fmla="*/ 1014951 w 4610101"/>
              <a:gd name="connsiteY12546" fmla="*/ 1321929 h 6557032"/>
              <a:gd name="connsiteX12547" fmla="*/ 1018596 w 4610101"/>
              <a:gd name="connsiteY12547" fmla="*/ 1331039 h 6557032"/>
              <a:gd name="connsiteX12548" fmla="*/ 1027707 w 4610101"/>
              <a:gd name="connsiteY12548" fmla="*/ 1327395 h 6557032"/>
              <a:gd name="connsiteX12549" fmla="*/ 1014951 w 4610101"/>
              <a:gd name="connsiteY12549" fmla="*/ 1321929 h 6557032"/>
              <a:gd name="connsiteX12550" fmla="*/ 528431 w 4610101"/>
              <a:gd name="connsiteY12550" fmla="*/ 1321929 h 6557032"/>
              <a:gd name="connsiteX12551" fmla="*/ 513853 w 4610101"/>
              <a:gd name="connsiteY12551" fmla="*/ 1336506 h 6557032"/>
              <a:gd name="connsiteX12552" fmla="*/ 528431 w 4610101"/>
              <a:gd name="connsiteY12552" fmla="*/ 1321929 h 6557032"/>
              <a:gd name="connsiteX12553" fmla="*/ 3316357 w 4610101"/>
              <a:gd name="connsiteY12553" fmla="*/ 1320106 h 6557032"/>
              <a:gd name="connsiteX12554" fmla="*/ 3316357 w 4610101"/>
              <a:gd name="connsiteY12554" fmla="*/ 1331039 h 6557032"/>
              <a:gd name="connsiteX12555" fmla="*/ 3310890 w 4610101"/>
              <a:gd name="connsiteY12555" fmla="*/ 1334684 h 6557032"/>
              <a:gd name="connsiteX12556" fmla="*/ 3312713 w 4610101"/>
              <a:gd name="connsiteY12556" fmla="*/ 1325573 h 6557032"/>
              <a:gd name="connsiteX12557" fmla="*/ 3287202 w 4610101"/>
              <a:gd name="connsiteY12557" fmla="*/ 1345617 h 6557032"/>
              <a:gd name="connsiteX12558" fmla="*/ 3298135 w 4610101"/>
              <a:gd name="connsiteY12558" fmla="*/ 1340150 h 6557032"/>
              <a:gd name="connsiteX12559" fmla="*/ 3299957 w 4610101"/>
              <a:gd name="connsiteY12559" fmla="*/ 1349261 h 6557032"/>
              <a:gd name="connsiteX12560" fmla="*/ 3303602 w 4610101"/>
              <a:gd name="connsiteY12560" fmla="*/ 1341972 h 6557032"/>
              <a:gd name="connsiteX12561" fmla="*/ 3307246 w 4610101"/>
              <a:gd name="connsiteY12561" fmla="*/ 1345617 h 6557032"/>
              <a:gd name="connsiteX12562" fmla="*/ 3312713 w 4610101"/>
              <a:gd name="connsiteY12562" fmla="*/ 1354728 h 6557032"/>
              <a:gd name="connsiteX12563" fmla="*/ 3320001 w 4610101"/>
              <a:gd name="connsiteY12563" fmla="*/ 1336506 h 6557032"/>
              <a:gd name="connsiteX12564" fmla="*/ 3325468 w 4610101"/>
              <a:gd name="connsiteY12564" fmla="*/ 1340150 h 6557032"/>
              <a:gd name="connsiteX12565" fmla="*/ 3323646 w 4610101"/>
              <a:gd name="connsiteY12565" fmla="*/ 1325573 h 6557032"/>
              <a:gd name="connsiteX12566" fmla="*/ 3316357 w 4610101"/>
              <a:gd name="connsiteY12566" fmla="*/ 1320106 h 6557032"/>
              <a:gd name="connsiteX12567" fmla="*/ 2771527 w 4610101"/>
              <a:gd name="connsiteY12567" fmla="*/ 1320106 h 6557032"/>
              <a:gd name="connsiteX12568" fmla="*/ 2766060 w 4610101"/>
              <a:gd name="connsiteY12568" fmla="*/ 1363838 h 6557032"/>
              <a:gd name="connsiteX12569" fmla="*/ 2771527 w 4610101"/>
              <a:gd name="connsiteY12569" fmla="*/ 1365661 h 6557032"/>
              <a:gd name="connsiteX12570" fmla="*/ 2789749 w 4610101"/>
              <a:gd name="connsiteY12570" fmla="*/ 1327395 h 6557032"/>
              <a:gd name="connsiteX12571" fmla="*/ 2784282 w 4610101"/>
              <a:gd name="connsiteY12571" fmla="*/ 1329217 h 6557032"/>
              <a:gd name="connsiteX12572" fmla="*/ 2771527 w 4610101"/>
              <a:gd name="connsiteY12572" fmla="*/ 1320106 h 6557032"/>
              <a:gd name="connsiteX12573" fmla="*/ 486521 w 4610101"/>
              <a:gd name="connsiteY12573" fmla="*/ 1320106 h 6557032"/>
              <a:gd name="connsiteX12574" fmla="*/ 490165 w 4610101"/>
              <a:gd name="connsiteY12574" fmla="*/ 1329217 h 6557032"/>
              <a:gd name="connsiteX12575" fmla="*/ 486521 w 4610101"/>
              <a:gd name="connsiteY12575" fmla="*/ 1320106 h 6557032"/>
              <a:gd name="connsiteX12576" fmla="*/ 1260945 w 4610101"/>
              <a:gd name="connsiteY12576" fmla="*/ 1318284 h 6557032"/>
              <a:gd name="connsiteX12577" fmla="*/ 1264589 w 4610101"/>
              <a:gd name="connsiteY12577" fmla="*/ 1318284 h 6557032"/>
              <a:gd name="connsiteX12578" fmla="*/ 1258895 w 4610101"/>
              <a:gd name="connsiteY12578" fmla="*/ 1332178 h 6557032"/>
              <a:gd name="connsiteX12579" fmla="*/ 1257817 w 4610101"/>
              <a:gd name="connsiteY12579" fmla="*/ 1342489 h 6557032"/>
              <a:gd name="connsiteX12580" fmla="*/ 1256121 w 4610101"/>
              <a:gd name="connsiteY12580" fmla="*/ 1340793 h 6557032"/>
              <a:gd name="connsiteX12581" fmla="*/ 501098 w 4610101"/>
              <a:gd name="connsiteY12581" fmla="*/ 1318284 h 6557032"/>
              <a:gd name="connsiteX12582" fmla="*/ 501098 w 4610101"/>
              <a:gd name="connsiteY12582" fmla="*/ 1320106 h 6557032"/>
              <a:gd name="connsiteX12583" fmla="*/ 501098 w 4610101"/>
              <a:gd name="connsiteY12583" fmla="*/ 1325573 h 6557032"/>
              <a:gd name="connsiteX12584" fmla="*/ 502920 w 4610101"/>
              <a:gd name="connsiteY12584" fmla="*/ 1321929 h 6557032"/>
              <a:gd name="connsiteX12585" fmla="*/ 501098 w 4610101"/>
              <a:gd name="connsiteY12585" fmla="*/ 1320106 h 6557032"/>
              <a:gd name="connsiteX12586" fmla="*/ 501098 w 4610101"/>
              <a:gd name="connsiteY12586" fmla="*/ 1318284 h 6557032"/>
              <a:gd name="connsiteX12587" fmla="*/ 484700 w 4610101"/>
              <a:gd name="connsiteY12587" fmla="*/ 1318284 h 6557032"/>
              <a:gd name="connsiteX12588" fmla="*/ 479232 w 4610101"/>
              <a:gd name="connsiteY12588" fmla="*/ 1321929 h 6557032"/>
              <a:gd name="connsiteX12589" fmla="*/ 486521 w 4610101"/>
              <a:gd name="connsiteY12589" fmla="*/ 1325573 h 6557032"/>
              <a:gd name="connsiteX12590" fmla="*/ 484700 w 4610101"/>
              <a:gd name="connsiteY12590" fmla="*/ 1318284 h 6557032"/>
              <a:gd name="connsiteX12591" fmla="*/ 458960 w 4610101"/>
              <a:gd name="connsiteY12591" fmla="*/ 1316690 h 6557032"/>
              <a:gd name="connsiteX12592" fmla="*/ 450077 w 4610101"/>
              <a:gd name="connsiteY12592" fmla="*/ 1318284 h 6557032"/>
              <a:gd name="connsiteX12593" fmla="*/ 453722 w 4610101"/>
              <a:gd name="connsiteY12593" fmla="*/ 1321929 h 6557032"/>
              <a:gd name="connsiteX12594" fmla="*/ 442789 w 4610101"/>
              <a:gd name="connsiteY12594" fmla="*/ 1325573 h 6557032"/>
              <a:gd name="connsiteX12595" fmla="*/ 448256 w 4610101"/>
              <a:gd name="connsiteY12595" fmla="*/ 1332862 h 6557032"/>
              <a:gd name="connsiteX12596" fmla="*/ 450077 w 4610101"/>
              <a:gd name="connsiteY12596" fmla="*/ 1329217 h 6557032"/>
              <a:gd name="connsiteX12597" fmla="*/ 466478 w 4610101"/>
              <a:gd name="connsiteY12597" fmla="*/ 1338328 h 6557032"/>
              <a:gd name="connsiteX12598" fmla="*/ 461010 w 4610101"/>
              <a:gd name="connsiteY12598" fmla="*/ 1329217 h 6557032"/>
              <a:gd name="connsiteX12599" fmla="*/ 462832 w 4610101"/>
              <a:gd name="connsiteY12599" fmla="*/ 1332862 h 6557032"/>
              <a:gd name="connsiteX12600" fmla="*/ 453722 w 4610101"/>
              <a:gd name="connsiteY12600" fmla="*/ 1325573 h 6557032"/>
              <a:gd name="connsiteX12601" fmla="*/ 461010 w 4610101"/>
              <a:gd name="connsiteY12601" fmla="*/ 1331039 h 6557032"/>
              <a:gd name="connsiteX12602" fmla="*/ 459188 w 4610101"/>
              <a:gd name="connsiteY12602" fmla="*/ 1325573 h 6557032"/>
              <a:gd name="connsiteX12603" fmla="*/ 470121 w 4610101"/>
              <a:gd name="connsiteY12603" fmla="*/ 1329217 h 6557032"/>
              <a:gd name="connsiteX12604" fmla="*/ 466478 w 4610101"/>
              <a:gd name="connsiteY12604" fmla="*/ 1321929 h 6557032"/>
              <a:gd name="connsiteX12605" fmla="*/ 458960 w 4610101"/>
              <a:gd name="connsiteY12605" fmla="*/ 1316690 h 6557032"/>
              <a:gd name="connsiteX12606" fmla="*/ 3248937 w 4610101"/>
              <a:gd name="connsiteY12606" fmla="*/ 1316462 h 6557032"/>
              <a:gd name="connsiteX12607" fmla="*/ 3256225 w 4610101"/>
              <a:gd name="connsiteY12607" fmla="*/ 1320106 h 6557032"/>
              <a:gd name="connsiteX12608" fmla="*/ 3254403 w 4610101"/>
              <a:gd name="connsiteY12608" fmla="*/ 1329217 h 6557032"/>
              <a:gd name="connsiteX12609" fmla="*/ 3258047 w 4610101"/>
              <a:gd name="connsiteY12609" fmla="*/ 1331039 h 6557032"/>
              <a:gd name="connsiteX12610" fmla="*/ 3258047 w 4610101"/>
              <a:gd name="connsiteY12610" fmla="*/ 1316462 h 6557032"/>
              <a:gd name="connsiteX12611" fmla="*/ 3248937 w 4610101"/>
              <a:gd name="connsiteY12611" fmla="*/ 1316462 h 6557032"/>
              <a:gd name="connsiteX12612" fmla="*/ 2563799 w 4610101"/>
              <a:gd name="connsiteY12612" fmla="*/ 1316462 h 6557032"/>
              <a:gd name="connsiteX12613" fmla="*/ 2558332 w 4610101"/>
              <a:gd name="connsiteY12613" fmla="*/ 1318284 h 6557032"/>
              <a:gd name="connsiteX12614" fmla="*/ 2560155 w 4610101"/>
              <a:gd name="connsiteY12614" fmla="*/ 1325573 h 6557032"/>
              <a:gd name="connsiteX12615" fmla="*/ 829089 w 4610101"/>
              <a:gd name="connsiteY12615" fmla="*/ 1316462 h 6557032"/>
              <a:gd name="connsiteX12616" fmla="*/ 814512 w 4610101"/>
              <a:gd name="connsiteY12616" fmla="*/ 1321929 h 6557032"/>
              <a:gd name="connsiteX12617" fmla="*/ 829089 w 4610101"/>
              <a:gd name="connsiteY12617" fmla="*/ 1316462 h 6557032"/>
              <a:gd name="connsiteX12618" fmla="*/ 801757 w 4610101"/>
              <a:gd name="connsiteY12618" fmla="*/ 1316462 h 6557032"/>
              <a:gd name="connsiteX12619" fmla="*/ 796290 w 4610101"/>
              <a:gd name="connsiteY12619" fmla="*/ 1320106 h 6557032"/>
              <a:gd name="connsiteX12620" fmla="*/ 799935 w 4610101"/>
              <a:gd name="connsiteY12620" fmla="*/ 1321929 h 6557032"/>
              <a:gd name="connsiteX12621" fmla="*/ 801757 w 4610101"/>
              <a:gd name="connsiteY12621" fmla="*/ 1316462 h 6557032"/>
              <a:gd name="connsiteX12622" fmla="*/ 595852 w 4610101"/>
              <a:gd name="connsiteY12622" fmla="*/ 1316462 h 6557032"/>
              <a:gd name="connsiteX12623" fmla="*/ 597119 w 4610101"/>
              <a:gd name="connsiteY12623" fmla="*/ 1320264 h 6557032"/>
              <a:gd name="connsiteX12624" fmla="*/ 595480 w 4610101"/>
              <a:gd name="connsiteY12624" fmla="*/ 1320733 h 6557032"/>
              <a:gd name="connsiteX12625" fmla="*/ 595168 w 4610101"/>
              <a:gd name="connsiteY12625" fmla="*/ 1320562 h 6557032"/>
              <a:gd name="connsiteX12626" fmla="*/ 594883 w 4610101"/>
              <a:gd name="connsiteY12626" fmla="*/ 1320903 h 6557032"/>
              <a:gd name="connsiteX12627" fmla="*/ 594484 w 4610101"/>
              <a:gd name="connsiteY12627" fmla="*/ 1321018 h 6557032"/>
              <a:gd name="connsiteX12628" fmla="*/ 594030 w 4610101"/>
              <a:gd name="connsiteY12628" fmla="*/ 1321929 h 6557032"/>
              <a:gd name="connsiteX12629" fmla="*/ 594883 w 4610101"/>
              <a:gd name="connsiteY12629" fmla="*/ 1320903 h 6557032"/>
              <a:gd name="connsiteX12630" fmla="*/ 595480 w 4610101"/>
              <a:gd name="connsiteY12630" fmla="*/ 1320733 h 6557032"/>
              <a:gd name="connsiteX12631" fmla="*/ 597673 w 4610101"/>
              <a:gd name="connsiteY12631" fmla="*/ 1321929 h 6557032"/>
              <a:gd name="connsiteX12632" fmla="*/ 597119 w 4610101"/>
              <a:gd name="connsiteY12632" fmla="*/ 1320264 h 6557032"/>
              <a:gd name="connsiteX12633" fmla="*/ 597673 w 4610101"/>
              <a:gd name="connsiteY12633" fmla="*/ 1320106 h 6557032"/>
              <a:gd name="connsiteX12634" fmla="*/ 595852 w 4610101"/>
              <a:gd name="connsiteY12634" fmla="*/ 1316462 h 6557032"/>
              <a:gd name="connsiteX12635" fmla="*/ 358969 w 4610101"/>
              <a:gd name="connsiteY12635" fmla="*/ 1316462 h 6557032"/>
              <a:gd name="connsiteX12636" fmla="*/ 348037 w 4610101"/>
              <a:gd name="connsiteY12636" fmla="*/ 1320106 h 6557032"/>
              <a:gd name="connsiteX12637" fmla="*/ 351680 w 4610101"/>
              <a:gd name="connsiteY12637" fmla="*/ 1323751 h 6557032"/>
              <a:gd name="connsiteX12638" fmla="*/ 358969 w 4610101"/>
              <a:gd name="connsiteY12638" fmla="*/ 1316462 h 6557032"/>
              <a:gd name="connsiteX12639" fmla="*/ 1141330 w 4610101"/>
              <a:gd name="connsiteY12639" fmla="*/ 1315998 h 6557032"/>
              <a:gd name="connsiteX12640" fmla="*/ 1141820 w 4610101"/>
              <a:gd name="connsiteY12640" fmla="*/ 1316690 h 6557032"/>
              <a:gd name="connsiteX12641" fmla="*/ 1141774 w 4610101"/>
              <a:gd name="connsiteY12641" fmla="*/ 1316860 h 6557032"/>
              <a:gd name="connsiteX12642" fmla="*/ 439145 w 4610101"/>
              <a:gd name="connsiteY12642" fmla="*/ 1314677 h 6557032"/>
              <a:gd name="connsiteX12643" fmla="*/ 437322 w 4610101"/>
              <a:gd name="connsiteY12643" fmla="*/ 1318322 h 6557032"/>
              <a:gd name="connsiteX12644" fmla="*/ 435500 w 4610101"/>
              <a:gd name="connsiteY12644" fmla="*/ 1316499 h 6557032"/>
              <a:gd name="connsiteX12645" fmla="*/ 433677 w 4610101"/>
              <a:gd name="connsiteY12645" fmla="*/ 1314677 h 6557032"/>
              <a:gd name="connsiteX12646" fmla="*/ 435500 w 4610101"/>
              <a:gd name="connsiteY12646" fmla="*/ 1316499 h 6557032"/>
              <a:gd name="connsiteX12647" fmla="*/ 435044 w 4610101"/>
              <a:gd name="connsiteY12647" fmla="*/ 1316727 h 6557032"/>
              <a:gd name="connsiteX12648" fmla="*/ 433677 w 4610101"/>
              <a:gd name="connsiteY12648" fmla="*/ 1314677 h 6557032"/>
              <a:gd name="connsiteX12649" fmla="*/ 3385600 w 4610101"/>
              <a:gd name="connsiteY12649" fmla="*/ 1314640 h 6557032"/>
              <a:gd name="connsiteX12650" fmla="*/ 3381955 w 4610101"/>
              <a:gd name="connsiteY12650" fmla="*/ 1316462 h 6557032"/>
              <a:gd name="connsiteX12651" fmla="*/ 3381955 w 4610101"/>
              <a:gd name="connsiteY12651" fmla="*/ 1336506 h 6557032"/>
              <a:gd name="connsiteX12652" fmla="*/ 3389244 w 4610101"/>
              <a:gd name="connsiteY12652" fmla="*/ 1323751 h 6557032"/>
              <a:gd name="connsiteX12653" fmla="*/ 3385600 w 4610101"/>
              <a:gd name="connsiteY12653" fmla="*/ 1314640 h 6557032"/>
              <a:gd name="connsiteX12654" fmla="*/ 3177872 w 4610101"/>
              <a:gd name="connsiteY12654" fmla="*/ 1314640 h 6557032"/>
              <a:gd name="connsiteX12655" fmla="*/ 3176050 w 4610101"/>
              <a:gd name="connsiteY12655" fmla="*/ 1320106 h 6557032"/>
              <a:gd name="connsiteX12656" fmla="*/ 3183338 w 4610101"/>
              <a:gd name="connsiteY12656" fmla="*/ 1321929 h 6557032"/>
              <a:gd name="connsiteX12657" fmla="*/ 3190627 w 4610101"/>
              <a:gd name="connsiteY12657" fmla="*/ 1323751 h 6557032"/>
              <a:gd name="connsiteX12658" fmla="*/ 3183338 w 4610101"/>
              <a:gd name="connsiteY12658" fmla="*/ 1314640 h 6557032"/>
              <a:gd name="connsiteX12659" fmla="*/ 3181516 w 4610101"/>
              <a:gd name="connsiteY12659" fmla="*/ 1314640 h 6557032"/>
              <a:gd name="connsiteX12660" fmla="*/ 3183338 w 4610101"/>
              <a:gd name="connsiteY12660" fmla="*/ 1321929 h 6557032"/>
              <a:gd name="connsiteX12661" fmla="*/ 3177872 w 4610101"/>
              <a:gd name="connsiteY12661" fmla="*/ 1314640 h 6557032"/>
              <a:gd name="connsiteX12662" fmla="*/ 2838947 w 4610101"/>
              <a:gd name="connsiteY12662" fmla="*/ 1314640 h 6557032"/>
              <a:gd name="connsiteX12663" fmla="*/ 2835303 w 4610101"/>
              <a:gd name="connsiteY12663" fmla="*/ 1332862 h 6557032"/>
              <a:gd name="connsiteX12664" fmla="*/ 2858991 w 4610101"/>
              <a:gd name="connsiteY12664" fmla="*/ 1354728 h 6557032"/>
              <a:gd name="connsiteX12665" fmla="*/ 2848058 w 4610101"/>
              <a:gd name="connsiteY12665" fmla="*/ 1325573 h 6557032"/>
              <a:gd name="connsiteX12666" fmla="*/ 2838947 w 4610101"/>
              <a:gd name="connsiteY12666" fmla="*/ 1314640 h 6557032"/>
              <a:gd name="connsiteX12667" fmla="*/ 2623931 w 4610101"/>
              <a:gd name="connsiteY12667" fmla="*/ 1314640 h 6557032"/>
              <a:gd name="connsiteX12668" fmla="*/ 2616642 w 4610101"/>
              <a:gd name="connsiteY12668" fmla="*/ 1320106 h 6557032"/>
              <a:gd name="connsiteX12669" fmla="*/ 2614820 w 4610101"/>
              <a:gd name="connsiteY12669" fmla="*/ 1318284 h 6557032"/>
              <a:gd name="connsiteX12670" fmla="*/ 2594776 w 4610101"/>
              <a:gd name="connsiteY12670" fmla="*/ 1338328 h 6557032"/>
              <a:gd name="connsiteX12671" fmla="*/ 2602065 w 4610101"/>
              <a:gd name="connsiteY12671" fmla="*/ 1349261 h 6557032"/>
              <a:gd name="connsiteX12672" fmla="*/ 2623931 w 4610101"/>
              <a:gd name="connsiteY12672" fmla="*/ 1323751 h 6557032"/>
              <a:gd name="connsiteX12673" fmla="*/ 2638508 w 4610101"/>
              <a:gd name="connsiteY12673" fmla="*/ 1331039 h 6557032"/>
              <a:gd name="connsiteX12674" fmla="*/ 2649441 w 4610101"/>
              <a:gd name="connsiteY12674" fmla="*/ 1327395 h 6557032"/>
              <a:gd name="connsiteX12675" fmla="*/ 2645797 w 4610101"/>
              <a:gd name="connsiteY12675" fmla="*/ 1320106 h 6557032"/>
              <a:gd name="connsiteX12676" fmla="*/ 2625753 w 4610101"/>
              <a:gd name="connsiteY12676" fmla="*/ 1318284 h 6557032"/>
              <a:gd name="connsiteX12677" fmla="*/ 2623931 w 4610101"/>
              <a:gd name="connsiteY12677" fmla="*/ 1314640 h 6557032"/>
              <a:gd name="connsiteX12678" fmla="*/ 883755 w 4610101"/>
              <a:gd name="connsiteY12678" fmla="*/ 1314640 h 6557032"/>
              <a:gd name="connsiteX12679" fmla="*/ 876466 w 4610101"/>
              <a:gd name="connsiteY12679" fmla="*/ 1320106 h 6557032"/>
              <a:gd name="connsiteX12680" fmla="*/ 880111 w 4610101"/>
              <a:gd name="connsiteY12680" fmla="*/ 1321929 h 6557032"/>
              <a:gd name="connsiteX12681" fmla="*/ 881933 w 4610101"/>
              <a:gd name="connsiteY12681" fmla="*/ 1318284 h 6557032"/>
              <a:gd name="connsiteX12682" fmla="*/ 887399 w 4610101"/>
              <a:gd name="connsiteY12682" fmla="*/ 1318284 h 6557032"/>
              <a:gd name="connsiteX12683" fmla="*/ 883755 w 4610101"/>
              <a:gd name="connsiteY12683" fmla="*/ 1314640 h 6557032"/>
              <a:gd name="connsiteX12684" fmla="*/ 557586 w 4610101"/>
              <a:gd name="connsiteY12684" fmla="*/ 1314640 h 6557032"/>
              <a:gd name="connsiteX12685" fmla="*/ 552802 w 4610101"/>
              <a:gd name="connsiteY12685" fmla="*/ 1323523 h 6557032"/>
              <a:gd name="connsiteX12686" fmla="*/ 554398 w 4610101"/>
              <a:gd name="connsiteY12686" fmla="*/ 1326029 h 6557032"/>
              <a:gd name="connsiteX12687" fmla="*/ 552119 w 4610101"/>
              <a:gd name="connsiteY12687" fmla="*/ 1323751 h 6557032"/>
              <a:gd name="connsiteX12688" fmla="*/ 546653 w 4610101"/>
              <a:gd name="connsiteY12688" fmla="*/ 1332862 h 6557032"/>
              <a:gd name="connsiteX12689" fmla="*/ 551436 w 4610101"/>
              <a:gd name="connsiteY12689" fmla="*/ 1335139 h 6557032"/>
              <a:gd name="connsiteX12690" fmla="*/ 556867 w 4610101"/>
              <a:gd name="connsiteY12690" fmla="*/ 1329909 h 6557032"/>
              <a:gd name="connsiteX12691" fmla="*/ 557586 w 4610101"/>
              <a:gd name="connsiteY12691" fmla="*/ 1331039 h 6557032"/>
              <a:gd name="connsiteX12692" fmla="*/ 561230 w 4610101"/>
              <a:gd name="connsiteY12692" fmla="*/ 1318284 h 6557032"/>
              <a:gd name="connsiteX12693" fmla="*/ 557586 w 4610101"/>
              <a:gd name="connsiteY12693" fmla="*/ 1314640 h 6557032"/>
              <a:gd name="connsiteX12694" fmla="*/ 3057608 w 4610101"/>
              <a:gd name="connsiteY12694" fmla="*/ 1312818 h 6557032"/>
              <a:gd name="connsiteX12695" fmla="*/ 3055786 w 4610101"/>
              <a:gd name="connsiteY12695" fmla="*/ 1323751 h 6557032"/>
              <a:gd name="connsiteX12696" fmla="*/ 3057608 w 4610101"/>
              <a:gd name="connsiteY12696" fmla="*/ 1312818 h 6557032"/>
              <a:gd name="connsiteX12697" fmla="*/ 1929683 w 4610101"/>
              <a:gd name="connsiteY12697" fmla="*/ 1312818 h 6557032"/>
              <a:gd name="connsiteX12698" fmla="*/ 1926038 w 4610101"/>
              <a:gd name="connsiteY12698" fmla="*/ 1316462 h 6557032"/>
              <a:gd name="connsiteX12699" fmla="*/ 1936972 w 4610101"/>
              <a:gd name="connsiteY12699" fmla="*/ 1321929 h 6557032"/>
              <a:gd name="connsiteX12700" fmla="*/ 1938793 w 4610101"/>
              <a:gd name="connsiteY12700" fmla="*/ 1320106 h 6557032"/>
              <a:gd name="connsiteX12701" fmla="*/ 1929683 w 4610101"/>
              <a:gd name="connsiteY12701" fmla="*/ 1312818 h 6557032"/>
              <a:gd name="connsiteX12702" fmla="*/ 1222679 w 4610101"/>
              <a:gd name="connsiteY12702" fmla="*/ 1312818 h 6557032"/>
              <a:gd name="connsiteX12703" fmla="*/ 1217213 w 4610101"/>
              <a:gd name="connsiteY12703" fmla="*/ 1316462 h 6557032"/>
              <a:gd name="connsiteX12704" fmla="*/ 1220858 w 4610101"/>
              <a:gd name="connsiteY12704" fmla="*/ 1316462 h 6557032"/>
              <a:gd name="connsiteX12705" fmla="*/ 1213568 w 4610101"/>
              <a:gd name="connsiteY12705" fmla="*/ 1318284 h 6557032"/>
              <a:gd name="connsiteX12706" fmla="*/ 1215390 w 4610101"/>
              <a:gd name="connsiteY12706" fmla="*/ 1321929 h 6557032"/>
              <a:gd name="connsiteX12707" fmla="*/ 1215390 w 4610101"/>
              <a:gd name="connsiteY12707" fmla="*/ 1323751 h 6557032"/>
              <a:gd name="connsiteX12708" fmla="*/ 1219036 w 4610101"/>
              <a:gd name="connsiteY12708" fmla="*/ 1321929 h 6557032"/>
              <a:gd name="connsiteX12709" fmla="*/ 1222186 w 4610101"/>
              <a:gd name="connsiteY12709" fmla="*/ 1329808 h 6557032"/>
              <a:gd name="connsiteX12710" fmla="*/ 1208102 w 4610101"/>
              <a:gd name="connsiteY12710" fmla="*/ 1318284 h 6557032"/>
              <a:gd name="connsiteX12711" fmla="*/ 1188058 w 4610101"/>
              <a:gd name="connsiteY12711" fmla="*/ 1316462 h 6557032"/>
              <a:gd name="connsiteX12712" fmla="*/ 1228146 w 4610101"/>
              <a:gd name="connsiteY12712" fmla="*/ 1340150 h 6557032"/>
              <a:gd name="connsiteX12713" fmla="*/ 1228146 w 4610101"/>
              <a:gd name="connsiteY12713" fmla="*/ 1334684 h 6557032"/>
              <a:gd name="connsiteX12714" fmla="*/ 1222323 w 4610101"/>
              <a:gd name="connsiteY12714" fmla="*/ 1329920 h 6557032"/>
              <a:gd name="connsiteX12715" fmla="*/ 1228146 w 4610101"/>
              <a:gd name="connsiteY12715" fmla="*/ 1331039 h 6557032"/>
              <a:gd name="connsiteX12716" fmla="*/ 1222679 w 4610101"/>
              <a:gd name="connsiteY12716" fmla="*/ 1312818 h 6557032"/>
              <a:gd name="connsiteX12717" fmla="*/ 809046 w 4610101"/>
              <a:gd name="connsiteY12717" fmla="*/ 1312818 h 6557032"/>
              <a:gd name="connsiteX12718" fmla="*/ 810868 w 4610101"/>
              <a:gd name="connsiteY12718" fmla="*/ 1318284 h 6557032"/>
              <a:gd name="connsiteX12719" fmla="*/ 812690 w 4610101"/>
              <a:gd name="connsiteY12719" fmla="*/ 1314640 h 6557032"/>
              <a:gd name="connsiteX12720" fmla="*/ 809046 w 4610101"/>
              <a:gd name="connsiteY12720" fmla="*/ 1312818 h 6557032"/>
              <a:gd name="connsiteX12721" fmla="*/ 736159 w 4610101"/>
              <a:gd name="connsiteY12721" fmla="*/ 1312818 h 6557032"/>
              <a:gd name="connsiteX12722" fmla="*/ 732515 w 4610101"/>
              <a:gd name="connsiteY12722" fmla="*/ 1316462 h 6557032"/>
              <a:gd name="connsiteX12723" fmla="*/ 737981 w 4610101"/>
              <a:gd name="connsiteY12723" fmla="*/ 1318284 h 6557032"/>
              <a:gd name="connsiteX12724" fmla="*/ 736159 w 4610101"/>
              <a:gd name="connsiteY12724" fmla="*/ 1312818 h 6557032"/>
              <a:gd name="connsiteX12725" fmla="*/ 526609 w 4610101"/>
              <a:gd name="connsiteY12725" fmla="*/ 1312818 h 6557032"/>
              <a:gd name="connsiteX12726" fmla="*/ 515676 w 4610101"/>
              <a:gd name="connsiteY12726" fmla="*/ 1320106 h 6557032"/>
              <a:gd name="connsiteX12727" fmla="*/ 526609 w 4610101"/>
              <a:gd name="connsiteY12727" fmla="*/ 1312818 h 6557032"/>
              <a:gd name="connsiteX12728" fmla="*/ 499276 w 4610101"/>
              <a:gd name="connsiteY12728" fmla="*/ 1312818 h 6557032"/>
              <a:gd name="connsiteX12729" fmla="*/ 495632 w 4610101"/>
              <a:gd name="connsiteY12729" fmla="*/ 1314640 h 6557032"/>
              <a:gd name="connsiteX12730" fmla="*/ 501098 w 4610101"/>
              <a:gd name="connsiteY12730" fmla="*/ 1314640 h 6557032"/>
              <a:gd name="connsiteX12731" fmla="*/ 499276 w 4610101"/>
              <a:gd name="connsiteY12731" fmla="*/ 1312818 h 6557032"/>
              <a:gd name="connsiteX12732" fmla="*/ 1128653 w 4610101"/>
              <a:gd name="connsiteY12732" fmla="*/ 1312695 h 6557032"/>
              <a:gd name="connsiteX12733" fmla="*/ 1131570 w 4610101"/>
              <a:gd name="connsiteY12733" fmla="*/ 1314640 h 6557032"/>
              <a:gd name="connsiteX12734" fmla="*/ 1134759 w 4610101"/>
              <a:gd name="connsiteY12734" fmla="*/ 1328079 h 6557032"/>
              <a:gd name="connsiteX12735" fmla="*/ 1135104 w 4610101"/>
              <a:gd name="connsiteY12735" fmla="*/ 1337217 h 6557032"/>
              <a:gd name="connsiteX12736" fmla="*/ 1132253 w 4610101"/>
              <a:gd name="connsiteY12736" fmla="*/ 1330128 h 6557032"/>
              <a:gd name="connsiteX12737" fmla="*/ 3267327 w 4610101"/>
              <a:gd name="connsiteY12737" fmla="*/ 1312450 h 6557032"/>
              <a:gd name="connsiteX12738" fmla="*/ 3268980 w 4610101"/>
              <a:gd name="connsiteY12738" fmla="*/ 1312818 h 6557032"/>
              <a:gd name="connsiteX12739" fmla="*/ 3267614 w 4610101"/>
              <a:gd name="connsiteY12739" fmla="*/ 1313957 h 6557032"/>
              <a:gd name="connsiteX12740" fmla="*/ 3267986 w 4610101"/>
              <a:gd name="connsiteY12740" fmla="*/ 1314640 h 6557032"/>
              <a:gd name="connsiteX12741" fmla="*/ 3267158 w 4610101"/>
              <a:gd name="connsiteY12741" fmla="*/ 1314640 h 6557032"/>
              <a:gd name="connsiteX12742" fmla="*/ 333686 w 4610101"/>
              <a:gd name="connsiteY12742" fmla="*/ 1311906 h 6557032"/>
              <a:gd name="connsiteX12743" fmla="*/ 324347 w 4610101"/>
              <a:gd name="connsiteY12743" fmla="*/ 1316462 h 6557032"/>
              <a:gd name="connsiteX12744" fmla="*/ 326169 w 4610101"/>
              <a:gd name="connsiteY12744" fmla="*/ 1314640 h 6557032"/>
              <a:gd name="connsiteX12745" fmla="*/ 298837 w 4610101"/>
              <a:gd name="connsiteY12745" fmla="*/ 1332862 h 6557032"/>
              <a:gd name="connsiteX12746" fmla="*/ 280615 w 4610101"/>
              <a:gd name="connsiteY12746" fmla="*/ 1351083 h 6557032"/>
              <a:gd name="connsiteX12747" fmla="*/ 310225 w 4610101"/>
              <a:gd name="connsiteY12747" fmla="*/ 1340834 h 6557032"/>
              <a:gd name="connsiteX12748" fmla="*/ 327689 w 4610101"/>
              <a:gd name="connsiteY12748" fmla="*/ 1329734 h 6557032"/>
              <a:gd name="connsiteX12749" fmla="*/ 315236 w 4610101"/>
              <a:gd name="connsiteY12749" fmla="*/ 1338328 h 6557032"/>
              <a:gd name="connsiteX12750" fmla="*/ 340747 w 4610101"/>
              <a:gd name="connsiteY12750" fmla="*/ 1329217 h 6557032"/>
              <a:gd name="connsiteX12751" fmla="*/ 346213 w 4610101"/>
              <a:gd name="connsiteY12751" fmla="*/ 1320106 h 6557032"/>
              <a:gd name="connsiteX12752" fmla="*/ 344391 w 4610101"/>
              <a:gd name="connsiteY12752" fmla="*/ 1325573 h 6557032"/>
              <a:gd name="connsiteX12753" fmla="*/ 349858 w 4610101"/>
              <a:gd name="connsiteY12753" fmla="*/ 1323751 h 6557032"/>
              <a:gd name="connsiteX12754" fmla="*/ 346213 w 4610101"/>
              <a:gd name="connsiteY12754" fmla="*/ 1320106 h 6557032"/>
              <a:gd name="connsiteX12755" fmla="*/ 332686 w 4610101"/>
              <a:gd name="connsiteY12755" fmla="*/ 1326558 h 6557032"/>
              <a:gd name="connsiteX12756" fmla="*/ 337102 w 4610101"/>
              <a:gd name="connsiteY12756" fmla="*/ 1323751 h 6557032"/>
              <a:gd name="connsiteX12757" fmla="*/ 322525 w 4610101"/>
              <a:gd name="connsiteY12757" fmla="*/ 1321929 h 6557032"/>
              <a:gd name="connsiteX12758" fmla="*/ 344391 w 4610101"/>
              <a:gd name="connsiteY12758" fmla="*/ 1312818 h 6557032"/>
              <a:gd name="connsiteX12759" fmla="*/ 333686 w 4610101"/>
              <a:gd name="connsiteY12759" fmla="*/ 1311906 h 6557032"/>
              <a:gd name="connsiteX12760" fmla="*/ 3255542 w 4610101"/>
              <a:gd name="connsiteY12760" fmla="*/ 1310995 h 6557032"/>
              <a:gd name="connsiteX12761" fmla="*/ 3248937 w 4610101"/>
              <a:gd name="connsiteY12761" fmla="*/ 1312818 h 6557032"/>
              <a:gd name="connsiteX12762" fmla="*/ 3258047 w 4610101"/>
              <a:gd name="connsiteY12762" fmla="*/ 1314640 h 6557032"/>
              <a:gd name="connsiteX12763" fmla="*/ 3255542 w 4610101"/>
              <a:gd name="connsiteY12763" fmla="*/ 1310995 h 6557032"/>
              <a:gd name="connsiteX12764" fmla="*/ 3048497 w 4610101"/>
              <a:gd name="connsiteY12764" fmla="*/ 1310995 h 6557032"/>
              <a:gd name="connsiteX12765" fmla="*/ 3044853 w 4610101"/>
              <a:gd name="connsiteY12765" fmla="*/ 1321929 h 6557032"/>
              <a:gd name="connsiteX12766" fmla="*/ 3053964 w 4610101"/>
              <a:gd name="connsiteY12766" fmla="*/ 1323751 h 6557032"/>
              <a:gd name="connsiteX12767" fmla="*/ 3048497 w 4610101"/>
              <a:gd name="connsiteY12767" fmla="*/ 1310995 h 6557032"/>
              <a:gd name="connsiteX12768" fmla="*/ 1162547 w 4610101"/>
              <a:gd name="connsiteY12768" fmla="*/ 1310995 h 6557032"/>
              <a:gd name="connsiteX12769" fmla="*/ 1158903 w 4610101"/>
              <a:gd name="connsiteY12769" fmla="*/ 1312818 h 6557032"/>
              <a:gd name="connsiteX12770" fmla="*/ 1166192 w 4610101"/>
              <a:gd name="connsiteY12770" fmla="*/ 1316462 h 6557032"/>
              <a:gd name="connsiteX12771" fmla="*/ 1169836 w 4610101"/>
              <a:gd name="connsiteY12771" fmla="*/ 1320106 h 6557032"/>
              <a:gd name="connsiteX12772" fmla="*/ 1173481 w 4610101"/>
              <a:gd name="connsiteY12772" fmla="*/ 1320106 h 6557032"/>
              <a:gd name="connsiteX12773" fmla="*/ 1166192 w 4610101"/>
              <a:gd name="connsiteY12773" fmla="*/ 1316462 h 6557032"/>
              <a:gd name="connsiteX12774" fmla="*/ 1162547 w 4610101"/>
              <a:gd name="connsiteY12774" fmla="*/ 1310995 h 6557032"/>
              <a:gd name="connsiteX12775" fmla="*/ 646872 w 4610101"/>
              <a:gd name="connsiteY12775" fmla="*/ 1310995 h 6557032"/>
              <a:gd name="connsiteX12776" fmla="*/ 652339 w 4610101"/>
              <a:gd name="connsiteY12776" fmla="*/ 1323751 h 6557032"/>
              <a:gd name="connsiteX12777" fmla="*/ 652339 w 4610101"/>
              <a:gd name="connsiteY12777" fmla="*/ 1321929 h 6557032"/>
              <a:gd name="connsiteX12778" fmla="*/ 659627 w 4610101"/>
              <a:gd name="connsiteY12778" fmla="*/ 1327395 h 6557032"/>
              <a:gd name="connsiteX12779" fmla="*/ 663272 w 4610101"/>
              <a:gd name="connsiteY12779" fmla="*/ 1323751 h 6557032"/>
              <a:gd name="connsiteX12780" fmla="*/ 655983 w 4610101"/>
              <a:gd name="connsiteY12780" fmla="*/ 1314640 h 6557032"/>
              <a:gd name="connsiteX12781" fmla="*/ 652339 w 4610101"/>
              <a:gd name="connsiteY12781" fmla="*/ 1321929 h 6557032"/>
              <a:gd name="connsiteX12782" fmla="*/ 650516 w 4610101"/>
              <a:gd name="connsiteY12782" fmla="*/ 1310995 h 6557032"/>
              <a:gd name="connsiteX12783" fmla="*/ 646872 w 4610101"/>
              <a:gd name="connsiteY12783" fmla="*/ 1310995 h 6557032"/>
              <a:gd name="connsiteX12784" fmla="*/ 395412 w 4610101"/>
              <a:gd name="connsiteY12784" fmla="*/ 1310995 h 6557032"/>
              <a:gd name="connsiteX12785" fmla="*/ 384479 w 4610101"/>
              <a:gd name="connsiteY12785" fmla="*/ 1314640 h 6557032"/>
              <a:gd name="connsiteX12786" fmla="*/ 384479 w 4610101"/>
              <a:gd name="connsiteY12786" fmla="*/ 1323751 h 6557032"/>
              <a:gd name="connsiteX12787" fmla="*/ 391768 w 4610101"/>
              <a:gd name="connsiteY12787" fmla="*/ 1325573 h 6557032"/>
              <a:gd name="connsiteX12788" fmla="*/ 388123 w 4610101"/>
              <a:gd name="connsiteY12788" fmla="*/ 1321929 h 6557032"/>
              <a:gd name="connsiteX12789" fmla="*/ 395412 w 4610101"/>
              <a:gd name="connsiteY12789" fmla="*/ 1321929 h 6557032"/>
              <a:gd name="connsiteX12790" fmla="*/ 395412 w 4610101"/>
              <a:gd name="connsiteY12790" fmla="*/ 1323751 h 6557032"/>
              <a:gd name="connsiteX12791" fmla="*/ 408167 w 4610101"/>
              <a:gd name="connsiteY12791" fmla="*/ 1312818 h 6557032"/>
              <a:gd name="connsiteX12792" fmla="*/ 393590 w 4610101"/>
              <a:gd name="connsiteY12792" fmla="*/ 1314640 h 6557032"/>
              <a:gd name="connsiteX12793" fmla="*/ 395412 w 4610101"/>
              <a:gd name="connsiteY12793" fmla="*/ 1310995 h 6557032"/>
              <a:gd name="connsiteX12794" fmla="*/ 3125029 w 4610101"/>
              <a:gd name="connsiteY12794" fmla="*/ 1309173 h 6557032"/>
              <a:gd name="connsiteX12795" fmla="*/ 3141428 w 4610101"/>
              <a:gd name="connsiteY12795" fmla="*/ 1316462 h 6557032"/>
              <a:gd name="connsiteX12796" fmla="*/ 3125029 w 4610101"/>
              <a:gd name="connsiteY12796" fmla="*/ 1309173 h 6557032"/>
              <a:gd name="connsiteX12797" fmla="*/ 3068541 w 4610101"/>
              <a:gd name="connsiteY12797" fmla="*/ 1309173 h 6557032"/>
              <a:gd name="connsiteX12798" fmla="*/ 3066719 w 4610101"/>
              <a:gd name="connsiteY12798" fmla="*/ 1318284 h 6557032"/>
              <a:gd name="connsiteX12799" fmla="*/ 3075830 w 4610101"/>
              <a:gd name="connsiteY12799" fmla="*/ 1318284 h 6557032"/>
              <a:gd name="connsiteX12800" fmla="*/ 3068541 w 4610101"/>
              <a:gd name="connsiteY12800" fmla="*/ 1309173 h 6557032"/>
              <a:gd name="connsiteX12801" fmla="*/ 1184414 w 4610101"/>
              <a:gd name="connsiteY12801" fmla="*/ 1309173 h 6557032"/>
              <a:gd name="connsiteX12802" fmla="*/ 1186236 w 4610101"/>
              <a:gd name="connsiteY12802" fmla="*/ 1314640 h 6557032"/>
              <a:gd name="connsiteX12803" fmla="*/ 1189880 w 4610101"/>
              <a:gd name="connsiteY12803" fmla="*/ 1312818 h 6557032"/>
              <a:gd name="connsiteX12804" fmla="*/ 1184414 w 4610101"/>
              <a:gd name="connsiteY12804" fmla="*/ 1309173 h 6557032"/>
              <a:gd name="connsiteX12805" fmla="*/ 1178947 w 4610101"/>
              <a:gd name="connsiteY12805" fmla="*/ 1309173 h 6557032"/>
              <a:gd name="connsiteX12806" fmla="*/ 1173481 w 4610101"/>
              <a:gd name="connsiteY12806" fmla="*/ 1312818 h 6557032"/>
              <a:gd name="connsiteX12807" fmla="*/ 1182592 w 4610101"/>
              <a:gd name="connsiteY12807" fmla="*/ 1314640 h 6557032"/>
              <a:gd name="connsiteX12808" fmla="*/ 1178947 w 4610101"/>
              <a:gd name="connsiteY12808" fmla="*/ 1309173 h 6557032"/>
              <a:gd name="connsiteX12809" fmla="*/ 661449 w 4610101"/>
              <a:gd name="connsiteY12809" fmla="*/ 1309173 h 6557032"/>
              <a:gd name="connsiteX12810" fmla="*/ 665094 w 4610101"/>
              <a:gd name="connsiteY12810" fmla="*/ 1314640 h 6557032"/>
              <a:gd name="connsiteX12811" fmla="*/ 665094 w 4610101"/>
              <a:gd name="connsiteY12811" fmla="*/ 1309173 h 6557032"/>
              <a:gd name="connsiteX12812" fmla="*/ 661449 w 4610101"/>
              <a:gd name="connsiteY12812" fmla="*/ 1309173 h 6557032"/>
              <a:gd name="connsiteX12813" fmla="*/ 606784 w 4610101"/>
              <a:gd name="connsiteY12813" fmla="*/ 1309173 h 6557032"/>
              <a:gd name="connsiteX12814" fmla="*/ 604963 w 4610101"/>
              <a:gd name="connsiteY12814" fmla="*/ 1310995 h 6557032"/>
              <a:gd name="connsiteX12815" fmla="*/ 599496 w 4610101"/>
              <a:gd name="connsiteY12815" fmla="*/ 1312818 h 6557032"/>
              <a:gd name="connsiteX12816" fmla="*/ 603140 w 4610101"/>
              <a:gd name="connsiteY12816" fmla="*/ 1325573 h 6557032"/>
              <a:gd name="connsiteX12817" fmla="*/ 610429 w 4610101"/>
              <a:gd name="connsiteY12817" fmla="*/ 1331039 h 6557032"/>
              <a:gd name="connsiteX12818" fmla="*/ 608606 w 4610101"/>
              <a:gd name="connsiteY12818" fmla="*/ 1327395 h 6557032"/>
              <a:gd name="connsiteX12819" fmla="*/ 612250 w 4610101"/>
              <a:gd name="connsiteY12819" fmla="*/ 1323751 h 6557032"/>
              <a:gd name="connsiteX12820" fmla="*/ 610429 w 4610101"/>
              <a:gd name="connsiteY12820" fmla="*/ 1327395 h 6557032"/>
              <a:gd name="connsiteX12821" fmla="*/ 614074 w 4610101"/>
              <a:gd name="connsiteY12821" fmla="*/ 1325573 h 6557032"/>
              <a:gd name="connsiteX12822" fmla="*/ 614074 w 4610101"/>
              <a:gd name="connsiteY12822" fmla="*/ 1320106 h 6557032"/>
              <a:gd name="connsiteX12823" fmla="*/ 612934 w 4610101"/>
              <a:gd name="connsiteY12823" fmla="*/ 1322384 h 6557032"/>
              <a:gd name="connsiteX12824" fmla="*/ 612251 w 4610101"/>
              <a:gd name="connsiteY12824" fmla="*/ 1323751 h 6557032"/>
              <a:gd name="connsiteX12825" fmla="*/ 608606 w 4610101"/>
              <a:gd name="connsiteY12825" fmla="*/ 1314640 h 6557032"/>
              <a:gd name="connsiteX12826" fmla="*/ 606784 w 4610101"/>
              <a:gd name="connsiteY12826" fmla="*/ 1309173 h 6557032"/>
              <a:gd name="connsiteX12827" fmla="*/ 588562 w 4610101"/>
              <a:gd name="connsiteY12827" fmla="*/ 1309173 h 6557032"/>
              <a:gd name="connsiteX12828" fmla="*/ 588562 w 4610101"/>
              <a:gd name="connsiteY12828" fmla="*/ 1314640 h 6557032"/>
              <a:gd name="connsiteX12829" fmla="*/ 590385 w 4610101"/>
              <a:gd name="connsiteY12829" fmla="*/ 1318284 h 6557032"/>
              <a:gd name="connsiteX12830" fmla="*/ 590385 w 4610101"/>
              <a:gd name="connsiteY12830" fmla="*/ 1314640 h 6557032"/>
              <a:gd name="connsiteX12831" fmla="*/ 594030 w 4610101"/>
              <a:gd name="connsiteY12831" fmla="*/ 1310995 h 6557032"/>
              <a:gd name="connsiteX12832" fmla="*/ 588562 w 4610101"/>
              <a:gd name="connsiteY12832" fmla="*/ 1309173 h 6557032"/>
              <a:gd name="connsiteX12833" fmla="*/ 575808 w 4610101"/>
              <a:gd name="connsiteY12833" fmla="*/ 1309173 h 6557032"/>
              <a:gd name="connsiteX12834" fmla="*/ 579452 w 4610101"/>
              <a:gd name="connsiteY12834" fmla="*/ 1310995 h 6557032"/>
              <a:gd name="connsiteX12835" fmla="*/ 575808 w 4610101"/>
              <a:gd name="connsiteY12835" fmla="*/ 1309173 h 6557032"/>
              <a:gd name="connsiteX12836" fmla="*/ 530253 w 4610101"/>
              <a:gd name="connsiteY12836" fmla="*/ 1309173 h 6557032"/>
              <a:gd name="connsiteX12837" fmla="*/ 526609 w 4610101"/>
              <a:gd name="connsiteY12837" fmla="*/ 1316462 h 6557032"/>
              <a:gd name="connsiteX12838" fmla="*/ 530253 w 4610101"/>
              <a:gd name="connsiteY12838" fmla="*/ 1309173 h 6557032"/>
              <a:gd name="connsiteX12839" fmla="*/ 461010 w 4610101"/>
              <a:gd name="connsiteY12839" fmla="*/ 1309173 h 6557032"/>
              <a:gd name="connsiteX12840" fmla="*/ 462832 w 4610101"/>
              <a:gd name="connsiteY12840" fmla="*/ 1318284 h 6557032"/>
              <a:gd name="connsiteX12841" fmla="*/ 461010 w 4610101"/>
              <a:gd name="connsiteY12841" fmla="*/ 1309173 h 6557032"/>
              <a:gd name="connsiteX12842" fmla="*/ 455999 w 4610101"/>
              <a:gd name="connsiteY12842" fmla="*/ 1308717 h 6557032"/>
              <a:gd name="connsiteX12843" fmla="*/ 450077 w 4610101"/>
              <a:gd name="connsiteY12843" fmla="*/ 1309173 h 6557032"/>
              <a:gd name="connsiteX12844" fmla="*/ 459188 w 4610101"/>
              <a:gd name="connsiteY12844" fmla="*/ 1310995 h 6557032"/>
              <a:gd name="connsiteX12845" fmla="*/ 455999 w 4610101"/>
              <a:gd name="connsiteY12845" fmla="*/ 1308717 h 6557032"/>
              <a:gd name="connsiteX12846" fmla="*/ 428497 w 4610101"/>
              <a:gd name="connsiteY12846" fmla="*/ 1308006 h 6557032"/>
              <a:gd name="connsiteX12847" fmla="*/ 413634 w 4610101"/>
              <a:gd name="connsiteY12847" fmla="*/ 1316462 h 6557032"/>
              <a:gd name="connsiteX12848" fmla="*/ 422745 w 4610101"/>
              <a:gd name="connsiteY12848" fmla="*/ 1309173 h 6557032"/>
              <a:gd name="connsiteX12849" fmla="*/ 408167 w 4610101"/>
              <a:gd name="connsiteY12849" fmla="*/ 1316462 h 6557032"/>
              <a:gd name="connsiteX12850" fmla="*/ 411812 w 4610101"/>
              <a:gd name="connsiteY12850" fmla="*/ 1316462 h 6557032"/>
              <a:gd name="connsiteX12851" fmla="*/ 395412 w 4610101"/>
              <a:gd name="connsiteY12851" fmla="*/ 1340150 h 6557032"/>
              <a:gd name="connsiteX12852" fmla="*/ 422745 w 4610101"/>
              <a:gd name="connsiteY12852" fmla="*/ 1354728 h 6557032"/>
              <a:gd name="connsiteX12853" fmla="*/ 419100 w 4610101"/>
              <a:gd name="connsiteY12853" fmla="*/ 1351083 h 6557032"/>
              <a:gd name="connsiteX12854" fmla="*/ 437322 w 4610101"/>
              <a:gd name="connsiteY12854" fmla="*/ 1354728 h 6557032"/>
              <a:gd name="connsiteX12855" fmla="*/ 435500 w 4610101"/>
              <a:gd name="connsiteY12855" fmla="*/ 1351083 h 6557032"/>
              <a:gd name="connsiteX12856" fmla="*/ 459188 w 4610101"/>
              <a:gd name="connsiteY12856" fmla="*/ 1349261 h 6557032"/>
              <a:gd name="connsiteX12857" fmla="*/ 450077 w 4610101"/>
              <a:gd name="connsiteY12857" fmla="*/ 1341972 h 6557032"/>
              <a:gd name="connsiteX12858" fmla="*/ 440966 w 4610101"/>
              <a:gd name="connsiteY12858" fmla="*/ 1345617 h 6557032"/>
              <a:gd name="connsiteX12859" fmla="*/ 440966 w 4610101"/>
              <a:gd name="connsiteY12859" fmla="*/ 1327395 h 6557032"/>
              <a:gd name="connsiteX12860" fmla="*/ 433678 w 4610101"/>
              <a:gd name="connsiteY12860" fmla="*/ 1327395 h 6557032"/>
              <a:gd name="connsiteX12861" fmla="*/ 437322 w 4610101"/>
              <a:gd name="connsiteY12861" fmla="*/ 1323751 h 6557032"/>
              <a:gd name="connsiteX12862" fmla="*/ 437720 w 4610101"/>
              <a:gd name="connsiteY12862" fmla="*/ 1323433 h 6557032"/>
              <a:gd name="connsiteX12863" fmla="*/ 431855 w 4610101"/>
              <a:gd name="connsiteY12863" fmla="*/ 1321967 h 6557032"/>
              <a:gd name="connsiteX12864" fmla="*/ 437322 w 4610101"/>
              <a:gd name="connsiteY12864" fmla="*/ 1320143 h 6557032"/>
              <a:gd name="connsiteX12865" fmla="*/ 438610 w 4610101"/>
              <a:gd name="connsiteY12865" fmla="*/ 1322721 h 6557032"/>
              <a:gd name="connsiteX12866" fmla="*/ 446433 w 4610101"/>
              <a:gd name="connsiteY12866" fmla="*/ 1316462 h 6557032"/>
              <a:gd name="connsiteX12867" fmla="*/ 424567 w 4610101"/>
              <a:gd name="connsiteY12867" fmla="*/ 1314640 h 6557032"/>
              <a:gd name="connsiteX12868" fmla="*/ 433678 w 4610101"/>
              <a:gd name="connsiteY12868" fmla="*/ 1310995 h 6557032"/>
              <a:gd name="connsiteX12869" fmla="*/ 428497 w 4610101"/>
              <a:gd name="connsiteY12869" fmla="*/ 1308006 h 6557032"/>
              <a:gd name="connsiteX12870" fmla="*/ 1514228 w 4610101"/>
              <a:gd name="connsiteY12870" fmla="*/ 1307443 h 6557032"/>
              <a:gd name="connsiteX12871" fmla="*/ 1523339 w 4610101"/>
              <a:gd name="connsiteY12871" fmla="*/ 1323843 h 6557032"/>
              <a:gd name="connsiteX12872" fmla="*/ 1497827 w 4610101"/>
              <a:gd name="connsiteY12872" fmla="*/ 1322021 h 6557032"/>
              <a:gd name="connsiteX12873" fmla="*/ 1355881 w 4610101"/>
              <a:gd name="connsiteY12873" fmla="*/ 1307364 h 6557032"/>
              <a:gd name="connsiteX12874" fmla="*/ 1358887 w 4610101"/>
              <a:gd name="connsiteY12874" fmla="*/ 1307579 h 6557032"/>
              <a:gd name="connsiteX12875" fmla="*/ 1359342 w 4610101"/>
              <a:gd name="connsiteY12875" fmla="*/ 1309173 h 6557032"/>
              <a:gd name="connsiteX12876" fmla="*/ 1355885 w 4610101"/>
              <a:gd name="connsiteY12876" fmla="*/ 1307444 h 6557032"/>
              <a:gd name="connsiteX12877" fmla="*/ 3321824 w 4610101"/>
              <a:gd name="connsiteY12877" fmla="*/ 1307351 h 6557032"/>
              <a:gd name="connsiteX12878" fmla="*/ 3318179 w 4610101"/>
              <a:gd name="connsiteY12878" fmla="*/ 1309173 h 6557032"/>
              <a:gd name="connsiteX12879" fmla="*/ 3320001 w 4610101"/>
              <a:gd name="connsiteY12879" fmla="*/ 1316462 h 6557032"/>
              <a:gd name="connsiteX12880" fmla="*/ 3327290 w 4610101"/>
              <a:gd name="connsiteY12880" fmla="*/ 1312818 h 6557032"/>
              <a:gd name="connsiteX12881" fmla="*/ 3321824 w 4610101"/>
              <a:gd name="connsiteY12881" fmla="*/ 1307351 h 6557032"/>
              <a:gd name="connsiteX12882" fmla="*/ 3197916 w 4610101"/>
              <a:gd name="connsiteY12882" fmla="*/ 1307351 h 6557032"/>
              <a:gd name="connsiteX12883" fmla="*/ 3205204 w 4610101"/>
              <a:gd name="connsiteY12883" fmla="*/ 1314640 h 6557032"/>
              <a:gd name="connsiteX12884" fmla="*/ 3197916 w 4610101"/>
              <a:gd name="connsiteY12884" fmla="*/ 1307351 h 6557032"/>
              <a:gd name="connsiteX12885" fmla="*/ 1907816 w 4610101"/>
              <a:gd name="connsiteY12885" fmla="*/ 1307351 h 6557032"/>
              <a:gd name="connsiteX12886" fmla="*/ 1904172 w 4610101"/>
              <a:gd name="connsiteY12886" fmla="*/ 1309780 h 6557032"/>
              <a:gd name="connsiteX12887" fmla="*/ 1902350 w 4610101"/>
              <a:gd name="connsiteY12887" fmla="*/ 1309173 h 6557032"/>
              <a:gd name="connsiteX12888" fmla="*/ 1902350 w 4610101"/>
              <a:gd name="connsiteY12888" fmla="*/ 1310995 h 6557032"/>
              <a:gd name="connsiteX12889" fmla="*/ 1904172 w 4610101"/>
              <a:gd name="connsiteY12889" fmla="*/ 1309780 h 6557032"/>
              <a:gd name="connsiteX12890" fmla="*/ 1907816 w 4610101"/>
              <a:gd name="connsiteY12890" fmla="*/ 1310995 h 6557032"/>
              <a:gd name="connsiteX12891" fmla="*/ 1907816 w 4610101"/>
              <a:gd name="connsiteY12891" fmla="*/ 1307351 h 6557032"/>
              <a:gd name="connsiteX12892" fmla="*/ 1153436 w 4610101"/>
              <a:gd name="connsiteY12892" fmla="*/ 1307351 h 6557032"/>
              <a:gd name="connsiteX12893" fmla="*/ 1157081 w 4610101"/>
              <a:gd name="connsiteY12893" fmla="*/ 1310995 h 6557032"/>
              <a:gd name="connsiteX12894" fmla="*/ 1153436 w 4610101"/>
              <a:gd name="connsiteY12894" fmla="*/ 1307351 h 6557032"/>
              <a:gd name="connsiteX12895" fmla="*/ 1056861 w 4610101"/>
              <a:gd name="connsiteY12895" fmla="*/ 1307351 h 6557032"/>
              <a:gd name="connsiteX12896" fmla="*/ 1089660 w 4610101"/>
              <a:gd name="connsiteY12896" fmla="*/ 1347439 h 6557032"/>
              <a:gd name="connsiteX12897" fmla="*/ 1086016 w 4610101"/>
              <a:gd name="connsiteY12897" fmla="*/ 1331039 h 6557032"/>
              <a:gd name="connsiteX12898" fmla="*/ 1089660 w 4610101"/>
              <a:gd name="connsiteY12898" fmla="*/ 1332862 h 6557032"/>
              <a:gd name="connsiteX12899" fmla="*/ 1102416 w 4610101"/>
              <a:gd name="connsiteY12899" fmla="*/ 1343795 h 6557032"/>
              <a:gd name="connsiteX12900" fmla="*/ 1091484 w 4610101"/>
              <a:gd name="connsiteY12900" fmla="*/ 1327395 h 6557032"/>
              <a:gd name="connsiteX12901" fmla="*/ 1093305 w 4610101"/>
              <a:gd name="connsiteY12901" fmla="*/ 1327395 h 6557032"/>
              <a:gd name="connsiteX12902" fmla="*/ 1091484 w 4610101"/>
              <a:gd name="connsiteY12902" fmla="*/ 1323751 h 6557032"/>
              <a:gd name="connsiteX12903" fmla="*/ 1089660 w 4610101"/>
              <a:gd name="connsiteY12903" fmla="*/ 1332862 h 6557032"/>
              <a:gd name="connsiteX12904" fmla="*/ 1056861 w 4610101"/>
              <a:gd name="connsiteY12904" fmla="*/ 1307351 h 6557032"/>
              <a:gd name="connsiteX12905" fmla="*/ 716115 w 4610101"/>
              <a:gd name="connsiteY12905" fmla="*/ 1307351 h 6557032"/>
              <a:gd name="connsiteX12906" fmla="*/ 710648 w 4610101"/>
              <a:gd name="connsiteY12906" fmla="*/ 1332862 h 6557032"/>
              <a:gd name="connsiteX12907" fmla="*/ 723404 w 4610101"/>
              <a:gd name="connsiteY12907" fmla="*/ 1314640 h 6557032"/>
              <a:gd name="connsiteX12908" fmla="*/ 716115 w 4610101"/>
              <a:gd name="connsiteY12908" fmla="*/ 1307351 h 6557032"/>
              <a:gd name="connsiteX12909" fmla="*/ 626828 w 4610101"/>
              <a:gd name="connsiteY12909" fmla="*/ 1307351 h 6557032"/>
              <a:gd name="connsiteX12910" fmla="*/ 630472 w 4610101"/>
              <a:gd name="connsiteY12910" fmla="*/ 1320106 h 6557032"/>
              <a:gd name="connsiteX12911" fmla="*/ 629789 w 4610101"/>
              <a:gd name="connsiteY12911" fmla="*/ 1315551 h 6557032"/>
              <a:gd name="connsiteX12912" fmla="*/ 630472 w 4610101"/>
              <a:gd name="connsiteY12912" fmla="*/ 1310995 h 6557032"/>
              <a:gd name="connsiteX12913" fmla="*/ 630473 w 4610101"/>
              <a:gd name="connsiteY12913" fmla="*/ 1310995 h 6557032"/>
              <a:gd name="connsiteX12914" fmla="*/ 634117 w 4610101"/>
              <a:gd name="connsiteY12914" fmla="*/ 1316462 h 6557032"/>
              <a:gd name="connsiteX12915" fmla="*/ 635939 w 4610101"/>
              <a:gd name="connsiteY12915" fmla="*/ 1318284 h 6557032"/>
              <a:gd name="connsiteX12916" fmla="*/ 634117 w 4610101"/>
              <a:gd name="connsiteY12916" fmla="*/ 1314640 h 6557032"/>
              <a:gd name="connsiteX12917" fmla="*/ 639583 w 4610101"/>
              <a:gd name="connsiteY12917" fmla="*/ 1320106 h 6557032"/>
              <a:gd name="connsiteX12918" fmla="*/ 630473 w 4610101"/>
              <a:gd name="connsiteY12918" fmla="*/ 1310995 h 6557032"/>
              <a:gd name="connsiteX12919" fmla="*/ 630472 w 4610101"/>
              <a:gd name="connsiteY12919" fmla="*/ 1310995 h 6557032"/>
              <a:gd name="connsiteX12920" fmla="*/ 630472 w 4610101"/>
              <a:gd name="connsiteY12920" fmla="*/ 1310995 h 6557032"/>
              <a:gd name="connsiteX12921" fmla="*/ 488343 w 4610101"/>
              <a:gd name="connsiteY12921" fmla="*/ 1307351 h 6557032"/>
              <a:gd name="connsiteX12922" fmla="*/ 493809 w 4610101"/>
              <a:gd name="connsiteY12922" fmla="*/ 1312818 h 6557032"/>
              <a:gd name="connsiteX12923" fmla="*/ 490165 w 4610101"/>
              <a:gd name="connsiteY12923" fmla="*/ 1307351 h 6557032"/>
              <a:gd name="connsiteX12924" fmla="*/ 488343 w 4610101"/>
              <a:gd name="connsiteY12924" fmla="*/ 1307351 h 6557032"/>
              <a:gd name="connsiteX12925" fmla="*/ 304303 w 4610101"/>
              <a:gd name="connsiteY12925" fmla="*/ 1307351 h 6557032"/>
              <a:gd name="connsiteX12926" fmla="*/ 293370 w 4610101"/>
              <a:gd name="connsiteY12926" fmla="*/ 1318284 h 6557032"/>
              <a:gd name="connsiteX12927" fmla="*/ 298661 w 4610101"/>
              <a:gd name="connsiteY12927" fmla="*/ 1320047 h 6557032"/>
              <a:gd name="connsiteX12928" fmla="*/ 298382 w 4610101"/>
              <a:gd name="connsiteY12928" fmla="*/ 1320675 h 6557032"/>
              <a:gd name="connsiteX12929" fmla="*/ 297926 w 4610101"/>
              <a:gd name="connsiteY12929" fmla="*/ 1321245 h 6557032"/>
              <a:gd name="connsiteX12930" fmla="*/ 297015 w 4610101"/>
              <a:gd name="connsiteY12930" fmla="*/ 1323751 h 6557032"/>
              <a:gd name="connsiteX12931" fmla="*/ 298382 w 4610101"/>
              <a:gd name="connsiteY12931" fmla="*/ 1320675 h 6557032"/>
              <a:gd name="connsiteX12932" fmla="*/ 298837 w 4610101"/>
              <a:gd name="connsiteY12932" fmla="*/ 1320106 h 6557032"/>
              <a:gd name="connsiteX12933" fmla="*/ 298661 w 4610101"/>
              <a:gd name="connsiteY12933" fmla="*/ 1320047 h 6557032"/>
              <a:gd name="connsiteX12934" fmla="*/ 375539 w 4610101"/>
              <a:gd name="connsiteY12934" fmla="*/ 1306326 h 6557032"/>
              <a:gd name="connsiteX12935" fmla="*/ 353502 w 4610101"/>
              <a:gd name="connsiteY12935" fmla="*/ 1323751 h 6557032"/>
              <a:gd name="connsiteX12936" fmla="*/ 380835 w 4610101"/>
              <a:gd name="connsiteY12936" fmla="*/ 1336506 h 6557032"/>
              <a:gd name="connsiteX12937" fmla="*/ 369902 w 4610101"/>
              <a:gd name="connsiteY12937" fmla="*/ 1323751 h 6557032"/>
              <a:gd name="connsiteX12938" fmla="*/ 375368 w 4610101"/>
              <a:gd name="connsiteY12938" fmla="*/ 1321929 h 6557032"/>
              <a:gd name="connsiteX12939" fmla="*/ 368079 w 4610101"/>
              <a:gd name="connsiteY12939" fmla="*/ 1312818 h 6557032"/>
              <a:gd name="connsiteX12940" fmla="*/ 379012 w 4610101"/>
              <a:gd name="connsiteY12940" fmla="*/ 1321929 h 6557032"/>
              <a:gd name="connsiteX12941" fmla="*/ 382657 w 4610101"/>
              <a:gd name="connsiteY12941" fmla="*/ 1316462 h 6557032"/>
              <a:gd name="connsiteX12942" fmla="*/ 377190 w 4610101"/>
              <a:gd name="connsiteY12942" fmla="*/ 1316462 h 6557032"/>
              <a:gd name="connsiteX12943" fmla="*/ 386301 w 4610101"/>
              <a:gd name="connsiteY12943" fmla="*/ 1312818 h 6557032"/>
              <a:gd name="connsiteX12944" fmla="*/ 375539 w 4610101"/>
              <a:gd name="connsiteY12944" fmla="*/ 1306326 h 6557032"/>
              <a:gd name="connsiteX12945" fmla="*/ 3159650 w 4610101"/>
              <a:gd name="connsiteY12945" fmla="*/ 1305529 h 6557032"/>
              <a:gd name="connsiteX12946" fmla="*/ 3156006 w 4610101"/>
              <a:gd name="connsiteY12946" fmla="*/ 1310995 h 6557032"/>
              <a:gd name="connsiteX12947" fmla="*/ 3157828 w 4610101"/>
              <a:gd name="connsiteY12947" fmla="*/ 1316462 h 6557032"/>
              <a:gd name="connsiteX12948" fmla="*/ 3150539 w 4610101"/>
              <a:gd name="connsiteY12948" fmla="*/ 1316462 h 6557032"/>
              <a:gd name="connsiteX12949" fmla="*/ 3161472 w 4610101"/>
              <a:gd name="connsiteY12949" fmla="*/ 1318284 h 6557032"/>
              <a:gd name="connsiteX12950" fmla="*/ 3156006 w 4610101"/>
              <a:gd name="connsiteY12950" fmla="*/ 1310995 h 6557032"/>
              <a:gd name="connsiteX12951" fmla="*/ 3157828 w 4610101"/>
              <a:gd name="connsiteY12951" fmla="*/ 1309173 h 6557032"/>
              <a:gd name="connsiteX12952" fmla="*/ 3159650 w 4610101"/>
              <a:gd name="connsiteY12952" fmla="*/ 1310995 h 6557032"/>
              <a:gd name="connsiteX12953" fmla="*/ 3159650 w 4610101"/>
              <a:gd name="connsiteY12953" fmla="*/ 1305529 h 6557032"/>
              <a:gd name="connsiteX12954" fmla="*/ 3117740 w 4610101"/>
              <a:gd name="connsiteY12954" fmla="*/ 1305529 h 6557032"/>
              <a:gd name="connsiteX12955" fmla="*/ 3114096 w 4610101"/>
              <a:gd name="connsiteY12955" fmla="*/ 1312818 h 6557032"/>
              <a:gd name="connsiteX12956" fmla="*/ 3119562 w 4610101"/>
              <a:gd name="connsiteY12956" fmla="*/ 1312818 h 6557032"/>
              <a:gd name="connsiteX12957" fmla="*/ 3117740 w 4610101"/>
              <a:gd name="connsiteY12957" fmla="*/ 1305529 h 6557032"/>
              <a:gd name="connsiteX12958" fmla="*/ 1935149 w 4610101"/>
              <a:gd name="connsiteY12958" fmla="*/ 1305529 h 6557032"/>
              <a:gd name="connsiteX12959" fmla="*/ 1933327 w 4610101"/>
              <a:gd name="connsiteY12959" fmla="*/ 1310995 h 6557032"/>
              <a:gd name="connsiteX12960" fmla="*/ 1935149 w 4610101"/>
              <a:gd name="connsiteY12960" fmla="*/ 1305529 h 6557032"/>
              <a:gd name="connsiteX12961" fmla="*/ 1164370 w 4610101"/>
              <a:gd name="connsiteY12961" fmla="*/ 1305529 h 6557032"/>
              <a:gd name="connsiteX12962" fmla="*/ 1162547 w 4610101"/>
              <a:gd name="connsiteY12962" fmla="*/ 1307351 h 6557032"/>
              <a:gd name="connsiteX12963" fmla="*/ 1169836 w 4610101"/>
              <a:gd name="connsiteY12963" fmla="*/ 1312818 h 6557032"/>
              <a:gd name="connsiteX12964" fmla="*/ 1164370 w 4610101"/>
              <a:gd name="connsiteY12964" fmla="*/ 1305529 h 6557032"/>
              <a:gd name="connsiteX12965" fmla="*/ 861889 w 4610101"/>
              <a:gd name="connsiteY12965" fmla="*/ 1305529 h 6557032"/>
              <a:gd name="connsiteX12966" fmla="*/ 850956 w 4610101"/>
              <a:gd name="connsiteY12966" fmla="*/ 1318284 h 6557032"/>
              <a:gd name="connsiteX12967" fmla="*/ 852778 w 4610101"/>
              <a:gd name="connsiteY12967" fmla="*/ 1321929 h 6557032"/>
              <a:gd name="connsiteX12968" fmla="*/ 854600 w 4610101"/>
              <a:gd name="connsiteY12968" fmla="*/ 1314640 h 6557032"/>
              <a:gd name="connsiteX12969" fmla="*/ 858244 w 4610101"/>
              <a:gd name="connsiteY12969" fmla="*/ 1325573 h 6557032"/>
              <a:gd name="connsiteX12970" fmla="*/ 863711 w 4610101"/>
              <a:gd name="connsiteY12970" fmla="*/ 1321929 h 6557032"/>
              <a:gd name="connsiteX12971" fmla="*/ 872822 w 4610101"/>
              <a:gd name="connsiteY12971" fmla="*/ 1312818 h 6557032"/>
              <a:gd name="connsiteX12972" fmla="*/ 863711 w 4610101"/>
              <a:gd name="connsiteY12972" fmla="*/ 1318284 h 6557032"/>
              <a:gd name="connsiteX12973" fmla="*/ 861889 w 4610101"/>
              <a:gd name="connsiteY12973" fmla="*/ 1305529 h 6557032"/>
              <a:gd name="connsiteX12974" fmla="*/ 752558 w 4610101"/>
              <a:gd name="connsiteY12974" fmla="*/ 1305529 h 6557032"/>
              <a:gd name="connsiteX12975" fmla="*/ 745269 w 4610101"/>
              <a:gd name="connsiteY12975" fmla="*/ 1309173 h 6557032"/>
              <a:gd name="connsiteX12976" fmla="*/ 752558 w 4610101"/>
              <a:gd name="connsiteY12976" fmla="*/ 1305529 h 6557032"/>
              <a:gd name="connsiteX12977" fmla="*/ 446433 w 4610101"/>
              <a:gd name="connsiteY12977" fmla="*/ 1305529 h 6557032"/>
              <a:gd name="connsiteX12978" fmla="*/ 440966 w 4610101"/>
              <a:gd name="connsiteY12978" fmla="*/ 1309173 h 6557032"/>
              <a:gd name="connsiteX12979" fmla="*/ 448256 w 4610101"/>
              <a:gd name="connsiteY12979" fmla="*/ 1309173 h 6557032"/>
              <a:gd name="connsiteX12980" fmla="*/ 446433 w 4610101"/>
              <a:gd name="connsiteY12980" fmla="*/ 1305529 h 6557032"/>
              <a:gd name="connsiteX12981" fmla="*/ 315236 w 4610101"/>
              <a:gd name="connsiteY12981" fmla="*/ 1305529 h 6557032"/>
              <a:gd name="connsiteX12982" fmla="*/ 302481 w 4610101"/>
              <a:gd name="connsiteY12982" fmla="*/ 1316462 h 6557032"/>
              <a:gd name="connsiteX12983" fmla="*/ 315236 w 4610101"/>
              <a:gd name="connsiteY12983" fmla="*/ 1305529 h 6557032"/>
              <a:gd name="connsiteX12984" fmla="*/ 207956 w 4610101"/>
              <a:gd name="connsiteY12984" fmla="*/ 1304846 h 6557032"/>
              <a:gd name="connsiteX12985" fmla="*/ 205906 w 4610101"/>
              <a:gd name="connsiteY12985" fmla="*/ 1305529 h 6557032"/>
              <a:gd name="connsiteX12986" fmla="*/ 211372 w 4610101"/>
              <a:gd name="connsiteY12986" fmla="*/ 1305529 h 6557032"/>
              <a:gd name="connsiteX12987" fmla="*/ 207956 w 4610101"/>
              <a:gd name="connsiteY12987" fmla="*/ 1304846 h 6557032"/>
              <a:gd name="connsiteX12988" fmla="*/ 3273081 w 4610101"/>
              <a:gd name="connsiteY12988" fmla="*/ 1304618 h 6557032"/>
              <a:gd name="connsiteX12989" fmla="*/ 3265336 w 4610101"/>
              <a:gd name="connsiteY12989" fmla="*/ 1305529 h 6557032"/>
              <a:gd name="connsiteX12990" fmla="*/ 3267614 w 4610101"/>
              <a:gd name="connsiteY12990" fmla="*/ 1308718 h 6557032"/>
              <a:gd name="connsiteX12991" fmla="*/ 3267327 w 4610101"/>
              <a:gd name="connsiteY12991" fmla="*/ 1312450 h 6557032"/>
              <a:gd name="connsiteX12992" fmla="*/ 3266931 w 4610101"/>
              <a:gd name="connsiteY12992" fmla="*/ 1312362 h 6557032"/>
              <a:gd name="connsiteX12993" fmla="*/ 3263514 w 4610101"/>
              <a:gd name="connsiteY12993" fmla="*/ 1314640 h 6557032"/>
              <a:gd name="connsiteX12994" fmla="*/ 3268980 w 4610101"/>
              <a:gd name="connsiteY12994" fmla="*/ 1316462 h 6557032"/>
              <a:gd name="connsiteX12995" fmla="*/ 3267986 w 4610101"/>
              <a:gd name="connsiteY12995" fmla="*/ 1314640 h 6557032"/>
              <a:gd name="connsiteX12996" fmla="*/ 3274447 w 4610101"/>
              <a:gd name="connsiteY12996" fmla="*/ 1314640 h 6557032"/>
              <a:gd name="connsiteX12997" fmla="*/ 3268980 w 4610101"/>
              <a:gd name="connsiteY12997" fmla="*/ 1329217 h 6557032"/>
              <a:gd name="connsiteX12998" fmla="*/ 3268980 w 4610101"/>
              <a:gd name="connsiteY12998" fmla="*/ 1321929 h 6557032"/>
              <a:gd name="connsiteX12999" fmla="*/ 3267158 w 4610101"/>
              <a:gd name="connsiteY12999" fmla="*/ 1325573 h 6557032"/>
              <a:gd name="connsiteX13000" fmla="*/ 3265336 w 4610101"/>
              <a:gd name="connsiteY13000" fmla="*/ 1321929 h 6557032"/>
              <a:gd name="connsiteX13001" fmla="*/ 3267158 w 4610101"/>
              <a:gd name="connsiteY13001" fmla="*/ 1338328 h 6557032"/>
              <a:gd name="connsiteX13002" fmla="*/ 3259869 w 4610101"/>
              <a:gd name="connsiteY13002" fmla="*/ 1331039 h 6557032"/>
              <a:gd name="connsiteX13003" fmla="*/ 3256225 w 4610101"/>
              <a:gd name="connsiteY13003" fmla="*/ 1345617 h 6557032"/>
              <a:gd name="connsiteX13004" fmla="*/ 3254403 w 4610101"/>
              <a:gd name="connsiteY13004" fmla="*/ 1331039 h 6557032"/>
              <a:gd name="connsiteX13005" fmla="*/ 3248937 w 4610101"/>
              <a:gd name="connsiteY13005" fmla="*/ 1327395 h 6557032"/>
              <a:gd name="connsiteX13006" fmla="*/ 3259869 w 4610101"/>
              <a:gd name="connsiteY13006" fmla="*/ 1360194 h 6557032"/>
              <a:gd name="connsiteX13007" fmla="*/ 3261692 w 4610101"/>
              <a:gd name="connsiteY13007" fmla="*/ 1347439 h 6557032"/>
              <a:gd name="connsiteX13008" fmla="*/ 3263514 w 4610101"/>
              <a:gd name="connsiteY13008" fmla="*/ 1347439 h 6557032"/>
              <a:gd name="connsiteX13009" fmla="*/ 3263514 w 4610101"/>
              <a:gd name="connsiteY13009" fmla="*/ 1358372 h 6557032"/>
              <a:gd name="connsiteX13010" fmla="*/ 3279913 w 4610101"/>
              <a:gd name="connsiteY13010" fmla="*/ 1354728 h 6557032"/>
              <a:gd name="connsiteX13011" fmla="*/ 3267158 w 4610101"/>
              <a:gd name="connsiteY13011" fmla="*/ 1351083 h 6557032"/>
              <a:gd name="connsiteX13012" fmla="*/ 3289024 w 4610101"/>
              <a:gd name="connsiteY13012" fmla="*/ 1329217 h 6557032"/>
              <a:gd name="connsiteX13013" fmla="*/ 3290847 w 4610101"/>
              <a:gd name="connsiteY13013" fmla="*/ 1331039 h 6557032"/>
              <a:gd name="connsiteX13014" fmla="*/ 3307246 w 4610101"/>
              <a:gd name="connsiteY13014" fmla="*/ 1321929 h 6557032"/>
              <a:gd name="connsiteX13015" fmla="*/ 3305424 w 4610101"/>
              <a:gd name="connsiteY13015" fmla="*/ 1310995 h 6557032"/>
              <a:gd name="connsiteX13016" fmla="*/ 3292669 w 4610101"/>
              <a:gd name="connsiteY13016" fmla="*/ 1309173 h 6557032"/>
              <a:gd name="connsiteX13017" fmla="*/ 3292669 w 4610101"/>
              <a:gd name="connsiteY13017" fmla="*/ 1316462 h 6557032"/>
              <a:gd name="connsiteX13018" fmla="*/ 3290847 w 4610101"/>
              <a:gd name="connsiteY13018" fmla="*/ 1310995 h 6557032"/>
              <a:gd name="connsiteX13019" fmla="*/ 3287202 w 4610101"/>
              <a:gd name="connsiteY13019" fmla="*/ 1312818 h 6557032"/>
              <a:gd name="connsiteX13020" fmla="*/ 3283558 w 4610101"/>
              <a:gd name="connsiteY13020" fmla="*/ 1305529 h 6557032"/>
              <a:gd name="connsiteX13021" fmla="*/ 3278091 w 4610101"/>
              <a:gd name="connsiteY13021" fmla="*/ 1309173 h 6557032"/>
              <a:gd name="connsiteX13022" fmla="*/ 3273081 w 4610101"/>
              <a:gd name="connsiteY13022" fmla="*/ 1304618 h 6557032"/>
              <a:gd name="connsiteX13023" fmla="*/ 408531 w 4610101"/>
              <a:gd name="connsiteY13023" fmla="*/ 1304436 h 6557032"/>
              <a:gd name="connsiteX13024" fmla="*/ 411812 w 4610101"/>
              <a:gd name="connsiteY13024" fmla="*/ 1305529 h 6557032"/>
              <a:gd name="connsiteX13025" fmla="*/ 408622 w 4610101"/>
              <a:gd name="connsiteY13025" fmla="*/ 1305073 h 6557032"/>
              <a:gd name="connsiteX13026" fmla="*/ 723233 w 4610101"/>
              <a:gd name="connsiteY13026" fmla="*/ 1303877 h 6557032"/>
              <a:gd name="connsiteX13027" fmla="*/ 717937 w 4610101"/>
              <a:gd name="connsiteY13027" fmla="*/ 1307351 h 6557032"/>
              <a:gd name="connsiteX13028" fmla="*/ 721581 w 4610101"/>
              <a:gd name="connsiteY13028" fmla="*/ 1309173 h 6557032"/>
              <a:gd name="connsiteX13029" fmla="*/ 728870 w 4610101"/>
              <a:gd name="connsiteY13029" fmla="*/ 1314640 h 6557032"/>
              <a:gd name="connsiteX13030" fmla="*/ 728870 w 4610101"/>
              <a:gd name="connsiteY13030" fmla="*/ 1305529 h 6557032"/>
              <a:gd name="connsiteX13031" fmla="*/ 723233 w 4610101"/>
              <a:gd name="connsiteY13031" fmla="*/ 1303877 h 6557032"/>
              <a:gd name="connsiteX13032" fmla="*/ 3141428 w 4610101"/>
              <a:gd name="connsiteY13032" fmla="*/ 1303707 h 6557032"/>
              <a:gd name="connsiteX13033" fmla="*/ 3139606 w 4610101"/>
              <a:gd name="connsiteY13033" fmla="*/ 1310995 h 6557032"/>
              <a:gd name="connsiteX13034" fmla="*/ 3148717 w 4610101"/>
              <a:gd name="connsiteY13034" fmla="*/ 1309173 h 6557032"/>
              <a:gd name="connsiteX13035" fmla="*/ 3148717 w 4610101"/>
              <a:gd name="connsiteY13035" fmla="*/ 1305529 h 6557032"/>
              <a:gd name="connsiteX13036" fmla="*/ 3141428 w 4610101"/>
              <a:gd name="connsiteY13036" fmla="*/ 1303707 h 6557032"/>
              <a:gd name="connsiteX13037" fmla="*/ 1364809 w 4610101"/>
              <a:gd name="connsiteY13037" fmla="*/ 1303707 h 6557032"/>
              <a:gd name="connsiteX13038" fmla="*/ 1364809 w 4610101"/>
              <a:gd name="connsiteY13038" fmla="*/ 1307351 h 6557032"/>
              <a:gd name="connsiteX13039" fmla="*/ 1359342 w 4610101"/>
              <a:gd name="connsiteY13039" fmla="*/ 1305529 h 6557032"/>
              <a:gd name="connsiteX13040" fmla="*/ 1364809 w 4610101"/>
              <a:gd name="connsiteY13040" fmla="*/ 1303707 h 6557032"/>
              <a:gd name="connsiteX13041" fmla="*/ 1151614 w 4610101"/>
              <a:gd name="connsiteY13041" fmla="*/ 1303707 h 6557032"/>
              <a:gd name="connsiteX13042" fmla="*/ 1149792 w 4610101"/>
              <a:gd name="connsiteY13042" fmla="*/ 1320106 h 6557032"/>
              <a:gd name="connsiteX13043" fmla="*/ 1157081 w 4610101"/>
              <a:gd name="connsiteY13043" fmla="*/ 1310995 h 6557032"/>
              <a:gd name="connsiteX13044" fmla="*/ 1158903 w 4610101"/>
              <a:gd name="connsiteY13044" fmla="*/ 1305529 h 6557032"/>
              <a:gd name="connsiteX13045" fmla="*/ 1151614 w 4610101"/>
              <a:gd name="connsiteY13045" fmla="*/ 1303707 h 6557032"/>
              <a:gd name="connsiteX13046" fmla="*/ 809046 w 4610101"/>
              <a:gd name="connsiteY13046" fmla="*/ 1303707 h 6557032"/>
              <a:gd name="connsiteX13047" fmla="*/ 812690 w 4610101"/>
              <a:gd name="connsiteY13047" fmla="*/ 1305529 h 6557032"/>
              <a:gd name="connsiteX13048" fmla="*/ 809046 w 4610101"/>
              <a:gd name="connsiteY13048" fmla="*/ 1303707 h 6557032"/>
              <a:gd name="connsiteX13049" fmla="*/ 575808 w 4610101"/>
              <a:gd name="connsiteY13049" fmla="*/ 1303707 h 6557032"/>
              <a:gd name="connsiteX13050" fmla="*/ 579452 w 4610101"/>
              <a:gd name="connsiteY13050" fmla="*/ 1305529 h 6557032"/>
              <a:gd name="connsiteX13051" fmla="*/ 575808 w 4610101"/>
              <a:gd name="connsiteY13051" fmla="*/ 1303707 h 6557032"/>
              <a:gd name="connsiteX13052" fmla="*/ 510209 w 4610101"/>
              <a:gd name="connsiteY13052" fmla="*/ 1303707 h 6557032"/>
              <a:gd name="connsiteX13053" fmla="*/ 499276 w 4610101"/>
              <a:gd name="connsiteY13053" fmla="*/ 1310995 h 6557032"/>
              <a:gd name="connsiteX13054" fmla="*/ 504743 w 4610101"/>
              <a:gd name="connsiteY13054" fmla="*/ 1316462 h 6557032"/>
              <a:gd name="connsiteX13055" fmla="*/ 510209 w 4610101"/>
              <a:gd name="connsiteY13055" fmla="*/ 1303707 h 6557032"/>
              <a:gd name="connsiteX13056" fmla="*/ 362613 w 4610101"/>
              <a:gd name="connsiteY13056" fmla="*/ 1303707 h 6557032"/>
              <a:gd name="connsiteX13057" fmla="*/ 358969 w 4610101"/>
              <a:gd name="connsiteY13057" fmla="*/ 1312818 h 6557032"/>
              <a:gd name="connsiteX13058" fmla="*/ 364435 w 4610101"/>
              <a:gd name="connsiteY13058" fmla="*/ 1309173 h 6557032"/>
              <a:gd name="connsiteX13059" fmla="*/ 362613 w 4610101"/>
              <a:gd name="connsiteY13059" fmla="*/ 1303707 h 6557032"/>
              <a:gd name="connsiteX13060" fmla="*/ 302481 w 4610101"/>
              <a:gd name="connsiteY13060" fmla="*/ 1303707 h 6557032"/>
              <a:gd name="connsiteX13061" fmla="*/ 297015 w 4610101"/>
              <a:gd name="connsiteY13061" fmla="*/ 1309173 h 6557032"/>
              <a:gd name="connsiteX13062" fmla="*/ 302481 w 4610101"/>
              <a:gd name="connsiteY13062" fmla="*/ 1303707 h 6557032"/>
              <a:gd name="connsiteX13063" fmla="*/ 454405 w 4610101"/>
              <a:gd name="connsiteY13063" fmla="*/ 1303479 h 6557032"/>
              <a:gd name="connsiteX13064" fmla="*/ 448256 w 4610101"/>
              <a:gd name="connsiteY13064" fmla="*/ 1305529 h 6557032"/>
              <a:gd name="connsiteX13065" fmla="*/ 459188 w 4610101"/>
              <a:gd name="connsiteY13065" fmla="*/ 1305529 h 6557032"/>
              <a:gd name="connsiteX13066" fmla="*/ 454405 w 4610101"/>
              <a:gd name="connsiteY13066" fmla="*/ 1303479 h 6557032"/>
              <a:gd name="connsiteX13067" fmla="*/ 408332 w 4610101"/>
              <a:gd name="connsiteY13067" fmla="*/ 1303044 h 6557032"/>
              <a:gd name="connsiteX13068" fmla="*/ 408531 w 4610101"/>
              <a:gd name="connsiteY13068" fmla="*/ 1304436 h 6557032"/>
              <a:gd name="connsiteX13069" fmla="*/ 406345 w 4610101"/>
              <a:gd name="connsiteY13069" fmla="*/ 1303707 h 6557032"/>
              <a:gd name="connsiteX13070" fmla="*/ 1763865 w 4610101"/>
              <a:gd name="connsiteY13070" fmla="*/ 1301952 h 6557032"/>
              <a:gd name="connsiteX13071" fmla="*/ 1763865 w 4610101"/>
              <a:gd name="connsiteY13071" fmla="*/ 1316529 h 6557032"/>
              <a:gd name="connsiteX13072" fmla="*/ 1749287 w 4610101"/>
              <a:gd name="connsiteY13072" fmla="*/ 1316529 h 6557032"/>
              <a:gd name="connsiteX13073" fmla="*/ 3356445 w 4610101"/>
              <a:gd name="connsiteY13073" fmla="*/ 1301885 h 6557032"/>
              <a:gd name="connsiteX13074" fmla="*/ 3347334 w 4610101"/>
              <a:gd name="connsiteY13074" fmla="*/ 1305529 h 6557032"/>
              <a:gd name="connsiteX13075" fmla="*/ 3352800 w 4610101"/>
              <a:gd name="connsiteY13075" fmla="*/ 1309173 h 6557032"/>
              <a:gd name="connsiteX13076" fmla="*/ 3356445 w 4610101"/>
              <a:gd name="connsiteY13076" fmla="*/ 1301885 h 6557032"/>
              <a:gd name="connsiteX13077" fmla="*/ 3314535 w 4610101"/>
              <a:gd name="connsiteY13077" fmla="*/ 1301885 h 6557032"/>
              <a:gd name="connsiteX13078" fmla="*/ 3309068 w 4610101"/>
              <a:gd name="connsiteY13078" fmla="*/ 1303707 h 6557032"/>
              <a:gd name="connsiteX13079" fmla="*/ 3312713 w 4610101"/>
              <a:gd name="connsiteY13079" fmla="*/ 1309173 h 6557032"/>
              <a:gd name="connsiteX13080" fmla="*/ 3314535 w 4610101"/>
              <a:gd name="connsiteY13080" fmla="*/ 1301885 h 6557032"/>
              <a:gd name="connsiteX13081" fmla="*/ 2966500 w 4610101"/>
              <a:gd name="connsiteY13081" fmla="*/ 1301885 h 6557032"/>
              <a:gd name="connsiteX13082" fmla="*/ 2942811 w 4610101"/>
              <a:gd name="connsiteY13082" fmla="*/ 1314640 h 6557032"/>
              <a:gd name="connsiteX13083" fmla="*/ 2933700 w 4610101"/>
              <a:gd name="connsiteY13083" fmla="*/ 1320106 h 6557032"/>
              <a:gd name="connsiteX13084" fmla="*/ 2940989 w 4610101"/>
              <a:gd name="connsiteY13084" fmla="*/ 1316462 h 6557032"/>
              <a:gd name="connsiteX13085" fmla="*/ 2942811 w 4610101"/>
              <a:gd name="connsiteY13085" fmla="*/ 1320106 h 6557032"/>
              <a:gd name="connsiteX13086" fmla="*/ 2942811 w 4610101"/>
              <a:gd name="connsiteY13086" fmla="*/ 1314640 h 6557032"/>
              <a:gd name="connsiteX13087" fmla="*/ 2944634 w 4610101"/>
              <a:gd name="connsiteY13087" fmla="*/ 1327395 h 6557032"/>
              <a:gd name="connsiteX13088" fmla="*/ 2944634 w 4610101"/>
              <a:gd name="connsiteY13088" fmla="*/ 1329217 h 6557032"/>
              <a:gd name="connsiteX13089" fmla="*/ 2957389 w 4610101"/>
              <a:gd name="connsiteY13089" fmla="*/ 1332862 h 6557032"/>
              <a:gd name="connsiteX13090" fmla="*/ 2957389 w 4610101"/>
              <a:gd name="connsiteY13090" fmla="*/ 1327395 h 6557032"/>
              <a:gd name="connsiteX13091" fmla="*/ 2957389 w 4610101"/>
              <a:gd name="connsiteY13091" fmla="*/ 1334684 h 6557032"/>
              <a:gd name="connsiteX13092" fmla="*/ 2962855 w 4610101"/>
              <a:gd name="connsiteY13092" fmla="*/ 1341972 h 6557032"/>
              <a:gd name="connsiteX13093" fmla="*/ 2975610 w 4610101"/>
              <a:gd name="connsiteY13093" fmla="*/ 1341972 h 6557032"/>
              <a:gd name="connsiteX13094" fmla="*/ 2979255 w 4610101"/>
              <a:gd name="connsiteY13094" fmla="*/ 1331039 h 6557032"/>
              <a:gd name="connsiteX13095" fmla="*/ 2971966 w 4610101"/>
              <a:gd name="connsiteY13095" fmla="*/ 1329217 h 6557032"/>
              <a:gd name="connsiteX13096" fmla="*/ 2971966 w 4610101"/>
              <a:gd name="connsiteY13096" fmla="*/ 1305529 h 6557032"/>
              <a:gd name="connsiteX13097" fmla="*/ 2966500 w 4610101"/>
              <a:gd name="connsiteY13097" fmla="*/ 1301885 h 6557032"/>
              <a:gd name="connsiteX13098" fmla="*/ 2797037 w 4610101"/>
              <a:gd name="connsiteY13098" fmla="*/ 1301885 h 6557032"/>
              <a:gd name="connsiteX13099" fmla="*/ 2789749 w 4610101"/>
              <a:gd name="connsiteY13099" fmla="*/ 1310995 h 6557032"/>
              <a:gd name="connsiteX13100" fmla="*/ 2786104 w 4610101"/>
              <a:gd name="connsiteY13100" fmla="*/ 1310995 h 6557032"/>
              <a:gd name="connsiteX13101" fmla="*/ 2784282 w 4610101"/>
              <a:gd name="connsiteY13101" fmla="*/ 1303707 h 6557032"/>
              <a:gd name="connsiteX13102" fmla="*/ 2775171 w 4610101"/>
              <a:gd name="connsiteY13102" fmla="*/ 1303707 h 6557032"/>
              <a:gd name="connsiteX13103" fmla="*/ 2771527 w 4610101"/>
              <a:gd name="connsiteY13103" fmla="*/ 1314640 h 6557032"/>
              <a:gd name="connsiteX13104" fmla="*/ 2793393 w 4610101"/>
              <a:gd name="connsiteY13104" fmla="*/ 1325573 h 6557032"/>
              <a:gd name="connsiteX13105" fmla="*/ 2795215 w 4610101"/>
              <a:gd name="connsiteY13105" fmla="*/ 1323751 h 6557032"/>
              <a:gd name="connsiteX13106" fmla="*/ 2797037 w 4610101"/>
              <a:gd name="connsiteY13106" fmla="*/ 1301885 h 6557032"/>
              <a:gd name="connsiteX13107" fmla="*/ 1133393 w 4610101"/>
              <a:gd name="connsiteY13107" fmla="*/ 1301885 h 6557032"/>
              <a:gd name="connsiteX13108" fmla="*/ 1137949 w 4610101"/>
              <a:gd name="connsiteY13108" fmla="*/ 1309401 h 6557032"/>
              <a:gd name="connsiteX13109" fmla="*/ 1141330 w 4610101"/>
              <a:gd name="connsiteY13109" fmla="*/ 1315998 h 6557032"/>
              <a:gd name="connsiteX13110" fmla="*/ 1135215 w 4610101"/>
              <a:gd name="connsiteY13110" fmla="*/ 1307351 h 6557032"/>
              <a:gd name="connsiteX13111" fmla="*/ 1133393 w 4610101"/>
              <a:gd name="connsiteY13111" fmla="*/ 1301885 h 6557032"/>
              <a:gd name="connsiteX13112" fmla="*/ 752558 w 4610101"/>
              <a:gd name="connsiteY13112" fmla="*/ 1301885 h 6557032"/>
              <a:gd name="connsiteX13113" fmla="*/ 747092 w 4610101"/>
              <a:gd name="connsiteY13113" fmla="*/ 1303707 h 6557032"/>
              <a:gd name="connsiteX13114" fmla="*/ 752558 w 4610101"/>
              <a:gd name="connsiteY13114" fmla="*/ 1301885 h 6557032"/>
              <a:gd name="connsiteX13115" fmla="*/ 595852 w 4610101"/>
              <a:gd name="connsiteY13115" fmla="*/ 1301885 h 6557032"/>
              <a:gd name="connsiteX13116" fmla="*/ 592207 w 4610101"/>
              <a:gd name="connsiteY13116" fmla="*/ 1307351 h 6557032"/>
              <a:gd name="connsiteX13117" fmla="*/ 595852 w 4610101"/>
              <a:gd name="connsiteY13117" fmla="*/ 1301885 h 6557032"/>
              <a:gd name="connsiteX13118" fmla="*/ 539364 w 4610101"/>
              <a:gd name="connsiteY13118" fmla="*/ 1301885 h 6557032"/>
              <a:gd name="connsiteX13119" fmla="*/ 533897 w 4610101"/>
              <a:gd name="connsiteY13119" fmla="*/ 1310995 h 6557032"/>
              <a:gd name="connsiteX13120" fmla="*/ 539364 w 4610101"/>
              <a:gd name="connsiteY13120" fmla="*/ 1301885 h 6557032"/>
              <a:gd name="connsiteX13121" fmla="*/ 528431 w 4610101"/>
              <a:gd name="connsiteY13121" fmla="*/ 1301885 h 6557032"/>
              <a:gd name="connsiteX13122" fmla="*/ 530253 w 4610101"/>
              <a:gd name="connsiteY13122" fmla="*/ 1305529 h 6557032"/>
              <a:gd name="connsiteX13123" fmla="*/ 533897 w 4610101"/>
              <a:gd name="connsiteY13123" fmla="*/ 1301885 h 6557032"/>
              <a:gd name="connsiteX13124" fmla="*/ 528431 w 4610101"/>
              <a:gd name="connsiteY13124" fmla="*/ 1301885 h 6557032"/>
              <a:gd name="connsiteX13125" fmla="*/ 406345 w 4610101"/>
              <a:gd name="connsiteY13125" fmla="*/ 1301885 h 6557032"/>
              <a:gd name="connsiteX13126" fmla="*/ 406345 w 4610101"/>
              <a:gd name="connsiteY13126" fmla="*/ 1309173 h 6557032"/>
              <a:gd name="connsiteX13127" fmla="*/ 411812 w 4610101"/>
              <a:gd name="connsiteY13127" fmla="*/ 1305529 h 6557032"/>
              <a:gd name="connsiteX13128" fmla="*/ 411812 w 4610101"/>
              <a:gd name="connsiteY13128" fmla="*/ 1301885 h 6557032"/>
              <a:gd name="connsiteX13129" fmla="*/ 408332 w 4610101"/>
              <a:gd name="connsiteY13129" fmla="*/ 1303044 h 6557032"/>
              <a:gd name="connsiteX13130" fmla="*/ 408167 w 4610101"/>
              <a:gd name="connsiteY13130" fmla="*/ 1301885 h 6557032"/>
              <a:gd name="connsiteX13131" fmla="*/ 406345 w 4610101"/>
              <a:gd name="connsiteY13131" fmla="*/ 1301885 h 6557032"/>
              <a:gd name="connsiteX13132" fmla="*/ 380835 w 4610101"/>
              <a:gd name="connsiteY13132" fmla="*/ 1301885 h 6557032"/>
              <a:gd name="connsiteX13133" fmla="*/ 389946 w 4610101"/>
              <a:gd name="connsiteY13133" fmla="*/ 1309173 h 6557032"/>
              <a:gd name="connsiteX13134" fmla="*/ 380835 w 4610101"/>
              <a:gd name="connsiteY13134" fmla="*/ 1301885 h 6557032"/>
              <a:gd name="connsiteX13135" fmla="*/ 785585 w 4610101"/>
              <a:gd name="connsiteY13135" fmla="*/ 1301657 h 6557032"/>
              <a:gd name="connsiteX13136" fmla="*/ 785539 w 4610101"/>
              <a:gd name="connsiteY13136" fmla="*/ 1302067 h 6557032"/>
              <a:gd name="connsiteX13137" fmla="*/ 781713 w 4610101"/>
              <a:gd name="connsiteY13137" fmla="*/ 1303707 h 6557032"/>
              <a:gd name="connsiteX13138" fmla="*/ 785585 w 4610101"/>
              <a:gd name="connsiteY13138" fmla="*/ 1301657 h 6557032"/>
              <a:gd name="connsiteX13139" fmla="*/ 1225213 w 4610101"/>
              <a:gd name="connsiteY13139" fmla="*/ 1301330 h 6557032"/>
              <a:gd name="connsiteX13140" fmla="*/ 1226141 w 4610101"/>
              <a:gd name="connsiteY13140" fmla="*/ 1301794 h 6557032"/>
              <a:gd name="connsiteX13141" fmla="*/ 1226080 w 4610101"/>
              <a:gd name="connsiteY13141" fmla="*/ 1302371 h 6557032"/>
              <a:gd name="connsiteX13142" fmla="*/ 1224501 w 4610101"/>
              <a:gd name="connsiteY13142" fmla="*/ 1305529 h 6557032"/>
              <a:gd name="connsiteX13143" fmla="*/ 1223045 w 4610101"/>
              <a:gd name="connsiteY13143" fmla="*/ 1304420 h 6557032"/>
              <a:gd name="connsiteX13144" fmla="*/ 1223134 w 4610101"/>
              <a:gd name="connsiteY13144" fmla="*/ 1303707 h 6557032"/>
              <a:gd name="connsiteX13145" fmla="*/ 289214 w 4610101"/>
              <a:gd name="connsiteY13145" fmla="*/ 1301201 h 6557032"/>
              <a:gd name="connsiteX13146" fmla="*/ 273327 w 4610101"/>
              <a:gd name="connsiteY13146" fmla="*/ 1307351 h 6557032"/>
              <a:gd name="connsiteX13147" fmla="*/ 278793 w 4610101"/>
              <a:gd name="connsiteY13147" fmla="*/ 1303707 h 6557032"/>
              <a:gd name="connsiteX13148" fmla="*/ 269682 w 4610101"/>
              <a:gd name="connsiteY13148" fmla="*/ 1307351 h 6557032"/>
              <a:gd name="connsiteX13149" fmla="*/ 280615 w 4610101"/>
              <a:gd name="connsiteY13149" fmla="*/ 1316462 h 6557032"/>
              <a:gd name="connsiteX13150" fmla="*/ 267860 w 4610101"/>
              <a:gd name="connsiteY13150" fmla="*/ 1305529 h 6557032"/>
              <a:gd name="connsiteX13151" fmla="*/ 245994 w 4610101"/>
              <a:gd name="connsiteY13151" fmla="*/ 1312818 h 6557032"/>
              <a:gd name="connsiteX13152" fmla="*/ 266038 w 4610101"/>
              <a:gd name="connsiteY13152" fmla="*/ 1312818 h 6557032"/>
              <a:gd name="connsiteX13153" fmla="*/ 264216 w 4610101"/>
              <a:gd name="connsiteY13153" fmla="*/ 1318284 h 6557032"/>
              <a:gd name="connsiteX13154" fmla="*/ 284259 w 4610101"/>
              <a:gd name="connsiteY13154" fmla="*/ 1320106 h 6557032"/>
              <a:gd name="connsiteX13155" fmla="*/ 282438 w 4610101"/>
              <a:gd name="connsiteY13155" fmla="*/ 1316462 h 6557032"/>
              <a:gd name="connsiteX13156" fmla="*/ 280615 w 4610101"/>
              <a:gd name="connsiteY13156" fmla="*/ 1312818 h 6557032"/>
              <a:gd name="connsiteX13157" fmla="*/ 291549 w 4610101"/>
              <a:gd name="connsiteY13157" fmla="*/ 1310995 h 6557032"/>
              <a:gd name="connsiteX13158" fmla="*/ 286082 w 4610101"/>
              <a:gd name="connsiteY13158" fmla="*/ 1309173 h 6557032"/>
              <a:gd name="connsiteX13159" fmla="*/ 295193 w 4610101"/>
              <a:gd name="connsiteY13159" fmla="*/ 1307351 h 6557032"/>
              <a:gd name="connsiteX13160" fmla="*/ 289214 w 4610101"/>
              <a:gd name="connsiteY13160" fmla="*/ 1301201 h 6557032"/>
              <a:gd name="connsiteX13161" fmla="*/ 1219582 w 4610101"/>
              <a:gd name="connsiteY13161" fmla="*/ 1301156 h 6557032"/>
              <a:gd name="connsiteX13162" fmla="*/ 1220086 w 4610101"/>
              <a:gd name="connsiteY13162" fmla="*/ 1302165 h 6557032"/>
              <a:gd name="connsiteX13163" fmla="*/ 1219718 w 4610101"/>
              <a:gd name="connsiteY13163" fmla="*/ 1301885 h 6557032"/>
              <a:gd name="connsiteX13164" fmla="*/ 3374666 w 4610101"/>
              <a:gd name="connsiteY13164" fmla="*/ 1300062 h 6557032"/>
              <a:gd name="connsiteX13165" fmla="*/ 3372161 w 4610101"/>
              <a:gd name="connsiteY13165" fmla="*/ 1305757 h 6557032"/>
              <a:gd name="connsiteX13166" fmla="*/ 3374666 w 4610101"/>
              <a:gd name="connsiteY13166" fmla="*/ 1306679 h 6557032"/>
              <a:gd name="connsiteX13167" fmla="*/ 3374666 w 4610101"/>
              <a:gd name="connsiteY13167" fmla="*/ 1316462 h 6557032"/>
              <a:gd name="connsiteX13168" fmla="*/ 3376489 w 4610101"/>
              <a:gd name="connsiteY13168" fmla="*/ 1307351 h 6557032"/>
              <a:gd name="connsiteX13169" fmla="*/ 3374666 w 4610101"/>
              <a:gd name="connsiteY13169" fmla="*/ 1306679 h 6557032"/>
              <a:gd name="connsiteX13170" fmla="*/ 3216137 w 4610101"/>
              <a:gd name="connsiteY13170" fmla="*/ 1300062 h 6557032"/>
              <a:gd name="connsiteX13171" fmla="*/ 3217960 w 4610101"/>
              <a:gd name="connsiteY13171" fmla="*/ 1309173 h 6557032"/>
              <a:gd name="connsiteX13172" fmla="*/ 3221604 w 4610101"/>
              <a:gd name="connsiteY13172" fmla="*/ 1309173 h 6557032"/>
              <a:gd name="connsiteX13173" fmla="*/ 3219782 w 4610101"/>
              <a:gd name="connsiteY13173" fmla="*/ 1300062 h 6557032"/>
              <a:gd name="connsiteX13174" fmla="*/ 3216137 w 4610101"/>
              <a:gd name="connsiteY13174" fmla="*/ 1300062 h 6557032"/>
              <a:gd name="connsiteX13175" fmla="*/ 1884128 w 4610101"/>
              <a:gd name="connsiteY13175" fmla="*/ 1300062 h 6557032"/>
              <a:gd name="connsiteX13176" fmla="*/ 1884128 w 4610101"/>
              <a:gd name="connsiteY13176" fmla="*/ 1305529 h 6557032"/>
              <a:gd name="connsiteX13177" fmla="*/ 1891417 w 4610101"/>
              <a:gd name="connsiteY13177" fmla="*/ 1318284 h 6557032"/>
              <a:gd name="connsiteX13178" fmla="*/ 1893239 w 4610101"/>
              <a:gd name="connsiteY13178" fmla="*/ 1316462 h 6557032"/>
              <a:gd name="connsiteX13179" fmla="*/ 1889595 w 4610101"/>
              <a:gd name="connsiteY13179" fmla="*/ 1307351 h 6557032"/>
              <a:gd name="connsiteX13180" fmla="*/ 1895061 w 4610101"/>
              <a:gd name="connsiteY13180" fmla="*/ 1300062 h 6557032"/>
              <a:gd name="connsiteX13181" fmla="*/ 1244545 w 4610101"/>
              <a:gd name="connsiteY13181" fmla="*/ 1300062 h 6557032"/>
              <a:gd name="connsiteX13182" fmla="*/ 1242723 w 4610101"/>
              <a:gd name="connsiteY13182" fmla="*/ 1303707 h 6557032"/>
              <a:gd name="connsiteX13183" fmla="*/ 1244545 w 4610101"/>
              <a:gd name="connsiteY13183" fmla="*/ 1300062 h 6557032"/>
              <a:gd name="connsiteX13184" fmla="*/ 1235434 w 4610101"/>
              <a:gd name="connsiteY13184" fmla="*/ 1300062 h 6557032"/>
              <a:gd name="connsiteX13185" fmla="*/ 1242723 w 4610101"/>
              <a:gd name="connsiteY13185" fmla="*/ 1321929 h 6557032"/>
              <a:gd name="connsiteX13186" fmla="*/ 1239080 w 4610101"/>
              <a:gd name="connsiteY13186" fmla="*/ 1305529 h 6557032"/>
              <a:gd name="connsiteX13187" fmla="*/ 1240901 w 4610101"/>
              <a:gd name="connsiteY13187" fmla="*/ 1303707 h 6557032"/>
              <a:gd name="connsiteX13188" fmla="*/ 1235434 w 4610101"/>
              <a:gd name="connsiteY13188" fmla="*/ 1300062 h 6557032"/>
              <a:gd name="connsiteX13189" fmla="*/ 1229969 w 4610101"/>
              <a:gd name="connsiteY13189" fmla="*/ 1300062 h 6557032"/>
              <a:gd name="connsiteX13190" fmla="*/ 1222679 w 4610101"/>
              <a:gd name="connsiteY13190" fmla="*/ 1309173 h 6557032"/>
              <a:gd name="connsiteX13191" fmla="*/ 1228146 w 4610101"/>
              <a:gd name="connsiteY13191" fmla="*/ 1329217 h 6557032"/>
              <a:gd name="connsiteX13192" fmla="*/ 1240901 w 4610101"/>
              <a:gd name="connsiteY13192" fmla="*/ 1331039 h 6557032"/>
              <a:gd name="connsiteX13193" fmla="*/ 1229969 w 4610101"/>
              <a:gd name="connsiteY13193" fmla="*/ 1300062 h 6557032"/>
              <a:gd name="connsiteX13194" fmla="*/ 765313 w 4610101"/>
              <a:gd name="connsiteY13194" fmla="*/ 1300062 h 6557032"/>
              <a:gd name="connsiteX13195" fmla="*/ 748914 w 4610101"/>
              <a:gd name="connsiteY13195" fmla="*/ 1314640 h 6557032"/>
              <a:gd name="connsiteX13196" fmla="*/ 765313 w 4610101"/>
              <a:gd name="connsiteY13196" fmla="*/ 1314640 h 6557032"/>
              <a:gd name="connsiteX13197" fmla="*/ 765313 w 4610101"/>
              <a:gd name="connsiteY13197" fmla="*/ 1300062 h 6557032"/>
              <a:gd name="connsiteX13198" fmla="*/ 630472 w 4610101"/>
              <a:gd name="connsiteY13198" fmla="*/ 1300062 h 6557032"/>
              <a:gd name="connsiteX13199" fmla="*/ 634117 w 4610101"/>
              <a:gd name="connsiteY13199" fmla="*/ 1309173 h 6557032"/>
              <a:gd name="connsiteX13200" fmla="*/ 630472 w 4610101"/>
              <a:gd name="connsiteY13200" fmla="*/ 1300062 h 6557032"/>
              <a:gd name="connsiteX13201" fmla="*/ 526609 w 4610101"/>
              <a:gd name="connsiteY13201" fmla="*/ 1300062 h 6557032"/>
              <a:gd name="connsiteX13202" fmla="*/ 521142 w 4610101"/>
              <a:gd name="connsiteY13202" fmla="*/ 1301885 h 6557032"/>
              <a:gd name="connsiteX13203" fmla="*/ 517498 w 4610101"/>
              <a:gd name="connsiteY13203" fmla="*/ 1314640 h 6557032"/>
              <a:gd name="connsiteX13204" fmla="*/ 526609 w 4610101"/>
              <a:gd name="connsiteY13204" fmla="*/ 1300062 h 6557032"/>
              <a:gd name="connsiteX13205" fmla="*/ 373546 w 4610101"/>
              <a:gd name="connsiteY13205" fmla="*/ 1300062 h 6557032"/>
              <a:gd name="connsiteX13206" fmla="*/ 364435 w 4610101"/>
              <a:gd name="connsiteY13206" fmla="*/ 1301885 h 6557032"/>
              <a:gd name="connsiteX13207" fmla="*/ 371724 w 4610101"/>
              <a:gd name="connsiteY13207" fmla="*/ 1303707 h 6557032"/>
              <a:gd name="connsiteX13208" fmla="*/ 373546 w 4610101"/>
              <a:gd name="connsiteY13208" fmla="*/ 1300062 h 6557032"/>
              <a:gd name="connsiteX13209" fmla="*/ 3362367 w 4610101"/>
              <a:gd name="connsiteY13209" fmla="*/ 1299607 h 6557032"/>
              <a:gd name="connsiteX13210" fmla="*/ 3358267 w 4610101"/>
              <a:gd name="connsiteY13210" fmla="*/ 1303707 h 6557032"/>
              <a:gd name="connsiteX13211" fmla="*/ 3363734 w 4610101"/>
              <a:gd name="connsiteY13211" fmla="*/ 1303707 h 6557032"/>
              <a:gd name="connsiteX13212" fmla="*/ 3362367 w 4610101"/>
              <a:gd name="connsiteY13212" fmla="*/ 1299607 h 6557032"/>
              <a:gd name="connsiteX13213" fmla="*/ 3084941 w 4610101"/>
              <a:gd name="connsiteY13213" fmla="*/ 1298240 h 6557032"/>
              <a:gd name="connsiteX13214" fmla="*/ 3088585 w 4610101"/>
              <a:gd name="connsiteY13214" fmla="*/ 1305529 h 6557032"/>
              <a:gd name="connsiteX13215" fmla="*/ 3084941 w 4610101"/>
              <a:gd name="connsiteY13215" fmla="*/ 1312818 h 6557032"/>
              <a:gd name="connsiteX13216" fmla="*/ 3104985 w 4610101"/>
              <a:gd name="connsiteY13216" fmla="*/ 1312818 h 6557032"/>
              <a:gd name="connsiteX13217" fmla="*/ 3104985 w 4610101"/>
              <a:gd name="connsiteY13217" fmla="*/ 1307351 h 6557032"/>
              <a:gd name="connsiteX13218" fmla="*/ 3084941 w 4610101"/>
              <a:gd name="connsiteY13218" fmla="*/ 1298240 h 6557032"/>
              <a:gd name="connsiteX13219" fmla="*/ 1907816 w 4610101"/>
              <a:gd name="connsiteY13219" fmla="*/ 1298240 h 6557032"/>
              <a:gd name="connsiteX13220" fmla="*/ 1907816 w 4610101"/>
              <a:gd name="connsiteY13220" fmla="*/ 1301885 h 6557032"/>
              <a:gd name="connsiteX13221" fmla="*/ 1913283 w 4610101"/>
              <a:gd name="connsiteY13221" fmla="*/ 1301885 h 6557032"/>
              <a:gd name="connsiteX13222" fmla="*/ 1911461 w 4610101"/>
              <a:gd name="connsiteY13222" fmla="*/ 1298240 h 6557032"/>
              <a:gd name="connsiteX13223" fmla="*/ 1907816 w 4610101"/>
              <a:gd name="connsiteY13223" fmla="*/ 1298240 h 6557032"/>
              <a:gd name="connsiteX13224" fmla="*/ 1844040 w 4610101"/>
              <a:gd name="connsiteY13224" fmla="*/ 1298240 h 6557032"/>
              <a:gd name="connsiteX13225" fmla="*/ 1844040 w 4610101"/>
              <a:gd name="connsiteY13225" fmla="*/ 1300062 h 6557032"/>
              <a:gd name="connsiteX13226" fmla="*/ 1845864 w 4610101"/>
              <a:gd name="connsiteY13226" fmla="*/ 1300062 h 6557032"/>
              <a:gd name="connsiteX13227" fmla="*/ 1844040 w 4610101"/>
              <a:gd name="connsiteY13227" fmla="*/ 1298240 h 6557032"/>
              <a:gd name="connsiteX13228" fmla="*/ 1113349 w 4610101"/>
              <a:gd name="connsiteY13228" fmla="*/ 1298240 h 6557032"/>
              <a:gd name="connsiteX13229" fmla="*/ 1113349 w 4610101"/>
              <a:gd name="connsiteY13229" fmla="*/ 1301885 h 6557032"/>
              <a:gd name="connsiteX13230" fmla="*/ 1112980 w 4610101"/>
              <a:gd name="connsiteY13230" fmla="*/ 1298940 h 6557032"/>
              <a:gd name="connsiteX13231" fmla="*/ 1109704 w 4610101"/>
              <a:gd name="connsiteY13231" fmla="*/ 1298240 h 6557032"/>
              <a:gd name="connsiteX13232" fmla="*/ 1102416 w 4610101"/>
              <a:gd name="connsiteY13232" fmla="*/ 1300062 h 6557032"/>
              <a:gd name="connsiteX13233" fmla="*/ 1104238 w 4610101"/>
              <a:gd name="connsiteY13233" fmla="*/ 1309173 h 6557032"/>
              <a:gd name="connsiteX13234" fmla="*/ 1109704 w 4610101"/>
              <a:gd name="connsiteY13234" fmla="*/ 1298240 h 6557032"/>
              <a:gd name="connsiteX13235" fmla="*/ 603140 w 4610101"/>
              <a:gd name="connsiteY13235" fmla="*/ 1298240 h 6557032"/>
              <a:gd name="connsiteX13236" fmla="*/ 603140 w 4610101"/>
              <a:gd name="connsiteY13236" fmla="*/ 1305529 h 6557032"/>
              <a:gd name="connsiteX13237" fmla="*/ 606784 w 4610101"/>
              <a:gd name="connsiteY13237" fmla="*/ 1305529 h 6557032"/>
              <a:gd name="connsiteX13238" fmla="*/ 603140 w 4610101"/>
              <a:gd name="connsiteY13238" fmla="*/ 1298240 h 6557032"/>
              <a:gd name="connsiteX13239" fmla="*/ 326169 w 4610101"/>
              <a:gd name="connsiteY13239" fmla="*/ 1298240 h 6557032"/>
              <a:gd name="connsiteX13240" fmla="*/ 318882 w 4610101"/>
              <a:gd name="connsiteY13240" fmla="*/ 1310995 h 6557032"/>
              <a:gd name="connsiteX13241" fmla="*/ 338926 w 4610101"/>
              <a:gd name="connsiteY13241" fmla="*/ 1303707 h 6557032"/>
              <a:gd name="connsiteX13242" fmla="*/ 326169 w 4610101"/>
              <a:gd name="connsiteY13242" fmla="*/ 1298240 h 6557032"/>
              <a:gd name="connsiteX13243" fmla="*/ 306126 w 4610101"/>
              <a:gd name="connsiteY13243" fmla="*/ 1298240 h 6557032"/>
              <a:gd name="connsiteX13244" fmla="*/ 304303 w 4610101"/>
              <a:gd name="connsiteY13244" fmla="*/ 1303707 h 6557032"/>
              <a:gd name="connsiteX13245" fmla="*/ 309771 w 4610101"/>
              <a:gd name="connsiteY13245" fmla="*/ 1301885 h 6557032"/>
              <a:gd name="connsiteX13246" fmla="*/ 306126 w 4610101"/>
              <a:gd name="connsiteY13246" fmla="*/ 1298240 h 6557032"/>
              <a:gd name="connsiteX13247" fmla="*/ 1345306 w 4610101"/>
              <a:gd name="connsiteY13247" fmla="*/ 1297642 h 6557032"/>
              <a:gd name="connsiteX13248" fmla="*/ 1345044 w 4610101"/>
              <a:gd name="connsiteY13248" fmla="*/ 1299697 h 6557032"/>
              <a:gd name="connsiteX13249" fmla="*/ 1344993 w 4610101"/>
              <a:gd name="connsiteY13249" fmla="*/ 1299379 h 6557032"/>
              <a:gd name="connsiteX13250" fmla="*/ 1345306 w 4610101"/>
              <a:gd name="connsiteY13250" fmla="*/ 1297642 h 6557032"/>
              <a:gd name="connsiteX13251" fmla="*/ 297015 w 4610101"/>
              <a:gd name="connsiteY13251" fmla="*/ 1297101 h 6557032"/>
              <a:gd name="connsiteX13252" fmla="*/ 289726 w 4610101"/>
              <a:gd name="connsiteY13252" fmla="*/ 1300062 h 6557032"/>
              <a:gd name="connsiteX13253" fmla="*/ 304303 w 4610101"/>
              <a:gd name="connsiteY13253" fmla="*/ 1298240 h 6557032"/>
              <a:gd name="connsiteX13254" fmla="*/ 297015 w 4610101"/>
              <a:gd name="connsiteY13254" fmla="*/ 1297101 h 6557032"/>
              <a:gd name="connsiteX13255" fmla="*/ 3330934 w 4610101"/>
              <a:gd name="connsiteY13255" fmla="*/ 1296418 h 6557032"/>
              <a:gd name="connsiteX13256" fmla="*/ 3334579 w 4610101"/>
              <a:gd name="connsiteY13256" fmla="*/ 1312818 h 6557032"/>
              <a:gd name="connsiteX13257" fmla="*/ 3343690 w 4610101"/>
              <a:gd name="connsiteY13257" fmla="*/ 1327395 h 6557032"/>
              <a:gd name="connsiteX13258" fmla="*/ 3343690 w 4610101"/>
              <a:gd name="connsiteY13258" fmla="*/ 1321929 h 6557032"/>
              <a:gd name="connsiteX13259" fmla="*/ 3349156 w 4610101"/>
              <a:gd name="connsiteY13259" fmla="*/ 1323751 h 6557032"/>
              <a:gd name="connsiteX13260" fmla="*/ 3347334 w 4610101"/>
              <a:gd name="connsiteY13260" fmla="*/ 1316462 h 6557032"/>
              <a:gd name="connsiteX13261" fmla="*/ 3358267 w 4610101"/>
              <a:gd name="connsiteY13261" fmla="*/ 1316462 h 6557032"/>
              <a:gd name="connsiteX13262" fmla="*/ 3360089 w 4610101"/>
              <a:gd name="connsiteY13262" fmla="*/ 1323751 h 6557032"/>
              <a:gd name="connsiteX13263" fmla="*/ 3367378 w 4610101"/>
              <a:gd name="connsiteY13263" fmla="*/ 1321929 h 6557032"/>
              <a:gd name="connsiteX13264" fmla="*/ 3340045 w 4610101"/>
              <a:gd name="connsiteY13264" fmla="*/ 1314640 h 6557032"/>
              <a:gd name="connsiteX13265" fmla="*/ 3336401 w 4610101"/>
              <a:gd name="connsiteY13265" fmla="*/ 1314640 h 6557032"/>
              <a:gd name="connsiteX13266" fmla="*/ 3340045 w 4610101"/>
              <a:gd name="connsiteY13266" fmla="*/ 1309173 h 6557032"/>
              <a:gd name="connsiteX13267" fmla="*/ 3330934 w 4610101"/>
              <a:gd name="connsiteY13267" fmla="*/ 1296418 h 6557032"/>
              <a:gd name="connsiteX13268" fmla="*/ 1251834 w 4610101"/>
              <a:gd name="connsiteY13268" fmla="*/ 1296418 h 6557032"/>
              <a:gd name="connsiteX13269" fmla="*/ 1246367 w 4610101"/>
              <a:gd name="connsiteY13269" fmla="*/ 1298240 h 6557032"/>
              <a:gd name="connsiteX13270" fmla="*/ 1242723 w 4610101"/>
              <a:gd name="connsiteY13270" fmla="*/ 1305529 h 6557032"/>
              <a:gd name="connsiteX13271" fmla="*/ 1248189 w 4610101"/>
              <a:gd name="connsiteY13271" fmla="*/ 1332862 h 6557032"/>
              <a:gd name="connsiteX13272" fmla="*/ 1251834 w 4610101"/>
              <a:gd name="connsiteY13272" fmla="*/ 1312818 h 6557032"/>
              <a:gd name="connsiteX13273" fmla="*/ 1250012 w 4610101"/>
              <a:gd name="connsiteY13273" fmla="*/ 1309173 h 6557032"/>
              <a:gd name="connsiteX13274" fmla="*/ 1251834 w 4610101"/>
              <a:gd name="connsiteY13274" fmla="*/ 1296418 h 6557032"/>
              <a:gd name="connsiteX13275" fmla="*/ 1217213 w 4610101"/>
              <a:gd name="connsiteY13275" fmla="*/ 1296418 h 6557032"/>
              <a:gd name="connsiteX13276" fmla="*/ 1195346 w 4610101"/>
              <a:gd name="connsiteY13276" fmla="*/ 1298240 h 6557032"/>
              <a:gd name="connsiteX13277" fmla="*/ 1215390 w 4610101"/>
              <a:gd name="connsiteY13277" fmla="*/ 1312818 h 6557032"/>
              <a:gd name="connsiteX13278" fmla="*/ 1220858 w 4610101"/>
              <a:gd name="connsiteY13278" fmla="*/ 1303707 h 6557032"/>
              <a:gd name="connsiteX13279" fmla="*/ 1220086 w 4610101"/>
              <a:gd name="connsiteY13279" fmla="*/ 1302165 h 6557032"/>
              <a:gd name="connsiteX13280" fmla="*/ 1223045 w 4610101"/>
              <a:gd name="connsiteY13280" fmla="*/ 1304420 h 6557032"/>
              <a:gd name="connsiteX13281" fmla="*/ 1222679 w 4610101"/>
              <a:gd name="connsiteY13281" fmla="*/ 1307351 h 6557032"/>
              <a:gd name="connsiteX13282" fmla="*/ 1225868 w 4610101"/>
              <a:gd name="connsiteY13282" fmla="*/ 1304390 h 6557032"/>
              <a:gd name="connsiteX13283" fmla="*/ 1226080 w 4610101"/>
              <a:gd name="connsiteY13283" fmla="*/ 1302371 h 6557032"/>
              <a:gd name="connsiteX13284" fmla="*/ 1226323 w 4610101"/>
              <a:gd name="connsiteY13284" fmla="*/ 1301885 h 6557032"/>
              <a:gd name="connsiteX13285" fmla="*/ 1226141 w 4610101"/>
              <a:gd name="connsiteY13285" fmla="*/ 1301794 h 6557032"/>
              <a:gd name="connsiteX13286" fmla="*/ 1226323 w 4610101"/>
              <a:gd name="connsiteY13286" fmla="*/ 1300062 h 6557032"/>
              <a:gd name="connsiteX13287" fmla="*/ 1225213 w 4610101"/>
              <a:gd name="connsiteY13287" fmla="*/ 1301330 h 6557032"/>
              <a:gd name="connsiteX13288" fmla="*/ 1219036 w 4610101"/>
              <a:gd name="connsiteY13288" fmla="*/ 1298240 h 6557032"/>
              <a:gd name="connsiteX13289" fmla="*/ 1219582 w 4610101"/>
              <a:gd name="connsiteY13289" fmla="*/ 1301156 h 6557032"/>
              <a:gd name="connsiteX13290" fmla="*/ 1166192 w 4610101"/>
              <a:gd name="connsiteY13290" fmla="*/ 1296418 h 6557032"/>
              <a:gd name="connsiteX13291" fmla="*/ 1164370 w 4610101"/>
              <a:gd name="connsiteY13291" fmla="*/ 1300062 h 6557032"/>
              <a:gd name="connsiteX13292" fmla="*/ 1162547 w 4610101"/>
              <a:gd name="connsiteY13292" fmla="*/ 1303707 h 6557032"/>
              <a:gd name="connsiteX13293" fmla="*/ 1177125 w 4610101"/>
              <a:gd name="connsiteY13293" fmla="*/ 1307351 h 6557032"/>
              <a:gd name="connsiteX13294" fmla="*/ 1166192 w 4610101"/>
              <a:gd name="connsiteY13294" fmla="*/ 1296418 h 6557032"/>
              <a:gd name="connsiteX13295" fmla="*/ 1098771 w 4610101"/>
              <a:gd name="connsiteY13295" fmla="*/ 1296418 h 6557032"/>
              <a:gd name="connsiteX13296" fmla="*/ 1098771 w 4610101"/>
              <a:gd name="connsiteY13296" fmla="*/ 1300062 h 6557032"/>
              <a:gd name="connsiteX13297" fmla="*/ 1104238 w 4610101"/>
              <a:gd name="connsiteY13297" fmla="*/ 1298240 h 6557032"/>
              <a:gd name="connsiteX13298" fmla="*/ 1098771 w 4610101"/>
              <a:gd name="connsiteY13298" fmla="*/ 1296418 h 6557032"/>
              <a:gd name="connsiteX13299" fmla="*/ 484700 w 4610101"/>
              <a:gd name="connsiteY13299" fmla="*/ 1296418 h 6557032"/>
              <a:gd name="connsiteX13300" fmla="*/ 477410 w 4610101"/>
              <a:gd name="connsiteY13300" fmla="*/ 1303707 h 6557032"/>
              <a:gd name="connsiteX13301" fmla="*/ 462832 w 4610101"/>
              <a:gd name="connsiteY13301" fmla="*/ 1309173 h 6557032"/>
              <a:gd name="connsiteX13302" fmla="*/ 482876 w 4610101"/>
              <a:gd name="connsiteY13302" fmla="*/ 1314640 h 6557032"/>
              <a:gd name="connsiteX13303" fmla="*/ 490165 w 4610101"/>
              <a:gd name="connsiteY13303" fmla="*/ 1303707 h 6557032"/>
              <a:gd name="connsiteX13304" fmla="*/ 484700 w 4610101"/>
              <a:gd name="connsiteY13304" fmla="*/ 1296418 h 6557032"/>
              <a:gd name="connsiteX13305" fmla="*/ 482876 w 4610101"/>
              <a:gd name="connsiteY13305" fmla="*/ 1296418 h 6557032"/>
              <a:gd name="connsiteX13306" fmla="*/ 461010 w 4610101"/>
              <a:gd name="connsiteY13306" fmla="*/ 1303707 h 6557032"/>
              <a:gd name="connsiteX13307" fmla="*/ 482876 w 4610101"/>
              <a:gd name="connsiteY13307" fmla="*/ 1296418 h 6557032"/>
              <a:gd name="connsiteX13308" fmla="*/ 448256 w 4610101"/>
              <a:gd name="connsiteY13308" fmla="*/ 1296418 h 6557032"/>
              <a:gd name="connsiteX13309" fmla="*/ 451899 w 4610101"/>
              <a:gd name="connsiteY13309" fmla="*/ 1296418 h 6557032"/>
              <a:gd name="connsiteX13310" fmla="*/ 448256 w 4610101"/>
              <a:gd name="connsiteY13310" fmla="*/ 1296418 h 6557032"/>
              <a:gd name="connsiteX13311" fmla="*/ 384479 w 4610101"/>
              <a:gd name="connsiteY13311" fmla="*/ 1296418 h 6557032"/>
              <a:gd name="connsiteX13312" fmla="*/ 400879 w 4610101"/>
              <a:gd name="connsiteY13312" fmla="*/ 1301885 h 6557032"/>
              <a:gd name="connsiteX13313" fmla="*/ 393590 w 4610101"/>
              <a:gd name="connsiteY13313" fmla="*/ 1305529 h 6557032"/>
              <a:gd name="connsiteX13314" fmla="*/ 400879 w 4610101"/>
              <a:gd name="connsiteY13314" fmla="*/ 1301885 h 6557032"/>
              <a:gd name="connsiteX13315" fmla="*/ 400879 w 4610101"/>
              <a:gd name="connsiteY13315" fmla="*/ 1296418 h 6557032"/>
              <a:gd name="connsiteX13316" fmla="*/ 437322 w 4610101"/>
              <a:gd name="connsiteY13316" fmla="*/ 1296191 h 6557032"/>
              <a:gd name="connsiteX13317" fmla="*/ 428211 w 4610101"/>
              <a:gd name="connsiteY13317" fmla="*/ 1303707 h 6557032"/>
              <a:gd name="connsiteX13318" fmla="*/ 446433 w 4610101"/>
              <a:gd name="connsiteY13318" fmla="*/ 1303707 h 6557032"/>
              <a:gd name="connsiteX13319" fmla="*/ 437322 w 4610101"/>
              <a:gd name="connsiteY13319" fmla="*/ 1296191 h 6557032"/>
              <a:gd name="connsiteX13320" fmla="*/ 3129218 w 4610101"/>
              <a:gd name="connsiteY13320" fmla="*/ 1296043 h 6557032"/>
              <a:gd name="connsiteX13321" fmla="*/ 3127079 w 4610101"/>
              <a:gd name="connsiteY13321" fmla="*/ 1298468 h 6557032"/>
              <a:gd name="connsiteX13322" fmla="*/ 3119562 w 4610101"/>
              <a:gd name="connsiteY13322" fmla="*/ 1298240 h 6557032"/>
              <a:gd name="connsiteX13323" fmla="*/ 3119473 w 4610101"/>
              <a:gd name="connsiteY13323" fmla="*/ 1296572 h 6557032"/>
              <a:gd name="connsiteX13324" fmla="*/ 3126395 w 4610101"/>
              <a:gd name="connsiteY13324" fmla="*/ 1296873 h 6557032"/>
              <a:gd name="connsiteX13325" fmla="*/ 207006 w 4610101"/>
              <a:gd name="connsiteY13325" fmla="*/ 1295860 h 6557032"/>
              <a:gd name="connsiteX13326" fmla="*/ 211372 w 4610101"/>
              <a:gd name="connsiteY13326" fmla="*/ 1298240 h 6557032"/>
              <a:gd name="connsiteX13327" fmla="*/ 210204 w 4610101"/>
              <a:gd name="connsiteY13327" fmla="*/ 1298134 h 6557032"/>
              <a:gd name="connsiteX13328" fmla="*/ 3243698 w 4610101"/>
              <a:gd name="connsiteY13328" fmla="*/ 1294596 h 6557032"/>
              <a:gd name="connsiteX13329" fmla="*/ 3239826 w 4610101"/>
              <a:gd name="connsiteY13329" fmla="*/ 1300062 h 6557032"/>
              <a:gd name="connsiteX13330" fmla="*/ 3250759 w 4610101"/>
              <a:gd name="connsiteY13330" fmla="*/ 1301885 h 6557032"/>
              <a:gd name="connsiteX13331" fmla="*/ 3248937 w 4610101"/>
              <a:gd name="connsiteY13331" fmla="*/ 1294596 h 6557032"/>
              <a:gd name="connsiteX13332" fmla="*/ 3243698 w 4610101"/>
              <a:gd name="connsiteY13332" fmla="*/ 1294596 h 6557032"/>
              <a:gd name="connsiteX13333" fmla="*/ 1115171 w 4610101"/>
              <a:gd name="connsiteY13333" fmla="*/ 1294596 h 6557032"/>
              <a:gd name="connsiteX13334" fmla="*/ 1112893 w 4610101"/>
              <a:gd name="connsiteY13334" fmla="*/ 1298240 h 6557032"/>
              <a:gd name="connsiteX13335" fmla="*/ 1112980 w 4610101"/>
              <a:gd name="connsiteY13335" fmla="*/ 1298940 h 6557032"/>
              <a:gd name="connsiteX13336" fmla="*/ 1108794 w 4610101"/>
              <a:gd name="connsiteY13336" fmla="*/ 1306895 h 6557032"/>
              <a:gd name="connsiteX13337" fmla="*/ 1109704 w 4610101"/>
              <a:gd name="connsiteY13337" fmla="*/ 1318284 h 6557032"/>
              <a:gd name="connsiteX13338" fmla="*/ 1111526 w 4610101"/>
              <a:gd name="connsiteY13338" fmla="*/ 1316462 h 6557032"/>
              <a:gd name="connsiteX13339" fmla="*/ 1115171 w 4610101"/>
              <a:gd name="connsiteY13339" fmla="*/ 1331039 h 6557032"/>
              <a:gd name="connsiteX13340" fmla="*/ 1115171 w 4610101"/>
              <a:gd name="connsiteY13340" fmla="*/ 1294596 h 6557032"/>
              <a:gd name="connsiteX13341" fmla="*/ 424567 w 4610101"/>
              <a:gd name="connsiteY13341" fmla="*/ 1294596 h 6557032"/>
              <a:gd name="connsiteX13342" fmla="*/ 420923 w 4610101"/>
              <a:gd name="connsiteY13342" fmla="*/ 1296418 h 6557032"/>
              <a:gd name="connsiteX13343" fmla="*/ 424567 w 4610101"/>
              <a:gd name="connsiteY13343" fmla="*/ 1294596 h 6557032"/>
              <a:gd name="connsiteX13344" fmla="*/ 362613 w 4610101"/>
              <a:gd name="connsiteY13344" fmla="*/ 1294596 h 6557032"/>
              <a:gd name="connsiteX13345" fmla="*/ 368079 w 4610101"/>
              <a:gd name="connsiteY13345" fmla="*/ 1296418 h 6557032"/>
              <a:gd name="connsiteX13346" fmla="*/ 362613 w 4610101"/>
              <a:gd name="connsiteY13346" fmla="*/ 1294596 h 6557032"/>
              <a:gd name="connsiteX13347" fmla="*/ 273327 w 4610101"/>
              <a:gd name="connsiteY13347" fmla="*/ 1294596 h 6557032"/>
              <a:gd name="connsiteX13348" fmla="*/ 284259 w 4610101"/>
              <a:gd name="connsiteY13348" fmla="*/ 1296418 h 6557032"/>
              <a:gd name="connsiteX13349" fmla="*/ 273327 w 4610101"/>
              <a:gd name="connsiteY13349" fmla="*/ 1294596 h 6557032"/>
              <a:gd name="connsiteX13350" fmla="*/ 3453872 w 4610101"/>
              <a:gd name="connsiteY13350" fmla="*/ 1294150 h 6557032"/>
              <a:gd name="connsiteX13351" fmla="*/ 3453020 w 4610101"/>
              <a:gd name="connsiteY13351" fmla="*/ 1298240 h 6557032"/>
              <a:gd name="connsiteX13352" fmla="*/ 3451261 w 4610101"/>
              <a:gd name="connsiteY13352" fmla="*/ 1294586 h 6557032"/>
              <a:gd name="connsiteX13353" fmla="*/ 3377172 w 4610101"/>
              <a:gd name="connsiteY13353" fmla="*/ 1293457 h 6557032"/>
              <a:gd name="connsiteX13354" fmla="*/ 3369200 w 4610101"/>
              <a:gd name="connsiteY13354" fmla="*/ 1294596 h 6557032"/>
              <a:gd name="connsiteX13355" fmla="*/ 3383777 w 4610101"/>
              <a:gd name="connsiteY13355" fmla="*/ 1296418 h 6557032"/>
              <a:gd name="connsiteX13356" fmla="*/ 3377172 w 4610101"/>
              <a:gd name="connsiteY13356" fmla="*/ 1293457 h 6557032"/>
              <a:gd name="connsiteX13357" fmla="*/ 3301780 w 4610101"/>
              <a:gd name="connsiteY13357" fmla="*/ 1292774 h 6557032"/>
              <a:gd name="connsiteX13358" fmla="*/ 3298135 w 4610101"/>
              <a:gd name="connsiteY13358" fmla="*/ 1294596 h 6557032"/>
              <a:gd name="connsiteX13359" fmla="*/ 3292669 w 4610101"/>
              <a:gd name="connsiteY13359" fmla="*/ 1298240 h 6557032"/>
              <a:gd name="connsiteX13360" fmla="*/ 3301780 w 4610101"/>
              <a:gd name="connsiteY13360" fmla="*/ 1300062 h 6557032"/>
              <a:gd name="connsiteX13361" fmla="*/ 3301780 w 4610101"/>
              <a:gd name="connsiteY13361" fmla="*/ 1292774 h 6557032"/>
              <a:gd name="connsiteX13362" fmla="*/ 3057608 w 4610101"/>
              <a:gd name="connsiteY13362" fmla="*/ 1292774 h 6557032"/>
              <a:gd name="connsiteX13363" fmla="*/ 3059430 w 4610101"/>
              <a:gd name="connsiteY13363" fmla="*/ 1307351 h 6557032"/>
              <a:gd name="connsiteX13364" fmla="*/ 3064897 w 4610101"/>
              <a:gd name="connsiteY13364" fmla="*/ 1309173 h 6557032"/>
              <a:gd name="connsiteX13365" fmla="*/ 3066719 w 4610101"/>
              <a:gd name="connsiteY13365" fmla="*/ 1300062 h 6557032"/>
              <a:gd name="connsiteX13366" fmla="*/ 3068541 w 4610101"/>
              <a:gd name="connsiteY13366" fmla="*/ 1305529 h 6557032"/>
              <a:gd name="connsiteX13367" fmla="*/ 3057608 w 4610101"/>
              <a:gd name="connsiteY13367" fmla="*/ 1292774 h 6557032"/>
              <a:gd name="connsiteX13368" fmla="*/ 2826192 w 4610101"/>
              <a:gd name="connsiteY13368" fmla="*/ 1292774 h 6557032"/>
              <a:gd name="connsiteX13369" fmla="*/ 2829837 w 4610101"/>
              <a:gd name="connsiteY13369" fmla="*/ 1303707 h 6557032"/>
              <a:gd name="connsiteX13370" fmla="*/ 2846236 w 4610101"/>
              <a:gd name="connsiteY13370" fmla="*/ 1298240 h 6557032"/>
              <a:gd name="connsiteX13371" fmla="*/ 2826192 w 4610101"/>
              <a:gd name="connsiteY13371" fmla="*/ 1292774 h 6557032"/>
              <a:gd name="connsiteX13372" fmla="*/ 1158903 w 4610101"/>
              <a:gd name="connsiteY13372" fmla="*/ 1292774 h 6557032"/>
              <a:gd name="connsiteX13373" fmla="*/ 1160725 w 4610101"/>
              <a:gd name="connsiteY13373" fmla="*/ 1301885 h 6557032"/>
              <a:gd name="connsiteX13374" fmla="*/ 1164370 w 4610101"/>
              <a:gd name="connsiteY13374" fmla="*/ 1294596 h 6557032"/>
              <a:gd name="connsiteX13375" fmla="*/ 1158903 w 4610101"/>
              <a:gd name="connsiteY13375" fmla="*/ 1292774 h 6557032"/>
              <a:gd name="connsiteX13376" fmla="*/ 818156 w 4610101"/>
              <a:gd name="connsiteY13376" fmla="*/ 1292774 h 6557032"/>
              <a:gd name="connsiteX13377" fmla="*/ 812690 w 4610101"/>
              <a:gd name="connsiteY13377" fmla="*/ 1294596 h 6557032"/>
              <a:gd name="connsiteX13378" fmla="*/ 816334 w 4610101"/>
              <a:gd name="connsiteY13378" fmla="*/ 1305529 h 6557032"/>
              <a:gd name="connsiteX13379" fmla="*/ 818156 w 4610101"/>
              <a:gd name="connsiteY13379" fmla="*/ 1292774 h 6557032"/>
              <a:gd name="connsiteX13380" fmla="*/ 683316 w 4610101"/>
              <a:gd name="connsiteY13380" fmla="*/ 1292774 h 6557032"/>
              <a:gd name="connsiteX13381" fmla="*/ 672383 w 4610101"/>
              <a:gd name="connsiteY13381" fmla="*/ 1331039 h 6557032"/>
              <a:gd name="connsiteX13382" fmla="*/ 683316 w 4610101"/>
              <a:gd name="connsiteY13382" fmla="*/ 1334684 h 6557032"/>
              <a:gd name="connsiteX13383" fmla="*/ 674205 w 4610101"/>
              <a:gd name="connsiteY13383" fmla="*/ 1327395 h 6557032"/>
              <a:gd name="connsiteX13384" fmla="*/ 679671 w 4610101"/>
              <a:gd name="connsiteY13384" fmla="*/ 1327395 h 6557032"/>
              <a:gd name="connsiteX13385" fmla="*/ 677849 w 4610101"/>
              <a:gd name="connsiteY13385" fmla="*/ 1307351 h 6557032"/>
              <a:gd name="connsiteX13386" fmla="*/ 681493 w 4610101"/>
              <a:gd name="connsiteY13386" fmla="*/ 1323751 h 6557032"/>
              <a:gd name="connsiteX13387" fmla="*/ 686960 w 4610101"/>
              <a:gd name="connsiteY13387" fmla="*/ 1301885 h 6557032"/>
              <a:gd name="connsiteX13388" fmla="*/ 692426 w 4610101"/>
              <a:gd name="connsiteY13388" fmla="*/ 1310995 h 6557032"/>
              <a:gd name="connsiteX13389" fmla="*/ 692426 w 4610101"/>
              <a:gd name="connsiteY13389" fmla="*/ 1332862 h 6557032"/>
              <a:gd name="connsiteX13390" fmla="*/ 697893 w 4610101"/>
              <a:gd name="connsiteY13390" fmla="*/ 1321929 h 6557032"/>
              <a:gd name="connsiteX13391" fmla="*/ 694249 w 4610101"/>
              <a:gd name="connsiteY13391" fmla="*/ 1305529 h 6557032"/>
              <a:gd name="connsiteX13392" fmla="*/ 697893 w 4610101"/>
              <a:gd name="connsiteY13392" fmla="*/ 1320106 h 6557032"/>
              <a:gd name="connsiteX13393" fmla="*/ 710648 w 4610101"/>
              <a:gd name="connsiteY13393" fmla="*/ 1305529 h 6557032"/>
              <a:gd name="connsiteX13394" fmla="*/ 707004 w 4610101"/>
              <a:gd name="connsiteY13394" fmla="*/ 1301885 h 6557032"/>
              <a:gd name="connsiteX13395" fmla="*/ 714293 w 4610101"/>
              <a:gd name="connsiteY13395" fmla="*/ 1298240 h 6557032"/>
              <a:gd name="connsiteX13396" fmla="*/ 690604 w 4610101"/>
              <a:gd name="connsiteY13396" fmla="*/ 1292774 h 6557032"/>
              <a:gd name="connsiteX13397" fmla="*/ 694249 w 4610101"/>
              <a:gd name="connsiteY13397" fmla="*/ 1303707 h 6557032"/>
              <a:gd name="connsiteX13398" fmla="*/ 683316 w 4610101"/>
              <a:gd name="connsiteY13398" fmla="*/ 1292774 h 6557032"/>
              <a:gd name="connsiteX13399" fmla="*/ 577630 w 4610101"/>
              <a:gd name="connsiteY13399" fmla="*/ 1292774 h 6557032"/>
              <a:gd name="connsiteX13400" fmla="*/ 575808 w 4610101"/>
              <a:gd name="connsiteY13400" fmla="*/ 1300062 h 6557032"/>
              <a:gd name="connsiteX13401" fmla="*/ 583096 w 4610101"/>
              <a:gd name="connsiteY13401" fmla="*/ 1305529 h 6557032"/>
              <a:gd name="connsiteX13402" fmla="*/ 586741 w 4610101"/>
              <a:gd name="connsiteY13402" fmla="*/ 1300062 h 6557032"/>
              <a:gd name="connsiteX13403" fmla="*/ 577630 w 4610101"/>
              <a:gd name="connsiteY13403" fmla="*/ 1292774 h 6557032"/>
              <a:gd name="connsiteX13404" fmla="*/ 264216 w 4610101"/>
              <a:gd name="connsiteY13404" fmla="*/ 1292774 h 6557032"/>
              <a:gd name="connsiteX13405" fmla="*/ 255105 w 4610101"/>
              <a:gd name="connsiteY13405" fmla="*/ 1296418 h 6557032"/>
              <a:gd name="connsiteX13406" fmla="*/ 273327 w 4610101"/>
              <a:gd name="connsiteY13406" fmla="*/ 1298240 h 6557032"/>
              <a:gd name="connsiteX13407" fmla="*/ 264216 w 4610101"/>
              <a:gd name="connsiteY13407" fmla="*/ 1292774 h 6557032"/>
              <a:gd name="connsiteX13408" fmla="*/ 236883 w 4610101"/>
              <a:gd name="connsiteY13408" fmla="*/ 1292774 h 6557032"/>
              <a:gd name="connsiteX13409" fmla="*/ 225950 w 4610101"/>
              <a:gd name="connsiteY13409" fmla="*/ 1294596 h 6557032"/>
              <a:gd name="connsiteX13410" fmla="*/ 260571 w 4610101"/>
              <a:gd name="connsiteY13410" fmla="*/ 1303707 h 6557032"/>
              <a:gd name="connsiteX13411" fmla="*/ 236883 w 4610101"/>
              <a:gd name="connsiteY13411" fmla="*/ 1292774 h 6557032"/>
              <a:gd name="connsiteX13412" fmla="*/ 1340698 w 4610101"/>
              <a:gd name="connsiteY13412" fmla="*/ 1292570 h 6557032"/>
              <a:gd name="connsiteX13413" fmla="*/ 1341120 w 4610101"/>
              <a:gd name="connsiteY13413" fmla="*/ 1294596 h 6557032"/>
              <a:gd name="connsiteX13414" fmla="*/ 1339546 w 4610101"/>
              <a:gd name="connsiteY13414" fmla="*/ 1294596 h 6557032"/>
              <a:gd name="connsiteX13415" fmla="*/ 784446 w 4610101"/>
              <a:gd name="connsiteY13415" fmla="*/ 1292090 h 6557032"/>
              <a:gd name="connsiteX13416" fmla="*/ 774424 w 4610101"/>
              <a:gd name="connsiteY13416" fmla="*/ 1298240 h 6557032"/>
              <a:gd name="connsiteX13417" fmla="*/ 770781 w 4610101"/>
              <a:gd name="connsiteY13417" fmla="*/ 1309173 h 6557032"/>
              <a:gd name="connsiteX13418" fmla="*/ 772602 w 4610101"/>
              <a:gd name="connsiteY13418" fmla="*/ 1314640 h 6557032"/>
              <a:gd name="connsiteX13419" fmla="*/ 770781 w 4610101"/>
              <a:gd name="connsiteY13419" fmla="*/ 1318284 h 6557032"/>
              <a:gd name="connsiteX13420" fmla="*/ 768959 w 4610101"/>
              <a:gd name="connsiteY13420" fmla="*/ 1314640 h 6557032"/>
              <a:gd name="connsiteX13421" fmla="*/ 765313 w 4610101"/>
              <a:gd name="connsiteY13421" fmla="*/ 1321929 h 6557032"/>
              <a:gd name="connsiteX13422" fmla="*/ 776246 w 4610101"/>
              <a:gd name="connsiteY13422" fmla="*/ 1321929 h 6557032"/>
              <a:gd name="connsiteX13423" fmla="*/ 778070 w 4610101"/>
              <a:gd name="connsiteY13423" fmla="*/ 1320106 h 6557032"/>
              <a:gd name="connsiteX13424" fmla="*/ 781713 w 4610101"/>
              <a:gd name="connsiteY13424" fmla="*/ 1321929 h 6557032"/>
              <a:gd name="connsiteX13425" fmla="*/ 801757 w 4610101"/>
              <a:gd name="connsiteY13425" fmla="*/ 1300062 h 6557032"/>
              <a:gd name="connsiteX13426" fmla="*/ 785357 w 4610101"/>
              <a:gd name="connsiteY13426" fmla="*/ 1303707 h 6557032"/>
              <a:gd name="connsiteX13427" fmla="*/ 785539 w 4610101"/>
              <a:gd name="connsiteY13427" fmla="*/ 1302067 h 6557032"/>
              <a:gd name="connsiteX13428" fmla="*/ 794468 w 4610101"/>
              <a:gd name="connsiteY13428" fmla="*/ 1298240 h 6557032"/>
              <a:gd name="connsiteX13429" fmla="*/ 784446 w 4610101"/>
              <a:gd name="connsiteY13429" fmla="*/ 1292090 h 6557032"/>
              <a:gd name="connsiteX13430" fmla="*/ 1811241 w 4610101"/>
              <a:gd name="connsiteY13430" fmla="*/ 1290951 h 6557032"/>
              <a:gd name="connsiteX13431" fmla="*/ 1813063 w 4610101"/>
              <a:gd name="connsiteY13431" fmla="*/ 1292774 h 6557032"/>
              <a:gd name="connsiteX13432" fmla="*/ 1811901 w 4610101"/>
              <a:gd name="connsiteY13432" fmla="*/ 1291831 h 6557032"/>
              <a:gd name="connsiteX13433" fmla="*/ 1250012 w 4610101"/>
              <a:gd name="connsiteY13433" fmla="*/ 1290951 h 6557032"/>
              <a:gd name="connsiteX13434" fmla="*/ 1246367 w 4610101"/>
              <a:gd name="connsiteY13434" fmla="*/ 1296418 h 6557032"/>
              <a:gd name="connsiteX13435" fmla="*/ 1250012 w 4610101"/>
              <a:gd name="connsiteY13435" fmla="*/ 1296418 h 6557032"/>
              <a:gd name="connsiteX13436" fmla="*/ 1250012 w 4610101"/>
              <a:gd name="connsiteY13436" fmla="*/ 1290951 h 6557032"/>
              <a:gd name="connsiteX13437" fmla="*/ 1175303 w 4610101"/>
              <a:gd name="connsiteY13437" fmla="*/ 1290951 h 6557032"/>
              <a:gd name="connsiteX13438" fmla="*/ 1193525 w 4610101"/>
              <a:gd name="connsiteY13438" fmla="*/ 1300062 h 6557032"/>
              <a:gd name="connsiteX13439" fmla="*/ 1175303 w 4610101"/>
              <a:gd name="connsiteY13439" fmla="*/ 1290951 h 6557032"/>
              <a:gd name="connsiteX13440" fmla="*/ 1131570 w 4610101"/>
              <a:gd name="connsiteY13440" fmla="*/ 1290951 h 6557032"/>
              <a:gd name="connsiteX13441" fmla="*/ 1135215 w 4610101"/>
              <a:gd name="connsiteY13441" fmla="*/ 1292774 h 6557032"/>
              <a:gd name="connsiteX13442" fmla="*/ 1131570 w 4610101"/>
              <a:gd name="connsiteY13442" fmla="*/ 1290951 h 6557032"/>
              <a:gd name="connsiteX13443" fmla="*/ 747092 w 4610101"/>
              <a:gd name="connsiteY13443" fmla="*/ 1290951 h 6557032"/>
              <a:gd name="connsiteX13444" fmla="*/ 743447 w 4610101"/>
              <a:gd name="connsiteY13444" fmla="*/ 1294596 h 6557032"/>
              <a:gd name="connsiteX13445" fmla="*/ 743447 w 4610101"/>
              <a:gd name="connsiteY13445" fmla="*/ 1298240 h 6557032"/>
              <a:gd name="connsiteX13446" fmla="*/ 747092 w 4610101"/>
              <a:gd name="connsiteY13446" fmla="*/ 1290951 h 6557032"/>
              <a:gd name="connsiteX13447" fmla="*/ 3453020 w 4610101"/>
              <a:gd name="connsiteY13447" fmla="*/ 1290951 h 6557032"/>
              <a:gd name="connsiteX13448" fmla="*/ 3453020 w 4610101"/>
              <a:gd name="connsiteY13448" fmla="*/ 1290951 h 6557032"/>
              <a:gd name="connsiteX13449" fmla="*/ 3453020 w 4610101"/>
              <a:gd name="connsiteY13449" fmla="*/ 1290951 h 6557032"/>
              <a:gd name="connsiteX13450" fmla="*/ 822570 w 4610101"/>
              <a:gd name="connsiteY13450" fmla="*/ 1290923 h 6557032"/>
              <a:gd name="connsiteX13451" fmla="*/ 821801 w 4610101"/>
              <a:gd name="connsiteY13451" fmla="*/ 1305529 h 6557032"/>
              <a:gd name="connsiteX13452" fmla="*/ 830912 w 4610101"/>
              <a:gd name="connsiteY13452" fmla="*/ 1309173 h 6557032"/>
              <a:gd name="connsiteX13453" fmla="*/ 827267 w 4610101"/>
              <a:gd name="connsiteY13453" fmla="*/ 1292774 h 6557032"/>
              <a:gd name="connsiteX13454" fmla="*/ 822570 w 4610101"/>
              <a:gd name="connsiteY13454" fmla="*/ 1290923 h 6557032"/>
              <a:gd name="connsiteX13455" fmla="*/ 3453113 w 4610101"/>
              <a:gd name="connsiteY13455" fmla="*/ 1290842 h 6557032"/>
              <a:gd name="connsiteX13456" fmla="*/ 3453149 w 4610101"/>
              <a:gd name="connsiteY13456" fmla="*/ 1290908 h 6557032"/>
              <a:gd name="connsiteX13457" fmla="*/ 3453020 w 4610101"/>
              <a:gd name="connsiteY13457" fmla="*/ 1290951 h 6557032"/>
              <a:gd name="connsiteX13458" fmla="*/ 504743 w 4610101"/>
              <a:gd name="connsiteY13458" fmla="*/ 1290496 h 6557032"/>
              <a:gd name="connsiteX13459" fmla="*/ 491987 w 4610101"/>
              <a:gd name="connsiteY13459" fmla="*/ 1292774 h 6557032"/>
              <a:gd name="connsiteX13460" fmla="*/ 495632 w 4610101"/>
              <a:gd name="connsiteY13460" fmla="*/ 1296418 h 6557032"/>
              <a:gd name="connsiteX13461" fmla="*/ 488343 w 4610101"/>
              <a:gd name="connsiteY13461" fmla="*/ 1296418 h 6557032"/>
              <a:gd name="connsiteX13462" fmla="*/ 495632 w 4610101"/>
              <a:gd name="connsiteY13462" fmla="*/ 1307351 h 6557032"/>
              <a:gd name="connsiteX13463" fmla="*/ 501098 w 4610101"/>
              <a:gd name="connsiteY13463" fmla="*/ 1300062 h 6557032"/>
              <a:gd name="connsiteX13464" fmla="*/ 495632 w 4610101"/>
              <a:gd name="connsiteY13464" fmla="*/ 1298240 h 6557032"/>
              <a:gd name="connsiteX13465" fmla="*/ 504743 w 4610101"/>
              <a:gd name="connsiteY13465" fmla="*/ 1298240 h 6557032"/>
              <a:gd name="connsiteX13466" fmla="*/ 508387 w 4610101"/>
              <a:gd name="connsiteY13466" fmla="*/ 1292774 h 6557032"/>
              <a:gd name="connsiteX13467" fmla="*/ 508387 w 4610101"/>
              <a:gd name="connsiteY13467" fmla="*/ 1296418 h 6557032"/>
              <a:gd name="connsiteX13468" fmla="*/ 517498 w 4610101"/>
              <a:gd name="connsiteY13468" fmla="*/ 1290951 h 6557032"/>
              <a:gd name="connsiteX13469" fmla="*/ 504743 w 4610101"/>
              <a:gd name="connsiteY13469" fmla="*/ 1290496 h 6557032"/>
              <a:gd name="connsiteX13470" fmla="*/ 225267 w 4610101"/>
              <a:gd name="connsiteY13470" fmla="*/ 1290496 h 6557032"/>
              <a:gd name="connsiteX13471" fmla="*/ 224128 w 4610101"/>
              <a:gd name="connsiteY13471" fmla="*/ 1292774 h 6557032"/>
              <a:gd name="connsiteX13472" fmla="*/ 233239 w 4610101"/>
              <a:gd name="connsiteY13472" fmla="*/ 1292774 h 6557032"/>
              <a:gd name="connsiteX13473" fmla="*/ 227772 w 4610101"/>
              <a:gd name="connsiteY13473" fmla="*/ 1290951 h 6557032"/>
              <a:gd name="connsiteX13474" fmla="*/ 225267 w 4610101"/>
              <a:gd name="connsiteY13474" fmla="*/ 1290496 h 6557032"/>
              <a:gd name="connsiteX13475" fmla="*/ 1321761 w 4610101"/>
              <a:gd name="connsiteY13475" fmla="*/ 1289812 h 6557032"/>
              <a:gd name="connsiteX13476" fmla="*/ 1322899 w 4610101"/>
              <a:gd name="connsiteY13476" fmla="*/ 1292774 h 6557032"/>
              <a:gd name="connsiteX13477" fmla="*/ 1324721 w 4610101"/>
              <a:gd name="connsiteY13477" fmla="*/ 1290951 h 6557032"/>
              <a:gd name="connsiteX13478" fmla="*/ 1321761 w 4610101"/>
              <a:gd name="connsiteY13478" fmla="*/ 1289812 h 6557032"/>
              <a:gd name="connsiteX13479" fmla="*/ 350768 w 4610101"/>
              <a:gd name="connsiteY13479" fmla="*/ 1289812 h 6557032"/>
              <a:gd name="connsiteX13480" fmla="*/ 342569 w 4610101"/>
              <a:gd name="connsiteY13480" fmla="*/ 1292774 h 6557032"/>
              <a:gd name="connsiteX13481" fmla="*/ 358969 w 4610101"/>
              <a:gd name="connsiteY13481" fmla="*/ 1290951 h 6557032"/>
              <a:gd name="connsiteX13482" fmla="*/ 350768 w 4610101"/>
              <a:gd name="connsiteY13482" fmla="*/ 1289812 h 6557032"/>
              <a:gd name="connsiteX13483" fmla="*/ 1239173 w 4610101"/>
              <a:gd name="connsiteY13483" fmla="*/ 1289602 h 6557032"/>
              <a:gd name="connsiteX13484" fmla="*/ 1239306 w 4610101"/>
              <a:gd name="connsiteY13484" fmla="*/ 1289813 h 6557032"/>
              <a:gd name="connsiteX13485" fmla="*/ 1239229 w 4610101"/>
              <a:gd name="connsiteY13485" fmla="*/ 1289878 h 6557032"/>
              <a:gd name="connsiteX13486" fmla="*/ 3001121 w 4610101"/>
              <a:gd name="connsiteY13486" fmla="*/ 1289129 h 6557032"/>
              <a:gd name="connsiteX13487" fmla="*/ 2992010 w 4610101"/>
              <a:gd name="connsiteY13487" fmla="*/ 1290951 h 6557032"/>
              <a:gd name="connsiteX13488" fmla="*/ 2993832 w 4610101"/>
              <a:gd name="connsiteY13488" fmla="*/ 1296418 h 6557032"/>
              <a:gd name="connsiteX13489" fmla="*/ 2977432 w 4610101"/>
              <a:gd name="connsiteY13489" fmla="*/ 1296418 h 6557032"/>
              <a:gd name="connsiteX13490" fmla="*/ 2973788 w 4610101"/>
              <a:gd name="connsiteY13490" fmla="*/ 1305529 h 6557032"/>
              <a:gd name="connsiteX13491" fmla="*/ 2979255 w 4610101"/>
              <a:gd name="connsiteY13491" fmla="*/ 1325573 h 6557032"/>
              <a:gd name="connsiteX13492" fmla="*/ 2992010 w 4610101"/>
              <a:gd name="connsiteY13492" fmla="*/ 1325573 h 6557032"/>
              <a:gd name="connsiteX13493" fmla="*/ 2984721 w 4610101"/>
              <a:gd name="connsiteY13493" fmla="*/ 1318284 h 6557032"/>
              <a:gd name="connsiteX13494" fmla="*/ 2986543 w 4610101"/>
              <a:gd name="connsiteY13494" fmla="*/ 1298240 h 6557032"/>
              <a:gd name="connsiteX13495" fmla="*/ 2993832 w 4610101"/>
              <a:gd name="connsiteY13495" fmla="*/ 1309173 h 6557032"/>
              <a:gd name="connsiteX13496" fmla="*/ 3001121 w 4610101"/>
              <a:gd name="connsiteY13496" fmla="*/ 1289129 h 6557032"/>
              <a:gd name="connsiteX13497" fmla="*/ 2612998 w 4610101"/>
              <a:gd name="connsiteY13497" fmla="*/ 1289129 h 6557032"/>
              <a:gd name="connsiteX13498" fmla="*/ 2611176 w 4610101"/>
              <a:gd name="connsiteY13498" fmla="*/ 1292774 h 6557032"/>
              <a:gd name="connsiteX13499" fmla="*/ 2622109 w 4610101"/>
              <a:gd name="connsiteY13499" fmla="*/ 1307351 h 6557032"/>
              <a:gd name="connsiteX13500" fmla="*/ 2623931 w 4610101"/>
              <a:gd name="connsiteY13500" fmla="*/ 1292774 h 6557032"/>
              <a:gd name="connsiteX13501" fmla="*/ 2612998 w 4610101"/>
              <a:gd name="connsiteY13501" fmla="*/ 1289129 h 6557032"/>
              <a:gd name="connsiteX13502" fmla="*/ 1284633 w 4610101"/>
              <a:gd name="connsiteY13502" fmla="*/ 1289129 h 6557032"/>
              <a:gd name="connsiteX13503" fmla="*/ 1282811 w 4610101"/>
              <a:gd name="connsiteY13503" fmla="*/ 1290951 h 6557032"/>
              <a:gd name="connsiteX13504" fmla="*/ 1286455 w 4610101"/>
              <a:gd name="connsiteY13504" fmla="*/ 1290951 h 6557032"/>
              <a:gd name="connsiteX13505" fmla="*/ 1284633 w 4610101"/>
              <a:gd name="connsiteY13505" fmla="*/ 1289129 h 6557032"/>
              <a:gd name="connsiteX13506" fmla="*/ 1168014 w 4610101"/>
              <a:gd name="connsiteY13506" fmla="*/ 1289129 h 6557032"/>
              <a:gd name="connsiteX13507" fmla="*/ 1175303 w 4610101"/>
              <a:gd name="connsiteY13507" fmla="*/ 1298240 h 6557032"/>
              <a:gd name="connsiteX13508" fmla="*/ 1189880 w 4610101"/>
              <a:gd name="connsiteY13508" fmla="*/ 1309173 h 6557032"/>
              <a:gd name="connsiteX13509" fmla="*/ 1191703 w 4610101"/>
              <a:gd name="connsiteY13509" fmla="*/ 1309857 h 6557032"/>
              <a:gd name="connsiteX13510" fmla="*/ 1192334 w 4610101"/>
              <a:gd name="connsiteY13510" fmla="*/ 1309619 h 6557032"/>
              <a:gd name="connsiteX13511" fmla="*/ 1192385 w 4610101"/>
              <a:gd name="connsiteY13511" fmla="*/ 1309629 h 6557032"/>
              <a:gd name="connsiteX13512" fmla="*/ 1192402 w 4610101"/>
              <a:gd name="connsiteY13512" fmla="*/ 1309594 h 6557032"/>
              <a:gd name="connsiteX13513" fmla="*/ 1193525 w 4610101"/>
              <a:gd name="connsiteY13513" fmla="*/ 1309173 h 6557032"/>
              <a:gd name="connsiteX13514" fmla="*/ 1206279 w 4610101"/>
              <a:gd name="connsiteY13514" fmla="*/ 1314640 h 6557032"/>
              <a:gd name="connsiteX13515" fmla="*/ 1198991 w 4610101"/>
              <a:gd name="connsiteY13515" fmla="*/ 1312818 h 6557032"/>
              <a:gd name="connsiteX13516" fmla="*/ 1193525 w 4610101"/>
              <a:gd name="connsiteY13516" fmla="*/ 1307351 h 6557032"/>
              <a:gd name="connsiteX13517" fmla="*/ 1192402 w 4610101"/>
              <a:gd name="connsiteY13517" fmla="*/ 1309594 h 6557032"/>
              <a:gd name="connsiteX13518" fmla="*/ 1192334 w 4610101"/>
              <a:gd name="connsiteY13518" fmla="*/ 1309619 h 6557032"/>
              <a:gd name="connsiteX13519" fmla="*/ 1189880 w 4610101"/>
              <a:gd name="connsiteY13519" fmla="*/ 1309173 h 6557032"/>
              <a:gd name="connsiteX13520" fmla="*/ 1191703 w 4610101"/>
              <a:gd name="connsiteY13520" fmla="*/ 1303707 h 6557032"/>
              <a:gd name="connsiteX13521" fmla="*/ 1168014 w 4610101"/>
              <a:gd name="connsiteY13521" fmla="*/ 1289129 h 6557032"/>
              <a:gd name="connsiteX13522" fmla="*/ 674205 w 4610101"/>
              <a:gd name="connsiteY13522" fmla="*/ 1289129 h 6557032"/>
              <a:gd name="connsiteX13523" fmla="*/ 668738 w 4610101"/>
              <a:gd name="connsiteY13523" fmla="*/ 1294596 h 6557032"/>
              <a:gd name="connsiteX13524" fmla="*/ 674205 w 4610101"/>
              <a:gd name="connsiteY13524" fmla="*/ 1289129 h 6557032"/>
              <a:gd name="connsiteX13525" fmla="*/ 380835 w 4610101"/>
              <a:gd name="connsiteY13525" fmla="*/ 1289129 h 6557032"/>
              <a:gd name="connsiteX13526" fmla="*/ 373546 w 4610101"/>
              <a:gd name="connsiteY13526" fmla="*/ 1290951 h 6557032"/>
              <a:gd name="connsiteX13527" fmla="*/ 364435 w 4610101"/>
              <a:gd name="connsiteY13527" fmla="*/ 1292774 h 6557032"/>
              <a:gd name="connsiteX13528" fmla="*/ 380835 w 4610101"/>
              <a:gd name="connsiteY13528" fmla="*/ 1289129 h 6557032"/>
              <a:gd name="connsiteX13529" fmla="*/ 3459773 w 4610101"/>
              <a:gd name="connsiteY13529" fmla="*/ 1288700 h 6557032"/>
              <a:gd name="connsiteX13530" fmla="*/ 3462131 w 4610101"/>
              <a:gd name="connsiteY13530" fmla="*/ 1292774 h 6557032"/>
              <a:gd name="connsiteX13531" fmla="*/ 3453872 w 4610101"/>
              <a:gd name="connsiteY13531" fmla="*/ 1294150 h 6557032"/>
              <a:gd name="connsiteX13532" fmla="*/ 3454159 w 4610101"/>
              <a:gd name="connsiteY13532" fmla="*/ 1292773 h 6557032"/>
              <a:gd name="connsiteX13533" fmla="*/ 3453149 w 4610101"/>
              <a:gd name="connsiteY13533" fmla="*/ 1290908 h 6557032"/>
              <a:gd name="connsiteX13534" fmla="*/ 804034 w 4610101"/>
              <a:gd name="connsiteY13534" fmla="*/ 1287990 h 6557032"/>
              <a:gd name="connsiteX13535" fmla="*/ 803579 w 4610101"/>
              <a:gd name="connsiteY13535" fmla="*/ 1289129 h 6557032"/>
              <a:gd name="connsiteX13536" fmla="*/ 803579 w 4610101"/>
              <a:gd name="connsiteY13536" fmla="*/ 1296418 h 6557032"/>
              <a:gd name="connsiteX13537" fmla="*/ 805401 w 4610101"/>
              <a:gd name="connsiteY13537" fmla="*/ 1289129 h 6557032"/>
              <a:gd name="connsiteX13538" fmla="*/ 807364 w 4610101"/>
              <a:gd name="connsiteY13538" fmla="*/ 1289129 h 6557032"/>
              <a:gd name="connsiteX13539" fmla="*/ 812690 w 4610101"/>
              <a:gd name="connsiteY13539" fmla="*/ 1290951 h 6557032"/>
              <a:gd name="connsiteX13540" fmla="*/ 813904 w 4610101"/>
              <a:gd name="connsiteY13540" fmla="*/ 1289736 h 6557032"/>
              <a:gd name="connsiteX13541" fmla="*/ 816334 w 4610101"/>
              <a:gd name="connsiteY13541" fmla="*/ 1290951 h 6557032"/>
              <a:gd name="connsiteX13542" fmla="*/ 814512 w 4610101"/>
              <a:gd name="connsiteY13542" fmla="*/ 1289129 h 6557032"/>
              <a:gd name="connsiteX13543" fmla="*/ 813904 w 4610101"/>
              <a:gd name="connsiteY13543" fmla="*/ 1289736 h 6557032"/>
              <a:gd name="connsiteX13544" fmla="*/ 812690 w 4610101"/>
              <a:gd name="connsiteY13544" fmla="*/ 1289129 h 6557032"/>
              <a:gd name="connsiteX13545" fmla="*/ 807364 w 4610101"/>
              <a:gd name="connsiteY13545" fmla="*/ 1289129 h 6557032"/>
              <a:gd name="connsiteX13546" fmla="*/ 384934 w 4610101"/>
              <a:gd name="connsiteY13546" fmla="*/ 1287763 h 6557032"/>
              <a:gd name="connsiteX13547" fmla="*/ 379012 w 4610101"/>
              <a:gd name="connsiteY13547" fmla="*/ 1294596 h 6557032"/>
              <a:gd name="connsiteX13548" fmla="*/ 393590 w 4610101"/>
              <a:gd name="connsiteY13548" fmla="*/ 1289129 h 6557032"/>
              <a:gd name="connsiteX13549" fmla="*/ 384934 w 4610101"/>
              <a:gd name="connsiteY13549" fmla="*/ 1287763 h 6557032"/>
              <a:gd name="connsiteX13550" fmla="*/ 1652713 w 4610101"/>
              <a:gd name="connsiteY13550" fmla="*/ 1287443 h 6557032"/>
              <a:gd name="connsiteX13551" fmla="*/ 1680046 w 4610101"/>
              <a:gd name="connsiteY13551" fmla="*/ 1309308 h 6557032"/>
              <a:gd name="connsiteX13552" fmla="*/ 1660001 w 4610101"/>
              <a:gd name="connsiteY13552" fmla="*/ 1332995 h 6557032"/>
              <a:gd name="connsiteX13553" fmla="*/ 1645423 w 4610101"/>
              <a:gd name="connsiteY13553" fmla="*/ 1294732 h 6557032"/>
              <a:gd name="connsiteX13554" fmla="*/ 3461290 w 4610101"/>
              <a:gd name="connsiteY13554" fmla="*/ 1287307 h 6557032"/>
              <a:gd name="connsiteX13555" fmla="*/ 3463953 w 4610101"/>
              <a:gd name="connsiteY13555" fmla="*/ 1287307 h 6557032"/>
              <a:gd name="connsiteX13556" fmla="*/ 3459773 w 4610101"/>
              <a:gd name="connsiteY13556" fmla="*/ 1288700 h 6557032"/>
              <a:gd name="connsiteX13557" fmla="*/ 3459626 w 4610101"/>
              <a:gd name="connsiteY13557" fmla="*/ 1288446 h 6557032"/>
              <a:gd name="connsiteX13558" fmla="*/ 3451198 w 4610101"/>
              <a:gd name="connsiteY13558" fmla="*/ 1287307 h 6557032"/>
              <a:gd name="connsiteX13559" fmla="*/ 3452890 w 4610101"/>
              <a:gd name="connsiteY13559" fmla="*/ 1290430 h 6557032"/>
              <a:gd name="connsiteX13560" fmla="*/ 3453020 w 4610101"/>
              <a:gd name="connsiteY13560" fmla="*/ 1290951 h 6557032"/>
              <a:gd name="connsiteX13561" fmla="*/ 3450098 w 4610101"/>
              <a:gd name="connsiteY13561" fmla="*/ 1291925 h 6557032"/>
              <a:gd name="connsiteX13562" fmla="*/ 3196093 w 4610101"/>
              <a:gd name="connsiteY13562" fmla="*/ 1287307 h 6557032"/>
              <a:gd name="connsiteX13563" fmla="*/ 3197916 w 4610101"/>
              <a:gd name="connsiteY13563" fmla="*/ 1301885 h 6557032"/>
              <a:gd name="connsiteX13564" fmla="*/ 3208849 w 4610101"/>
              <a:gd name="connsiteY13564" fmla="*/ 1307351 h 6557032"/>
              <a:gd name="connsiteX13565" fmla="*/ 3212493 w 4610101"/>
              <a:gd name="connsiteY13565" fmla="*/ 1292774 h 6557032"/>
              <a:gd name="connsiteX13566" fmla="*/ 3208849 w 4610101"/>
              <a:gd name="connsiteY13566" fmla="*/ 1296418 h 6557032"/>
              <a:gd name="connsiteX13567" fmla="*/ 3196093 w 4610101"/>
              <a:gd name="connsiteY13567" fmla="*/ 1287307 h 6557032"/>
              <a:gd name="connsiteX13568" fmla="*/ 1793020 w 4610101"/>
              <a:gd name="connsiteY13568" fmla="*/ 1287307 h 6557032"/>
              <a:gd name="connsiteX13569" fmla="*/ 1794842 w 4610101"/>
              <a:gd name="connsiteY13569" fmla="*/ 1292774 h 6557032"/>
              <a:gd name="connsiteX13570" fmla="*/ 1807598 w 4610101"/>
              <a:gd name="connsiteY13570" fmla="*/ 1296418 h 6557032"/>
              <a:gd name="connsiteX13571" fmla="*/ 1793020 w 4610101"/>
              <a:gd name="connsiteY13571" fmla="*/ 1287307 h 6557032"/>
              <a:gd name="connsiteX13572" fmla="*/ 1324721 w 4610101"/>
              <a:gd name="connsiteY13572" fmla="*/ 1287307 h 6557032"/>
              <a:gd name="connsiteX13573" fmla="*/ 1322899 w 4610101"/>
              <a:gd name="connsiteY13573" fmla="*/ 1289129 h 6557032"/>
              <a:gd name="connsiteX13574" fmla="*/ 1326543 w 4610101"/>
              <a:gd name="connsiteY13574" fmla="*/ 1289129 h 6557032"/>
              <a:gd name="connsiteX13575" fmla="*/ 1324721 w 4610101"/>
              <a:gd name="connsiteY13575" fmla="*/ 1292774 h 6557032"/>
              <a:gd name="connsiteX13576" fmla="*/ 1328365 w 4610101"/>
              <a:gd name="connsiteY13576" fmla="*/ 1294596 h 6557032"/>
              <a:gd name="connsiteX13577" fmla="*/ 1330188 w 4610101"/>
              <a:gd name="connsiteY13577" fmla="*/ 1292774 h 6557032"/>
              <a:gd name="connsiteX13578" fmla="*/ 1326543 w 4610101"/>
              <a:gd name="connsiteY13578" fmla="*/ 1289129 h 6557032"/>
              <a:gd name="connsiteX13579" fmla="*/ 1315610 w 4610101"/>
              <a:gd name="connsiteY13579" fmla="*/ 1287307 h 6557032"/>
              <a:gd name="connsiteX13580" fmla="*/ 1319254 w 4610101"/>
              <a:gd name="connsiteY13580" fmla="*/ 1292774 h 6557032"/>
              <a:gd name="connsiteX13581" fmla="*/ 1321077 w 4610101"/>
              <a:gd name="connsiteY13581" fmla="*/ 1287307 h 6557032"/>
              <a:gd name="connsiteX13582" fmla="*/ 1317432 w 4610101"/>
              <a:gd name="connsiteY13582" fmla="*/ 1287307 h 6557032"/>
              <a:gd name="connsiteX13583" fmla="*/ 1319254 w 4610101"/>
              <a:gd name="connsiteY13583" fmla="*/ 1292774 h 6557032"/>
              <a:gd name="connsiteX13584" fmla="*/ 1315610 w 4610101"/>
              <a:gd name="connsiteY13584" fmla="*/ 1287307 h 6557032"/>
              <a:gd name="connsiteX13585" fmla="*/ 1158903 w 4610101"/>
              <a:gd name="connsiteY13585" fmla="*/ 1287307 h 6557032"/>
              <a:gd name="connsiteX13586" fmla="*/ 1164370 w 4610101"/>
              <a:gd name="connsiteY13586" fmla="*/ 1290951 h 6557032"/>
              <a:gd name="connsiteX13587" fmla="*/ 1166192 w 4610101"/>
              <a:gd name="connsiteY13587" fmla="*/ 1287307 h 6557032"/>
              <a:gd name="connsiteX13588" fmla="*/ 1158903 w 4610101"/>
              <a:gd name="connsiteY13588" fmla="*/ 1287307 h 6557032"/>
              <a:gd name="connsiteX13589" fmla="*/ 1157081 w 4610101"/>
              <a:gd name="connsiteY13589" fmla="*/ 1287307 h 6557032"/>
              <a:gd name="connsiteX13590" fmla="*/ 1155259 w 4610101"/>
              <a:gd name="connsiteY13590" fmla="*/ 1289129 h 6557032"/>
              <a:gd name="connsiteX13591" fmla="*/ 1160725 w 4610101"/>
              <a:gd name="connsiteY13591" fmla="*/ 1290951 h 6557032"/>
              <a:gd name="connsiteX13592" fmla="*/ 1157081 w 4610101"/>
              <a:gd name="connsiteY13592" fmla="*/ 1287307 h 6557032"/>
              <a:gd name="connsiteX13593" fmla="*/ 623185 w 4610101"/>
              <a:gd name="connsiteY13593" fmla="*/ 1287307 h 6557032"/>
              <a:gd name="connsiteX13594" fmla="*/ 623185 w 4610101"/>
              <a:gd name="connsiteY13594" fmla="*/ 1298240 h 6557032"/>
              <a:gd name="connsiteX13595" fmla="*/ 623185 w 4610101"/>
              <a:gd name="connsiteY13595" fmla="*/ 1287307 h 6557032"/>
              <a:gd name="connsiteX13596" fmla="*/ 444611 w 4610101"/>
              <a:gd name="connsiteY13596" fmla="*/ 1287307 h 6557032"/>
              <a:gd name="connsiteX13597" fmla="*/ 437322 w 4610101"/>
              <a:gd name="connsiteY13597" fmla="*/ 1290951 h 6557032"/>
              <a:gd name="connsiteX13598" fmla="*/ 450077 w 4610101"/>
              <a:gd name="connsiteY13598" fmla="*/ 1292774 h 6557032"/>
              <a:gd name="connsiteX13599" fmla="*/ 444611 w 4610101"/>
              <a:gd name="connsiteY13599" fmla="*/ 1287307 h 6557032"/>
              <a:gd name="connsiteX13600" fmla="*/ 1125876 w 4610101"/>
              <a:gd name="connsiteY13600" fmla="*/ 1287079 h 6557032"/>
              <a:gd name="connsiteX13601" fmla="*/ 1127926 w 4610101"/>
              <a:gd name="connsiteY13601" fmla="*/ 1289129 h 6557032"/>
              <a:gd name="connsiteX13602" fmla="*/ 1122459 w 4610101"/>
              <a:gd name="connsiteY13602" fmla="*/ 1287307 h 6557032"/>
              <a:gd name="connsiteX13603" fmla="*/ 1122542 w 4610101"/>
              <a:gd name="connsiteY13603" fmla="*/ 1287224 h 6557032"/>
              <a:gd name="connsiteX13604" fmla="*/ 3298591 w 4610101"/>
              <a:gd name="connsiteY13604" fmla="*/ 1286624 h 6557032"/>
              <a:gd name="connsiteX13605" fmla="*/ 3292669 w 4610101"/>
              <a:gd name="connsiteY13605" fmla="*/ 1289129 h 6557032"/>
              <a:gd name="connsiteX13606" fmla="*/ 3294491 w 4610101"/>
              <a:gd name="connsiteY13606" fmla="*/ 1292774 h 6557032"/>
              <a:gd name="connsiteX13607" fmla="*/ 3301780 w 4610101"/>
              <a:gd name="connsiteY13607" fmla="*/ 1290951 h 6557032"/>
              <a:gd name="connsiteX13608" fmla="*/ 3298591 w 4610101"/>
              <a:gd name="connsiteY13608" fmla="*/ 1286624 h 6557032"/>
              <a:gd name="connsiteX13609" fmla="*/ 2854436 w 4610101"/>
              <a:gd name="connsiteY13609" fmla="*/ 1285485 h 6557032"/>
              <a:gd name="connsiteX13610" fmla="*/ 2849880 w 4610101"/>
              <a:gd name="connsiteY13610" fmla="*/ 1289129 h 6557032"/>
              <a:gd name="connsiteX13611" fmla="*/ 2858991 w 4610101"/>
              <a:gd name="connsiteY13611" fmla="*/ 1287307 h 6557032"/>
              <a:gd name="connsiteX13612" fmla="*/ 2854436 w 4610101"/>
              <a:gd name="connsiteY13612" fmla="*/ 1285485 h 6557032"/>
              <a:gd name="connsiteX13613" fmla="*/ 1907816 w 4610101"/>
              <a:gd name="connsiteY13613" fmla="*/ 1285485 h 6557032"/>
              <a:gd name="connsiteX13614" fmla="*/ 1907816 w 4610101"/>
              <a:gd name="connsiteY13614" fmla="*/ 1289129 h 6557032"/>
              <a:gd name="connsiteX13615" fmla="*/ 1911461 w 4610101"/>
              <a:gd name="connsiteY13615" fmla="*/ 1289129 h 6557032"/>
              <a:gd name="connsiteX13616" fmla="*/ 1909639 w 4610101"/>
              <a:gd name="connsiteY13616" fmla="*/ 1285485 h 6557032"/>
              <a:gd name="connsiteX13617" fmla="*/ 1907816 w 4610101"/>
              <a:gd name="connsiteY13617" fmla="*/ 1285485 h 6557032"/>
              <a:gd name="connsiteX13618" fmla="*/ 537542 w 4610101"/>
              <a:gd name="connsiteY13618" fmla="*/ 1285485 h 6557032"/>
              <a:gd name="connsiteX13619" fmla="*/ 532075 w 4610101"/>
              <a:gd name="connsiteY13619" fmla="*/ 1292774 h 6557032"/>
              <a:gd name="connsiteX13620" fmla="*/ 544830 w 4610101"/>
              <a:gd name="connsiteY13620" fmla="*/ 1290951 h 6557032"/>
              <a:gd name="connsiteX13621" fmla="*/ 537542 w 4610101"/>
              <a:gd name="connsiteY13621" fmla="*/ 1285485 h 6557032"/>
              <a:gd name="connsiteX13622" fmla="*/ 411812 w 4610101"/>
              <a:gd name="connsiteY13622" fmla="*/ 1285485 h 6557032"/>
              <a:gd name="connsiteX13623" fmla="*/ 408167 w 4610101"/>
              <a:gd name="connsiteY13623" fmla="*/ 1287307 h 6557032"/>
              <a:gd name="connsiteX13624" fmla="*/ 411812 w 4610101"/>
              <a:gd name="connsiteY13624" fmla="*/ 1285485 h 6557032"/>
              <a:gd name="connsiteX13625" fmla="*/ 242349 w 4610101"/>
              <a:gd name="connsiteY13625" fmla="*/ 1285485 h 6557032"/>
              <a:gd name="connsiteX13626" fmla="*/ 247816 w 4610101"/>
              <a:gd name="connsiteY13626" fmla="*/ 1289129 h 6557032"/>
              <a:gd name="connsiteX13627" fmla="*/ 242349 w 4610101"/>
              <a:gd name="connsiteY13627" fmla="*/ 1285485 h 6557032"/>
              <a:gd name="connsiteX13628" fmla="*/ 1335654 w 4610101"/>
              <a:gd name="connsiteY13628" fmla="*/ 1284574 h 6557032"/>
              <a:gd name="connsiteX13629" fmla="*/ 1335654 w 4610101"/>
              <a:gd name="connsiteY13629" fmla="*/ 1287307 h 6557032"/>
              <a:gd name="connsiteX13630" fmla="*/ 1333832 w 4610101"/>
              <a:gd name="connsiteY13630" fmla="*/ 1287307 h 6557032"/>
              <a:gd name="connsiteX13631" fmla="*/ 3365556 w 4610101"/>
              <a:gd name="connsiteY13631" fmla="*/ 1283663 h 6557032"/>
              <a:gd name="connsiteX13632" fmla="*/ 3371022 w 4610101"/>
              <a:gd name="connsiteY13632" fmla="*/ 1287307 h 6557032"/>
              <a:gd name="connsiteX13633" fmla="*/ 3365556 w 4610101"/>
              <a:gd name="connsiteY13633" fmla="*/ 1283663 h 6557032"/>
              <a:gd name="connsiteX13634" fmla="*/ 2472690 w 4610101"/>
              <a:gd name="connsiteY13634" fmla="*/ 1283663 h 6557032"/>
              <a:gd name="connsiteX13635" fmla="*/ 2456291 w 4610101"/>
              <a:gd name="connsiteY13635" fmla="*/ 1290951 h 6557032"/>
              <a:gd name="connsiteX13636" fmla="*/ 2461757 w 4610101"/>
              <a:gd name="connsiteY13636" fmla="*/ 1298240 h 6557032"/>
              <a:gd name="connsiteX13637" fmla="*/ 2454469 w 4610101"/>
              <a:gd name="connsiteY13637" fmla="*/ 1290951 h 6557032"/>
              <a:gd name="connsiteX13638" fmla="*/ 2450824 w 4610101"/>
              <a:gd name="connsiteY13638" fmla="*/ 1292774 h 6557032"/>
              <a:gd name="connsiteX13639" fmla="*/ 2449002 w 4610101"/>
              <a:gd name="connsiteY13639" fmla="*/ 1285485 h 6557032"/>
              <a:gd name="connsiteX13640" fmla="*/ 2447180 w 4610101"/>
              <a:gd name="connsiteY13640" fmla="*/ 1285485 h 6557032"/>
              <a:gd name="connsiteX13641" fmla="*/ 2436247 w 4610101"/>
              <a:gd name="connsiteY13641" fmla="*/ 1285485 h 6557032"/>
              <a:gd name="connsiteX13642" fmla="*/ 2414381 w 4610101"/>
              <a:gd name="connsiteY13642" fmla="*/ 1285485 h 6557032"/>
              <a:gd name="connsiteX13643" fmla="*/ 2414381 w 4610101"/>
              <a:gd name="connsiteY13643" fmla="*/ 1292774 h 6557032"/>
              <a:gd name="connsiteX13644" fmla="*/ 2435194 w 4610101"/>
              <a:gd name="connsiteY13644" fmla="*/ 1301446 h 6557032"/>
              <a:gd name="connsiteX13645" fmla="*/ 2435629 w 4610101"/>
              <a:gd name="connsiteY13645" fmla="*/ 1302228 h 6557032"/>
              <a:gd name="connsiteX13646" fmla="*/ 2419847 w 4610101"/>
              <a:gd name="connsiteY13646" fmla="*/ 1310995 h 6557032"/>
              <a:gd name="connsiteX13647" fmla="*/ 2434425 w 4610101"/>
              <a:gd name="connsiteY13647" fmla="*/ 1323751 h 6557032"/>
              <a:gd name="connsiteX13648" fmla="*/ 2428958 w 4610101"/>
              <a:gd name="connsiteY13648" fmla="*/ 1316462 h 6557032"/>
              <a:gd name="connsiteX13649" fmla="*/ 2438069 w 4610101"/>
              <a:gd name="connsiteY13649" fmla="*/ 1320106 h 6557032"/>
              <a:gd name="connsiteX13650" fmla="*/ 2443536 w 4610101"/>
              <a:gd name="connsiteY13650" fmla="*/ 1316462 h 6557032"/>
              <a:gd name="connsiteX13651" fmla="*/ 2435629 w 4610101"/>
              <a:gd name="connsiteY13651" fmla="*/ 1302228 h 6557032"/>
              <a:gd name="connsiteX13652" fmla="*/ 2436247 w 4610101"/>
              <a:gd name="connsiteY13652" fmla="*/ 1301885 h 6557032"/>
              <a:gd name="connsiteX13653" fmla="*/ 2435194 w 4610101"/>
              <a:gd name="connsiteY13653" fmla="*/ 1301446 h 6557032"/>
              <a:gd name="connsiteX13654" fmla="*/ 2434425 w 4610101"/>
              <a:gd name="connsiteY13654" fmla="*/ 1300062 h 6557032"/>
              <a:gd name="connsiteX13655" fmla="*/ 2472690 w 4610101"/>
              <a:gd name="connsiteY13655" fmla="*/ 1300062 h 6557032"/>
              <a:gd name="connsiteX13656" fmla="*/ 1335654 w 4610101"/>
              <a:gd name="connsiteY13656" fmla="*/ 1283663 h 6557032"/>
              <a:gd name="connsiteX13657" fmla="*/ 1336261 w 4610101"/>
              <a:gd name="connsiteY13657" fmla="*/ 1283663 h 6557032"/>
              <a:gd name="connsiteX13658" fmla="*/ 1335654 w 4610101"/>
              <a:gd name="connsiteY13658" fmla="*/ 1284574 h 6557032"/>
              <a:gd name="connsiteX13659" fmla="*/ 1297388 w 4610101"/>
              <a:gd name="connsiteY13659" fmla="*/ 1283663 h 6557032"/>
              <a:gd name="connsiteX13660" fmla="*/ 1299210 w 4610101"/>
              <a:gd name="connsiteY13660" fmla="*/ 1287307 h 6557032"/>
              <a:gd name="connsiteX13661" fmla="*/ 1297388 w 4610101"/>
              <a:gd name="connsiteY13661" fmla="*/ 1283663 h 6557032"/>
              <a:gd name="connsiteX13662" fmla="*/ 1257300 w 4610101"/>
              <a:gd name="connsiteY13662" fmla="*/ 1283663 h 6557032"/>
              <a:gd name="connsiteX13663" fmla="*/ 1259123 w 4610101"/>
              <a:gd name="connsiteY13663" fmla="*/ 1287307 h 6557032"/>
              <a:gd name="connsiteX13664" fmla="*/ 1253656 w 4610101"/>
              <a:gd name="connsiteY13664" fmla="*/ 1294596 h 6557032"/>
              <a:gd name="connsiteX13665" fmla="*/ 1280989 w 4610101"/>
              <a:gd name="connsiteY13665" fmla="*/ 1290951 h 6557032"/>
              <a:gd name="connsiteX13666" fmla="*/ 1257300 w 4610101"/>
              <a:gd name="connsiteY13666" fmla="*/ 1283663 h 6557032"/>
              <a:gd name="connsiteX13667" fmla="*/ 1129748 w 4610101"/>
              <a:gd name="connsiteY13667" fmla="*/ 1283663 h 6557032"/>
              <a:gd name="connsiteX13668" fmla="*/ 1140681 w 4610101"/>
              <a:gd name="connsiteY13668" fmla="*/ 1290951 h 6557032"/>
              <a:gd name="connsiteX13669" fmla="*/ 1129748 w 4610101"/>
              <a:gd name="connsiteY13669" fmla="*/ 1283663 h 6557032"/>
              <a:gd name="connsiteX13670" fmla="*/ 1126104 w 4610101"/>
              <a:gd name="connsiteY13670" fmla="*/ 1283663 h 6557032"/>
              <a:gd name="connsiteX13671" fmla="*/ 1122542 w 4610101"/>
              <a:gd name="connsiteY13671" fmla="*/ 1287224 h 6557032"/>
              <a:gd name="connsiteX13672" fmla="*/ 1120637 w 4610101"/>
              <a:gd name="connsiteY13672" fmla="*/ 1287307 h 6557032"/>
              <a:gd name="connsiteX13673" fmla="*/ 1126104 w 4610101"/>
              <a:gd name="connsiteY13673" fmla="*/ 1290951 h 6557032"/>
              <a:gd name="connsiteX13674" fmla="*/ 1120637 w 4610101"/>
              <a:gd name="connsiteY13674" fmla="*/ 1292774 h 6557032"/>
              <a:gd name="connsiteX13675" fmla="*/ 1127926 w 4610101"/>
              <a:gd name="connsiteY13675" fmla="*/ 1307351 h 6557032"/>
              <a:gd name="connsiteX13676" fmla="*/ 1126104 w 4610101"/>
              <a:gd name="connsiteY13676" fmla="*/ 1298240 h 6557032"/>
              <a:gd name="connsiteX13677" fmla="*/ 1129748 w 4610101"/>
              <a:gd name="connsiteY13677" fmla="*/ 1307351 h 6557032"/>
              <a:gd name="connsiteX13678" fmla="*/ 1127926 w 4610101"/>
              <a:gd name="connsiteY13678" fmla="*/ 1309173 h 6557032"/>
              <a:gd name="connsiteX13679" fmla="*/ 1128653 w 4610101"/>
              <a:gd name="connsiteY13679" fmla="*/ 1312695 h 6557032"/>
              <a:gd name="connsiteX13680" fmla="*/ 1126104 w 4610101"/>
              <a:gd name="connsiteY13680" fmla="*/ 1310995 h 6557032"/>
              <a:gd name="connsiteX13681" fmla="*/ 1120637 w 4610101"/>
              <a:gd name="connsiteY13681" fmla="*/ 1301885 h 6557032"/>
              <a:gd name="connsiteX13682" fmla="*/ 1120637 w 4610101"/>
              <a:gd name="connsiteY13682" fmla="*/ 1316462 h 6557032"/>
              <a:gd name="connsiteX13683" fmla="*/ 1118815 w 4610101"/>
              <a:gd name="connsiteY13683" fmla="*/ 1325573 h 6557032"/>
              <a:gd name="connsiteX13684" fmla="*/ 1118815 w 4610101"/>
              <a:gd name="connsiteY13684" fmla="*/ 1331039 h 6557032"/>
              <a:gd name="connsiteX13685" fmla="*/ 1131570 w 4610101"/>
              <a:gd name="connsiteY13685" fmla="*/ 1367483 h 6557032"/>
              <a:gd name="connsiteX13686" fmla="*/ 1135215 w 4610101"/>
              <a:gd name="connsiteY13686" fmla="*/ 1389349 h 6557032"/>
              <a:gd name="connsiteX13687" fmla="*/ 1140681 w 4610101"/>
              <a:gd name="connsiteY13687" fmla="*/ 1354728 h 6557032"/>
              <a:gd name="connsiteX13688" fmla="*/ 1136855 w 4610101"/>
              <a:gd name="connsiteY13688" fmla="*/ 1350901 h 6557032"/>
              <a:gd name="connsiteX13689" fmla="*/ 1138859 w 4610101"/>
              <a:gd name="connsiteY13689" fmla="*/ 1351083 h 6557032"/>
              <a:gd name="connsiteX13690" fmla="*/ 1122459 w 4610101"/>
              <a:gd name="connsiteY13690" fmla="*/ 1329217 h 6557032"/>
              <a:gd name="connsiteX13691" fmla="*/ 1135215 w 4610101"/>
              <a:gd name="connsiteY13691" fmla="*/ 1340150 h 6557032"/>
              <a:gd name="connsiteX13692" fmla="*/ 1135104 w 4610101"/>
              <a:gd name="connsiteY13692" fmla="*/ 1337217 h 6557032"/>
              <a:gd name="connsiteX13693" fmla="*/ 1140681 w 4610101"/>
              <a:gd name="connsiteY13693" fmla="*/ 1351083 h 6557032"/>
              <a:gd name="connsiteX13694" fmla="*/ 1144326 w 4610101"/>
              <a:gd name="connsiteY13694" fmla="*/ 1325573 h 6557032"/>
              <a:gd name="connsiteX13695" fmla="*/ 1135215 w 4610101"/>
              <a:gd name="connsiteY13695" fmla="*/ 1332862 h 6557032"/>
              <a:gd name="connsiteX13696" fmla="*/ 1135215 w 4610101"/>
              <a:gd name="connsiteY13696" fmla="*/ 1327395 h 6557032"/>
              <a:gd name="connsiteX13697" fmla="*/ 1138859 w 4610101"/>
              <a:gd name="connsiteY13697" fmla="*/ 1327395 h 6557032"/>
              <a:gd name="connsiteX13698" fmla="*/ 1141774 w 4610101"/>
              <a:gd name="connsiteY13698" fmla="*/ 1316860 h 6557032"/>
              <a:gd name="connsiteX13699" fmla="*/ 1142503 w 4610101"/>
              <a:gd name="connsiteY13699" fmla="*/ 1318284 h 6557032"/>
              <a:gd name="connsiteX13700" fmla="*/ 1147970 w 4610101"/>
              <a:gd name="connsiteY13700" fmla="*/ 1303707 h 6557032"/>
              <a:gd name="connsiteX13701" fmla="*/ 1140681 w 4610101"/>
              <a:gd name="connsiteY13701" fmla="*/ 1305529 h 6557032"/>
              <a:gd name="connsiteX13702" fmla="*/ 1147970 w 4610101"/>
              <a:gd name="connsiteY13702" fmla="*/ 1289129 h 6557032"/>
              <a:gd name="connsiteX13703" fmla="*/ 1144326 w 4610101"/>
              <a:gd name="connsiteY13703" fmla="*/ 1292774 h 6557032"/>
              <a:gd name="connsiteX13704" fmla="*/ 1142503 w 4610101"/>
              <a:gd name="connsiteY13704" fmla="*/ 1290951 h 6557032"/>
              <a:gd name="connsiteX13705" fmla="*/ 1137037 w 4610101"/>
              <a:gd name="connsiteY13705" fmla="*/ 1296418 h 6557032"/>
              <a:gd name="connsiteX13706" fmla="*/ 1133393 w 4610101"/>
              <a:gd name="connsiteY13706" fmla="*/ 1294596 h 6557032"/>
              <a:gd name="connsiteX13707" fmla="*/ 1133393 w 4610101"/>
              <a:gd name="connsiteY13707" fmla="*/ 1298240 h 6557032"/>
              <a:gd name="connsiteX13708" fmla="*/ 1127926 w 4610101"/>
              <a:gd name="connsiteY13708" fmla="*/ 1292774 h 6557032"/>
              <a:gd name="connsiteX13709" fmla="*/ 1129748 w 4610101"/>
              <a:gd name="connsiteY13709" fmla="*/ 1290951 h 6557032"/>
              <a:gd name="connsiteX13710" fmla="*/ 1127926 w 4610101"/>
              <a:gd name="connsiteY13710" fmla="*/ 1289129 h 6557032"/>
              <a:gd name="connsiteX13711" fmla="*/ 1126104 w 4610101"/>
              <a:gd name="connsiteY13711" fmla="*/ 1283663 h 6557032"/>
              <a:gd name="connsiteX13712" fmla="*/ 1104921 w 4610101"/>
              <a:gd name="connsiteY13712" fmla="*/ 1283663 h 6557032"/>
              <a:gd name="connsiteX13713" fmla="*/ 1096949 w 4610101"/>
              <a:gd name="connsiteY13713" fmla="*/ 1285485 h 6557032"/>
              <a:gd name="connsiteX13714" fmla="*/ 1100593 w 4610101"/>
              <a:gd name="connsiteY13714" fmla="*/ 1292774 h 6557032"/>
              <a:gd name="connsiteX13715" fmla="*/ 1109704 w 4610101"/>
              <a:gd name="connsiteY13715" fmla="*/ 1296418 h 6557032"/>
              <a:gd name="connsiteX13716" fmla="*/ 1111526 w 4610101"/>
              <a:gd name="connsiteY13716" fmla="*/ 1287307 h 6557032"/>
              <a:gd name="connsiteX13717" fmla="*/ 1104921 w 4610101"/>
              <a:gd name="connsiteY13717" fmla="*/ 1283663 h 6557032"/>
              <a:gd name="connsiteX13718" fmla="*/ 719759 w 4610101"/>
              <a:gd name="connsiteY13718" fmla="*/ 1283663 h 6557032"/>
              <a:gd name="connsiteX13719" fmla="*/ 727048 w 4610101"/>
              <a:gd name="connsiteY13719" fmla="*/ 1289129 h 6557032"/>
              <a:gd name="connsiteX13720" fmla="*/ 725226 w 4610101"/>
              <a:gd name="connsiteY13720" fmla="*/ 1285485 h 6557032"/>
              <a:gd name="connsiteX13721" fmla="*/ 719759 w 4610101"/>
              <a:gd name="connsiteY13721" fmla="*/ 1283663 h 6557032"/>
              <a:gd name="connsiteX13722" fmla="*/ 630472 w 4610101"/>
              <a:gd name="connsiteY13722" fmla="*/ 1283663 h 6557032"/>
              <a:gd name="connsiteX13723" fmla="*/ 637761 w 4610101"/>
              <a:gd name="connsiteY13723" fmla="*/ 1292774 h 6557032"/>
              <a:gd name="connsiteX13724" fmla="*/ 630472 w 4610101"/>
              <a:gd name="connsiteY13724" fmla="*/ 1283663 h 6557032"/>
              <a:gd name="connsiteX13725" fmla="*/ 614074 w 4610101"/>
              <a:gd name="connsiteY13725" fmla="*/ 1283663 h 6557032"/>
              <a:gd name="connsiteX13726" fmla="*/ 614074 w 4610101"/>
              <a:gd name="connsiteY13726" fmla="*/ 1303707 h 6557032"/>
              <a:gd name="connsiteX13727" fmla="*/ 612251 w 4610101"/>
              <a:gd name="connsiteY13727" fmla="*/ 1296418 h 6557032"/>
              <a:gd name="connsiteX13728" fmla="*/ 614074 w 4610101"/>
              <a:gd name="connsiteY13728" fmla="*/ 1283663 h 6557032"/>
              <a:gd name="connsiteX13729" fmla="*/ 533897 w 4610101"/>
              <a:gd name="connsiteY13729" fmla="*/ 1283663 h 6557032"/>
              <a:gd name="connsiteX13730" fmla="*/ 528431 w 4610101"/>
              <a:gd name="connsiteY13730" fmla="*/ 1287307 h 6557032"/>
              <a:gd name="connsiteX13731" fmla="*/ 533897 w 4610101"/>
              <a:gd name="connsiteY13731" fmla="*/ 1283663 h 6557032"/>
              <a:gd name="connsiteX13732" fmla="*/ 481054 w 4610101"/>
              <a:gd name="connsiteY13732" fmla="*/ 1283663 h 6557032"/>
              <a:gd name="connsiteX13733" fmla="*/ 491987 w 4610101"/>
              <a:gd name="connsiteY13733" fmla="*/ 1289129 h 6557032"/>
              <a:gd name="connsiteX13734" fmla="*/ 481054 w 4610101"/>
              <a:gd name="connsiteY13734" fmla="*/ 1283663 h 6557032"/>
              <a:gd name="connsiteX13735" fmla="*/ 321386 w 4610101"/>
              <a:gd name="connsiteY13735" fmla="*/ 1282296 h 6557032"/>
              <a:gd name="connsiteX13736" fmla="*/ 313414 w 4610101"/>
              <a:gd name="connsiteY13736" fmla="*/ 1289129 h 6557032"/>
              <a:gd name="connsiteX13737" fmla="*/ 321841 w 4610101"/>
              <a:gd name="connsiteY13737" fmla="*/ 1290724 h 6557032"/>
              <a:gd name="connsiteX13738" fmla="*/ 324459 w 4610101"/>
              <a:gd name="connsiteY13738" fmla="*/ 1290861 h 6557032"/>
              <a:gd name="connsiteX13739" fmla="*/ 324347 w 4610101"/>
              <a:gd name="connsiteY13739" fmla="*/ 1290951 h 6557032"/>
              <a:gd name="connsiteX13740" fmla="*/ 326169 w 4610101"/>
              <a:gd name="connsiteY13740" fmla="*/ 1290951 h 6557032"/>
              <a:gd name="connsiteX13741" fmla="*/ 324459 w 4610101"/>
              <a:gd name="connsiteY13741" fmla="*/ 1290861 h 6557032"/>
              <a:gd name="connsiteX13742" fmla="*/ 333458 w 4610101"/>
              <a:gd name="connsiteY13742" fmla="*/ 1283663 h 6557032"/>
              <a:gd name="connsiteX13743" fmla="*/ 321386 w 4610101"/>
              <a:gd name="connsiteY13743" fmla="*/ 1282296 h 6557032"/>
              <a:gd name="connsiteX13744" fmla="*/ 3349156 w 4610101"/>
              <a:gd name="connsiteY13744" fmla="*/ 1281841 h 6557032"/>
              <a:gd name="connsiteX13745" fmla="*/ 3350978 w 4610101"/>
              <a:gd name="connsiteY13745" fmla="*/ 1290951 h 6557032"/>
              <a:gd name="connsiteX13746" fmla="*/ 3347334 w 4610101"/>
              <a:gd name="connsiteY13746" fmla="*/ 1296418 h 6557032"/>
              <a:gd name="connsiteX13747" fmla="*/ 3358267 w 4610101"/>
              <a:gd name="connsiteY13747" fmla="*/ 1296418 h 6557032"/>
              <a:gd name="connsiteX13748" fmla="*/ 3352800 w 4610101"/>
              <a:gd name="connsiteY13748" fmla="*/ 1281841 h 6557032"/>
              <a:gd name="connsiteX13749" fmla="*/ 3349156 w 4610101"/>
              <a:gd name="connsiteY13749" fmla="*/ 1281841 h 6557032"/>
              <a:gd name="connsiteX13750" fmla="*/ 3228893 w 4610101"/>
              <a:gd name="connsiteY13750" fmla="*/ 1281841 h 6557032"/>
              <a:gd name="connsiteX13751" fmla="*/ 3236181 w 4610101"/>
              <a:gd name="connsiteY13751" fmla="*/ 1292774 h 6557032"/>
              <a:gd name="connsiteX13752" fmla="*/ 3234359 w 4610101"/>
              <a:gd name="connsiteY13752" fmla="*/ 1281841 h 6557032"/>
              <a:gd name="connsiteX13753" fmla="*/ 3228893 w 4610101"/>
              <a:gd name="connsiteY13753" fmla="*/ 1281841 h 6557032"/>
              <a:gd name="connsiteX13754" fmla="*/ 3139606 w 4610101"/>
              <a:gd name="connsiteY13754" fmla="*/ 1281841 h 6557032"/>
              <a:gd name="connsiteX13755" fmla="*/ 3137784 w 4610101"/>
              <a:gd name="connsiteY13755" fmla="*/ 1289129 h 6557032"/>
              <a:gd name="connsiteX13756" fmla="*/ 3150539 w 4610101"/>
              <a:gd name="connsiteY13756" fmla="*/ 1294596 h 6557032"/>
              <a:gd name="connsiteX13757" fmla="*/ 3139606 w 4610101"/>
              <a:gd name="connsiteY13757" fmla="*/ 1281841 h 6557032"/>
              <a:gd name="connsiteX13758" fmla="*/ 2616642 w 4610101"/>
              <a:gd name="connsiteY13758" fmla="*/ 1281841 h 6557032"/>
              <a:gd name="connsiteX13759" fmla="*/ 2614820 w 4610101"/>
              <a:gd name="connsiteY13759" fmla="*/ 1285485 h 6557032"/>
              <a:gd name="connsiteX13760" fmla="*/ 2616642 w 4610101"/>
              <a:gd name="connsiteY13760" fmla="*/ 1285485 h 6557032"/>
              <a:gd name="connsiteX13761" fmla="*/ 2616642 w 4610101"/>
              <a:gd name="connsiteY13761" fmla="*/ 1281841 h 6557032"/>
              <a:gd name="connsiteX13762" fmla="*/ 1182592 w 4610101"/>
              <a:gd name="connsiteY13762" fmla="*/ 1281841 h 6557032"/>
              <a:gd name="connsiteX13763" fmla="*/ 1215390 w 4610101"/>
              <a:gd name="connsiteY13763" fmla="*/ 1294596 h 6557032"/>
              <a:gd name="connsiteX13764" fmla="*/ 1182592 w 4610101"/>
              <a:gd name="connsiteY13764" fmla="*/ 1281841 h 6557032"/>
              <a:gd name="connsiteX13765" fmla="*/ 665094 w 4610101"/>
              <a:gd name="connsiteY13765" fmla="*/ 1281841 h 6557032"/>
              <a:gd name="connsiteX13766" fmla="*/ 666916 w 4610101"/>
              <a:gd name="connsiteY13766" fmla="*/ 1290951 h 6557032"/>
              <a:gd name="connsiteX13767" fmla="*/ 670560 w 4610101"/>
              <a:gd name="connsiteY13767" fmla="*/ 1287307 h 6557032"/>
              <a:gd name="connsiteX13768" fmla="*/ 665094 w 4610101"/>
              <a:gd name="connsiteY13768" fmla="*/ 1281841 h 6557032"/>
              <a:gd name="connsiteX13769" fmla="*/ 544830 w 4610101"/>
              <a:gd name="connsiteY13769" fmla="*/ 1281841 h 6557032"/>
              <a:gd name="connsiteX13770" fmla="*/ 544830 w 4610101"/>
              <a:gd name="connsiteY13770" fmla="*/ 1287307 h 6557032"/>
              <a:gd name="connsiteX13771" fmla="*/ 552119 w 4610101"/>
              <a:gd name="connsiteY13771" fmla="*/ 1287307 h 6557032"/>
              <a:gd name="connsiteX13772" fmla="*/ 550297 w 4610101"/>
              <a:gd name="connsiteY13772" fmla="*/ 1281841 h 6557032"/>
              <a:gd name="connsiteX13773" fmla="*/ 544830 w 4610101"/>
              <a:gd name="connsiteY13773" fmla="*/ 1281841 h 6557032"/>
              <a:gd name="connsiteX13774" fmla="*/ 411812 w 4610101"/>
              <a:gd name="connsiteY13774" fmla="*/ 1281841 h 6557032"/>
              <a:gd name="connsiteX13775" fmla="*/ 417278 w 4610101"/>
              <a:gd name="connsiteY13775" fmla="*/ 1283663 h 6557032"/>
              <a:gd name="connsiteX13776" fmla="*/ 411812 w 4610101"/>
              <a:gd name="connsiteY13776" fmla="*/ 1281841 h 6557032"/>
              <a:gd name="connsiteX13777" fmla="*/ 707459 w 4610101"/>
              <a:gd name="connsiteY13777" fmla="*/ 1280930 h 6557032"/>
              <a:gd name="connsiteX13778" fmla="*/ 696071 w 4610101"/>
              <a:gd name="connsiteY13778" fmla="*/ 1283663 h 6557032"/>
              <a:gd name="connsiteX13779" fmla="*/ 690604 w 4610101"/>
              <a:gd name="connsiteY13779" fmla="*/ 1283663 h 6557032"/>
              <a:gd name="connsiteX13780" fmla="*/ 707004 w 4610101"/>
              <a:gd name="connsiteY13780" fmla="*/ 1292774 h 6557032"/>
              <a:gd name="connsiteX13781" fmla="*/ 701537 w 4610101"/>
              <a:gd name="connsiteY13781" fmla="*/ 1287307 h 6557032"/>
              <a:gd name="connsiteX13782" fmla="*/ 716115 w 4610101"/>
              <a:gd name="connsiteY13782" fmla="*/ 1289129 h 6557032"/>
              <a:gd name="connsiteX13783" fmla="*/ 707459 w 4610101"/>
              <a:gd name="connsiteY13783" fmla="*/ 1280930 h 6557032"/>
              <a:gd name="connsiteX13784" fmla="*/ 1284633 w 4610101"/>
              <a:gd name="connsiteY13784" fmla="*/ 1280018 h 6557032"/>
              <a:gd name="connsiteX13785" fmla="*/ 1282811 w 4610101"/>
              <a:gd name="connsiteY13785" fmla="*/ 1281841 h 6557032"/>
              <a:gd name="connsiteX13786" fmla="*/ 1290100 w 4610101"/>
              <a:gd name="connsiteY13786" fmla="*/ 1285485 h 6557032"/>
              <a:gd name="connsiteX13787" fmla="*/ 1284633 w 4610101"/>
              <a:gd name="connsiteY13787" fmla="*/ 1280018 h 6557032"/>
              <a:gd name="connsiteX13788" fmla="*/ 1250012 w 4610101"/>
              <a:gd name="connsiteY13788" fmla="*/ 1280018 h 6557032"/>
              <a:gd name="connsiteX13789" fmla="*/ 1246367 w 4610101"/>
              <a:gd name="connsiteY13789" fmla="*/ 1283663 h 6557032"/>
              <a:gd name="connsiteX13790" fmla="*/ 1248189 w 4610101"/>
              <a:gd name="connsiteY13790" fmla="*/ 1285485 h 6557032"/>
              <a:gd name="connsiteX13791" fmla="*/ 1250012 w 4610101"/>
              <a:gd name="connsiteY13791" fmla="*/ 1280018 h 6557032"/>
              <a:gd name="connsiteX13792" fmla="*/ 1175303 w 4610101"/>
              <a:gd name="connsiteY13792" fmla="*/ 1280018 h 6557032"/>
              <a:gd name="connsiteX13793" fmla="*/ 1168014 w 4610101"/>
              <a:gd name="connsiteY13793" fmla="*/ 1285485 h 6557032"/>
              <a:gd name="connsiteX13794" fmla="*/ 1184414 w 4610101"/>
              <a:gd name="connsiteY13794" fmla="*/ 1289129 h 6557032"/>
              <a:gd name="connsiteX13795" fmla="*/ 1175303 w 4610101"/>
              <a:gd name="connsiteY13795" fmla="*/ 1280018 h 6557032"/>
              <a:gd name="connsiteX13796" fmla="*/ 1107882 w 4610101"/>
              <a:gd name="connsiteY13796" fmla="*/ 1280018 h 6557032"/>
              <a:gd name="connsiteX13797" fmla="*/ 1104238 w 4610101"/>
              <a:gd name="connsiteY13797" fmla="*/ 1281841 h 6557032"/>
              <a:gd name="connsiteX13798" fmla="*/ 1107882 w 4610101"/>
              <a:gd name="connsiteY13798" fmla="*/ 1283663 h 6557032"/>
              <a:gd name="connsiteX13799" fmla="*/ 1107882 w 4610101"/>
              <a:gd name="connsiteY13799" fmla="*/ 1280018 h 6557032"/>
              <a:gd name="connsiteX13800" fmla="*/ 745269 w 4610101"/>
              <a:gd name="connsiteY13800" fmla="*/ 1280018 h 6557032"/>
              <a:gd name="connsiteX13801" fmla="*/ 748914 w 4610101"/>
              <a:gd name="connsiteY13801" fmla="*/ 1283663 h 6557032"/>
              <a:gd name="connsiteX13802" fmla="*/ 745269 w 4610101"/>
              <a:gd name="connsiteY13802" fmla="*/ 1280018 h 6557032"/>
              <a:gd name="connsiteX13803" fmla="*/ 3168779 w 4610101"/>
              <a:gd name="connsiteY13803" fmla="*/ 1279823 h 6557032"/>
              <a:gd name="connsiteX13804" fmla="*/ 3168971 w 4610101"/>
              <a:gd name="connsiteY13804" fmla="*/ 1280026 h 6557032"/>
              <a:gd name="connsiteX13805" fmla="*/ 3168761 w 4610101"/>
              <a:gd name="connsiteY13805" fmla="*/ 1280018 h 6557032"/>
              <a:gd name="connsiteX13806" fmla="*/ 1330002 w 4610101"/>
              <a:gd name="connsiteY13806" fmla="*/ 1278909 h 6557032"/>
              <a:gd name="connsiteX13807" fmla="*/ 1330188 w 4610101"/>
              <a:gd name="connsiteY13807" fmla="*/ 1280018 h 6557032"/>
              <a:gd name="connsiteX13808" fmla="*/ 1329708 w 4610101"/>
              <a:gd name="connsiteY13808" fmla="*/ 1279174 h 6557032"/>
              <a:gd name="connsiteX13809" fmla="*/ 426617 w 4610101"/>
              <a:gd name="connsiteY13809" fmla="*/ 1278879 h 6557032"/>
              <a:gd name="connsiteX13810" fmla="*/ 424567 w 4610101"/>
              <a:gd name="connsiteY13810" fmla="*/ 1281841 h 6557032"/>
              <a:gd name="connsiteX13811" fmla="*/ 430034 w 4610101"/>
              <a:gd name="connsiteY13811" fmla="*/ 1280018 h 6557032"/>
              <a:gd name="connsiteX13812" fmla="*/ 426617 w 4610101"/>
              <a:gd name="connsiteY13812" fmla="*/ 1278879 h 6557032"/>
              <a:gd name="connsiteX13813" fmla="*/ 3192449 w 4610101"/>
              <a:gd name="connsiteY13813" fmla="*/ 1278196 h 6557032"/>
              <a:gd name="connsiteX13814" fmla="*/ 3192449 w 4610101"/>
              <a:gd name="connsiteY13814" fmla="*/ 1285485 h 6557032"/>
              <a:gd name="connsiteX13815" fmla="*/ 3208849 w 4610101"/>
              <a:gd name="connsiteY13815" fmla="*/ 1285485 h 6557032"/>
              <a:gd name="connsiteX13816" fmla="*/ 3199738 w 4610101"/>
              <a:gd name="connsiteY13816" fmla="*/ 1281841 h 6557032"/>
              <a:gd name="connsiteX13817" fmla="*/ 3192449 w 4610101"/>
              <a:gd name="connsiteY13817" fmla="*/ 1278196 h 6557032"/>
              <a:gd name="connsiteX13818" fmla="*/ 2971966 w 4610101"/>
              <a:gd name="connsiteY13818" fmla="*/ 1278196 h 6557032"/>
              <a:gd name="connsiteX13819" fmla="*/ 2973788 w 4610101"/>
              <a:gd name="connsiteY13819" fmla="*/ 1283663 h 6557032"/>
              <a:gd name="connsiteX13820" fmla="*/ 2966500 w 4610101"/>
              <a:gd name="connsiteY13820" fmla="*/ 1281841 h 6557032"/>
              <a:gd name="connsiteX13821" fmla="*/ 1127926 w 4610101"/>
              <a:gd name="connsiteY13821" fmla="*/ 1278196 h 6557032"/>
              <a:gd name="connsiteX13822" fmla="*/ 1122459 w 4610101"/>
              <a:gd name="connsiteY13822" fmla="*/ 1280018 h 6557032"/>
              <a:gd name="connsiteX13823" fmla="*/ 1127926 w 4610101"/>
              <a:gd name="connsiteY13823" fmla="*/ 1278196 h 6557032"/>
              <a:gd name="connsiteX13824" fmla="*/ 752558 w 4610101"/>
              <a:gd name="connsiteY13824" fmla="*/ 1278196 h 6557032"/>
              <a:gd name="connsiteX13825" fmla="*/ 750737 w 4610101"/>
              <a:gd name="connsiteY13825" fmla="*/ 1281841 h 6557032"/>
              <a:gd name="connsiteX13826" fmla="*/ 752558 w 4610101"/>
              <a:gd name="connsiteY13826" fmla="*/ 1278196 h 6557032"/>
              <a:gd name="connsiteX13827" fmla="*/ 588562 w 4610101"/>
              <a:gd name="connsiteY13827" fmla="*/ 1278196 h 6557032"/>
              <a:gd name="connsiteX13828" fmla="*/ 579452 w 4610101"/>
              <a:gd name="connsiteY13828" fmla="*/ 1285485 h 6557032"/>
              <a:gd name="connsiteX13829" fmla="*/ 592207 w 4610101"/>
              <a:gd name="connsiteY13829" fmla="*/ 1285485 h 6557032"/>
              <a:gd name="connsiteX13830" fmla="*/ 588562 w 4610101"/>
              <a:gd name="connsiteY13830" fmla="*/ 1278196 h 6557032"/>
              <a:gd name="connsiteX13831" fmla="*/ 448256 w 4610101"/>
              <a:gd name="connsiteY13831" fmla="*/ 1278196 h 6557032"/>
              <a:gd name="connsiteX13832" fmla="*/ 442789 w 4610101"/>
              <a:gd name="connsiteY13832" fmla="*/ 1281841 h 6557032"/>
              <a:gd name="connsiteX13833" fmla="*/ 448256 w 4610101"/>
              <a:gd name="connsiteY13833" fmla="*/ 1278196 h 6557032"/>
              <a:gd name="connsiteX13834" fmla="*/ 3075830 w 4610101"/>
              <a:gd name="connsiteY13834" fmla="*/ 1276374 h 6557032"/>
              <a:gd name="connsiteX13835" fmla="*/ 3068541 w 4610101"/>
              <a:gd name="connsiteY13835" fmla="*/ 1281841 h 6557032"/>
              <a:gd name="connsiteX13836" fmla="*/ 3077652 w 4610101"/>
              <a:gd name="connsiteY13836" fmla="*/ 1281841 h 6557032"/>
              <a:gd name="connsiteX13837" fmla="*/ 3075830 w 4610101"/>
              <a:gd name="connsiteY13837" fmla="*/ 1276374 h 6557032"/>
              <a:gd name="connsiteX13838" fmla="*/ 2906368 w 4610101"/>
              <a:gd name="connsiteY13838" fmla="*/ 1276374 h 6557032"/>
              <a:gd name="connsiteX13839" fmla="*/ 2911834 w 4610101"/>
              <a:gd name="connsiteY13839" fmla="*/ 1283663 h 6557032"/>
              <a:gd name="connsiteX13840" fmla="*/ 2906368 w 4610101"/>
              <a:gd name="connsiteY13840" fmla="*/ 1276374 h 6557032"/>
              <a:gd name="connsiteX13841" fmla="*/ 1293744 w 4610101"/>
              <a:gd name="connsiteY13841" fmla="*/ 1276374 h 6557032"/>
              <a:gd name="connsiteX13842" fmla="*/ 1290100 w 4610101"/>
              <a:gd name="connsiteY13842" fmla="*/ 1278196 h 6557032"/>
              <a:gd name="connsiteX13843" fmla="*/ 1297388 w 4610101"/>
              <a:gd name="connsiteY13843" fmla="*/ 1281841 h 6557032"/>
              <a:gd name="connsiteX13844" fmla="*/ 1293744 w 4610101"/>
              <a:gd name="connsiteY13844" fmla="*/ 1276374 h 6557032"/>
              <a:gd name="connsiteX13845" fmla="*/ 1144326 w 4610101"/>
              <a:gd name="connsiteY13845" fmla="*/ 1276374 h 6557032"/>
              <a:gd name="connsiteX13846" fmla="*/ 1142503 w 4610101"/>
              <a:gd name="connsiteY13846" fmla="*/ 1278196 h 6557032"/>
              <a:gd name="connsiteX13847" fmla="*/ 1147970 w 4610101"/>
              <a:gd name="connsiteY13847" fmla="*/ 1283663 h 6557032"/>
              <a:gd name="connsiteX13848" fmla="*/ 1144326 w 4610101"/>
              <a:gd name="connsiteY13848" fmla="*/ 1276374 h 6557032"/>
              <a:gd name="connsiteX13849" fmla="*/ 3376944 w 4610101"/>
              <a:gd name="connsiteY13849" fmla="*/ 1275235 h 6557032"/>
              <a:gd name="connsiteX13850" fmla="*/ 3371022 w 4610101"/>
              <a:gd name="connsiteY13850" fmla="*/ 1276374 h 6557032"/>
              <a:gd name="connsiteX13851" fmla="*/ 3380133 w 4610101"/>
              <a:gd name="connsiteY13851" fmla="*/ 1278196 h 6557032"/>
              <a:gd name="connsiteX13852" fmla="*/ 3376944 w 4610101"/>
              <a:gd name="connsiteY13852" fmla="*/ 1275235 h 6557032"/>
              <a:gd name="connsiteX13853" fmla="*/ 3183338 w 4610101"/>
              <a:gd name="connsiteY13853" fmla="*/ 1274552 h 6557032"/>
              <a:gd name="connsiteX13854" fmla="*/ 3190627 w 4610101"/>
              <a:gd name="connsiteY13854" fmla="*/ 1285485 h 6557032"/>
              <a:gd name="connsiteX13855" fmla="*/ 3183338 w 4610101"/>
              <a:gd name="connsiteY13855" fmla="*/ 1274552 h 6557032"/>
              <a:gd name="connsiteX13856" fmla="*/ 1226323 w 4610101"/>
              <a:gd name="connsiteY13856" fmla="*/ 1274552 h 6557032"/>
              <a:gd name="connsiteX13857" fmla="*/ 1228548 w 4610101"/>
              <a:gd name="connsiteY13857" fmla="*/ 1276332 h 6557032"/>
              <a:gd name="connsiteX13858" fmla="*/ 1225934 w 4610101"/>
              <a:gd name="connsiteY13858" fmla="*/ 1274829 h 6557032"/>
              <a:gd name="connsiteX13859" fmla="*/ 1177125 w 4610101"/>
              <a:gd name="connsiteY13859" fmla="*/ 1274552 h 6557032"/>
              <a:gd name="connsiteX13860" fmla="*/ 1180769 w 4610101"/>
              <a:gd name="connsiteY13860" fmla="*/ 1280018 h 6557032"/>
              <a:gd name="connsiteX13861" fmla="*/ 1188058 w 4610101"/>
              <a:gd name="connsiteY13861" fmla="*/ 1280018 h 6557032"/>
              <a:gd name="connsiteX13862" fmla="*/ 1177125 w 4610101"/>
              <a:gd name="connsiteY13862" fmla="*/ 1274552 h 6557032"/>
              <a:gd name="connsiteX13863" fmla="*/ 1135215 w 4610101"/>
              <a:gd name="connsiteY13863" fmla="*/ 1274552 h 6557032"/>
              <a:gd name="connsiteX13864" fmla="*/ 1129748 w 4610101"/>
              <a:gd name="connsiteY13864" fmla="*/ 1278196 h 6557032"/>
              <a:gd name="connsiteX13865" fmla="*/ 1138859 w 4610101"/>
              <a:gd name="connsiteY13865" fmla="*/ 1280018 h 6557032"/>
              <a:gd name="connsiteX13866" fmla="*/ 1135215 w 4610101"/>
              <a:gd name="connsiteY13866" fmla="*/ 1274552 h 6557032"/>
              <a:gd name="connsiteX13867" fmla="*/ 1111526 w 4610101"/>
              <a:gd name="connsiteY13867" fmla="*/ 1274552 h 6557032"/>
              <a:gd name="connsiteX13868" fmla="*/ 1107882 w 4610101"/>
              <a:gd name="connsiteY13868" fmla="*/ 1276374 h 6557032"/>
              <a:gd name="connsiteX13869" fmla="*/ 1111526 w 4610101"/>
              <a:gd name="connsiteY13869" fmla="*/ 1283663 h 6557032"/>
              <a:gd name="connsiteX13870" fmla="*/ 1111526 w 4610101"/>
              <a:gd name="connsiteY13870" fmla="*/ 1274552 h 6557032"/>
              <a:gd name="connsiteX13871" fmla="*/ 991263 w 4610101"/>
              <a:gd name="connsiteY13871" fmla="*/ 1274552 h 6557032"/>
              <a:gd name="connsiteX13872" fmla="*/ 985796 w 4610101"/>
              <a:gd name="connsiteY13872" fmla="*/ 1280018 h 6557032"/>
              <a:gd name="connsiteX13873" fmla="*/ 989441 w 4610101"/>
              <a:gd name="connsiteY13873" fmla="*/ 1287307 h 6557032"/>
              <a:gd name="connsiteX13874" fmla="*/ 994907 w 4610101"/>
              <a:gd name="connsiteY13874" fmla="*/ 1285485 h 6557032"/>
              <a:gd name="connsiteX13875" fmla="*/ 1005840 w 4610101"/>
              <a:gd name="connsiteY13875" fmla="*/ 1290951 h 6557032"/>
              <a:gd name="connsiteX13876" fmla="*/ 1022240 w 4610101"/>
              <a:gd name="connsiteY13876" fmla="*/ 1318284 h 6557032"/>
              <a:gd name="connsiteX13877" fmla="*/ 1013129 w 4610101"/>
              <a:gd name="connsiteY13877" fmla="*/ 1290951 h 6557032"/>
              <a:gd name="connsiteX13878" fmla="*/ 1029529 w 4610101"/>
              <a:gd name="connsiteY13878" fmla="*/ 1314640 h 6557032"/>
              <a:gd name="connsiteX13879" fmla="*/ 1031351 w 4610101"/>
              <a:gd name="connsiteY13879" fmla="*/ 1309173 h 6557032"/>
              <a:gd name="connsiteX13880" fmla="*/ 1025884 w 4610101"/>
              <a:gd name="connsiteY13880" fmla="*/ 1320106 h 6557032"/>
              <a:gd name="connsiteX13881" fmla="*/ 1038639 w 4610101"/>
              <a:gd name="connsiteY13881" fmla="*/ 1318284 h 6557032"/>
              <a:gd name="connsiteX13882" fmla="*/ 1053217 w 4610101"/>
              <a:gd name="connsiteY13882" fmla="*/ 1325573 h 6557032"/>
              <a:gd name="connsiteX13883" fmla="*/ 1049573 w 4610101"/>
              <a:gd name="connsiteY13883" fmla="*/ 1332862 h 6557032"/>
              <a:gd name="connsiteX13884" fmla="*/ 1033173 w 4610101"/>
              <a:gd name="connsiteY13884" fmla="*/ 1325573 h 6557032"/>
              <a:gd name="connsiteX13885" fmla="*/ 1060506 w 4610101"/>
              <a:gd name="connsiteY13885" fmla="*/ 1362016 h 6557032"/>
              <a:gd name="connsiteX13886" fmla="*/ 1062328 w 4610101"/>
              <a:gd name="connsiteY13886" fmla="*/ 1360194 h 6557032"/>
              <a:gd name="connsiteX13887" fmla="*/ 1067794 w 4610101"/>
              <a:gd name="connsiteY13887" fmla="*/ 1369305 h 6557032"/>
              <a:gd name="connsiteX13888" fmla="*/ 1067794 w 4610101"/>
              <a:gd name="connsiteY13888" fmla="*/ 1365661 h 6557032"/>
              <a:gd name="connsiteX13889" fmla="*/ 1069616 w 4610101"/>
              <a:gd name="connsiteY13889" fmla="*/ 1369305 h 6557032"/>
              <a:gd name="connsiteX13890" fmla="*/ 1093305 w 4610101"/>
              <a:gd name="connsiteY13890" fmla="*/ 1383882 h 6557032"/>
              <a:gd name="connsiteX13891" fmla="*/ 1086016 w 4610101"/>
              <a:gd name="connsiteY13891" fmla="*/ 1376594 h 6557032"/>
              <a:gd name="connsiteX13892" fmla="*/ 1093305 w 4610101"/>
              <a:gd name="connsiteY13892" fmla="*/ 1382060 h 6557032"/>
              <a:gd name="connsiteX13893" fmla="*/ 1091484 w 4610101"/>
              <a:gd name="connsiteY13893" fmla="*/ 1358372 h 6557032"/>
              <a:gd name="connsiteX13894" fmla="*/ 1082373 w 4610101"/>
              <a:gd name="connsiteY13894" fmla="*/ 1358372 h 6557032"/>
              <a:gd name="connsiteX13895" fmla="*/ 1080549 w 4610101"/>
              <a:gd name="connsiteY13895" fmla="*/ 1354728 h 6557032"/>
              <a:gd name="connsiteX13896" fmla="*/ 1087838 w 4610101"/>
              <a:gd name="connsiteY13896" fmla="*/ 1354728 h 6557032"/>
              <a:gd name="connsiteX13897" fmla="*/ 1089660 w 4610101"/>
              <a:gd name="connsiteY13897" fmla="*/ 1351083 h 6557032"/>
              <a:gd name="connsiteX13898" fmla="*/ 1080549 w 4610101"/>
              <a:gd name="connsiteY13898" fmla="*/ 1345617 h 6557032"/>
              <a:gd name="connsiteX13899" fmla="*/ 1086016 w 4610101"/>
              <a:gd name="connsiteY13899" fmla="*/ 1347439 h 6557032"/>
              <a:gd name="connsiteX13900" fmla="*/ 1047750 w 4610101"/>
              <a:gd name="connsiteY13900" fmla="*/ 1300062 h 6557032"/>
              <a:gd name="connsiteX13901" fmla="*/ 1031351 w 4610101"/>
              <a:gd name="connsiteY13901" fmla="*/ 1292774 h 6557032"/>
              <a:gd name="connsiteX13902" fmla="*/ 1007663 w 4610101"/>
              <a:gd name="connsiteY13902" fmla="*/ 1280018 h 6557032"/>
              <a:gd name="connsiteX13903" fmla="*/ 1007663 w 4610101"/>
              <a:gd name="connsiteY13903" fmla="*/ 1283663 h 6557032"/>
              <a:gd name="connsiteX13904" fmla="*/ 991263 w 4610101"/>
              <a:gd name="connsiteY13904" fmla="*/ 1274552 h 6557032"/>
              <a:gd name="connsiteX13905" fmla="*/ 960286 w 4610101"/>
              <a:gd name="connsiteY13905" fmla="*/ 1274552 h 6557032"/>
              <a:gd name="connsiteX13906" fmla="*/ 960286 w 4610101"/>
              <a:gd name="connsiteY13906" fmla="*/ 1274552 h 6557032"/>
              <a:gd name="connsiteX13907" fmla="*/ 630472 w 4610101"/>
              <a:gd name="connsiteY13907" fmla="*/ 1274552 h 6557032"/>
              <a:gd name="connsiteX13908" fmla="*/ 639583 w 4610101"/>
              <a:gd name="connsiteY13908" fmla="*/ 1287307 h 6557032"/>
              <a:gd name="connsiteX13909" fmla="*/ 630472 w 4610101"/>
              <a:gd name="connsiteY13909" fmla="*/ 1274552 h 6557032"/>
              <a:gd name="connsiteX13910" fmla="*/ 597673 w 4610101"/>
              <a:gd name="connsiteY13910" fmla="*/ 1274552 h 6557032"/>
              <a:gd name="connsiteX13911" fmla="*/ 590385 w 4610101"/>
              <a:gd name="connsiteY13911" fmla="*/ 1276374 h 6557032"/>
              <a:gd name="connsiteX13912" fmla="*/ 597673 w 4610101"/>
              <a:gd name="connsiteY13912" fmla="*/ 1285485 h 6557032"/>
              <a:gd name="connsiteX13913" fmla="*/ 597673 w 4610101"/>
              <a:gd name="connsiteY13913" fmla="*/ 1274552 h 6557032"/>
              <a:gd name="connsiteX13914" fmla="*/ 1331098 w 4610101"/>
              <a:gd name="connsiteY13914" fmla="*/ 1273095 h 6557032"/>
              <a:gd name="connsiteX13915" fmla="*/ 1331326 w 4610101"/>
              <a:gd name="connsiteY13915" fmla="*/ 1275007 h 6557032"/>
              <a:gd name="connsiteX13916" fmla="*/ 1331782 w 4610101"/>
              <a:gd name="connsiteY13916" fmla="*/ 1277247 h 6557032"/>
              <a:gd name="connsiteX13917" fmla="*/ 1331554 w 4610101"/>
              <a:gd name="connsiteY13917" fmla="*/ 1277513 h 6557032"/>
              <a:gd name="connsiteX13918" fmla="*/ 1330002 w 4610101"/>
              <a:gd name="connsiteY13918" fmla="*/ 1278909 h 6557032"/>
              <a:gd name="connsiteX13919" fmla="*/ 1329276 w 4610101"/>
              <a:gd name="connsiteY13919" fmla="*/ 1274552 h 6557032"/>
              <a:gd name="connsiteX13920" fmla="*/ 3430243 w 4610101"/>
              <a:gd name="connsiteY13920" fmla="*/ 1272730 h 6557032"/>
              <a:gd name="connsiteX13921" fmla="*/ 3423865 w 4610101"/>
              <a:gd name="connsiteY13921" fmla="*/ 1278196 h 6557032"/>
              <a:gd name="connsiteX13922" fmla="*/ 3429332 w 4610101"/>
              <a:gd name="connsiteY13922" fmla="*/ 1289129 h 6557032"/>
              <a:gd name="connsiteX13923" fmla="*/ 3436621 w 4610101"/>
              <a:gd name="connsiteY13923" fmla="*/ 1272730 h 6557032"/>
              <a:gd name="connsiteX13924" fmla="*/ 3430243 w 4610101"/>
              <a:gd name="connsiteY13924" fmla="*/ 1272730 h 6557032"/>
              <a:gd name="connsiteX13925" fmla="*/ 3172405 w 4610101"/>
              <a:gd name="connsiteY13925" fmla="*/ 1272730 h 6557032"/>
              <a:gd name="connsiteX13926" fmla="*/ 3169217 w 4610101"/>
              <a:gd name="connsiteY13926" fmla="*/ 1275007 h 6557032"/>
              <a:gd name="connsiteX13927" fmla="*/ 3168779 w 4610101"/>
              <a:gd name="connsiteY13927" fmla="*/ 1279823 h 6557032"/>
              <a:gd name="connsiteX13928" fmla="*/ 3168533 w 4610101"/>
              <a:gd name="connsiteY13928" fmla="*/ 1279563 h 6557032"/>
              <a:gd name="connsiteX13929" fmla="*/ 3163294 w 4610101"/>
              <a:gd name="connsiteY13929" fmla="*/ 1278196 h 6557032"/>
              <a:gd name="connsiteX13930" fmla="*/ 3163294 w 4610101"/>
              <a:gd name="connsiteY13930" fmla="*/ 1285485 h 6557032"/>
              <a:gd name="connsiteX13931" fmla="*/ 3170583 w 4610101"/>
              <a:gd name="connsiteY13931" fmla="*/ 1285485 h 6557032"/>
              <a:gd name="connsiteX13932" fmla="*/ 3163294 w 4610101"/>
              <a:gd name="connsiteY13932" fmla="*/ 1292774 h 6557032"/>
              <a:gd name="connsiteX13933" fmla="*/ 3165116 w 4610101"/>
              <a:gd name="connsiteY13933" fmla="*/ 1303707 h 6557032"/>
              <a:gd name="connsiteX13934" fmla="*/ 3177872 w 4610101"/>
              <a:gd name="connsiteY13934" fmla="*/ 1303707 h 6557032"/>
              <a:gd name="connsiteX13935" fmla="*/ 3185160 w 4610101"/>
              <a:gd name="connsiteY13935" fmla="*/ 1309173 h 6557032"/>
              <a:gd name="connsiteX13936" fmla="*/ 3190627 w 4610101"/>
              <a:gd name="connsiteY13936" fmla="*/ 1300062 h 6557032"/>
              <a:gd name="connsiteX13937" fmla="*/ 3179694 w 4610101"/>
              <a:gd name="connsiteY13937" fmla="*/ 1278196 h 6557032"/>
              <a:gd name="connsiteX13938" fmla="*/ 3172405 w 4610101"/>
              <a:gd name="connsiteY13938" fmla="*/ 1283663 h 6557032"/>
              <a:gd name="connsiteX13939" fmla="*/ 3168971 w 4610101"/>
              <a:gd name="connsiteY13939" fmla="*/ 1280026 h 6557032"/>
              <a:gd name="connsiteX13940" fmla="*/ 3174683 w 4610101"/>
              <a:gd name="connsiteY13940" fmla="*/ 1280246 h 6557032"/>
              <a:gd name="connsiteX13941" fmla="*/ 3177872 w 4610101"/>
              <a:gd name="connsiteY13941" fmla="*/ 1276374 h 6557032"/>
              <a:gd name="connsiteX13942" fmla="*/ 3172405 w 4610101"/>
              <a:gd name="connsiteY13942" fmla="*/ 1272730 h 6557032"/>
              <a:gd name="connsiteX13943" fmla="*/ 1873195 w 4610101"/>
              <a:gd name="connsiteY13943" fmla="*/ 1272730 h 6557032"/>
              <a:gd name="connsiteX13944" fmla="*/ 1867729 w 4610101"/>
              <a:gd name="connsiteY13944" fmla="*/ 1287307 h 6557032"/>
              <a:gd name="connsiteX13945" fmla="*/ 1876839 w 4610101"/>
              <a:gd name="connsiteY13945" fmla="*/ 1272730 h 6557032"/>
              <a:gd name="connsiteX13946" fmla="*/ 1335654 w 4610101"/>
              <a:gd name="connsiteY13946" fmla="*/ 1272730 h 6557032"/>
              <a:gd name="connsiteX13947" fmla="*/ 1337476 w 4610101"/>
              <a:gd name="connsiteY13947" fmla="*/ 1281841 h 6557032"/>
              <a:gd name="connsiteX13948" fmla="*/ 1341120 w 4610101"/>
              <a:gd name="connsiteY13948" fmla="*/ 1276374 h 6557032"/>
              <a:gd name="connsiteX13949" fmla="*/ 1344765 w 4610101"/>
              <a:gd name="connsiteY13949" fmla="*/ 1278196 h 6557032"/>
              <a:gd name="connsiteX13950" fmla="*/ 1343170 w 4610101"/>
              <a:gd name="connsiteY13950" fmla="*/ 1288218 h 6557032"/>
              <a:gd name="connsiteX13951" fmla="*/ 1340698 w 4610101"/>
              <a:gd name="connsiteY13951" fmla="*/ 1292570 h 6557032"/>
              <a:gd name="connsiteX13952" fmla="*/ 1339981 w 4610101"/>
              <a:gd name="connsiteY13952" fmla="*/ 1289129 h 6557032"/>
              <a:gd name="connsiteX13953" fmla="*/ 1337476 w 4610101"/>
              <a:gd name="connsiteY13953" fmla="*/ 1283663 h 6557032"/>
              <a:gd name="connsiteX13954" fmla="*/ 1336261 w 4610101"/>
              <a:gd name="connsiteY13954" fmla="*/ 1283663 h 6557032"/>
              <a:gd name="connsiteX13955" fmla="*/ 1337475 w 4610101"/>
              <a:gd name="connsiteY13955" fmla="*/ 1281841 h 6557032"/>
              <a:gd name="connsiteX13956" fmla="*/ 1333832 w 4610101"/>
              <a:gd name="connsiteY13956" fmla="*/ 1283663 h 6557032"/>
              <a:gd name="connsiteX13957" fmla="*/ 1332579 w 4610101"/>
              <a:gd name="connsiteY13957" fmla="*/ 1281158 h 6557032"/>
              <a:gd name="connsiteX13958" fmla="*/ 1331782 w 4610101"/>
              <a:gd name="connsiteY13958" fmla="*/ 1277247 h 6557032"/>
              <a:gd name="connsiteX13959" fmla="*/ 1284633 w 4610101"/>
              <a:gd name="connsiteY13959" fmla="*/ 1272730 h 6557032"/>
              <a:gd name="connsiteX13960" fmla="*/ 1288277 w 4610101"/>
              <a:gd name="connsiteY13960" fmla="*/ 1276374 h 6557032"/>
              <a:gd name="connsiteX13961" fmla="*/ 1284633 w 4610101"/>
              <a:gd name="connsiteY13961" fmla="*/ 1272730 h 6557032"/>
              <a:gd name="connsiteX13962" fmla="*/ 1271878 w 4610101"/>
              <a:gd name="connsiteY13962" fmla="*/ 1272730 h 6557032"/>
              <a:gd name="connsiteX13963" fmla="*/ 1260945 w 4610101"/>
              <a:gd name="connsiteY13963" fmla="*/ 1278196 h 6557032"/>
              <a:gd name="connsiteX13964" fmla="*/ 1264589 w 4610101"/>
              <a:gd name="connsiteY13964" fmla="*/ 1280018 h 6557032"/>
              <a:gd name="connsiteX13965" fmla="*/ 1268233 w 4610101"/>
              <a:gd name="connsiteY13965" fmla="*/ 1276374 h 6557032"/>
              <a:gd name="connsiteX13966" fmla="*/ 1266411 w 4610101"/>
              <a:gd name="connsiteY13966" fmla="*/ 1280018 h 6557032"/>
              <a:gd name="connsiteX13967" fmla="*/ 1280989 w 4610101"/>
              <a:gd name="connsiteY13967" fmla="*/ 1283663 h 6557032"/>
              <a:gd name="connsiteX13968" fmla="*/ 1271878 w 4610101"/>
              <a:gd name="connsiteY13968" fmla="*/ 1272730 h 6557032"/>
              <a:gd name="connsiteX13969" fmla="*/ 708826 w 4610101"/>
              <a:gd name="connsiteY13969" fmla="*/ 1272730 h 6557032"/>
              <a:gd name="connsiteX13970" fmla="*/ 705182 w 4610101"/>
              <a:gd name="connsiteY13970" fmla="*/ 1274552 h 6557032"/>
              <a:gd name="connsiteX13971" fmla="*/ 710648 w 4610101"/>
              <a:gd name="connsiteY13971" fmla="*/ 1280018 h 6557032"/>
              <a:gd name="connsiteX13972" fmla="*/ 708826 w 4610101"/>
              <a:gd name="connsiteY13972" fmla="*/ 1272730 h 6557032"/>
              <a:gd name="connsiteX13973" fmla="*/ 570341 w 4610101"/>
              <a:gd name="connsiteY13973" fmla="*/ 1272730 h 6557032"/>
              <a:gd name="connsiteX13974" fmla="*/ 552119 w 4610101"/>
              <a:gd name="connsiteY13974" fmla="*/ 1281841 h 6557032"/>
              <a:gd name="connsiteX13975" fmla="*/ 570341 w 4610101"/>
              <a:gd name="connsiteY13975" fmla="*/ 1272730 h 6557032"/>
              <a:gd name="connsiteX13976" fmla="*/ 510209 w 4610101"/>
              <a:gd name="connsiteY13976" fmla="*/ 1272730 h 6557032"/>
              <a:gd name="connsiteX13977" fmla="*/ 524786 w 4610101"/>
              <a:gd name="connsiteY13977" fmla="*/ 1278196 h 6557032"/>
              <a:gd name="connsiteX13978" fmla="*/ 515676 w 4610101"/>
              <a:gd name="connsiteY13978" fmla="*/ 1272730 h 6557032"/>
              <a:gd name="connsiteX13979" fmla="*/ 510209 w 4610101"/>
              <a:gd name="connsiteY13979" fmla="*/ 1272730 h 6557032"/>
              <a:gd name="connsiteX13980" fmla="*/ 1325727 w 4610101"/>
              <a:gd name="connsiteY13980" fmla="*/ 1272160 h 6557032"/>
              <a:gd name="connsiteX13981" fmla="*/ 1325982 w 4610101"/>
              <a:gd name="connsiteY13981" fmla="*/ 1272609 h 6557032"/>
              <a:gd name="connsiteX13982" fmla="*/ 1325148 w 4610101"/>
              <a:gd name="connsiteY13982" fmla="*/ 1277854 h 6557032"/>
              <a:gd name="connsiteX13983" fmla="*/ 1324721 w 4610101"/>
              <a:gd name="connsiteY13983" fmla="*/ 1278196 h 6557032"/>
              <a:gd name="connsiteX13984" fmla="*/ 1681866 w 4610101"/>
              <a:gd name="connsiteY13984" fmla="*/ 1270979 h 6557032"/>
              <a:gd name="connsiteX13985" fmla="*/ 1698266 w 4610101"/>
              <a:gd name="connsiteY13985" fmla="*/ 1285557 h 6557032"/>
              <a:gd name="connsiteX13986" fmla="*/ 1681866 w 4610101"/>
              <a:gd name="connsiteY13986" fmla="*/ 1285557 h 6557032"/>
              <a:gd name="connsiteX13987" fmla="*/ 3141428 w 4610101"/>
              <a:gd name="connsiteY13987" fmla="*/ 1270908 h 6557032"/>
              <a:gd name="connsiteX13988" fmla="*/ 3141428 w 4610101"/>
              <a:gd name="connsiteY13988" fmla="*/ 1281841 h 6557032"/>
              <a:gd name="connsiteX13989" fmla="*/ 3157828 w 4610101"/>
              <a:gd name="connsiteY13989" fmla="*/ 1285485 h 6557032"/>
              <a:gd name="connsiteX13990" fmla="*/ 3141428 w 4610101"/>
              <a:gd name="connsiteY13990" fmla="*/ 1270908 h 6557032"/>
              <a:gd name="connsiteX13991" fmla="*/ 1885950 w 4610101"/>
              <a:gd name="connsiteY13991" fmla="*/ 1270908 h 6557032"/>
              <a:gd name="connsiteX13992" fmla="*/ 1885950 w 4610101"/>
              <a:gd name="connsiteY13992" fmla="*/ 1289129 h 6557032"/>
              <a:gd name="connsiteX13993" fmla="*/ 1893239 w 4610101"/>
              <a:gd name="connsiteY13993" fmla="*/ 1289129 h 6557032"/>
              <a:gd name="connsiteX13994" fmla="*/ 1896883 w 4610101"/>
              <a:gd name="connsiteY13994" fmla="*/ 1285485 h 6557032"/>
              <a:gd name="connsiteX13995" fmla="*/ 1896883 w 4610101"/>
              <a:gd name="connsiteY13995" fmla="*/ 1270908 h 6557032"/>
              <a:gd name="connsiteX13996" fmla="*/ 1162547 w 4610101"/>
              <a:gd name="connsiteY13996" fmla="*/ 1270908 h 6557032"/>
              <a:gd name="connsiteX13997" fmla="*/ 1160725 w 4610101"/>
              <a:gd name="connsiteY13997" fmla="*/ 1274552 h 6557032"/>
              <a:gd name="connsiteX13998" fmla="*/ 1162547 w 4610101"/>
              <a:gd name="connsiteY13998" fmla="*/ 1270908 h 6557032"/>
              <a:gd name="connsiteX13999" fmla="*/ 1120637 w 4610101"/>
              <a:gd name="connsiteY13999" fmla="*/ 1270908 h 6557032"/>
              <a:gd name="connsiteX14000" fmla="*/ 1115171 w 4610101"/>
              <a:gd name="connsiteY14000" fmla="*/ 1274552 h 6557032"/>
              <a:gd name="connsiteX14001" fmla="*/ 1118815 w 4610101"/>
              <a:gd name="connsiteY14001" fmla="*/ 1283663 h 6557032"/>
              <a:gd name="connsiteX14002" fmla="*/ 1120637 w 4610101"/>
              <a:gd name="connsiteY14002" fmla="*/ 1270908 h 6557032"/>
              <a:gd name="connsiteX14003" fmla="*/ 967575 w 4610101"/>
              <a:gd name="connsiteY14003" fmla="*/ 1270908 h 6557032"/>
              <a:gd name="connsiteX14004" fmla="*/ 960286 w 4610101"/>
              <a:gd name="connsiteY14004" fmla="*/ 1278196 h 6557032"/>
              <a:gd name="connsiteX14005" fmla="*/ 967575 w 4610101"/>
              <a:gd name="connsiteY14005" fmla="*/ 1270908 h 6557032"/>
              <a:gd name="connsiteX14006" fmla="*/ 931131 w 4610101"/>
              <a:gd name="connsiteY14006" fmla="*/ 1270908 h 6557032"/>
              <a:gd name="connsiteX14007" fmla="*/ 936598 w 4610101"/>
              <a:gd name="connsiteY14007" fmla="*/ 1274552 h 6557032"/>
              <a:gd name="connsiteX14008" fmla="*/ 938420 w 4610101"/>
              <a:gd name="connsiteY14008" fmla="*/ 1270908 h 6557032"/>
              <a:gd name="connsiteX14009" fmla="*/ 931131 w 4610101"/>
              <a:gd name="connsiteY14009" fmla="*/ 1270908 h 6557032"/>
              <a:gd name="connsiteX14010" fmla="*/ 776246 w 4610101"/>
              <a:gd name="connsiteY14010" fmla="*/ 1270908 h 6557032"/>
              <a:gd name="connsiteX14011" fmla="*/ 774424 w 4610101"/>
              <a:gd name="connsiteY14011" fmla="*/ 1274552 h 6557032"/>
              <a:gd name="connsiteX14012" fmla="*/ 775031 w 4610101"/>
              <a:gd name="connsiteY14012" fmla="*/ 1274552 h 6557032"/>
              <a:gd name="connsiteX14013" fmla="*/ 774424 w 4610101"/>
              <a:gd name="connsiteY14013" fmla="*/ 1276374 h 6557032"/>
              <a:gd name="connsiteX14014" fmla="*/ 779892 w 4610101"/>
              <a:gd name="connsiteY14014" fmla="*/ 1274552 h 6557032"/>
              <a:gd name="connsiteX14015" fmla="*/ 775031 w 4610101"/>
              <a:gd name="connsiteY14015" fmla="*/ 1274552 h 6557032"/>
              <a:gd name="connsiteX14016" fmla="*/ 759848 w 4610101"/>
              <a:gd name="connsiteY14016" fmla="*/ 1270908 h 6557032"/>
              <a:gd name="connsiteX14017" fmla="*/ 752558 w 4610101"/>
              <a:gd name="connsiteY14017" fmla="*/ 1283663 h 6557032"/>
              <a:gd name="connsiteX14018" fmla="*/ 761670 w 4610101"/>
              <a:gd name="connsiteY14018" fmla="*/ 1283663 h 6557032"/>
              <a:gd name="connsiteX14019" fmla="*/ 759848 w 4610101"/>
              <a:gd name="connsiteY14019" fmla="*/ 1270908 h 6557032"/>
              <a:gd name="connsiteX14020" fmla="*/ 615895 w 4610101"/>
              <a:gd name="connsiteY14020" fmla="*/ 1270908 h 6557032"/>
              <a:gd name="connsiteX14021" fmla="*/ 614074 w 4610101"/>
              <a:gd name="connsiteY14021" fmla="*/ 1280018 h 6557032"/>
              <a:gd name="connsiteX14022" fmla="*/ 619539 w 4610101"/>
              <a:gd name="connsiteY14022" fmla="*/ 1274552 h 6557032"/>
              <a:gd name="connsiteX14023" fmla="*/ 615895 w 4610101"/>
              <a:gd name="connsiteY14023" fmla="*/ 1270908 h 6557032"/>
              <a:gd name="connsiteX14024" fmla="*/ 522964 w 4610101"/>
              <a:gd name="connsiteY14024" fmla="*/ 1270908 h 6557032"/>
              <a:gd name="connsiteX14025" fmla="*/ 530253 w 4610101"/>
              <a:gd name="connsiteY14025" fmla="*/ 1274552 h 6557032"/>
              <a:gd name="connsiteX14026" fmla="*/ 522964 w 4610101"/>
              <a:gd name="connsiteY14026" fmla="*/ 1270908 h 6557032"/>
              <a:gd name="connsiteX14027" fmla="*/ 744131 w 4610101"/>
              <a:gd name="connsiteY14027" fmla="*/ 1270908 h 6557032"/>
              <a:gd name="connsiteX14028" fmla="*/ 741626 w 4610101"/>
              <a:gd name="connsiteY14028" fmla="*/ 1270908 h 6557032"/>
              <a:gd name="connsiteX14029" fmla="*/ 745269 w 4610101"/>
              <a:gd name="connsiteY14029" fmla="*/ 1270908 h 6557032"/>
              <a:gd name="connsiteX14030" fmla="*/ 744131 w 4610101"/>
              <a:gd name="connsiteY14030" fmla="*/ 1270908 h 6557032"/>
              <a:gd name="connsiteX14031" fmla="*/ 3355078 w 4610101"/>
              <a:gd name="connsiteY14031" fmla="*/ 1270680 h 6557032"/>
              <a:gd name="connsiteX14032" fmla="*/ 3349156 w 4610101"/>
              <a:gd name="connsiteY14032" fmla="*/ 1270908 h 6557032"/>
              <a:gd name="connsiteX14033" fmla="*/ 3363734 w 4610101"/>
              <a:gd name="connsiteY14033" fmla="*/ 1274552 h 6557032"/>
              <a:gd name="connsiteX14034" fmla="*/ 3355078 w 4610101"/>
              <a:gd name="connsiteY14034" fmla="*/ 1270680 h 6557032"/>
              <a:gd name="connsiteX14035" fmla="*/ 1414664 w 4610101"/>
              <a:gd name="connsiteY14035" fmla="*/ 1270398 h 6557032"/>
              <a:gd name="connsiteX14036" fmla="*/ 1414463 w 4610101"/>
              <a:gd name="connsiteY14036" fmla="*/ 1272502 h 6557032"/>
              <a:gd name="connsiteX14037" fmla="*/ 1406116 w 4610101"/>
              <a:gd name="connsiteY14037" fmla="*/ 1283830 h 6557032"/>
              <a:gd name="connsiteX14038" fmla="*/ 3290164 w 4610101"/>
              <a:gd name="connsiteY14038" fmla="*/ 1270224 h 6557032"/>
              <a:gd name="connsiteX14039" fmla="*/ 3285380 w 4610101"/>
              <a:gd name="connsiteY14039" fmla="*/ 1274552 h 6557032"/>
              <a:gd name="connsiteX14040" fmla="*/ 3296313 w 4610101"/>
              <a:gd name="connsiteY14040" fmla="*/ 1272730 h 6557032"/>
              <a:gd name="connsiteX14041" fmla="*/ 3290164 w 4610101"/>
              <a:gd name="connsiteY14041" fmla="*/ 1270224 h 6557032"/>
              <a:gd name="connsiteX14042" fmla="*/ 3182200 w 4610101"/>
              <a:gd name="connsiteY14042" fmla="*/ 1269768 h 6557032"/>
              <a:gd name="connsiteX14043" fmla="*/ 3177872 w 4610101"/>
              <a:gd name="connsiteY14043" fmla="*/ 1270908 h 6557032"/>
              <a:gd name="connsiteX14044" fmla="*/ 3185160 w 4610101"/>
              <a:gd name="connsiteY14044" fmla="*/ 1272730 h 6557032"/>
              <a:gd name="connsiteX14045" fmla="*/ 3182200 w 4610101"/>
              <a:gd name="connsiteY14045" fmla="*/ 1269768 h 6557032"/>
              <a:gd name="connsiteX14046" fmla="*/ 1326034 w 4610101"/>
              <a:gd name="connsiteY14046" fmla="*/ 1269668 h 6557032"/>
              <a:gd name="connsiteX14047" fmla="*/ 1326087 w 4610101"/>
              <a:gd name="connsiteY14047" fmla="*/ 1269996 h 6557032"/>
              <a:gd name="connsiteX14048" fmla="*/ 1325727 w 4610101"/>
              <a:gd name="connsiteY14048" fmla="*/ 1272160 h 6557032"/>
              <a:gd name="connsiteX14049" fmla="*/ 1325404 w 4610101"/>
              <a:gd name="connsiteY14049" fmla="*/ 1271591 h 6557032"/>
              <a:gd name="connsiteX14050" fmla="*/ 1325326 w 4610101"/>
              <a:gd name="connsiteY14050" fmla="*/ 1270475 h 6557032"/>
              <a:gd name="connsiteX14051" fmla="*/ 291093 w 4610101"/>
              <a:gd name="connsiteY14051" fmla="*/ 1269086 h 6557032"/>
              <a:gd name="connsiteX14052" fmla="*/ 269682 w 4610101"/>
              <a:gd name="connsiteY14052" fmla="*/ 1270908 h 6557032"/>
              <a:gd name="connsiteX14053" fmla="*/ 278793 w 4610101"/>
              <a:gd name="connsiteY14053" fmla="*/ 1274552 h 6557032"/>
              <a:gd name="connsiteX14054" fmla="*/ 276971 w 4610101"/>
              <a:gd name="connsiteY14054" fmla="*/ 1270908 h 6557032"/>
              <a:gd name="connsiteX14055" fmla="*/ 287904 w 4610101"/>
              <a:gd name="connsiteY14055" fmla="*/ 1278196 h 6557032"/>
              <a:gd name="connsiteX14056" fmla="*/ 289726 w 4610101"/>
              <a:gd name="connsiteY14056" fmla="*/ 1274552 h 6557032"/>
              <a:gd name="connsiteX14057" fmla="*/ 304303 w 4610101"/>
              <a:gd name="connsiteY14057" fmla="*/ 1287307 h 6557032"/>
              <a:gd name="connsiteX14058" fmla="*/ 315236 w 4610101"/>
              <a:gd name="connsiteY14058" fmla="*/ 1278196 h 6557032"/>
              <a:gd name="connsiteX14059" fmla="*/ 291093 w 4610101"/>
              <a:gd name="connsiteY14059" fmla="*/ 1269086 h 6557032"/>
              <a:gd name="connsiteX14060" fmla="*/ 1304677 w 4610101"/>
              <a:gd name="connsiteY14060" fmla="*/ 1269085 h 6557032"/>
              <a:gd name="connsiteX14061" fmla="*/ 1306499 w 4610101"/>
              <a:gd name="connsiteY14061" fmla="*/ 1283663 h 6557032"/>
              <a:gd name="connsiteX14062" fmla="*/ 1304677 w 4610101"/>
              <a:gd name="connsiteY14062" fmla="*/ 1269085 h 6557032"/>
              <a:gd name="connsiteX14063" fmla="*/ 1051395 w 4610101"/>
              <a:gd name="connsiteY14063" fmla="*/ 1269085 h 6557032"/>
              <a:gd name="connsiteX14064" fmla="*/ 1080549 w 4610101"/>
              <a:gd name="connsiteY14064" fmla="*/ 1296418 h 6557032"/>
              <a:gd name="connsiteX14065" fmla="*/ 1073262 w 4610101"/>
              <a:gd name="connsiteY14065" fmla="*/ 1292774 h 6557032"/>
              <a:gd name="connsiteX14066" fmla="*/ 1084194 w 4610101"/>
              <a:gd name="connsiteY14066" fmla="*/ 1305529 h 6557032"/>
              <a:gd name="connsiteX14067" fmla="*/ 1093305 w 4610101"/>
              <a:gd name="connsiteY14067" fmla="*/ 1316462 h 6557032"/>
              <a:gd name="connsiteX14068" fmla="*/ 1100593 w 4610101"/>
              <a:gd name="connsiteY14068" fmla="*/ 1331039 h 6557032"/>
              <a:gd name="connsiteX14069" fmla="*/ 1098771 w 4610101"/>
              <a:gd name="connsiteY14069" fmla="*/ 1325573 h 6557032"/>
              <a:gd name="connsiteX14070" fmla="*/ 1102416 w 4610101"/>
              <a:gd name="connsiteY14070" fmla="*/ 1325573 h 6557032"/>
              <a:gd name="connsiteX14071" fmla="*/ 1098771 w 4610101"/>
              <a:gd name="connsiteY14071" fmla="*/ 1318284 h 6557032"/>
              <a:gd name="connsiteX14072" fmla="*/ 1102416 w 4610101"/>
              <a:gd name="connsiteY14072" fmla="*/ 1321929 h 6557032"/>
              <a:gd name="connsiteX14073" fmla="*/ 1087838 w 4610101"/>
              <a:gd name="connsiteY14073" fmla="*/ 1301885 h 6557032"/>
              <a:gd name="connsiteX14074" fmla="*/ 1096949 w 4610101"/>
              <a:gd name="connsiteY14074" fmla="*/ 1303707 h 6557032"/>
              <a:gd name="connsiteX14075" fmla="*/ 1086016 w 4610101"/>
              <a:gd name="connsiteY14075" fmla="*/ 1285485 h 6557032"/>
              <a:gd name="connsiteX14076" fmla="*/ 1093305 w 4610101"/>
              <a:gd name="connsiteY14076" fmla="*/ 1289129 h 6557032"/>
              <a:gd name="connsiteX14077" fmla="*/ 1080549 w 4610101"/>
              <a:gd name="connsiteY14077" fmla="*/ 1278196 h 6557032"/>
              <a:gd name="connsiteX14078" fmla="*/ 1082373 w 4610101"/>
              <a:gd name="connsiteY14078" fmla="*/ 1281841 h 6557032"/>
              <a:gd name="connsiteX14079" fmla="*/ 1058683 w 4610101"/>
              <a:gd name="connsiteY14079" fmla="*/ 1269085 h 6557032"/>
              <a:gd name="connsiteX14080" fmla="*/ 1051395 w 4610101"/>
              <a:gd name="connsiteY14080" fmla="*/ 1269085 h 6557032"/>
              <a:gd name="connsiteX14081" fmla="*/ 901976 w 4610101"/>
              <a:gd name="connsiteY14081" fmla="*/ 1269085 h 6557032"/>
              <a:gd name="connsiteX14082" fmla="*/ 896510 w 4610101"/>
              <a:gd name="connsiteY14082" fmla="*/ 1274552 h 6557032"/>
              <a:gd name="connsiteX14083" fmla="*/ 901976 w 4610101"/>
              <a:gd name="connsiteY14083" fmla="*/ 1269085 h 6557032"/>
              <a:gd name="connsiteX14084" fmla="*/ 732515 w 4610101"/>
              <a:gd name="connsiteY14084" fmla="*/ 1269085 h 6557032"/>
              <a:gd name="connsiteX14085" fmla="*/ 736159 w 4610101"/>
              <a:gd name="connsiteY14085" fmla="*/ 1272730 h 6557032"/>
              <a:gd name="connsiteX14086" fmla="*/ 732515 w 4610101"/>
              <a:gd name="connsiteY14086" fmla="*/ 1269085 h 6557032"/>
              <a:gd name="connsiteX14087" fmla="*/ 712470 w 4610101"/>
              <a:gd name="connsiteY14087" fmla="*/ 1269085 h 6557032"/>
              <a:gd name="connsiteX14088" fmla="*/ 721581 w 4610101"/>
              <a:gd name="connsiteY14088" fmla="*/ 1280018 h 6557032"/>
              <a:gd name="connsiteX14089" fmla="*/ 717937 w 4610101"/>
              <a:gd name="connsiteY14089" fmla="*/ 1269085 h 6557032"/>
              <a:gd name="connsiteX14090" fmla="*/ 712470 w 4610101"/>
              <a:gd name="connsiteY14090" fmla="*/ 1269085 h 6557032"/>
              <a:gd name="connsiteX14091" fmla="*/ 2477611 w 4610101"/>
              <a:gd name="connsiteY14091" fmla="*/ 1267445 h 6557032"/>
              <a:gd name="connsiteX14092" fmla="*/ 2478157 w 4610101"/>
              <a:gd name="connsiteY14092" fmla="*/ 1269085 h 6557032"/>
              <a:gd name="connsiteX14093" fmla="*/ 2477505 w 4610101"/>
              <a:gd name="connsiteY14093" fmla="*/ 1267453 h 6557032"/>
              <a:gd name="connsiteX14094" fmla="*/ 1279166 w 4610101"/>
              <a:gd name="connsiteY14094" fmla="*/ 1267263 h 6557032"/>
              <a:gd name="connsiteX14095" fmla="*/ 1273700 w 4610101"/>
              <a:gd name="connsiteY14095" fmla="*/ 1269085 h 6557032"/>
              <a:gd name="connsiteX14096" fmla="*/ 1280989 w 4610101"/>
              <a:gd name="connsiteY14096" fmla="*/ 1272730 h 6557032"/>
              <a:gd name="connsiteX14097" fmla="*/ 1279166 w 4610101"/>
              <a:gd name="connsiteY14097" fmla="*/ 1267263 h 6557032"/>
              <a:gd name="connsiteX14098" fmla="*/ 1024062 w 4610101"/>
              <a:gd name="connsiteY14098" fmla="*/ 1267263 h 6557032"/>
              <a:gd name="connsiteX14099" fmla="*/ 1027707 w 4610101"/>
              <a:gd name="connsiteY14099" fmla="*/ 1274552 h 6557032"/>
              <a:gd name="connsiteX14100" fmla="*/ 1024062 w 4610101"/>
              <a:gd name="connsiteY14100" fmla="*/ 1267263 h 6557032"/>
              <a:gd name="connsiteX14101" fmla="*/ 768959 w 4610101"/>
              <a:gd name="connsiteY14101" fmla="*/ 1267263 h 6557032"/>
              <a:gd name="connsiteX14102" fmla="*/ 768959 w 4610101"/>
              <a:gd name="connsiteY14102" fmla="*/ 1276374 h 6557032"/>
              <a:gd name="connsiteX14103" fmla="*/ 768959 w 4610101"/>
              <a:gd name="connsiteY14103" fmla="*/ 1267263 h 6557032"/>
              <a:gd name="connsiteX14104" fmla="*/ 747092 w 4610101"/>
              <a:gd name="connsiteY14104" fmla="*/ 1267263 h 6557032"/>
              <a:gd name="connsiteX14105" fmla="*/ 752558 w 4610101"/>
              <a:gd name="connsiteY14105" fmla="*/ 1267263 h 6557032"/>
              <a:gd name="connsiteX14106" fmla="*/ 747092 w 4610101"/>
              <a:gd name="connsiteY14106" fmla="*/ 1267263 h 6557032"/>
              <a:gd name="connsiteX14107" fmla="*/ 610429 w 4610101"/>
              <a:gd name="connsiteY14107" fmla="*/ 1267263 h 6557032"/>
              <a:gd name="connsiteX14108" fmla="*/ 604963 w 4610101"/>
              <a:gd name="connsiteY14108" fmla="*/ 1269085 h 6557032"/>
              <a:gd name="connsiteX14109" fmla="*/ 610429 w 4610101"/>
              <a:gd name="connsiteY14109" fmla="*/ 1267263 h 6557032"/>
              <a:gd name="connsiteX14110" fmla="*/ 553941 w 4610101"/>
              <a:gd name="connsiteY14110" fmla="*/ 1267263 h 6557032"/>
              <a:gd name="connsiteX14111" fmla="*/ 550297 w 4610101"/>
              <a:gd name="connsiteY14111" fmla="*/ 1270908 h 6557032"/>
              <a:gd name="connsiteX14112" fmla="*/ 553941 w 4610101"/>
              <a:gd name="connsiteY14112" fmla="*/ 1267263 h 6557032"/>
              <a:gd name="connsiteX14113" fmla="*/ 512031 w 4610101"/>
              <a:gd name="connsiteY14113" fmla="*/ 1267263 h 6557032"/>
              <a:gd name="connsiteX14114" fmla="*/ 513853 w 4610101"/>
              <a:gd name="connsiteY14114" fmla="*/ 1270908 h 6557032"/>
              <a:gd name="connsiteX14115" fmla="*/ 512031 w 4610101"/>
              <a:gd name="connsiteY14115" fmla="*/ 1267263 h 6557032"/>
              <a:gd name="connsiteX14116" fmla="*/ 464655 w 4610101"/>
              <a:gd name="connsiteY14116" fmla="*/ 1267263 h 6557032"/>
              <a:gd name="connsiteX14117" fmla="*/ 450077 w 4610101"/>
              <a:gd name="connsiteY14117" fmla="*/ 1276374 h 6557032"/>
              <a:gd name="connsiteX14118" fmla="*/ 444611 w 4610101"/>
              <a:gd name="connsiteY14118" fmla="*/ 1283663 h 6557032"/>
              <a:gd name="connsiteX14119" fmla="*/ 470121 w 4610101"/>
              <a:gd name="connsiteY14119" fmla="*/ 1292774 h 6557032"/>
              <a:gd name="connsiteX14120" fmla="*/ 475589 w 4610101"/>
              <a:gd name="connsiteY14120" fmla="*/ 1289129 h 6557032"/>
              <a:gd name="connsiteX14121" fmla="*/ 473766 w 4610101"/>
              <a:gd name="connsiteY14121" fmla="*/ 1287307 h 6557032"/>
              <a:gd name="connsiteX14122" fmla="*/ 477410 w 4610101"/>
              <a:gd name="connsiteY14122" fmla="*/ 1289129 h 6557032"/>
              <a:gd name="connsiteX14123" fmla="*/ 477410 w 4610101"/>
              <a:gd name="connsiteY14123" fmla="*/ 1283663 h 6557032"/>
              <a:gd name="connsiteX14124" fmla="*/ 461010 w 4610101"/>
              <a:gd name="connsiteY14124" fmla="*/ 1281841 h 6557032"/>
              <a:gd name="connsiteX14125" fmla="*/ 470121 w 4610101"/>
              <a:gd name="connsiteY14125" fmla="*/ 1292774 h 6557032"/>
              <a:gd name="connsiteX14126" fmla="*/ 455544 w 4610101"/>
              <a:gd name="connsiteY14126" fmla="*/ 1278196 h 6557032"/>
              <a:gd name="connsiteX14127" fmla="*/ 470121 w 4610101"/>
              <a:gd name="connsiteY14127" fmla="*/ 1276374 h 6557032"/>
              <a:gd name="connsiteX14128" fmla="*/ 464655 w 4610101"/>
              <a:gd name="connsiteY14128" fmla="*/ 1267263 h 6557032"/>
              <a:gd name="connsiteX14129" fmla="*/ 215017 w 4610101"/>
              <a:gd name="connsiteY14129" fmla="*/ 1267263 h 6557032"/>
              <a:gd name="connsiteX14130" fmla="*/ 222306 w 4610101"/>
              <a:gd name="connsiteY14130" fmla="*/ 1272730 h 6557032"/>
              <a:gd name="connsiteX14131" fmla="*/ 225950 w 4610101"/>
              <a:gd name="connsiteY14131" fmla="*/ 1278196 h 6557032"/>
              <a:gd name="connsiteX14132" fmla="*/ 225950 w 4610101"/>
              <a:gd name="connsiteY14132" fmla="*/ 1272730 h 6557032"/>
              <a:gd name="connsiteX14133" fmla="*/ 224583 w 4610101"/>
              <a:gd name="connsiteY14133" fmla="*/ 1271363 h 6557032"/>
              <a:gd name="connsiteX14134" fmla="*/ 215017 w 4610101"/>
              <a:gd name="connsiteY14134" fmla="*/ 1267263 h 6557032"/>
              <a:gd name="connsiteX14135" fmla="*/ 2818398 w 4610101"/>
              <a:gd name="connsiteY14135" fmla="*/ 1267066 h 6557032"/>
              <a:gd name="connsiteX14136" fmla="*/ 2818903 w 4610101"/>
              <a:gd name="connsiteY14136" fmla="*/ 1267263 h 6557032"/>
              <a:gd name="connsiteX14137" fmla="*/ 2818552 w 4610101"/>
              <a:gd name="connsiteY14137" fmla="*/ 1267614 h 6557032"/>
              <a:gd name="connsiteX14138" fmla="*/ 157734 w 4610101"/>
              <a:gd name="connsiteY14138" fmla="*/ 1267028 h 6557032"/>
              <a:gd name="connsiteX14139" fmla="*/ 162174 w 4610101"/>
              <a:gd name="connsiteY14139" fmla="*/ 1270535 h 6557032"/>
              <a:gd name="connsiteX14140" fmla="*/ 160352 w 4610101"/>
              <a:gd name="connsiteY14140" fmla="*/ 1269768 h 6557032"/>
              <a:gd name="connsiteX14141" fmla="*/ 907671 w 4610101"/>
              <a:gd name="connsiteY14141" fmla="*/ 1265669 h 6557032"/>
              <a:gd name="connsiteX14142" fmla="*/ 903799 w 4610101"/>
              <a:gd name="connsiteY14142" fmla="*/ 1270908 h 6557032"/>
              <a:gd name="connsiteX14143" fmla="*/ 909265 w 4610101"/>
              <a:gd name="connsiteY14143" fmla="*/ 1272730 h 6557032"/>
              <a:gd name="connsiteX14144" fmla="*/ 912909 w 4610101"/>
              <a:gd name="connsiteY14144" fmla="*/ 1267263 h 6557032"/>
              <a:gd name="connsiteX14145" fmla="*/ 907671 w 4610101"/>
              <a:gd name="connsiteY14145" fmla="*/ 1265669 h 6557032"/>
              <a:gd name="connsiteX14146" fmla="*/ 519940 w 4610101"/>
              <a:gd name="connsiteY14146" fmla="*/ 1265596 h 6557032"/>
              <a:gd name="connsiteX14147" fmla="*/ 526609 w 4610101"/>
              <a:gd name="connsiteY14147" fmla="*/ 1267263 h 6557032"/>
              <a:gd name="connsiteX14148" fmla="*/ 524040 w 4610101"/>
              <a:gd name="connsiteY14148" fmla="*/ 1268547 h 6557032"/>
              <a:gd name="connsiteX14149" fmla="*/ 1240901 w 4610101"/>
              <a:gd name="connsiteY14149" fmla="*/ 1265441 h 6557032"/>
              <a:gd name="connsiteX14150" fmla="*/ 1246367 w 4610101"/>
              <a:gd name="connsiteY14150" fmla="*/ 1281841 h 6557032"/>
              <a:gd name="connsiteX14151" fmla="*/ 1248189 w 4610101"/>
              <a:gd name="connsiteY14151" fmla="*/ 1278196 h 6557032"/>
              <a:gd name="connsiteX14152" fmla="*/ 1246367 w 4610101"/>
              <a:gd name="connsiteY14152" fmla="*/ 1272730 h 6557032"/>
              <a:gd name="connsiteX14153" fmla="*/ 1246595 w 4610101"/>
              <a:gd name="connsiteY14153" fmla="*/ 1271819 h 6557032"/>
              <a:gd name="connsiteX14154" fmla="*/ 1248148 w 4610101"/>
              <a:gd name="connsiteY14154" fmla="*/ 1270931 h 6557032"/>
              <a:gd name="connsiteX14155" fmla="*/ 1248218 w 4610101"/>
              <a:gd name="connsiteY14155" fmla="*/ 1270985 h 6557032"/>
              <a:gd name="connsiteX14156" fmla="*/ 1249328 w 4610101"/>
              <a:gd name="connsiteY14156" fmla="*/ 1273869 h 6557032"/>
              <a:gd name="connsiteX14157" fmla="*/ 1251834 w 4610101"/>
              <a:gd name="connsiteY14157" fmla="*/ 1278196 h 6557032"/>
              <a:gd name="connsiteX14158" fmla="*/ 1248417 w 4610101"/>
              <a:gd name="connsiteY14158" fmla="*/ 1271135 h 6557032"/>
              <a:gd name="connsiteX14159" fmla="*/ 1248218 w 4610101"/>
              <a:gd name="connsiteY14159" fmla="*/ 1270985 h 6557032"/>
              <a:gd name="connsiteX14160" fmla="*/ 1248189 w 4610101"/>
              <a:gd name="connsiteY14160" fmla="*/ 1270908 h 6557032"/>
              <a:gd name="connsiteX14161" fmla="*/ 1248148 w 4610101"/>
              <a:gd name="connsiteY14161" fmla="*/ 1270931 h 6557032"/>
              <a:gd name="connsiteX14162" fmla="*/ 1155259 w 4610101"/>
              <a:gd name="connsiteY14162" fmla="*/ 1265441 h 6557032"/>
              <a:gd name="connsiteX14163" fmla="*/ 1153436 w 4610101"/>
              <a:gd name="connsiteY14163" fmla="*/ 1269085 h 6557032"/>
              <a:gd name="connsiteX14164" fmla="*/ 1157081 w 4610101"/>
              <a:gd name="connsiteY14164" fmla="*/ 1274552 h 6557032"/>
              <a:gd name="connsiteX14165" fmla="*/ 1155259 w 4610101"/>
              <a:gd name="connsiteY14165" fmla="*/ 1265441 h 6557032"/>
              <a:gd name="connsiteX14166" fmla="*/ 402701 w 4610101"/>
              <a:gd name="connsiteY14166" fmla="*/ 1265441 h 6557032"/>
              <a:gd name="connsiteX14167" fmla="*/ 402923 w 4610101"/>
              <a:gd name="connsiteY14167" fmla="*/ 1265508 h 6557032"/>
              <a:gd name="connsiteX14168" fmla="*/ 412294 w 4610101"/>
              <a:gd name="connsiteY14168" fmla="*/ 1270907 h 6557032"/>
              <a:gd name="connsiteX14169" fmla="*/ 411812 w 4610101"/>
              <a:gd name="connsiteY14169" fmla="*/ 1270907 h 6557032"/>
              <a:gd name="connsiteX14170" fmla="*/ 402701 w 4610101"/>
              <a:gd name="connsiteY14170" fmla="*/ 1265441 h 6557032"/>
              <a:gd name="connsiteX14171" fmla="*/ 402017 w 4610101"/>
              <a:gd name="connsiteY14171" fmla="*/ 1264986 h 6557032"/>
              <a:gd name="connsiteX14172" fmla="*/ 389946 w 4610101"/>
              <a:gd name="connsiteY14172" fmla="*/ 1265441 h 6557032"/>
              <a:gd name="connsiteX14173" fmla="*/ 402701 w 4610101"/>
              <a:gd name="connsiteY14173" fmla="*/ 1270908 h 6557032"/>
              <a:gd name="connsiteX14174" fmla="*/ 399056 w 4610101"/>
              <a:gd name="connsiteY14174" fmla="*/ 1267263 h 6557032"/>
              <a:gd name="connsiteX14175" fmla="*/ 415456 w 4610101"/>
              <a:gd name="connsiteY14175" fmla="*/ 1272730 h 6557032"/>
              <a:gd name="connsiteX14176" fmla="*/ 412294 w 4610101"/>
              <a:gd name="connsiteY14176" fmla="*/ 1270907 h 6557032"/>
              <a:gd name="connsiteX14177" fmla="*/ 420923 w 4610101"/>
              <a:gd name="connsiteY14177" fmla="*/ 1270908 h 6557032"/>
              <a:gd name="connsiteX14178" fmla="*/ 402923 w 4610101"/>
              <a:gd name="connsiteY14178" fmla="*/ 1265508 h 6557032"/>
              <a:gd name="connsiteX14179" fmla="*/ 697134 w 4610101"/>
              <a:gd name="connsiteY14179" fmla="*/ 1264378 h 6557032"/>
              <a:gd name="connsiteX14180" fmla="*/ 694096 w 4610101"/>
              <a:gd name="connsiteY14180" fmla="*/ 1267416 h 6557032"/>
              <a:gd name="connsiteX14181" fmla="*/ 694932 w 4610101"/>
              <a:gd name="connsiteY14181" fmla="*/ 1265669 h 6557032"/>
              <a:gd name="connsiteX14182" fmla="*/ 3163294 w 4610101"/>
              <a:gd name="connsiteY14182" fmla="*/ 1263619 h 6557032"/>
              <a:gd name="connsiteX14183" fmla="*/ 3166939 w 4610101"/>
              <a:gd name="connsiteY14183" fmla="*/ 1269085 h 6557032"/>
              <a:gd name="connsiteX14184" fmla="*/ 3166939 w 4610101"/>
              <a:gd name="connsiteY14184" fmla="*/ 1263619 h 6557032"/>
              <a:gd name="connsiteX14185" fmla="*/ 3163294 w 4610101"/>
              <a:gd name="connsiteY14185" fmla="*/ 1263619 h 6557032"/>
              <a:gd name="connsiteX14186" fmla="*/ 1344765 w 4610101"/>
              <a:gd name="connsiteY14186" fmla="*/ 1263619 h 6557032"/>
              <a:gd name="connsiteX14187" fmla="*/ 1341120 w 4610101"/>
              <a:gd name="connsiteY14187" fmla="*/ 1274552 h 6557032"/>
              <a:gd name="connsiteX14188" fmla="*/ 1339299 w 4610101"/>
              <a:gd name="connsiteY14188" fmla="*/ 1272730 h 6557032"/>
              <a:gd name="connsiteX14189" fmla="*/ 1339299 w 4610101"/>
              <a:gd name="connsiteY14189" fmla="*/ 1276374 h 6557032"/>
              <a:gd name="connsiteX14190" fmla="*/ 1344765 w 4610101"/>
              <a:gd name="connsiteY14190" fmla="*/ 1263619 h 6557032"/>
              <a:gd name="connsiteX14191" fmla="*/ 1311966 w 4610101"/>
              <a:gd name="connsiteY14191" fmla="*/ 1263619 h 6557032"/>
              <a:gd name="connsiteX14192" fmla="*/ 1308321 w 4610101"/>
              <a:gd name="connsiteY14192" fmla="*/ 1265441 h 6557032"/>
              <a:gd name="connsiteX14193" fmla="*/ 1311966 w 4610101"/>
              <a:gd name="connsiteY14193" fmla="*/ 1272730 h 6557032"/>
              <a:gd name="connsiteX14194" fmla="*/ 1311966 w 4610101"/>
              <a:gd name="connsiteY14194" fmla="*/ 1263619 h 6557032"/>
              <a:gd name="connsiteX14195" fmla="*/ 1016774 w 4610101"/>
              <a:gd name="connsiteY14195" fmla="*/ 1263619 h 6557032"/>
              <a:gd name="connsiteX14196" fmla="*/ 1027707 w 4610101"/>
              <a:gd name="connsiteY14196" fmla="*/ 1274552 h 6557032"/>
              <a:gd name="connsiteX14197" fmla="*/ 1087838 w 4610101"/>
              <a:gd name="connsiteY14197" fmla="*/ 1331039 h 6557032"/>
              <a:gd name="connsiteX14198" fmla="*/ 1058683 w 4610101"/>
              <a:gd name="connsiteY14198" fmla="*/ 1289129 h 6557032"/>
              <a:gd name="connsiteX14199" fmla="*/ 1064151 w 4610101"/>
              <a:gd name="connsiteY14199" fmla="*/ 1289129 h 6557032"/>
              <a:gd name="connsiteX14200" fmla="*/ 1056861 w 4610101"/>
              <a:gd name="connsiteY14200" fmla="*/ 1281841 h 6557032"/>
              <a:gd name="connsiteX14201" fmla="*/ 1047750 w 4610101"/>
              <a:gd name="connsiteY14201" fmla="*/ 1272730 h 6557032"/>
              <a:gd name="connsiteX14202" fmla="*/ 1056861 w 4610101"/>
              <a:gd name="connsiteY14202" fmla="*/ 1281841 h 6557032"/>
              <a:gd name="connsiteX14203" fmla="*/ 1058683 w 4610101"/>
              <a:gd name="connsiteY14203" fmla="*/ 1287307 h 6557032"/>
              <a:gd name="connsiteX14204" fmla="*/ 1042284 w 4610101"/>
              <a:gd name="connsiteY14204" fmla="*/ 1267263 h 6557032"/>
              <a:gd name="connsiteX14205" fmla="*/ 1024062 w 4610101"/>
              <a:gd name="connsiteY14205" fmla="*/ 1263619 h 6557032"/>
              <a:gd name="connsiteX14206" fmla="*/ 1024062 w 4610101"/>
              <a:gd name="connsiteY14206" fmla="*/ 1265441 h 6557032"/>
              <a:gd name="connsiteX14207" fmla="*/ 1016774 w 4610101"/>
              <a:gd name="connsiteY14207" fmla="*/ 1263619 h 6557032"/>
              <a:gd name="connsiteX14208" fmla="*/ 1007663 w 4610101"/>
              <a:gd name="connsiteY14208" fmla="*/ 1263619 h 6557032"/>
              <a:gd name="connsiteX14209" fmla="*/ 993085 w 4610101"/>
              <a:gd name="connsiteY14209" fmla="*/ 1272730 h 6557032"/>
              <a:gd name="connsiteX14210" fmla="*/ 1005840 w 4610101"/>
              <a:gd name="connsiteY14210" fmla="*/ 1280018 h 6557032"/>
              <a:gd name="connsiteX14211" fmla="*/ 1007663 w 4610101"/>
              <a:gd name="connsiteY14211" fmla="*/ 1276374 h 6557032"/>
              <a:gd name="connsiteX14212" fmla="*/ 1044106 w 4610101"/>
              <a:gd name="connsiteY14212" fmla="*/ 1296418 h 6557032"/>
              <a:gd name="connsiteX14213" fmla="*/ 1007663 w 4610101"/>
              <a:gd name="connsiteY14213" fmla="*/ 1263619 h 6557032"/>
              <a:gd name="connsiteX14214" fmla="*/ 737981 w 4610101"/>
              <a:gd name="connsiteY14214" fmla="*/ 1263619 h 6557032"/>
              <a:gd name="connsiteX14215" fmla="*/ 741626 w 4610101"/>
              <a:gd name="connsiteY14215" fmla="*/ 1267263 h 6557032"/>
              <a:gd name="connsiteX14216" fmla="*/ 737981 w 4610101"/>
              <a:gd name="connsiteY14216" fmla="*/ 1263619 h 6557032"/>
              <a:gd name="connsiteX14217" fmla="*/ 251929 w 4610101"/>
              <a:gd name="connsiteY14217" fmla="*/ 1263330 h 6557032"/>
              <a:gd name="connsiteX14218" fmla="*/ 266762 w 4610101"/>
              <a:gd name="connsiteY14218" fmla="*/ 1270532 h 6557032"/>
              <a:gd name="connsiteX14219" fmla="*/ 267860 w 4610101"/>
              <a:gd name="connsiteY14219" fmla="*/ 1272730 h 6557032"/>
              <a:gd name="connsiteX14220" fmla="*/ 251460 w 4610101"/>
              <a:gd name="connsiteY14220" fmla="*/ 1263619 h 6557032"/>
              <a:gd name="connsiteX14221" fmla="*/ 726137 w 4610101"/>
              <a:gd name="connsiteY14221" fmla="*/ 1263164 h 6557032"/>
              <a:gd name="connsiteX14222" fmla="*/ 723404 w 4610101"/>
              <a:gd name="connsiteY14222" fmla="*/ 1263619 h 6557032"/>
              <a:gd name="connsiteX14223" fmla="*/ 736159 w 4610101"/>
              <a:gd name="connsiteY14223" fmla="*/ 1276374 h 6557032"/>
              <a:gd name="connsiteX14224" fmla="*/ 725226 w 4610101"/>
              <a:gd name="connsiteY14224" fmla="*/ 1265441 h 6557032"/>
              <a:gd name="connsiteX14225" fmla="*/ 728870 w 4610101"/>
              <a:gd name="connsiteY14225" fmla="*/ 1265441 h 6557032"/>
              <a:gd name="connsiteX14226" fmla="*/ 726137 w 4610101"/>
              <a:gd name="connsiteY14226" fmla="*/ 1263164 h 6557032"/>
              <a:gd name="connsiteX14227" fmla="*/ 667172 w 4610101"/>
              <a:gd name="connsiteY14227" fmla="*/ 1262594 h 6557032"/>
              <a:gd name="connsiteX14228" fmla="*/ 661449 w 4610101"/>
              <a:gd name="connsiteY14228" fmla="*/ 1269085 h 6557032"/>
              <a:gd name="connsiteX14229" fmla="*/ 665094 w 4610101"/>
              <a:gd name="connsiteY14229" fmla="*/ 1280018 h 6557032"/>
              <a:gd name="connsiteX14230" fmla="*/ 672383 w 4610101"/>
              <a:gd name="connsiteY14230" fmla="*/ 1280018 h 6557032"/>
              <a:gd name="connsiteX14231" fmla="*/ 677849 w 4610101"/>
              <a:gd name="connsiteY14231" fmla="*/ 1281841 h 6557032"/>
              <a:gd name="connsiteX14232" fmla="*/ 668738 w 4610101"/>
              <a:gd name="connsiteY14232" fmla="*/ 1267263 h 6557032"/>
              <a:gd name="connsiteX14233" fmla="*/ 683316 w 4610101"/>
              <a:gd name="connsiteY14233" fmla="*/ 1280018 h 6557032"/>
              <a:gd name="connsiteX14234" fmla="*/ 667172 w 4610101"/>
              <a:gd name="connsiteY14234" fmla="*/ 1262594 h 6557032"/>
              <a:gd name="connsiteX14235" fmla="*/ 3132317 w 4610101"/>
              <a:gd name="connsiteY14235" fmla="*/ 1261797 h 6557032"/>
              <a:gd name="connsiteX14236" fmla="*/ 3125029 w 4610101"/>
              <a:gd name="connsiteY14236" fmla="*/ 1270908 h 6557032"/>
              <a:gd name="connsiteX14237" fmla="*/ 3114096 w 4610101"/>
              <a:gd name="connsiteY14237" fmla="*/ 1267263 h 6557032"/>
              <a:gd name="connsiteX14238" fmla="*/ 3097696 w 4610101"/>
              <a:gd name="connsiteY14238" fmla="*/ 1274552 h 6557032"/>
              <a:gd name="connsiteX14239" fmla="*/ 3104985 w 4610101"/>
              <a:gd name="connsiteY14239" fmla="*/ 1281841 h 6557032"/>
              <a:gd name="connsiteX14240" fmla="*/ 3106807 w 4610101"/>
              <a:gd name="connsiteY14240" fmla="*/ 1274552 h 6557032"/>
              <a:gd name="connsiteX14241" fmla="*/ 3104985 w 4610101"/>
              <a:gd name="connsiteY14241" fmla="*/ 1285485 h 6557032"/>
              <a:gd name="connsiteX14242" fmla="*/ 3115918 w 4610101"/>
              <a:gd name="connsiteY14242" fmla="*/ 1289129 h 6557032"/>
              <a:gd name="connsiteX14243" fmla="*/ 3114096 w 4610101"/>
              <a:gd name="connsiteY14243" fmla="*/ 1278196 h 6557032"/>
              <a:gd name="connsiteX14244" fmla="*/ 3118879 w 4610101"/>
              <a:gd name="connsiteY14244" fmla="*/ 1285485 h 6557032"/>
              <a:gd name="connsiteX14245" fmla="*/ 3119473 w 4610101"/>
              <a:gd name="connsiteY14245" fmla="*/ 1296572 h 6557032"/>
              <a:gd name="connsiteX14246" fmla="*/ 3115918 w 4610101"/>
              <a:gd name="connsiteY14246" fmla="*/ 1296418 h 6557032"/>
              <a:gd name="connsiteX14247" fmla="*/ 3123206 w 4610101"/>
              <a:gd name="connsiteY14247" fmla="*/ 1307351 h 6557032"/>
              <a:gd name="connsiteX14248" fmla="*/ 3134140 w 4610101"/>
              <a:gd name="connsiteY14248" fmla="*/ 1294596 h 6557032"/>
              <a:gd name="connsiteX14249" fmla="*/ 3129218 w 4610101"/>
              <a:gd name="connsiteY14249" fmla="*/ 1296043 h 6557032"/>
              <a:gd name="connsiteX14250" fmla="*/ 3130495 w 4610101"/>
              <a:gd name="connsiteY14250" fmla="*/ 1294596 h 6557032"/>
              <a:gd name="connsiteX14251" fmla="*/ 3123206 w 4610101"/>
              <a:gd name="connsiteY14251" fmla="*/ 1292774 h 6557032"/>
              <a:gd name="connsiteX14252" fmla="*/ 3126851 w 4610101"/>
              <a:gd name="connsiteY14252" fmla="*/ 1285485 h 6557032"/>
              <a:gd name="connsiteX14253" fmla="*/ 3129281 w 4610101"/>
              <a:gd name="connsiteY14253" fmla="*/ 1285485 h 6557032"/>
              <a:gd name="connsiteX14254" fmla="*/ 3130164 w 4610101"/>
              <a:gd name="connsiteY14254" fmla="*/ 1286810 h 6557032"/>
              <a:gd name="connsiteX14255" fmla="*/ 3129584 w 4610101"/>
              <a:gd name="connsiteY14255" fmla="*/ 1289130 h 6557032"/>
              <a:gd name="connsiteX14256" fmla="*/ 3134140 w 4610101"/>
              <a:gd name="connsiteY14256" fmla="*/ 1292774 h 6557032"/>
              <a:gd name="connsiteX14257" fmla="*/ 3130164 w 4610101"/>
              <a:gd name="connsiteY14257" fmla="*/ 1286810 h 6557032"/>
              <a:gd name="connsiteX14258" fmla="*/ 3130495 w 4610101"/>
              <a:gd name="connsiteY14258" fmla="*/ 1285485 h 6557032"/>
              <a:gd name="connsiteX14259" fmla="*/ 3129281 w 4610101"/>
              <a:gd name="connsiteY14259" fmla="*/ 1285485 h 6557032"/>
              <a:gd name="connsiteX14260" fmla="*/ 3126851 w 4610101"/>
              <a:gd name="connsiteY14260" fmla="*/ 1281841 h 6557032"/>
              <a:gd name="connsiteX14261" fmla="*/ 3132317 w 4610101"/>
              <a:gd name="connsiteY14261" fmla="*/ 1270908 h 6557032"/>
              <a:gd name="connsiteX14262" fmla="*/ 3126851 w 4610101"/>
              <a:gd name="connsiteY14262" fmla="*/ 1269085 h 6557032"/>
              <a:gd name="connsiteX14263" fmla="*/ 3132317 w 4610101"/>
              <a:gd name="connsiteY14263" fmla="*/ 1261797 h 6557032"/>
              <a:gd name="connsiteX14264" fmla="*/ 1315610 w 4610101"/>
              <a:gd name="connsiteY14264" fmla="*/ 1261797 h 6557032"/>
              <a:gd name="connsiteX14265" fmla="*/ 1315610 w 4610101"/>
              <a:gd name="connsiteY14265" fmla="*/ 1272730 h 6557032"/>
              <a:gd name="connsiteX14266" fmla="*/ 1317432 w 4610101"/>
              <a:gd name="connsiteY14266" fmla="*/ 1261797 h 6557032"/>
              <a:gd name="connsiteX14267" fmla="*/ 1315610 w 4610101"/>
              <a:gd name="connsiteY14267" fmla="*/ 1261797 h 6557032"/>
              <a:gd name="connsiteX14268" fmla="*/ 1293744 w 4610101"/>
              <a:gd name="connsiteY14268" fmla="*/ 1261797 h 6557032"/>
              <a:gd name="connsiteX14269" fmla="*/ 1282811 w 4610101"/>
              <a:gd name="connsiteY14269" fmla="*/ 1269085 h 6557032"/>
              <a:gd name="connsiteX14270" fmla="*/ 1293744 w 4610101"/>
              <a:gd name="connsiteY14270" fmla="*/ 1274552 h 6557032"/>
              <a:gd name="connsiteX14271" fmla="*/ 1293744 w 4610101"/>
              <a:gd name="connsiteY14271" fmla="*/ 1269085 h 6557032"/>
              <a:gd name="connsiteX14272" fmla="*/ 1297388 w 4610101"/>
              <a:gd name="connsiteY14272" fmla="*/ 1270908 h 6557032"/>
              <a:gd name="connsiteX14273" fmla="*/ 1301033 w 4610101"/>
              <a:gd name="connsiteY14273" fmla="*/ 1267263 h 6557032"/>
              <a:gd name="connsiteX14274" fmla="*/ 1293744 w 4610101"/>
              <a:gd name="connsiteY14274" fmla="*/ 1261797 h 6557032"/>
              <a:gd name="connsiteX14275" fmla="*/ 1257300 w 4610101"/>
              <a:gd name="connsiteY14275" fmla="*/ 1261797 h 6557032"/>
              <a:gd name="connsiteX14276" fmla="*/ 1257300 w 4610101"/>
              <a:gd name="connsiteY14276" fmla="*/ 1272730 h 6557032"/>
              <a:gd name="connsiteX14277" fmla="*/ 1259123 w 4610101"/>
              <a:gd name="connsiteY14277" fmla="*/ 1270908 h 6557032"/>
              <a:gd name="connsiteX14278" fmla="*/ 1259123 w 4610101"/>
              <a:gd name="connsiteY14278" fmla="*/ 1274552 h 6557032"/>
              <a:gd name="connsiteX14279" fmla="*/ 1270056 w 4610101"/>
              <a:gd name="connsiteY14279" fmla="*/ 1269085 h 6557032"/>
              <a:gd name="connsiteX14280" fmla="*/ 1266411 w 4610101"/>
              <a:gd name="connsiteY14280" fmla="*/ 1267263 h 6557032"/>
              <a:gd name="connsiteX14281" fmla="*/ 1262767 w 4610101"/>
              <a:gd name="connsiteY14281" fmla="*/ 1269085 h 6557032"/>
              <a:gd name="connsiteX14282" fmla="*/ 1257300 w 4610101"/>
              <a:gd name="connsiteY14282" fmla="*/ 1261797 h 6557032"/>
              <a:gd name="connsiteX14283" fmla="*/ 1217213 w 4610101"/>
              <a:gd name="connsiteY14283" fmla="*/ 1261797 h 6557032"/>
              <a:gd name="connsiteX14284" fmla="*/ 1220858 w 4610101"/>
              <a:gd name="connsiteY14284" fmla="*/ 1263619 h 6557032"/>
              <a:gd name="connsiteX14285" fmla="*/ 1219036 w 4610101"/>
              <a:gd name="connsiteY14285" fmla="*/ 1269085 h 6557032"/>
              <a:gd name="connsiteX14286" fmla="*/ 1217213 w 4610101"/>
              <a:gd name="connsiteY14286" fmla="*/ 1261797 h 6557032"/>
              <a:gd name="connsiteX14287" fmla="*/ 1011307 w 4610101"/>
              <a:gd name="connsiteY14287" fmla="*/ 1261797 h 6557032"/>
              <a:gd name="connsiteX14288" fmla="*/ 1020418 w 4610101"/>
              <a:gd name="connsiteY14288" fmla="*/ 1269085 h 6557032"/>
              <a:gd name="connsiteX14289" fmla="*/ 1011307 w 4610101"/>
              <a:gd name="connsiteY14289" fmla="*/ 1261797 h 6557032"/>
              <a:gd name="connsiteX14290" fmla="*/ 781713 w 4610101"/>
              <a:gd name="connsiteY14290" fmla="*/ 1261797 h 6557032"/>
              <a:gd name="connsiteX14291" fmla="*/ 783535 w 4610101"/>
              <a:gd name="connsiteY14291" fmla="*/ 1267263 h 6557032"/>
              <a:gd name="connsiteX14292" fmla="*/ 785248 w 4610101"/>
              <a:gd name="connsiteY14292" fmla="*/ 1263837 h 6557032"/>
              <a:gd name="connsiteX14293" fmla="*/ 785403 w 4610101"/>
              <a:gd name="connsiteY14293" fmla="*/ 1263926 h 6557032"/>
              <a:gd name="connsiteX14294" fmla="*/ 786040 w 4610101"/>
              <a:gd name="connsiteY14294" fmla="*/ 1268174 h 6557032"/>
              <a:gd name="connsiteX14295" fmla="*/ 785357 w 4610101"/>
              <a:gd name="connsiteY14295" fmla="*/ 1272730 h 6557032"/>
              <a:gd name="connsiteX14296" fmla="*/ 787635 w 4610101"/>
              <a:gd name="connsiteY14296" fmla="*/ 1265213 h 6557032"/>
              <a:gd name="connsiteX14297" fmla="*/ 785403 w 4610101"/>
              <a:gd name="connsiteY14297" fmla="*/ 1263926 h 6557032"/>
              <a:gd name="connsiteX14298" fmla="*/ 785357 w 4610101"/>
              <a:gd name="connsiteY14298" fmla="*/ 1263619 h 6557032"/>
              <a:gd name="connsiteX14299" fmla="*/ 785248 w 4610101"/>
              <a:gd name="connsiteY14299" fmla="*/ 1263837 h 6557032"/>
              <a:gd name="connsiteX14300" fmla="*/ 508387 w 4610101"/>
              <a:gd name="connsiteY14300" fmla="*/ 1261797 h 6557032"/>
              <a:gd name="connsiteX14301" fmla="*/ 515676 w 4610101"/>
              <a:gd name="connsiteY14301" fmla="*/ 1263619 h 6557032"/>
              <a:gd name="connsiteX14302" fmla="*/ 508387 w 4610101"/>
              <a:gd name="connsiteY14302" fmla="*/ 1261797 h 6557032"/>
              <a:gd name="connsiteX14303" fmla="*/ 409989 w 4610101"/>
              <a:gd name="connsiteY14303" fmla="*/ 1261797 h 6557032"/>
              <a:gd name="connsiteX14304" fmla="*/ 417278 w 4610101"/>
              <a:gd name="connsiteY14304" fmla="*/ 1265441 h 6557032"/>
              <a:gd name="connsiteX14305" fmla="*/ 409989 w 4610101"/>
              <a:gd name="connsiteY14305" fmla="*/ 1261797 h 6557032"/>
              <a:gd name="connsiteX14306" fmla="*/ 1782276 w 4610101"/>
              <a:gd name="connsiteY14306" fmla="*/ 1261498 h 6557032"/>
              <a:gd name="connsiteX14307" fmla="*/ 1787552 w 4610101"/>
              <a:gd name="connsiteY14307" fmla="*/ 1270996 h 6557032"/>
              <a:gd name="connsiteX14308" fmla="*/ 1786495 w 4610101"/>
              <a:gd name="connsiteY14308" fmla="*/ 1270996 h 6557032"/>
              <a:gd name="connsiteX14309" fmla="*/ 1789376 w 4610101"/>
              <a:gd name="connsiteY14309" fmla="*/ 1278196 h 6557032"/>
              <a:gd name="connsiteX14310" fmla="*/ 1796664 w 4610101"/>
              <a:gd name="connsiteY14310" fmla="*/ 1283663 h 6557032"/>
              <a:gd name="connsiteX14311" fmla="*/ 1133848 w 4610101"/>
              <a:gd name="connsiteY14311" fmla="*/ 1260886 h 6557032"/>
              <a:gd name="connsiteX14312" fmla="*/ 1127926 w 4610101"/>
              <a:gd name="connsiteY14312" fmla="*/ 1267263 h 6557032"/>
              <a:gd name="connsiteX14313" fmla="*/ 1135215 w 4610101"/>
              <a:gd name="connsiteY14313" fmla="*/ 1272730 h 6557032"/>
              <a:gd name="connsiteX14314" fmla="*/ 1138859 w 4610101"/>
              <a:gd name="connsiteY14314" fmla="*/ 1269085 h 6557032"/>
              <a:gd name="connsiteX14315" fmla="*/ 1140681 w 4610101"/>
              <a:gd name="connsiteY14315" fmla="*/ 1278196 h 6557032"/>
              <a:gd name="connsiteX14316" fmla="*/ 1142503 w 4610101"/>
              <a:gd name="connsiteY14316" fmla="*/ 1276374 h 6557032"/>
              <a:gd name="connsiteX14317" fmla="*/ 1142503 w 4610101"/>
              <a:gd name="connsiteY14317" fmla="*/ 1272730 h 6557032"/>
              <a:gd name="connsiteX14318" fmla="*/ 1139998 w 4610101"/>
              <a:gd name="connsiteY14318" fmla="*/ 1270224 h 6557032"/>
              <a:gd name="connsiteX14319" fmla="*/ 1138859 w 4610101"/>
              <a:gd name="connsiteY14319" fmla="*/ 1269085 h 6557032"/>
              <a:gd name="connsiteX14320" fmla="*/ 1142503 w 4610101"/>
              <a:gd name="connsiteY14320" fmla="*/ 1265441 h 6557032"/>
              <a:gd name="connsiteX14321" fmla="*/ 1133848 w 4610101"/>
              <a:gd name="connsiteY14321" fmla="*/ 1260886 h 6557032"/>
              <a:gd name="connsiteX14322" fmla="*/ 2940989 w 4610101"/>
              <a:gd name="connsiteY14322" fmla="*/ 1260658 h 6557032"/>
              <a:gd name="connsiteX14323" fmla="*/ 2910012 w 4610101"/>
              <a:gd name="connsiteY14323" fmla="*/ 1274552 h 6557032"/>
              <a:gd name="connsiteX14324" fmla="*/ 2913656 w 4610101"/>
              <a:gd name="connsiteY14324" fmla="*/ 1289129 h 6557032"/>
              <a:gd name="connsiteX14325" fmla="*/ 2906368 w 4610101"/>
              <a:gd name="connsiteY14325" fmla="*/ 1287307 h 6557032"/>
              <a:gd name="connsiteX14326" fmla="*/ 2895435 w 4610101"/>
              <a:gd name="connsiteY14326" fmla="*/ 1280018 h 6557032"/>
              <a:gd name="connsiteX14327" fmla="*/ 2902724 w 4610101"/>
              <a:gd name="connsiteY14327" fmla="*/ 1301885 h 6557032"/>
              <a:gd name="connsiteX14328" fmla="*/ 2899079 w 4610101"/>
              <a:gd name="connsiteY14328" fmla="*/ 1300062 h 6557032"/>
              <a:gd name="connsiteX14329" fmla="*/ 2899079 w 4610101"/>
              <a:gd name="connsiteY14329" fmla="*/ 1320106 h 6557032"/>
              <a:gd name="connsiteX14330" fmla="*/ 2891790 w 4610101"/>
              <a:gd name="connsiteY14330" fmla="*/ 1321929 h 6557032"/>
              <a:gd name="connsiteX14331" fmla="*/ 2882680 w 4610101"/>
              <a:gd name="connsiteY14331" fmla="*/ 1318284 h 6557032"/>
              <a:gd name="connsiteX14332" fmla="*/ 2875391 w 4610101"/>
              <a:gd name="connsiteY14332" fmla="*/ 1298240 h 6557032"/>
              <a:gd name="connsiteX14333" fmla="*/ 2886324 w 4610101"/>
              <a:gd name="connsiteY14333" fmla="*/ 1305529 h 6557032"/>
              <a:gd name="connsiteX14334" fmla="*/ 2888146 w 4610101"/>
              <a:gd name="connsiteY14334" fmla="*/ 1298240 h 6557032"/>
              <a:gd name="connsiteX14335" fmla="*/ 2889968 w 4610101"/>
              <a:gd name="connsiteY14335" fmla="*/ 1305529 h 6557032"/>
              <a:gd name="connsiteX14336" fmla="*/ 2886324 w 4610101"/>
              <a:gd name="connsiteY14336" fmla="*/ 1289129 h 6557032"/>
              <a:gd name="connsiteX14337" fmla="*/ 2897257 w 4610101"/>
              <a:gd name="connsiteY14337" fmla="*/ 1290951 h 6557032"/>
              <a:gd name="connsiteX14338" fmla="*/ 2895435 w 4610101"/>
              <a:gd name="connsiteY14338" fmla="*/ 1283663 h 6557032"/>
              <a:gd name="connsiteX14339" fmla="*/ 2869924 w 4610101"/>
              <a:gd name="connsiteY14339" fmla="*/ 1296418 h 6557032"/>
              <a:gd name="connsiteX14340" fmla="*/ 2864458 w 4610101"/>
              <a:gd name="connsiteY14340" fmla="*/ 1316462 h 6557032"/>
              <a:gd name="connsiteX14341" fmla="*/ 2853525 w 4610101"/>
              <a:gd name="connsiteY14341" fmla="*/ 1329217 h 6557032"/>
              <a:gd name="connsiteX14342" fmla="*/ 2875391 w 4610101"/>
              <a:gd name="connsiteY14342" fmla="*/ 1358372 h 6557032"/>
              <a:gd name="connsiteX14343" fmla="*/ 2873569 w 4610101"/>
              <a:gd name="connsiteY14343" fmla="*/ 1347439 h 6557032"/>
              <a:gd name="connsiteX14344" fmla="*/ 2884502 w 4610101"/>
              <a:gd name="connsiteY14344" fmla="*/ 1365661 h 6557032"/>
              <a:gd name="connsiteX14345" fmla="*/ 2891790 w 4610101"/>
              <a:gd name="connsiteY14345" fmla="*/ 1365661 h 6557032"/>
              <a:gd name="connsiteX14346" fmla="*/ 2917301 w 4610101"/>
              <a:gd name="connsiteY14346" fmla="*/ 1329217 h 6557032"/>
              <a:gd name="connsiteX14347" fmla="*/ 2915479 w 4610101"/>
              <a:gd name="connsiteY14347" fmla="*/ 1314640 h 6557032"/>
              <a:gd name="connsiteX14348" fmla="*/ 2919123 w 4610101"/>
              <a:gd name="connsiteY14348" fmla="*/ 1325573 h 6557032"/>
              <a:gd name="connsiteX14349" fmla="*/ 2933700 w 4610101"/>
              <a:gd name="connsiteY14349" fmla="*/ 1309173 h 6557032"/>
              <a:gd name="connsiteX14350" fmla="*/ 2928234 w 4610101"/>
              <a:gd name="connsiteY14350" fmla="*/ 1307351 h 6557032"/>
              <a:gd name="connsiteX14351" fmla="*/ 2928234 w 4610101"/>
              <a:gd name="connsiteY14351" fmla="*/ 1296418 h 6557032"/>
              <a:gd name="connsiteX14352" fmla="*/ 2935523 w 4610101"/>
              <a:gd name="connsiteY14352" fmla="*/ 1307351 h 6557032"/>
              <a:gd name="connsiteX14353" fmla="*/ 2951922 w 4610101"/>
              <a:gd name="connsiteY14353" fmla="*/ 1292774 h 6557032"/>
              <a:gd name="connsiteX14354" fmla="*/ 2950100 w 4610101"/>
              <a:gd name="connsiteY14354" fmla="*/ 1301885 h 6557032"/>
              <a:gd name="connsiteX14355" fmla="*/ 2992010 w 4610101"/>
              <a:gd name="connsiteY14355" fmla="*/ 1287307 h 6557032"/>
              <a:gd name="connsiteX14356" fmla="*/ 2993832 w 4610101"/>
              <a:gd name="connsiteY14356" fmla="*/ 1281841 h 6557032"/>
              <a:gd name="connsiteX14357" fmla="*/ 2986543 w 4610101"/>
              <a:gd name="connsiteY14357" fmla="*/ 1281841 h 6557032"/>
              <a:gd name="connsiteX14358" fmla="*/ 2984721 w 4610101"/>
              <a:gd name="connsiteY14358" fmla="*/ 1270908 h 6557032"/>
              <a:gd name="connsiteX14359" fmla="*/ 2982899 w 4610101"/>
              <a:gd name="connsiteY14359" fmla="*/ 1278196 h 6557032"/>
              <a:gd name="connsiteX14360" fmla="*/ 2976749 w 4610101"/>
              <a:gd name="connsiteY14360" fmla="*/ 1279563 h 6557032"/>
              <a:gd name="connsiteX14361" fmla="*/ 2971967 w 4610101"/>
              <a:gd name="connsiteY14361" fmla="*/ 1278196 h 6557032"/>
              <a:gd name="connsiteX14362" fmla="*/ 2974016 w 4610101"/>
              <a:gd name="connsiteY14362" fmla="*/ 1276829 h 6557032"/>
              <a:gd name="connsiteX14363" fmla="*/ 2977432 w 4610101"/>
              <a:gd name="connsiteY14363" fmla="*/ 1269085 h 6557032"/>
              <a:gd name="connsiteX14364" fmla="*/ 2971966 w 4610101"/>
              <a:gd name="connsiteY14364" fmla="*/ 1272730 h 6557032"/>
              <a:gd name="connsiteX14365" fmla="*/ 2940989 w 4610101"/>
              <a:gd name="connsiteY14365" fmla="*/ 1260658 h 6557032"/>
              <a:gd name="connsiteX14366" fmla="*/ 1328034 w 4610101"/>
              <a:gd name="connsiteY14366" fmla="*/ 1260140 h 6557032"/>
              <a:gd name="connsiteX14367" fmla="*/ 1328365 w 4610101"/>
              <a:gd name="connsiteY14367" fmla="*/ 1261797 h 6557032"/>
              <a:gd name="connsiteX14368" fmla="*/ 1333832 w 4610101"/>
              <a:gd name="connsiteY14368" fmla="*/ 1270908 h 6557032"/>
              <a:gd name="connsiteX14369" fmla="*/ 1331098 w 4610101"/>
              <a:gd name="connsiteY14369" fmla="*/ 1273095 h 6557032"/>
              <a:gd name="connsiteX14370" fmla="*/ 1330188 w 4610101"/>
              <a:gd name="connsiteY14370" fmla="*/ 1265441 h 6557032"/>
              <a:gd name="connsiteX14371" fmla="*/ 1328365 w 4610101"/>
              <a:gd name="connsiteY14371" fmla="*/ 1269085 h 6557032"/>
              <a:gd name="connsiteX14372" fmla="*/ 1329276 w 4610101"/>
              <a:gd name="connsiteY14372" fmla="*/ 1274552 h 6557032"/>
              <a:gd name="connsiteX14373" fmla="*/ 1327769 w 4610101"/>
              <a:gd name="connsiteY14373" fmla="*/ 1275758 h 6557032"/>
              <a:gd name="connsiteX14374" fmla="*/ 1325982 w 4610101"/>
              <a:gd name="connsiteY14374" fmla="*/ 1272609 h 6557032"/>
              <a:gd name="connsiteX14375" fmla="*/ 1326543 w 4610101"/>
              <a:gd name="connsiteY14375" fmla="*/ 1269085 h 6557032"/>
              <a:gd name="connsiteX14376" fmla="*/ 1326034 w 4610101"/>
              <a:gd name="connsiteY14376" fmla="*/ 1269668 h 6557032"/>
              <a:gd name="connsiteX14377" fmla="*/ 1324721 w 4610101"/>
              <a:gd name="connsiteY14377" fmla="*/ 1261797 h 6557032"/>
              <a:gd name="connsiteX14378" fmla="*/ 3010232 w 4610101"/>
              <a:gd name="connsiteY14378" fmla="*/ 1259975 h 6557032"/>
              <a:gd name="connsiteX14379" fmla="*/ 3012054 w 4610101"/>
              <a:gd name="connsiteY14379" fmla="*/ 1267263 h 6557032"/>
              <a:gd name="connsiteX14380" fmla="*/ 3010232 w 4610101"/>
              <a:gd name="connsiteY14380" fmla="*/ 1259975 h 6557032"/>
              <a:gd name="connsiteX14381" fmla="*/ 2986543 w 4610101"/>
              <a:gd name="connsiteY14381" fmla="*/ 1259975 h 6557032"/>
              <a:gd name="connsiteX14382" fmla="*/ 2982899 w 4610101"/>
              <a:gd name="connsiteY14382" fmla="*/ 1265441 h 6557032"/>
              <a:gd name="connsiteX14383" fmla="*/ 2988366 w 4610101"/>
              <a:gd name="connsiteY14383" fmla="*/ 1265441 h 6557032"/>
              <a:gd name="connsiteX14384" fmla="*/ 2986543 w 4610101"/>
              <a:gd name="connsiteY14384" fmla="*/ 1259975 h 6557032"/>
              <a:gd name="connsiteX14385" fmla="*/ 1319254 w 4610101"/>
              <a:gd name="connsiteY14385" fmla="*/ 1259975 h 6557032"/>
              <a:gd name="connsiteX14386" fmla="*/ 1319254 w 4610101"/>
              <a:gd name="connsiteY14386" fmla="*/ 1267263 h 6557032"/>
              <a:gd name="connsiteX14387" fmla="*/ 1317432 w 4610101"/>
              <a:gd name="connsiteY14387" fmla="*/ 1267263 h 6557032"/>
              <a:gd name="connsiteX14388" fmla="*/ 1319254 w 4610101"/>
              <a:gd name="connsiteY14388" fmla="*/ 1274552 h 6557032"/>
              <a:gd name="connsiteX14389" fmla="*/ 1319254 w 4610101"/>
              <a:gd name="connsiteY14389" fmla="*/ 1259975 h 6557032"/>
              <a:gd name="connsiteX14390" fmla="*/ 1306499 w 4610101"/>
              <a:gd name="connsiteY14390" fmla="*/ 1259975 h 6557032"/>
              <a:gd name="connsiteX14391" fmla="*/ 1308321 w 4610101"/>
              <a:gd name="connsiteY14391" fmla="*/ 1263619 h 6557032"/>
              <a:gd name="connsiteX14392" fmla="*/ 1313788 w 4610101"/>
              <a:gd name="connsiteY14392" fmla="*/ 1259975 h 6557032"/>
              <a:gd name="connsiteX14393" fmla="*/ 1306499 w 4610101"/>
              <a:gd name="connsiteY14393" fmla="*/ 1259975 h 6557032"/>
              <a:gd name="connsiteX14394" fmla="*/ 1164370 w 4610101"/>
              <a:gd name="connsiteY14394" fmla="*/ 1259975 h 6557032"/>
              <a:gd name="connsiteX14395" fmla="*/ 1166192 w 4610101"/>
              <a:gd name="connsiteY14395" fmla="*/ 1265441 h 6557032"/>
              <a:gd name="connsiteX14396" fmla="*/ 1166192 w 4610101"/>
              <a:gd name="connsiteY14396" fmla="*/ 1266124 h 6557032"/>
              <a:gd name="connsiteX14397" fmla="*/ 1166192 w 4610101"/>
              <a:gd name="connsiteY14397" fmla="*/ 1269085 h 6557032"/>
              <a:gd name="connsiteX14398" fmla="*/ 1164370 w 4610101"/>
              <a:gd name="connsiteY14398" fmla="*/ 1270908 h 6557032"/>
              <a:gd name="connsiteX14399" fmla="*/ 1168014 w 4610101"/>
              <a:gd name="connsiteY14399" fmla="*/ 1274552 h 6557032"/>
              <a:gd name="connsiteX14400" fmla="*/ 1169836 w 4610101"/>
              <a:gd name="connsiteY14400" fmla="*/ 1270908 h 6557032"/>
              <a:gd name="connsiteX14401" fmla="*/ 1166192 w 4610101"/>
              <a:gd name="connsiteY14401" fmla="*/ 1269085 h 6557032"/>
              <a:gd name="connsiteX14402" fmla="*/ 1169836 w 4610101"/>
              <a:gd name="connsiteY14402" fmla="*/ 1259975 h 6557032"/>
              <a:gd name="connsiteX14403" fmla="*/ 1164370 w 4610101"/>
              <a:gd name="connsiteY14403" fmla="*/ 1259975 h 6557032"/>
              <a:gd name="connsiteX14404" fmla="*/ 1073262 w 4610101"/>
              <a:gd name="connsiteY14404" fmla="*/ 1259975 h 6557032"/>
              <a:gd name="connsiteX14405" fmla="*/ 1071439 w 4610101"/>
              <a:gd name="connsiteY14405" fmla="*/ 1263619 h 6557032"/>
              <a:gd name="connsiteX14406" fmla="*/ 1049573 w 4610101"/>
              <a:gd name="connsiteY14406" fmla="*/ 1261797 h 6557032"/>
              <a:gd name="connsiteX14407" fmla="*/ 1087838 w 4610101"/>
              <a:gd name="connsiteY14407" fmla="*/ 1276374 h 6557032"/>
              <a:gd name="connsiteX14408" fmla="*/ 1073262 w 4610101"/>
              <a:gd name="connsiteY14408" fmla="*/ 1259975 h 6557032"/>
              <a:gd name="connsiteX14409" fmla="*/ 389946 w 4610101"/>
              <a:gd name="connsiteY14409" fmla="*/ 1259975 h 6557032"/>
              <a:gd name="connsiteX14410" fmla="*/ 395412 w 4610101"/>
              <a:gd name="connsiteY14410" fmla="*/ 1261797 h 6557032"/>
              <a:gd name="connsiteX14411" fmla="*/ 389946 w 4610101"/>
              <a:gd name="connsiteY14411" fmla="*/ 1259975 h 6557032"/>
              <a:gd name="connsiteX14412" fmla="*/ 284259 w 4610101"/>
              <a:gd name="connsiteY14412" fmla="*/ 1259975 h 6557032"/>
              <a:gd name="connsiteX14413" fmla="*/ 293370 w 4610101"/>
              <a:gd name="connsiteY14413" fmla="*/ 1267263 h 6557032"/>
              <a:gd name="connsiteX14414" fmla="*/ 291549 w 4610101"/>
              <a:gd name="connsiteY14414" fmla="*/ 1259975 h 6557032"/>
              <a:gd name="connsiteX14415" fmla="*/ 284259 w 4610101"/>
              <a:gd name="connsiteY14415" fmla="*/ 1259975 h 6557032"/>
              <a:gd name="connsiteX14416" fmla="*/ 3354851 w 4610101"/>
              <a:gd name="connsiteY14416" fmla="*/ 1259291 h 6557032"/>
              <a:gd name="connsiteX14417" fmla="*/ 3350978 w 4610101"/>
              <a:gd name="connsiteY14417" fmla="*/ 1259975 h 6557032"/>
              <a:gd name="connsiteX14418" fmla="*/ 3358267 w 4610101"/>
              <a:gd name="connsiteY14418" fmla="*/ 1265441 h 6557032"/>
              <a:gd name="connsiteX14419" fmla="*/ 3360089 w 4610101"/>
              <a:gd name="connsiteY14419" fmla="*/ 1259975 h 6557032"/>
              <a:gd name="connsiteX14420" fmla="*/ 3354851 w 4610101"/>
              <a:gd name="connsiteY14420" fmla="*/ 1259291 h 6557032"/>
              <a:gd name="connsiteX14421" fmla="*/ 1041828 w 4610101"/>
              <a:gd name="connsiteY14421" fmla="*/ 1258836 h 6557032"/>
              <a:gd name="connsiteX14422" fmla="*/ 1038639 w 4610101"/>
              <a:gd name="connsiteY14422" fmla="*/ 1259975 h 6557032"/>
              <a:gd name="connsiteX14423" fmla="*/ 1042284 w 4610101"/>
              <a:gd name="connsiteY14423" fmla="*/ 1261797 h 6557032"/>
              <a:gd name="connsiteX14424" fmla="*/ 1041828 w 4610101"/>
              <a:gd name="connsiteY14424" fmla="*/ 1258836 h 6557032"/>
              <a:gd name="connsiteX14425" fmla="*/ 3254403 w 4610101"/>
              <a:gd name="connsiteY14425" fmla="*/ 1258152 h 6557032"/>
              <a:gd name="connsiteX14426" fmla="*/ 3256225 w 4610101"/>
              <a:gd name="connsiteY14426" fmla="*/ 1261797 h 6557032"/>
              <a:gd name="connsiteX14427" fmla="*/ 3256225 w 4610101"/>
              <a:gd name="connsiteY14427" fmla="*/ 1258152 h 6557032"/>
              <a:gd name="connsiteX14428" fmla="*/ 3254403 w 4610101"/>
              <a:gd name="connsiteY14428" fmla="*/ 1258152 h 6557032"/>
              <a:gd name="connsiteX14429" fmla="*/ 2962855 w 4610101"/>
              <a:gd name="connsiteY14429" fmla="*/ 1258152 h 6557032"/>
              <a:gd name="connsiteX14430" fmla="*/ 2971966 w 4610101"/>
              <a:gd name="connsiteY14430" fmla="*/ 1263619 h 6557032"/>
              <a:gd name="connsiteX14431" fmla="*/ 2971966 w 4610101"/>
              <a:gd name="connsiteY14431" fmla="*/ 1258152 h 6557032"/>
              <a:gd name="connsiteX14432" fmla="*/ 2962855 w 4610101"/>
              <a:gd name="connsiteY14432" fmla="*/ 1258152 h 6557032"/>
              <a:gd name="connsiteX14433" fmla="*/ 2396159 w 4610101"/>
              <a:gd name="connsiteY14433" fmla="*/ 1258152 h 6557032"/>
              <a:gd name="connsiteX14434" fmla="*/ 2390693 w 4610101"/>
              <a:gd name="connsiteY14434" fmla="*/ 1267263 h 6557032"/>
              <a:gd name="connsiteX14435" fmla="*/ 2396159 w 4610101"/>
              <a:gd name="connsiteY14435" fmla="*/ 1258152 h 6557032"/>
              <a:gd name="connsiteX14436" fmla="*/ 1415829 w 4610101"/>
              <a:gd name="connsiteY14436" fmla="*/ 1258152 h 6557032"/>
              <a:gd name="connsiteX14437" fmla="*/ 1421296 w 4610101"/>
              <a:gd name="connsiteY14437" fmla="*/ 1259975 h 6557032"/>
              <a:gd name="connsiteX14438" fmla="*/ 1414664 w 4610101"/>
              <a:gd name="connsiteY14438" fmla="*/ 1270398 h 6557032"/>
              <a:gd name="connsiteX14439" fmla="*/ 1297388 w 4610101"/>
              <a:gd name="connsiteY14439" fmla="*/ 1258152 h 6557032"/>
              <a:gd name="connsiteX14440" fmla="*/ 1300867 w 4610101"/>
              <a:gd name="connsiteY14440" fmla="*/ 1259312 h 6557032"/>
              <a:gd name="connsiteX14441" fmla="*/ 1301033 w 4610101"/>
              <a:gd name="connsiteY14441" fmla="*/ 1259975 h 6557032"/>
              <a:gd name="connsiteX14442" fmla="*/ 1297388 w 4610101"/>
              <a:gd name="connsiteY14442" fmla="*/ 1259714 h 6557032"/>
              <a:gd name="connsiteX14443" fmla="*/ 1129748 w 4610101"/>
              <a:gd name="connsiteY14443" fmla="*/ 1258152 h 6557032"/>
              <a:gd name="connsiteX14444" fmla="*/ 1118815 w 4610101"/>
              <a:gd name="connsiteY14444" fmla="*/ 1259975 h 6557032"/>
              <a:gd name="connsiteX14445" fmla="*/ 1124282 w 4610101"/>
              <a:gd name="connsiteY14445" fmla="*/ 1267263 h 6557032"/>
              <a:gd name="connsiteX14446" fmla="*/ 1129748 w 4610101"/>
              <a:gd name="connsiteY14446" fmla="*/ 1258152 h 6557032"/>
              <a:gd name="connsiteX14447" fmla="*/ 703359 w 4610101"/>
              <a:gd name="connsiteY14447" fmla="*/ 1258152 h 6557032"/>
              <a:gd name="connsiteX14448" fmla="*/ 712470 w 4610101"/>
              <a:gd name="connsiteY14448" fmla="*/ 1259975 h 6557032"/>
              <a:gd name="connsiteX14449" fmla="*/ 703359 w 4610101"/>
              <a:gd name="connsiteY14449" fmla="*/ 1258152 h 6557032"/>
              <a:gd name="connsiteX14450" fmla="*/ 499276 w 4610101"/>
              <a:gd name="connsiteY14450" fmla="*/ 1258152 h 6557032"/>
              <a:gd name="connsiteX14451" fmla="*/ 471943 w 4610101"/>
              <a:gd name="connsiteY14451" fmla="*/ 1265441 h 6557032"/>
              <a:gd name="connsiteX14452" fmla="*/ 481054 w 4610101"/>
              <a:gd name="connsiteY14452" fmla="*/ 1267263 h 6557032"/>
              <a:gd name="connsiteX14453" fmla="*/ 466478 w 4610101"/>
              <a:gd name="connsiteY14453" fmla="*/ 1267263 h 6557032"/>
              <a:gd name="connsiteX14454" fmla="*/ 517498 w 4610101"/>
              <a:gd name="connsiteY14454" fmla="*/ 1285485 h 6557032"/>
              <a:gd name="connsiteX14455" fmla="*/ 512031 w 4610101"/>
              <a:gd name="connsiteY14455" fmla="*/ 1283663 h 6557032"/>
              <a:gd name="connsiteX14456" fmla="*/ 515676 w 4610101"/>
              <a:gd name="connsiteY14456" fmla="*/ 1280018 h 6557032"/>
              <a:gd name="connsiteX14457" fmla="*/ 504743 w 4610101"/>
              <a:gd name="connsiteY14457" fmla="*/ 1269085 h 6557032"/>
              <a:gd name="connsiteX14458" fmla="*/ 508387 w 4610101"/>
              <a:gd name="connsiteY14458" fmla="*/ 1270908 h 6557032"/>
              <a:gd name="connsiteX14459" fmla="*/ 504743 w 4610101"/>
              <a:gd name="connsiteY14459" fmla="*/ 1267263 h 6557032"/>
              <a:gd name="connsiteX14460" fmla="*/ 486521 w 4610101"/>
              <a:gd name="connsiteY14460" fmla="*/ 1281841 h 6557032"/>
              <a:gd name="connsiteX14461" fmla="*/ 495632 w 4610101"/>
              <a:gd name="connsiteY14461" fmla="*/ 1269085 h 6557032"/>
              <a:gd name="connsiteX14462" fmla="*/ 484700 w 4610101"/>
              <a:gd name="connsiteY14462" fmla="*/ 1265441 h 6557032"/>
              <a:gd name="connsiteX14463" fmla="*/ 493809 w 4610101"/>
              <a:gd name="connsiteY14463" fmla="*/ 1265441 h 6557032"/>
              <a:gd name="connsiteX14464" fmla="*/ 491987 w 4610101"/>
              <a:gd name="connsiteY14464" fmla="*/ 1261797 h 6557032"/>
              <a:gd name="connsiteX14465" fmla="*/ 499276 w 4610101"/>
              <a:gd name="connsiteY14465" fmla="*/ 1263619 h 6557032"/>
              <a:gd name="connsiteX14466" fmla="*/ 499276 w 4610101"/>
              <a:gd name="connsiteY14466" fmla="*/ 1258152 h 6557032"/>
              <a:gd name="connsiteX14467" fmla="*/ 1277344 w 4610101"/>
              <a:gd name="connsiteY14467" fmla="*/ 1256330 h 6557032"/>
              <a:gd name="connsiteX14468" fmla="*/ 1280989 w 4610101"/>
              <a:gd name="connsiteY14468" fmla="*/ 1261797 h 6557032"/>
              <a:gd name="connsiteX14469" fmla="*/ 1281445 w 4610101"/>
              <a:gd name="connsiteY14469" fmla="*/ 1261797 h 6557032"/>
              <a:gd name="connsiteX14470" fmla="*/ 1282811 w 4610101"/>
              <a:gd name="connsiteY14470" fmla="*/ 1263619 h 6557032"/>
              <a:gd name="connsiteX14471" fmla="*/ 1284633 w 4610101"/>
              <a:gd name="connsiteY14471" fmla="*/ 1261797 h 6557032"/>
              <a:gd name="connsiteX14472" fmla="*/ 1281445 w 4610101"/>
              <a:gd name="connsiteY14472" fmla="*/ 1261797 h 6557032"/>
              <a:gd name="connsiteX14473" fmla="*/ 1093305 w 4610101"/>
              <a:gd name="connsiteY14473" fmla="*/ 1256330 h 6557032"/>
              <a:gd name="connsiteX14474" fmla="*/ 1087838 w 4610101"/>
              <a:gd name="connsiteY14474" fmla="*/ 1259975 h 6557032"/>
              <a:gd name="connsiteX14475" fmla="*/ 1091484 w 4610101"/>
              <a:gd name="connsiteY14475" fmla="*/ 1278196 h 6557032"/>
              <a:gd name="connsiteX14476" fmla="*/ 1093305 w 4610101"/>
              <a:gd name="connsiteY14476" fmla="*/ 1274552 h 6557032"/>
              <a:gd name="connsiteX14477" fmla="*/ 1093305 w 4610101"/>
              <a:gd name="connsiteY14477" fmla="*/ 1280018 h 6557032"/>
              <a:gd name="connsiteX14478" fmla="*/ 1104238 w 4610101"/>
              <a:gd name="connsiteY14478" fmla="*/ 1278196 h 6557032"/>
              <a:gd name="connsiteX14479" fmla="*/ 1093305 w 4610101"/>
              <a:gd name="connsiteY14479" fmla="*/ 1256330 h 6557032"/>
              <a:gd name="connsiteX14480" fmla="*/ 1075083 w 4610101"/>
              <a:gd name="connsiteY14480" fmla="*/ 1256330 h 6557032"/>
              <a:gd name="connsiteX14481" fmla="*/ 1078727 w 4610101"/>
              <a:gd name="connsiteY14481" fmla="*/ 1261797 h 6557032"/>
              <a:gd name="connsiteX14482" fmla="*/ 1078727 w 4610101"/>
              <a:gd name="connsiteY14482" fmla="*/ 1256330 h 6557032"/>
              <a:gd name="connsiteX14483" fmla="*/ 1075083 w 4610101"/>
              <a:gd name="connsiteY14483" fmla="*/ 1256330 h 6557032"/>
              <a:gd name="connsiteX14484" fmla="*/ 989441 w 4610101"/>
              <a:gd name="connsiteY14484" fmla="*/ 1256330 h 6557032"/>
              <a:gd name="connsiteX14485" fmla="*/ 983974 w 4610101"/>
              <a:gd name="connsiteY14485" fmla="*/ 1258152 h 6557032"/>
              <a:gd name="connsiteX14486" fmla="*/ 989441 w 4610101"/>
              <a:gd name="connsiteY14486" fmla="*/ 1256330 h 6557032"/>
              <a:gd name="connsiteX14487" fmla="*/ 659627 w 4610101"/>
              <a:gd name="connsiteY14487" fmla="*/ 1256330 h 6557032"/>
              <a:gd name="connsiteX14488" fmla="*/ 666916 w 4610101"/>
              <a:gd name="connsiteY14488" fmla="*/ 1258152 h 6557032"/>
              <a:gd name="connsiteX14489" fmla="*/ 659627 w 4610101"/>
              <a:gd name="connsiteY14489" fmla="*/ 1256330 h 6557032"/>
              <a:gd name="connsiteX14490" fmla="*/ 652339 w 4610101"/>
              <a:gd name="connsiteY14490" fmla="*/ 1256330 h 6557032"/>
              <a:gd name="connsiteX14491" fmla="*/ 657805 w 4610101"/>
              <a:gd name="connsiteY14491" fmla="*/ 1258152 h 6557032"/>
              <a:gd name="connsiteX14492" fmla="*/ 652339 w 4610101"/>
              <a:gd name="connsiteY14492" fmla="*/ 1256330 h 6557032"/>
              <a:gd name="connsiteX14493" fmla="*/ 645050 w 4610101"/>
              <a:gd name="connsiteY14493" fmla="*/ 1256330 h 6557032"/>
              <a:gd name="connsiteX14494" fmla="*/ 635939 w 4610101"/>
              <a:gd name="connsiteY14494" fmla="*/ 1270908 h 6557032"/>
              <a:gd name="connsiteX14495" fmla="*/ 645050 w 4610101"/>
              <a:gd name="connsiteY14495" fmla="*/ 1289129 h 6557032"/>
              <a:gd name="connsiteX14496" fmla="*/ 657805 w 4610101"/>
              <a:gd name="connsiteY14496" fmla="*/ 1296418 h 6557032"/>
              <a:gd name="connsiteX14497" fmla="*/ 641407 w 4610101"/>
              <a:gd name="connsiteY14497" fmla="*/ 1298240 h 6557032"/>
              <a:gd name="connsiteX14498" fmla="*/ 648694 w 4610101"/>
              <a:gd name="connsiteY14498" fmla="*/ 1309173 h 6557032"/>
              <a:gd name="connsiteX14499" fmla="*/ 654161 w 4610101"/>
              <a:gd name="connsiteY14499" fmla="*/ 1303707 h 6557032"/>
              <a:gd name="connsiteX14500" fmla="*/ 659627 w 4610101"/>
              <a:gd name="connsiteY14500" fmla="*/ 1310995 h 6557032"/>
              <a:gd name="connsiteX14501" fmla="*/ 666916 w 4610101"/>
              <a:gd name="connsiteY14501" fmla="*/ 1305529 h 6557032"/>
              <a:gd name="connsiteX14502" fmla="*/ 661449 w 4610101"/>
              <a:gd name="connsiteY14502" fmla="*/ 1296418 h 6557032"/>
              <a:gd name="connsiteX14503" fmla="*/ 655983 w 4610101"/>
              <a:gd name="connsiteY14503" fmla="*/ 1265441 h 6557032"/>
              <a:gd name="connsiteX14504" fmla="*/ 646872 w 4610101"/>
              <a:gd name="connsiteY14504" fmla="*/ 1269085 h 6557032"/>
              <a:gd name="connsiteX14505" fmla="*/ 657805 w 4610101"/>
              <a:gd name="connsiteY14505" fmla="*/ 1261797 h 6557032"/>
              <a:gd name="connsiteX14506" fmla="*/ 645050 w 4610101"/>
              <a:gd name="connsiteY14506" fmla="*/ 1256330 h 6557032"/>
              <a:gd name="connsiteX14507" fmla="*/ 550297 w 4610101"/>
              <a:gd name="connsiteY14507" fmla="*/ 1256330 h 6557032"/>
              <a:gd name="connsiteX14508" fmla="*/ 543008 w 4610101"/>
              <a:gd name="connsiteY14508" fmla="*/ 1258152 h 6557032"/>
              <a:gd name="connsiteX14509" fmla="*/ 550297 w 4610101"/>
              <a:gd name="connsiteY14509" fmla="*/ 1256330 h 6557032"/>
              <a:gd name="connsiteX14510" fmla="*/ 421184 w 4610101"/>
              <a:gd name="connsiteY14510" fmla="*/ 1256224 h 6557032"/>
              <a:gd name="connsiteX14511" fmla="*/ 423200 w 4610101"/>
              <a:gd name="connsiteY14511" fmla="*/ 1257469 h 6557032"/>
              <a:gd name="connsiteX14512" fmla="*/ 426726 w 4610101"/>
              <a:gd name="connsiteY14512" fmla="*/ 1261797 h 6557032"/>
              <a:gd name="connsiteX14513" fmla="*/ 424567 w 4610101"/>
              <a:gd name="connsiteY14513" fmla="*/ 1261797 h 6557032"/>
              <a:gd name="connsiteX14514" fmla="*/ 420923 w 4610101"/>
              <a:gd name="connsiteY14514" fmla="*/ 1256330 h 6557032"/>
              <a:gd name="connsiteX14515" fmla="*/ 265354 w 4610101"/>
              <a:gd name="connsiteY14515" fmla="*/ 1254963 h 6557032"/>
              <a:gd name="connsiteX14516" fmla="*/ 260571 w 4610101"/>
              <a:gd name="connsiteY14516" fmla="*/ 1256330 h 6557032"/>
              <a:gd name="connsiteX14517" fmla="*/ 271504 w 4610101"/>
              <a:gd name="connsiteY14517" fmla="*/ 1256330 h 6557032"/>
              <a:gd name="connsiteX14518" fmla="*/ 265354 w 4610101"/>
              <a:gd name="connsiteY14518" fmla="*/ 1254963 h 6557032"/>
              <a:gd name="connsiteX14519" fmla="*/ 3318179 w 4610101"/>
              <a:gd name="connsiteY14519" fmla="*/ 1254508 h 6557032"/>
              <a:gd name="connsiteX14520" fmla="*/ 3312713 w 4610101"/>
              <a:gd name="connsiteY14520" fmla="*/ 1261797 h 6557032"/>
              <a:gd name="connsiteX14521" fmla="*/ 3314535 w 4610101"/>
              <a:gd name="connsiteY14521" fmla="*/ 1276374 h 6557032"/>
              <a:gd name="connsiteX14522" fmla="*/ 3329112 w 4610101"/>
              <a:gd name="connsiteY14522" fmla="*/ 1274552 h 6557032"/>
              <a:gd name="connsiteX14523" fmla="*/ 3318179 w 4610101"/>
              <a:gd name="connsiteY14523" fmla="*/ 1254508 h 6557032"/>
              <a:gd name="connsiteX14524" fmla="*/ 3008410 w 4610101"/>
              <a:gd name="connsiteY14524" fmla="*/ 1254508 h 6557032"/>
              <a:gd name="connsiteX14525" fmla="*/ 3015698 w 4610101"/>
              <a:gd name="connsiteY14525" fmla="*/ 1272730 h 6557032"/>
              <a:gd name="connsiteX14526" fmla="*/ 3012054 w 4610101"/>
              <a:gd name="connsiteY14526" fmla="*/ 1267263 h 6557032"/>
              <a:gd name="connsiteX14527" fmla="*/ 3015698 w 4610101"/>
              <a:gd name="connsiteY14527" fmla="*/ 1269085 h 6557032"/>
              <a:gd name="connsiteX14528" fmla="*/ 3017521 w 4610101"/>
              <a:gd name="connsiteY14528" fmla="*/ 1258152 h 6557032"/>
              <a:gd name="connsiteX14529" fmla="*/ 3019343 w 4610101"/>
              <a:gd name="connsiteY14529" fmla="*/ 1256330 h 6557032"/>
              <a:gd name="connsiteX14530" fmla="*/ 3021165 w 4610101"/>
              <a:gd name="connsiteY14530" fmla="*/ 1258152 h 6557032"/>
              <a:gd name="connsiteX14531" fmla="*/ 3008410 w 4610101"/>
              <a:gd name="connsiteY14531" fmla="*/ 1254508 h 6557032"/>
              <a:gd name="connsiteX14532" fmla="*/ 1242723 w 4610101"/>
              <a:gd name="connsiteY14532" fmla="*/ 1254508 h 6557032"/>
              <a:gd name="connsiteX14533" fmla="*/ 1251834 w 4610101"/>
              <a:gd name="connsiteY14533" fmla="*/ 1267263 h 6557032"/>
              <a:gd name="connsiteX14534" fmla="*/ 1253656 w 4610101"/>
              <a:gd name="connsiteY14534" fmla="*/ 1265441 h 6557032"/>
              <a:gd name="connsiteX14535" fmla="*/ 1251834 w 4610101"/>
              <a:gd name="connsiteY14535" fmla="*/ 1263619 h 6557032"/>
              <a:gd name="connsiteX14536" fmla="*/ 1253656 w 4610101"/>
              <a:gd name="connsiteY14536" fmla="*/ 1261797 h 6557032"/>
              <a:gd name="connsiteX14537" fmla="*/ 1242723 w 4610101"/>
              <a:gd name="connsiteY14537" fmla="*/ 1254508 h 6557032"/>
              <a:gd name="connsiteX14538" fmla="*/ 898333 w 4610101"/>
              <a:gd name="connsiteY14538" fmla="*/ 1254508 h 6557032"/>
              <a:gd name="connsiteX14539" fmla="*/ 896510 w 4610101"/>
              <a:gd name="connsiteY14539" fmla="*/ 1267263 h 6557032"/>
              <a:gd name="connsiteX14540" fmla="*/ 905621 w 4610101"/>
              <a:gd name="connsiteY14540" fmla="*/ 1258152 h 6557032"/>
              <a:gd name="connsiteX14541" fmla="*/ 898333 w 4610101"/>
              <a:gd name="connsiteY14541" fmla="*/ 1254508 h 6557032"/>
              <a:gd name="connsiteX14542" fmla="*/ 725226 w 4610101"/>
              <a:gd name="connsiteY14542" fmla="*/ 1254508 h 6557032"/>
              <a:gd name="connsiteX14543" fmla="*/ 728870 w 4610101"/>
              <a:gd name="connsiteY14543" fmla="*/ 1256330 h 6557032"/>
              <a:gd name="connsiteX14544" fmla="*/ 725226 w 4610101"/>
              <a:gd name="connsiteY14544" fmla="*/ 1254508 h 6557032"/>
              <a:gd name="connsiteX14545" fmla="*/ 692426 w 4610101"/>
              <a:gd name="connsiteY14545" fmla="*/ 1254508 h 6557032"/>
              <a:gd name="connsiteX14546" fmla="*/ 681802 w 4610101"/>
              <a:gd name="connsiteY14546" fmla="*/ 1258492 h 6557032"/>
              <a:gd name="connsiteX14547" fmla="*/ 681493 w 4610101"/>
              <a:gd name="connsiteY14547" fmla="*/ 1258152 h 6557032"/>
              <a:gd name="connsiteX14548" fmla="*/ 681581 w 4610101"/>
              <a:gd name="connsiteY14548" fmla="*/ 1258575 h 6557032"/>
              <a:gd name="connsiteX14549" fmla="*/ 677849 w 4610101"/>
              <a:gd name="connsiteY14549" fmla="*/ 1259975 h 6557032"/>
              <a:gd name="connsiteX14550" fmla="*/ 685138 w 4610101"/>
              <a:gd name="connsiteY14550" fmla="*/ 1269085 h 6557032"/>
              <a:gd name="connsiteX14551" fmla="*/ 682632 w 4610101"/>
              <a:gd name="connsiteY14551" fmla="*/ 1263619 h 6557032"/>
              <a:gd name="connsiteX14552" fmla="*/ 681581 w 4610101"/>
              <a:gd name="connsiteY14552" fmla="*/ 1258575 h 6557032"/>
              <a:gd name="connsiteX14553" fmla="*/ 681802 w 4610101"/>
              <a:gd name="connsiteY14553" fmla="*/ 1258492 h 6557032"/>
              <a:gd name="connsiteX14554" fmla="*/ 686050 w 4610101"/>
              <a:gd name="connsiteY14554" fmla="*/ 1263163 h 6557032"/>
              <a:gd name="connsiteX14555" fmla="*/ 690604 w 4610101"/>
              <a:gd name="connsiteY14555" fmla="*/ 1270908 h 6557032"/>
              <a:gd name="connsiteX14556" fmla="*/ 694096 w 4610101"/>
              <a:gd name="connsiteY14556" fmla="*/ 1267416 h 6557032"/>
              <a:gd name="connsiteX14557" fmla="*/ 692426 w 4610101"/>
              <a:gd name="connsiteY14557" fmla="*/ 1270908 h 6557032"/>
              <a:gd name="connsiteX14558" fmla="*/ 708826 w 4610101"/>
              <a:gd name="connsiteY14558" fmla="*/ 1263619 h 6557032"/>
              <a:gd name="connsiteX14559" fmla="*/ 701537 w 4610101"/>
              <a:gd name="connsiteY14559" fmla="*/ 1261797 h 6557032"/>
              <a:gd name="connsiteX14560" fmla="*/ 697134 w 4610101"/>
              <a:gd name="connsiteY14560" fmla="*/ 1264378 h 6557032"/>
              <a:gd name="connsiteX14561" fmla="*/ 701537 w 4610101"/>
              <a:gd name="connsiteY14561" fmla="*/ 1259975 h 6557032"/>
              <a:gd name="connsiteX14562" fmla="*/ 692426 w 4610101"/>
              <a:gd name="connsiteY14562" fmla="*/ 1254508 h 6557032"/>
              <a:gd name="connsiteX14563" fmla="*/ 244172 w 4610101"/>
              <a:gd name="connsiteY14563" fmla="*/ 1254508 h 6557032"/>
              <a:gd name="connsiteX14564" fmla="*/ 249638 w 4610101"/>
              <a:gd name="connsiteY14564" fmla="*/ 1261797 h 6557032"/>
              <a:gd name="connsiteX14565" fmla="*/ 255105 w 4610101"/>
              <a:gd name="connsiteY14565" fmla="*/ 1254508 h 6557032"/>
              <a:gd name="connsiteX14566" fmla="*/ 244172 w 4610101"/>
              <a:gd name="connsiteY14566" fmla="*/ 1254508 h 6557032"/>
              <a:gd name="connsiteX14567" fmla="*/ 224128 w 4610101"/>
              <a:gd name="connsiteY14567" fmla="*/ 1254508 h 6557032"/>
              <a:gd name="connsiteX14568" fmla="*/ 231236 w 4610101"/>
              <a:gd name="connsiteY14568" fmla="*/ 1254508 h 6557032"/>
              <a:gd name="connsiteX14569" fmla="*/ 234684 w 4610101"/>
              <a:gd name="connsiteY14569" fmla="*/ 1255664 h 6557032"/>
              <a:gd name="connsiteX14570" fmla="*/ 242349 w 4610101"/>
              <a:gd name="connsiteY14570" fmla="*/ 1261797 h 6557032"/>
              <a:gd name="connsiteX14571" fmla="*/ 224128 w 4610101"/>
              <a:gd name="connsiteY14571" fmla="*/ 1254508 h 6557032"/>
              <a:gd name="connsiteX14572" fmla="*/ 145774 w 4610101"/>
              <a:gd name="connsiteY14572" fmla="*/ 1254508 h 6557032"/>
              <a:gd name="connsiteX14573" fmla="*/ 157734 w 4610101"/>
              <a:gd name="connsiteY14573" fmla="*/ 1267028 h 6557032"/>
              <a:gd name="connsiteX14574" fmla="*/ 147165 w 4610101"/>
              <a:gd name="connsiteY14574" fmla="*/ 1258681 h 6557032"/>
              <a:gd name="connsiteX14575" fmla="*/ 2694996 w 4610101"/>
              <a:gd name="connsiteY14575" fmla="*/ 1252686 h 6557032"/>
              <a:gd name="connsiteX14576" fmla="*/ 2718684 w 4610101"/>
              <a:gd name="connsiteY14576" fmla="*/ 1292774 h 6557032"/>
              <a:gd name="connsiteX14577" fmla="*/ 2689529 w 4610101"/>
              <a:gd name="connsiteY14577" fmla="*/ 1256330 h 6557032"/>
              <a:gd name="connsiteX14578" fmla="*/ 2676774 w 4610101"/>
              <a:gd name="connsiteY14578" fmla="*/ 1259975 h 6557032"/>
              <a:gd name="connsiteX14579" fmla="*/ 2720506 w 4610101"/>
              <a:gd name="connsiteY14579" fmla="*/ 1321929 h 6557032"/>
              <a:gd name="connsiteX14580" fmla="*/ 2731439 w 4610101"/>
              <a:gd name="connsiteY14580" fmla="*/ 1256330 h 6557032"/>
              <a:gd name="connsiteX14581" fmla="*/ 2720506 w 4610101"/>
              <a:gd name="connsiteY14581" fmla="*/ 1254508 h 6557032"/>
              <a:gd name="connsiteX14582" fmla="*/ 2725973 w 4610101"/>
              <a:gd name="connsiteY14582" fmla="*/ 1263619 h 6557032"/>
              <a:gd name="connsiteX14583" fmla="*/ 2716862 w 4610101"/>
              <a:gd name="connsiteY14583" fmla="*/ 1258152 h 6557032"/>
              <a:gd name="connsiteX14584" fmla="*/ 2705929 w 4610101"/>
              <a:gd name="connsiteY14584" fmla="*/ 1261797 h 6557032"/>
              <a:gd name="connsiteX14585" fmla="*/ 2694996 w 4610101"/>
              <a:gd name="connsiteY14585" fmla="*/ 1252686 h 6557032"/>
              <a:gd name="connsiteX14586" fmla="*/ 1158903 w 4610101"/>
              <a:gd name="connsiteY14586" fmla="*/ 1252686 h 6557032"/>
              <a:gd name="connsiteX14587" fmla="*/ 1158903 w 4610101"/>
              <a:gd name="connsiteY14587" fmla="*/ 1254508 h 6557032"/>
              <a:gd name="connsiteX14588" fmla="*/ 1162547 w 4610101"/>
              <a:gd name="connsiteY14588" fmla="*/ 1254508 h 6557032"/>
              <a:gd name="connsiteX14589" fmla="*/ 1158903 w 4610101"/>
              <a:gd name="connsiteY14589" fmla="*/ 1252686 h 6557032"/>
              <a:gd name="connsiteX14590" fmla="*/ 1095127 w 4610101"/>
              <a:gd name="connsiteY14590" fmla="*/ 1252686 h 6557032"/>
              <a:gd name="connsiteX14591" fmla="*/ 1104238 w 4610101"/>
              <a:gd name="connsiteY14591" fmla="*/ 1267263 h 6557032"/>
              <a:gd name="connsiteX14592" fmla="*/ 1102416 w 4610101"/>
              <a:gd name="connsiteY14592" fmla="*/ 1269085 h 6557032"/>
              <a:gd name="connsiteX14593" fmla="*/ 1106060 w 4610101"/>
              <a:gd name="connsiteY14593" fmla="*/ 1274552 h 6557032"/>
              <a:gd name="connsiteX14594" fmla="*/ 1106060 w 4610101"/>
              <a:gd name="connsiteY14594" fmla="*/ 1254508 h 6557032"/>
              <a:gd name="connsiteX14595" fmla="*/ 1095127 w 4610101"/>
              <a:gd name="connsiteY14595" fmla="*/ 1252686 h 6557032"/>
              <a:gd name="connsiteX14596" fmla="*/ 934777 w 4610101"/>
              <a:gd name="connsiteY14596" fmla="*/ 1252686 h 6557032"/>
              <a:gd name="connsiteX14597" fmla="*/ 938420 w 4610101"/>
              <a:gd name="connsiteY14597" fmla="*/ 1265441 h 6557032"/>
              <a:gd name="connsiteX14598" fmla="*/ 936598 w 4610101"/>
              <a:gd name="connsiteY14598" fmla="*/ 1258152 h 6557032"/>
              <a:gd name="connsiteX14599" fmla="*/ 943886 w 4610101"/>
              <a:gd name="connsiteY14599" fmla="*/ 1258152 h 6557032"/>
              <a:gd name="connsiteX14600" fmla="*/ 934777 w 4610101"/>
              <a:gd name="connsiteY14600" fmla="*/ 1252686 h 6557032"/>
              <a:gd name="connsiteX14601" fmla="*/ 743447 w 4610101"/>
              <a:gd name="connsiteY14601" fmla="*/ 1252686 h 6557032"/>
              <a:gd name="connsiteX14602" fmla="*/ 737981 w 4610101"/>
              <a:gd name="connsiteY14602" fmla="*/ 1256330 h 6557032"/>
              <a:gd name="connsiteX14603" fmla="*/ 745269 w 4610101"/>
              <a:gd name="connsiteY14603" fmla="*/ 1258152 h 6557032"/>
              <a:gd name="connsiteX14604" fmla="*/ 743447 w 4610101"/>
              <a:gd name="connsiteY14604" fmla="*/ 1252686 h 6557032"/>
              <a:gd name="connsiteX14605" fmla="*/ 692426 w 4610101"/>
              <a:gd name="connsiteY14605" fmla="*/ 1252686 h 6557032"/>
              <a:gd name="connsiteX14606" fmla="*/ 699715 w 4610101"/>
              <a:gd name="connsiteY14606" fmla="*/ 1256330 h 6557032"/>
              <a:gd name="connsiteX14607" fmla="*/ 692426 w 4610101"/>
              <a:gd name="connsiteY14607" fmla="*/ 1252686 h 6557032"/>
              <a:gd name="connsiteX14608" fmla="*/ 173107 w 4610101"/>
              <a:gd name="connsiteY14608" fmla="*/ 1252686 h 6557032"/>
              <a:gd name="connsiteX14609" fmla="*/ 196187 w 4610101"/>
              <a:gd name="connsiteY14609" fmla="*/ 1264923 h 6557032"/>
              <a:gd name="connsiteX14610" fmla="*/ 193378 w 4610101"/>
              <a:gd name="connsiteY14610" fmla="*/ 1264302 h 6557032"/>
              <a:gd name="connsiteX14611" fmla="*/ 173107 w 4610101"/>
              <a:gd name="connsiteY14611" fmla="*/ 1252686 h 6557032"/>
              <a:gd name="connsiteX14612" fmla="*/ 304075 w 4610101"/>
              <a:gd name="connsiteY14612" fmla="*/ 1252458 h 6557032"/>
              <a:gd name="connsiteX14613" fmla="*/ 307948 w 4610101"/>
              <a:gd name="connsiteY14613" fmla="*/ 1252686 h 6557032"/>
              <a:gd name="connsiteX14614" fmla="*/ 304303 w 4610101"/>
              <a:gd name="connsiteY14614" fmla="*/ 1256330 h 6557032"/>
              <a:gd name="connsiteX14615" fmla="*/ 304075 w 4610101"/>
              <a:gd name="connsiteY14615" fmla="*/ 1252458 h 6557032"/>
              <a:gd name="connsiteX14616" fmla="*/ 1153436 w 4610101"/>
              <a:gd name="connsiteY14616" fmla="*/ 1252230 h 6557032"/>
              <a:gd name="connsiteX14617" fmla="*/ 1151614 w 4610101"/>
              <a:gd name="connsiteY14617" fmla="*/ 1254508 h 6557032"/>
              <a:gd name="connsiteX14618" fmla="*/ 1153436 w 4610101"/>
              <a:gd name="connsiteY14618" fmla="*/ 1256330 h 6557032"/>
              <a:gd name="connsiteX14619" fmla="*/ 1155259 w 4610101"/>
              <a:gd name="connsiteY14619" fmla="*/ 1252686 h 6557032"/>
              <a:gd name="connsiteX14620" fmla="*/ 1153436 w 4610101"/>
              <a:gd name="connsiteY14620" fmla="*/ 1252230 h 6557032"/>
              <a:gd name="connsiteX14621" fmla="*/ 982835 w 4610101"/>
              <a:gd name="connsiteY14621" fmla="*/ 1252230 h 6557032"/>
              <a:gd name="connsiteX14622" fmla="*/ 980330 w 4610101"/>
              <a:gd name="connsiteY14622" fmla="*/ 1259975 h 6557032"/>
              <a:gd name="connsiteX14623" fmla="*/ 989441 w 4610101"/>
              <a:gd name="connsiteY14623" fmla="*/ 1252686 h 6557032"/>
              <a:gd name="connsiteX14624" fmla="*/ 982835 w 4610101"/>
              <a:gd name="connsiteY14624" fmla="*/ 1252230 h 6557032"/>
              <a:gd name="connsiteX14625" fmla="*/ 2994288 w 4610101"/>
              <a:gd name="connsiteY14625" fmla="*/ 1251547 h 6557032"/>
              <a:gd name="connsiteX14626" fmla="*/ 2990188 w 4610101"/>
              <a:gd name="connsiteY14626" fmla="*/ 1267263 h 6557032"/>
              <a:gd name="connsiteX14627" fmla="*/ 2997477 w 4610101"/>
              <a:gd name="connsiteY14627" fmla="*/ 1258152 h 6557032"/>
              <a:gd name="connsiteX14628" fmla="*/ 3004765 w 4610101"/>
              <a:gd name="connsiteY14628" fmla="*/ 1261797 h 6557032"/>
              <a:gd name="connsiteX14629" fmla="*/ 3006587 w 4610101"/>
              <a:gd name="connsiteY14629" fmla="*/ 1256330 h 6557032"/>
              <a:gd name="connsiteX14630" fmla="*/ 2994288 w 4610101"/>
              <a:gd name="connsiteY14630" fmla="*/ 1251547 h 6557032"/>
              <a:gd name="connsiteX14631" fmla="*/ 337786 w 4610101"/>
              <a:gd name="connsiteY14631" fmla="*/ 1251547 h 6557032"/>
              <a:gd name="connsiteX14632" fmla="*/ 335280 w 4610101"/>
              <a:gd name="connsiteY14632" fmla="*/ 1254508 h 6557032"/>
              <a:gd name="connsiteX14633" fmla="*/ 344391 w 4610101"/>
              <a:gd name="connsiteY14633" fmla="*/ 1252686 h 6557032"/>
              <a:gd name="connsiteX14634" fmla="*/ 337786 w 4610101"/>
              <a:gd name="connsiteY14634" fmla="*/ 1251547 h 6557032"/>
              <a:gd name="connsiteX14635" fmla="*/ 354185 w 4610101"/>
              <a:gd name="connsiteY14635" fmla="*/ 1251320 h 6557032"/>
              <a:gd name="connsiteX14636" fmla="*/ 346213 w 4610101"/>
              <a:gd name="connsiteY14636" fmla="*/ 1259975 h 6557032"/>
              <a:gd name="connsiteX14637" fmla="*/ 320703 w 4610101"/>
              <a:gd name="connsiteY14637" fmla="*/ 1259975 h 6557032"/>
              <a:gd name="connsiteX14638" fmla="*/ 333458 w 4610101"/>
              <a:gd name="connsiteY14638" fmla="*/ 1267263 h 6557032"/>
              <a:gd name="connsiteX14639" fmla="*/ 302481 w 4610101"/>
              <a:gd name="connsiteY14639" fmla="*/ 1263619 h 6557032"/>
              <a:gd name="connsiteX14640" fmla="*/ 304303 w 4610101"/>
              <a:gd name="connsiteY14640" fmla="*/ 1261797 h 6557032"/>
              <a:gd name="connsiteX14641" fmla="*/ 297015 w 4610101"/>
              <a:gd name="connsiteY14641" fmla="*/ 1259975 h 6557032"/>
              <a:gd name="connsiteX14642" fmla="*/ 295193 w 4610101"/>
              <a:gd name="connsiteY14642" fmla="*/ 1267263 h 6557032"/>
              <a:gd name="connsiteX14643" fmla="*/ 351680 w 4610101"/>
              <a:gd name="connsiteY14643" fmla="*/ 1274552 h 6557032"/>
              <a:gd name="connsiteX14644" fmla="*/ 349858 w 4610101"/>
              <a:gd name="connsiteY14644" fmla="*/ 1276374 h 6557032"/>
              <a:gd name="connsiteX14645" fmla="*/ 360791 w 4610101"/>
              <a:gd name="connsiteY14645" fmla="*/ 1278196 h 6557032"/>
              <a:gd name="connsiteX14646" fmla="*/ 358969 w 4610101"/>
              <a:gd name="connsiteY14646" fmla="*/ 1272730 h 6557032"/>
              <a:gd name="connsiteX14647" fmla="*/ 369902 w 4610101"/>
              <a:gd name="connsiteY14647" fmla="*/ 1278196 h 6557032"/>
              <a:gd name="connsiteX14648" fmla="*/ 364435 w 4610101"/>
              <a:gd name="connsiteY14648" fmla="*/ 1272730 h 6557032"/>
              <a:gd name="connsiteX14649" fmla="*/ 371724 w 4610101"/>
              <a:gd name="connsiteY14649" fmla="*/ 1276374 h 6557032"/>
              <a:gd name="connsiteX14650" fmla="*/ 368079 w 4610101"/>
              <a:gd name="connsiteY14650" fmla="*/ 1272730 h 6557032"/>
              <a:gd name="connsiteX14651" fmla="*/ 379012 w 4610101"/>
              <a:gd name="connsiteY14651" fmla="*/ 1270908 h 6557032"/>
              <a:gd name="connsiteX14652" fmla="*/ 375368 w 4610101"/>
              <a:gd name="connsiteY14652" fmla="*/ 1259975 h 6557032"/>
              <a:gd name="connsiteX14653" fmla="*/ 382657 w 4610101"/>
              <a:gd name="connsiteY14653" fmla="*/ 1259975 h 6557032"/>
              <a:gd name="connsiteX14654" fmla="*/ 378785 w 4610101"/>
              <a:gd name="connsiteY14654" fmla="*/ 1259974 h 6557032"/>
              <a:gd name="connsiteX14655" fmla="*/ 373717 w 4610101"/>
              <a:gd name="connsiteY14655" fmla="*/ 1259975 h 6557032"/>
              <a:gd name="connsiteX14656" fmla="*/ 379012 w 4610101"/>
              <a:gd name="connsiteY14656" fmla="*/ 1258152 h 6557032"/>
              <a:gd name="connsiteX14657" fmla="*/ 373546 w 4610101"/>
              <a:gd name="connsiteY14657" fmla="*/ 1259975 h 6557032"/>
              <a:gd name="connsiteX14658" fmla="*/ 373717 w 4610101"/>
              <a:gd name="connsiteY14658" fmla="*/ 1259975 h 6557032"/>
              <a:gd name="connsiteX14659" fmla="*/ 365119 w 4610101"/>
              <a:gd name="connsiteY14659" fmla="*/ 1262935 h 6557032"/>
              <a:gd name="connsiteX14660" fmla="*/ 355324 w 4610101"/>
              <a:gd name="connsiteY14660" fmla="*/ 1274552 h 6557032"/>
              <a:gd name="connsiteX14661" fmla="*/ 355324 w 4610101"/>
              <a:gd name="connsiteY14661" fmla="*/ 1270908 h 6557032"/>
              <a:gd name="connsiteX14662" fmla="*/ 351680 w 4610101"/>
              <a:gd name="connsiteY14662" fmla="*/ 1270908 h 6557032"/>
              <a:gd name="connsiteX14663" fmla="*/ 353502 w 4610101"/>
              <a:gd name="connsiteY14663" fmla="*/ 1269085 h 6557032"/>
              <a:gd name="connsiteX14664" fmla="*/ 348037 w 4610101"/>
              <a:gd name="connsiteY14664" fmla="*/ 1267263 h 6557032"/>
              <a:gd name="connsiteX14665" fmla="*/ 366257 w 4610101"/>
              <a:gd name="connsiteY14665" fmla="*/ 1256330 h 6557032"/>
              <a:gd name="connsiteX14666" fmla="*/ 354185 w 4610101"/>
              <a:gd name="connsiteY14666" fmla="*/ 1251320 h 6557032"/>
              <a:gd name="connsiteX14667" fmla="*/ 298837 w 4610101"/>
              <a:gd name="connsiteY14667" fmla="*/ 1251319 h 6557032"/>
              <a:gd name="connsiteX14668" fmla="*/ 300660 w 4610101"/>
              <a:gd name="connsiteY14668" fmla="*/ 1258152 h 6557032"/>
              <a:gd name="connsiteX14669" fmla="*/ 318882 w 4610101"/>
              <a:gd name="connsiteY14669" fmla="*/ 1259975 h 6557032"/>
              <a:gd name="connsiteX14670" fmla="*/ 307948 w 4610101"/>
              <a:gd name="connsiteY14670" fmla="*/ 1252686 h 6557032"/>
              <a:gd name="connsiteX14671" fmla="*/ 298837 w 4610101"/>
              <a:gd name="connsiteY14671" fmla="*/ 1251319 h 6557032"/>
              <a:gd name="connsiteX14672" fmla="*/ 3329112 w 4610101"/>
              <a:gd name="connsiteY14672" fmla="*/ 1250864 h 6557032"/>
              <a:gd name="connsiteX14673" fmla="*/ 3330934 w 4610101"/>
              <a:gd name="connsiteY14673" fmla="*/ 1256330 h 6557032"/>
              <a:gd name="connsiteX14674" fmla="*/ 3329112 w 4610101"/>
              <a:gd name="connsiteY14674" fmla="*/ 1250864 h 6557032"/>
              <a:gd name="connsiteX14675" fmla="*/ 3252581 w 4610101"/>
              <a:gd name="connsiteY14675" fmla="*/ 1250864 h 6557032"/>
              <a:gd name="connsiteX14676" fmla="*/ 3254403 w 4610101"/>
              <a:gd name="connsiteY14676" fmla="*/ 1254508 h 6557032"/>
              <a:gd name="connsiteX14677" fmla="*/ 3258047 w 4610101"/>
              <a:gd name="connsiteY14677" fmla="*/ 1250864 h 6557032"/>
              <a:gd name="connsiteX14678" fmla="*/ 3252581 w 4610101"/>
              <a:gd name="connsiteY14678" fmla="*/ 1250864 h 6557032"/>
              <a:gd name="connsiteX14679" fmla="*/ 2427136 w 4610101"/>
              <a:gd name="connsiteY14679" fmla="*/ 1250864 h 6557032"/>
              <a:gd name="connsiteX14680" fmla="*/ 2418025 w 4610101"/>
              <a:gd name="connsiteY14680" fmla="*/ 1258152 h 6557032"/>
              <a:gd name="connsiteX14681" fmla="*/ 2421669 w 4610101"/>
              <a:gd name="connsiteY14681" fmla="*/ 1259975 h 6557032"/>
              <a:gd name="connsiteX14682" fmla="*/ 2418025 w 4610101"/>
              <a:gd name="connsiteY14682" fmla="*/ 1261797 h 6557032"/>
              <a:gd name="connsiteX14683" fmla="*/ 2419847 w 4610101"/>
              <a:gd name="connsiteY14683" fmla="*/ 1269085 h 6557032"/>
              <a:gd name="connsiteX14684" fmla="*/ 2412559 w 4610101"/>
              <a:gd name="connsiteY14684" fmla="*/ 1269085 h 6557032"/>
              <a:gd name="connsiteX14685" fmla="*/ 2412559 w 4610101"/>
              <a:gd name="connsiteY14685" fmla="*/ 1276374 h 6557032"/>
              <a:gd name="connsiteX14686" fmla="*/ 2408914 w 4610101"/>
              <a:gd name="connsiteY14686" fmla="*/ 1280018 h 6557032"/>
              <a:gd name="connsiteX14687" fmla="*/ 2416203 w 4610101"/>
              <a:gd name="connsiteY14687" fmla="*/ 1276374 h 6557032"/>
              <a:gd name="connsiteX14688" fmla="*/ 2414381 w 4610101"/>
              <a:gd name="connsiteY14688" fmla="*/ 1272730 h 6557032"/>
              <a:gd name="connsiteX14689" fmla="*/ 2418025 w 4610101"/>
              <a:gd name="connsiteY14689" fmla="*/ 1272730 h 6557032"/>
              <a:gd name="connsiteX14690" fmla="*/ 2421669 w 4610101"/>
              <a:gd name="connsiteY14690" fmla="*/ 1269085 h 6557032"/>
              <a:gd name="connsiteX14691" fmla="*/ 2430780 w 4610101"/>
              <a:gd name="connsiteY14691" fmla="*/ 1269085 h 6557032"/>
              <a:gd name="connsiteX14692" fmla="*/ 2430780 w 4610101"/>
              <a:gd name="connsiteY14692" fmla="*/ 1256330 h 6557032"/>
              <a:gd name="connsiteX14693" fmla="*/ 2427136 w 4610101"/>
              <a:gd name="connsiteY14693" fmla="*/ 1258152 h 6557032"/>
              <a:gd name="connsiteX14694" fmla="*/ 2427136 w 4610101"/>
              <a:gd name="connsiteY14694" fmla="*/ 1250864 h 6557032"/>
              <a:gd name="connsiteX14695" fmla="*/ 2390693 w 4610101"/>
              <a:gd name="connsiteY14695" fmla="*/ 1250864 h 6557032"/>
              <a:gd name="connsiteX14696" fmla="*/ 2379760 w 4610101"/>
              <a:gd name="connsiteY14696" fmla="*/ 1254508 h 6557032"/>
              <a:gd name="connsiteX14697" fmla="*/ 2377937 w 4610101"/>
              <a:gd name="connsiteY14697" fmla="*/ 1265441 h 6557032"/>
              <a:gd name="connsiteX14698" fmla="*/ 2390693 w 4610101"/>
              <a:gd name="connsiteY14698" fmla="*/ 1250864 h 6557032"/>
              <a:gd name="connsiteX14699" fmla="*/ 2097323 w 4610101"/>
              <a:gd name="connsiteY14699" fmla="*/ 1250864 h 6557032"/>
              <a:gd name="connsiteX14700" fmla="*/ 2095500 w 4610101"/>
              <a:gd name="connsiteY14700" fmla="*/ 1258152 h 6557032"/>
              <a:gd name="connsiteX14701" fmla="*/ 2106433 w 4610101"/>
              <a:gd name="connsiteY14701" fmla="*/ 1252686 h 6557032"/>
              <a:gd name="connsiteX14702" fmla="*/ 2097323 w 4610101"/>
              <a:gd name="connsiteY14702" fmla="*/ 1250864 h 6557032"/>
              <a:gd name="connsiteX14703" fmla="*/ 1244545 w 4610101"/>
              <a:gd name="connsiteY14703" fmla="*/ 1250864 h 6557032"/>
              <a:gd name="connsiteX14704" fmla="*/ 1253656 w 4610101"/>
              <a:gd name="connsiteY14704" fmla="*/ 1259975 h 6557032"/>
              <a:gd name="connsiteX14705" fmla="*/ 1253656 w 4610101"/>
              <a:gd name="connsiteY14705" fmla="*/ 1254508 h 6557032"/>
              <a:gd name="connsiteX14706" fmla="*/ 1253656 w 4610101"/>
              <a:gd name="connsiteY14706" fmla="*/ 1252686 h 6557032"/>
              <a:gd name="connsiteX14707" fmla="*/ 1250012 w 4610101"/>
              <a:gd name="connsiteY14707" fmla="*/ 1250864 h 6557032"/>
              <a:gd name="connsiteX14708" fmla="*/ 1253656 w 4610101"/>
              <a:gd name="connsiteY14708" fmla="*/ 1254508 h 6557032"/>
              <a:gd name="connsiteX14709" fmla="*/ 1244545 w 4610101"/>
              <a:gd name="connsiteY14709" fmla="*/ 1250864 h 6557032"/>
              <a:gd name="connsiteX14710" fmla="*/ 920198 w 4610101"/>
              <a:gd name="connsiteY14710" fmla="*/ 1250864 h 6557032"/>
              <a:gd name="connsiteX14711" fmla="*/ 920198 w 4610101"/>
              <a:gd name="connsiteY14711" fmla="*/ 1259975 h 6557032"/>
              <a:gd name="connsiteX14712" fmla="*/ 925664 w 4610101"/>
              <a:gd name="connsiteY14712" fmla="*/ 1259975 h 6557032"/>
              <a:gd name="connsiteX14713" fmla="*/ 923843 w 4610101"/>
              <a:gd name="connsiteY14713" fmla="*/ 1261797 h 6557032"/>
              <a:gd name="connsiteX14714" fmla="*/ 934777 w 4610101"/>
              <a:gd name="connsiteY14714" fmla="*/ 1267263 h 6557032"/>
              <a:gd name="connsiteX14715" fmla="*/ 927487 w 4610101"/>
              <a:gd name="connsiteY14715" fmla="*/ 1258152 h 6557032"/>
              <a:gd name="connsiteX14716" fmla="*/ 925666 w 4610101"/>
              <a:gd name="connsiteY14716" fmla="*/ 1259975 h 6557032"/>
              <a:gd name="connsiteX14717" fmla="*/ 750737 w 4610101"/>
              <a:gd name="connsiteY14717" fmla="*/ 1250864 h 6557032"/>
              <a:gd name="connsiteX14718" fmla="*/ 748914 w 4610101"/>
              <a:gd name="connsiteY14718" fmla="*/ 1256330 h 6557032"/>
              <a:gd name="connsiteX14719" fmla="*/ 754380 w 4610101"/>
              <a:gd name="connsiteY14719" fmla="*/ 1256330 h 6557032"/>
              <a:gd name="connsiteX14720" fmla="*/ 750737 w 4610101"/>
              <a:gd name="connsiteY14720" fmla="*/ 1250864 h 6557032"/>
              <a:gd name="connsiteX14721" fmla="*/ 721581 w 4610101"/>
              <a:gd name="connsiteY14721" fmla="*/ 1250864 h 6557032"/>
              <a:gd name="connsiteX14722" fmla="*/ 725226 w 4610101"/>
              <a:gd name="connsiteY14722" fmla="*/ 1252686 h 6557032"/>
              <a:gd name="connsiteX14723" fmla="*/ 721581 w 4610101"/>
              <a:gd name="connsiteY14723" fmla="*/ 1250864 h 6557032"/>
              <a:gd name="connsiteX14724" fmla="*/ 714293 w 4610101"/>
              <a:gd name="connsiteY14724" fmla="*/ 1250864 h 6557032"/>
              <a:gd name="connsiteX14725" fmla="*/ 712364 w 4610101"/>
              <a:gd name="connsiteY14725" fmla="*/ 1253758 h 6557032"/>
              <a:gd name="connsiteX14726" fmla="*/ 710648 w 4610101"/>
              <a:gd name="connsiteY14726" fmla="*/ 1252686 h 6557032"/>
              <a:gd name="connsiteX14727" fmla="*/ 710648 w 4610101"/>
              <a:gd name="connsiteY14727" fmla="*/ 1256330 h 6557032"/>
              <a:gd name="connsiteX14728" fmla="*/ 712364 w 4610101"/>
              <a:gd name="connsiteY14728" fmla="*/ 1253758 h 6557032"/>
              <a:gd name="connsiteX14729" fmla="*/ 712471 w 4610101"/>
              <a:gd name="connsiteY14729" fmla="*/ 1253825 h 6557032"/>
              <a:gd name="connsiteX14730" fmla="*/ 714293 w 4610101"/>
              <a:gd name="connsiteY14730" fmla="*/ 1250864 h 6557032"/>
              <a:gd name="connsiteX14731" fmla="*/ 464655 w 4610101"/>
              <a:gd name="connsiteY14731" fmla="*/ 1250864 h 6557032"/>
              <a:gd name="connsiteX14732" fmla="*/ 461010 w 4610101"/>
              <a:gd name="connsiteY14732" fmla="*/ 1252686 h 6557032"/>
              <a:gd name="connsiteX14733" fmla="*/ 466478 w 4610101"/>
              <a:gd name="connsiteY14733" fmla="*/ 1256330 h 6557032"/>
              <a:gd name="connsiteX14734" fmla="*/ 464655 w 4610101"/>
              <a:gd name="connsiteY14734" fmla="*/ 1250864 h 6557032"/>
              <a:gd name="connsiteX14735" fmla="*/ 419100 w 4610101"/>
              <a:gd name="connsiteY14735" fmla="*/ 1250864 h 6557032"/>
              <a:gd name="connsiteX14736" fmla="*/ 397234 w 4610101"/>
              <a:gd name="connsiteY14736" fmla="*/ 1256330 h 6557032"/>
              <a:gd name="connsiteX14737" fmla="*/ 411812 w 4610101"/>
              <a:gd name="connsiteY14737" fmla="*/ 1259975 h 6557032"/>
              <a:gd name="connsiteX14738" fmla="*/ 409989 w 4610101"/>
              <a:gd name="connsiteY14738" fmla="*/ 1254508 h 6557032"/>
              <a:gd name="connsiteX14739" fmla="*/ 424567 w 4610101"/>
              <a:gd name="connsiteY14739" fmla="*/ 1261797 h 6557032"/>
              <a:gd name="connsiteX14740" fmla="*/ 428211 w 4610101"/>
              <a:gd name="connsiteY14740" fmla="*/ 1263619 h 6557032"/>
              <a:gd name="connsiteX14741" fmla="*/ 426726 w 4610101"/>
              <a:gd name="connsiteY14741" fmla="*/ 1261797 h 6557032"/>
              <a:gd name="connsiteX14742" fmla="*/ 430034 w 4610101"/>
              <a:gd name="connsiteY14742" fmla="*/ 1261797 h 6557032"/>
              <a:gd name="connsiteX14743" fmla="*/ 428211 w 4610101"/>
              <a:gd name="connsiteY14743" fmla="*/ 1258152 h 6557032"/>
              <a:gd name="connsiteX14744" fmla="*/ 435500 w 4610101"/>
              <a:gd name="connsiteY14744" fmla="*/ 1258152 h 6557032"/>
              <a:gd name="connsiteX14745" fmla="*/ 430490 w 4610101"/>
              <a:gd name="connsiteY14745" fmla="*/ 1257469 h 6557032"/>
              <a:gd name="connsiteX14746" fmla="*/ 428486 w 4610101"/>
              <a:gd name="connsiteY14746" fmla="*/ 1253264 h 6557032"/>
              <a:gd name="connsiteX14747" fmla="*/ 429003 w 4610101"/>
              <a:gd name="connsiteY14747" fmla="*/ 1253055 h 6557032"/>
              <a:gd name="connsiteX14748" fmla="*/ 435044 w 4610101"/>
              <a:gd name="connsiteY14748" fmla="*/ 1255875 h 6557032"/>
              <a:gd name="connsiteX14749" fmla="*/ 439145 w 4610101"/>
              <a:gd name="connsiteY14749" fmla="*/ 1250864 h 6557032"/>
              <a:gd name="connsiteX14750" fmla="*/ 429350 w 4610101"/>
              <a:gd name="connsiteY14750" fmla="*/ 1252914 h 6557032"/>
              <a:gd name="connsiteX14751" fmla="*/ 429003 w 4610101"/>
              <a:gd name="connsiteY14751" fmla="*/ 1253055 h 6557032"/>
              <a:gd name="connsiteX14752" fmla="*/ 428211 w 4610101"/>
              <a:gd name="connsiteY14752" fmla="*/ 1252686 h 6557032"/>
              <a:gd name="connsiteX14753" fmla="*/ 428486 w 4610101"/>
              <a:gd name="connsiteY14753" fmla="*/ 1253264 h 6557032"/>
              <a:gd name="connsiteX14754" fmla="*/ 421184 w 4610101"/>
              <a:gd name="connsiteY14754" fmla="*/ 1256224 h 6557032"/>
              <a:gd name="connsiteX14755" fmla="*/ 415456 w 4610101"/>
              <a:gd name="connsiteY14755" fmla="*/ 1252686 h 6557032"/>
              <a:gd name="connsiteX14756" fmla="*/ 419100 w 4610101"/>
              <a:gd name="connsiteY14756" fmla="*/ 1250864 h 6557032"/>
              <a:gd name="connsiteX14757" fmla="*/ 282438 w 4610101"/>
              <a:gd name="connsiteY14757" fmla="*/ 1250864 h 6557032"/>
              <a:gd name="connsiteX14758" fmla="*/ 269682 w 4610101"/>
              <a:gd name="connsiteY14758" fmla="*/ 1252686 h 6557032"/>
              <a:gd name="connsiteX14759" fmla="*/ 280537 w 4610101"/>
              <a:gd name="connsiteY14759" fmla="*/ 1254043 h 6557032"/>
              <a:gd name="connsiteX14760" fmla="*/ 280843 w 4610101"/>
              <a:gd name="connsiteY14760" fmla="*/ 1254280 h 6557032"/>
              <a:gd name="connsiteX14761" fmla="*/ 284259 w 4610101"/>
              <a:gd name="connsiteY14761" fmla="*/ 1254508 h 6557032"/>
              <a:gd name="connsiteX14762" fmla="*/ 280537 w 4610101"/>
              <a:gd name="connsiteY14762" fmla="*/ 1254043 h 6557032"/>
              <a:gd name="connsiteX14763" fmla="*/ 278793 w 4610101"/>
              <a:gd name="connsiteY14763" fmla="*/ 1252686 h 6557032"/>
              <a:gd name="connsiteX14764" fmla="*/ 282438 w 4610101"/>
              <a:gd name="connsiteY14764" fmla="*/ 1250864 h 6557032"/>
              <a:gd name="connsiteX14765" fmla="*/ 1263054 w 4610101"/>
              <a:gd name="connsiteY14765" fmla="*/ 1250832 h 6557032"/>
              <a:gd name="connsiteX14766" fmla="*/ 1263487 w 4610101"/>
              <a:gd name="connsiteY14766" fmla="*/ 1251104 h 6557032"/>
              <a:gd name="connsiteX14767" fmla="*/ 1262767 w 4610101"/>
              <a:gd name="connsiteY14767" fmla="*/ 1250864 h 6557032"/>
              <a:gd name="connsiteX14768" fmla="*/ 320931 w 4610101"/>
              <a:gd name="connsiteY14768" fmla="*/ 1250636 h 6557032"/>
              <a:gd name="connsiteX14769" fmla="*/ 311592 w 4610101"/>
              <a:gd name="connsiteY14769" fmla="*/ 1252686 h 6557032"/>
              <a:gd name="connsiteX14770" fmla="*/ 320703 w 4610101"/>
              <a:gd name="connsiteY14770" fmla="*/ 1258152 h 6557032"/>
              <a:gd name="connsiteX14771" fmla="*/ 331636 w 4610101"/>
              <a:gd name="connsiteY14771" fmla="*/ 1252686 h 6557032"/>
              <a:gd name="connsiteX14772" fmla="*/ 320931 w 4610101"/>
              <a:gd name="connsiteY14772" fmla="*/ 1250636 h 6557032"/>
              <a:gd name="connsiteX14773" fmla="*/ 1177125 w 4610101"/>
              <a:gd name="connsiteY14773" fmla="*/ 1249511 h 6557032"/>
              <a:gd name="connsiteX14774" fmla="*/ 1177125 w 4610101"/>
              <a:gd name="connsiteY14774" fmla="*/ 1250864 h 6557032"/>
              <a:gd name="connsiteX14775" fmla="*/ 1176601 w 4610101"/>
              <a:gd name="connsiteY14775" fmla="*/ 1250340 h 6557032"/>
              <a:gd name="connsiteX14776" fmla="*/ 3281736 w 4610101"/>
              <a:gd name="connsiteY14776" fmla="*/ 1249042 h 6557032"/>
              <a:gd name="connsiteX14777" fmla="*/ 3258047 w 4610101"/>
              <a:gd name="connsiteY14777" fmla="*/ 1270908 h 6557032"/>
              <a:gd name="connsiteX14778" fmla="*/ 3268980 w 4610101"/>
              <a:gd name="connsiteY14778" fmla="*/ 1265441 h 6557032"/>
              <a:gd name="connsiteX14779" fmla="*/ 3270803 w 4610101"/>
              <a:gd name="connsiteY14779" fmla="*/ 1274552 h 6557032"/>
              <a:gd name="connsiteX14780" fmla="*/ 3254403 w 4610101"/>
              <a:gd name="connsiteY14780" fmla="*/ 1272730 h 6557032"/>
              <a:gd name="connsiteX14781" fmla="*/ 3258047 w 4610101"/>
              <a:gd name="connsiteY14781" fmla="*/ 1285485 h 6557032"/>
              <a:gd name="connsiteX14782" fmla="*/ 3241648 w 4610101"/>
              <a:gd name="connsiteY14782" fmla="*/ 1289129 h 6557032"/>
              <a:gd name="connsiteX14783" fmla="*/ 3254403 w 4610101"/>
              <a:gd name="connsiteY14783" fmla="*/ 1290951 h 6557032"/>
              <a:gd name="connsiteX14784" fmla="*/ 3270803 w 4610101"/>
              <a:gd name="connsiteY14784" fmla="*/ 1298240 h 6557032"/>
              <a:gd name="connsiteX14785" fmla="*/ 3268980 w 4610101"/>
              <a:gd name="connsiteY14785" fmla="*/ 1292774 h 6557032"/>
              <a:gd name="connsiteX14786" fmla="*/ 3263514 w 4610101"/>
              <a:gd name="connsiteY14786" fmla="*/ 1298240 h 6557032"/>
              <a:gd name="connsiteX14787" fmla="*/ 3261692 w 4610101"/>
              <a:gd name="connsiteY14787" fmla="*/ 1289129 h 6557032"/>
              <a:gd name="connsiteX14788" fmla="*/ 3268980 w 4610101"/>
              <a:gd name="connsiteY14788" fmla="*/ 1289129 h 6557032"/>
              <a:gd name="connsiteX14789" fmla="*/ 3261692 w 4610101"/>
              <a:gd name="connsiteY14789" fmla="*/ 1287307 h 6557032"/>
              <a:gd name="connsiteX14790" fmla="*/ 3285380 w 4610101"/>
              <a:gd name="connsiteY14790" fmla="*/ 1258152 h 6557032"/>
              <a:gd name="connsiteX14791" fmla="*/ 3281736 w 4610101"/>
              <a:gd name="connsiteY14791" fmla="*/ 1265441 h 6557032"/>
              <a:gd name="connsiteX14792" fmla="*/ 3274447 w 4610101"/>
              <a:gd name="connsiteY14792" fmla="*/ 1258152 h 6557032"/>
              <a:gd name="connsiteX14793" fmla="*/ 3283558 w 4610101"/>
              <a:gd name="connsiteY14793" fmla="*/ 1256330 h 6557032"/>
              <a:gd name="connsiteX14794" fmla="*/ 3281736 w 4610101"/>
              <a:gd name="connsiteY14794" fmla="*/ 1249042 h 6557032"/>
              <a:gd name="connsiteX14795" fmla="*/ 1175303 w 4610101"/>
              <a:gd name="connsiteY14795" fmla="*/ 1249042 h 6557032"/>
              <a:gd name="connsiteX14796" fmla="*/ 1176601 w 4610101"/>
              <a:gd name="connsiteY14796" fmla="*/ 1250340 h 6557032"/>
              <a:gd name="connsiteX14797" fmla="*/ 1173082 w 4610101"/>
              <a:gd name="connsiteY14797" fmla="*/ 1255900 h 6557032"/>
              <a:gd name="connsiteX14798" fmla="*/ 1173937 w 4610101"/>
              <a:gd name="connsiteY14798" fmla="*/ 1252914 h 6557032"/>
              <a:gd name="connsiteX14799" fmla="*/ 1174559 w 4610101"/>
              <a:gd name="connsiteY14799" fmla="*/ 1249488 h 6557032"/>
              <a:gd name="connsiteX14800" fmla="*/ 1089660 w 4610101"/>
              <a:gd name="connsiteY14800" fmla="*/ 1249042 h 6557032"/>
              <a:gd name="connsiteX14801" fmla="*/ 1089660 w 4610101"/>
              <a:gd name="connsiteY14801" fmla="*/ 1254508 h 6557032"/>
              <a:gd name="connsiteX14802" fmla="*/ 1093305 w 4610101"/>
              <a:gd name="connsiteY14802" fmla="*/ 1254508 h 6557032"/>
              <a:gd name="connsiteX14803" fmla="*/ 1089660 w 4610101"/>
              <a:gd name="connsiteY14803" fmla="*/ 1249042 h 6557032"/>
              <a:gd name="connsiteX14804" fmla="*/ 1014951 w 4610101"/>
              <a:gd name="connsiteY14804" fmla="*/ 1249042 h 6557032"/>
              <a:gd name="connsiteX14805" fmla="*/ 1016774 w 4610101"/>
              <a:gd name="connsiteY14805" fmla="*/ 1254508 h 6557032"/>
              <a:gd name="connsiteX14806" fmla="*/ 1013129 w 4610101"/>
              <a:gd name="connsiteY14806" fmla="*/ 1250864 h 6557032"/>
              <a:gd name="connsiteX14807" fmla="*/ 1002196 w 4610101"/>
              <a:gd name="connsiteY14807" fmla="*/ 1258152 h 6557032"/>
              <a:gd name="connsiteX14808" fmla="*/ 1034995 w 4610101"/>
              <a:gd name="connsiteY14808" fmla="*/ 1258152 h 6557032"/>
              <a:gd name="connsiteX14809" fmla="*/ 1014951 w 4610101"/>
              <a:gd name="connsiteY14809" fmla="*/ 1249042 h 6557032"/>
              <a:gd name="connsiteX14810" fmla="*/ 748914 w 4610101"/>
              <a:gd name="connsiteY14810" fmla="*/ 1249042 h 6557032"/>
              <a:gd name="connsiteX14811" fmla="*/ 743447 w 4610101"/>
              <a:gd name="connsiteY14811" fmla="*/ 1250864 h 6557032"/>
              <a:gd name="connsiteX14812" fmla="*/ 748914 w 4610101"/>
              <a:gd name="connsiteY14812" fmla="*/ 1249042 h 6557032"/>
              <a:gd name="connsiteX14813" fmla="*/ 501098 w 4610101"/>
              <a:gd name="connsiteY14813" fmla="*/ 1249042 h 6557032"/>
              <a:gd name="connsiteX14814" fmla="*/ 502920 w 4610101"/>
              <a:gd name="connsiteY14814" fmla="*/ 1252686 h 6557032"/>
              <a:gd name="connsiteX14815" fmla="*/ 501098 w 4610101"/>
              <a:gd name="connsiteY14815" fmla="*/ 1249042 h 6557032"/>
              <a:gd name="connsiteX14816" fmla="*/ 699716 w 4610101"/>
              <a:gd name="connsiteY14816" fmla="*/ 1248814 h 6557032"/>
              <a:gd name="connsiteX14817" fmla="*/ 694249 w 4610101"/>
              <a:gd name="connsiteY14817" fmla="*/ 1250864 h 6557032"/>
              <a:gd name="connsiteX14818" fmla="*/ 705182 w 4610101"/>
              <a:gd name="connsiteY14818" fmla="*/ 1250864 h 6557032"/>
              <a:gd name="connsiteX14819" fmla="*/ 699716 w 4610101"/>
              <a:gd name="connsiteY14819" fmla="*/ 1248814 h 6557032"/>
              <a:gd name="connsiteX14820" fmla="*/ 2985177 w 4610101"/>
              <a:gd name="connsiteY14820" fmla="*/ 1248586 h 6557032"/>
              <a:gd name="connsiteX14821" fmla="*/ 2988366 w 4610101"/>
              <a:gd name="connsiteY14821" fmla="*/ 1250864 h 6557032"/>
              <a:gd name="connsiteX14822" fmla="*/ 2981142 w 4610101"/>
              <a:gd name="connsiteY14822" fmla="*/ 1252621 h 6557032"/>
              <a:gd name="connsiteX14823" fmla="*/ 1156397 w 4610101"/>
              <a:gd name="connsiteY14823" fmla="*/ 1248358 h 6557032"/>
              <a:gd name="connsiteX14824" fmla="*/ 1157081 w 4610101"/>
              <a:gd name="connsiteY14824" fmla="*/ 1252686 h 6557032"/>
              <a:gd name="connsiteX14825" fmla="*/ 1162547 w 4610101"/>
              <a:gd name="connsiteY14825" fmla="*/ 1250864 h 6557032"/>
              <a:gd name="connsiteX14826" fmla="*/ 1156397 w 4610101"/>
              <a:gd name="connsiteY14826" fmla="*/ 1248358 h 6557032"/>
              <a:gd name="connsiteX14827" fmla="*/ 3003577 w 4610101"/>
              <a:gd name="connsiteY14827" fmla="*/ 1248011 h 6557032"/>
              <a:gd name="connsiteX14828" fmla="*/ 2999300 w 4610101"/>
              <a:gd name="connsiteY14828" fmla="*/ 1250863 h 6557032"/>
              <a:gd name="connsiteX14829" fmla="*/ 3002260 w 4610101"/>
              <a:gd name="connsiteY14829" fmla="*/ 1248358 h 6557032"/>
              <a:gd name="connsiteX14830" fmla="*/ 736158 w 4610101"/>
              <a:gd name="connsiteY14830" fmla="*/ 1247903 h 6557032"/>
              <a:gd name="connsiteX14831" fmla="*/ 730692 w 4610101"/>
              <a:gd name="connsiteY14831" fmla="*/ 1250864 h 6557032"/>
              <a:gd name="connsiteX14832" fmla="*/ 741626 w 4610101"/>
              <a:gd name="connsiteY14832" fmla="*/ 1249042 h 6557032"/>
              <a:gd name="connsiteX14833" fmla="*/ 736158 w 4610101"/>
              <a:gd name="connsiteY14833" fmla="*/ 1247903 h 6557032"/>
              <a:gd name="connsiteX14834" fmla="*/ 395184 w 4610101"/>
              <a:gd name="connsiteY14834" fmla="*/ 1247902 h 6557032"/>
              <a:gd name="connsiteX14835" fmla="*/ 393590 w 4610101"/>
              <a:gd name="connsiteY14835" fmla="*/ 1250864 h 6557032"/>
              <a:gd name="connsiteX14836" fmla="*/ 400879 w 4610101"/>
              <a:gd name="connsiteY14836" fmla="*/ 1249042 h 6557032"/>
              <a:gd name="connsiteX14837" fmla="*/ 395184 w 4610101"/>
              <a:gd name="connsiteY14837" fmla="*/ 1247902 h 6557032"/>
              <a:gd name="connsiteX14838" fmla="*/ 3268980 w 4610101"/>
              <a:gd name="connsiteY14838" fmla="*/ 1247219 h 6557032"/>
              <a:gd name="connsiteX14839" fmla="*/ 3265336 w 4610101"/>
              <a:gd name="connsiteY14839" fmla="*/ 1252686 h 6557032"/>
              <a:gd name="connsiteX14840" fmla="*/ 3272625 w 4610101"/>
              <a:gd name="connsiteY14840" fmla="*/ 1249042 h 6557032"/>
              <a:gd name="connsiteX14841" fmla="*/ 3268980 w 4610101"/>
              <a:gd name="connsiteY14841" fmla="*/ 1247219 h 6557032"/>
              <a:gd name="connsiteX14842" fmla="*/ 3192449 w 4610101"/>
              <a:gd name="connsiteY14842" fmla="*/ 1247219 h 6557032"/>
              <a:gd name="connsiteX14843" fmla="*/ 3190627 w 4610101"/>
              <a:gd name="connsiteY14843" fmla="*/ 1252686 h 6557032"/>
              <a:gd name="connsiteX14844" fmla="*/ 3196093 w 4610101"/>
              <a:gd name="connsiteY14844" fmla="*/ 1254508 h 6557032"/>
              <a:gd name="connsiteX14845" fmla="*/ 3192449 w 4610101"/>
              <a:gd name="connsiteY14845" fmla="*/ 1247219 h 6557032"/>
              <a:gd name="connsiteX14846" fmla="*/ 3170583 w 4610101"/>
              <a:gd name="connsiteY14846" fmla="*/ 1247219 h 6557032"/>
              <a:gd name="connsiteX14847" fmla="*/ 3177872 w 4610101"/>
              <a:gd name="connsiteY14847" fmla="*/ 1258152 h 6557032"/>
              <a:gd name="connsiteX14848" fmla="*/ 3170583 w 4610101"/>
              <a:gd name="connsiteY14848" fmla="*/ 1247219 h 6557032"/>
              <a:gd name="connsiteX14849" fmla="*/ 2445358 w 4610101"/>
              <a:gd name="connsiteY14849" fmla="*/ 1247219 h 6557032"/>
              <a:gd name="connsiteX14850" fmla="*/ 2439891 w 4610101"/>
              <a:gd name="connsiteY14850" fmla="*/ 1261797 h 6557032"/>
              <a:gd name="connsiteX14851" fmla="*/ 2441713 w 4610101"/>
              <a:gd name="connsiteY14851" fmla="*/ 1259975 h 6557032"/>
              <a:gd name="connsiteX14852" fmla="*/ 2439891 w 4610101"/>
              <a:gd name="connsiteY14852" fmla="*/ 1270908 h 6557032"/>
              <a:gd name="connsiteX14853" fmla="*/ 2449002 w 4610101"/>
              <a:gd name="connsiteY14853" fmla="*/ 1270908 h 6557032"/>
              <a:gd name="connsiteX14854" fmla="*/ 2459935 w 4610101"/>
              <a:gd name="connsiteY14854" fmla="*/ 1265441 h 6557032"/>
              <a:gd name="connsiteX14855" fmla="*/ 2459935 w 4610101"/>
              <a:gd name="connsiteY14855" fmla="*/ 1270908 h 6557032"/>
              <a:gd name="connsiteX14856" fmla="*/ 2465402 w 4610101"/>
              <a:gd name="connsiteY14856" fmla="*/ 1270908 h 6557032"/>
              <a:gd name="connsiteX14857" fmla="*/ 2469046 w 4610101"/>
              <a:gd name="connsiteY14857" fmla="*/ 1261797 h 6557032"/>
              <a:gd name="connsiteX14858" fmla="*/ 2445358 w 4610101"/>
              <a:gd name="connsiteY14858" fmla="*/ 1247219 h 6557032"/>
              <a:gd name="connsiteX14859" fmla="*/ 2432603 w 4610101"/>
              <a:gd name="connsiteY14859" fmla="*/ 1247219 h 6557032"/>
              <a:gd name="connsiteX14860" fmla="*/ 2432603 w 4610101"/>
              <a:gd name="connsiteY14860" fmla="*/ 1258152 h 6557032"/>
              <a:gd name="connsiteX14861" fmla="*/ 2436247 w 4610101"/>
              <a:gd name="connsiteY14861" fmla="*/ 1250864 h 6557032"/>
              <a:gd name="connsiteX14862" fmla="*/ 2432603 w 4610101"/>
              <a:gd name="connsiteY14862" fmla="*/ 1247219 h 6557032"/>
              <a:gd name="connsiteX14863" fmla="*/ 1324721 w 4610101"/>
              <a:gd name="connsiteY14863" fmla="*/ 1247219 h 6557032"/>
              <a:gd name="connsiteX14864" fmla="*/ 1321077 w 4610101"/>
              <a:gd name="connsiteY14864" fmla="*/ 1258152 h 6557032"/>
              <a:gd name="connsiteX14865" fmla="*/ 1326543 w 4610101"/>
              <a:gd name="connsiteY14865" fmla="*/ 1249042 h 6557032"/>
              <a:gd name="connsiteX14866" fmla="*/ 1324721 w 4610101"/>
              <a:gd name="connsiteY14866" fmla="*/ 1247219 h 6557032"/>
              <a:gd name="connsiteX14867" fmla="*/ 1257300 w 4610101"/>
              <a:gd name="connsiteY14867" fmla="*/ 1247219 h 6557032"/>
              <a:gd name="connsiteX14868" fmla="*/ 1255478 w 4610101"/>
              <a:gd name="connsiteY14868" fmla="*/ 1258152 h 6557032"/>
              <a:gd name="connsiteX14869" fmla="*/ 1275522 w 4610101"/>
              <a:gd name="connsiteY14869" fmla="*/ 1263619 h 6557032"/>
              <a:gd name="connsiteX14870" fmla="*/ 1267095 w 4610101"/>
              <a:gd name="connsiteY14870" fmla="*/ 1253369 h 6557032"/>
              <a:gd name="connsiteX14871" fmla="*/ 1263487 w 4610101"/>
              <a:gd name="connsiteY14871" fmla="*/ 1251104 h 6557032"/>
              <a:gd name="connsiteX14872" fmla="*/ 1268233 w 4610101"/>
              <a:gd name="connsiteY14872" fmla="*/ 1252686 h 6557032"/>
              <a:gd name="connsiteX14873" fmla="*/ 1266867 w 4610101"/>
              <a:gd name="connsiteY14873" fmla="*/ 1250408 h 6557032"/>
              <a:gd name="connsiteX14874" fmla="*/ 1263054 w 4610101"/>
              <a:gd name="connsiteY14874" fmla="*/ 1250832 h 6557032"/>
              <a:gd name="connsiteX14875" fmla="*/ 1058683 w 4610101"/>
              <a:gd name="connsiteY14875" fmla="*/ 1247219 h 6557032"/>
              <a:gd name="connsiteX14876" fmla="*/ 1047750 w 4610101"/>
              <a:gd name="connsiteY14876" fmla="*/ 1261797 h 6557032"/>
              <a:gd name="connsiteX14877" fmla="*/ 1069616 w 4610101"/>
              <a:gd name="connsiteY14877" fmla="*/ 1258152 h 6557032"/>
              <a:gd name="connsiteX14878" fmla="*/ 1058683 w 4610101"/>
              <a:gd name="connsiteY14878" fmla="*/ 1247219 h 6557032"/>
              <a:gd name="connsiteX14879" fmla="*/ 1042284 w 4610101"/>
              <a:gd name="connsiteY14879" fmla="*/ 1247219 h 6557032"/>
              <a:gd name="connsiteX14880" fmla="*/ 1033173 w 4610101"/>
              <a:gd name="connsiteY14880" fmla="*/ 1252686 h 6557032"/>
              <a:gd name="connsiteX14881" fmla="*/ 1038639 w 4610101"/>
              <a:gd name="connsiteY14881" fmla="*/ 1256330 h 6557032"/>
              <a:gd name="connsiteX14882" fmla="*/ 1047750 w 4610101"/>
              <a:gd name="connsiteY14882" fmla="*/ 1250864 h 6557032"/>
              <a:gd name="connsiteX14883" fmla="*/ 1040462 w 4610101"/>
              <a:gd name="connsiteY14883" fmla="*/ 1252686 h 6557032"/>
              <a:gd name="connsiteX14884" fmla="*/ 1044106 w 4610101"/>
              <a:gd name="connsiteY14884" fmla="*/ 1249042 h 6557032"/>
              <a:gd name="connsiteX14885" fmla="*/ 1042284 w 4610101"/>
              <a:gd name="connsiteY14885" fmla="*/ 1247219 h 6557032"/>
              <a:gd name="connsiteX14886" fmla="*/ 754380 w 4610101"/>
              <a:gd name="connsiteY14886" fmla="*/ 1247219 h 6557032"/>
              <a:gd name="connsiteX14887" fmla="*/ 758025 w 4610101"/>
              <a:gd name="connsiteY14887" fmla="*/ 1254508 h 6557032"/>
              <a:gd name="connsiteX14888" fmla="*/ 758025 w 4610101"/>
              <a:gd name="connsiteY14888" fmla="*/ 1249042 h 6557032"/>
              <a:gd name="connsiteX14889" fmla="*/ 754380 w 4610101"/>
              <a:gd name="connsiteY14889" fmla="*/ 1247219 h 6557032"/>
              <a:gd name="connsiteX14890" fmla="*/ 604963 w 4610101"/>
              <a:gd name="connsiteY14890" fmla="*/ 1247219 h 6557032"/>
              <a:gd name="connsiteX14891" fmla="*/ 601318 w 4610101"/>
              <a:gd name="connsiteY14891" fmla="*/ 1250864 h 6557032"/>
              <a:gd name="connsiteX14892" fmla="*/ 604963 w 4610101"/>
              <a:gd name="connsiteY14892" fmla="*/ 1247219 h 6557032"/>
              <a:gd name="connsiteX14893" fmla="*/ 524786 w 4610101"/>
              <a:gd name="connsiteY14893" fmla="*/ 1247219 h 6557032"/>
              <a:gd name="connsiteX14894" fmla="*/ 526609 w 4610101"/>
              <a:gd name="connsiteY14894" fmla="*/ 1250864 h 6557032"/>
              <a:gd name="connsiteX14895" fmla="*/ 524786 w 4610101"/>
              <a:gd name="connsiteY14895" fmla="*/ 1247219 h 6557032"/>
              <a:gd name="connsiteX14896" fmla="*/ 335280 w 4610101"/>
              <a:gd name="connsiteY14896" fmla="*/ 1247219 h 6557032"/>
              <a:gd name="connsiteX14897" fmla="*/ 355324 w 4610101"/>
              <a:gd name="connsiteY14897" fmla="*/ 1247219 h 6557032"/>
              <a:gd name="connsiteX14898" fmla="*/ 335280 w 4610101"/>
              <a:gd name="connsiteY14898" fmla="*/ 1247219 h 6557032"/>
              <a:gd name="connsiteX14899" fmla="*/ 264216 w 4610101"/>
              <a:gd name="connsiteY14899" fmla="*/ 1247219 h 6557032"/>
              <a:gd name="connsiteX14900" fmla="*/ 275149 w 4610101"/>
              <a:gd name="connsiteY14900" fmla="*/ 1249042 h 6557032"/>
              <a:gd name="connsiteX14901" fmla="*/ 264216 w 4610101"/>
              <a:gd name="connsiteY14901" fmla="*/ 1247219 h 6557032"/>
              <a:gd name="connsiteX14902" fmla="*/ 3113185 w 4610101"/>
              <a:gd name="connsiteY14902" fmla="*/ 1246764 h 6557032"/>
              <a:gd name="connsiteX14903" fmla="*/ 3103163 w 4610101"/>
              <a:gd name="connsiteY14903" fmla="*/ 1250864 h 6557032"/>
              <a:gd name="connsiteX14904" fmla="*/ 3104985 w 4610101"/>
              <a:gd name="connsiteY14904" fmla="*/ 1256330 h 6557032"/>
              <a:gd name="connsiteX14905" fmla="*/ 3095874 w 4610101"/>
              <a:gd name="connsiteY14905" fmla="*/ 1267263 h 6557032"/>
              <a:gd name="connsiteX14906" fmla="*/ 3119562 w 4610101"/>
              <a:gd name="connsiteY14906" fmla="*/ 1261797 h 6557032"/>
              <a:gd name="connsiteX14907" fmla="*/ 3121384 w 4610101"/>
              <a:gd name="connsiteY14907" fmla="*/ 1256330 h 6557032"/>
              <a:gd name="connsiteX14908" fmla="*/ 3114096 w 4610101"/>
              <a:gd name="connsiteY14908" fmla="*/ 1252686 h 6557032"/>
              <a:gd name="connsiteX14909" fmla="*/ 3123206 w 4610101"/>
              <a:gd name="connsiteY14909" fmla="*/ 1250864 h 6557032"/>
              <a:gd name="connsiteX14910" fmla="*/ 3113185 w 4610101"/>
              <a:gd name="connsiteY14910" fmla="*/ 1246764 h 6557032"/>
              <a:gd name="connsiteX14911" fmla="*/ 361018 w 4610101"/>
              <a:gd name="connsiteY14911" fmla="*/ 1246536 h 6557032"/>
              <a:gd name="connsiteX14912" fmla="*/ 355324 w 4610101"/>
              <a:gd name="connsiteY14912" fmla="*/ 1250864 h 6557032"/>
              <a:gd name="connsiteX14913" fmla="*/ 384479 w 4610101"/>
              <a:gd name="connsiteY14913" fmla="*/ 1256330 h 6557032"/>
              <a:gd name="connsiteX14914" fmla="*/ 368079 w 4610101"/>
              <a:gd name="connsiteY14914" fmla="*/ 1249042 h 6557032"/>
              <a:gd name="connsiteX14915" fmla="*/ 361018 w 4610101"/>
              <a:gd name="connsiteY14915" fmla="*/ 1246536 h 6557032"/>
              <a:gd name="connsiteX14916" fmla="*/ 3502219 w 4610101"/>
              <a:gd name="connsiteY14916" fmla="*/ 1245397 h 6557032"/>
              <a:gd name="connsiteX14917" fmla="*/ 3514974 w 4610101"/>
              <a:gd name="connsiteY14917" fmla="*/ 1265441 h 6557032"/>
              <a:gd name="connsiteX14918" fmla="*/ 3504041 w 4610101"/>
              <a:gd name="connsiteY14918" fmla="*/ 1270908 h 6557032"/>
              <a:gd name="connsiteX14919" fmla="*/ 3507685 w 4610101"/>
              <a:gd name="connsiteY14919" fmla="*/ 1263619 h 6557032"/>
              <a:gd name="connsiteX14920" fmla="*/ 3493108 w 4610101"/>
              <a:gd name="connsiteY14920" fmla="*/ 1269085 h 6557032"/>
              <a:gd name="connsiteX14921" fmla="*/ 3493108 w 4610101"/>
              <a:gd name="connsiteY14921" fmla="*/ 1265441 h 6557032"/>
              <a:gd name="connsiteX14922" fmla="*/ 3485819 w 4610101"/>
              <a:gd name="connsiteY14922" fmla="*/ 1270908 h 6557032"/>
              <a:gd name="connsiteX14923" fmla="*/ 3489463 w 4610101"/>
              <a:gd name="connsiteY14923" fmla="*/ 1270908 h 6557032"/>
              <a:gd name="connsiteX14924" fmla="*/ 3500397 w 4610101"/>
              <a:gd name="connsiteY14924" fmla="*/ 1283663 h 6557032"/>
              <a:gd name="connsiteX14925" fmla="*/ 3493108 w 4610101"/>
              <a:gd name="connsiteY14925" fmla="*/ 1298240 h 6557032"/>
              <a:gd name="connsiteX14926" fmla="*/ 3485819 w 4610101"/>
              <a:gd name="connsiteY14926" fmla="*/ 1287307 h 6557032"/>
              <a:gd name="connsiteX14927" fmla="*/ 3463953 w 4610101"/>
              <a:gd name="connsiteY14927" fmla="*/ 1285485 h 6557032"/>
              <a:gd name="connsiteX14928" fmla="*/ 3461290 w 4610101"/>
              <a:gd name="connsiteY14928" fmla="*/ 1287307 h 6557032"/>
              <a:gd name="connsiteX14929" fmla="*/ 3460309 w 4610101"/>
              <a:gd name="connsiteY14929" fmla="*/ 1287307 h 6557032"/>
              <a:gd name="connsiteX14930" fmla="*/ 3467597 w 4610101"/>
              <a:gd name="connsiteY14930" fmla="*/ 1256330 h 6557032"/>
              <a:gd name="connsiteX14931" fmla="*/ 3480353 w 4610101"/>
              <a:gd name="connsiteY14931" fmla="*/ 1267263 h 6557032"/>
              <a:gd name="connsiteX14932" fmla="*/ 3502219 w 4610101"/>
              <a:gd name="connsiteY14932" fmla="*/ 1245397 h 6557032"/>
              <a:gd name="connsiteX14933" fmla="*/ 3408149 w 4610101"/>
              <a:gd name="connsiteY14933" fmla="*/ 1245397 h 6557032"/>
              <a:gd name="connsiteX14934" fmla="*/ 3403821 w 4610101"/>
              <a:gd name="connsiteY14934" fmla="*/ 1247219 h 6557032"/>
              <a:gd name="connsiteX14935" fmla="*/ 3411110 w 4610101"/>
              <a:gd name="connsiteY14935" fmla="*/ 1249042 h 6557032"/>
              <a:gd name="connsiteX14936" fmla="*/ 3408149 w 4610101"/>
              <a:gd name="connsiteY14936" fmla="*/ 1245397 h 6557032"/>
              <a:gd name="connsiteX14937" fmla="*/ 3022987 w 4610101"/>
              <a:gd name="connsiteY14937" fmla="*/ 1245397 h 6557032"/>
              <a:gd name="connsiteX14938" fmla="*/ 3012054 w 4610101"/>
              <a:gd name="connsiteY14938" fmla="*/ 1252686 h 6557032"/>
              <a:gd name="connsiteX14939" fmla="*/ 3022987 w 4610101"/>
              <a:gd name="connsiteY14939" fmla="*/ 1245397 h 6557032"/>
              <a:gd name="connsiteX14940" fmla="*/ 566697 w 4610101"/>
              <a:gd name="connsiteY14940" fmla="*/ 1245397 h 6557032"/>
              <a:gd name="connsiteX14941" fmla="*/ 555763 w 4610101"/>
              <a:gd name="connsiteY14941" fmla="*/ 1265441 h 6557032"/>
              <a:gd name="connsiteX14942" fmla="*/ 579452 w 4610101"/>
              <a:gd name="connsiteY14942" fmla="*/ 1263619 h 6557032"/>
              <a:gd name="connsiteX14943" fmla="*/ 566697 w 4610101"/>
              <a:gd name="connsiteY14943" fmla="*/ 1245397 h 6557032"/>
              <a:gd name="connsiteX14944" fmla="*/ 311592 w 4610101"/>
              <a:gd name="connsiteY14944" fmla="*/ 1245397 h 6557032"/>
              <a:gd name="connsiteX14945" fmla="*/ 307948 w 4610101"/>
              <a:gd name="connsiteY14945" fmla="*/ 1247219 h 6557032"/>
              <a:gd name="connsiteX14946" fmla="*/ 311592 w 4610101"/>
              <a:gd name="connsiteY14946" fmla="*/ 1245397 h 6557032"/>
              <a:gd name="connsiteX14947" fmla="*/ 158529 w 4610101"/>
              <a:gd name="connsiteY14947" fmla="*/ 1243617 h 6557032"/>
              <a:gd name="connsiteX14948" fmla="*/ 184041 w 4610101"/>
              <a:gd name="connsiteY14948" fmla="*/ 1267306 h 6557032"/>
              <a:gd name="connsiteX14949" fmla="*/ 151241 w 4610101"/>
              <a:gd name="connsiteY14949" fmla="*/ 1250906 h 6557032"/>
              <a:gd name="connsiteX14950" fmla="*/ 158529 w 4610101"/>
              <a:gd name="connsiteY14950" fmla="*/ 1247261 h 6557032"/>
              <a:gd name="connsiteX14951" fmla="*/ 3028453 w 4610101"/>
              <a:gd name="connsiteY14951" fmla="*/ 1243575 h 6557032"/>
              <a:gd name="connsiteX14952" fmla="*/ 3024809 w 4610101"/>
              <a:gd name="connsiteY14952" fmla="*/ 1252686 h 6557032"/>
              <a:gd name="connsiteX14953" fmla="*/ 3033920 w 4610101"/>
              <a:gd name="connsiteY14953" fmla="*/ 1252686 h 6557032"/>
              <a:gd name="connsiteX14954" fmla="*/ 3028453 w 4610101"/>
              <a:gd name="connsiteY14954" fmla="*/ 1243575 h 6557032"/>
              <a:gd name="connsiteX14955" fmla="*/ 1310143 w 4610101"/>
              <a:gd name="connsiteY14955" fmla="*/ 1243575 h 6557032"/>
              <a:gd name="connsiteX14956" fmla="*/ 1299210 w 4610101"/>
              <a:gd name="connsiteY14956" fmla="*/ 1245397 h 6557032"/>
              <a:gd name="connsiteX14957" fmla="*/ 1311966 w 4610101"/>
              <a:gd name="connsiteY14957" fmla="*/ 1254508 h 6557032"/>
              <a:gd name="connsiteX14958" fmla="*/ 1311966 w 4610101"/>
              <a:gd name="connsiteY14958" fmla="*/ 1249042 h 6557032"/>
              <a:gd name="connsiteX14959" fmla="*/ 1315610 w 4610101"/>
              <a:gd name="connsiteY14959" fmla="*/ 1258152 h 6557032"/>
              <a:gd name="connsiteX14960" fmla="*/ 1324721 w 4610101"/>
              <a:gd name="connsiteY14960" fmla="*/ 1243575 h 6557032"/>
              <a:gd name="connsiteX14961" fmla="*/ 1310143 w 4610101"/>
              <a:gd name="connsiteY14961" fmla="*/ 1243575 h 6557032"/>
              <a:gd name="connsiteX14962" fmla="*/ 1020418 w 4610101"/>
              <a:gd name="connsiteY14962" fmla="*/ 1243575 h 6557032"/>
              <a:gd name="connsiteX14963" fmla="*/ 1018596 w 4610101"/>
              <a:gd name="connsiteY14963" fmla="*/ 1249042 h 6557032"/>
              <a:gd name="connsiteX14964" fmla="*/ 1025884 w 4610101"/>
              <a:gd name="connsiteY14964" fmla="*/ 1249042 h 6557032"/>
              <a:gd name="connsiteX14965" fmla="*/ 1020418 w 4610101"/>
              <a:gd name="connsiteY14965" fmla="*/ 1243575 h 6557032"/>
              <a:gd name="connsiteX14966" fmla="*/ 510209 w 4610101"/>
              <a:gd name="connsiteY14966" fmla="*/ 1243575 h 6557032"/>
              <a:gd name="connsiteX14967" fmla="*/ 508387 w 4610101"/>
              <a:gd name="connsiteY14967" fmla="*/ 1247220 h 6557032"/>
              <a:gd name="connsiteX14968" fmla="*/ 508387 w 4610101"/>
              <a:gd name="connsiteY14968" fmla="*/ 1247219 h 6557032"/>
              <a:gd name="connsiteX14969" fmla="*/ 506565 w 4610101"/>
              <a:gd name="connsiteY14969" fmla="*/ 1250864 h 6557032"/>
              <a:gd name="connsiteX14970" fmla="*/ 508387 w 4610101"/>
              <a:gd name="connsiteY14970" fmla="*/ 1247220 h 6557032"/>
              <a:gd name="connsiteX14971" fmla="*/ 508387 w 4610101"/>
              <a:gd name="connsiteY14971" fmla="*/ 1257014 h 6557032"/>
              <a:gd name="connsiteX14972" fmla="*/ 513853 w 4610101"/>
              <a:gd name="connsiteY14972" fmla="*/ 1259975 h 6557032"/>
              <a:gd name="connsiteX14973" fmla="*/ 517498 w 4610101"/>
              <a:gd name="connsiteY14973" fmla="*/ 1258152 h 6557032"/>
              <a:gd name="connsiteX14974" fmla="*/ 519092 w 4610101"/>
              <a:gd name="connsiteY14974" fmla="*/ 1264985 h 6557032"/>
              <a:gd name="connsiteX14975" fmla="*/ 519940 w 4610101"/>
              <a:gd name="connsiteY14975" fmla="*/ 1265596 h 6557032"/>
              <a:gd name="connsiteX14976" fmla="*/ 519320 w 4610101"/>
              <a:gd name="connsiteY14976" fmla="*/ 1265441 h 6557032"/>
              <a:gd name="connsiteX14977" fmla="*/ 522964 w 4610101"/>
              <a:gd name="connsiteY14977" fmla="*/ 1269085 h 6557032"/>
              <a:gd name="connsiteX14978" fmla="*/ 524040 w 4610101"/>
              <a:gd name="connsiteY14978" fmla="*/ 1268547 h 6557032"/>
              <a:gd name="connsiteX14979" fmla="*/ 524786 w 4610101"/>
              <a:gd name="connsiteY14979" fmla="*/ 1269085 h 6557032"/>
              <a:gd name="connsiteX14980" fmla="*/ 543008 w 4610101"/>
              <a:gd name="connsiteY14980" fmla="*/ 1267263 h 6557032"/>
              <a:gd name="connsiteX14981" fmla="*/ 532075 w 4610101"/>
              <a:gd name="connsiteY14981" fmla="*/ 1259975 h 6557032"/>
              <a:gd name="connsiteX14982" fmla="*/ 533897 w 4610101"/>
              <a:gd name="connsiteY14982" fmla="*/ 1258152 h 6557032"/>
              <a:gd name="connsiteX14983" fmla="*/ 522964 w 4610101"/>
              <a:gd name="connsiteY14983" fmla="*/ 1254508 h 6557032"/>
              <a:gd name="connsiteX14984" fmla="*/ 526609 w 4610101"/>
              <a:gd name="connsiteY14984" fmla="*/ 1258152 h 6557032"/>
              <a:gd name="connsiteX14985" fmla="*/ 519320 w 4610101"/>
              <a:gd name="connsiteY14985" fmla="*/ 1254508 h 6557032"/>
              <a:gd name="connsiteX14986" fmla="*/ 517498 w 4610101"/>
              <a:gd name="connsiteY14986" fmla="*/ 1256330 h 6557032"/>
              <a:gd name="connsiteX14987" fmla="*/ 510209 w 4610101"/>
              <a:gd name="connsiteY14987" fmla="*/ 1243575 h 6557032"/>
              <a:gd name="connsiteX14988" fmla="*/ 484700 w 4610101"/>
              <a:gd name="connsiteY14988" fmla="*/ 1243575 h 6557032"/>
              <a:gd name="connsiteX14989" fmla="*/ 488343 w 4610101"/>
              <a:gd name="connsiteY14989" fmla="*/ 1247219 h 6557032"/>
              <a:gd name="connsiteX14990" fmla="*/ 484700 w 4610101"/>
              <a:gd name="connsiteY14990" fmla="*/ 1243575 h 6557032"/>
              <a:gd name="connsiteX14991" fmla="*/ 399056 w 4610101"/>
              <a:gd name="connsiteY14991" fmla="*/ 1243575 h 6557032"/>
              <a:gd name="connsiteX14992" fmla="*/ 417278 w 4610101"/>
              <a:gd name="connsiteY14992" fmla="*/ 1243575 h 6557032"/>
              <a:gd name="connsiteX14993" fmla="*/ 399056 w 4610101"/>
              <a:gd name="connsiteY14993" fmla="*/ 1243575 h 6557032"/>
              <a:gd name="connsiteX14994" fmla="*/ 393590 w 4610101"/>
              <a:gd name="connsiteY14994" fmla="*/ 1243575 h 6557032"/>
              <a:gd name="connsiteX14995" fmla="*/ 389946 w 4610101"/>
              <a:gd name="connsiteY14995" fmla="*/ 1249042 h 6557032"/>
              <a:gd name="connsiteX14996" fmla="*/ 382657 w 4610101"/>
              <a:gd name="connsiteY14996" fmla="*/ 1250864 h 6557032"/>
              <a:gd name="connsiteX14997" fmla="*/ 388123 w 4610101"/>
              <a:gd name="connsiteY14997" fmla="*/ 1254508 h 6557032"/>
              <a:gd name="connsiteX14998" fmla="*/ 382657 w 4610101"/>
              <a:gd name="connsiteY14998" fmla="*/ 1250864 h 6557032"/>
              <a:gd name="connsiteX14999" fmla="*/ 389946 w 4610101"/>
              <a:gd name="connsiteY14999" fmla="*/ 1254508 h 6557032"/>
              <a:gd name="connsiteX15000" fmla="*/ 389946 w 4610101"/>
              <a:gd name="connsiteY15000" fmla="*/ 1249042 h 6557032"/>
              <a:gd name="connsiteX15001" fmla="*/ 395412 w 4610101"/>
              <a:gd name="connsiteY15001" fmla="*/ 1247219 h 6557032"/>
              <a:gd name="connsiteX15002" fmla="*/ 393590 w 4610101"/>
              <a:gd name="connsiteY15002" fmla="*/ 1243575 h 6557032"/>
              <a:gd name="connsiteX15003" fmla="*/ 273327 w 4610101"/>
              <a:gd name="connsiteY15003" fmla="*/ 1243575 h 6557032"/>
              <a:gd name="connsiteX15004" fmla="*/ 280615 w 4610101"/>
              <a:gd name="connsiteY15004" fmla="*/ 1247219 h 6557032"/>
              <a:gd name="connsiteX15005" fmla="*/ 273327 w 4610101"/>
              <a:gd name="connsiteY15005" fmla="*/ 1243575 h 6557032"/>
              <a:gd name="connsiteX15006" fmla="*/ 3036426 w 4610101"/>
              <a:gd name="connsiteY15006" fmla="*/ 1243120 h 6557032"/>
              <a:gd name="connsiteX15007" fmla="*/ 3032098 w 4610101"/>
              <a:gd name="connsiteY15007" fmla="*/ 1243575 h 6557032"/>
              <a:gd name="connsiteX15008" fmla="*/ 3033920 w 4610101"/>
              <a:gd name="connsiteY15008" fmla="*/ 1249042 h 6557032"/>
              <a:gd name="connsiteX15009" fmla="*/ 3039387 w 4610101"/>
              <a:gd name="connsiteY15009" fmla="*/ 1245397 h 6557032"/>
              <a:gd name="connsiteX15010" fmla="*/ 3036426 w 4610101"/>
              <a:gd name="connsiteY15010" fmla="*/ 1243120 h 6557032"/>
              <a:gd name="connsiteX15011" fmla="*/ 322297 w 4610101"/>
              <a:gd name="connsiteY15011" fmla="*/ 1242892 h 6557032"/>
              <a:gd name="connsiteX15012" fmla="*/ 315236 w 4610101"/>
              <a:gd name="connsiteY15012" fmla="*/ 1249042 h 6557032"/>
              <a:gd name="connsiteX15013" fmla="*/ 333458 w 4610101"/>
              <a:gd name="connsiteY15013" fmla="*/ 1249042 h 6557032"/>
              <a:gd name="connsiteX15014" fmla="*/ 322297 w 4610101"/>
              <a:gd name="connsiteY15014" fmla="*/ 1242892 h 6557032"/>
              <a:gd name="connsiteX15015" fmla="*/ 303165 w 4610101"/>
              <a:gd name="connsiteY15015" fmla="*/ 1242208 h 6557032"/>
              <a:gd name="connsiteX15016" fmla="*/ 298837 w 4610101"/>
              <a:gd name="connsiteY15016" fmla="*/ 1243575 h 6557032"/>
              <a:gd name="connsiteX15017" fmla="*/ 306126 w 4610101"/>
              <a:gd name="connsiteY15017" fmla="*/ 1243575 h 6557032"/>
              <a:gd name="connsiteX15018" fmla="*/ 303165 w 4610101"/>
              <a:gd name="connsiteY15018" fmla="*/ 1242208 h 6557032"/>
              <a:gd name="connsiteX15019" fmla="*/ 1257300 w 4610101"/>
              <a:gd name="connsiteY15019" fmla="*/ 1241753 h 6557032"/>
              <a:gd name="connsiteX15020" fmla="*/ 1255478 w 4610101"/>
              <a:gd name="connsiteY15020" fmla="*/ 1243575 h 6557032"/>
              <a:gd name="connsiteX15021" fmla="*/ 1264589 w 4610101"/>
              <a:gd name="connsiteY15021" fmla="*/ 1247219 h 6557032"/>
              <a:gd name="connsiteX15022" fmla="*/ 1262767 w 4610101"/>
              <a:gd name="connsiteY15022" fmla="*/ 1241753 h 6557032"/>
              <a:gd name="connsiteX15023" fmla="*/ 1257300 w 4610101"/>
              <a:gd name="connsiteY15023" fmla="*/ 1241753 h 6557032"/>
              <a:gd name="connsiteX15024" fmla="*/ 1142503 w 4610101"/>
              <a:gd name="connsiteY15024" fmla="*/ 1241753 h 6557032"/>
              <a:gd name="connsiteX15025" fmla="*/ 1142503 w 4610101"/>
              <a:gd name="connsiteY15025" fmla="*/ 1252686 h 6557032"/>
              <a:gd name="connsiteX15026" fmla="*/ 1146148 w 4610101"/>
              <a:gd name="connsiteY15026" fmla="*/ 1249042 h 6557032"/>
              <a:gd name="connsiteX15027" fmla="*/ 1142503 w 4610101"/>
              <a:gd name="connsiteY15027" fmla="*/ 1241753 h 6557032"/>
              <a:gd name="connsiteX15028" fmla="*/ 579452 w 4610101"/>
              <a:gd name="connsiteY15028" fmla="*/ 1241753 h 6557032"/>
              <a:gd name="connsiteX15029" fmla="*/ 581274 w 4610101"/>
              <a:gd name="connsiteY15029" fmla="*/ 1245397 h 6557032"/>
              <a:gd name="connsiteX15030" fmla="*/ 583096 w 4610101"/>
              <a:gd name="connsiteY15030" fmla="*/ 1241753 h 6557032"/>
              <a:gd name="connsiteX15031" fmla="*/ 579452 w 4610101"/>
              <a:gd name="connsiteY15031" fmla="*/ 1241753 h 6557032"/>
              <a:gd name="connsiteX15032" fmla="*/ 462832 w 4610101"/>
              <a:gd name="connsiteY15032" fmla="*/ 1241753 h 6557032"/>
              <a:gd name="connsiteX15033" fmla="*/ 451899 w 4610101"/>
              <a:gd name="connsiteY15033" fmla="*/ 1243575 h 6557032"/>
              <a:gd name="connsiteX15034" fmla="*/ 462832 w 4610101"/>
              <a:gd name="connsiteY15034" fmla="*/ 1241753 h 6557032"/>
              <a:gd name="connsiteX15035" fmla="*/ 125730 w 4610101"/>
              <a:gd name="connsiteY15035" fmla="*/ 1241753 h 6557032"/>
              <a:gd name="connsiteX15036" fmla="*/ 147165 w 4610101"/>
              <a:gd name="connsiteY15036" fmla="*/ 1258681 h 6557032"/>
              <a:gd name="connsiteX15037" fmla="*/ 147596 w 4610101"/>
              <a:gd name="connsiteY15037" fmla="*/ 1259975 h 6557032"/>
              <a:gd name="connsiteX15038" fmla="*/ 125730 w 4610101"/>
              <a:gd name="connsiteY15038" fmla="*/ 1241753 h 6557032"/>
              <a:gd name="connsiteX15039" fmla="*/ 1125872 w 4610101"/>
              <a:gd name="connsiteY15039" fmla="*/ 1241695 h 6557032"/>
              <a:gd name="connsiteX15040" fmla="*/ 1126104 w 4610101"/>
              <a:gd name="connsiteY15040" fmla="*/ 1241753 h 6557032"/>
              <a:gd name="connsiteX15041" fmla="*/ 1125834 w 4610101"/>
              <a:gd name="connsiteY15041" fmla="*/ 1242293 h 6557032"/>
              <a:gd name="connsiteX15042" fmla="*/ 2525533 w 4610101"/>
              <a:gd name="connsiteY15042" fmla="*/ 1240003 h 6557032"/>
              <a:gd name="connsiteX15043" fmla="*/ 2541933 w 4610101"/>
              <a:gd name="connsiteY15043" fmla="*/ 1254580 h 6557032"/>
              <a:gd name="connsiteX15044" fmla="*/ 2525533 w 4610101"/>
              <a:gd name="connsiteY15044" fmla="*/ 1256403 h 6557032"/>
              <a:gd name="connsiteX15045" fmla="*/ 3392888 w 4610101"/>
              <a:gd name="connsiteY15045" fmla="*/ 1239931 h 6557032"/>
              <a:gd name="connsiteX15046" fmla="*/ 3387422 w 4610101"/>
              <a:gd name="connsiteY15046" fmla="*/ 1245397 h 6557032"/>
              <a:gd name="connsiteX15047" fmla="*/ 3392888 w 4610101"/>
              <a:gd name="connsiteY15047" fmla="*/ 1245397 h 6557032"/>
              <a:gd name="connsiteX15048" fmla="*/ 3392888 w 4610101"/>
              <a:gd name="connsiteY15048" fmla="*/ 1239931 h 6557032"/>
              <a:gd name="connsiteX15049" fmla="*/ 3298135 w 4610101"/>
              <a:gd name="connsiteY15049" fmla="*/ 1239931 h 6557032"/>
              <a:gd name="connsiteX15050" fmla="*/ 3292669 w 4610101"/>
              <a:gd name="connsiteY15050" fmla="*/ 1250864 h 6557032"/>
              <a:gd name="connsiteX15051" fmla="*/ 3296313 w 4610101"/>
              <a:gd name="connsiteY15051" fmla="*/ 1252686 h 6557032"/>
              <a:gd name="connsiteX15052" fmla="*/ 3299957 w 4610101"/>
              <a:gd name="connsiteY15052" fmla="*/ 1274552 h 6557032"/>
              <a:gd name="connsiteX15053" fmla="*/ 3290847 w 4610101"/>
              <a:gd name="connsiteY15053" fmla="*/ 1278196 h 6557032"/>
              <a:gd name="connsiteX15054" fmla="*/ 3294491 w 4610101"/>
              <a:gd name="connsiteY15054" fmla="*/ 1285485 h 6557032"/>
              <a:gd name="connsiteX15055" fmla="*/ 3299957 w 4610101"/>
              <a:gd name="connsiteY15055" fmla="*/ 1281841 h 6557032"/>
              <a:gd name="connsiteX15056" fmla="*/ 3299957 w 4610101"/>
              <a:gd name="connsiteY15056" fmla="*/ 1274552 h 6557032"/>
              <a:gd name="connsiteX15057" fmla="*/ 3309068 w 4610101"/>
              <a:gd name="connsiteY15057" fmla="*/ 1289129 h 6557032"/>
              <a:gd name="connsiteX15058" fmla="*/ 3314535 w 4610101"/>
              <a:gd name="connsiteY15058" fmla="*/ 1280018 h 6557032"/>
              <a:gd name="connsiteX15059" fmla="*/ 3301780 w 4610101"/>
              <a:gd name="connsiteY15059" fmla="*/ 1249042 h 6557032"/>
              <a:gd name="connsiteX15060" fmla="*/ 3296313 w 4610101"/>
              <a:gd name="connsiteY15060" fmla="*/ 1250864 h 6557032"/>
              <a:gd name="connsiteX15061" fmla="*/ 3298135 w 4610101"/>
              <a:gd name="connsiteY15061" fmla="*/ 1239931 h 6557032"/>
              <a:gd name="connsiteX15062" fmla="*/ 3121384 w 4610101"/>
              <a:gd name="connsiteY15062" fmla="*/ 1239931 h 6557032"/>
              <a:gd name="connsiteX15063" fmla="*/ 3121384 w 4610101"/>
              <a:gd name="connsiteY15063" fmla="*/ 1245397 h 6557032"/>
              <a:gd name="connsiteX15064" fmla="*/ 3126851 w 4610101"/>
              <a:gd name="connsiteY15064" fmla="*/ 1256330 h 6557032"/>
              <a:gd name="connsiteX15065" fmla="*/ 3132317 w 4610101"/>
              <a:gd name="connsiteY15065" fmla="*/ 1254508 h 6557032"/>
              <a:gd name="connsiteX15066" fmla="*/ 3128673 w 4610101"/>
              <a:gd name="connsiteY15066" fmla="*/ 1243575 h 6557032"/>
              <a:gd name="connsiteX15067" fmla="*/ 3121384 w 4610101"/>
              <a:gd name="connsiteY15067" fmla="*/ 1239931 h 6557032"/>
              <a:gd name="connsiteX15068" fmla="*/ 1297388 w 4610101"/>
              <a:gd name="connsiteY15068" fmla="*/ 1239931 h 6557032"/>
              <a:gd name="connsiteX15069" fmla="*/ 1301033 w 4610101"/>
              <a:gd name="connsiteY15069" fmla="*/ 1243575 h 6557032"/>
              <a:gd name="connsiteX15070" fmla="*/ 1302855 w 4610101"/>
              <a:gd name="connsiteY15070" fmla="*/ 1241753 h 6557032"/>
              <a:gd name="connsiteX15071" fmla="*/ 1311966 w 4610101"/>
              <a:gd name="connsiteY15071" fmla="*/ 1241753 h 6557032"/>
              <a:gd name="connsiteX15072" fmla="*/ 1302855 w 4610101"/>
              <a:gd name="connsiteY15072" fmla="*/ 1239931 h 6557032"/>
              <a:gd name="connsiteX15073" fmla="*/ 1301033 w 4610101"/>
              <a:gd name="connsiteY15073" fmla="*/ 1241753 h 6557032"/>
              <a:gd name="connsiteX15074" fmla="*/ 1297388 w 4610101"/>
              <a:gd name="connsiteY15074" fmla="*/ 1239931 h 6557032"/>
              <a:gd name="connsiteX15075" fmla="*/ 1231790 w 4610101"/>
              <a:gd name="connsiteY15075" fmla="*/ 1239931 h 6557032"/>
              <a:gd name="connsiteX15076" fmla="*/ 1233612 w 4610101"/>
              <a:gd name="connsiteY15076" fmla="*/ 1245397 h 6557032"/>
              <a:gd name="connsiteX15077" fmla="*/ 1239080 w 4610101"/>
              <a:gd name="connsiteY15077" fmla="*/ 1245397 h 6557032"/>
              <a:gd name="connsiteX15078" fmla="*/ 1231790 w 4610101"/>
              <a:gd name="connsiteY15078" fmla="*/ 1239931 h 6557032"/>
              <a:gd name="connsiteX15079" fmla="*/ 1051395 w 4610101"/>
              <a:gd name="connsiteY15079" fmla="*/ 1239931 h 6557032"/>
              <a:gd name="connsiteX15080" fmla="*/ 1044106 w 4610101"/>
              <a:gd name="connsiteY15080" fmla="*/ 1243575 h 6557032"/>
              <a:gd name="connsiteX15081" fmla="*/ 1045929 w 4610101"/>
              <a:gd name="connsiteY15081" fmla="*/ 1247219 h 6557032"/>
              <a:gd name="connsiteX15082" fmla="*/ 1047750 w 4610101"/>
              <a:gd name="connsiteY15082" fmla="*/ 1245397 h 6557032"/>
              <a:gd name="connsiteX15083" fmla="*/ 1051395 w 4610101"/>
              <a:gd name="connsiteY15083" fmla="*/ 1249042 h 6557032"/>
              <a:gd name="connsiteX15084" fmla="*/ 1056861 w 4610101"/>
              <a:gd name="connsiteY15084" fmla="*/ 1245397 h 6557032"/>
              <a:gd name="connsiteX15085" fmla="*/ 1051395 w 4610101"/>
              <a:gd name="connsiteY15085" fmla="*/ 1239931 h 6557032"/>
              <a:gd name="connsiteX15086" fmla="*/ 1223590 w 4610101"/>
              <a:gd name="connsiteY15086" fmla="*/ 1238792 h 6557032"/>
              <a:gd name="connsiteX15087" fmla="*/ 1220858 w 4610101"/>
              <a:gd name="connsiteY15087" fmla="*/ 1239931 h 6557032"/>
              <a:gd name="connsiteX15088" fmla="*/ 1226323 w 4610101"/>
              <a:gd name="connsiteY15088" fmla="*/ 1241753 h 6557032"/>
              <a:gd name="connsiteX15089" fmla="*/ 1223590 w 4610101"/>
              <a:gd name="connsiteY15089" fmla="*/ 1238792 h 6557032"/>
              <a:gd name="connsiteX15090" fmla="*/ 1275522 w 4610101"/>
              <a:gd name="connsiteY15090" fmla="*/ 1238109 h 6557032"/>
              <a:gd name="connsiteX15091" fmla="*/ 1270056 w 4610101"/>
              <a:gd name="connsiteY15091" fmla="*/ 1241753 h 6557032"/>
              <a:gd name="connsiteX15092" fmla="*/ 1295566 w 4610101"/>
              <a:gd name="connsiteY15092" fmla="*/ 1245397 h 6557032"/>
              <a:gd name="connsiteX15093" fmla="*/ 1290100 w 4610101"/>
              <a:gd name="connsiteY15093" fmla="*/ 1252686 h 6557032"/>
              <a:gd name="connsiteX15094" fmla="*/ 1293744 w 4610101"/>
              <a:gd name="connsiteY15094" fmla="*/ 1254508 h 6557032"/>
              <a:gd name="connsiteX15095" fmla="*/ 1288277 w 4610101"/>
              <a:gd name="connsiteY15095" fmla="*/ 1256330 h 6557032"/>
              <a:gd name="connsiteX15096" fmla="*/ 1294656 w 4610101"/>
              <a:gd name="connsiteY15096" fmla="*/ 1259519 h 6557032"/>
              <a:gd name="connsiteX15097" fmla="*/ 1297388 w 4610101"/>
              <a:gd name="connsiteY15097" fmla="*/ 1259714 h 6557032"/>
              <a:gd name="connsiteX15098" fmla="*/ 1297388 w 4610101"/>
              <a:gd name="connsiteY15098" fmla="*/ 1261797 h 6557032"/>
              <a:gd name="connsiteX15099" fmla="*/ 1302855 w 4610101"/>
              <a:gd name="connsiteY15099" fmla="*/ 1265441 h 6557032"/>
              <a:gd name="connsiteX15100" fmla="*/ 1302855 w 4610101"/>
              <a:gd name="connsiteY15100" fmla="*/ 1259975 h 6557032"/>
              <a:gd name="connsiteX15101" fmla="*/ 1300867 w 4610101"/>
              <a:gd name="connsiteY15101" fmla="*/ 1259312 h 6557032"/>
              <a:gd name="connsiteX15102" fmla="*/ 1299210 w 4610101"/>
              <a:gd name="connsiteY15102" fmla="*/ 1252686 h 6557032"/>
              <a:gd name="connsiteX15103" fmla="*/ 1295566 w 4610101"/>
              <a:gd name="connsiteY15103" fmla="*/ 1254508 h 6557032"/>
              <a:gd name="connsiteX15104" fmla="*/ 1295566 w 4610101"/>
              <a:gd name="connsiteY15104" fmla="*/ 1245397 h 6557032"/>
              <a:gd name="connsiteX15105" fmla="*/ 1277344 w 4610101"/>
              <a:gd name="connsiteY15105" fmla="*/ 1243575 h 6557032"/>
              <a:gd name="connsiteX15106" fmla="*/ 1280989 w 4610101"/>
              <a:gd name="connsiteY15106" fmla="*/ 1239931 h 6557032"/>
              <a:gd name="connsiteX15107" fmla="*/ 1275522 w 4610101"/>
              <a:gd name="connsiteY15107" fmla="*/ 1238109 h 6557032"/>
              <a:gd name="connsiteX15108" fmla="*/ 2133766 w 4610101"/>
              <a:gd name="connsiteY15108" fmla="*/ 1238108 h 6557032"/>
              <a:gd name="connsiteX15109" fmla="*/ 2130122 w 4610101"/>
              <a:gd name="connsiteY15109" fmla="*/ 1243575 h 6557032"/>
              <a:gd name="connsiteX15110" fmla="*/ 2133766 w 4610101"/>
              <a:gd name="connsiteY15110" fmla="*/ 1241753 h 6557032"/>
              <a:gd name="connsiteX15111" fmla="*/ 1244545 w 4610101"/>
              <a:gd name="connsiteY15111" fmla="*/ 1238108 h 6557032"/>
              <a:gd name="connsiteX15112" fmla="*/ 1242723 w 4610101"/>
              <a:gd name="connsiteY15112" fmla="*/ 1243575 h 6557032"/>
              <a:gd name="connsiteX15113" fmla="*/ 1246367 w 4610101"/>
              <a:gd name="connsiteY15113" fmla="*/ 1239931 h 6557032"/>
              <a:gd name="connsiteX15114" fmla="*/ 1244545 w 4610101"/>
              <a:gd name="connsiteY15114" fmla="*/ 1238108 h 6557032"/>
              <a:gd name="connsiteX15115" fmla="*/ 544603 w 4610101"/>
              <a:gd name="connsiteY15115" fmla="*/ 1237653 h 6557032"/>
              <a:gd name="connsiteX15116" fmla="*/ 541495 w 4610101"/>
              <a:gd name="connsiteY15116" fmla="*/ 1239004 h 6557032"/>
              <a:gd name="connsiteX15117" fmla="*/ 539364 w 4610101"/>
              <a:gd name="connsiteY15117" fmla="*/ 1239931 h 6557032"/>
              <a:gd name="connsiteX15118" fmla="*/ 537542 w 4610101"/>
              <a:gd name="connsiteY15118" fmla="*/ 1245397 h 6557032"/>
              <a:gd name="connsiteX15119" fmla="*/ 548475 w 4610101"/>
              <a:gd name="connsiteY15119" fmla="*/ 1238108 h 6557032"/>
              <a:gd name="connsiteX15120" fmla="*/ 544603 w 4610101"/>
              <a:gd name="connsiteY15120" fmla="*/ 1237653 h 6557032"/>
              <a:gd name="connsiteX15121" fmla="*/ 579451 w 4610101"/>
              <a:gd name="connsiteY15121" fmla="*/ 1236741 h 6557032"/>
              <a:gd name="connsiteX15122" fmla="*/ 573985 w 4610101"/>
              <a:gd name="connsiteY15122" fmla="*/ 1238108 h 6557032"/>
              <a:gd name="connsiteX15123" fmla="*/ 575808 w 4610101"/>
              <a:gd name="connsiteY15123" fmla="*/ 1241753 h 6557032"/>
              <a:gd name="connsiteX15124" fmla="*/ 584919 w 4610101"/>
              <a:gd name="connsiteY15124" fmla="*/ 1238108 h 6557032"/>
              <a:gd name="connsiteX15125" fmla="*/ 579451 w 4610101"/>
              <a:gd name="connsiteY15125" fmla="*/ 1236741 h 6557032"/>
              <a:gd name="connsiteX15126" fmla="*/ 3115918 w 4610101"/>
              <a:gd name="connsiteY15126" fmla="*/ 1236286 h 6557032"/>
              <a:gd name="connsiteX15127" fmla="*/ 3114096 w 4610101"/>
              <a:gd name="connsiteY15127" fmla="*/ 1238108 h 6557032"/>
              <a:gd name="connsiteX15128" fmla="*/ 3108629 w 4610101"/>
              <a:gd name="connsiteY15128" fmla="*/ 1239931 h 6557032"/>
              <a:gd name="connsiteX15129" fmla="*/ 3115918 w 4610101"/>
              <a:gd name="connsiteY15129" fmla="*/ 1241753 h 6557032"/>
              <a:gd name="connsiteX15130" fmla="*/ 3115918 w 4610101"/>
              <a:gd name="connsiteY15130" fmla="*/ 1236286 h 6557032"/>
              <a:gd name="connsiteX15131" fmla="*/ 1328365 w 4610101"/>
              <a:gd name="connsiteY15131" fmla="*/ 1236286 h 6557032"/>
              <a:gd name="connsiteX15132" fmla="*/ 1328365 w 4610101"/>
              <a:gd name="connsiteY15132" fmla="*/ 1241753 h 6557032"/>
              <a:gd name="connsiteX15133" fmla="*/ 1328365 w 4610101"/>
              <a:gd name="connsiteY15133" fmla="*/ 1236286 h 6557032"/>
              <a:gd name="connsiteX15134" fmla="*/ 1253656 w 4610101"/>
              <a:gd name="connsiteY15134" fmla="*/ 1236286 h 6557032"/>
              <a:gd name="connsiteX15135" fmla="*/ 1251834 w 4610101"/>
              <a:gd name="connsiteY15135" fmla="*/ 1239931 h 6557032"/>
              <a:gd name="connsiteX15136" fmla="*/ 1253656 w 4610101"/>
              <a:gd name="connsiteY15136" fmla="*/ 1236286 h 6557032"/>
              <a:gd name="connsiteX15137" fmla="*/ 1100593 w 4610101"/>
              <a:gd name="connsiteY15137" fmla="*/ 1236286 h 6557032"/>
              <a:gd name="connsiteX15138" fmla="*/ 1095127 w 4610101"/>
              <a:gd name="connsiteY15138" fmla="*/ 1243575 h 6557032"/>
              <a:gd name="connsiteX15139" fmla="*/ 1111526 w 4610101"/>
              <a:gd name="connsiteY15139" fmla="*/ 1249042 h 6557032"/>
              <a:gd name="connsiteX15140" fmla="*/ 1100593 w 4610101"/>
              <a:gd name="connsiteY15140" fmla="*/ 1236286 h 6557032"/>
              <a:gd name="connsiteX15141" fmla="*/ 1045929 w 4610101"/>
              <a:gd name="connsiteY15141" fmla="*/ 1236286 h 6557032"/>
              <a:gd name="connsiteX15142" fmla="*/ 1042284 w 4610101"/>
              <a:gd name="connsiteY15142" fmla="*/ 1243575 h 6557032"/>
              <a:gd name="connsiteX15143" fmla="*/ 1049573 w 4610101"/>
              <a:gd name="connsiteY15143" fmla="*/ 1239931 h 6557032"/>
              <a:gd name="connsiteX15144" fmla="*/ 1045929 w 4610101"/>
              <a:gd name="connsiteY15144" fmla="*/ 1236286 h 6557032"/>
              <a:gd name="connsiteX15145" fmla="*/ 572163 w 4610101"/>
              <a:gd name="connsiteY15145" fmla="*/ 1236286 h 6557032"/>
              <a:gd name="connsiteX15146" fmla="*/ 568519 w 4610101"/>
              <a:gd name="connsiteY15146" fmla="*/ 1238108 h 6557032"/>
              <a:gd name="connsiteX15147" fmla="*/ 573985 w 4610101"/>
              <a:gd name="connsiteY15147" fmla="*/ 1249042 h 6557032"/>
              <a:gd name="connsiteX15148" fmla="*/ 572163 w 4610101"/>
              <a:gd name="connsiteY15148" fmla="*/ 1236286 h 6557032"/>
              <a:gd name="connsiteX15149" fmla="*/ 430262 w 4610101"/>
              <a:gd name="connsiteY15149" fmla="*/ 1235375 h 6557032"/>
              <a:gd name="connsiteX15150" fmla="*/ 424567 w 4610101"/>
              <a:gd name="connsiteY15150" fmla="*/ 1236286 h 6557032"/>
              <a:gd name="connsiteX15151" fmla="*/ 437322 w 4610101"/>
              <a:gd name="connsiteY15151" fmla="*/ 1239931 h 6557032"/>
              <a:gd name="connsiteX15152" fmla="*/ 430262 w 4610101"/>
              <a:gd name="connsiteY15152" fmla="*/ 1235375 h 6557032"/>
              <a:gd name="connsiteX15153" fmla="*/ 3405643 w 4610101"/>
              <a:gd name="connsiteY15153" fmla="*/ 1234893 h 6557032"/>
              <a:gd name="connsiteX15154" fmla="*/ 3405643 w 4610101"/>
              <a:gd name="connsiteY15154" fmla="*/ 1236286 h 6557032"/>
              <a:gd name="connsiteX15155" fmla="*/ 3400934 w 4610101"/>
              <a:gd name="connsiteY15155" fmla="*/ 1235837 h 6557032"/>
              <a:gd name="connsiteX15156" fmla="*/ 3403594 w 4610101"/>
              <a:gd name="connsiteY15156" fmla="*/ 1235375 h 6557032"/>
              <a:gd name="connsiteX15157" fmla="*/ 3307246 w 4610101"/>
              <a:gd name="connsiteY15157" fmla="*/ 1234464 h 6557032"/>
              <a:gd name="connsiteX15158" fmla="*/ 3305424 w 4610101"/>
              <a:gd name="connsiteY15158" fmla="*/ 1245397 h 6557032"/>
              <a:gd name="connsiteX15159" fmla="*/ 3314535 w 4610101"/>
              <a:gd name="connsiteY15159" fmla="*/ 1243575 h 6557032"/>
              <a:gd name="connsiteX15160" fmla="*/ 3307246 w 4610101"/>
              <a:gd name="connsiteY15160" fmla="*/ 1243575 h 6557032"/>
              <a:gd name="connsiteX15161" fmla="*/ 3307246 w 4610101"/>
              <a:gd name="connsiteY15161" fmla="*/ 1234464 h 6557032"/>
              <a:gd name="connsiteX15162" fmla="*/ 3137784 w 4610101"/>
              <a:gd name="connsiteY15162" fmla="*/ 1234464 h 6557032"/>
              <a:gd name="connsiteX15163" fmla="*/ 3134140 w 4610101"/>
              <a:gd name="connsiteY15163" fmla="*/ 1239931 h 6557032"/>
              <a:gd name="connsiteX15164" fmla="*/ 3139606 w 4610101"/>
              <a:gd name="connsiteY15164" fmla="*/ 1239931 h 6557032"/>
              <a:gd name="connsiteX15165" fmla="*/ 3137784 w 4610101"/>
              <a:gd name="connsiteY15165" fmla="*/ 1234464 h 6557032"/>
              <a:gd name="connsiteX15166" fmla="*/ 2117366 w 4610101"/>
              <a:gd name="connsiteY15166" fmla="*/ 1234464 h 6557032"/>
              <a:gd name="connsiteX15167" fmla="*/ 2126477 w 4610101"/>
              <a:gd name="connsiteY15167" fmla="*/ 1245397 h 6557032"/>
              <a:gd name="connsiteX15168" fmla="*/ 2117366 w 4610101"/>
              <a:gd name="connsiteY15168" fmla="*/ 1234464 h 6557032"/>
              <a:gd name="connsiteX15169" fmla="*/ 1321077 w 4610101"/>
              <a:gd name="connsiteY15169" fmla="*/ 1234464 h 6557032"/>
              <a:gd name="connsiteX15170" fmla="*/ 1324721 w 4610101"/>
              <a:gd name="connsiteY15170" fmla="*/ 1241753 h 6557032"/>
              <a:gd name="connsiteX15171" fmla="*/ 1321077 w 4610101"/>
              <a:gd name="connsiteY15171" fmla="*/ 1234464 h 6557032"/>
              <a:gd name="connsiteX15172" fmla="*/ 1319254 w 4610101"/>
              <a:gd name="connsiteY15172" fmla="*/ 1234464 h 6557032"/>
              <a:gd name="connsiteX15173" fmla="*/ 1301033 w 4610101"/>
              <a:gd name="connsiteY15173" fmla="*/ 1238108 h 6557032"/>
              <a:gd name="connsiteX15174" fmla="*/ 1311966 w 4610101"/>
              <a:gd name="connsiteY15174" fmla="*/ 1239931 h 6557032"/>
              <a:gd name="connsiteX15175" fmla="*/ 1313788 w 4610101"/>
              <a:gd name="connsiteY15175" fmla="*/ 1238108 h 6557032"/>
              <a:gd name="connsiteX15176" fmla="*/ 1315610 w 4610101"/>
              <a:gd name="connsiteY15176" fmla="*/ 1241753 h 6557032"/>
              <a:gd name="connsiteX15177" fmla="*/ 1321077 w 4610101"/>
              <a:gd name="connsiteY15177" fmla="*/ 1239931 h 6557032"/>
              <a:gd name="connsiteX15178" fmla="*/ 1319254 w 4610101"/>
              <a:gd name="connsiteY15178" fmla="*/ 1234464 h 6557032"/>
              <a:gd name="connsiteX15179" fmla="*/ 1183112 w 4610101"/>
              <a:gd name="connsiteY15179" fmla="*/ 1234464 h 6557032"/>
              <a:gd name="connsiteX15180" fmla="*/ 1184414 w 4610101"/>
              <a:gd name="connsiteY15180" fmla="*/ 1234464 h 6557032"/>
              <a:gd name="connsiteX15181" fmla="*/ 1178719 w 4610101"/>
              <a:gd name="connsiteY15181" fmla="*/ 1246992 h 6557032"/>
              <a:gd name="connsiteX15182" fmla="*/ 1177125 w 4610101"/>
              <a:gd name="connsiteY15182" fmla="*/ 1249511 h 6557032"/>
              <a:gd name="connsiteX15183" fmla="*/ 1177125 w 4610101"/>
              <a:gd name="connsiteY15183" fmla="*/ 1247447 h 6557032"/>
              <a:gd name="connsiteX15184" fmla="*/ 1177125 w 4610101"/>
              <a:gd name="connsiteY15184" fmla="*/ 1245397 h 6557032"/>
              <a:gd name="connsiteX15185" fmla="*/ 1175081 w 4610101"/>
              <a:gd name="connsiteY15185" fmla="*/ 1246624 h 6557032"/>
              <a:gd name="connsiteX15186" fmla="*/ 1175303 w 4610101"/>
              <a:gd name="connsiteY15186" fmla="*/ 1245397 h 6557032"/>
              <a:gd name="connsiteX15187" fmla="*/ 1065972 w 4610101"/>
              <a:gd name="connsiteY15187" fmla="*/ 1234464 h 6557032"/>
              <a:gd name="connsiteX15188" fmla="*/ 1058683 w 4610101"/>
              <a:gd name="connsiteY15188" fmla="*/ 1243575 h 6557032"/>
              <a:gd name="connsiteX15189" fmla="*/ 1071439 w 4610101"/>
              <a:gd name="connsiteY15189" fmla="*/ 1256330 h 6557032"/>
              <a:gd name="connsiteX15190" fmla="*/ 1076905 w 4610101"/>
              <a:gd name="connsiteY15190" fmla="*/ 1252686 h 6557032"/>
              <a:gd name="connsiteX15191" fmla="*/ 1071439 w 4610101"/>
              <a:gd name="connsiteY15191" fmla="*/ 1243575 h 6557032"/>
              <a:gd name="connsiteX15192" fmla="*/ 1065972 w 4610101"/>
              <a:gd name="connsiteY15192" fmla="*/ 1234464 h 6557032"/>
              <a:gd name="connsiteX15193" fmla="*/ 557586 w 4610101"/>
              <a:gd name="connsiteY15193" fmla="*/ 1234464 h 6557032"/>
              <a:gd name="connsiteX15194" fmla="*/ 555763 w 4610101"/>
              <a:gd name="connsiteY15194" fmla="*/ 1236286 h 6557032"/>
              <a:gd name="connsiteX15195" fmla="*/ 533897 w 4610101"/>
              <a:gd name="connsiteY15195" fmla="*/ 1252686 h 6557032"/>
              <a:gd name="connsiteX15196" fmla="*/ 550297 w 4610101"/>
              <a:gd name="connsiteY15196" fmla="*/ 1252686 h 6557032"/>
              <a:gd name="connsiteX15197" fmla="*/ 557586 w 4610101"/>
              <a:gd name="connsiteY15197" fmla="*/ 1234464 h 6557032"/>
              <a:gd name="connsiteX15198" fmla="*/ 451899 w 4610101"/>
              <a:gd name="connsiteY15198" fmla="*/ 1234464 h 6557032"/>
              <a:gd name="connsiteX15199" fmla="*/ 450077 w 4610101"/>
              <a:gd name="connsiteY15199" fmla="*/ 1238108 h 6557032"/>
              <a:gd name="connsiteX15200" fmla="*/ 455544 w 4610101"/>
              <a:gd name="connsiteY15200" fmla="*/ 1238108 h 6557032"/>
              <a:gd name="connsiteX15201" fmla="*/ 451899 w 4610101"/>
              <a:gd name="connsiteY15201" fmla="*/ 1234464 h 6557032"/>
              <a:gd name="connsiteX15202" fmla="*/ 326169 w 4610101"/>
              <a:gd name="connsiteY15202" fmla="*/ 1234464 h 6557032"/>
              <a:gd name="connsiteX15203" fmla="*/ 322525 w 4610101"/>
              <a:gd name="connsiteY15203" fmla="*/ 1239931 h 6557032"/>
              <a:gd name="connsiteX15204" fmla="*/ 337102 w 4610101"/>
              <a:gd name="connsiteY15204" fmla="*/ 1245397 h 6557032"/>
              <a:gd name="connsiteX15205" fmla="*/ 335280 w 4610101"/>
              <a:gd name="connsiteY15205" fmla="*/ 1241753 h 6557032"/>
              <a:gd name="connsiteX15206" fmla="*/ 342569 w 4610101"/>
              <a:gd name="connsiteY15206" fmla="*/ 1241753 h 6557032"/>
              <a:gd name="connsiteX15207" fmla="*/ 326169 w 4610101"/>
              <a:gd name="connsiteY15207" fmla="*/ 1234464 h 6557032"/>
              <a:gd name="connsiteX15208" fmla="*/ 934775 w 4610101"/>
              <a:gd name="connsiteY15208" fmla="*/ 1233781 h 6557032"/>
              <a:gd name="connsiteX15209" fmla="*/ 929309 w 4610101"/>
              <a:gd name="connsiteY15209" fmla="*/ 1239931 h 6557032"/>
              <a:gd name="connsiteX15210" fmla="*/ 927487 w 4610101"/>
              <a:gd name="connsiteY15210" fmla="*/ 1236286 h 6557032"/>
              <a:gd name="connsiteX15211" fmla="*/ 922020 w 4610101"/>
              <a:gd name="connsiteY15211" fmla="*/ 1243575 h 6557032"/>
              <a:gd name="connsiteX15212" fmla="*/ 932953 w 4610101"/>
              <a:gd name="connsiteY15212" fmla="*/ 1239931 h 6557032"/>
              <a:gd name="connsiteX15213" fmla="*/ 940242 w 4610101"/>
              <a:gd name="connsiteY15213" fmla="*/ 1234464 h 6557032"/>
              <a:gd name="connsiteX15214" fmla="*/ 934775 w 4610101"/>
              <a:gd name="connsiteY15214" fmla="*/ 1233781 h 6557032"/>
              <a:gd name="connsiteX15215" fmla="*/ 3294491 w 4610101"/>
              <a:gd name="connsiteY15215" fmla="*/ 1232642 h 6557032"/>
              <a:gd name="connsiteX15216" fmla="*/ 3296313 w 4610101"/>
              <a:gd name="connsiteY15216" fmla="*/ 1238108 h 6557032"/>
              <a:gd name="connsiteX15217" fmla="*/ 3294491 w 4610101"/>
              <a:gd name="connsiteY15217" fmla="*/ 1232642 h 6557032"/>
              <a:gd name="connsiteX15218" fmla="*/ 3188805 w 4610101"/>
              <a:gd name="connsiteY15218" fmla="*/ 1232642 h 6557032"/>
              <a:gd name="connsiteX15219" fmla="*/ 3196093 w 4610101"/>
              <a:gd name="connsiteY15219" fmla="*/ 1239931 h 6557032"/>
              <a:gd name="connsiteX15220" fmla="*/ 3196093 w 4610101"/>
              <a:gd name="connsiteY15220" fmla="*/ 1232642 h 6557032"/>
              <a:gd name="connsiteX15221" fmla="*/ 3188805 w 4610101"/>
              <a:gd name="connsiteY15221" fmla="*/ 1232642 h 6557032"/>
              <a:gd name="connsiteX15222" fmla="*/ 3044853 w 4610101"/>
              <a:gd name="connsiteY15222" fmla="*/ 1232642 h 6557032"/>
              <a:gd name="connsiteX15223" fmla="*/ 3035742 w 4610101"/>
              <a:gd name="connsiteY15223" fmla="*/ 1234464 h 6557032"/>
              <a:gd name="connsiteX15224" fmla="*/ 3041209 w 4610101"/>
              <a:gd name="connsiteY15224" fmla="*/ 1239931 h 6557032"/>
              <a:gd name="connsiteX15225" fmla="*/ 3046675 w 4610101"/>
              <a:gd name="connsiteY15225" fmla="*/ 1236286 h 6557032"/>
              <a:gd name="connsiteX15226" fmla="*/ 3044853 w 4610101"/>
              <a:gd name="connsiteY15226" fmla="*/ 1232642 h 6557032"/>
              <a:gd name="connsiteX15227" fmla="*/ 1226323 w 4610101"/>
              <a:gd name="connsiteY15227" fmla="*/ 1232642 h 6557032"/>
              <a:gd name="connsiteX15228" fmla="*/ 1226323 w 4610101"/>
              <a:gd name="connsiteY15228" fmla="*/ 1236286 h 6557032"/>
              <a:gd name="connsiteX15229" fmla="*/ 1240901 w 4610101"/>
              <a:gd name="connsiteY15229" fmla="*/ 1239931 h 6557032"/>
              <a:gd name="connsiteX15230" fmla="*/ 1226323 w 4610101"/>
              <a:gd name="connsiteY15230" fmla="*/ 1232642 h 6557032"/>
              <a:gd name="connsiteX15231" fmla="*/ 1104238 w 4610101"/>
              <a:gd name="connsiteY15231" fmla="*/ 1232642 h 6557032"/>
              <a:gd name="connsiteX15232" fmla="*/ 1118815 w 4610101"/>
              <a:gd name="connsiteY15232" fmla="*/ 1249042 h 6557032"/>
              <a:gd name="connsiteX15233" fmla="*/ 1118815 w 4610101"/>
              <a:gd name="connsiteY15233" fmla="*/ 1247219 h 6557032"/>
              <a:gd name="connsiteX15234" fmla="*/ 1122459 w 4610101"/>
              <a:gd name="connsiteY15234" fmla="*/ 1249042 h 6557032"/>
              <a:gd name="connsiteX15235" fmla="*/ 1125834 w 4610101"/>
              <a:gd name="connsiteY15235" fmla="*/ 1242293 h 6557032"/>
              <a:gd name="connsiteX15236" fmla="*/ 1125648 w 4610101"/>
              <a:gd name="connsiteY15236" fmla="*/ 1245169 h 6557032"/>
              <a:gd name="connsiteX15237" fmla="*/ 1122459 w 4610101"/>
              <a:gd name="connsiteY15237" fmla="*/ 1250864 h 6557032"/>
              <a:gd name="connsiteX15238" fmla="*/ 1129748 w 4610101"/>
              <a:gd name="connsiteY15238" fmla="*/ 1254508 h 6557032"/>
              <a:gd name="connsiteX15239" fmla="*/ 1137037 w 4610101"/>
              <a:gd name="connsiteY15239" fmla="*/ 1241753 h 6557032"/>
              <a:gd name="connsiteX15240" fmla="*/ 1116993 w 4610101"/>
              <a:gd name="connsiteY15240" fmla="*/ 1232642 h 6557032"/>
              <a:gd name="connsiteX15241" fmla="*/ 1116993 w 4610101"/>
              <a:gd name="connsiteY15241" fmla="*/ 1236286 h 6557032"/>
              <a:gd name="connsiteX15242" fmla="*/ 1126104 w 4610101"/>
              <a:gd name="connsiteY15242" fmla="*/ 1238108 h 6557032"/>
              <a:gd name="connsiteX15243" fmla="*/ 1125872 w 4610101"/>
              <a:gd name="connsiteY15243" fmla="*/ 1241695 h 6557032"/>
              <a:gd name="connsiteX15244" fmla="*/ 1118815 w 4610101"/>
              <a:gd name="connsiteY15244" fmla="*/ 1239931 h 6557032"/>
              <a:gd name="connsiteX15245" fmla="*/ 1115171 w 4610101"/>
              <a:gd name="connsiteY15245" fmla="*/ 1232642 h 6557032"/>
              <a:gd name="connsiteX15246" fmla="*/ 1104238 w 4610101"/>
              <a:gd name="connsiteY15246" fmla="*/ 1232642 h 6557032"/>
              <a:gd name="connsiteX15247" fmla="*/ 1065972 w 4610101"/>
              <a:gd name="connsiteY15247" fmla="*/ 1232642 h 6557032"/>
              <a:gd name="connsiteX15248" fmla="*/ 1071439 w 4610101"/>
              <a:gd name="connsiteY15248" fmla="*/ 1238108 h 6557032"/>
              <a:gd name="connsiteX15249" fmla="*/ 1065972 w 4610101"/>
              <a:gd name="connsiteY15249" fmla="*/ 1232642 h 6557032"/>
              <a:gd name="connsiteX15250" fmla="*/ 396096 w 4610101"/>
              <a:gd name="connsiteY15250" fmla="*/ 1232414 h 6557032"/>
              <a:gd name="connsiteX15251" fmla="*/ 391768 w 4610101"/>
              <a:gd name="connsiteY15251" fmla="*/ 1234464 h 6557032"/>
              <a:gd name="connsiteX15252" fmla="*/ 409989 w 4610101"/>
              <a:gd name="connsiteY15252" fmla="*/ 1236286 h 6557032"/>
              <a:gd name="connsiteX15253" fmla="*/ 404523 w 4610101"/>
              <a:gd name="connsiteY15253" fmla="*/ 1234008 h 6557032"/>
              <a:gd name="connsiteX15254" fmla="*/ 399056 w 4610101"/>
              <a:gd name="connsiteY15254" fmla="*/ 1234464 h 6557032"/>
              <a:gd name="connsiteX15255" fmla="*/ 396096 w 4610101"/>
              <a:gd name="connsiteY15255" fmla="*/ 1232414 h 6557032"/>
              <a:gd name="connsiteX15256" fmla="*/ 1332693 w 4610101"/>
              <a:gd name="connsiteY15256" fmla="*/ 1232414 h 6557032"/>
              <a:gd name="connsiteX15257" fmla="*/ 1332009 w 4610101"/>
              <a:gd name="connsiteY15257" fmla="*/ 1239931 h 6557032"/>
              <a:gd name="connsiteX15258" fmla="*/ 1342942 w 4610101"/>
              <a:gd name="connsiteY15258" fmla="*/ 1234464 h 6557032"/>
              <a:gd name="connsiteX15259" fmla="*/ 1332693 w 4610101"/>
              <a:gd name="connsiteY15259" fmla="*/ 1232414 h 6557032"/>
              <a:gd name="connsiteX15260" fmla="*/ 456911 w 4610101"/>
              <a:gd name="connsiteY15260" fmla="*/ 1231275 h 6557032"/>
              <a:gd name="connsiteX15261" fmla="*/ 453722 w 4610101"/>
              <a:gd name="connsiteY15261" fmla="*/ 1232642 h 6557032"/>
              <a:gd name="connsiteX15262" fmla="*/ 462832 w 4610101"/>
              <a:gd name="connsiteY15262" fmla="*/ 1232642 h 6557032"/>
              <a:gd name="connsiteX15263" fmla="*/ 456911 w 4610101"/>
              <a:gd name="connsiteY15263" fmla="*/ 1231275 h 6557032"/>
              <a:gd name="connsiteX15264" fmla="*/ 2133766 w 4610101"/>
              <a:gd name="connsiteY15264" fmla="*/ 1230820 h 6557032"/>
              <a:gd name="connsiteX15265" fmla="*/ 2130122 w 4610101"/>
              <a:gd name="connsiteY15265" fmla="*/ 1232642 h 6557032"/>
              <a:gd name="connsiteX15266" fmla="*/ 2133766 w 4610101"/>
              <a:gd name="connsiteY15266" fmla="*/ 1234464 h 6557032"/>
              <a:gd name="connsiteX15267" fmla="*/ 1339299 w 4610101"/>
              <a:gd name="connsiteY15267" fmla="*/ 1230820 h 6557032"/>
              <a:gd name="connsiteX15268" fmla="*/ 1346587 w 4610101"/>
              <a:gd name="connsiteY15268" fmla="*/ 1232642 h 6557032"/>
              <a:gd name="connsiteX15269" fmla="*/ 1346587 w 4610101"/>
              <a:gd name="connsiteY15269" fmla="*/ 1230820 h 6557032"/>
              <a:gd name="connsiteX15270" fmla="*/ 1339299 w 4610101"/>
              <a:gd name="connsiteY15270" fmla="*/ 1230820 h 6557032"/>
              <a:gd name="connsiteX15271" fmla="*/ 1328365 w 4610101"/>
              <a:gd name="connsiteY15271" fmla="*/ 1230820 h 6557032"/>
              <a:gd name="connsiteX15272" fmla="*/ 1326543 w 4610101"/>
              <a:gd name="connsiteY15272" fmla="*/ 1232642 h 6557032"/>
              <a:gd name="connsiteX15273" fmla="*/ 1328365 w 4610101"/>
              <a:gd name="connsiteY15273" fmla="*/ 1234464 h 6557032"/>
              <a:gd name="connsiteX15274" fmla="*/ 1332009 w 4610101"/>
              <a:gd name="connsiteY15274" fmla="*/ 1230820 h 6557032"/>
              <a:gd name="connsiteX15275" fmla="*/ 1328365 w 4610101"/>
              <a:gd name="connsiteY15275" fmla="*/ 1230820 h 6557032"/>
              <a:gd name="connsiteX15276" fmla="*/ 1291922 w 4610101"/>
              <a:gd name="connsiteY15276" fmla="*/ 1230820 h 6557032"/>
              <a:gd name="connsiteX15277" fmla="*/ 1279166 w 4610101"/>
              <a:gd name="connsiteY15277" fmla="*/ 1234464 h 6557032"/>
              <a:gd name="connsiteX15278" fmla="*/ 1291922 w 4610101"/>
              <a:gd name="connsiteY15278" fmla="*/ 1234464 h 6557032"/>
              <a:gd name="connsiteX15279" fmla="*/ 1291922 w 4610101"/>
              <a:gd name="connsiteY15279" fmla="*/ 1230820 h 6557032"/>
              <a:gd name="connsiteX15280" fmla="*/ 1273016 w 4610101"/>
              <a:gd name="connsiteY15280" fmla="*/ 1230820 h 6557032"/>
              <a:gd name="connsiteX15281" fmla="*/ 1268233 w 4610101"/>
              <a:gd name="connsiteY15281" fmla="*/ 1234464 h 6557032"/>
              <a:gd name="connsiteX15282" fmla="*/ 1279166 w 4610101"/>
              <a:gd name="connsiteY15282" fmla="*/ 1232642 h 6557032"/>
              <a:gd name="connsiteX15283" fmla="*/ 1273016 w 4610101"/>
              <a:gd name="connsiteY15283" fmla="*/ 1230820 h 6557032"/>
              <a:gd name="connsiteX15284" fmla="*/ 1169836 w 4610101"/>
              <a:gd name="connsiteY15284" fmla="*/ 1230820 h 6557032"/>
              <a:gd name="connsiteX15285" fmla="*/ 1166192 w 4610101"/>
              <a:gd name="connsiteY15285" fmla="*/ 1236286 h 6557032"/>
              <a:gd name="connsiteX15286" fmla="*/ 1168014 w 4610101"/>
              <a:gd name="connsiteY15286" fmla="*/ 1236286 h 6557032"/>
              <a:gd name="connsiteX15287" fmla="*/ 1164370 w 4610101"/>
              <a:gd name="connsiteY15287" fmla="*/ 1239931 h 6557032"/>
              <a:gd name="connsiteX15288" fmla="*/ 1173481 w 4610101"/>
              <a:gd name="connsiteY15288" fmla="*/ 1243575 h 6557032"/>
              <a:gd name="connsiteX15289" fmla="*/ 1168014 w 4610101"/>
              <a:gd name="connsiteY15289" fmla="*/ 1243575 h 6557032"/>
              <a:gd name="connsiteX15290" fmla="*/ 1168014 w 4610101"/>
              <a:gd name="connsiteY15290" fmla="*/ 1250864 h 6557032"/>
              <a:gd name="connsiteX15291" fmla="*/ 1175081 w 4610101"/>
              <a:gd name="connsiteY15291" fmla="*/ 1246624 h 6557032"/>
              <a:gd name="connsiteX15292" fmla="*/ 1174559 w 4610101"/>
              <a:gd name="connsiteY15292" fmla="*/ 1249488 h 6557032"/>
              <a:gd name="connsiteX15293" fmla="*/ 1166192 w 4610101"/>
              <a:gd name="connsiteY15293" fmla="*/ 1254508 h 6557032"/>
              <a:gd name="connsiteX15294" fmla="*/ 1171658 w 4610101"/>
              <a:gd name="connsiteY15294" fmla="*/ 1258152 h 6557032"/>
              <a:gd name="connsiteX15295" fmla="*/ 1173082 w 4610101"/>
              <a:gd name="connsiteY15295" fmla="*/ 1255900 h 6557032"/>
              <a:gd name="connsiteX15296" fmla="*/ 1169836 w 4610101"/>
              <a:gd name="connsiteY15296" fmla="*/ 1267263 h 6557032"/>
              <a:gd name="connsiteX15297" fmla="*/ 1206279 w 4610101"/>
              <a:gd name="connsiteY15297" fmla="*/ 1272730 h 6557032"/>
              <a:gd name="connsiteX15298" fmla="*/ 1202636 w 4610101"/>
              <a:gd name="connsiteY15298" fmla="*/ 1272730 h 6557032"/>
              <a:gd name="connsiteX15299" fmla="*/ 1200814 w 4610101"/>
              <a:gd name="connsiteY15299" fmla="*/ 1269085 h 6557032"/>
              <a:gd name="connsiteX15300" fmla="*/ 1202636 w 4610101"/>
              <a:gd name="connsiteY15300" fmla="*/ 1270908 h 6557032"/>
              <a:gd name="connsiteX15301" fmla="*/ 1202636 w 4610101"/>
              <a:gd name="connsiteY15301" fmla="*/ 1265441 h 6557032"/>
              <a:gd name="connsiteX15302" fmla="*/ 1208102 w 4610101"/>
              <a:gd name="connsiteY15302" fmla="*/ 1272730 h 6557032"/>
              <a:gd name="connsiteX15303" fmla="*/ 1215390 w 4610101"/>
              <a:gd name="connsiteY15303" fmla="*/ 1269085 h 6557032"/>
              <a:gd name="connsiteX15304" fmla="*/ 1209925 w 4610101"/>
              <a:gd name="connsiteY15304" fmla="*/ 1263619 h 6557032"/>
              <a:gd name="connsiteX15305" fmla="*/ 1219036 w 4610101"/>
              <a:gd name="connsiteY15305" fmla="*/ 1269085 h 6557032"/>
              <a:gd name="connsiteX15306" fmla="*/ 1222679 w 4610101"/>
              <a:gd name="connsiteY15306" fmla="*/ 1272958 h 6557032"/>
              <a:gd name="connsiteX15307" fmla="*/ 1225934 w 4610101"/>
              <a:gd name="connsiteY15307" fmla="*/ 1274829 h 6557032"/>
              <a:gd name="connsiteX15308" fmla="*/ 1224729 w 4610101"/>
              <a:gd name="connsiteY15308" fmla="*/ 1275691 h 6557032"/>
              <a:gd name="connsiteX15309" fmla="*/ 1224501 w 4610101"/>
              <a:gd name="connsiteY15309" fmla="*/ 1278196 h 6557032"/>
              <a:gd name="connsiteX15310" fmla="*/ 1219036 w 4610101"/>
              <a:gd name="connsiteY15310" fmla="*/ 1270908 h 6557032"/>
              <a:gd name="connsiteX15311" fmla="*/ 1200814 w 4610101"/>
              <a:gd name="connsiteY15311" fmla="*/ 1281841 h 6557032"/>
              <a:gd name="connsiteX15312" fmla="*/ 1215390 w 4610101"/>
              <a:gd name="connsiteY15312" fmla="*/ 1290951 h 6557032"/>
              <a:gd name="connsiteX15313" fmla="*/ 1213568 w 4610101"/>
              <a:gd name="connsiteY15313" fmla="*/ 1280018 h 6557032"/>
              <a:gd name="connsiteX15314" fmla="*/ 1222679 w 4610101"/>
              <a:gd name="connsiteY15314" fmla="*/ 1294596 h 6557032"/>
              <a:gd name="connsiteX15315" fmla="*/ 1228146 w 4610101"/>
              <a:gd name="connsiteY15315" fmla="*/ 1290951 h 6557032"/>
              <a:gd name="connsiteX15316" fmla="*/ 1224501 w 4610101"/>
              <a:gd name="connsiteY15316" fmla="*/ 1294596 h 6557032"/>
              <a:gd name="connsiteX15317" fmla="*/ 1229969 w 4610101"/>
              <a:gd name="connsiteY15317" fmla="*/ 1294596 h 6557032"/>
              <a:gd name="connsiteX15318" fmla="*/ 1228146 w 4610101"/>
              <a:gd name="connsiteY15318" fmla="*/ 1290951 h 6557032"/>
              <a:gd name="connsiteX15319" fmla="*/ 1224501 w 4610101"/>
              <a:gd name="connsiteY15319" fmla="*/ 1280018 h 6557032"/>
              <a:gd name="connsiteX15320" fmla="*/ 1229969 w 4610101"/>
              <a:gd name="connsiteY15320" fmla="*/ 1283663 h 6557032"/>
              <a:gd name="connsiteX15321" fmla="*/ 1233612 w 4610101"/>
              <a:gd name="connsiteY15321" fmla="*/ 1294596 h 6557032"/>
              <a:gd name="connsiteX15322" fmla="*/ 1239229 w 4610101"/>
              <a:gd name="connsiteY15322" fmla="*/ 1289878 h 6557032"/>
              <a:gd name="connsiteX15323" fmla="*/ 1240901 w 4610101"/>
              <a:gd name="connsiteY15323" fmla="*/ 1298240 h 6557032"/>
              <a:gd name="connsiteX15324" fmla="*/ 1242723 w 4610101"/>
              <a:gd name="connsiteY15324" fmla="*/ 1290951 h 6557032"/>
              <a:gd name="connsiteX15325" fmla="*/ 1242723 w 4610101"/>
              <a:gd name="connsiteY15325" fmla="*/ 1289129 h 6557032"/>
              <a:gd name="connsiteX15326" fmla="*/ 1239080 w 4610101"/>
              <a:gd name="connsiteY15326" fmla="*/ 1289129 h 6557032"/>
              <a:gd name="connsiteX15327" fmla="*/ 1239173 w 4610101"/>
              <a:gd name="connsiteY15327" fmla="*/ 1289602 h 6557032"/>
              <a:gd name="connsiteX15328" fmla="*/ 1235434 w 4610101"/>
              <a:gd name="connsiteY15328" fmla="*/ 1283663 h 6557032"/>
              <a:gd name="connsiteX15329" fmla="*/ 1235434 w 4610101"/>
              <a:gd name="connsiteY15329" fmla="*/ 1281841 h 6557032"/>
              <a:gd name="connsiteX15330" fmla="*/ 1228548 w 4610101"/>
              <a:gd name="connsiteY15330" fmla="*/ 1276332 h 6557032"/>
              <a:gd name="connsiteX15331" fmla="*/ 1231790 w 4610101"/>
              <a:gd name="connsiteY15331" fmla="*/ 1278196 h 6557032"/>
              <a:gd name="connsiteX15332" fmla="*/ 1237256 w 4610101"/>
              <a:gd name="connsiteY15332" fmla="*/ 1272730 h 6557032"/>
              <a:gd name="connsiteX15333" fmla="*/ 1237256 w 4610101"/>
              <a:gd name="connsiteY15333" fmla="*/ 1283663 h 6557032"/>
              <a:gd name="connsiteX15334" fmla="*/ 1237256 w 4610101"/>
              <a:gd name="connsiteY15334" fmla="*/ 1270908 h 6557032"/>
              <a:gd name="connsiteX15335" fmla="*/ 1237256 w 4610101"/>
              <a:gd name="connsiteY15335" fmla="*/ 1272730 h 6557032"/>
              <a:gd name="connsiteX15336" fmla="*/ 1231790 w 4610101"/>
              <a:gd name="connsiteY15336" fmla="*/ 1269085 h 6557032"/>
              <a:gd name="connsiteX15337" fmla="*/ 1235434 w 4610101"/>
              <a:gd name="connsiteY15337" fmla="*/ 1265441 h 6557032"/>
              <a:gd name="connsiteX15338" fmla="*/ 1219036 w 4610101"/>
              <a:gd name="connsiteY15338" fmla="*/ 1245397 h 6557032"/>
              <a:gd name="connsiteX15339" fmla="*/ 1222679 w 4610101"/>
              <a:gd name="connsiteY15339" fmla="*/ 1250864 h 6557032"/>
              <a:gd name="connsiteX15340" fmla="*/ 1222679 w 4610101"/>
              <a:gd name="connsiteY15340" fmla="*/ 1258152 h 6557032"/>
              <a:gd name="connsiteX15341" fmla="*/ 1215390 w 4610101"/>
              <a:gd name="connsiteY15341" fmla="*/ 1243575 h 6557032"/>
              <a:gd name="connsiteX15342" fmla="*/ 1202636 w 4610101"/>
              <a:gd name="connsiteY15342" fmla="*/ 1243575 h 6557032"/>
              <a:gd name="connsiteX15343" fmla="*/ 1208102 w 4610101"/>
              <a:gd name="connsiteY15343" fmla="*/ 1252686 h 6557032"/>
              <a:gd name="connsiteX15344" fmla="*/ 1198991 w 4610101"/>
              <a:gd name="connsiteY15344" fmla="*/ 1238108 h 6557032"/>
              <a:gd name="connsiteX15345" fmla="*/ 1184414 w 4610101"/>
              <a:gd name="connsiteY15345" fmla="*/ 1232642 h 6557032"/>
              <a:gd name="connsiteX15346" fmla="*/ 1183112 w 4610101"/>
              <a:gd name="connsiteY15346" fmla="*/ 1234464 h 6557032"/>
              <a:gd name="connsiteX15347" fmla="*/ 1173481 w 4610101"/>
              <a:gd name="connsiteY15347" fmla="*/ 1234464 h 6557032"/>
              <a:gd name="connsiteX15348" fmla="*/ 1169836 w 4610101"/>
              <a:gd name="connsiteY15348" fmla="*/ 1230820 h 6557032"/>
              <a:gd name="connsiteX15349" fmla="*/ 998552 w 4610101"/>
              <a:gd name="connsiteY15349" fmla="*/ 1230820 h 6557032"/>
              <a:gd name="connsiteX15350" fmla="*/ 989441 w 4610101"/>
              <a:gd name="connsiteY15350" fmla="*/ 1245397 h 6557032"/>
              <a:gd name="connsiteX15351" fmla="*/ 994907 w 4610101"/>
              <a:gd name="connsiteY15351" fmla="*/ 1243575 h 6557032"/>
              <a:gd name="connsiteX15352" fmla="*/ 993085 w 4610101"/>
              <a:gd name="connsiteY15352" fmla="*/ 1239931 h 6557032"/>
              <a:gd name="connsiteX15353" fmla="*/ 1004018 w 4610101"/>
              <a:gd name="connsiteY15353" fmla="*/ 1239931 h 6557032"/>
              <a:gd name="connsiteX15354" fmla="*/ 1004018 w 4610101"/>
              <a:gd name="connsiteY15354" fmla="*/ 1236286 h 6557032"/>
              <a:gd name="connsiteX15355" fmla="*/ 1011307 w 4610101"/>
              <a:gd name="connsiteY15355" fmla="*/ 1234464 h 6557032"/>
              <a:gd name="connsiteX15356" fmla="*/ 1007663 w 4610101"/>
              <a:gd name="connsiteY15356" fmla="*/ 1234464 h 6557032"/>
              <a:gd name="connsiteX15357" fmla="*/ 1004018 w 4610101"/>
              <a:gd name="connsiteY15357" fmla="*/ 1234464 h 6557032"/>
              <a:gd name="connsiteX15358" fmla="*/ 1007663 w 4610101"/>
              <a:gd name="connsiteY15358" fmla="*/ 1232642 h 6557032"/>
              <a:gd name="connsiteX15359" fmla="*/ 998552 w 4610101"/>
              <a:gd name="connsiteY15359" fmla="*/ 1230820 h 6557032"/>
              <a:gd name="connsiteX15360" fmla="*/ 920198 w 4610101"/>
              <a:gd name="connsiteY15360" fmla="*/ 1230820 h 6557032"/>
              <a:gd name="connsiteX15361" fmla="*/ 914732 w 4610101"/>
              <a:gd name="connsiteY15361" fmla="*/ 1236286 h 6557032"/>
              <a:gd name="connsiteX15362" fmla="*/ 920198 w 4610101"/>
              <a:gd name="connsiteY15362" fmla="*/ 1230820 h 6557032"/>
              <a:gd name="connsiteX15363" fmla="*/ 836378 w 4610101"/>
              <a:gd name="connsiteY15363" fmla="*/ 1230820 h 6557032"/>
              <a:gd name="connsiteX15364" fmla="*/ 836378 w 4610101"/>
              <a:gd name="connsiteY15364" fmla="*/ 1234464 h 6557032"/>
              <a:gd name="connsiteX15365" fmla="*/ 847311 w 4610101"/>
              <a:gd name="connsiteY15365" fmla="*/ 1238108 h 6557032"/>
              <a:gd name="connsiteX15366" fmla="*/ 836378 w 4610101"/>
              <a:gd name="connsiteY15366" fmla="*/ 1230820 h 6557032"/>
              <a:gd name="connsiteX15367" fmla="*/ 597673 w 4610101"/>
              <a:gd name="connsiteY15367" fmla="*/ 1230820 h 6557032"/>
              <a:gd name="connsiteX15368" fmla="*/ 581274 w 4610101"/>
              <a:gd name="connsiteY15368" fmla="*/ 1247219 h 6557032"/>
              <a:gd name="connsiteX15369" fmla="*/ 584919 w 4610101"/>
              <a:gd name="connsiteY15369" fmla="*/ 1252686 h 6557032"/>
              <a:gd name="connsiteX15370" fmla="*/ 575808 w 4610101"/>
              <a:gd name="connsiteY15370" fmla="*/ 1250864 h 6557032"/>
              <a:gd name="connsiteX15371" fmla="*/ 583096 w 4610101"/>
              <a:gd name="connsiteY15371" fmla="*/ 1261797 h 6557032"/>
              <a:gd name="connsiteX15372" fmla="*/ 597673 w 4610101"/>
              <a:gd name="connsiteY15372" fmla="*/ 1230820 h 6557032"/>
              <a:gd name="connsiteX15373" fmla="*/ 231416 w 4610101"/>
              <a:gd name="connsiteY15373" fmla="*/ 1230820 h 6557032"/>
              <a:gd name="connsiteX15374" fmla="*/ 239589 w 4610101"/>
              <a:gd name="connsiteY15374" fmla="*/ 1242261 h 6557032"/>
              <a:gd name="connsiteX15375" fmla="*/ 239389 w 4610101"/>
              <a:gd name="connsiteY15375" fmla="*/ 1242209 h 6557032"/>
              <a:gd name="connsiteX15376" fmla="*/ 231416 w 4610101"/>
              <a:gd name="connsiteY15376" fmla="*/ 1230820 h 6557032"/>
              <a:gd name="connsiteX15377" fmla="*/ 1160356 w 4610101"/>
              <a:gd name="connsiteY15377" fmla="*/ 1230750 h 6557032"/>
              <a:gd name="connsiteX15378" fmla="*/ 1160497 w 4610101"/>
              <a:gd name="connsiteY15378" fmla="*/ 1231275 h 6557032"/>
              <a:gd name="connsiteX15379" fmla="*/ 1157162 w 4610101"/>
              <a:gd name="connsiteY15379" fmla="*/ 1233306 h 6557032"/>
              <a:gd name="connsiteX15380" fmla="*/ 3405643 w 4610101"/>
              <a:gd name="connsiteY15380" fmla="*/ 1230684 h 6557032"/>
              <a:gd name="connsiteX15381" fmla="*/ 3407466 w 4610101"/>
              <a:gd name="connsiteY15381" fmla="*/ 1234464 h 6557032"/>
              <a:gd name="connsiteX15382" fmla="*/ 3405643 w 4610101"/>
              <a:gd name="connsiteY15382" fmla="*/ 1234893 h 6557032"/>
              <a:gd name="connsiteX15383" fmla="*/ 1358782 w 4610101"/>
              <a:gd name="connsiteY15383" fmla="*/ 1229558 h 6557032"/>
              <a:gd name="connsiteX15384" fmla="*/ 1359041 w 4610101"/>
              <a:gd name="connsiteY15384" fmla="*/ 1229660 h 6557032"/>
              <a:gd name="connsiteX15385" fmla="*/ 1357065 w 4610101"/>
              <a:gd name="connsiteY15385" fmla="*/ 1234008 h 6557032"/>
              <a:gd name="connsiteX15386" fmla="*/ 1352053 w 4610101"/>
              <a:gd name="connsiteY15386" fmla="*/ 1236286 h 6557032"/>
              <a:gd name="connsiteX15387" fmla="*/ 3405643 w 4610101"/>
              <a:gd name="connsiteY15387" fmla="*/ 1228998 h 6557032"/>
              <a:gd name="connsiteX15388" fmla="*/ 3405643 w 4610101"/>
              <a:gd name="connsiteY15388" fmla="*/ 1230684 h 6557032"/>
              <a:gd name="connsiteX15389" fmla="*/ 3405028 w 4610101"/>
              <a:gd name="connsiteY15389" fmla="*/ 1229408 h 6557032"/>
              <a:gd name="connsiteX15390" fmla="*/ 3207027 w 4610101"/>
              <a:gd name="connsiteY15390" fmla="*/ 1228998 h 6557032"/>
              <a:gd name="connsiteX15391" fmla="*/ 3197916 w 4610101"/>
              <a:gd name="connsiteY15391" fmla="*/ 1230820 h 6557032"/>
              <a:gd name="connsiteX15392" fmla="*/ 3205204 w 4610101"/>
              <a:gd name="connsiteY15392" fmla="*/ 1241753 h 6557032"/>
              <a:gd name="connsiteX15393" fmla="*/ 3199738 w 4610101"/>
              <a:gd name="connsiteY15393" fmla="*/ 1249042 h 6557032"/>
              <a:gd name="connsiteX15394" fmla="*/ 3207027 w 4610101"/>
              <a:gd name="connsiteY15394" fmla="*/ 1241753 h 6557032"/>
              <a:gd name="connsiteX15395" fmla="*/ 3214315 w 4610101"/>
              <a:gd name="connsiteY15395" fmla="*/ 1241753 h 6557032"/>
              <a:gd name="connsiteX15396" fmla="*/ 3214315 w 4610101"/>
              <a:gd name="connsiteY15396" fmla="*/ 1238108 h 6557032"/>
              <a:gd name="connsiteX15397" fmla="*/ 3207027 w 4610101"/>
              <a:gd name="connsiteY15397" fmla="*/ 1228998 h 6557032"/>
              <a:gd name="connsiteX15398" fmla="*/ 2173854 w 4610101"/>
              <a:gd name="connsiteY15398" fmla="*/ 1228998 h 6557032"/>
              <a:gd name="connsiteX15399" fmla="*/ 2168387 w 4610101"/>
              <a:gd name="connsiteY15399" fmla="*/ 1232642 h 6557032"/>
              <a:gd name="connsiteX15400" fmla="*/ 2173854 w 4610101"/>
              <a:gd name="connsiteY15400" fmla="*/ 1232642 h 6557032"/>
              <a:gd name="connsiteX15401" fmla="*/ 2173854 w 4610101"/>
              <a:gd name="connsiteY15401" fmla="*/ 1228998 h 6557032"/>
              <a:gd name="connsiteX15402" fmla="*/ 2106433 w 4610101"/>
              <a:gd name="connsiteY15402" fmla="*/ 1228998 h 6557032"/>
              <a:gd name="connsiteX15403" fmla="*/ 2097323 w 4610101"/>
              <a:gd name="connsiteY15403" fmla="*/ 1230820 h 6557032"/>
              <a:gd name="connsiteX15404" fmla="*/ 2099145 w 4610101"/>
              <a:gd name="connsiteY15404" fmla="*/ 1239931 h 6557032"/>
              <a:gd name="connsiteX15405" fmla="*/ 2099145 w 4610101"/>
              <a:gd name="connsiteY15405" fmla="*/ 1241753 h 6557032"/>
              <a:gd name="connsiteX15406" fmla="*/ 2106433 w 4610101"/>
              <a:gd name="connsiteY15406" fmla="*/ 1245397 h 6557032"/>
              <a:gd name="connsiteX15407" fmla="*/ 2111900 w 4610101"/>
              <a:gd name="connsiteY15407" fmla="*/ 1238108 h 6557032"/>
              <a:gd name="connsiteX15408" fmla="*/ 2106433 w 4610101"/>
              <a:gd name="connsiteY15408" fmla="*/ 1228998 h 6557032"/>
              <a:gd name="connsiteX15409" fmla="*/ 1319254 w 4610101"/>
              <a:gd name="connsiteY15409" fmla="*/ 1228998 h 6557032"/>
              <a:gd name="connsiteX15410" fmla="*/ 1324721 w 4610101"/>
              <a:gd name="connsiteY15410" fmla="*/ 1230820 h 6557032"/>
              <a:gd name="connsiteX15411" fmla="*/ 1319254 w 4610101"/>
              <a:gd name="connsiteY15411" fmla="*/ 1228998 h 6557032"/>
              <a:gd name="connsiteX15412" fmla="*/ 1313788 w 4610101"/>
              <a:gd name="connsiteY15412" fmla="*/ 1228998 h 6557032"/>
              <a:gd name="connsiteX15413" fmla="*/ 1293744 w 4610101"/>
              <a:gd name="connsiteY15413" fmla="*/ 1230820 h 6557032"/>
              <a:gd name="connsiteX15414" fmla="*/ 1297388 w 4610101"/>
              <a:gd name="connsiteY15414" fmla="*/ 1236286 h 6557032"/>
              <a:gd name="connsiteX15415" fmla="*/ 1313788 w 4610101"/>
              <a:gd name="connsiteY15415" fmla="*/ 1228998 h 6557032"/>
              <a:gd name="connsiteX15416" fmla="*/ 1277344 w 4610101"/>
              <a:gd name="connsiteY15416" fmla="*/ 1228998 h 6557032"/>
              <a:gd name="connsiteX15417" fmla="*/ 1290100 w 4610101"/>
              <a:gd name="connsiteY15417" fmla="*/ 1228998 h 6557032"/>
              <a:gd name="connsiteX15418" fmla="*/ 1277344 w 4610101"/>
              <a:gd name="connsiteY15418" fmla="*/ 1228998 h 6557032"/>
              <a:gd name="connsiteX15419" fmla="*/ 1233612 w 4610101"/>
              <a:gd name="connsiteY15419" fmla="*/ 1228998 h 6557032"/>
              <a:gd name="connsiteX15420" fmla="*/ 1242723 w 4610101"/>
              <a:gd name="connsiteY15420" fmla="*/ 1236286 h 6557032"/>
              <a:gd name="connsiteX15421" fmla="*/ 1250012 w 4610101"/>
              <a:gd name="connsiteY15421" fmla="*/ 1234464 h 6557032"/>
              <a:gd name="connsiteX15422" fmla="*/ 1233612 w 4610101"/>
              <a:gd name="connsiteY15422" fmla="*/ 1228998 h 6557032"/>
              <a:gd name="connsiteX15423" fmla="*/ 1206279 w 4610101"/>
              <a:gd name="connsiteY15423" fmla="*/ 1228998 h 6557032"/>
              <a:gd name="connsiteX15424" fmla="*/ 1213568 w 4610101"/>
              <a:gd name="connsiteY15424" fmla="*/ 1236286 h 6557032"/>
              <a:gd name="connsiteX15425" fmla="*/ 1206279 w 4610101"/>
              <a:gd name="connsiteY15425" fmla="*/ 1228998 h 6557032"/>
              <a:gd name="connsiteX15426" fmla="*/ 1091484 w 4610101"/>
              <a:gd name="connsiteY15426" fmla="*/ 1228998 h 6557032"/>
              <a:gd name="connsiteX15427" fmla="*/ 1089660 w 4610101"/>
              <a:gd name="connsiteY15427" fmla="*/ 1230820 h 6557032"/>
              <a:gd name="connsiteX15428" fmla="*/ 1093305 w 4610101"/>
              <a:gd name="connsiteY15428" fmla="*/ 1238108 h 6557032"/>
              <a:gd name="connsiteX15429" fmla="*/ 1091484 w 4610101"/>
              <a:gd name="connsiteY15429" fmla="*/ 1228998 h 6557032"/>
              <a:gd name="connsiteX15430" fmla="*/ 1073262 w 4610101"/>
              <a:gd name="connsiteY15430" fmla="*/ 1228998 h 6557032"/>
              <a:gd name="connsiteX15431" fmla="*/ 1078727 w 4610101"/>
              <a:gd name="connsiteY15431" fmla="*/ 1241753 h 6557032"/>
              <a:gd name="connsiteX15432" fmla="*/ 1082373 w 4610101"/>
              <a:gd name="connsiteY15432" fmla="*/ 1241753 h 6557032"/>
              <a:gd name="connsiteX15433" fmla="*/ 1078727 w 4610101"/>
              <a:gd name="connsiteY15433" fmla="*/ 1243575 h 6557032"/>
              <a:gd name="connsiteX15434" fmla="*/ 1080549 w 4610101"/>
              <a:gd name="connsiteY15434" fmla="*/ 1252686 h 6557032"/>
              <a:gd name="connsiteX15435" fmla="*/ 1082373 w 4610101"/>
              <a:gd name="connsiteY15435" fmla="*/ 1247219 h 6557032"/>
              <a:gd name="connsiteX15436" fmla="*/ 1082373 w 4610101"/>
              <a:gd name="connsiteY15436" fmla="*/ 1250864 h 6557032"/>
              <a:gd name="connsiteX15437" fmla="*/ 1073262 w 4610101"/>
              <a:gd name="connsiteY15437" fmla="*/ 1228998 h 6557032"/>
              <a:gd name="connsiteX15438" fmla="*/ 854600 w 4610101"/>
              <a:gd name="connsiteY15438" fmla="*/ 1228998 h 6557032"/>
              <a:gd name="connsiteX15439" fmla="*/ 850956 w 4610101"/>
              <a:gd name="connsiteY15439" fmla="*/ 1230820 h 6557032"/>
              <a:gd name="connsiteX15440" fmla="*/ 854600 w 4610101"/>
              <a:gd name="connsiteY15440" fmla="*/ 1232642 h 6557032"/>
              <a:gd name="connsiteX15441" fmla="*/ 854600 w 4610101"/>
              <a:gd name="connsiteY15441" fmla="*/ 1228998 h 6557032"/>
              <a:gd name="connsiteX15442" fmla="*/ 543008 w 4610101"/>
              <a:gd name="connsiteY15442" fmla="*/ 1228998 h 6557032"/>
              <a:gd name="connsiteX15443" fmla="*/ 522964 w 4610101"/>
              <a:gd name="connsiteY15443" fmla="*/ 1241753 h 6557032"/>
              <a:gd name="connsiteX15444" fmla="*/ 533897 w 4610101"/>
              <a:gd name="connsiteY15444" fmla="*/ 1247219 h 6557032"/>
              <a:gd name="connsiteX15445" fmla="*/ 530253 w 4610101"/>
              <a:gd name="connsiteY15445" fmla="*/ 1245397 h 6557032"/>
              <a:gd name="connsiteX15446" fmla="*/ 543008 w 4610101"/>
              <a:gd name="connsiteY15446" fmla="*/ 1232642 h 6557032"/>
              <a:gd name="connsiteX15447" fmla="*/ 559408 w 4610101"/>
              <a:gd name="connsiteY15447" fmla="*/ 1230820 h 6557032"/>
              <a:gd name="connsiteX15448" fmla="*/ 543008 w 4610101"/>
              <a:gd name="connsiteY15448" fmla="*/ 1232642 h 6557032"/>
              <a:gd name="connsiteX15449" fmla="*/ 539364 w 4610101"/>
              <a:gd name="connsiteY15449" fmla="*/ 1232642 h 6557032"/>
              <a:gd name="connsiteX15450" fmla="*/ 543008 w 4610101"/>
              <a:gd name="connsiteY15450" fmla="*/ 1228998 h 6557032"/>
              <a:gd name="connsiteX15451" fmla="*/ 532075 w 4610101"/>
              <a:gd name="connsiteY15451" fmla="*/ 1228998 h 6557032"/>
              <a:gd name="connsiteX15452" fmla="*/ 522964 w 4610101"/>
              <a:gd name="connsiteY15452" fmla="*/ 1232642 h 6557032"/>
              <a:gd name="connsiteX15453" fmla="*/ 524786 w 4610101"/>
              <a:gd name="connsiteY15453" fmla="*/ 1236286 h 6557032"/>
              <a:gd name="connsiteX15454" fmla="*/ 532075 w 4610101"/>
              <a:gd name="connsiteY15454" fmla="*/ 1228998 h 6557032"/>
              <a:gd name="connsiteX15455" fmla="*/ 440398 w 4610101"/>
              <a:gd name="connsiteY15455" fmla="*/ 1228570 h 6557032"/>
              <a:gd name="connsiteX15456" fmla="*/ 439601 w 4610101"/>
              <a:gd name="connsiteY15456" fmla="*/ 1230592 h 6557032"/>
              <a:gd name="connsiteX15457" fmla="*/ 437322 w 4610101"/>
              <a:gd name="connsiteY15457" fmla="*/ 1234464 h 6557032"/>
              <a:gd name="connsiteX15458" fmla="*/ 437322 w 4610101"/>
              <a:gd name="connsiteY15458" fmla="*/ 1230820 h 6557032"/>
              <a:gd name="connsiteX15459" fmla="*/ 431856 w 4610101"/>
              <a:gd name="connsiteY15459" fmla="*/ 1232642 h 6557032"/>
              <a:gd name="connsiteX15460" fmla="*/ 440966 w 4610101"/>
              <a:gd name="connsiteY15460" fmla="*/ 1238108 h 6557032"/>
              <a:gd name="connsiteX15461" fmla="*/ 444611 w 4610101"/>
              <a:gd name="connsiteY15461" fmla="*/ 1230820 h 6557032"/>
              <a:gd name="connsiteX15462" fmla="*/ 440398 w 4610101"/>
              <a:gd name="connsiteY15462" fmla="*/ 1228570 h 6557032"/>
              <a:gd name="connsiteX15463" fmla="*/ 1353875 w 4610101"/>
              <a:gd name="connsiteY15463" fmla="*/ 1227631 h 6557032"/>
              <a:gd name="connsiteX15464" fmla="*/ 1352053 w 4610101"/>
              <a:gd name="connsiteY15464" fmla="*/ 1236286 h 6557032"/>
              <a:gd name="connsiteX15465" fmla="*/ 1366632 w 4610101"/>
              <a:gd name="connsiteY15465" fmla="*/ 1232642 h 6557032"/>
              <a:gd name="connsiteX15466" fmla="*/ 1359041 w 4610101"/>
              <a:gd name="connsiteY15466" fmla="*/ 1229660 h 6557032"/>
              <a:gd name="connsiteX15467" fmla="*/ 1359342 w 4610101"/>
              <a:gd name="connsiteY15467" fmla="*/ 1228998 h 6557032"/>
              <a:gd name="connsiteX15468" fmla="*/ 1358782 w 4610101"/>
              <a:gd name="connsiteY15468" fmla="*/ 1229558 h 6557032"/>
              <a:gd name="connsiteX15469" fmla="*/ 3213632 w 4610101"/>
              <a:gd name="connsiteY15469" fmla="*/ 1227175 h 6557032"/>
              <a:gd name="connsiteX15470" fmla="*/ 3212493 w 4610101"/>
              <a:gd name="connsiteY15470" fmla="*/ 1230820 h 6557032"/>
              <a:gd name="connsiteX15471" fmla="*/ 3214315 w 4610101"/>
              <a:gd name="connsiteY15471" fmla="*/ 1234464 h 6557032"/>
              <a:gd name="connsiteX15472" fmla="*/ 3221604 w 4610101"/>
              <a:gd name="connsiteY15472" fmla="*/ 1232642 h 6557032"/>
              <a:gd name="connsiteX15473" fmla="*/ 3216137 w 4610101"/>
              <a:gd name="connsiteY15473" fmla="*/ 1228998 h 6557032"/>
              <a:gd name="connsiteX15474" fmla="*/ 3213632 w 4610101"/>
              <a:gd name="connsiteY15474" fmla="*/ 1227175 h 6557032"/>
              <a:gd name="connsiteX15475" fmla="*/ 2068168 w 4610101"/>
              <a:gd name="connsiteY15475" fmla="*/ 1227175 h 6557032"/>
              <a:gd name="connsiteX15476" fmla="*/ 2064524 w 4610101"/>
              <a:gd name="connsiteY15476" fmla="*/ 1230820 h 6557032"/>
              <a:gd name="connsiteX15477" fmla="*/ 2068168 w 4610101"/>
              <a:gd name="connsiteY15477" fmla="*/ 1230820 h 6557032"/>
              <a:gd name="connsiteX15478" fmla="*/ 2068168 w 4610101"/>
              <a:gd name="connsiteY15478" fmla="*/ 1227175 h 6557032"/>
              <a:gd name="connsiteX15479" fmla="*/ 1406719 w 4610101"/>
              <a:gd name="connsiteY15479" fmla="*/ 1227175 h 6557032"/>
              <a:gd name="connsiteX15480" fmla="*/ 1408541 w 4610101"/>
              <a:gd name="connsiteY15480" fmla="*/ 1227175 h 6557032"/>
              <a:gd name="connsiteX15481" fmla="*/ 1408541 w 4610101"/>
              <a:gd name="connsiteY15481" fmla="*/ 1228998 h 6557032"/>
              <a:gd name="connsiteX15482" fmla="*/ 1406719 w 4610101"/>
              <a:gd name="connsiteY15482" fmla="*/ 1227175 h 6557032"/>
              <a:gd name="connsiteX15483" fmla="*/ 1004018 w 4610101"/>
              <a:gd name="connsiteY15483" fmla="*/ 1227175 h 6557032"/>
              <a:gd name="connsiteX15484" fmla="*/ 1005840 w 4610101"/>
              <a:gd name="connsiteY15484" fmla="*/ 1228998 h 6557032"/>
              <a:gd name="connsiteX15485" fmla="*/ 1006752 w 4610101"/>
              <a:gd name="connsiteY15485" fmla="*/ 1228998 h 6557032"/>
              <a:gd name="connsiteX15486" fmla="*/ 1008491 w 4610101"/>
              <a:gd name="connsiteY15486" fmla="*/ 1230157 h 6557032"/>
              <a:gd name="connsiteX15487" fmla="*/ 1005840 w 4610101"/>
              <a:gd name="connsiteY15487" fmla="*/ 1230820 h 6557032"/>
              <a:gd name="connsiteX15488" fmla="*/ 1009485 w 4610101"/>
              <a:gd name="connsiteY15488" fmla="*/ 1230820 h 6557032"/>
              <a:gd name="connsiteX15489" fmla="*/ 1008491 w 4610101"/>
              <a:gd name="connsiteY15489" fmla="*/ 1230157 h 6557032"/>
              <a:gd name="connsiteX15490" fmla="*/ 1013129 w 4610101"/>
              <a:gd name="connsiteY15490" fmla="*/ 1228998 h 6557032"/>
              <a:gd name="connsiteX15491" fmla="*/ 1006752 w 4610101"/>
              <a:gd name="connsiteY15491" fmla="*/ 1228998 h 6557032"/>
              <a:gd name="connsiteX15492" fmla="*/ 996729 w 4610101"/>
              <a:gd name="connsiteY15492" fmla="*/ 1227175 h 6557032"/>
              <a:gd name="connsiteX15493" fmla="*/ 989441 w 4610101"/>
              <a:gd name="connsiteY15493" fmla="*/ 1234464 h 6557032"/>
              <a:gd name="connsiteX15494" fmla="*/ 989441 w 4610101"/>
              <a:gd name="connsiteY15494" fmla="*/ 1232642 h 6557032"/>
              <a:gd name="connsiteX15495" fmla="*/ 988348 w 4610101"/>
              <a:gd name="connsiteY15495" fmla="*/ 1234828 h 6557032"/>
              <a:gd name="connsiteX15496" fmla="*/ 986708 w 4610101"/>
              <a:gd name="connsiteY15496" fmla="*/ 1235375 h 6557032"/>
              <a:gd name="connsiteX15497" fmla="*/ 982152 w 4610101"/>
              <a:gd name="connsiteY15497" fmla="*/ 1230820 h 6557032"/>
              <a:gd name="connsiteX15498" fmla="*/ 983974 w 4610101"/>
              <a:gd name="connsiteY15498" fmla="*/ 1239931 h 6557032"/>
              <a:gd name="connsiteX15499" fmla="*/ 985341 w 4610101"/>
              <a:gd name="connsiteY15499" fmla="*/ 1235831 h 6557032"/>
              <a:gd name="connsiteX15500" fmla="*/ 986708 w 4610101"/>
              <a:gd name="connsiteY15500" fmla="*/ 1235375 h 6557032"/>
              <a:gd name="connsiteX15501" fmla="*/ 987619 w 4610101"/>
              <a:gd name="connsiteY15501" fmla="*/ 1236286 h 6557032"/>
              <a:gd name="connsiteX15502" fmla="*/ 988348 w 4610101"/>
              <a:gd name="connsiteY15502" fmla="*/ 1234828 h 6557032"/>
              <a:gd name="connsiteX15503" fmla="*/ 989441 w 4610101"/>
              <a:gd name="connsiteY15503" fmla="*/ 1234464 h 6557032"/>
              <a:gd name="connsiteX15504" fmla="*/ 998552 w 4610101"/>
              <a:gd name="connsiteY15504" fmla="*/ 1228998 h 6557032"/>
              <a:gd name="connsiteX15505" fmla="*/ 996729 w 4610101"/>
              <a:gd name="connsiteY15505" fmla="*/ 1227175 h 6557032"/>
              <a:gd name="connsiteX15506" fmla="*/ 929309 w 4610101"/>
              <a:gd name="connsiteY15506" fmla="*/ 1227175 h 6557032"/>
              <a:gd name="connsiteX15507" fmla="*/ 925666 w 4610101"/>
              <a:gd name="connsiteY15507" fmla="*/ 1232642 h 6557032"/>
              <a:gd name="connsiteX15508" fmla="*/ 929309 w 4610101"/>
              <a:gd name="connsiteY15508" fmla="*/ 1227175 h 6557032"/>
              <a:gd name="connsiteX15509" fmla="*/ 909265 w 4610101"/>
              <a:gd name="connsiteY15509" fmla="*/ 1227175 h 6557032"/>
              <a:gd name="connsiteX15510" fmla="*/ 903799 w 4610101"/>
              <a:gd name="connsiteY15510" fmla="*/ 1230820 h 6557032"/>
              <a:gd name="connsiteX15511" fmla="*/ 907444 w 4610101"/>
              <a:gd name="connsiteY15511" fmla="*/ 1236286 h 6557032"/>
              <a:gd name="connsiteX15512" fmla="*/ 909265 w 4610101"/>
              <a:gd name="connsiteY15512" fmla="*/ 1227175 h 6557032"/>
              <a:gd name="connsiteX15513" fmla="*/ 847311 w 4610101"/>
              <a:gd name="connsiteY15513" fmla="*/ 1227175 h 6557032"/>
              <a:gd name="connsiteX15514" fmla="*/ 838200 w 4610101"/>
              <a:gd name="connsiteY15514" fmla="*/ 1228998 h 6557032"/>
              <a:gd name="connsiteX15515" fmla="*/ 847311 w 4610101"/>
              <a:gd name="connsiteY15515" fmla="*/ 1234464 h 6557032"/>
              <a:gd name="connsiteX15516" fmla="*/ 847311 w 4610101"/>
              <a:gd name="connsiteY15516" fmla="*/ 1227175 h 6557032"/>
              <a:gd name="connsiteX15517" fmla="*/ 637761 w 4610101"/>
              <a:gd name="connsiteY15517" fmla="*/ 1227175 h 6557032"/>
              <a:gd name="connsiteX15518" fmla="*/ 634117 w 4610101"/>
              <a:gd name="connsiteY15518" fmla="*/ 1234464 h 6557032"/>
              <a:gd name="connsiteX15519" fmla="*/ 632296 w 4610101"/>
              <a:gd name="connsiteY15519" fmla="*/ 1228998 h 6557032"/>
              <a:gd name="connsiteX15520" fmla="*/ 623185 w 4610101"/>
              <a:gd name="connsiteY15520" fmla="*/ 1243575 h 6557032"/>
              <a:gd name="connsiteX15521" fmla="*/ 628650 w 4610101"/>
              <a:gd name="connsiteY15521" fmla="*/ 1241753 h 6557032"/>
              <a:gd name="connsiteX15522" fmla="*/ 626828 w 4610101"/>
              <a:gd name="connsiteY15522" fmla="*/ 1234464 h 6557032"/>
              <a:gd name="connsiteX15523" fmla="*/ 646872 w 4610101"/>
              <a:gd name="connsiteY15523" fmla="*/ 1239931 h 6557032"/>
              <a:gd name="connsiteX15524" fmla="*/ 637761 w 4610101"/>
              <a:gd name="connsiteY15524" fmla="*/ 1227175 h 6557032"/>
              <a:gd name="connsiteX15525" fmla="*/ 608606 w 4610101"/>
              <a:gd name="connsiteY15525" fmla="*/ 1227175 h 6557032"/>
              <a:gd name="connsiteX15526" fmla="*/ 610429 w 4610101"/>
              <a:gd name="connsiteY15526" fmla="*/ 1230820 h 6557032"/>
              <a:gd name="connsiteX15527" fmla="*/ 608606 w 4610101"/>
              <a:gd name="connsiteY15527" fmla="*/ 1227175 h 6557032"/>
              <a:gd name="connsiteX15528" fmla="*/ 595852 w 4610101"/>
              <a:gd name="connsiteY15528" fmla="*/ 1227175 h 6557032"/>
              <a:gd name="connsiteX15529" fmla="*/ 575808 w 4610101"/>
              <a:gd name="connsiteY15529" fmla="*/ 1230820 h 6557032"/>
              <a:gd name="connsiteX15530" fmla="*/ 577630 w 4610101"/>
              <a:gd name="connsiteY15530" fmla="*/ 1232642 h 6557032"/>
              <a:gd name="connsiteX15531" fmla="*/ 595852 w 4610101"/>
              <a:gd name="connsiteY15531" fmla="*/ 1227175 h 6557032"/>
              <a:gd name="connsiteX15532" fmla="*/ 406345 w 4610101"/>
              <a:gd name="connsiteY15532" fmla="*/ 1227175 h 6557032"/>
              <a:gd name="connsiteX15533" fmla="*/ 409989 w 4610101"/>
              <a:gd name="connsiteY15533" fmla="*/ 1230820 h 6557032"/>
              <a:gd name="connsiteX15534" fmla="*/ 406345 w 4610101"/>
              <a:gd name="connsiteY15534" fmla="*/ 1227175 h 6557032"/>
              <a:gd name="connsiteX15535" fmla="*/ 1419618 w 4610101"/>
              <a:gd name="connsiteY15535" fmla="*/ 1227111 h 6557032"/>
              <a:gd name="connsiteX15536" fmla="*/ 1419579 w 4610101"/>
              <a:gd name="connsiteY15536" fmla="*/ 1227192 h 6557032"/>
              <a:gd name="connsiteX15537" fmla="*/ 1419474 w 4610101"/>
              <a:gd name="connsiteY15537" fmla="*/ 1227175 h 6557032"/>
              <a:gd name="connsiteX15538" fmla="*/ 343040 w 4610101"/>
              <a:gd name="connsiteY15538" fmla="*/ 1226411 h 6557032"/>
              <a:gd name="connsiteX15539" fmla="*/ 356780 w 4610101"/>
              <a:gd name="connsiteY15539" fmla="*/ 1228860 h 6557032"/>
              <a:gd name="connsiteX15540" fmla="*/ 354869 w 4610101"/>
              <a:gd name="connsiteY15540" fmla="*/ 1229453 h 6557032"/>
              <a:gd name="connsiteX15541" fmla="*/ 1213569 w 4610101"/>
              <a:gd name="connsiteY15541" fmla="*/ 1226264 h 6557032"/>
              <a:gd name="connsiteX15542" fmla="*/ 1208102 w 4610101"/>
              <a:gd name="connsiteY15542" fmla="*/ 1227175 h 6557032"/>
              <a:gd name="connsiteX15543" fmla="*/ 1215390 w 4610101"/>
              <a:gd name="connsiteY15543" fmla="*/ 1234464 h 6557032"/>
              <a:gd name="connsiteX15544" fmla="*/ 1219036 w 4610101"/>
              <a:gd name="connsiteY15544" fmla="*/ 1230820 h 6557032"/>
              <a:gd name="connsiteX15545" fmla="*/ 1213569 w 4610101"/>
              <a:gd name="connsiteY15545" fmla="*/ 1226264 h 6557032"/>
              <a:gd name="connsiteX15546" fmla="*/ 1066200 w 4610101"/>
              <a:gd name="connsiteY15546" fmla="*/ 1226264 h 6557032"/>
              <a:gd name="connsiteX15547" fmla="*/ 1060506 w 4610101"/>
              <a:gd name="connsiteY15547" fmla="*/ 1227175 h 6557032"/>
              <a:gd name="connsiteX15548" fmla="*/ 1067794 w 4610101"/>
              <a:gd name="connsiteY15548" fmla="*/ 1230820 h 6557032"/>
              <a:gd name="connsiteX15549" fmla="*/ 1066200 w 4610101"/>
              <a:gd name="connsiteY15549" fmla="*/ 1226264 h 6557032"/>
              <a:gd name="connsiteX15550" fmla="*/ 3285380 w 4610101"/>
              <a:gd name="connsiteY15550" fmla="*/ 1225353 h 6557032"/>
              <a:gd name="connsiteX15551" fmla="*/ 3283558 w 4610101"/>
              <a:gd name="connsiteY15551" fmla="*/ 1230820 h 6557032"/>
              <a:gd name="connsiteX15552" fmla="*/ 3285380 w 4610101"/>
              <a:gd name="connsiteY15552" fmla="*/ 1230820 h 6557032"/>
              <a:gd name="connsiteX15553" fmla="*/ 3278091 w 4610101"/>
              <a:gd name="connsiteY15553" fmla="*/ 1238108 h 6557032"/>
              <a:gd name="connsiteX15554" fmla="*/ 3287202 w 4610101"/>
              <a:gd name="connsiteY15554" fmla="*/ 1234464 h 6557032"/>
              <a:gd name="connsiteX15555" fmla="*/ 3285380 w 4610101"/>
              <a:gd name="connsiteY15555" fmla="*/ 1225353 h 6557032"/>
              <a:gd name="connsiteX15556" fmla="*/ 3238003 w 4610101"/>
              <a:gd name="connsiteY15556" fmla="*/ 1225353 h 6557032"/>
              <a:gd name="connsiteX15557" fmla="*/ 3239826 w 4610101"/>
              <a:gd name="connsiteY15557" fmla="*/ 1227175 h 6557032"/>
              <a:gd name="connsiteX15558" fmla="*/ 3241648 w 4610101"/>
              <a:gd name="connsiteY15558" fmla="*/ 1227175 h 6557032"/>
              <a:gd name="connsiteX15559" fmla="*/ 3238003 w 4610101"/>
              <a:gd name="connsiteY15559" fmla="*/ 1225353 h 6557032"/>
              <a:gd name="connsiteX15560" fmla="*/ 2423492 w 4610101"/>
              <a:gd name="connsiteY15560" fmla="*/ 1225353 h 6557032"/>
              <a:gd name="connsiteX15561" fmla="*/ 2428958 w 4610101"/>
              <a:gd name="connsiteY15561" fmla="*/ 1227175 h 6557032"/>
              <a:gd name="connsiteX15562" fmla="*/ 2430780 w 4610101"/>
              <a:gd name="connsiteY15562" fmla="*/ 1225353 h 6557032"/>
              <a:gd name="connsiteX15563" fmla="*/ 2246741 w 4610101"/>
              <a:gd name="connsiteY15563" fmla="*/ 1225353 h 6557032"/>
              <a:gd name="connsiteX15564" fmla="*/ 2244919 w 4610101"/>
              <a:gd name="connsiteY15564" fmla="*/ 1234464 h 6557032"/>
              <a:gd name="connsiteX15565" fmla="*/ 2255852 w 4610101"/>
              <a:gd name="connsiteY15565" fmla="*/ 1232642 h 6557032"/>
              <a:gd name="connsiteX15566" fmla="*/ 1364809 w 4610101"/>
              <a:gd name="connsiteY15566" fmla="*/ 1225353 h 6557032"/>
              <a:gd name="connsiteX15567" fmla="*/ 1362987 w 4610101"/>
              <a:gd name="connsiteY15567" fmla="*/ 1227175 h 6557032"/>
              <a:gd name="connsiteX15568" fmla="*/ 1368453 w 4610101"/>
              <a:gd name="connsiteY15568" fmla="*/ 1230820 h 6557032"/>
              <a:gd name="connsiteX15569" fmla="*/ 1364809 w 4610101"/>
              <a:gd name="connsiteY15569" fmla="*/ 1225353 h 6557032"/>
              <a:gd name="connsiteX15570" fmla="*/ 1158903 w 4610101"/>
              <a:gd name="connsiteY15570" fmla="*/ 1225353 h 6557032"/>
              <a:gd name="connsiteX15571" fmla="*/ 1155259 w 4610101"/>
              <a:gd name="connsiteY15571" fmla="*/ 1234464 h 6557032"/>
              <a:gd name="connsiteX15572" fmla="*/ 1157162 w 4610101"/>
              <a:gd name="connsiteY15572" fmla="*/ 1233306 h 6557032"/>
              <a:gd name="connsiteX15573" fmla="*/ 1153436 w 4610101"/>
              <a:gd name="connsiteY15573" fmla="*/ 1236286 h 6557032"/>
              <a:gd name="connsiteX15574" fmla="*/ 1160725 w 4610101"/>
              <a:gd name="connsiteY15574" fmla="*/ 1239931 h 6557032"/>
              <a:gd name="connsiteX15575" fmla="*/ 1157081 w 4610101"/>
              <a:gd name="connsiteY15575" fmla="*/ 1243575 h 6557032"/>
              <a:gd name="connsiteX15576" fmla="*/ 1162547 w 4610101"/>
              <a:gd name="connsiteY15576" fmla="*/ 1228998 h 6557032"/>
              <a:gd name="connsiteX15577" fmla="*/ 1160356 w 4610101"/>
              <a:gd name="connsiteY15577" fmla="*/ 1230750 h 6557032"/>
              <a:gd name="connsiteX15578" fmla="*/ 1142503 w 4610101"/>
              <a:gd name="connsiteY15578" fmla="*/ 1225353 h 6557032"/>
              <a:gd name="connsiteX15579" fmla="*/ 1144326 w 4610101"/>
              <a:gd name="connsiteY15579" fmla="*/ 1232642 h 6557032"/>
              <a:gd name="connsiteX15580" fmla="*/ 1140681 w 4610101"/>
              <a:gd name="connsiteY15580" fmla="*/ 1234464 h 6557032"/>
              <a:gd name="connsiteX15581" fmla="*/ 1142503 w 4610101"/>
              <a:gd name="connsiteY15581" fmla="*/ 1236286 h 6557032"/>
              <a:gd name="connsiteX15582" fmla="*/ 1151614 w 4610101"/>
              <a:gd name="connsiteY15582" fmla="*/ 1227175 h 6557032"/>
              <a:gd name="connsiteX15583" fmla="*/ 1142503 w 4610101"/>
              <a:gd name="connsiteY15583" fmla="*/ 1225353 h 6557032"/>
              <a:gd name="connsiteX15584" fmla="*/ 1131570 w 4610101"/>
              <a:gd name="connsiteY15584" fmla="*/ 1225353 h 6557032"/>
              <a:gd name="connsiteX15585" fmla="*/ 1129748 w 4610101"/>
              <a:gd name="connsiteY15585" fmla="*/ 1230820 h 6557032"/>
              <a:gd name="connsiteX15586" fmla="*/ 1135215 w 4610101"/>
              <a:gd name="connsiteY15586" fmla="*/ 1232642 h 6557032"/>
              <a:gd name="connsiteX15587" fmla="*/ 1131570 w 4610101"/>
              <a:gd name="connsiteY15587" fmla="*/ 1225353 h 6557032"/>
              <a:gd name="connsiteX15588" fmla="*/ 1034995 w 4610101"/>
              <a:gd name="connsiteY15588" fmla="*/ 1225353 h 6557032"/>
              <a:gd name="connsiteX15589" fmla="*/ 1033173 w 4610101"/>
              <a:gd name="connsiteY15589" fmla="*/ 1230820 h 6557032"/>
              <a:gd name="connsiteX15590" fmla="*/ 1020418 w 4610101"/>
              <a:gd name="connsiteY15590" fmla="*/ 1236286 h 6557032"/>
              <a:gd name="connsiteX15591" fmla="*/ 1025884 w 4610101"/>
              <a:gd name="connsiteY15591" fmla="*/ 1241753 h 6557032"/>
              <a:gd name="connsiteX15592" fmla="*/ 1029529 w 4610101"/>
              <a:gd name="connsiteY15592" fmla="*/ 1249042 h 6557032"/>
              <a:gd name="connsiteX15593" fmla="*/ 1040462 w 4610101"/>
              <a:gd name="connsiteY15593" fmla="*/ 1241753 h 6557032"/>
              <a:gd name="connsiteX15594" fmla="*/ 1036818 w 4610101"/>
              <a:gd name="connsiteY15594" fmla="*/ 1236286 h 6557032"/>
              <a:gd name="connsiteX15595" fmla="*/ 1040462 w 4610101"/>
              <a:gd name="connsiteY15595" fmla="*/ 1239931 h 6557032"/>
              <a:gd name="connsiteX15596" fmla="*/ 1044106 w 4610101"/>
              <a:gd name="connsiteY15596" fmla="*/ 1234464 h 6557032"/>
              <a:gd name="connsiteX15597" fmla="*/ 1034995 w 4610101"/>
              <a:gd name="connsiteY15597" fmla="*/ 1225353 h 6557032"/>
              <a:gd name="connsiteX15598" fmla="*/ 931131 w 4610101"/>
              <a:gd name="connsiteY15598" fmla="*/ 1225353 h 6557032"/>
              <a:gd name="connsiteX15599" fmla="*/ 931131 w 4610101"/>
              <a:gd name="connsiteY15599" fmla="*/ 1230820 h 6557032"/>
              <a:gd name="connsiteX15600" fmla="*/ 936598 w 4610101"/>
              <a:gd name="connsiteY15600" fmla="*/ 1227175 h 6557032"/>
              <a:gd name="connsiteX15601" fmla="*/ 931131 w 4610101"/>
              <a:gd name="connsiteY15601" fmla="*/ 1225353 h 6557032"/>
              <a:gd name="connsiteX15602" fmla="*/ 322525 w 4610101"/>
              <a:gd name="connsiteY15602" fmla="*/ 1225353 h 6557032"/>
              <a:gd name="connsiteX15603" fmla="*/ 322525 w 4610101"/>
              <a:gd name="connsiteY15603" fmla="*/ 1230820 h 6557032"/>
              <a:gd name="connsiteX15604" fmla="*/ 324347 w 4610101"/>
              <a:gd name="connsiteY15604" fmla="*/ 1227175 h 6557032"/>
              <a:gd name="connsiteX15605" fmla="*/ 322525 w 4610101"/>
              <a:gd name="connsiteY15605" fmla="*/ 1225353 h 6557032"/>
              <a:gd name="connsiteX15606" fmla="*/ 318882 w 4610101"/>
              <a:gd name="connsiteY15606" fmla="*/ 1225353 h 6557032"/>
              <a:gd name="connsiteX15607" fmla="*/ 313414 w 4610101"/>
              <a:gd name="connsiteY15607" fmla="*/ 1232642 h 6557032"/>
              <a:gd name="connsiteX15608" fmla="*/ 320703 w 4610101"/>
              <a:gd name="connsiteY15608" fmla="*/ 1232642 h 6557032"/>
              <a:gd name="connsiteX15609" fmla="*/ 318882 w 4610101"/>
              <a:gd name="connsiteY15609" fmla="*/ 1225353 h 6557032"/>
              <a:gd name="connsiteX15610" fmla="*/ 1426432 w 4610101"/>
              <a:gd name="connsiteY15610" fmla="*/ 1224083 h 6557032"/>
              <a:gd name="connsiteX15611" fmla="*/ 1423118 w 4610101"/>
              <a:gd name="connsiteY15611" fmla="*/ 1227175 h 6557032"/>
              <a:gd name="connsiteX15612" fmla="*/ 1422099 w 4610101"/>
              <a:gd name="connsiteY15612" fmla="*/ 1226009 h 6557032"/>
              <a:gd name="connsiteX15613" fmla="*/ 1426763 w 4610101"/>
              <a:gd name="connsiteY15613" fmla="*/ 1223936 h 6557032"/>
              <a:gd name="connsiteX15614" fmla="*/ 1426432 w 4610101"/>
              <a:gd name="connsiteY15614" fmla="*/ 1224083 h 6557032"/>
              <a:gd name="connsiteX15615" fmla="*/ 1426536 w 4610101"/>
              <a:gd name="connsiteY15615" fmla="*/ 1223987 h 6557032"/>
              <a:gd name="connsiteX15616" fmla="*/ 3345512 w 4610101"/>
              <a:gd name="connsiteY15616" fmla="*/ 1223531 h 6557032"/>
              <a:gd name="connsiteX15617" fmla="*/ 3341867 w 4610101"/>
              <a:gd name="connsiteY15617" fmla="*/ 1225353 h 6557032"/>
              <a:gd name="connsiteX15618" fmla="*/ 3347334 w 4610101"/>
              <a:gd name="connsiteY15618" fmla="*/ 1228998 h 6557032"/>
              <a:gd name="connsiteX15619" fmla="*/ 3345512 w 4610101"/>
              <a:gd name="connsiteY15619" fmla="*/ 1223531 h 6557032"/>
              <a:gd name="connsiteX15620" fmla="*/ 3157828 w 4610101"/>
              <a:gd name="connsiteY15620" fmla="*/ 1223531 h 6557032"/>
              <a:gd name="connsiteX15621" fmla="*/ 3150539 w 4610101"/>
              <a:gd name="connsiteY15621" fmla="*/ 1225353 h 6557032"/>
              <a:gd name="connsiteX15622" fmla="*/ 3150539 w 4610101"/>
              <a:gd name="connsiteY15622" fmla="*/ 1230820 h 6557032"/>
              <a:gd name="connsiteX15623" fmla="*/ 3157828 w 4610101"/>
              <a:gd name="connsiteY15623" fmla="*/ 1223531 h 6557032"/>
              <a:gd name="connsiteX15624" fmla="*/ 1421296 w 4610101"/>
              <a:gd name="connsiteY15624" fmla="*/ 1223531 h 6557032"/>
              <a:gd name="connsiteX15625" fmla="*/ 1421524 w 4610101"/>
              <a:gd name="connsiteY15625" fmla="*/ 1225353 h 6557032"/>
              <a:gd name="connsiteX15626" fmla="*/ 1422099 w 4610101"/>
              <a:gd name="connsiteY15626" fmla="*/ 1226009 h 6557032"/>
              <a:gd name="connsiteX15627" fmla="*/ 1419618 w 4610101"/>
              <a:gd name="connsiteY15627" fmla="*/ 1227111 h 6557032"/>
              <a:gd name="connsiteX15628" fmla="*/ 1131570 w 4610101"/>
              <a:gd name="connsiteY15628" fmla="*/ 1223531 h 6557032"/>
              <a:gd name="connsiteX15629" fmla="*/ 1137037 w 4610101"/>
              <a:gd name="connsiteY15629" fmla="*/ 1230820 h 6557032"/>
              <a:gd name="connsiteX15630" fmla="*/ 1135215 w 4610101"/>
              <a:gd name="connsiteY15630" fmla="*/ 1223531 h 6557032"/>
              <a:gd name="connsiteX15631" fmla="*/ 1131570 w 4610101"/>
              <a:gd name="connsiteY15631" fmla="*/ 1223531 h 6557032"/>
              <a:gd name="connsiteX15632" fmla="*/ 1051395 w 4610101"/>
              <a:gd name="connsiteY15632" fmla="*/ 1223531 h 6557032"/>
              <a:gd name="connsiteX15633" fmla="*/ 1045929 w 4610101"/>
              <a:gd name="connsiteY15633" fmla="*/ 1234464 h 6557032"/>
              <a:gd name="connsiteX15634" fmla="*/ 1051395 w 4610101"/>
              <a:gd name="connsiteY15634" fmla="*/ 1238108 h 6557032"/>
              <a:gd name="connsiteX15635" fmla="*/ 1056861 w 4610101"/>
              <a:gd name="connsiteY15635" fmla="*/ 1232642 h 6557032"/>
              <a:gd name="connsiteX15636" fmla="*/ 1060506 w 4610101"/>
              <a:gd name="connsiteY15636" fmla="*/ 1239931 h 6557032"/>
              <a:gd name="connsiteX15637" fmla="*/ 1051395 w 4610101"/>
              <a:gd name="connsiteY15637" fmla="*/ 1223531 h 6557032"/>
              <a:gd name="connsiteX15638" fmla="*/ 1044106 w 4610101"/>
              <a:gd name="connsiteY15638" fmla="*/ 1223531 h 6557032"/>
              <a:gd name="connsiteX15639" fmla="*/ 1047750 w 4610101"/>
              <a:gd name="connsiteY15639" fmla="*/ 1227175 h 6557032"/>
              <a:gd name="connsiteX15640" fmla="*/ 1049573 w 4610101"/>
              <a:gd name="connsiteY15640" fmla="*/ 1223531 h 6557032"/>
              <a:gd name="connsiteX15641" fmla="*/ 1044106 w 4610101"/>
              <a:gd name="connsiteY15641" fmla="*/ 1223531 h 6557032"/>
              <a:gd name="connsiteX15642" fmla="*/ 1036818 w 4610101"/>
              <a:gd name="connsiteY15642" fmla="*/ 1223531 h 6557032"/>
              <a:gd name="connsiteX15643" fmla="*/ 1044106 w 4610101"/>
              <a:gd name="connsiteY15643" fmla="*/ 1230820 h 6557032"/>
              <a:gd name="connsiteX15644" fmla="*/ 1044106 w 4610101"/>
              <a:gd name="connsiteY15644" fmla="*/ 1225353 h 6557032"/>
              <a:gd name="connsiteX15645" fmla="*/ 1036818 w 4610101"/>
              <a:gd name="connsiteY15645" fmla="*/ 1223531 h 6557032"/>
              <a:gd name="connsiteX15646" fmla="*/ 923843 w 4610101"/>
              <a:gd name="connsiteY15646" fmla="*/ 1223531 h 6557032"/>
              <a:gd name="connsiteX15647" fmla="*/ 927487 w 4610101"/>
              <a:gd name="connsiteY15647" fmla="*/ 1227175 h 6557032"/>
              <a:gd name="connsiteX15648" fmla="*/ 923843 w 4610101"/>
              <a:gd name="connsiteY15648" fmla="*/ 1223531 h 6557032"/>
              <a:gd name="connsiteX15649" fmla="*/ 920198 w 4610101"/>
              <a:gd name="connsiteY15649" fmla="*/ 1223531 h 6557032"/>
              <a:gd name="connsiteX15650" fmla="*/ 916555 w 4610101"/>
              <a:gd name="connsiteY15650" fmla="*/ 1227175 h 6557032"/>
              <a:gd name="connsiteX15651" fmla="*/ 922020 w 4610101"/>
              <a:gd name="connsiteY15651" fmla="*/ 1227175 h 6557032"/>
              <a:gd name="connsiteX15652" fmla="*/ 920198 w 4610101"/>
              <a:gd name="connsiteY15652" fmla="*/ 1223531 h 6557032"/>
              <a:gd name="connsiteX15653" fmla="*/ 352819 w 4610101"/>
              <a:gd name="connsiteY15653" fmla="*/ 1221937 h 6557032"/>
              <a:gd name="connsiteX15654" fmla="*/ 338926 w 4610101"/>
              <a:gd name="connsiteY15654" fmla="*/ 1225353 h 6557032"/>
              <a:gd name="connsiteX15655" fmla="*/ 343040 w 4610101"/>
              <a:gd name="connsiteY15655" fmla="*/ 1226411 h 6557032"/>
              <a:gd name="connsiteX15656" fmla="*/ 337102 w 4610101"/>
              <a:gd name="connsiteY15656" fmla="*/ 1225353 h 6557032"/>
              <a:gd name="connsiteX15657" fmla="*/ 329814 w 4610101"/>
              <a:gd name="connsiteY15657" fmla="*/ 1232642 h 6557032"/>
              <a:gd name="connsiteX15658" fmla="*/ 388123 w 4610101"/>
              <a:gd name="connsiteY15658" fmla="*/ 1238108 h 6557032"/>
              <a:gd name="connsiteX15659" fmla="*/ 386301 w 4610101"/>
              <a:gd name="connsiteY15659" fmla="*/ 1236286 h 6557032"/>
              <a:gd name="connsiteX15660" fmla="*/ 382657 w 4610101"/>
              <a:gd name="connsiteY15660" fmla="*/ 1236286 h 6557032"/>
              <a:gd name="connsiteX15661" fmla="*/ 389946 w 4610101"/>
              <a:gd name="connsiteY15661" fmla="*/ 1232642 h 6557032"/>
              <a:gd name="connsiteX15662" fmla="*/ 386301 w 4610101"/>
              <a:gd name="connsiteY15662" fmla="*/ 1228998 h 6557032"/>
              <a:gd name="connsiteX15663" fmla="*/ 393590 w 4610101"/>
              <a:gd name="connsiteY15663" fmla="*/ 1230820 h 6557032"/>
              <a:gd name="connsiteX15664" fmla="*/ 383797 w 4610101"/>
              <a:gd name="connsiteY15664" fmla="*/ 1226036 h 6557032"/>
              <a:gd name="connsiteX15665" fmla="*/ 378021 w 4610101"/>
              <a:gd name="connsiteY15665" fmla="*/ 1225568 h 6557032"/>
              <a:gd name="connsiteX15666" fmla="*/ 379012 w 4610101"/>
              <a:gd name="connsiteY15666" fmla="*/ 1225353 h 6557032"/>
              <a:gd name="connsiteX15667" fmla="*/ 375368 w 4610101"/>
              <a:gd name="connsiteY15667" fmla="*/ 1225353 h 6557032"/>
              <a:gd name="connsiteX15668" fmla="*/ 378021 w 4610101"/>
              <a:gd name="connsiteY15668" fmla="*/ 1225568 h 6557032"/>
              <a:gd name="connsiteX15669" fmla="*/ 360107 w 4610101"/>
              <a:gd name="connsiteY15669" fmla="*/ 1229453 h 6557032"/>
              <a:gd name="connsiteX15670" fmla="*/ 356780 w 4610101"/>
              <a:gd name="connsiteY15670" fmla="*/ 1228860 h 6557032"/>
              <a:gd name="connsiteX15671" fmla="*/ 368079 w 4610101"/>
              <a:gd name="connsiteY15671" fmla="*/ 1225353 h 6557032"/>
              <a:gd name="connsiteX15672" fmla="*/ 352819 w 4610101"/>
              <a:gd name="connsiteY15672" fmla="*/ 1221937 h 6557032"/>
              <a:gd name="connsiteX15673" fmla="*/ 3272625 w 4610101"/>
              <a:gd name="connsiteY15673" fmla="*/ 1221709 h 6557032"/>
              <a:gd name="connsiteX15674" fmla="*/ 3267158 w 4610101"/>
              <a:gd name="connsiteY15674" fmla="*/ 1228998 h 6557032"/>
              <a:gd name="connsiteX15675" fmla="*/ 3278091 w 4610101"/>
              <a:gd name="connsiteY15675" fmla="*/ 1228998 h 6557032"/>
              <a:gd name="connsiteX15676" fmla="*/ 3272625 w 4610101"/>
              <a:gd name="connsiteY15676" fmla="*/ 1221709 h 6557032"/>
              <a:gd name="connsiteX15677" fmla="*/ 3267158 w 4610101"/>
              <a:gd name="connsiteY15677" fmla="*/ 1221709 h 6557032"/>
              <a:gd name="connsiteX15678" fmla="*/ 3256225 w 4610101"/>
              <a:gd name="connsiteY15678" fmla="*/ 1230820 h 6557032"/>
              <a:gd name="connsiteX15679" fmla="*/ 3252581 w 4610101"/>
              <a:gd name="connsiteY15679" fmla="*/ 1225353 h 6557032"/>
              <a:gd name="connsiteX15680" fmla="*/ 3243470 w 4610101"/>
              <a:gd name="connsiteY15680" fmla="*/ 1225353 h 6557032"/>
              <a:gd name="connsiteX15681" fmla="*/ 3245292 w 4610101"/>
              <a:gd name="connsiteY15681" fmla="*/ 1228998 h 6557032"/>
              <a:gd name="connsiteX15682" fmla="*/ 3247114 w 4610101"/>
              <a:gd name="connsiteY15682" fmla="*/ 1227175 h 6557032"/>
              <a:gd name="connsiteX15683" fmla="*/ 3247114 w 4610101"/>
              <a:gd name="connsiteY15683" fmla="*/ 1234464 h 6557032"/>
              <a:gd name="connsiteX15684" fmla="*/ 3247114 w 4610101"/>
              <a:gd name="connsiteY15684" fmla="*/ 1236286 h 6557032"/>
              <a:gd name="connsiteX15685" fmla="*/ 3256225 w 4610101"/>
              <a:gd name="connsiteY15685" fmla="*/ 1232642 h 6557032"/>
              <a:gd name="connsiteX15686" fmla="*/ 3254403 w 4610101"/>
              <a:gd name="connsiteY15686" fmla="*/ 1243575 h 6557032"/>
              <a:gd name="connsiteX15687" fmla="*/ 3274447 w 4610101"/>
              <a:gd name="connsiteY15687" fmla="*/ 1232642 h 6557032"/>
              <a:gd name="connsiteX15688" fmla="*/ 3263514 w 4610101"/>
              <a:gd name="connsiteY15688" fmla="*/ 1239931 h 6557032"/>
              <a:gd name="connsiteX15689" fmla="*/ 3259869 w 4610101"/>
              <a:gd name="connsiteY15689" fmla="*/ 1228998 h 6557032"/>
              <a:gd name="connsiteX15690" fmla="*/ 3267158 w 4610101"/>
              <a:gd name="connsiteY15690" fmla="*/ 1221709 h 6557032"/>
              <a:gd name="connsiteX15691" fmla="*/ 3135962 w 4610101"/>
              <a:gd name="connsiteY15691" fmla="*/ 1221709 h 6557032"/>
              <a:gd name="connsiteX15692" fmla="*/ 3134140 w 4610101"/>
              <a:gd name="connsiteY15692" fmla="*/ 1225353 h 6557032"/>
              <a:gd name="connsiteX15693" fmla="*/ 3141428 w 4610101"/>
              <a:gd name="connsiteY15693" fmla="*/ 1228998 h 6557032"/>
              <a:gd name="connsiteX15694" fmla="*/ 3135962 w 4610101"/>
              <a:gd name="connsiteY15694" fmla="*/ 1221709 h 6557032"/>
              <a:gd name="connsiteX15695" fmla="*/ 2381582 w 4610101"/>
              <a:gd name="connsiteY15695" fmla="*/ 1221709 h 6557032"/>
              <a:gd name="connsiteX15696" fmla="*/ 2374293 w 4610101"/>
              <a:gd name="connsiteY15696" fmla="*/ 1234464 h 6557032"/>
              <a:gd name="connsiteX15697" fmla="*/ 2365182 w 4610101"/>
              <a:gd name="connsiteY15697" fmla="*/ 1228998 h 6557032"/>
              <a:gd name="connsiteX15698" fmla="*/ 2361538 w 4610101"/>
              <a:gd name="connsiteY15698" fmla="*/ 1230820 h 6557032"/>
              <a:gd name="connsiteX15699" fmla="*/ 2357893 w 4610101"/>
              <a:gd name="connsiteY15699" fmla="*/ 1232642 h 6557032"/>
              <a:gd name="connsiteX15700" fmla="*/ 2348782 w 4610101"/>
              <a:gd name="connsiteY15700" fmla="*/ 1238108 h 6557032"/>
              <a:gd name="connsiteX15701" fmla="*/ 2346960 w 4610101"/>
              <a:gd name="connsiteY15701" fmla="*/ 1239931 h 6557032"/>
              <a:gd name="connsiteX15702" fmla="*/ 2348782 w 4610101"/>
              <a:gd name="connsiteY15702" fmla="*/ 1243575 h 6557032"/>
              <a:gd name="connsiteX15703" fmla="*/ 2368827 w 4610101"/>
              <a:gd name="connsiteY15703" fmla="*/ 1241753 h 6557032"/>
              <a:gd name="connsiteX15704" fmla="*/ 2372471 w 4610101"/>
              <a:gd name="connsiteY15704" fmla="*/ 1252686 h 6557032"/>
              <a:gd name="connsiteX15705" fmla="*/ 2376115 w 4610101"/>
              <a:gd name="connsiteY15705" fmla="*/ 1252686 h 6557032"/>
              <a:gd name="connsiteX15706" fmla="*/ 2374293 w 4610101"/>
              <a:gd name="connsiteY15706" fmla="*/ 1247219 h 6557032"/>
              <a:gd name="connsiteX15707" fmla="*/ 2383404 w 4610101"/>
              <a:gd name="connsiteY15707" fmla="*/ 1243575 h 6557032"/>
              <a:gd name="connsiteX15708" fmla="*/ 2379760 w 4610101"/>
              <a:gd name="connsiteY15708" fmla="*/ 1250864 h 6557032"/>
              <a:gd name="connsiteX15709" fmla="*/ 2390693 w 4610101"/>
              <a:gd name="connsiteY15709" fmla="*/ 1248586 h 6557032"/>
              <a:gd name="connsiteX15710" fmla="*/ 2397920 w 4610101"/>
              <a:gd name="connsiteY15710" fmla="*/ 1245274 h 6557032"/>
              <a:gd name="connsiteX15711" fmla="*/ 2397981 w 4610101"/>
              <a:gd name="connsiteY15711" fmla="*/ 1245397 h 6557032"/>
              <a:gd name="connsiteX15712" fmla="*/ 2398079 w 4610101"/>
              <a:gd name="connsiteY15712" fmla="*/ 1245200 h 6557032"/>
              <a:gd name="connsiteX15713" fmla="*/ 2401626 w 4610101"/>
              <a:gd name="connsiteY15713" fmla="*/ 1243575 h 6557032"/>
              <a:gd name="connsiteX15714" fmla="*/ 2399803 w 4610101"/>
              <a:gd name="connsiteY15714" fmla="*/ 1241753 h 6557032"/>
              <a:gd name="connsiteX15715" fmla="*/ 2398079 w 4610101"/>
              <a:gd name="connsiteY15715" fmla="*/ 1245200 h 6557032"/>
              <a:gd name="connsiteX15716" fmla="*/ 2397920 w 4610101"/>
              <a:gd name="connsiteY15716" fmla="*/ 1245274 h 6557032"/>
              <a:gd name="connsiteX15717" fmla="*/ 2396159 w 4610101"/>
              <a:gd name="connsiteY15717" fmla="*/ 1241753 h 6557032"/>
              <a:gd name="connsiteX15718" fmla="*/ 2381582 w 4610101"/>
              <a:gd name="connsiteY15718" fmla="*/ 1241753 h 6557032"/>
              <a:gd name="connsiteX15719" fmla="*/ 2073634 w 4610101"/>
              <a:gd name="connsiteY15719" fmla="*/ 1221709 h 6557032"/>
              <a:gd name="connsiteX15720" fmla="*/ 2069990 w 4610101"/>
              <a:gd name="connsiteY15720" fmla="*/ 1225353 h 6557032"/>
              <a:gd name="connsiteX15721" fmla="*/ 2086390 w 4610101"/>
              <a:gd name="connsiteY15721" fmla="*/ 1227175 h 6557032"/>
              <a:gd name="connsiteX15722" fmla="*/ 2079101 w 4610101"/>
              <a:gd name="connsiteY15722" fmla="*/ 1230820 h 6557032"/>
              <a:gd name="connsiteX15723" fmla="*/ 2082745 w 4610101"/>
              <a:gd name="connsiteY15723" fmla="*/ 1230820 h 6557032"/>
              <a:gd name="connsiteX15724" fmla="*/ 2090034 w 4610101"/>
              <a:gd name="connsiteY15724" fmla="*/ 1228998 h 6557032"/>
              <a:gd name="connsiteX15725" fmla="*/ 2084568 w 4610101"/>
              <a:gd name="connsiteY15725" fmla="*/ 1221709 h 6557032"/>
              <a:gd name="connsiteX15726" fmla="*/ 2073634 w 4610101"/>
              <a:gd name="connsiteY15726" fmla="*/ 1221709 h 6557032"/>
              <a:gd name="connsiteX15727" fmla="*/ 1262767 w 4610101"/>
              <a:gd name="connsiteY15727" fmla="*/ 1221709 h 6557032"/>
              <a:gd name="connsiteX15728" fmla="*/ 1259123 w 4610101"/>
              <a:gd name="connsiteY15728" fmla="*/ 1225353 h 6557032"/>
              <a:gd name="connsiteX15729" fmla="*/ 1262767 w 4610101"/>
              <a:gd name="connsiteY15729" fmla="*/ 1221709 h 6557032"/>
              <a:gd name="connsiteX15730" fmla="*/ 1257300 w 4610101"/>
              <a:gd name="connsiteY15730" fmla="*/ 1221709 h 6557032"/>
              <a:gd name="connsiteX15731" fmla="*/ 1253656 w 4610101"/>
              <a:gd name="connsiteY15731" fmla="*/ 1223531 h 6557032"/>
              <a:gd name="connsiteX15732" fmla="*/ 1257300 w 4610101"/>
              <a:gd name="connsiteY15732" fmla="*/ 1221709 h 6557032"/>
              <a:gd name="connsiteX15733" fmla="*/ 901976 w 4610101"/>
              <a:gd name="connsiteY15733" fmla="*/ 1221709 h 6557032"/>
              <a:gd name="connsiteX15734" fmla="*/ 900154 w 4610101"/>
              <a:gd name="connsiteY15734" fmla="*/ 1228998 h 6557032"/>
              <a:gd name="connsiteX15735" fmla="*/ 905621 w 4610101"/>
              <a:gd name="connsiteY15735" fmla="*/ 1225353 h 6557032"/>
              <a:gd name="connsiteX15736" fmla="*/ 901976 w 4610101"/>
              <a:gd name="connsiteY15736" fmla="*/ 1221709 h 6557032"/>
              <a:gd name="connsiteX15737" fmla="*/ 892866 w 4610101"/>
              <a:gd name="connsiteY15737" fmla="*/ 1221709 h 6557032"/>
              <a:gd name="connsiteX15738" fmla="*/ 894688 w 4610101"/>
              <a:gd name="connsiteY15738" fmla="*/ 1228998 h 6557032"/>
              <a:gd name="connsiteX15739" fmla="*/ 892866 w 4610101"/>
              <a:gd name="connsiteY15739" fmla="*/ 1221709 h 6557032"/>
              <a:gd name="connsiteX15740" fmla="*/ 413555 w 4610101"/>
              <a:gd name="connsiteY15740" fmla="*/ 1219965 h 6557032"/>
              <a:gd name="connsiteX15741" fmla="*/ 412722 w 4610101"/>
              <a:gd name="connsiteY15741" fmla="*/ 1222392 h 6557032"/>
              <a:gd name="connsiteX15742" fmla="*/ 410870 w 4610101"/>
              <a:gd name="connsiteY15742" fmla="*/ 1222649 h 6557032"/>
              <a:gd name="connsiteX15743" fmla="*/ 3037564 w 4610101"/>
              <a:gd name="connsiteY15743" fmla="*/ 1219887 h 6557032"/>
              <a:gd name="connsiteX15744" fmla="*/ 3044853 w 4610101"/>
              <a:gd name="connsiteY15744" fmla="*/ 1227175 h 6557032"/>
              <a:gd name="connsiteX15745" fmla="*/ 3037564 w 4610101"/>
              <a:gd name="connsiteY15745" fmla="*/ 1219887 h 6557032"/>
              <a:gd name="connsiteX15746" fmla="*/ 2414381 w 4610101"/>
              <a:gd name="connsiteY15746" fmla="*/ 1219887 h 6557032"/>
              <a:gd name="connsiteX15747" fmla="*/ 2410737 w 4610101"/>
              <a:gd name="connsiteY15747" fmla="*/ 1227175 h 6557032"/>
              <a:gd name="connsiteX15748" fmla="*/ 2414381 w 4610101"/>
              <a:gd name="connsiteY15748" fmla="*/ 1225353 h 6557032"/>
              <a:gd name="connsiteX15749" fmla="*/ 2414381 w 4610101"/>
              <a:gd name="connsiteY15749" fmla="*/ 1223531 h 6557032"/>
              <a:gd name="connsiteX15750" fmla="*/ 2414381 w 4610101"/>
              <a:gd name="connsiteY15750" fmla="*/ 1219887 h 6557032"/>
              <a:gd name="connsiteX15751" fmla="*/ 1435873 w 4610101"/>
              <a:gd name="connsiteY15751" fmla="*/ 1219887 h 6557032"/>
              <a:gd name="connsiteX15752" fmla="*/ 1430407 w 4610101"/>
              <a:gd name="connsiteY15752" fmla="*/ 1228998 h 6557032"/>
              <a:gd name="connsiteX15753" fmla="*/ 1423422 w 4610101"/>
              <a:gd name="connsiteY15753" fmla="*/ 1227833 h 6557032"/>
              <a:gd name="connsiteX15754" fmla="*/ 1428585 w 4610101"/>
              <a:gd name="connsiteY15754" fmla="*/ 1223531 h 6557032"/>
              <a:gd name="connsiteX15755" fmla="*/ 1426763 w 4610101"/>
              <a:gd name="connsiteY15755" fmla="*/ 1223936 h 6557032"/>
              <a:gd name="connsiteX15756" fmla="*/ 1414007 w 4610101"/>
              <a:gd name="connsiteY15756" fmla="*/ 1219887 h 6557032"/>
              <a:gd name="connsiteX15757" fmla="*/ 1412185 w 4610101"/>
              <a:gd name="connsiteY15757" fmla="*/ 1220570 h 6557032"/>
              <a:gd name="connsiteX15758" fmla="*/ 1412185 w 4610101"/>
              <a:gd name="connsiteY15758" fmla="*/ 1220201 h 6557032"/>
              <a:gd name="connsiteX15759" fmla="*/ 1186236 w 4610101"/>
              <a:gd name="connsiteY15759" fmla="*/ 1219887 h 6557032"/>
              <a:gd name="connsiteX15760" fmla="*/ 1184414 w 4610101"/>
              <a:gd name="connsiteY15760" fmla="*/ 1230820 h 6557032"/>
              <a:gd name="connsiteX15761" fmla="*/ 1191703 w 4610101"/>
              <a:gd name="connsiteY15761" fmla="*/ 1228998 h 6557032"/>
              <a:gd name="connsiteX15762" fmla="*/ 1209925 w 4610101"/>
              <a:gd name="connsiteY15762" fmla="*/ 1239931 h 6557032"/>
              <a:gd name="connsiteX15763" fmla="*/ 1186236 w 4610101"/>
              <a:gd name="connsiteY15763" fmla="*/ 1219887 h 6557032"/>
              <a:gd name="connsiteX15764" fmla="*/ 1184414 w 4610101"/>
              <a:gd name="connsiteY15764" fmla="*/ 1219887 h 6557032"/>
              <a:gd name="connsiteX15765" fmla="*/ 1168014 w 4610101"/>
              <a:gd name="connsiteY15765" fmla="*/ 1223531 h 6557032"/>
              <a:gd name="connsiteX15766" fmla="*/ 1182592 w 4610101"/>
              <a:gd name="connsiteY15766" fmla="*/ 1230820 h 6557032"/>
              <a:gd name="connsiteX15767" fmla="*/ 1184414 w 4610101"/>
              <a:gd name="connsiteY15767" fmla="*/ 1219887 h 6557032"/>
              <a:gd name="connsiteX15768" fmla="*/ 825445 w 4610101"/>
              <a:gd name="connsiteY15768" fmla="*/ 1219887 h 6557032"/>
              <a:gd name="connsiteX15769" fmla="*/ 829089 w 4610101"/>
              <a:gd name="connsiteY15769" fmla="*/ 1223531 h 6557032"/>
              <a:gd name="connsiteX15770" fmla="*/ 825445 w 4610101"/>
              <a:gd name="connsiteY15770" fmla="*/ 1219887 h 6557032"/>
              <a:gd name="connsiteX15771" fmla="*/ 626828 w 4610101"/>
              <a:gd name="connsiteY15771" fmla="*/ 1219887 h 6557032"/>
              <a:gd name="connsiteX15772" fmla="*/ 621362 w 4610101"/>
              <a:gd name="connsiteY15772" fmla="*/ 1223531 h 6557032"/>
              <a:gd name="connsiteX15773" fmla="*/ 632296 w 4610101"/>
              <a:gd name="connsiteY15773" fmla="*/ 1221709 h 6557032"/>
              <a:gd name="connsiteX15774" fmla="*/ 626828 w 4610101"/>
              <a:gd name="connsiteY15774" fmla="*/ 1219887 h 6557032"/>
              <a:gd name="connsiteX15775" fmla="*/ 614074 w 4610101"/>
              <a:gd name="connsiteY15775" fmla="*/ 1219887 h 6557032"/>
              <a:gd name="connsiteX15776" fmla="*/ 612251 w 4610101"/>
              <a:gd name="connsiteY15776" fmla="*/ 1225353 h 6557032"/>
              <a:gd name="connsiteX15777" fmla="*/ 617717 w 4610101"/>
              <a:gd name="connsiteY15777" fmla="*/ 1225353 h 6557032"/>
              <a:gd name="connsiteX15778" fmla="*/ 612251 w 4610101"/>
              <a:gd name="connsiteY15778" fmla="*/ 1225353 h 6557032"/>
              <a:gd name="connsiteX15779" fmla="*/ 617717 w 4610101"/>
              <a:gd name="connsiteY15779" fmla="*/ 1221709 h 6557032"/>
              <a:gd name="connsiteX15780" fmla="*/ 614074 w 4610101"/>
              <a:gd name="connsiteY15780" fmla="*/ 1219887 h 6557032"/>
              <a:gd name="connsiteX15781" fmla="*/ 561230 w 4610101"/>
              <a:gd name="connsiteY15781" fmla="*/ 1219887 h 6557032"/>
              <a:gd name="connsiteX15782" fmla="*/ 555763 w 4610101"/>
              <a:gd name="connsiteY15782" fmla="*/ 1221709 h 6557032"/>
              <a:gd name="connsiteX15783" fmla="*/ 561230 w 4610101"/>
              <a:gd name="connsiteY15783" fmla="*/ 1219887 h 6557032"/>
              <a:gd name="connsiteX15784" fmla="*/ 297015 w 4610101"/>
              <a:gd name="connsiteY15784" fmla="*/ 1219887 h 6557032"/>
              <a:gd name="connsiteX15785" fmla="*/ 298837 w 4610101"/>
              <a:gd name="connsiteY15785" fmla="*/ 1221709 h 6557032"/>
              <a:gd name="connsiteX15786" fmla="*/ 291549 w 4610101"/>
              <a:gd name="connsiteY15786" fmla="*/ 1221709 h 6557032"/>
              <a:gd name="connsiteX15787" fmla="*/ 317059 w 4610101"/>
              <a:gd name="connsiteY15787" fmla="*/ 1225353 h 6557032"/>
              <a:gd name="connsiteX15788" fmla="*/ 306126 w 4610101"/>
              <a:gd name="connsiteY15788" fmla="*/ 1227175 h 6557032"/>
              <a:gd name="connsiteX15789" fmla="*/ 298837 w 4610101"/>
              <a:gd name="connsiteY15789" fmla="*/ 1225353 h 6557032"/>
              <a:gd name="connsiteX15790" fmla="*/ 309771 w 4610101"/>
              <a:gd name="connsiteY15790" fmla="*/ 1221709 h 6557032"/>
              <a:gd name="connsiteX15791" fmla="*/ 297015 w 4610101"/>
              <a:gd name="connsiteY15791" fmla="*/ 1219887 h 6557032"/>
              <a:gd name="connsiteX15792" fmla="*/ 2503668 w 4610101"/>
              <a:gd name="connsiteY15792" fmla="*/ 1218166 h 6557032"/>
              <a:gd name="connsiteX15793" fmla="*/ 2525535 w 4610101"/>
              <a:gd name="connsiteY15793" fmla="*/ 1218166 h 6557032"/>
              <a:gd name="connsiteX15794" fmla="*/ 2503668 w 4610101"/>
              <a:gd name="connsiteY15794" fmla="*/ 1232744 h 6557032"/>
              <a:gd name="connsiteX15795" fmla="*/ 3305424 w 4610101"/>
              <a:gd name="connsiteY15795" fmla="*/ 1218065 h 6557032"/>
              <a:gd name="connsiteX15796" fmla="*/ 3312713 w 4610101"/>
              <a:gd name="connsiteY15796" fmla="*/ 1223531 h 6557032"/>
              <a:gd name="connsiteX15797" fmla="*/ 3314535 w 4610101"/>
              <a:gd name="connsiteY15797" fmla="*/ 1219887 h 6557032"/>
              <a:gd name="connsiteX15798" fmla="*/ 3305424 w 4610101"/>
              <a:gd name="connsiteY15798" fmla="*/ 1218065 h 6557032"/>
              <a:gd name="connsiteX15799" fmla="*/ 3052142 w 4610101"/>
              <a:gd name="connsiteY15799" fmla="*/ 1218065 h 6557032"/>
              <a:gd name="connsiteX15800" fmla="*/ 3052142 w 4610101"/>
              <a:gd name="connsiteY15800" fmla="*/ 1223531 h 6557032"/>
              <a:gd name="connsiteX15801" fmla="*/ 3059430 w 4610101"/>
              <a:gd name="connsiteY15801" fmla="*/ 1221709 h 6557032"/>
              <a:gd name="connsiteX15802" fmla="*/ 3052142 w 4610101"/>
              <a:gd name="connsiteY15802" fmla="*/ 1218065 h 6557032"/>
              <a:gd name="connsiteX15803" fmla="*/ 2640330 w 4610101"/>
              <a:gd name="connsiteY15803" fmla="*/ 1218065 h 6557032"/>
              <a:gd name="connsiteX15804" fmla="*/ 2640330 w 4610101"/>
              <a:gd name="connsiteY15804" fmla="*/ 1219887 h 6557032"/>
              <a:gd name="connsiteX15805" fmla="*/ 2643975 w 4610101"/>
              <a:gd name="connsiteY15805" fmla="*/ 1218065 h 6557032"/>
              <a:gd name="connsiteX15806" fmla="*/ 2640330 w 4610101"/>
              <a:gd name="connsiteY15806" fmla="*/ 1218065 h 6557032"/>
              <a:gd name="connsiteX15807" fmla="*/ 2133766 w 4610101"/>
              <a:gd name="connsiteY15807" fmla="*/ 1218065 h 6557032"/>
              <a:gd name="connsiteX15808" fmla="*/ 2124655 w 4610101"/>
              <a:gd name="connsiteY15808" fmla="*/ 1227175 h 6557032"/>
              <a:gd name="connsiteX15809" fmla="*/ 2131944 w 4610101"/>
              <a:gd name="connsiteY15809" fmla="*/ 1228998 h 6557032"/>
              <a:gd name="connsiteX15810" fmla="*/ 2133766 w 4610101"/>
              <a:gd name="connsiteY15810" fmla="*/ 1221709 h 6557032"/>
              <a:gd name="connsiteX15811" fmla="*/ 2099145 w 4610101"/>
              <a:gd name="connsiteY15811" fmla="*/ 1218065 h 6557032"/>
              <a:gd name="connsiteX15812" fmla="*/ 2099145 w 4610101"/>
              <a:gd name="connsiteY15812" fmla="*/ 1227175 h 6557032"/>
              <a:gd name="connsiteX15813" fmla="*/ 2106433 w 4610101"/>
              <a:gd name="connsiteY15813" fmla="*/ 1223531 h 6557032"/>
              <a:gd name="connsiteX15814" fmla="*/ 2099145 w 4610101"/>
              <a:gd name="connsiteY15814" fmla="*/ 1218065 h 6557032"/>
              <a:gd name="connsiteX15815" fmla="*/ 1240901 w 4610101"/>
              <a:gd name="connsiteY15815" fmla="*/ 1218065 h 6557032"/>
              <a:gd name="connsiteX15816" fmla="*/ 1242495 w 4610101"/>
              <a:gd name="connsiteY15816" fmla="*/ 1218976 h 6557032"/>
              <a:gd name="connsiteX15817" fmla="*/ 1242723 w 4610101"/>
              <a:gd name="connsiteY15817" fmla="*/ 1219887 h 6557032"/>
              <a:gd name="connsiteX15818" fmla="*/ 1240901 w 4610101"/>
              <a:gd name="connsiteY15818" fmla="*/ 1218065 h 6557032"/>
              <a:gd name="connsiteX15819" fmla="*/ 1235434 w 4610101"/>
              <a:gd name="connsiteY15819" fmla="*/ 1221709 h 6557032"/>
              <a:gd name="connsiteX15820" fmla="*/ 1244545 w 4610101"/>
              <a:gd name="connsiteY15820" fmla="*/ 1221709 h 6557032"/>
              <a:gd name="connsiteX15821" fmla="*/ 1242723 w 4610101"/>
              <a:gd name="connsiteY15821" fmla="*/ 1219887 h 6557032"/>
              <a:gd name="connsiteX15822" fmla="*/ 1244545 w 4610101"/>
              <a:gd name="connsiteY15822" fmla="*/ 1218292 h 6557032"/>
              <a:gd name="connsiteX15823" fmla="*/ 1240901 w 4610101"/>
              <a:gd name="connsiteY15823" fmla="*/ 1218065 h 6557032"/>
              <a:gd name="connsiteX15824" fmla="*/ 994907 w 4610101"/>
              <a:gd name="connsiteY15824" fmla="*/ 1218065 h 6557032"/>
              <a:gd name="connsiteX15825" fmla="*/ 989441 w 4610101"/>
              <a:gd name="connsiteY15825" fmla="*/ 1230820 h 6557032"/>
              <a:gd name="connsiteX15826" fmla="*/ 994907 w 4610101"/>
              <a:gd name="connsiteY15826" fmla="*/ 1218065 h 6557032"/>
              <a:gd name="connsiteX15827" fmla="*/ 927487 w 4610101"/>
              <a:gd name="connsiteY15827" fmla="*/ 1218065 h 6557032"/>
              <a:gd name="connsiteX15828" fmla="*/ 934777 w 4610101"/>
              <a:gd name="connsiteY15828" fmla="*/ 1223531 h 6557032"/>
              <a:gd name="connsiteX15829" fmla="*/ 927487 w 4610101"/>
              <a:gd name="connsiteY15829" fmla="*/ 1218065 h 6557032"/>
              <a:gd name="connsiteX15830" fmla="*/ 524786 w 4610101"/>
              <a:gd name="connsiteY15830" fmla="*/ 1218065 h 6557032"/>
              <a:gd name="connsiteX15831" fmla="*/ 521142 w 4610101"/>
              <a:gd name="connsiteY15831" fmla="*/ 1223531 h 6557032"/>
              <a:gd name="connsiteX15832" fmla="*/ 524786 w 4610101"/>
              <a:gd name="connsiteY15832" fmla="*/ 1218065 h 6557032"/>
              <a:gd name="connsiteX15833" fmla="*/ 419100 w 4610101"/>
              <a:gd name="connsiteY15833" fmla="*/ 1218065 h 6557032"/>
              <a:gd name="connsiteX15834" fmla="*/ 428211 w 4610101"/>
              <a:gd name="connsiteY15834" fmla="*/ 1228998 h 6557032"/>
              <a:gd name="connsiteX15835" fmla="*/ 419100 w 4610101"/>
              <a:gd name="connsiteY15835" fmla="*/ 1218065 h 6557032"/>
              <a:gd name="connsiteX15836" fmla="*/ 382657 w 4610101"/>
              <a:gd name="connsiteY15836" fmla="*/ 1218065 h 6557032"/>
              <a:gd name="connsiteX15837" fmla="*/ 384479 w 4610101"/>
              <a:gd name="connsiteY15837" fmla="*/ 1223531 h 6557032"/>
              <a:gd name="connsiteX15838" fmla="*/ 384479 w 4610101"/>
              <a:gd name="connsiteY15838" fmla="*/ 1221709 h 6557032"/>
              <a:gd name="connsiteX15839" fmla="*/ 382657 w 4610101"/>
              <a:gd name="connsiteY15839" fmla="*/ 1218065 h 6557032"/>
              <a:gd name="connsiteX15840" fmla="*/ 1025884 w 4610101"/>
              <a:gd name="connsiteY15840" fmla="*/ 1218064 h 6557032"/>
              <a:gd name="connsiteX15841" fmla="*/ 1027138 w 4610101"/>
              <a:gd name="connsiteY15841" fmla="*/ 1219317 h 6557032"/>
              <a:gd name="connsiteX15842" fmla="*/ 1025884 w 4610101"/>
              <a:gd name="connsiteY15842" fmla="*/ 1219887 h 6557032"/>
              <a:gd name="connsiteX15843" fmla="*/ 2342405 w 4610101"/>
              <a:gd name="connsiteY15843" fmla="*/ 1217153 h 6557032"/>
              <a:gd name="connsiteX15844" fmla="*/ 2336027 w 4610101"/>
              <a:gd name="connsiteY15844" fmla="*/ 1219887 h 6557032"/>
              <a:gd name="connsiteX15845" fmla="*/ 2336027 w 4610101"/>
              <a:gd name="connsiteY15845" fmla="*/ 1223531 h 6557032"/>
              <a:gd name="connsiteX15846" fmla="*/ 2346960 w 4610101"/>
              <a:gd name="connsiteY15846" fmla="*/ 1221709 h 6557032"/>
              <a:gd name="connsiteX15847" fmla="*/ 2348782 w 4610101"/>
              <a:gd name="connsiteY15847" fmla="*/ 1219887 h 6557032"/>
              <a:gd name="connsiteX15848" fmla="*/ 2342405 w 4610101"/>
              <a:gd name="connsiteY15848" fmla="*/ 1217153 h 6557032"/>
              <a:gd name="connsiteX15849" fmla="*/ 1382119 w 4610101"/>
              <a:gd name="connsiteY15849" fmla="*/ 1216698 h 6557032"/>
              <a:gd name="connsiteX15850" fmla="*/ 1379386 w 4610101"/>
              <a:gd name="connsiteY15850" fmla="*/ 1218065 h 6557032"/>
              <a:gd name="connsiteX15851" fmla="*/ 1383030 w 4610101"/>
              <a:gd name="connsiteY15851" fmla="*/ 1218065 h 6557032"/>
              <a:gd name="connsiteX15852" fmla="*/ 1379386 w 4610101"/>
              <a:gd name="connsiteY15852" fmla="*/ 1221709 h 6557032"/>
              <a:gd name="connsiteX15853" fmla="*/ 1384854 w 4610101"/>
              <a:gd name="connsiteY15853" fmla="*/ 1218065 h 6557032"/>
              <a:gd name="connsiteX15854" fmla="*/ 1382119 w 4610101"/>
              <a:gd name="connsiteY15854" fmla="*/ 1216698 h 6557032"/>
              <a:gd name="connsiteX15855" fmla="*/ 3174227 w 4610101"/>
              <a:gd name="connsiteY15855" fmla="*/ 1216242 h 6557032"/>
              <a:gd name="connsiteX15856" fmla="*/ 3183338 w 4610101"/>
              <a:gd name="connsiteY15856" fmla="*/ 1227175 h 6557032"/>
              <a:gd name="connsiteX15857" fmla="*/ 3188805 w 4610101"/>
              <a:gd name="connsiteY15857" fmla="*/ 1216242 h 6557032"/>
              <a:gd name="connsiteX15858" fmla="*/ 3174227 w 4610101"/>
              <a:gd name="connsiteY15858" fmla="*/ 1216242 h 6557032"/>
              <a:gd name="connsiteX15859" fmla="*/ 2824370 w 4610101"/>
              <a:gd name="connsiteY15859" fmla="*/ 1216242 h 6557032"/>
              <a:gd name="connsiteX15860" fmla="*/ 2831659 w 4610101"/>
              <a:gd name="connsiteY15860" fmla="*/ 1225353 h 6557032"/>
              <a:gd name="connsiteX15861" fmla="*/ 2833481 w 4610101"/>
              <a:gd name="connsiteY15861" fmla="*/ 1218065 h 6557032"/>
              <a:gd name="connsiteX15862" fmla="*/ 2824370 w 4610101"/>
              <a:gd name="connsiteY15862" fmla="*/ 1216242 h 6557032"/>
              <a:gd name="connsiteX15863" fmla="*/ 1393963 w 4610101"/>
              <a:gd name="connsiteY15863" fmla="*/ 1216242 h 6557032"/>
              <a:gd name="connsiteX15864" fmla="*/ 1383030 w 4610101"/>
              <a:gd name="connsiteY15864" fmla="*/ 1221709 h 6557032"/>
              <a:gd name="connsiteX15865" fmla="*/ 1393963 w 4610101"/>
              <a:gd name="connsiteY15865" fmla="*/ 1219887 h 6557032"/>
              <a:gd name="connsiteX15866" fmla="*/ 1390319 w 4610101"/>
              <a:gd name="connsiteY15866" fmla="*/ 1218065 h 6557032"/>
              <a:gd name="connsiteX15867" fmla="*/ 1393963 w 4610101"/>
              <a:gd name="connsiteY15867" fmla="*/ 1216242 h 6557032"/>
              <a:gd name="connsiteX15868" fmla="*/ 1286455 w 4610101"/>
              <a:gd name="connsiteY15868" fmla="*/ 1216242 h 6557032"/>
              <a:gd name="connsiteX15869" fmla="*/ 1264589 w 4610101"/>
              <a:gd name="connsiteY15869" fmla="*/ 1223531 h 6557032"/>
              <a:gd name="connsiteX15870" fmla="*/ 1286455 w 4610101"/>
              <a:gd name="connsiteY15870" fmla="*/ 1216242 h 6557032"/>
              <a:gd name="connsiteX15871" fmla="*/ 358969 w 4610101"/>
              <a:gd name="connsiteY15871" fmla="*/ 1216242 h 6557032"/>
              <a:gd name="connsiteX15872" fmla="*/ 357146 w 4610101"/>
              <a:gd name="connsiteY15872" fmla="*/ 1218065 h 6557032"/>
              <a:gd name="connsiteX15873" fmla="*/ 364435 w 4610101"/>
              <a:gd name="connsiteY15873" fmla="*/ 1219887 h 6557032"/>
              <a:gd name="connsiteX15874" fmla="*/ 358969 w 4610101"/>
              <a:gd name="connsiteY15874" fmla="*/ 1216242 h 6557032"/>
              <a:gd name="connsiteX15875" fmla="*/ 326169 w 4610101"/>
              <a:gd name="connsiteY15875" fmla="*/ 1216242 h 6557032"/>
              <a:gd name="connsiteX15876" fmla="*/ 337102 w 4610101"/>
              <a:gd name="connsiteY15876" fmla="*/ 1216242 h 6557032"/>
              <a:gd name="connsiteX15877" fmla="*/ 326169 w 4610101"/>
              <a:gd name="connsiteY15877" fmla="*/ 1216242 h 6557032"/>
              <a:gd name="connsiteX15878" fmla="*/ 1348410 w 4610101"/>
              <a:gd name="connsiteY15878" fmla="*/ 1214420 h 6557032"/>
              <a:gd name="connsiteX15879" fmla="*/ 1335868 w 4610101"/>
              <a:gd name="connsiteY15879" fmla="*/ 1219994 h 6557032"/>
              <a:gd name="connsiteX15880" fmla="*/ 1335654 w 4610101"/>
              <a:gd name="connsiteY15880" fmla="*/ 1219887 h 6557032"/>
              <a:gd name="connsiteX15881" fmla="*/ 1335654 w 4610101"/>
              <a:gd name="connsiteY15881" fmla="*/ 1220089 h 6557032"/>
              <a:gd name="connsiteX15882" fmla="*/ 1332009 w 4610101"/>
              <a:gd name="connsiteY15882" fmla="*/ 1221709 h 6557032"/>
              <a:gd name="connsiteX15883" fmla="*/ 1335654 w 4610101"/>
              <a:gd name="connsiteY15883" fmla="*/ 1223531 h 6557032"/>
              <a:gd name="connsiteX15884" fmla="*/ 1335654 w 4610101"/>
              <a:gd name="connsiteY15884" fmla="*/ 1220089 h 6557032"/>
              <a:gd name="connsiteX15885" fmla="*/ 1335868 w 4610101"/>
              <a:gd name="connsiteY15885" fmla="*/ 1219994 h 6557032"/>
              <a:gd name="connsiteX15886" fmla="*/ 1339299 w 4610101"/>
              <a:gd name="connsiteY15886" fmla="*/ 1221709 h 6557032"/>
              <a:gd name="connsiteX15887" fmla="*/ 1350231 w 4610101"/>
              <a:gd name="connsiteY15887" fmla="*/ 1218065 h 6557032"/>
              <a:gd name="connsiteX15888" fmla="*/ 1348410 w 4610101"/>
              <a:gd name="connsiteY15888" fmla="*/ 1214420 h 6557032"/>
              <a:gd name="connsiteX15889" fmla="*/ 1297388 w 4610101"/>
              <a:gd name="connsiteY15889" fmla="*/ 1214420 h 6557032"/>
              <a:gd name="connsiteX15890" fmla="*/ 1293744 w 4610101"/>
              <a:gd name="connsiteY15890" fmla="*/ 1221709 h 6557032"/>
              <a:gd name="connsiteX15891" fmla="*/ 1301033 w 4610101"/>
              <a:gd name="connsiteY15891" fmla="*/ 1219887 h 6557032"/>
              <a:gd name="connsiteX15892" fmla="*/ 1310143 w 4610101"/>
              <a:gd name="connsiteY15892" fmla="*/ 1219887 h 6557032"/>
              <a:gd name="connsiteX15893" fmla="*/ 1297388 w 4610101"/>
              <a:gd name="connsiteY15893" fmla="*/ 1214420 h 6557032"/>
              <a:gd name="connsiteX15894" fmla="*/ 1288277 w 4610101"/>
              <a:gd name="connsiteY15894" fmla="*/ 1214420 h 6557032"/>
              <a:gd name="connsiteX15895" fmla="*/ 1288277 w 4610101"/>
              <a:gd name="connsiteY15895" fmla="*/ 1219887 h 6557032"/>
              <a:gd name="connsiteX15896" fmla="*/ 1291922 w 4610101"/>
              <a:gd name="connsiteY15896" fmla="*/ 1216242 h 6557032"/>
              <a:gd name="connsiteX15897" fmla="*/ 1288277 w 4610101"/>
              <a:gd name="connsiteY15897" fmla="*/ 1214420 h 6557032"/>
              <a:gd name="connsiteX15898" fmla="*/ 1262767 w 4610101"/>
              <a:gd name="connsiteY15898" fmla="*/ 1214420 h 6557032"/>
              <a:gd name="connsiteX15899" fmla="*/ 1244545 w 4610101"/>
              <a:gd name="connsiteY15899" fmla="*/ 1218065 h 6557032"/>
              <a:gd name="connsiteX15900" fmla="*/ 1262767 w 4610101"/>
              <a:gd name="connsiteY15900" fmla="*/ 1214420 h 6557032"/>
              <a:gd name="connsiteX15901" fmla="*/ 1075083 w 4610101"/>
              <a:gd name="connsiteY15901" fmla="*/ 1214420 h 6557032"/>
              <a:gd name="connsiteX15902" fmla="*/ 1082373 w 4610101"/>
              <a:gd name="connsiteY15902" fmla="*/ 1219887 h 6557032"/>
              <a:gd name="connsiteX15903" fmla="*/ 1075083 w 4610101"/>
              <a:gd name="connsiteY15903" fmla="*/ 1214420 h 6557032"/>
              <a:gd name="connsiteX15904" fmla="*/ 1004018 w 4610101"/>
              <a:gd name="connsiteY15904" fmla="*/ 1214420 h 6557032"/>
              <a:gd name="connsiteX15905" fmla="*/ 1004018 w 4610101"/>
              <a:gd name="connsiteY15905" fmla="*/ 1216242 h 6557032"/>
              <a:gd name="connsiteX15906" fmla="*/ 1007663 w 4610101"/>
              <a:gd name="connsiteY15906" fmla="*/ 1221709 h 6557032"/>
              <a:gd name="connsiteX15907" fmla="*/ 1009485 w 4610101"/>
              <a:gd name="connsiteY15907" fmla="*/ 1219887 h 6557032"/>
              <a:gd name="connsiteX15908" fmla="*/ 1004018 w 4610101"/>
              <a:gd name="connsiteY15908" fmla="*/ 1214420 h 6557032"/>
              <a:gd name="connsiteX15909" fmla="*/ 470121 w 4610101"/>
              <a:gd name="connsiteY15909" fmla="*/ 1214420 h 6557032"/>
              <a:gd name="connsiteX15910" fmla="*/ 470121 w 4610101"/>
              <a:gd name="connsiteY15910" fmla="*/ 1218065 h 6557032"/>
              <a:gd name="connsiteX15911" fmla="*/ 471943 w 4610101"/>
              <a:gd name="connsiteY15911" fmla="*/ 1216242 h 6557032"/>
              <a:gd name="connsiteX15912" fmla="*/ 470121 w 4610101"/>
              <a:gd name="connsiteY15912" fmla="*/ 1214420 h 6557032"/>
              <a:gd name="connsiteX15913" fmla="*/ 411812 w 4610101"/>
              <a:gd name="connsiteY15913" fmla="*/ 1214420 h 6557032"/>
              <a:gd name="connsiteX15914" fmla="*/ 404523 w 4610101"/>
              <a:gd name="connsiteY15914" fmla="*/ 1223531 h 6557032"/>
              <a:gd name="connsiteX15915" fmla="*/ 410870 w 4610101"/>
              <a:gd name="connsiteY15915" fmla="*/ 1222649 h 6557032"/>
              <a:gd name="connsiteX15916" fmla="*/ 408167 w 4610101"/>
              <a:gd name="connsiteY15916" fmla="*/ 1225353 h 6557032"/>
              <a:gd name="connsiteX15917" fmla="*/ 420923 w 4610101"/>
              <a:gd name="connsiteY15917" fmla="*/ 1230820 h 6557032"/>
              <a:gd name="connsiteX15918" fmla="*/ 411812 w 4610101"/>
              <a:gd name="connsiteY15918" fmla="*/ 1225353 h 6557032"/>
              <a:gd name="connsiteX15919" fmla="*/ 428211 w 4610101"/>
              <a:gd name="connsiteY15919" fmla="*/ 1228998 h 6557032"/>
              <a:gd name="connsiteX15920" fmla="*/ 433678 w 4610101"/>
              <a:gd name="connsiteY15920" fmla="*/ 1225353 h 6557032"/>
              <a:gd name="connsiteX15921" fmla="*/ 419100 w 4610101"/>
              <a:gd name="connsiteY15921" fmla="*/ 1214420 h 6557032"/>
              <a:gd name="connsiteX15922" fmla="*/ 413555 w 4610101"/>
              <a:gd name="connsiteY15922" fmla="*/ 1219965 h 6557032"/>
              <a:gd name="connsiteX15923" fmla="*/ 415456 w 4610101"/>
              <a:gd name="connsiteY15923" fmla="*/ 1214420 h 6557032"/>
              <a:gd name="connsiteX15924" fmla="*/ 411812 w 4610101"/>
              <a:gd name="connsiteY15924" fmla="*/ 1219887 h 6557032"/>
              <a:gd name="connsiteX15925" fmla="*/ 411812 w 4610101"/>
              <a:gd name="connsiteY15925" fmla="*/ 1214420 h 6557032"/>
              <a:gd name="connsiteX15926" fmla="*/ 386301 w 4610101"/>
              <a:gd name="connsiteY15926" fmla="*/ 1214420 h 6557032"/>
              <a:gd name="connsiteX15927" fmla="*/ 393590 w 4610101"/>
              <a:gd name="connsiteY15927" fmla="*/ 1219887 h 6557032"/>
              <a:gd name="connsiteX15928" fmla="*/ 386301 w 4610101"/>
              <a:gd name="connsiteY15928" fmla="*/ 1214420 h 6557032"/>
              <a:gd name="connsiteX15929" fmla="*/ 984886 w 4610101"/>
              <a:gd name="connsiteY15929" fmla="*/ 1213965 h 6557032"/>
              <a:gd name="connsiteX15930" fmla="*/ 980330 w 4610101"/>
              <a:gd name="connsiteY15930" fmla="*/ 1216242 h 6557032"/>
              <a:gd name="connsiteX15931" fmla="*/ 982152 w 4610101"/>
              <a:gd name="connsiteY15931" fmla="*/ 1223531 h 6557032"/>
              <a:gd name="connsiteX15932" fmla="*/ 983974 w 4610101"/>
              <a:gd name="connsiteY15932" fmla="*/ 1219887 h 6557032"/>
              <a:gd name="connsiteX15933" fmla="*/ 985796 w 4610101"/>
              <a:gd name="connsiteY15933" fmla="*/ 1223531 h 6557032"/>
              <a:gd name="connsiteX15934" fmla="*/ 985796 w 4610101"/>
              <a:gd name="connsiteY15934" fmla="*/ 1218065 h 6557032"/>
              <a:gd name="connsiteX15935" fmla="*/ 989441 w 4610101"/>
              <a:gd name="connsiteY15935" fmla="*/ 1219887 h 6557032"/>
              <a:gd name="connsiteX15936" fmla="*/ 989441 w 4610101"/>
              <a:gd name="connsiteY15936" fmla="*/ 1214420 h 6557032"/>
              <a:gd name="connsiteX15937" fmla="*/ 984886 w 4610101"/>
              <a:gd name="connsiteY15937" fmla="*/ 1213965 h 6557032"/>
              <a:gd name="connsiteX15938" fmla="*/ 364663 w 4610101"/>
              <a:gd name="connsiteY15938" fmla="*/ 1213965 h 6557032"/>
              <a:gd name="connsiteX15939" fmla="*/ 360791 w 4610101"/>
              <a:gd name="connsiteY15939" fmla="*/ 1216242 h 6557032"/>
              <a:gd name="connsiteX15940" fmla="*/ 369902 w 4610101"/>
              <a:gd name="connsiteY15940" fmla="*/ 1214420 h 6557032"/>
              <a:gd name="connsiteX15941" fmla="*/ 364663 w 4610101"/>
              <a:gd name="connsiteY15941" fmla="*/ 1213965 h 6557032"/>
              <a:gd name="connsiteX15942" fmla="*/ 1166951 w 4610101"/>
              <a:gd name="connsiteY15942" fmla="*/ 1213813 h 6557032"/>
              <a:gd name="connsiteX15943" fmla="*/ 1166426 w 4610101"/>
              <a:gd name="connsiteY15943" fmla="*/ 1218013 h 6557032"/>
              <a:gd name="connsiteX15944" fmla="*/ 1166192 w 4610101"/>
              <a:gd name="connsiteY15944" fmla="*/ 1218065 h 6557032"/>
              <a:gd name="connsiteX15945" fmla="*/ 1311966 w 4610101"/>
              <a:gd name="connsiteY15945" fmla="*/ 1213509 h 6557032"/>
              <a:gd name="connsiteX15946" fmla="*/ 1306499 w 4610101"/>
              <a:gd name="connsiteY15946" fmla="*/ 1214420 h 6557032"/>
              <a:gd name="connsiteX15947" fmla="*/ 1311966 w 4610101"/>
              <a:gd name="connsiteY15947" fmla="*/ 1218065 h 6557032"/>
              <a:gd name="connsiteX15948" fmla="*/ 1311966 w 4610101"/>
              <a:gd name="connsiteY15948" fmla="*/ 1213509 h 6557032"/>
              <a:gd name="connsiteX15949" fmla="*/ 3298135 w 4610101"/>
              <a:gd name="connsiteY15949" fmla="*/ 1212598 h 6557032"/>
              <a:gd name="connsiteX15950" fmla="*/ 3290847 w 4610101"/>
              <a:gd name="connsiteY15950" fmla="*/ 1216242 h 6557032"/>
              <a:gd name="connsiteX15951" fmla="*/ 3298135 w 4610101"/>
              <a:gd name="connsiteY15951" fmla="*/ 1219887 h 6557032"/>
              <a:gd name="connsiteX15952" fmla="*/ 3298135 w 4610101"/>
              <a:gd name="connsiteY15952" fmla="*/ 1212598 h 6557032"/>
              <a:gd name="connsiteX15953" fmla="*/ 1324721 w 4610101"/>
              <a:gd name="connsiteY15953" fmla="*/ 1212598 h 6557032"/>
              <a:gd name="connsiteX15954" fmla="*/ 1321077 w 4610101"/>
              <a:gd name="connsiteY15954" fmla="*/ 1218065 h 6557032"/>
              <a:gd name="connsiteX15955" fmla="*/ 1324721 w 4610101"/>
              <a:gd name="connsiteY15955" fmla="*/ 1218065 h 6557032"/>
              <a:gd name="connsiteX15956" fmla="*/ 1324721 w 4610101"/>
              <a:gd name="connsiteY15956" fmla="*/ 1212598 h 6557032"/>
              <a:gd name="connsiteX15957" fmla="*/ 1027707 w 4610101"/>
              <a:gd name="connsiteY15957" fmla="*/ 1212598 h 6557032"/>
              <a:gd name="connsiteX15958" fmla="*/ 1025884 w 4610101"/>
              <a:gd name="connsiteY15958" fmla="*/ 1216242 h 6557032"/>
              <a:gd name="connsiteX15959" fmla="*/ 1025884 w 4610101"/>
              <a:gd name="connsiteY15959" fmla="*/ 1218064 h 6557032"/>
              <a:gd name="connsiteX15960" fmla="*/ 1024062 w 4610101"/>
              <a:gd name="connsiteY15960" fmla="*/ 1216242 h 6557032"/>
              <a:gd name="connsiteX15961" fmla="*/ 1020418 w 4610101"/>
              <a:gd name="connsiteY15961" fmla="*/ 1221709 h 6557032"/>
              <a:gd name="connsiteX15962" fmla="*/ 1027707 w 4610101"/>
              <a:gd name="connsiteY15962" fmla="*/ 1219887 h 6557032"/>
              <a:gd name="connsiteX15963" fmla="*/ 1027138 w 4610101"/>
              <a:gd name="connsiteY15963" fmla="*/ 1219317 h 6557032"/>
              <a:gd name="connsiteX15964" fmla="*/ 1030895 w 4610101"/>
              <a:gd name="connsiteY15964" fmla="*/ 1217609 h 6557032"/>
              <a:gd name="connsiteX15965" fmla="*/ 1033173 w 4610101"/>
              <a:gd name="connsiteY15965" fmla="*/ 1212598 h 6557032"/>
              <a:gd name="connsiteX15966" fmla="*/ 1027707 w 4610101"/>
              <a:gd name="connsiteY15966" fmla="*/ 1212598 h 6557032"/>
              <a:gd name="connsiteX15967" fmla="*/ 446433 w 4610101"/>
              <a:gd name="connsiteY15967" fmla="*/ 1212598 h 6557032"/>
              <a:gd name="connsiteX15968" fmla="*/ 448256 w 4610101"/>
              <a:gd name="connsiteY15968" fmla="*/ 1214420 h 6557032"/>
              <a:gd name="connsiteX15969" fmla="*/ 447211 w 4610101"/>
              <a:gd name="connsiteY15969" fmla="*/ 1214153 h 6557032"/>
              <a:gd name="connsiteX15970" fmla="*/ 388123 w 4610101"/>
              <a:gd name="connsiteY15970" fmla="*/ 1212598 h 6557032"/>
              <a:gd name="connsiteX15971" fmla="*/ 406345 w 4610101"/>
              <a:gd name="connsiteY15971" fmla="*/ 1214420 h 6557032"/>
              <a:gd name="connsiteX15972" fmla="*/ 388123 w 4610101"/>
              <a:gd name="connsiteY15972" fmla="*/ 1212598 h 6557032"/>
              <a:gd name="connsiteX15973" fmla="*/ 701993 w 4610101"/>
              <a:gd name="connsiteY15973" fmla="*/ 1212143 h 6557032"/>
              <a:gd name="connsiteX15974" fmla="*/ 688782 w 4610101"/>
              <a:gd name="connsiteY15974" fmla="*/ 1212598 h 6557032"/>
              <a:gd name="connsiteX15975" fmla="*/ 690604 w 4610101"/>
              <a:gd name="connsiteY15975" fmla="*/ 1227175 h 6557032"/>
              <a:gd name="connsiteX15976" fmla="*/ 701537 w 4610101"/>
              <a:gd name="connsiteY15976" fmla="*/ 1225353 h 6557032"/>
              <a:gd name="connsiteX15977" fmla="*/ 699715 w 4610101"/>
              <a:gd name="connsiteY15977" fmla="*/ 1221709 h 6557032"/>
              <a:gd name="connsiteX15978" fmla="*/ 714293 w 4610101"/>
              <a:gd name="connsiteY15978" fmla="*/ 1219887 h 6557032"/>
              <a:gd name="connsiteX15979" fmla="*/ 712470 w 4610101"/>
              <a:gd name="connsiteY15979" fmla="*/ 1219887 h 6557032"/>
              <a:gd name="connsiteX15980" fmla="*/ 701993 w 4610101"/>
              <a:gd name="connsiteY15980" fmla="*/ 1212143 h 6557032"/>
              <a:gd name="connsiteX15981" fmla="*/ 3199738 w 4610101"/>
              <a:gd name="connsiteY15981" fmla="*/ 1210776 h 6557032"/>
              <a:gd name="connsiteX15982" fmla="*/ 3201560 w 4610101"/>
              <a:gd name="connsiteY15982" fmla="*/ 1219887 h 6557032"/>
              <a:gd name="connsiteX15983" fmla="*/ 3208849 w 4610101"/>
              <a:gd name="connsiteY15983" fmla="*/ 1221709 h 6557032"/>
              <a:gd name="connsiteX15984" fmla="*/ 3214315 w 4610101"/>
              <a:gd name="connsiteY15984" fmla="*/ 1218065 h 6557032"/>
              <a:gd name="connsiteX15985" fmla="*/ 3199738 w 4610101"/>
              <a:gd name="connsiteY15985" fmla="*/ 1210776 h 6557032"/>
              <a:gd name="connsiteX15986" fmla="*/ 3022987 w 4610101"/>
              <a:gd name="connsiteY15986" fmla="*/ 1210776 h 6557032"/>
              <a:gd name="connsiteX15987" fmla="*/ 3033920 w 4610101"/>
              <a:gd name="connsiteY15987" fmla="*/ 1212598 h 6557032"/>
              <a:gd name="connsiteX15988" fmla="*/ 3022987 w 4610101"/>
              <a:gd name="connsiteY15988" fmla="*/ 1210776 h 6557032"/>
              <a:gd name="connsiteX15989" fmla="*/ 2427136 w 4610101"/>
              <a:gd name="connsiteY15989" fmla="*/ 1210776 h 6557032"/>
              <a:gd name="connsiteX15990" fmla="*/ 2423492 w 4610101"/>
              <a:gd name="connsiteY15990" fmla="*/ 1212598 h 6557032"/>
              <a:gd name="connsiteX15991" fmla="*/ 2425314 w 4610101"/>
              <a:gd name="connsiteY15991" fmla="*/ 1214420 h 6557032"/>
              <a:gd name="connsiteX15992" fmla="*/ 2427136 w 4610101"/>
              <a:gd name="connsiteY15992" fmla="*/ 1210776 h 6557032"/>
              <a:gd name="connsiteX15993" fmla="*/ 2414381 w 4610101"/>
              <a:gd name="connsiteY15993" fmla="*/ 1210776 h 6557032"/>
              <a:gd name="connsiteX15994" fmla="*/ 2414381 w 4610101"/>
              <a:gd name="connsiteY15994" fmla="*/ 1216242 h 6557032"/>
              <a:gd name="connsiteX15995" fmla="*/ 2414381 w 4610101"/>
              <a:gd name="connsiteY15995" fmla="*/ 1210776 h 6557032"/>
              <a:gd name="connsiteX15996" fmla="*/ 2405270 w 4610101"/>
              <a:gd name="connsiteY15996" fmla="*/ 1210776 h 6557032"/>
              <a:gd name="connsiteX15997" fmla="*/ 2397981 w 4610101"/>
              <a:gd name="connsiteY15997" fmla="*/ 1214420 h 6557032"/>
              <a:gd name="connsiteX15998" fmla="*/ 2407092 w 4610101"/>
              <a:gd name="connsiteY15998" fmla="*/ 1225353 h 6557032"/>
              <a:gd name="connsiteX15999" fmla="*/ 2407092 w 4610101"/>
              <a:gd name="connsiteY15999" fmla="*/ 1214420 h 6557032"/>
              <a:gd name="connsiteX16000" fmla="*/ 2401626 w 4610101"/>
              <a:gd name="connsiteY16000" fmla="*/ 1214420 h 6557032"/>
              <a:gd name="connsiteX16001" fmla="*/ 2405270 w 4610101"/>
              <a:gd name="connsiteY16001" fmla="*/ 1210776 h 6557032"/>
              <a:gd name="connsiteX16002" fmla="*/ 2394337 w 4610101"/>
              <a:gd name="connsiteY16002" fmla="*/ 1210776 h 6557032"/>
              <a:gd name="connsiteX16003" fmla="*/ 2383404 w 4610101"/>
              <a:gd name="connsiteY16003" fmla="*/ 1218065 h 6557032"/>
              <a:gd name="connsiteX16004" fmla="*/ 2399803 w 4610101"/>
              <a:gd name="connsiteY16004" fmla="*/ 1230820 h 6557032"/>
              <a:gd name="connsiteX16005" fmla="*/ 2405270 w 4610101"/>
              <a:gd name="connsiteY16005" fmla="*/ 1228998 h 6557032"/>
              <a:gd name="connsiteX16006" fmla="*/ 2394337 w 4610101"/>
              <a:gd name="connsiteY16006" fmla="*/ 1210776 h 6557032"/>
              <a:gd name="connsiteX16007" fmla="*/ 2057235 w 4610101"/>
              <a:gd name="connsiteY16007" fmla="*/ 1210776 h 6557032"/>
              <a:gd name="connsiteX16008" fmla="*/ 2057235 w 4610101"/>
              <a:gd name="connsiteY16008" fmla="*/ 1216242 h 6557032"/>
              <a:gd name="connsiteX16009" fmla="*/ 2059057 w 4610101"/>
              <a:gd name="connsiteY16009" fmla="*/ 1214420 h 6557032"/>
              <a:gd name="connsiteX16010" fmla="*/ 2057235 w 4610101"/>
              <a:gd name="connsiteY16010" fmla="*/ 1210776 h 6557032"/>
              <a:gd name="connsiteX16011" fmla="*/ 1239080 w 4610101"/>
              <a:gd name="connsiteY16011" fmla="*/ 1210776 h 6557032"/>
              <a:gd name="connsiteX16012" fmla="*/ 1226323 w 4610101"/>
              <a:gd name="connsiteY16012" fmla="*/ 1216242 h 6557032"/>
              <a:gd name="connsiteX16013" fmla="*/ 1217213 w 4610101"/>
              <a:gd name="connsiteY16013" fmla="*/ 1218065 h 6557032"/>
              <a:gd name="connsiteX16014" fmla="*/ 1242723 w 4610101"/>
              <a:gd name="connsiteY16014" fmla="*/ 1216242 h 6557032"/>
              <a:gd name="connsiteX16015" fmla="*/ 1239080 w 4610101"/>
              <a:gd name="connsiteY16015" fmla="*/ 1210776 h 6557032"/>
              <a:gd name="connsiteX16016" fmla="*/ 1055040 w 4610101"/>
              <a:gd name="connsiteY16016" fmla="*/ 1210776 h 6557032"/>
              <a:gd name="connsiteX16017" fmla="*/ 1051395 w 4610101"/>
              <a:gd name="connsiteY16017" fmla="*/ 1214420 h 6557032"/>
              <a:gd name="connsiteX16018" fmla="*/ 1060506 w 4610101"/>
              <a:gd name="connsiteY16018" fmla="*/ 1214420 h 6557032"/>
              <a:gd name="connsiteX16019" fmla="*/ 1055040 w 4610101"/>
              <a:gd name="connsiteY16019" fmla="*/ 1210776 h 6557032"/>
              <a:gd name="connsiteX16020" fmla="*/ 1788956 w 4610101"/>
              <a:gd name="connsiteY16020" fmla="*/ 1209303 h 6557032"/>
              <a:gd name="connsiteX16021" fmla="*/ 1790286 w 4610101"/>
              <a:gd name="connsiteY16021" fmla="*/ 1210347 h 6557032"/>
              <a:gd name="connsiteX16022" fmla="*/ 1791197 w 4610101"/>
              <a:gd name="connsiteY16022" fmla="*/ 1218091 h 6557032"/>
              <a:gd name="connsiteX16023" fmla="*/ 305822 w 4610101"/>
              <a:gd name="connsiteY16023" fmla="*/ 1209258 h 6557032"/>
              <a:gd name="connsiteX16024" fmla="*/ 306809 w 4610101"/>
              <a:gd name="connsiteY16024" fmla="*/ 1209637 h 6557032"/>
              <a:gd name="connsiteX16025" fmla="*/ 306854 w 4610101"/>
              <a:gd name="connsiteY16025" fmla="*/ 1209682 h 6557032"/>
              <a:gd name="connsiteX16026" fmla="*/ 305795 w 4610101"/>
              <a:gd name="connsiteY16026" fmla="*/ 1209285 h 6557032"/>
              <a:gd name="connsiteX16027" fmla="*/ 3145073 w 4610101"/>
              <a:gd name="connsiteY16027" fmla="*/ 1208954 h 6557032"/>
              <a:gd name="connsiteX16028" fmla="*/ 3145073 w 4610101"/>
              <a:gd name="connsiteY16028" fmla="*/ 1216242 h 6557032"/>
              <a:gd name="connsiteX16029" fmla="*/ 3145073 w 4610101"/>
              <a:gd name="connsiteY16029" fmla="*/ 1208954 h 6557032"/>
              <a:gd name="connsiteX16030" fmla="*/ 2722328 w 4610101"/>
              <a:gd name="connsiteY16030" fmla="*/ 1208954 h 6557032"/>
              <a:gd name="connsiteX16031" fmla="*/ 2711395 w 4610101"/>
              <a:gd name="connsiteY16031" fmla="*/ 1218065 h 6557032"/>
              <a:gd name="connsiteX16032" fmla="*/ 2709573 w 4610101"/>
              <a:gd name="connsiteY16032" fmla="*/ 1216242 h 6557032"/>
              <a:gd name="connsiteX16033" fmla="*/ 2718684 w 4610101"/>
              <a:gd name="connsiteY16033" fmla="*/ 1225353 h 6557032"/>
              <a:gd name="connsiteX16034" fmla="*/ 2733261 w 4610101"/>
              <a:gd name="connsiteY16034" fmla="*/ 1227175 h 6557032"/>
              <a:gd name="connsiteX16035" fmla="*/ 2735084 w 4610101"/>
              <a:gd name="connsiteY16035" fmla="*/ 1219887 h 6557032"/>
              <a:gd name="connsiteX16036" fmla="*/ 2740550 w 4610101"/>
              <a:gd name="connsiteY16036" fmla="*/ 1225353 h 6557032"/>
              <a:gd name="connsiteX16037" fmla="*/ 2733261 w 4610101"/>
              <a:gd name="connsiteY16037" fmla="*/ 1214420 h 6557032"/>
              <a:gd name="connsiteX16038" fmla="*/ 2729617 w 4610101"/>
              <a:gd name="connsiteY16038" fmla="*/ 1218065 h 6557032"/>
              <a:gd name="connsiteX16039" fmla="*/ 2722328 w 4610101"/>
              <a:gd name="connsiteY16039" fmla="*/ 1208954 h 6557032"/>
              <a:gd name="connsiteX16040" fmla="*/ 2439891 w 4610101"/>
              <a:gd name="connsiteY16040" fmla="*/ 1208954 h 6557032"/>
              <a:gd name="connsiteX16041" fmla="*/ 2430780 w 4610101"/>
              <a:gd name="connsiteY16041" fmla="*/ 1218065 h 6557032"/>
              <a:gd name="connsiteX16042" fmla="*/ 2434425 w 4610101"/>
              <a:gd name="connsiteY16042" fmla="*/ 1221709 h 6557032"/>
              <a:gd name="connsiteX16043" fmla="*/ 2439891 w 4610101"/>
              <a:gd name="connsiteY16043" fmla="*/ 1208954 h 6557032"/>
              <a:gd name="connsiteX16044" fmla="*/ 1324721 w 4610101"/>
              <a:gd name="connsiteY16044" fmla="*/ 1208954 h 6557032"/>
              <a:gd name="connsiteX16045" fmla="*/ 1313788 w 4610101"/>
              <a:gd name="connsiteY16045" fmla="*/ 1210776 h 6557032"/>
              <a:gd name="connsiteX16046" fmla="*/ 1315610 w 4610101"/>
              <a:gd name="connsiteY16046" fmla="*/ 1218065 h 6557032"/>
              <a:gd name="connsiteX16047" fmla="*/ 1319254 w 4610101"/>
              <a:gd name="connsiteY16047" fmla="*/ 1218065 h 6557032"/>
              <a:gd name="connsiteX16048" fmla="*/ 1324721 w 4610101"/>
              <a:gd name="connsiteY16048" fmla="*/ 1208954 h 6557032"/>
              <a:gd name="connsiteX16049" fmla="*/ 1297388 w 4610101"/>
              <a:gd name="connsiteY16049" fmla="*/ 1208954 h 6557032"/>
              <a:gd name="connsiteX16050" fmla="*/ 1306499 w 4610101"/>
              <a:gd name="connsiteY16050" fmla="*/ 1212598 h 6557032"/>
              <a:gd name="connsiteX16051" fmla="*/ 1311966 w 4610101"/>
              <a:gd name="connsiteY16051" fmla="*/ 1208954 h 6557032"/>
              <a:gd name="connsiteX16052" fmla="*/ 1319254 w 4610101"/>
              <a:gd name="connsiteY16052" fmla="*/ 1208954 h 6557032"/>
              <a:gd name="connsiteX16053" fmla="*/ 1311966 w 4610101"/>
              <a:gd name="connsiteY16053" fmla="*/ 1208954 h 6557032"/>
              <a:gd name="connsiteX16054" fmla="*/ 1297388 w 4610101"/>
              <a:gd name="connsiteY16054" fmla="*/ 1208954 h 6557032"/>
              <a:gd name="connsiteX16055" fmla="*/ 911087 w 4610101"/>
              <a:gd name="connsiteY16055" fmla="*/ 1208954 h 6557032"/>
              <a:gd name="connsiteX16056" fmla="*/ 911087 w 4610101"/>
              <a:gd name="connsiteY16056" fmla="*/ 1214420 h 6557032"/>
              <a:gd name="connsiteX16057" fmla="*/ 916555 w 4610101"/>
              <a:gd name="connsiteY16057" fmla="*/ 1214420 h 6557032"/>
              <a:gd name="connsiteX16058" fmla="*/ 911087 w 4610101"/>
              <a:gd name="connsiteY16058" fmla="*/ 1208954 h 6557032"/>
              <a:gd name="connsiteX16059" fmla="*/ 3002943 w 4610101"/>
              <a:gd name="connsiteY16059" fmla="*/ 1207132 h 6557032"/>
              <a:gd name="connsiteX16060" fmla="*/ 3002943 w 4610101"/>
              <a:gd name="connsiteY16060" fmla="*/ 1219887 h 6557032"/>
              <a:gd name="connsiteX16061" fmla="*/ 3008410 w 4610101"/>
              <a:gd name="connsiteY16061" fmla="*/ 1221709 h 6557032"/>
              <a:gd name="connsiteX16062" fmla="*/ 3012054 w 4610101"/>
              <a:gd name="connsiteY16062" fmla="*/ 1218065 h 6557032"/>
              <a:gd name="connsiteX16063" fmla="*/ 3017521 w 4610101"/>
              <a:gd name="connsiteY16063" fmla="*/ 1221709 h 6557032"/>
              <a:gd name="connsiteX16064" fmla="*/ 3017521 w 4610101"/>
              <a:gd name="connsiteY16064" fmla="*/ 1228998 h 6557032"/>
              <a:gd name="connsiteX16065" fmla="*/ 3024809 w 4610101"/>
              <a:gd name="connsiteY16065" fmla="*/ 1228998 h 6557032"/>
              <a:gd name="connsiteX16066" fmla="*/ 3019343 w 4610101"/>
              <a:gd name="connsiteY16066" fmla="*/ 1214420 h 6557032"/>
              <a:gd name="connsiteX16067" fmla="*/ 3006587 w 4610101"/>
              <a:gd name="connsiteY16067" fmla="*/ 1216242 h 6557032"/>
              <a:gd name="connsiteX16068" fmla="*/ 3010232 w 4610101"/>
              <a:gd name="connsiteY16068" fmla="*/ 1208954 h 6557032"/>
              <a:gd name="connsiteX16069" fmla="*/ 3002943 w 4610101"/>
              <a:gd name="connsiteY16069" fmla="*/ 1207132 h 6557032"/>
              <a:gd name="connsiteX16070" fmla="*/ 2744194 w 4610101"/>
              <a:gd name="connsiteY16070" fmla="*/ 1207132 h 6557032"/>
              <a:gd name="connsiteX16071" fmla="*/ 2751483 w 4610101"/>
              <a:gd name="connsiteY16071" fmla="*/ 1227175 h 6557032"/>
              <a:gd name="connsiteX16072" fmla="*/ 2749661 w 4610101"/>
              <a:gd name="connsiteY16072" fmla="*/ 1207132 h 6557032"/>
              <a:gd name="connsiteX16073" fmla="*/ 2747839 w 4610101"/>
              <a:gd name="connsiteY16073" fmla="*/ 1212598 h 6557032"/>
              <a:gd name="connsiteX16074" fmla="*/ 2744194 w 4610101"/>
              <a:gd name="connsiteY16074" fmla="*/ 1207132 h 6557032"/>
              <a:gd name="connsiteX16075" fmla="*/ 1341120 w 4610101"/>
              <a:gd name="connsiteY16075" fmla="*/ 1207132 h 6557032"/>
              <a:gd name="connsiteX16076" fmla="*/ 1337476 w 4610101"/>
              <a:gd name="connsiteY16076" fmla="*/ 1210776 h 6557032"/>
              <a:gd name="connsiteX16077" fmla="*/ 1342942 w 4610101"/>
              <a:gd name="connsiteY16077" fmla="*/ 1216242 h 6557032"/>
              <a:gd name="connsiteX16078" fmla="*/ 1348410 w 4610101"/>
              <a:gd name="connsiteY16078" fmla="*/ 1212598 h 6557032"/>
              <a:gd name="connsiteX16079" fmla="*/ 1341120 w 4610101"/>
              <a:gd name="connsiteY16079" fmla="*/ 1207132 h 6557032"/>
              <a:gd name="connsiteX16080" fmla="*/ 1013129 w 4610101"/>
              <a:gd name="connsiteY16080" fmla="*/ 1207132 h 6557032"/>
              <a:gd name="connsiteX16081" fmla="*/ 1013584 w 4610101"/>
              <a:gd name="connsiteY16081" fmla="*/ 1212598 h 6557032"/>
              <a:gd name="connsiteX16082" fmla="*/ 1013345 w 4610101"/>
              <a:gd name="connsiteY16082" fmla="*/ 1213174 h 6557032"/>
              <a:gd name="connsiteX16083" fmla="*/ 1013129 w 4610101"/>
              <a:gd name="connsiteY16083" fmla="*/ 1207132 h 6557032"/>
              <a:gd name="connsiteX16084" fmla="*/ 1009485 w 4610101"/>
              <a:gd name="connsiteY16084" fmla="*/ 1208954 h 6557032"/>
              <a:gd name="connsiteX16085" fmla="*/ 1011307 w 4610101"/>
              <a:gd name="connsiteY16085" fmla="*/ 1210776 h 6557032"/>
              <a:gd name="connsiteX16086" fmla="*/ 1005840 w 4610101"/>
              <a:gd name="connsiteY16086" fmla="*/ 1210776 h 6557032"/>
              <a:gd name="connsiteX16087" fmla="*/ 1011307 w 4610101"/>
              <a:gd name="connsiteY16087" fmla="*/ 1218065 h 6557032"/>
              <a:gd name="connsiteX16088" fmla="*/ 1013345 w 4610101"/>
              <a:gd name="connsiteY16088" fmla="*/ 1213174 h 6557032"/>
              <a:gd name="connsiteX16089" fmla="*/ 1013357 w 4610101"/>
              <a:gd name="connsiteY16089" fmla="*/ 1213509 h 6557032"/>
              <a:gd name="connsiteX16090" fmla="*/ 1013432 w 4610101"/>
              <a:gd name="connsiteY16090" fmla="*/ 1213813 h 6557032"/>
              <a:gd name="connsiteX16091" fmla="*/ 1013129 w 4610101"/>
              <a:gd name="connsiteY16091" fmla="*/ 1214420 h 6557032"/>
              <a:gd name="connsiteX16092" fmla="*/ 1013584 w 4610101"/>
              <a:gd name="connsiteY16092" fmla="*/ 1214420 h 6557032"/>
              <a:gd name="connsiteX16093" fmla="*/ 1014170 w 4610101"/>
              <a:gd name="connsiteY16093" fmla="*/ 1216763 h 6557032"/>
              <a:gd name="connsiteX16094" fmla="*/ 1014951 w 4610101"/>
              <a:gd name="connsiteY16094" fmla="*/ 1219887 h 6557032"/>
              <a:gd name="connsiteX16095" fmla="*/ 1018596 w 4610101"/>
              <a:gd name="connsiteY16095" fmla="*/ 1214420 h 6557032"/>
              <a:gd name="connsiteX16096" fmla="*/ 1014951 w 4610101"/>
              <a:gd name="connsiteY16096" fmla="*/ 1214420 h 6557032"/>
              <a:gd name="connsiteX16097" fmla="*/ 1013584 w 4610101"/>
              <a:gd name="connsiteY16097" fmla="*/ 1214420 h 6557032"/>
              <a:gd name="connsiteX16098" fmla="*/ 1013432 w 4610101"/>
              <a:gd name="connsiteY16098" fmla="*/ 1213813 h 6557032"/>
              <a:gd name="connsiteX16099" fmla="*/ 1014951 w 4610101"/>
              <a:gd name="connsiteY16099" fmla="*/ 1210776 h 6557032"/>
              <a:gd name="connsiteX16100" fmla="*/ 1013129 w 4610101"/>
              <a:gd name="connsiteY16100" fmla="*/ 1207132 h 6557032"/>
              <a:gd name="connsiteX16101" fmla="*/ 929309 w 4610101"/>
              <a:gd name="connsiteY16101" fmla="*/ 1207132 h 6557032"/>
              <a:gd name="connsiteX16102" fmla="*/ 927487 w 4610101"/>
              <a:gd name="connsiteY16102" fmla="*/ 1208954 h 6557032"/>
              <a:gd name="connsiteX16103" fmla="*/ 932953 w 4610101"/>
              <a:gd name="connsiteY16103" fmla="*/ 1212598 h 6557032"/>
              <a:gd name="connsiteX16104" fmla="*/ 931131 w 4610101"/>
              <a:gd name="connsiteY16104" fmla="*/ 1212598 h 6557032"/>
              <a:gd name="connsiteX16105" fmla="*/ 938420 w 4610101"/>
              <a:gd name="connsiteY16105" fmla="*/ 1218065 h 6557032"/>
              <a:gd name="connsiteX16106" fmla="*/ 936598 w 4610101"/>
              <a:gd name="connsiteY16106" fmla="*/ 1212598 h 6557032"/>
              <a:gd name="connsiteX16107" fmla="*/ 932953 w 4610101"/>
              <a:gd name="connsiteY16107" fmla="*/ 1212598 h 6557032"/>
              <a:gd name="connsiteX16108" fmla="*/ 929309 w 4610101"/>
              <a:gd name="connsiteY16108" fmla="*/ 1207132 h 6557032"/>
              <a:gd name="connsiteX16109" fmla="*/ 840022 w 4610101"/>
              <a:gd name="connsiteY16109" fmla="*/ 1207132 h 6557032"/>
              <a:gd name="connsiteX16110" fmla="*/ 843667 w 4610101"/>
              <a:gd name="connsiteY16110" fmla="*/ 1212598 h 6557032"/>
              <a:gd name="connsiteX16111" fmla="*/ 840022 w 4610101"/>
              <a:gd name="connsiteY16111" fmla="*/ 1207132 h 6557032"/>
              <a:gd name="connsiteX16112" fmla="*/ 674205 w 4610101"/>
              <a:gd name="connsiteY16112" fmla="*/ 1207132 h 6557032"/>
              <a:gd name="connsiteX16113" fmla="*/ 676027 w 4610101"/>
              <a:gd name="connsiteY16113" fmla="*/ 1225353 h 6557032"/>
              <a:gd name="connsiteX16114" fmla="*/ 670560 w 4610101"/>
              <a:gd name="connsiteY16114" fmla="*/ 1219887 h 6557032"/>
              <a:gd name="connsiteX16115" fmla="*/ 668738 w 4610101"/>
              <a:gd name="connsiteY16115" fmla="*/ 1210776 h 6557032"/>
              <a:gd name="connsiteX16116" fmla="*/ 666916 w 4610101"/>
              <a:gd name="connsiteY16116" fmla="*/ 1230820 h 6557032"/>
              <a:gd name="connsiteX16117" fmla="*/ 674205 w 4610101"/>
              <a:gd name="connsiteY16117" fmla="*/ 1207132 h 6557032"/>
              <a:gd name="connsiteX16118" fmla="*/ 1199218 w 4610101"/>
              <a:gd name="connsiteY16118" fmla="*/ 1205993 h 6557032"/>
              <a:gd name="connsiteX16119" fmla="*/ 1195346 w 4610101"/>
              <a:gd name="connsiteY16119" fmla="*/ 1207132 h 6557032"/>
              <a:gd name="connsiteX16120" fmla="*/ 1198991 w 4610101"/>
              <a:gd name="connsiteY16120" fmla="*/ 1208954 h 6557032"/>
              <a:gd name="connsiteX16121" fmla="*/ 1199218 w 4610101"/>
              <a:gd name="connsiteY16121" fmla="*/ 1205993 h 6557032"/>
              <a:gd name="connsiteX16122" fmla="*/ 1293097 w 4610101"/>
              <a:gd name="connsiteY16122" fmla="*/ 1205721 h 6557032"/>
              <a:gd name="connsiteX16123" fmla="*/ 1292599 w 4610101"/>
              <a:gd name="connsiteY16123" fmla="*/ 1206038 h 6557032"/>
              <a:gd name="connsiteX16124" fmla="*/ 1292833 w 4610101"/>
              <a:gd name="connsiteY16124" fmla="*/ 1205765 h 6557032"/>
              <a:gd name="connsiteX16125" fmla="*/ 2144699 w 4610101"/>
              <a:gd name="connsiteY16125" fmla="*/ 1205309 h 6557032"/>
              <a:gd name="connsiteX16126" fmla="*/ 2135588 w 4610101"/>
              <a:gd name="connsiteY16126" fmla="*/ 1208954 h 6557032"/>
              <a:gd name="connsiteX16127" fmla="*/ 2133766 w 4610101"/>
              <a:gd name="connsiteY16127" fmla="*/ 1210776 h 6557032"/>
              <a:gd name="connsiteX16128" fmla="*/ 2135588 w 4610101"/>
              <a:gd name="connsiteY16128" fmla="*/ 1212598 h 6557032"/>
              <a:gd name="connsiteX16129" fmla="*/ 2144699 w 4610101"/>
              <a:gd name="connsiteY16129" fmla="*/ 1205309 h 6557032"/>
              <a:gd name="connsiteX16130" fmla="*/ 1355698 w 4610101"/>
              <a:gd name="connsiteY16130" fmla="*/ 1205309 h 6557032"/>
              <a:gd name="connsiteX16131" fmla="*/ 1350231 w 4610101"/>
              <a:gd name="connsiteY16131" fmla="*/ 1207132 h 6557032"/>
              <a:gd name="connsiteX16132" fmla="*/ 1352053 w 4610101"/>
              <a:gd name="connsiteY16132" fmla="*/ 1208954 h 6557032"/>
              <a:gd name="connsiteX16133" fmla="*/ 1355698 w 4610101"/>
              <a:gd name="connsiteY16133" fmla="*/ 1205309 h 6557032"/>
              <a:gd name="connsiteX16134" fmla="*/ 1273700 w 4610101"/>
              <a:gd name="connsiteY16134" fmla="*/ 1205309 h 6557032"/>
              <a:gd name="connsiteX16135" fmla="*/ 1268233 w 4610101"/>
              <a:gd name="connsiteY16135" fmla="*/ 1212598 h 6557032"/>
              <a:gd name="connsiteX16136" fmla="*/ 1284633 w 4610101"/>
              <a:gd name="connsiteY16136" fmla="*/ 1212598 h 6557032"/>
              <a:gd name="connsiteX16137" fmla="*/ 1273700 w 4610101"/>
              <a:gd name="connsiteY16137" fmla="*/ 1205309 h 6557032"/>
              <a:gd name="connsiteX16138" fmla="*/ 1206279 w 4610101"/>
              <a:gd name="connsiteY16138" fmla="*/ 1205309 h 6557032"/>
              <a:gd name="connsiteX16139" fmla="*/ 1204457 w 4610101"/>
              <a:gd name="connsiteY16139" fmla="*/ 1210776 h 6557032"/>
              <a:gd name="connsiteX16140" fmla="*/ 1208102 w 4610101"/>
              <a:gd name="connsiteY16140" fmla="*/ 1207132 h 6557032"/>
              <a:gd name="connsiteX16141" fmla="*/ 1206279 w 4610101"/>
              <a:gd name="connsiteY16141" fmla="*/ 1205309 h 6557032"/>
              <a:gd name="connsiteX16142" fmla="*/ 1168014 w 4610101"/>
              <a:gd name="connsiteY16142" fmla="*/ 1205309 h 6557032"/>
              <a:gd name="connsiteX16143" fmla="*/ 1160725 w 4610101"/>
              <a:gd name="connsiteY16143" fmla="*/ 1219887 h 6557032"/>
              <a:gd name="connsiteX16144" fmla="*/ 1166192 w 4610101"/>
              <a:gd name="connsiteY16144" fmla="*/ 1219887 h 6557032"/>
              <a:gd name="connsiteX16145" fmla="*/ 1166426 w 4610101"/>
              <a:gd name="connsiteY16145" fmla="*/ 1218013 h 6557032"/>
              <a:gd name="connsiteX16146" fmla="*/ 1182592 w 4610101"/>
              <a:gd name="connsiteY16146" fmla="*/ 1214420 h 6557032"/>
              <a:gd name="connsiteX16147" fmla="*/ 1184414 w 4610101"/>
              <a:gd name="connsiteY16147" fmla="*/ 1216242 h 6557032"/>
              <a:gd name="connsiteX16148" fmla="*/ 1169836 w 4610101"/>
              <a:gd name="connsiteY16148" fmla="*/ 1205309 h 6557032"/>
              <a:gd name="connsiteX16149" fmla="*/ 1167331 w 4610101"/>
              <a:gd name="connsiteY16149" fmla="*/ 1211687 h 6557032"/>
              <a:gd name="connsiteX16150" fmla="*/ 1166951 w 4610101"/>
              <a:gd name="connsiteY16150" fmla="*/ 1213813 h 6557032"/>
              <a:gd name="connsiteX16151" fmla="*/ 1160725 w 4610101"/>
              <a:gd name="connsiteY16151" fmla="*/ 1205309 h 6557032"/>
              <a:gd name="connsiteX16152" fmla="*/ 1160725 w 4610101"/>
              <a:gd name="connsiteY16152" fmla="*/ 1214420 h 6557032"/>
              <a:gd name="connsiteX16153" fmla="*/ 1162547 w 4610101"/>
              <a:gd name="connsiteY16153" fmla="*/ 1207132 h 6557032"/>
              <a:gd name="connsiteX16154" fmla="*/ 1160725 w 4610101"/>
              <a:gd name="connsiteY16154" fmla="*/ 1205309 h 6557032"/>
              <a:gd name="connsiteX16155" fmla="*/ 1122459 w 4610101"/>
              <a:gd name="connsiteY16155" fmla="*/ 1205309 h 6557032"/>
              <a:gd name="connsiteX16156" fmla="*/ 1122459 w 4610101"/>
              <a:gd name="connsiteY16156" fmla="*/ 1212598 h 6557032"/>
              <a:gd name="connsiteX16157" fmla="*/ 1122459 w 4610101"/>
              <a:gd name="connsiteY16157" fmla="*/ 1219887 h 6557032"/>
              <a:gd name="connsiteX16158" fmla="*/ 1126104 w 4610101"/>
              <a:gd name="connsiteY16158" fmla="*/ 1218065 h 6557032"/>
              <a:gd name="connsiteX16159" fmla="*/ 1122459 w 4610101"/>
              <a:gd name="connsiteY16159" fmla="*/ 1205309 h 6557032"/>
              <a:gd name="connsiteX16160" fmla="*/ 654161 w 4610101"/>
              <a:gd name="connsiteY16160" fmla="*/ 1205309 h 6557032"/>
              <a:gd name="connsiteX16161" fmla="*/ 657805 w 4610101"/>
              <a:gd name="connsiteY16161" fmla="*/ 1207132 h 6557032"/>
              <a:gd name="connsiteX16162" fmla="*/ 654161 w 4610101"/>
              <a:gd name="connsiteY16162" fmla="*/ 1205309 h 6557032"/>
              <a:gd name="connsiteX16163" fmla="*/ 455544 w 4610101"/>
              <a:gd name="connsiteY16163" fmla="*/ 1205309 h 6557032"/>
              <a:gd name="connsiteX16164" fmla="*/ 451899 w 4610101"/>
              <a:gd name="connsiteY16164" fmla="*/ 1216242 h 6557032"/>
              <a:gd name="connsiteX16165" fmla="*/ 466478 w 4610101"/>
              <a:gd name="connsiteY16165" fmla="*/ 1212598 h 6557032"/>
              <a:gd name="connsiteX16166" fmla="*/ 455544 w 4610101"/>
              <a:gd name="connsiteY16166" fmla="*/ 1205309 h 6557032"/>
              <a:gd name="connsiteX16167" fmla="*/ 1290555 w 4610101"/>
              <a:gd name="connsiteY16167" fmla="*/ 1204170 h 6557032"/>
              <a:gd name="connsiteX16168" fmla="*/ 1290100 w 4610101"/>
              <a:gd name="connsiteY16168" fmla="*/ 1207132 h 6557032"/>
              <a:gd name="connsiteX16169" fmla="*/ 1291239 w 4610101"/>
              <a:gd name="connsiteY16169" fmla="*/ 1206904 h 6557032"/>
              <a:gd name="connsiteX16170" fmla="*/ 1292599 w 4610101"/>
              <a:gd name="connsiteY16170" fmla="*/ 1206038 h 6557032"/>
              <a:gd name="connsiteX16171" fmla="*/ 1290100 w 4610101"/>
              <a:gd name="connsiteY16171" fmla="*/ 1208954 h 6557032"/>
              <a:gd name="connsiteX16172" fmla="*/ 1295566 w 4610101"/>
              <a:gd name="connsiteY16172" fmla="*/ 1205309 h 6557032"/>
              <a:gd name="connsiteX16173" fmla="*/ 1293097 w 4610101"/>
              <a:gd name="connsiteY16173" fmla="*/ 1205721 h 6557032"/>
              <a:gd name="connsiteX16174" fmla="*/ 1293744 w 4610101"/>
              <a:gd name="connsiteY16174" fmla="*/ 1205309 h 6557032"/>
              <a:gd name="connsiteX16175" fmla="*/ 1290555 w 4610101"/>
              <a:gd name="connsiteY16175" fmla="*/ 1204170 h 6557032"/>
              <a:gd name="connsiteX16176" fmla="*/ 1281444 w 4610101"/>
              <a:gd name="connsiteY16176" fmla="*/ 1204170 h 6557032"/>
              <a:gd name="connsiteX16177" fmla="*/ 1277344 w 4610101"/>
              <a:gd name="connsiteY16177" fmla="*/ 1205309 h 6557032"/>
              <a:gd name="connsiteX16178" fmla="*/ 1282811 w 4610101"/>
              <a:gd name="connsiteY16178" fmla="*/ 1207132 h 6557032"/>
              <a:gd name="connsiteX16179" fmla="*/ 1281444 w 4610101"/>
              <a:gd name="connsiteY16179" fmla="*/ 1204170 h 6557032"/>
              <a:gd name="connsiteX16180" fmla="*/ 363752 w 4610101"/>
              <a:gd name="connsiteY16180" fmla="*/ 1204170 h 6557032"/>
              <a:gd name="connsiteX16181" fmla="*/ 360791 w 4610101"/>
              <a:gd name="connsiteY16181" fmla="*/ 1207132 h 6557032"/>
              <a:gd name="connsiteX16182" fmla="*/ 368079 w 4610101"/>
              <a:gd name="connsiteY16182" fmla="*/ 1205309 h 6557032"/>
              <a:gd name="connsiteX16183" fmla="*/ 363752 w 4610101"/>
              <a:gd name="connsiteY16183" fmla="*/ 1204170 h 6557032"/>
              <a:gd name="connsiteX16184" fmla="*/ 2981077 w 4610101"/>
              <a:gd name="connsiteY16184" fmla="*/ 1203487 h 6557032"/>
              <a:gd name="connsiteX16185" fmla="*/ 2979255 w 4610101"/>
              <a:gd name="connsiteY16185" fmla="*/ 1210776 h 6557032"/>
              <a:gd name="connsiteX16186" fmla="*/ 2981077 w 4610101"/>
              <a:gd name="connsiteY16186" fmla="*/ 1203487 h 6557032"/>
              <a:gd name="connsiteX16187" fmla="*/ 2849880 w 4610101"/>
              <a:gd name="connsiteY16187" fmla="*/ 1203487 h 6557032"/>
              <a:gd name="connsiteX16188" fmla="*/ 2848058 w 4610101"/>
              <a:gd name="connsiteY16188" fmla="*/ 1210776 h 6557032"/>
              <a:gd name="connsiteX16189" fmla="*/ 2853525 w 4610101"/>
              <a:gd name="connsiteY16189" fmla="*/ 1210776 h 6557032"/>
              <a:gd name="connsiteX16190" fmla="*/ 2849880 w 4610101"/>
              <a:gd name="connsiteY16190" fmla="*/ 1203487 h 6557032"/>
              <a:gd name="connsiteX16191" fmla="*/ 2055413 w 4610101"/>
              <a:gd name="connsiteY16191" fmla="*/ 1203487 h 6557032"/>
              <a:gd name="connsiteX16192" fmla="*/ 2046302 w 4610101"/>
              <a:gd name="connsiteY16192" fmla="*/ 1207132 h 6557032"/>
              <a:gd name="connsiteX16193" fmla="*/ 2049946 w 4610101"/>
              <a:gd name="connsiteY16193" fmla="*/ 1210776 h 6557032"/>
              <a:gd name="connsiteX16194" fmla="*/ 2055413 w 4610101"/>
              <a:gd name="connsiteY16194" fmla="*/ 1203487 h 6557032"/>
              <a:gd name="connsiteX16195" fmla="*/ 1417652 w 4610101"/>
              <a:gd name="connsiteY16195" fmla="*/ 1203487 h 6557032"/>
              <a:gd name="connsiteX16196" fmla="*/ 1410363 w 4610101"/>
              <a:gd name="connsiteY16196" fmla="*/ 1208954 h 6557032"/>
              <a:gd name="connsiteX16197" fmla="*/ 1417652 w 4610101"/>
              <a:gd name="connsiteY16197" fmla="*/ 1203487 h 6557032"/>
              <a:gd name="connsiteX16198" fmla="*/ 1361164 w 4610101"/>
              <a:gd name="connsiteY16198" fmla="*/ 1203487 h 6557032"/>
              <a:gd name="connsiteX16199" fmla="*/ 1352053 w 4610101"/>
              <a:gd name="connsiteY16199" fmla="*/ 1210776 h 6557032"/>
              <a:gd name="connsiteX16200" fmla="*/ 1355698 w 4610101"/>
              <a:gd name="connsiteY16200" fmla="*/ 1212598 h 6557032"/>
              <a:gd name="connsiteX16201" fmla="*/ 1361164 w 4610101"/>
              <a:gd name="connsiteY16201" fmla="*/ 1203487 h 6557032"/>
              <a:gd name="connsiteX16202" fmla="*/ 1257300 w 4610101"/>
              <a:gd name="connsiteY16202" fmla="*/ 1203487 h 6557032"/>
              <a:gd name="connsiteX16203" fmla="*/ 1257466 w 4610101"/>
              <a:gd name="connsiteY16203" fmla="*/ 1203515 h 6557032"/>
              <a:gd name="connsiteX16204" fmla="*/ 1253656 w 4610101"/>
              <a:gd name="connsiteY16204" fmla="*/ 1207132 h 6557032"/>
              <a:gd name="connsiteX16205" fmla="*/ 1246833 w 4610101"/>
              <a:gd name="connsiteY16205" fmla="*/ 1206976 h 6557032"/>
              <a:gd name="connsiteX16206" fmla="*/ 1151614 w 4610101"/>
              <a:gd name="connsiteY16206" fmla="*/ 1203487 h 6557032"/>
              <a:gd name="connsiteX16207" fmla="*/ 1157081 w 4610101"/>
              <a:gd name="connsiteY16207" fmla="*/ 1210776 h 6557032"/>
              <a:gd name="connsiteX16208" fmla="*/ 1158903 w 4610101"/>
              <a:gd name="connsiteY16208" fmla="*/ 1205309 h 6557032"/>
              <a:gd name="connsiteX16209" fmla="*/ 1151614 w 4610101"/>
              <a:gd name="connsiteY16209" fmla="*/ 1203487 h 6557032"/>
              <a:gd name="connsiteX16210" fmla="*/ 1014951 w 4610101"/>
              <a:gd name="connsiteY16210" fmla="*/ 1203487 h 6557032"/>
              <a:gd name="connsiteX16211" fmla="*/ 1024062 w 4610101"/>
              <a:gd name="connsiteY16211" fmla="*/ 1208954 h 6557032"/>
              <a:gd name="connsiteX16212" fmla="*/ 1024062 w 4610101"/>
              <a:gd name="connsiteY16212" fmla="*/ 1214420 h 6557032"/>
              <a:gd name="connsiteX16213" fmla="*/ 1027707 w 4610101"/>
              <a:gd name="connsiteY16213" fmla="*/ 1208954 h 6557032"/>
              <a:gd name="connsiteX16214" fmla="*/ 1014951 w 4610101"/>
              <a:gd name="connsiteY16214" fmla="*/ 1203487 h 6557032"/>
              <a:gd name="connsiteX16215" fmla="*/ 240527 w 4610101"/>
              <a:gd name="connsiteY16215" fmla="*/ 1203487 h 6557032"/>
              <a:gd name="connsiteX16216" fmla="*/ 240527 w 4610101"/>
              <a:gd name="connsiteY16216" fmla="*/ 1205309 h 6557032"/>
              <a:gd name="connsiteX16217" fmla="*/ 245994 w 4610101"/>
              <a:gd name="connsiteY16217" fmla="*/ 1205309 h 6557032"/>
              <a:gd name="connsiteX16218" fmla="*/ 240527 w 4610101"/>
              <a:gd name="connsiteY16218" fmla="*/ 1203487 h 6557032"/>
              <a:gd name="connsiteX16219" fmla="*/ 2838036 w 4610101"/>
              <a:gd name="connsiteY16219" fmla="*/ 1202804 h 6557032"/>
              <a:gd name="connsiteX16220" fmla="*/ 2835303 w 4610101"/>
              <a:gd name="connsiteY16220" fmla="*/ 1203487 h 6557032"/>
              <a:gd name="connsiteX16221" fmla="*/ 2835303 w 4610101"/>
              <a:gd name="connsiteY16221" fmla="*/ 1212598 h 6557032"/>
              <a:gd name="connsiteX16222" fmla="*/ 2840769 w 4610101"/>
              <a:gd name="connsiteY16222" fmla="*/ 1203487 h 6557032"/>
              <a:gd name="connsiteX16223" fmla="*/ 2838036 w 4610101"/>
              <a:gd name="connsiteY16223" fmla="*/ 1202804 h 6557032"/>
              <a:gd name="connsiteX16224" fmla="*/ 1134987 w 4610101"/>
              <a:gd name="connsiteY16224" fmla="*/ 1202719 h 6557032"/>
              <a:gd name="connsiteX16225" fmla="*/ 1127926 w 4610101"/>
              <a:gd name="connsiteY16225" fmla="*/ 1203487 h 6557032"/>
              <a:gd name="connsiteX16226" fmla="*/ 1131570 w 4610101"/>
              <a:gd name="connsiteY16226" fmla="*/ 1208954 h 6557032"/>
              <a:gd name="connsiteX16227" fmla="*/ 1133393 w 4610101"/>
              <a:gd name="connsiteY16227" fmla="*/ 1205309 h 6557032"/>
              <a:gd name="connsiteX16228" fmla="*/ 1133393 w 4610101"/>
              <a:gd name="connsiteY16228" fmla="*/ 1208954 h 6557032"/>
              <a:gd name="connsiteX16229" fmla="*/ 1138859 w 4610101"/>
              <a:gd name="connsiteY16229" fmla="*/ 1216242 h 6557032"/>
              <a:gd name="connsiteX16230" fmla="*/ 1153436 w 4610101"/>
              <a:gd name="connsiteY16230" fmla="*/ 1219887 h 6557032"/>
              <a:gd name="connsiteX16231" fmla="*/ 1134987 w 4610101"/>
              <a:gd name="connsiteY16231" fmla="*/ 1202719 h 6557032"/>
              <a:gd name="connsiteX16232" fmla="*/ 3211355 w 4610101"/>
              <a:gd name="connsiteY16232" fmla="*/ 1201893 h 6557032"/>
              <a:gd name="connsiteX16233" fmla="*/ 3203382 w 4610101"/>
              <a:gd name="connsiteY16233" fmla="*/ 1203487 h 6557032"/>
              <a:gd name="connsiteX16234" fmla="*/ 3208849 w 4610101"/>
              <a:gd name="connsiteY16234" fmla="*/ 1210776 h 6557032"/>
              <a:gd name="connsiteX16235" fmla="*/ 3208849 w 4610101"/>
              <a:gd name="connsiteY16235" fmla="*/ 1203487 h 6557032"/>
              <a:gd name="connsiteX16236" fmla="*/ 3212493 w 4610101"/>
              <a:gd name="connsiteY16236" fmla="*/ 1207132 h 6557032"/>
              <a:gd name="connsiteX16237" fmla="*/ 3211355 w 4610101"/>
              <a:gd name="connsiteY16237" fmla="*/ 1201893 h 6557032"/>
              <a:gd name="connsiteX16238" fmla="*/ 2359716 w 4610101"/>
              <a:gd name="connsiteY16238" fmla="*/ 1201665 h 6557032"/>
              <a:gd name="connsiteX16239" fmla="*/ 2345138 w 4610101"/>
              <a:gd name="connsiteY16239" fmla="*/ 1214420 h 6557032"/>
              <a:gd name="connsiteX16240" fmla="*/ 2356071 w 4610101"/>
              <a:gd name="connsiteY16240" fmla="*/ 1219887 h 6557032"/>
              <a:gd name="connsiteX16241" fmla="*/ 2367004 w 4610101"/>
              <a:gd name="connsiteY16241" fmla="*/ 1218065 h 6557032"/>
              <a:gd name="connsiteX16242" fmla="*/ 2361538 w 4610101"/>
              <a:gd name="connsiteY16242" fmla="*/ 1218065 h 6557032"/>
              <a:gd name="connsiteX16243" fmla="*/ 2354249 w 4610101"/>
              <a:gd name="connsiteY16243" fmla="*/ 1205309 h 6557032"/>
              <a:gd name="connsiteX16244" fmla="*/ 2359716 w 4610101"/>
              <a:gd name="connsiteY16244" fmla="*/ 1207132 h 6557032"/>
              <a:gd name="connsiteX16245" fmla="*/ 2363360 w 4610101"/>
              <a:gd name="connsiteY16245" fmla="*/ 1201665 h 6557032"/>
              <a:gd name="connsiteX16246" fmla="*/ 2359716 w 4610101"/>
              <a:gd name="connsiteY16246" fmla="*/ 1201665 h 6557032"/>
              <a:gd name="connsiteX16247" fmla="*/ 2213942 w 4610101"/>
              <a:gd name="connsiteY16247" fmla="*/ 1201665 h 6557032"/>
              <a:gd name="connsiteX16248" fmla="*/ 2210297 w 4610101"/>
              <a:gd name="connsiteY16248" fmla="*/ 1210776 h 6557032"/>
              <a:gd name="connsiteX16249" fmla="*/ 2224875 w 4610101"/>
              <a:gd name="connsiteY16249" fmla="*/ 1227175 h 6557032"/>
              <a:gd name="connsiteX16250" fmla="*/ 2228519 w 4610101"/>
              <a:gd name="connsiteY16250" fmla="*/ 1225353 h 6557032"/>
              <a:gd name="connsiteX16251" fmla="*/ 2213942 w 4610101"/>
              <a:gd name="connsiteY16251" fmla="*/ 1201665 h 6557032"/>
              <a:gd name="connsiteX16252" fmla="*/ 1235434 w 4610101"/>
              <a:gd name="connsiteY16252" fmla="*/ 1201665 h 6557032"/>
              <a:gd name="connsiteX16253" fmla="*/ 1248189 w 4610101"/>
              <a:gd name="connsiteY16253" fmla="*/ 1203487 h 6557032"/>
              <a:gd name="connsiteX16254" fmla="*/ 1240783 w 4610101"/>
              <a:gd name="connsiteY16254" fmla="*/ 1206450 h 6557032"/>
              <a:gd name="connsiteX16255" fmla="*/ 1238368 w 4610101"/>
              <a:gd name="connsiteY16255" fmla="*/ 1206066 h 6557032"/>
              <a:gd name="connsiteX16256" fmla="*/ 843667 w 4610101"/>
              <a:gd name="connsiteY16256" fmla="*/ 1201665 h 6557032"/>
              <a:gd name="connsiteX16257" fmla="*/ 841845 w 4610101"/>
              <a:gd name="connsiteY16257" fmla="*/ 1205309 h 6557032"/>
              <a:gd name="connsiteX16258" fmla="*/ 847311 w 4610101"/>
              <a:gd name="connsiteY16258" fmla="*/ 1205309 h 6557032"/>
              <a:gd name="connsiteX16259" fmla="*/ 843667 w 4610101"/>
              <a:gd name="connsiteY16259" fmla="*/ 1201665 h 6557032"/>
              <a:gd name="connsiteX16260" fmla="*/ 457367 w 4610101"/>
              <a:gd name="connsiteY16260" fmla="*/ 1201665 h 6557032"/>
              <a:gd name="connsiteX16261" fmla="*/ 462832 w 4610101"/>
              <a:gd name="connsiteY16261" fmla="*/ 1203487 h 6557032"/>
              <a:gd name="connsiteX16262" fmla="*/ 457367 w 4610101"/>
              <a:gd name="connsiteY16262" fmla="*/ 1201665 h 6557032"/>
              <a:gd name="connsiteX16263" fmla="*/ 371724 w 4610101"/>
              <a:gd name="connsiteY16263" fmla="*/ 1201665 h 6557032"/>
              <a:gd name="connsiteX16264" fmla="*/ 368079 w 4610101"/>
              <a:gd name="connsiteY16264" fmla="*/ 1203487 h 6557032"/>
              <a:gd name="connsiteX16265" fmla="*/ 371724 w 4610101"/>
              <a:gd name="connsiteY16265" fmla="*/ 1201665 h 6557032"/>
              <a:gd name="connsiteX16266" fmla="*/ 362613 w 4610101"/>
              <a:gd name="connsiteY16266" fmla="*/ 1201665 h 6557032"/>
              <a:gd name="connsiteX16267" fmla="*/ 348037 w 4610101"/>
              <a:gd name="connsiteY16267" fmla="*/ 1205309 h 6557032"/>
              <a:gd name="connsiteX16268" fmla="*/ 335280 w 4610101"/>
              <a:gd name="connsiteY16268" fmla="*/ 1210776 h 6557032"/>
              <a:gd name="connsiteX16269" fmla="*/ 362613 w 4610101"/>
              <a:gd name="connsiteY16269" fmla="*/ 1201665 h 6557032"/>
              <a:gd name="connsiteX16270" fmla="*/ 286082 w 4610101"/>
              <a:gd name="connsiteY16270" fmla="*/ 1201665 h 6557032"/>
              <a:gd name="connsiteX16271" fmla="*/ 295193 w 4610101"/>
              <a:gd name="connsiteY16271" fmla="*/ 1205309 h 6557032"/>
              <a:gd name="connsiteX16272" fmla="*/ 305795 w 4610101"/>
              <a:gd name="connsiteY16272" fmla="*/ 1209285 h 6557032"/>
              <a:gd name="connsiteX16273" fmla="*/ 302481 w 4610101"/>
              <a:gd name="connsiteY16273" fmla="*/ 1212598 h 6557032"/>
              <a:gd name="connsiteX16274" fmla="*/ 311592 w 4610101"/>
              <a:gd name="connsiteY16274" fmla="*/ 1214420 h 6557032"/>
              <a:gd name="connsiteX16275" fmla="*/ 306854 w 4610101"/>
              <a:gd name="connsiteY16275" fmla="*/ 1209682 h 6557032"/>
              <a:gd name="connsiteX16276" fmla="*/ 309771 w 4610101"/>
              <a:gd name="connsiteY16276" fmla="*/ 1210776 h 6557032"/>
              <a:gd name="connsiteX16277" fmla="*/ 306809 w 4610101"/>
              <a:gd name="connsiteY16277" fmla="*/ 1209637 h 6557032"/>
              <a:gd name="connsiteX16278" fmla="*/ 306126 w 4610101"/>
              <a:gd name="connsiteY16278" fmla="*/ 1208954 h 6557032"/>
              <a:gd name="connsiteX16279" fmla="*/ 305822 w 4610101"/>
              <a:gd name="connsiteY16279" fmla="*/ 1209258 h 6557032"/>
              <a:gd name="connsiteX16280" fmla="*/ 307036 w 4610101"/>
              <a:gd name="connsiteY16280" fmla="*/ 1201437 h 6557032"/>
              <a:gd name="connsiteX16281" fmla="*/ 300660 w 4610101"/>
              <a:gd name="connsiteY16281" fmla="*/ 1201665 h 6557032"/>
              <a:gd name="connsiteX16282" fmla="*/ 313414 w 4610101"/>
              <a:gd name="connsiteY16282" fmla="*/ 1205309 h 6557032"/>
              <a:gd name="connsiteX16283" fmla="*/ 307036 w 4610101"/>
              <a:gd name="connsiteY16283" fmla="*/ 1201437 h 6557032"/>
              <a:gd name="connsiteX16284" fmla="*/ 241211 w 4610101"/>
              <a:gd name="connsiteY16284" fmla="*/ 1201209 h 6557032"/>
              <a:gd name="connsiteX16285" fmla="*/ 236883 w 4610101"/>
              <a:gd name="connsiteY16285" fmla="*/ 1201665 h 6557032"/>
              <a:gd name="connsiteX16286" fmla="*/ 244172 w 4610101"/>
              <a:gd name="connsiteY16286" fmla="*/ 1203487 h 6557032"/>
              <a:gd name="connsiteX16287" fmla="*/ 241211 w 4610101"/>
              <a:gd name="connsiteY16287" fmla="*/ 1201209 h 6557032"/>
              <a:gd name="connsiteX16288" fmla="*/ 484987 w 4610101"/>
              <a:gd name="connsiteY16288" fmla="*/ 1200642 h 6557032"/>
              <a:gd name="connsiteX16289" fmla="*/ 486521 w 4610101"/>
              <a:gd name="connsiteY16289" fmla="*/ 1201665 h 6557032"/>
              <a:gd name="connsiteX16290" fmla="*/ 484236 w 4610101"/>
              <a:gd name="connsiteY16290" fmla="*/ 1201121 h 6557032"/>
              <a:gd name="connsiteX16291" fmla="*/ 485041 w 4610101"/>
              <a:gd name="connsiteY16291" fmla="*/ 1200754 h 6557032"/>
              <a:gd name="connsiteX16292" fmla="*/ 2623931 w 4610101"/>
              <a:gd name="connsiteY16292" fmla="*/ 1200526 h 6557032"/>
              <a:gd name="connsiteX16293" fmla="*/ 2620287 w 4610101"/>
              <a:gd name="connsiteY16293" fmla="*/ 1201665 h 6557032"/>
              <a:gd name="connsiteX16294" fmla="*/ 2620287 w 4610101"/>
              <a:gd name="connsiteY16294" fmla="*/ 1203487 h 6557032"/>
              <a:gd name="connsiteX16295" fmla="*/ 2627575 w 4610101"/>
              <a:gd name="connsiteY16295" fmla="*/ 1203487 h 6557032"/>
              <a:gd name="connsiteX16296" fmla="*/ 2623931 w 4610101"/>
              <a:gd name="connsiteY16296" fmla="*/ 1200526 h 6557032"/>
              <a:gd name="connsiteX16297" fmla="*/ 1230697 w 4610101"/>
              <a:gd name="connsiteY16297" fmla="*/ 1200207 h 6557032"/>
              <a:gd name="connsiteX16298" fmla="*/ 1231790 w 4610101"/>
              <a:gd name="connsiteY16298" fmla="*/ 1203487 h 6557032"/>
              <a:gd name="connsiteX16299" fmla="*/ 1219036 w 4610101"/>
              <a:gd name="connsiteY16299" fmla="*/ 1205309 h 6557032"/>
              <a:gd name="connsiteX16300" fmla="*/ 1226323 w 4610101"/>
              <a:gd name="connsiteY16300" fmla="*/ 1201665 h 6557032"/>
              <a:gd name="connsiteX16301" fmla="*/ 2408914 w 4610101"/>
              <a:gd name="connsiteY16301" fmla="*/ 1199843 h 6557032"/>
              <a:gd name="connsiteX16302" fmla="*/ 2397981 w 4610101"/>
              <a:gd name="connsiteY16302" fmla="*/ 1208954 h 6557032"/>
              <a:gd name="connsiteX16303" fmla="*/ 2414381 w 4610101"/>
              <a:gd name="connsiteY16303" fmla="*/ 1208954 h 6557032"/>
              <a:gd name="connsiteX16304" fmla="*/ 2408914 w 4610101"/>
              <a:gd name="connsiteY16304" fmla="*/ 1199843 h 6557032"/>
              <a:gd name="connsiteX16305" fmla="*/ 1299210 w 4610101"/>
              <a:gd name="connsiteY16305" fmla="*/ 1199843 h 6557032"/>
              <a:gd name="connsiteX16306" fmla="*/ 1309436 w 4610101"/>
              <a:gd name="connsiteY16306" fmla="*/ 1201547 h 6557032"/>
              <a:gd name="connsiteX16307" fmla="*/ 1304904 w 4610101"/>
              <a:gd name="connsiteY16307" fmla="*/ 1202121 h 6557032"/>
              <a:gd name="connsiteX16308" fmla="*/ 1300239 w 4610101"/>
              <a:gd name="connsiteY16308" fmla="*/ 1201993 h 6557032"/>
              <a:gd name="connsiteX16309" fmla="*/ 1299666 w 4610101"/>
              <a:gd name="connsiteY16309" fmla="*/ 1201665 h 6557032"/>
              <a:gd name="connsiteX16310" fmla="*/ 1299210 w 4610101"/>
              <a:gd name="connsiteY16310" fmla="*/ 1199843 h 6557032"/>
              <a:gd name="connsiteX16311" fmla="*/ 1231790 w 4610101"/>
              <a:gd name="connsiteY16311" fmla="*/ 1199843 h 6557032"/>
              <a:gd name="connsiteX16312" fmla="*/ 1234601 w 4610101"/>
              <a:gd name="connsiteY16312" fmla="*/ 1205466 h 6557032"/>
              <a:gd name="connsiteX16313" fmla="*/ 1233612 w 4610101"/>
              <a:gd name="connsiteY16313" fmla="*/ 1205309 h 6557032"/>
              <a:gd name="connsiteX16314" fmla="*/ 1231010 w 4610101"/>
              <a:gd name="connsiteY16314" fmla="*/ 1200103 h 6557032"/>
              <a:gd name="connsiteX16315" fmla="*/ 883755 w 4610101"/>
              <a:gd name="connsiteY16315" fmla="*/ 1199843 h 6557032"/>
              <a:gd name="connsiteX16316" fmla="*/ 885577 w 4610101"/>
              <a:gd name="connsiteY16316" fmla="*/ 1207132 h 6557032"/>
              <a:gd name="connsiteX16317" fmla="*/ 887399 w 4610101"/>
              <a:gd name="connsiteY16317" fmla="*/ 1201665 h 6557032"/>
              <a:gd name="connsiteX16318" fmla="*/ 883755 w 4610101"/>
              <a:gd name="connsiteY16318" fmla="*/ 1199843 h 6557032"/>
              <a:gd name="connsiteX16319" fmla="*/ 810868 w 4610101"/>
              <a:gd name="connsiteY16319" fmla="*/ 1199843 h 6557032"/>
              <a:gd name="connsiteX16320" fmla="*/ 812690 w 4610101"/>
              <a:gd name="connsiteY16320" fmla="*/ 1207132 h 6557032"/>
              <a:gd name="connsiteX16321" fmla="*/ 810868 w 4610101"/>
              <a:gd name="connsiteY16321" fmla="*/ 1199843 h 6557032"/>
              <a:gd name="connsiteX16322" fmla="*/ 413634 w 4610101"/>
              <a:gd name="connsiteY16322" fmla="*/ 1199843 h 6557032"/>
              <a:gd name="connsiteX16323" fmla="*/ 409989 w 4610101"/>
              <a:gd name="connsiteY16323" fmla="*/ 1201665 h 6557032"/>
              <a:gd name="connsiteX16324" fmla="*/ 419100 w 4610101"/>
              <a:gd name="connsiteY16324" fmla="*/ 1203487 h 6557032"/>
              <a:gd name="connsiteX16325" fmla="*/ 413634 w 4610101"/>
              <a:gd name="connsiteY16325" fmla="*/ 1199843 h 6557032"/>
              <a:gd name="connsiteX16326" fmla="*/ 275604 w 4610101"/>
              <a:gd name="connsiteY16326" fmla="*/ 1199160 h 6557032"/>
              <a:gd name="connsiteX16327" fmla="*/ 266038 w 4610101"/>
              <a:gd name="connsiteY16327" fmla="*/ 1201665 h 6557032"/>
              <a:gd name="connsiteX16328" fmla="*/ 293370 w 4610101"/>
              <a:gd name="connsiteY16328" fmla="*/ 1210776 h 6557032"/>
              <a:gd name="connsiteX16329" fmla="*/ 291549 w 4610101"/>
              <a:gd name="connsiteY16329" fmla="*/ 1208954 h 6557032"/>
              <a:gd name="connsiteX16330" fmla="*/ 300660 w 4610101"/>
              <a:gd name="connsiteY16330" fmla="*/ 1214420 h 6557032"/>
              <a:gd name="connsiteX16331" fmla="*/ 291549 w 4610101"/>
              <a:gd name="connsiteY16331" fmla="*/ 1207132 h 6557032"/>
              <a:gd name="connsiteX16332" fmla="*/ 291549 w 4610101"/>
              <a:gd name="connsiteY16332" fmla="*/ 1208954 h 6557032"/>
              <a:gd name="connsiteX16333" fmla="*/ 278793 w 4610101"/>
              <a:gd name="connsiteY16333" fmla="*/ 1201665 h 6557032"/>
              <a:gd name="connsiteX16334" fmla="*/ 283279 w 4610101"/>
              <a:gd name="connsiteY16334" fmla="*/ 1201860 h 6557032"/>
              <a:gd name="connsiteX16335" fmla="*/ 287904 w 4610101"/>
              <a:gd name="connsiteY16335" fmla="*/ 1203487 h 6557032"/>
              <a:gd name="connsiteX16336" fmla="*/ 284032 w 4610101"/>
              <a:gd name="connsiteY16336" fmla="*/ 1201893 h 6557032"/>
              <a:gd name="connsiteX16337" fmla="*/ 283279 w 4610101"/>
              <a:gd name="connsiteY16337" fmla="*/ 1201860 h 6557032"/>
              <a:gd name="connsiteX16338" fmla="*/ 437777 w 4610101"/>
              <a:gd name="connsiteY16338" fmla="*/ 1199159 h 6557032"/>
              <a:gd name="connsiteX16339" fmla="*/ 430034 w 4610101"/>
              <a:gd name="connsiteY16339" fmla="*/ 1205309 h 6557032"/>
              <a:gd name="connsiteX16340" fmla="*/ 438461 w 4610101"/>
              <a:gd name="connsiteY16340" fmla="*/ 1211915 h 6557032"/>
              <a:gd name="connsiteX16341" fmla="*/ 447211 w 4610101"/>
              <a:gd name="connsiteY16341" fmla="*/ 1214153 h 6557032"/>
              <a:gd name="connsiteX16342" fmla="*/ 448256 w 4610101"/>
              <a:gd name="connsiteY16342" fmla="*/ 1216242 h 6557032"/>
              <a:gd name="connsiteX16343" fmla="*/ 442789 w 4610101"/>
              <a:gd name="connsiteY16343" fmla="*/ 1199843 h 6557032"/>
              <a:gd name="connsiteX16344" fmla="*/ 448256 w 4610101"/>
              <a:gd name="connsiteY16344" fmla="*/ 1199843 h 6557032"/>
              <a:gd name="connsiteX16345" fmla="*/ 437777 w 4610101"/>
              <a:gd name="connsiteY16345" fmla="*/ 1199159 h 6557032"/>
              <a:gd name="connsiteX16346" fmla="*/ 3367164 w 4610101"/>
              <a:gd name="connsiteY16346" fmla="*/ 1199093 h 6557032"/>
              <a:gd name="connsiteX16347" fmla="*/ 3368627 w 4610101"/>
              <a:gd name="connsiteY16347" fmla="*/ 1200068 h 6557032"/>
              <a:gd name="connsiteX16348" fmla="*/ 3365556 w 4610101"/>
              <a:gd name="connsiteY16348" fmla="*/ 1207132 h 6557032"/>
              <a:gd name="connsiteX16349" fmla="*/ 3366467 w 4610101"/>
              <a:gd name="connsiteY16349" fmla="*/ 1202577 h 6557032"/>
              <a:gd name="connsiteX16350" fmla="*/ 1028468 w 4610101"/>
              <a:gd name="connsiteY16350" fmla="*/ 1198646 h 6557032"/>
              <a:gd name="connsiteX16351" fmla="*/ 1030212 w 4610101"/>
              <a:gd name="connsiteY16351" fmla="*/ 1199615 h 6557032"/>
              <a:gd name="connsiteX16352" fmla="*/ 1030027 w 4610101"/>
              <a:gd name="connsiteY16352" fmla="*/ 1201665 h 6557032"/>
              <a:gd name="connsiteX16353" fmla="*/ 1029529 w 4610101"/>
              <a:gd name="connsiteY16353" fmla="*/ 1201665 h 6557032"/>
              <a:gd name="connsiteX16354" fmla="*/ 1029529 w 4610101"/>
              <a:gd name="connsiteY16354" fmla="*/ 1207132 h 6557032"/>
              <a:gd name="connsiteX16355" fmla="*/ 3367378 w 4610101"/>
              <a:gd name="connsiteY16355" fmla="*/ 1198021 h 6557032"/>
              <a:gd name="connsiteX16356" fmla="*/ 3367164 w 4610101"/>
              <a:gd name="connsiteY16356" fmla="*/ 1199093 h 6557032"/>
              <a:gd name="connsiteX16357" fmla="*/ 3366446 w 4610101"/>
              <a:gd name="connsiteY16357" fmla="*/ 1198614 h 6557032"/>
              <a:gd name="connsiteX16358" fmla="*/ 3303602 w 4610101"/>
              <a:gd name="connsiteY16358" fmla="*/ 1198021 h 6557032"/>
              <a:gd name="connsiteX16359" fmla="*/ 3296313 w 4610101"/>
              <a:gd name="connsiteY16359" fmla="*/ 1201665 h 6557032"/>
              <a:gd name="connsiteX16360" fmla="*/ 3305424 w 4610101"/>
              <a:gd name="connsiteY16360" fmla="*/ 1207132 h 6557032"/>
              <a:gd name="connsiteX16361" fmla="*/ 3303602 w 4610101"/>
              <a:gd name="connsiteY16361" fmla="*/ 1198021 h 6557032"/>
              <a:gd name="connsiteX16362" fmla="*/ 3165116 w 4610101"/>
              <a:gd name="connsiteY16362" fmla="*/ 1198021 h 6557032"/>
              <a:gd name="connsiteX16363" fmla="*/ 3165116 w 4610101"/>
              <a:gd name="connsiteY16363" fmla="*/ 1201665 h 6557032"/>
              <a:gd name="connsiteX16364" fmla="*/ 3163294 w 4610101"/>
              <a:gd name="connsiteY16364" fmla="*/ 1207132 h 6557032"/>
              <a:gd name="connsiteX16365" fmla="*/ 3166939 w 4610101"/>
              <a:gd name="connsiteY16365" fmla="*/ 1207132 h 6557032"/>
              <a:gd name="connsiteX16366" fmla="*/ 3166939 w 4610101"/>
              <a:gd name="connsiteY16366" fmla="*/ 1205309 h 6557032"/>
              <a:gd name="connsiteX16367" fmla="*/ 3165116 w 4610101"/>
              <a:gd name="connsiteY16367" fmla="*/ 1198021 h 6557032"/>
              <a:gd name="connsiteX16368" fmla="*/ 2186609 w 4610101"/>
              <a:gd name="connsiteY16368" fmla="*/ 1198021 h 6557032"/>
              <a:gd name="connsiteX16369" fmla="*/ 2161099 w 4610101"/>
              <a:gd name="connsiteY16369" fmla="*/ 1207132 h 6557032"/>
              <a:gd name="connsiteX16370" fmla="*/ 2137410 w 4610101"/>
              <a:gd name="connsiteY16370" fmla="*/ 1212598 h 6557032"/>
              <a:gd name="connsiteX16371" fmla="*/ 2141055 w 4610101"/>
              <a:gd name="connsiteY16371" fmla="*/ 1216242 h 6557032"/>
              <a:gd name="connsiteX16372" fmla="*/ 2155632 w 4610101"/>
              <a:gd name="connsiteY16372" fmla="*/ 1216242 h 6557032"/>
              <a:gd name="connsiteX16373" fmla="*/ 2161099 w 4610101"/>
              <a:gd name="connsiteY16373" fmla="*/ 1221709 h 6557032"/>
              <a:gd name="connsiteX16374" fmla="*/ 2159277 w 4610101"/>
              <a:gd name="connsiteY16374" fmla="*/ 1225353 h 6557032"/>
              <a:gd name="connsiteX16375" fmla="*/ 2166565 w 4610101"/>
              <a:gd name="connsiteY16375" fmla="*/ 1219887 h 6557032"/>
              <a:gd name="connsiteX16376" fmla="*/ 2172032 w 4610101"/>
              <a:gd name="connsiteY16376" fmla="*/ 1218065 h 6557032"/>
              <a:gd name="connsiteX16377" fmla="*/ 2173854 w 4610101"/>
              <a:gd name="connsiteY16377" fmla="*/ 1218065 h 6557032"/>
              <a:gd name="connsiteX16378" fmla="*/ 2190253 w 4610101"/>
              <a:gd name="connsiteY16378" fmla="*/ 1208954 h 6557032"/>
              <a:gd name="connsiteX16379" fmla="*/ 2190253 w 4610101"/>
              <a:gd name="connsiteY16379" fmla="*/ 1199843 h 6557032"/>
              <a:gd name="connsiteX16380" fmla="*/ 2188431 w 4610101"/>
              <a:gd name="connsiteY16380" fmla="*/ 1203487 h 6557032"/>
              <a:gd name="connsiteX16381" fmla="*/ 2186609 w 4610101"/>
              <a:gd name="connsiteY16381" fmla="*/ 1198021 h 6557032"/>
              <a:gd name="connsiteX16382" fmla="*/ 1415829 w 4610101"/>
              <a:gd name="connsiteY16382" fmla="*/ 1198021 h 6557032"/>
              <a:gd name="connsiteX16383" fmla="*/ 1364809 w 4610101"/>
              <a:gd name="connsiteY16383" fmla="*/ 1219887 h 6557032"/>
              <a:gd name="connsiteX16384" fmla="*/ 1379386 w 4610101"/>
              <a:gd name="connsiteY16384" fmla="*/ 1212598 h 6557032"/>
              <a:gd name="connsiteX16385" fmla="*/ 1377564 w 4610101"/>
              <a:gd name="connsiteY16385" fmla="*/ 1216242 h 6557032"/>
              <a:gd name="connsiteX16386" fmla="*/ 1384854 w 4610101"/>
              <a:gd name="connsiteY16386" fmla="*/ 1214420 h 6557032"/>
              <a:gd name="connsiteX16387" fmla="*/ 1388497 w 4610101"/>
              <a:gd name="connsiteY16387" fmla="*/ 1216242 h 6557032"/>
              <a:gd name="connsiteX16388" fmla="*/ 1415829 w 4610101"/>
              <a:gd name="connsiteY16388" fmla="*/ 1201665 h 6557032"/>
              <a:gd name="connsiteX16389" fmla="*/ 1415829 w 4610101"/>
              <a:gd name="connsiteY16389" fmla="*/ 1198021 h 6557032"/>
              <a:gd name="connsiteX16390" fmla="*/ 1229969 w 4610101"/>
              <a:gd name="connsiteY16390" fmla="*/ 1198021 h 6557032"/>
              <a:gd name="connsiteX16391" fmla="*/ 1231010 w 4610101"/>
              <a:gd name="connsiteY16391" fmla="*/ 1200103 h 6557032"/>
              <a:gd name="connsiteX16392" fmla="*/ 1230697 w 4610101"/>
              <a:gd name="connsiteY16392" fmla="*/ 1200207 h 6557032"/>
              <a:gd name="connsiteX16393" fmla="*/ 1005840 w 4610101"/>
              <a:gd name="connsiteY16393" fmla="*/ 1198021 h 6557032"/>
              <a:gd name="connsiteX16394" fmla="*/ 1005840 w 4610101"/>
              <a:gd name="connsiteY16394" fmla="*/ 1207132 h 6557032"/>
              <a:gd name="connsiteX16395" fmla="*/ 1007663 w 4610101"/>
              <a:gd name="connsiteY16395" fmla="*/ 1203487 h 6557032"/>
              <a:gd name="connsiteX16396" fmla="*/ 1013129 w 4610101"/>
              <a:gd name="connsiteY16396" fmla="*/ 1201665 h 6557032"/>
              <a:gd name="connsiteX16397" fmla="*/ 1009485 w 4610101"/>
              <a:gd name="connsiteY16397" fmla="*/ 1198021 h 6557032"/>
              <a:gd name="connsiteX16398" fmla="*/ 1005840 w 4610101"/>
              <a:gd name="connsiteY16398" fmla="*/ 1198021 h 6557032"/>
              <a:gd name="connsiteX16399" fmla="*/ 996729 w 4610101"/>
              <a:gd name="connsiteY16399" fmla="*/ 1198021 h 6557032"/>
              <a:gd name="connsiteX16400" fmla="*/ 995727 w 4610101"/>
              <a:gd name="connsiteY16400" fmla="*/ 1204034 h 6557032"/>
              <a:gd name="connsiteX16401" fmla="*/ 994907 w 4610101"/>
              <a:gd name="connsiteY16401" fmla="*/ 1203487 h 6557032"/>
              <a:gd name="connsiteX16402" fmla="*/ 994907 w 4610101"/>
              <a:gd name="connsiteY16402" fmla="*/ 1208954 h 6557032"/>
              <a:gd name="connsiteX16403" fmla="*/ 995727 w 4610101"/>
              <a:gd name="connsiteY16403" fmla="*/ 1204034 h 6557032"/>
              <a:gd name="connsiteX16404" fmla="*/ 996957 w 4610101"/>
              <a:gd name="connsiteY16404" fmla="*/ 1204854 h 6557032"/>
              <a:gd name="connsiteX16405" fmla="*/ 1000374 w 4610101"/>
              <a:gd name="connsiteY16405" fmla="*/ 1203487 h 6557032"/>
              <a:gd name="connsiteX16406" fmla="*/ 996729 w 4610101"/>
              <a:gd name="connsiteY16406" fmla="*/ 1198021 h 6557032"/>
              <a:gd name="connsiteX16407" fmla="*/ 940242 w 4610101"/>
              <a:gd name="connsiteY16407" fmla="*/ 1198021 h 6557032"/>
              <a:gd name="connsiteX16408" fmla="*/ 936646 w 4610101"/>
              <a:gd name="connsiteY16408" fmla="*/ 1200418 h 6557032"/>
              <a:gd name="connsiteX16409" fmla="*/ 936598 w 4610101"/>
              <a:gd name="connsiteY16409" fmla="*/ 1199843 h 6557032"/>
              <a:gd name="connsiteX16410" fmla="*/ 934777 w 4610101"/>
              <a:gd name="connsiteY16410" fmla="*/ 1201665 h 6557032"/>
              <a:gd name="connsiteX16411" fmla="*/ 936646 w 4610101"/>
              <a:gd name="connsiteY16411" fmla="*/ 1200418 h 6557032"/>
              <a:gd name="connsiteX16412" fmla="*/ 936826 w 4610101"/>
              <a:gd name="connsiteY16412" fmla="*/ 1202576 h 6557032"/>
              <a:gd name="connsiteX16413" fmla="*/ 938420 w 4610101"/>
              <a:gd name="connsiteY16413" fmla="*/ 1205309 h 6557032"/>
              <a:gd name="connsiteX16414" fmla="*/ 940242 w 4610101"/>
              <a:gd name="connsiteY16414" fmla="*/ 1198021 h 6557032"/>
              <a:gd name="connsiteX16415" fmla="*/ 513853 w 4610101"/>
              <a:gd name="connsiteY16415" fmla="*/ 1198021 h 6557032"/>
              <a:gd name="connsiteX16416" fmla="*/ 550297 w 4610101"/>
              <a:gd name="connsiteY16416" fmla="*/ 1205309 h 6557032"/>
              <a:gd name="connsiteX16417" fmla="*/ 533897 w 4610101"/>
              <a:gd name="connsiteY16417" fmla="*/ 1205309 h 6557032"/>
              <a:gd name="connsiteX16418" fmla="*/ 543008 w 4610101"/>
              <a:gd name="connsiteY16418" fmla="*/ 1203487 h 6557032"/>
              <a:gd name="connsiteX16419" fmla="*/ 513853 w 4610101"/>
              <a:gd name="connsiteY16419" fmla="*/ 1198021 h 6557032"/>
              <a:gd name="connsiteX16420" fmla="*/ 417278 w 4610101"/>
              <a:gd name="connsiteY16420" fmla="*/ 1198021 h 6557032"/>
              <a:gd name="connsiteX16421" fmla="*/ 420923 w 4610101"/>
              <a:gd name="connsiteY16421" fmla="*/ 1199843 h 6557032"/>
              <a:gd name="connsiteX16422" fmla="*/ 417278 w 4610101"/>
              <a:gd name="connsiteY16422" fmla="*/ 1198021 h 6557032"/>
              <a:gd name="connsiteX16423" fmla="*/ 488542 w 4610101"/>
              <a:gd name="connsiteY16423" fmla="*/ 1197558 h 6557032"/>
              <a:gd name="connsiteX16424" fmla="*/ 488570 w 4610101"/>
              <a:gd name="connsiteY16424" fmla="*/ 1197565 h 6557032"/>
              <a:gd name="connsiteX16425" fmla="*/ 490165 w 4610101"/>
              <a:gd name="connsiteY16425" fmla="*/ 1201665 h 6557032"/>
              <a:gd name="connsiteX16426" fmla="*/ 488571 w 4610101"/>
              <a:gd name="connsiteY16426" fmla="*/ 1198021 h 6557032"/>
              <a:gd name="connsiteX16427" fmla="*/ 170602 w 4610101"/>
              <a:gd name="connsiteY16427" fmla="*/ 1197338 h 6557032"/>
              <a:gd name="connsiteX16428" fmla="*/ 170857 w 4610101"/>
              <a:gd name="connsiteY16428" fmla="*/ 1197378 h 6557032"/>
              <a:gd name="connsiteX16429" fmla="*/ 167640 w 4610101"/>
              <a:gd name="connsiteY16429" fmla="*/ 1198021 h 6557032"/>
              <a:gd name="connsiteX16430" fmla="*/ 170602 w 4610101"/>
              <a:gd name="connsiteY16430" fmla="*/ 1197338 h 6557032"/>
              <a:gd name="connsiteX16431" fmla="*/ 3236181 w 4610101"/>
              <a:gd name="connsiteY16431" fmla="*/ 1196199 h 6557032"/>
              <a:gd name="connsiteX16432" fmla="*/ 3232537 w 4610101"/>
              <a:gd name="connsiteY16432" fmla="*/ 1198021 h 6557032"/>
              <a:gd name="connsiteX16433" fmla="*/ 3238003 w 4610101"/>
              <a:gd name="connsiteY16433" fmla="*/ 1201665 h 6557032"/>
              <a:gd name="connsiteX16434" fmla="*/ 3236181 w 4610101"/>
              <a:gd name="connsiteY16434" fmla="*/ 1196199 h 6557032"/>
              <a:gd name="connsiteX16435" fmla="*/ 3194271 w 4610101"/>
              <a:gd name="connsiteY16435" fmla="*/ 1196199 h 6557032"/>
              <a:gd name="connsiteX16436" fmla="*/ 3201560 w 4610101"/>
              <a:gd name="connsiteY16436" fmla="*/ 1207132 h 6557032"/>
              <a:gd name="connsiteX16437" fmla="*/ 3199738 w 4610101"/>
              <a:gd name="connsiteY16437" fmla="*/ 1196199 h 6557032"/>
              <a:gd name="connsiteX16438" fmla="*/ 3194271 w 4610101"/>
              <a:gd name="connsiteY16438" fmla="*/ 1196199 h 6557032"/>
              <a:gd name="connsiteX16439" fmla="*/ 2416203 w 4610101"/>
              <a:gd name="connsiteY16439" fmla="*/ 1196199 h 6557032"/>
              <a:gd name="connsiteX16440" fmla="*/ 2414381 w 4610101"/>
              <a:gd name="connsiteY16440" fmla="*/ 1205309 h 6557032"/>
              <a:gd name="connsiteX16441" fmla="*/ 2416203 w 4610101"/>
              <a:gd name="connsiteY16441" fmla="*/ 1196199 h 6557032"/>
              <a:gd name="connsiteX16442" fmla="*/ 2368827 w 4610101"/>
              <a:gd name="connsiteY16442" fmla="*/ 1196199 h 6557032"/>
              <a:gd name="connsiteX16443" fmla="*/ 2365182 w 4610101"/>
              <a:gd name="connsiteY16443" fmla="*/ 1199843 h 6557032"/>
              <a:gd name="connsiteX16444" fmla="*/ 2367004 w 4610101"/>
              <a:gd name="connsiteY16444" fmla="*/ 1216242 h 6557032"/>
              <a:gd name="connsiteX16445" fmla="*/ 2374293 w 4610101"/>
              <a:gd name="connsiteY16445" fmla="*/ 1201665 h 6557032"/>
              <a:gd name="connsiteX16446" fmla="*/ 2368827 w 4610101"/>
              <a:gd name="connsiteY16446" fmla="*/ 1196199 h 6557032"/>
              <a:gd name="connsiteX16447" fmla="*/ 2053590 w 4610101"/>
              <a:gd name="connsiteY16447" fmla="*/ 1196199 h 6557032"/>
              <a:gd name="connsiteX16448" fmla="*/ 2046302 w 4610101"/>
              <a:gd name="connsiteY16448" fmla="*/ 1198021 h 6557032"/>
              <a:gd name="connsiteX16449" fmla="*/ 2051768 w 4610101"/>
              <a:gd name="connsiteY16449" fmla="*/ 1203487 h 6557032"/>
              <a:gd name="connsiteX16450" fmla="*/ 2053590 w 4610101"/>
              <a:gd name="connsiteY16450" fmla="*/ 1196199 h 6557032"/>
              <a:gd name="connsiteX16451" fmla="*/ 1346587 w 4610101"/>
              <a:gd name="connsiteY16451" fmla="*/ 1196199 h 6557032"/>
              <a:gd name="connsiteX16452" fmla="*/ 1353876 w 4610101"/>
              <a:gd name="connsiteY16452" fmla="*/ 1196199 h 6557032"/>
              <a:gd name="connsiteX16453" fmla="*/ 1346587 w 4610101"/>
              <a:gd name="connsiteY16453" fmla="*/ 1196199 h 6557032"/>
              <a:gd name="connsiteX16454" fmla="*/ 1341120 w 4610101"/>
              <a:gd name="connsiteY16454" fmla="*/ 1196199 h 6557032"/>
              <a:gd name="connsiteX16455" fmla="*/ 1332009 w 4610101"/>
              <a:gd name="connsiteY16455" fmla="*/ 1201665 h 6557032"/>
              <a:gd name="connsiteX16456" fmla="*/ 1339298 w 4610101"/>
              <a:gd name="connsiteY16456" fmla="*/ 1199843 h 6557032"/>
              <a:gd name="connsiteX16457" fmla="*/ 1339298 w 4610101"/>
              <a:gd name="connsiteY16457" fmla="*/ 1199843 h 6557032"/>
              <a:gd name="connsiteX16458" fmla="*/ 1337704 w 4610101"/>
              <a:gd name="connsiteY16458" fmla="*/ 1201665 h 6557032"/>
              <a:gd name="connsiteX16459" fmla="*/ 1337476 w 4610101"/>
              <a:gd name="connsiteY16459" fmla="*/ 1203487 h 6557032"/>
              <a:gd name="connsiteX16460" fmla="*/ 1339298 w 4610101"/>
              <a:gd name="connsiteY16460" fmla="*/ 1199843 h 6557032"/>
              <a:gd name="connsiteX16461" fmla="*/ 1339299 w 4610101"/>
              <a:gd name="connsiteY16461" fmla="*/ 1199843 h 6557032"/>
              <a:gd name="connsiteX16462" fmla="*/ 1339298 w 4610101"/>
              <a:gd name="connsiteY16462" fmla="*/ 1199843 h 6557032"/>
              <a:gd name="connsiteX16463" fmla="*/ 1089660 w 4610101"/>
              <a:gd name="connsiteY16463" fmla="*/ 1196199 h 6557032"/>
              <a:gd name="connsiteX16464" fmla="*/ 1086016 w 4610101"/>
              <a:gd name="connsiteY16464" fmla="*/ 1216242 h 6557032"/>
              <a:gd name="connsiteX16465" fmla="*/ 1095127 w 4610101"/>
              <a:gd name="connsiteY16465" fmla="*/ 1223531 h 6557032"/>
              <a:gd name="connsiteX16466" fmla="*/ 1089660 w 4610101"/>
              <a:gd name="connsiteY16466" fmla="*/ 1196199 h 6557032"/>
              <a:gd name="connsiteX16467" fmla="*/ 1036818 w 4610101"/>
              <a:gd name="connsiteY16467" fmla="*/ 1196199 h 6557032"/>
              <a:gd name="connsiteX16468" fmla="*/ 1034995 w 4610101"/>
              <a:gd name="connsiteY16468" fmla="*/ 1207132 h 6557032"/>
              <a:gd name="connsiteX16469" fmla="*/ 1045929 w 4610101"/>
              <a:gd name="connsiteY16469" fmla="*/ 1210776 h 6557032"/>
              <a:gd name="connsiteX16470" fmla="*/ 1036818 w 4610101"/>
              <a:gd name="connsiteY16470" fmla="*/ 1196199 h 6557032"/>
              <a:gd name="connsiteX16471" fmla="*/ 829089 w 4610101"/>
              <a:gd name="connsiteY16471" fmla="*/ 1196199 h 6557032"/>
              <a:gd name="connsiteX16472" fmla="*/ 836378 w 4610101"/>
              <a:gd name="connsiteY16472" fmla="*/ 1203487 h 6557032"/>
              <a:gd name="connsiteX16473" fmla="*/ 829089 w 4610101"/>
              <a:gd name="connsiteY16473" fmla="*/ 1196199 h 6557032"/>
              <a:gd name="connsiteX16474" fmla="*/ 437322 w 4610101"/>
              <a:gd name="connsiteY16474" fmla="*/ 1196199 h 6557032"/>
              <a:gd name="connsiteX16475" fmla="*/ 426389 w 4610101"/>
              <a:gd name="connsiteY16475" fmla="*/ 1203487 h 6557032"/>
              <a:gd name="connsiteX16476" fmla="*/ 437322 w 4610101"/>
              <a:gd name="connsiteY16476" fmla="*/ 1196199 h 6557032"/>
              <a:gd name="connsiteX16477" fmla="*/ 307948 w 4610101"/>
              <a:gd name="connsiteY16477" fmla="*/ 1196199 h 6557032"/>
              <a:gd name="connsiteX16478" fmla="*/ 302481 w 4610101"/>
              <a:gd name="connsiteY16478" fmla="*/ 1198021 h 6557032"/>
              <a:gd name="connsiteX16479" fmla="*/ 311592 w 4610101"/>
              <a:gd name="connsiteY16479" fmla="*/ 1199843 h 6557032"/>
              <a:gd name="connsiteX16480" fmla="*/ 307948 w 4610101"/>
              <a:gd name="connsiteY16480" fmla="*/ 1196199 h 6557032"/>
              <a:gd name="connsiteX16481" fmla="*/ 1420840 w 4610101"/>
              <a:gd name="connsiteY16481" fmla="*/ 1194832 h 6557032"/>
              <a:gd name="connsiteX16482" fmla="*/ 1415829 w 4610101"/>
              <a:gd name="connsiteY16482" fmla="*/ 1196199 h 6557032"/>
              <a:gd name="connsiteX16483" fmla="*/ 1417652 w 4610101"/>
              <a:gd name="connsiteY16483" fmla="*/ 1199843 h 6557032"/>
              <a:gd name="connsiteX16484" fmla="*/ 1423118 w 4610101"/>
              <a:gd name="connsiteY16484" fmla="*/ 1196199 h 6557032"/>
              <a:gd name="connsiteX16485" fmla="*/ 1420840 w 4610101"/>
              <a:gd name="connsiteY16485" fmla="*/ 1194832 h 6557032"/>
              <a:gd name="connsiteX16486" fmla="*/ 998552 w 4610101"/>
              <a:gd name="connsiteY16486" fmla="*/ 1194376 h 6557032"/>
              <a:gd name="connsiteX16487" fmla="*/ 996729 w 4610101"/>
              <a:gd name="connsiteY16487" fmla="*/ 1196199 h 6557032"/>
              <a:gd name="connsiteX16488" fmla="*/ 998552 w 4610101"/>
              <a:gd name="connsiteY16488" fmla="*/ 1199843 h 6557032"/>
              <a:gd name="connsiteX16489" fmla="*/ 998552 w 4610101"/>
              <a:gd name="connsiteY16489" fmla="*/ 1194376 h 6557032"/>
              <a:gd name="connsiteX16490" fmla="*/ 931131 w 4610101"/>
              <a:gd name="connsiteY16490" fmla="*/ 1194376 h 6557032"/>
              <a:gd name="connsiteX16491" fmla="*/ 929309 w 4610101"/>
              <a:gd name="connsiteY16491" fmla="*/ 1196199 h 6557032"/>
              <a:gd name="connsiteX16492" fmla="*/ 931131 w 4610101"/>
              <a:gd name="connsiteY16492" fmla="*/ 1194376 h 6557032"/>
              <a:gd name="connsiteX16493" fmla="*/ 794468 w 4610101"/>
              <a:gd name="connsiteY16493" fmla="*/ 1194376 h 6557032"/>
              <a:gd name="connsiteX16494" fmla="*/ 809046 w 4610101"/>
              <a:gd name="connsiteY16494" fmla="*/ 1212598 h 6557032"/>
              <a:gd name="connsiteX16495" fmla="*/ 812690 w 4610101"/>
              <a:gd name="connsiteY16495" fmla="*/ 1216242 h 6557032"/>
              <a:gd name="connsiteX16496" fmla="*/ 809046 w 4610101"/>
              <a:gd name="connsiteY16496" fmla="*/ 1212598 h 6557032"/>
              <a:gd name="connsiteX16497" fmla="*/ 794468 w 4610101"/>
              <a:gd name="connsiteY16497" fmla="*/ 1194376 h 6557032"/>
              <a:gd name="connsiteX16498" fmla="*/ 508387 w 4610101"/>
              <a:gd name="connsiteY16498" fmla="*/ 1194376 h 6557032"/>
              <a:gd name="connsiteX16499" fmla="*/ 519320 w 4610101"/>
              <a:gd name="connsiteY16499" fmla="*/ 1207132 h 6557032"/>
              <a:gd name="connsiteX16500" fmla="*/ 508387 w 4610101"/>
              <a:gd name="connsiteY16500" fmla="*/ 1194376 h 6557032"/>
              <a:gd name="connsiteX16501" fmla="*/ 488343 w 4610101"/>
              <a:gd name="connsiteY16501" fmla="*/ 1194376 h 6557032"/>
              <a:gd name="connsiteX16502" fmla="*/ 488542 w 4610101"/>
              <a:gd name="connsiteY16502" fmla="*/ 1197558 h 6557032"/>
              <a:gd name="connsiteX16503" fmla="*/ 482876 w 4610101"/>
              <a:gd name="connsiteY16503" fmla="*/ 1196199 h 6557032"/>
              <a:gd name="connsiteX16504" fmla="*/ 484987 w 4610101"/>
              <a:gd name="connsiteY16504" fmla="*/ 1200642 h 6557032"/>
              <a:gd name="connsiteX16505" fmla="*/ 481054 w 4610101"/>
              <a:gd name="connsiteY16505" fmla="*/ 1198021 h 6557032"/>
              <a:gd name="connsiteX16506" fmla="*/ 481737 w 4610101"/>
              <a:gd name="connsiteY16506" fmla="*/ 1200526 h 6557032"/>
              <a:gd name="connsiteX16507" fmla="*/ 484236 w 4610101"/>
              <a:gd name="connsiteY16507" fmla="*/ 1201121 h 6557032"/>
              <a:gd name="connsiteX16508" fmla="*/ 481054 w 4610101"/>
              <a:gd name="connsiteY16508" fmla="*/ 1202576 h 6557032"/>
              <a:gd name="connsiteX16509" fmla="*/ 473766 w 4610101"/>
              <a:gd name="connsiteY16509" fmla="*/ 1208954 h 6557032"/>
              <a:gd name="connsiteX16510" fmla="*/ 479232 w 4610101"/>
              <a:gd name="connsiteY16510" fmla="*/ 1210776 h 6557032"/>
              <a:gd name="connsiteX16511" fmla="*/ 479232 w 4610101"/>
              <a:gd name="connsiteY16511" fmla="*/ 1216242 h 6557032"/>
              <a:gd name="connsiteX16512" fmla="*/ 499276 w 4610101"/>
              <a:gd name="connsiteY16512" fmla="*/ 1201665 h 6557032"/>
              <a:gd name="connsiteX16513" fmla="*/ 488343 w 4610101"/>
              <a:gd name="connsiteY16513" fmla="*/ 1194376 h 6557032"/>
              <a:gd name="connsiteX16514" fmla="*/ 468299 w 4610101"/>
              <a:gd name="connsiteY16514" fmla="*/ 1194376 h 6557032"/>
              <a:gd name="connsiteX16515" fmla="*/ 468299 w 4610101"/>
              <a:gd name="connsiteY16515" fmla="*/ 1205309 h 6557032"/>
              <a:gd name="connsiteX16516" fmla="*/ 473766 w 4610101"/>
              <a:gd name="connsiteY16516" fmla="*/ 1199843 h 6557032"/>
              <a:gd name="connsiteX16517" fmla="*/ 468299 w 4610101"/>
              <a:gd name="connsiteY16517" fmla="*/ 1194376 h 6557032"/>
              <a:gd name="connsiteX16518" fmla="*/ 1288547 w 4610101"/>
              <a:gd name="connsiteY16518" fmla="*/ 1193948 h 6557032"/>
              <a:gd name="connsiteX16519" fmla="*/ 1289188 w 4610101"/>
              <a:gd name="connsiteY16519" fmla="*/ 1194376 h 6557032"/>
              <a:gd name="connsiteX16520" fmla="*/ 1291922 w 4610101"/>
              <a:gd name="connsiteY16520" fmla="*/ 1196199 h 6557032"/>
              <a:gd name="connsiteX16521" fmla="*/ 1288277 w 4610101"/>
              <a:gd name="connsiteY16521" fmla="*/ 1194376 h 6557032"/>
              <a:gd name="connsiteX16522" fmla="*/ 412723 w 4610101"/>
              <a:gd name="connsiteY16522" fmla="*/ 1193921 h 6557032"/>
              <a:gd name="connsiteX16523" fmla="*/ 409989 w 4610101"/>
              <a:gd name="connsiteY16523" fmla="*/ 1194376 h 6557032"/>
              <a:gd name="connsiteX16524" fmla="*/ 415456 w 4610101"/>
              <a:gd name="connsiteY16524" fmla="*/ 1196199 h 6557032"/>
              <a:gd name="connsiteX16525" fmla="*/ 412723 w 4610101"/>
              <a:gd name="connsiteY16525" fmla="*/ 1193921 h 6557032"/>
              <a:gd name="connsiteX16526" fmla="*/ 2118148 w 4610101"/>
              <a:gd name="connsiteY16526" fmla="*/ 1193205 h 6557032"/>
              <a:gd name="connsiteX16527" fmla="*/ 2122833 w 4610101"/>
              <a:gd name="connsiteY16527" fmla="*/ 1194376 h 6557032"/>
              <a:gd name="connsiteX16528" fmla="*/ 2121011 w 4610101"/>
              <a:gd name="connsiteY16528" fmla="*/ 1199843 h 6557032"/>
              <a:gd name="connsiteX16529" fmla="*/ 2117367 w 4610101"/>
              <a:gd name="connsiteY16529" fmla="*/ 1196426 h 6557032"/>
              <a:gd name="connsiteX16530" fmla="*/ 2979255 w 4610101"/>
              <a:gd name="connsiteY16530" fmla="*/ 1192554 h 6557032"/>
              <a:gd name="connsiteX16531" fmla="*/ 2975610 w 4610101"/>
              <a:gd name="connsiteY16531" fmla="*/ 1196199 h 6557032"/>
              <a:gd name="connsiteX16532" fmla="*/ 2977432 w 4610101"/>
              <a:gd name="connsiteY16532" fmla="*/ 1198021 h 6557032"/>
              <a:gd name="connsiteX16533" fmla="*/ 2977432 w 4610101"/>
              <a:gd name="connsiteY16533" fmla="*/ 1199843 h 6557032"/>
              <a:gd name="connsiteX16534" fmla="*/ 2984721 w 4610101"/>
              <a:gd name="connsiteY16534" fmla="*/ 1210776 h 6557032"/>
              <a:gd name="connsiteX16535" fmla="*/ 2986543 w 4610101"/>
              <a:gd name="connsiteY16535" fmla="*/ 1205309 h 6557032"/>
              <a:gd name="connsiteX16536" fmla="*/ 2993832 w 4610101"/>
              <a:gd name="connsiteY16536" fmla="*/ 1210776 h 6557032"/>
              <a:gd name="connsiteX16537" fmla="*/ 2995654 w 4610101"/>
              <a:gd name="connsiteY16537" fmla="*/ 1201665 h 6557032"/>
              <a:gd name="connsiteX16538" fmla="*/ 3001121 w 4610101"/>
              <a:gd name="connsiteY16538" fmla="*/ 1203487 h 6557032"/>
              <a:gd name="connsiteX16539" fmla="*/ 2988366 w 4610101"/>
              <a:gd name="connsiteY16539" fmla="*/ 1198021 h 6557032"/>
              <a:gd name="connsiteX16540" fmla="*/ 2979255 w 4610101"/>
              <a:gd name="connsiteY16540" fmla="*/ 1192554 h 6557032"/>
              <a:gd name="connsiteX16541" fmla="*/ 2463580 w 4610101"/>
              <a:gd name="connsiteY16541" fmla="*/ 1192554 h 6557032"/>
              <a:gd name="connsiteX16542" fmla="*/ 2458113 w 4610101"/>
              <a:gd name="connsiteY16542" fmla="*/ 1207132 h 6557032"/>
              <a:gd name="connsiteX16543" fmla="*/ 2467224 w 4610101"/>
              <a:gd name="connsiteY16543" fmla="*/ 1208954 h 6557032"/>
              <a:gd name="connsiteX16544" fmla="*/ 2461757 w 4610101"/>
              <a:gd name="connsiteY16544" fmla="*/ 1201665 h 6557032"/>
              <a:gd name="connsiteX16545" fmla="*/ 2469046 w 4610101"/>
              <a:gd name="connsiteY16545" fmla="*/ 1198021 h 6557032"/>
              <a:gd name="connsiteX16546" fmla="*/ 2469046 w 4610101"/>
              <a:gd name="connsiteY16546" fmla="*/ 1196199 h 6557032"/>
              <a:gd name="connsiteX16547" fmla="*/ 2463580 w 4610101"/>
              <a:gd name="connsiteY16547" fmla="*/ 1192554 h 6557032"/>
              <a:gd name="connsiteX16548" fmla="*/ 2397981 w 4610101"/>
              <a:gd name="connsiteY16548" fmla="*/ 1192554 h 6557032"/>
              <a:gd name="connsiteX16549" fmla="*/ 2387048 w 4610101"/>
              <a:gd name="connsiteY16549" fmla="*/ 1196199 h 6557032"/>
              <a:gd name="connsiteX16550" fmla="*/ 2376115 w 4610101"/>
              <a:gd name="connsiteY16550" fmla="*/ 1198021 h 6557032"/>
              <a:gd name="connsiteX16551" fmla="*/ 2376115 w 4610101"/>
              <a:gd name="connsiteY16551" fmla="*/ 1207132 h 6557032"/>
              <a:gd name="connsiteX16552" fmla="*/ 2379760 w 4610101"/>
              <a:gd name="connsiteY16552" fmla="*/ 1205309 h 6557032"/>
              <a:gd name="connsiteX16553" fmla="*/ 2381582 w 4610101"/>
              <a:gd name="connsiteY16553" fmla="*/ 1208954 h 6557032"/>
              <a:gd name="connsiteX16554" fmla="*/ 2399803 w 4610101"/>
              <a:gd name="connsiteY16554" fmla="*/ 1198021 h 6557032"/>
              <a:gd name="connsiteX16555" fmla="*/ 2397981 w 4610101"/>
              <a:gd name="connsiteY16555" fmla="*/ 1192554 h 6557032"/>
              <a:gd name="connsiteX16556" fmla="*/ 1351370 w 4610101"/>
              <a:gd name="connsiteY16556" fmla="*/ 1192554 h 6557032"/>
              <a:gd name="connsiteX16557" fmla="*/ 1346587 w 4610101"/>
              <a:gd name="connsiteY16557" fmla="*/ 1196199 h 6557032"/>
              <a:gd name="connsiteX16558" fmla="*/ 1344765 w 4610101"/>
              <a:gd name="connsiteY16558" fmla="*/ 1207132 h 6557032"/>
              <a:gd name="connsiteX16559" fmla="*/ 1350231 w 4610101"/>
              <a:gd name="connsiteY16559" fmla="*/ 1205309 h 6557032"/>
              <a:gd name="connsiteX16560" fmla="*/ 1362987 w 4610101"/>
              <a:gd name="connsiteY16560" fmla="*/ 1198021 h 6557032"/>
              <a:gd name="connsiteX16561" fmla="*/ 1364809 w 4610101"/>
              <a:gd name="connsiteY16561" fmla="*/ 1201665 h 6557032"/>
              <a:gd name="connsiteX16562" fmla="*/ 1366632 w 4610101"/>
              <a:gd name="connsiteY16562" fmla="*/ 1198021 h 6557032"/>
              <a:gd name="connsiteX16563" fmla="*/ 1355698 w 4610101"/>
              <a:gd name="connsiteY16563" fmla="*/ 1196199 h 6557032"/>
              <a:gd name="connsiteX16564" fmla="*/ 1357521 w 4610101"/>
              <a:gd name="connsiteY16564" fmla="*/ 1194376 h 6557032"/>
              <a:gd name="connsiteX16565" fmla="*/ 1351370 w 4610101"/>
              <a:gd name="connsiteY16565" fmla="*/ 1192554 h 6557032"/>
              <a:gd name="connsiteX16566" fmla="*/ 1282811 w 4610101"/>
              <a:gd name="connsiteY16566" fmla="*/ 1192554 h 6557032"/>
              <a:gd name="connsiteX16567" fmla="*/ 1282626 w 4610101"/>
              <a:gd name="connsiteY16567" fmla="*/ 1193727 h 6557032"/>
              <a:gd name="connsiteX16568" fmla="*/ 1282360 w 4610101"/>
              <a:gd name="connsiteY16568" fmla="*/ 1192798 h 6557032"/>
              <a:gd name="connsiteX16569" fmla="*/ 916555 w 4610101"/>
              <a:gd name="connsiteY16569" fmla="*/ 1192554 h 6557032"/>
              <a:gd name="connsiteX16570" fmla="*/ 912909 w 4610101"/>
              <a:gd name="connsiteY16570" fmla="*/ 1198021 h 6557032"/>
              <a:gd name="connsiteX16571" fmla="*/ 916555 w 4610101"/>
              <a:gd name="connsiteY16571" fmla="*/ 1192554 h 6557032"/>
              <a:gd name="connsiteX16572" fmla="*/ 891043 w 4610101"/>
              <a:gd name="connsiteY16572" fmla="*/ 1192554 h 6557032"/>
              <a:gd name="connsiteX16573" fmla="*/ 894688 w 4610101"/>
              <a:gd name="connsiteY16573" fmla="*/ 1199843 h 6557032"/>
              <a:gd name="connsiteX16574" fmla="*/ 891043 w 4610101"/>
              <a:gd name="connsiteY16574" fmla="*/ 1192554 h 6557032"/>
              <a:gd name="connsiteX16575" fmla="*/ 856422 w 4610101"/>
              <a:gd name="connsiteY16575" fmla="*/ 1192554 h 6557032"/>
              <a:gd name="connsiteX16576" fmla="*/ 860066 w 4610101"/>
              <a:gd name="connsiteY16576" fmla="*/ 1201665 h 6557032"/>
              <a:gd name="connsiteX16577" fmla="*/ 863711 w 4610101"/>
              <a:gd name="connsiteY16577" fmla="*/ 1199843 h 6557032"/>
              <a:gd name="connsiteX16578" fmla="*/ 856422 w 4610101"/>
              <a:gd name="connsiteY16578" fmla="*/ 1192554 h 6557032"/>
              <a:gd name="connsiteX16579" fmla="*/ 818156 w 4610101"/>
              <a:gd name="connsiteY16579" fmla="*/ 1192554 h 6557032"/>
              <a:gd name="connsiteX16580" fmla="*/ 818156 w 4610101"/>
              <a:gd name="connsiteY16580" fmla="*/ 1201893 h 6557032"/>
              <a:gd name="connsiteX16581" fmla="*/ 829089 w 4610101"/>
              <a:gd name="connsiteY16581" fmla="*/ 1212598 h 6557032"/>
              <a:gd name="connsiteX16582" fmla="*/ 827723 w 4610101"/>
              <a:gd name="connsiteY16582" fmla="*/ 1201893 h 6557032"/>
              <a:gd name="connsiteX16583" fmla="*/ 380835 w 4610101"/>
              <a:gd name="connsiteY16583" fmla="*/ 1192554 h 6557032"/>
              <a:gd name="connsiteX16584" fmla="*/ 386301 w 4610101"/>
              <a:gd name="connsiteY16584" fmla="*/ 1192554 h 6557032"/>
              <a:gd name="connsiteX16585" fmla="*/ 380835 w 4610101"/>
              <a:gd name="connsiteY16585" fmla="*/ 1192554 h 6557032"/>
              <a:gd name="connsiteX16586" fmla="*/ 284259 w 4610101"/>
              <a:gd name="connsiteY16586" fmla="*/ 1192554 h 6557032"/>
              <a:gd name="connsiteX16587" fmla="*/ 280615 w 4610101"/>
              <a:gd name="connsiteY16587" fmla="*/ 1194376 h 6557032"/>
              <a:gd name="connsiteX16588" fmla="*/ 284259 w 4610101"/>
              <a:gd name="connsiteY16588" fmla="*/ 1192554 h 6557032"/>
              <a:gd name="connsiteX16589" fmla="*/ 1188438 w 4610101"/>
              <a:gd name="connsiteY16589" fmla="*/ 1191650 h 6557032"/>
              <a:gd name="connsiteX16590" fmla="*/ 1188513 w 4610101"/>
              <a:gd name="connsiteY16590" fmla="*/ 1192554 h 6557032"/>
              <a:gd name="connsiteX16591" fmla="*/ 1188251 w 4610101"/>
              <a:gd name="connsiteY16591" fmla="*/ 1193184 h 6557032"/>
              <a:gd name="connsiteX16592" fmla="*/ 1188285 w 4610101"/>
              <a:gd name="connsiteY16592" fmla="*/ 1192326 h 6557032"/>
              <a:gd name="connsiteX16593" fmla="*/ 1138859 w 4610101"/>
              <a:gd name="connsiteY16593" fmla="*/ 1191415 h 6557032"/>
              <a:gd name="connsiteX16594" fmla="*/ 1137037 w 4610101"/>
              <a:gd name="connsiteY16594" fmla="*/ 1192554 h 6557032"/>
              <a:gd name="connsiteX16595" fmla="*/ 1140681 w 4610101"/>
              <a:gd name="connsiteY16595" fmla="*/ 1194376 h 6557032"/>
              <a:gd name="connsiteX16596" fmla="*/ 1138859 w 4610101"/>
              <a:gd name="connsiteY16596" fmla="*/ 1191415 h 6557032"/>
              <a:gd name="connsiteX16597" fmla="*/ 1153664 w 4610101"/>
              <a:gd name="connsiteY16597" fmla="*/ 1190960 h 6557032"/>
              <a:gd name="connsiteX16598" fmla="*/ 1144326 w 4610101"/>
              <a:gd name="connsiteY16598" fmla="*/ 1192554 h 6557032"/>
              <a:gd name="connsiteX16599" fmla="*/ 1158903 w 4610101"/>
              <a:gd name="connsiteY16599" fmla="*/ 1196199 h 6557032"/>
              <a:gd name="connsiteX16600" fmla="*/ 1153664 w 4610101"/>
              <a:gd name="connsiteY16600" fmla="*/ 1190960 h 6557032"/>
              <a:gd name="connsiteX16601" fmla="*/ 3374666 w 4610101"/>
              <a:gd name="connsiteY16601" fmla="*/ 1190732 h 6557032"/>
              <a:gd name="connsiteX16602" fmla="*/ 3371022 w 4610101"/>
              <a:gd name="connsiteY16602" fmla="*/ 1201665 h 6557032"/>
              <a:gd name="connsiteX16603" fmla="*/ 3368627 w 4610101"/>
              <a:gd name="connsiteY16603" fmla="*/ 1200068 h 6557032"/>
              <a:gd name="connsiteX16604" fmla="*/ 3370111 w 4610101"/>
              <a:gd name="connsiteY16604" fmla="*/ 1196654 h 6557032"/>
              <a:gd name="connsiteX16605" fmla="*/ 3369318 w 4610101"/>
              <a:gd name="connsiteY16605" fmla="*/ 1195011 h 6557032"/>
              <a:gd name="connsiteX16606" fmla="*/ 3181516 w 4610101"/>
              <a:gd name="connsiteY16606" fmla="*/ 1190732 h 6557032"/>
              <a:gd name="connsiteX16607" fmla="*/ 3183338 w 4610101"/>
              <a:gd name="connsiteY16607" fmla="*/ 1198021 h 6557032"/>
              <a:gd name="connsiteX16608" fmla="*/ 3186982 w 4610101"/>
              <a:gd name="connsiteY16608" fmla="*/ 1192554 h 6557032"/>
              <a:gd name="connsiteX16609" fmla="*/ 3181516 w 4610101"/>
              <a:gd name="connsiteY16609" fmla="*/ 1190732 h 6557032"/>
              <a:gd name="connsiteX16610" fmla="*/ 1368453 w 4610101"/>
              <a:gd name="connsiteY16610" fmla="*/ 1190732 h 6557032"/>
              <a:gd name="connsiteX16611" fmla="*/ 1362987 w 4610101"/>
              <a:gd name="connsiteY16611" fmla="*/ 1194376 h 6557032"/>
              <a:gd name="connsiteX16612" fmla="*/ 1364809 w 4610101"/>
              <a:gd name="connsiteY16612" fmla="*/ 1196199 h 6557032"/>
              <a:gd name="connsiteX16613" fmla="*/ 1368453 w 4610101"/>
              <a:gd name="connsiteY16613" fmla="*/ 1190732 h 6557032"/>
              <a:gd name="connsiteX16614" fmla="*/ 1129748 w 4610101"/>
              <a:gd name="connsiteY16614" fmla="*/ 1190732 h 6557032"/>
              <a:gd name="connsiteX16615" fmla="*/ 1137037 w 4610101"/>
              <a:gd name="connsiteY16615" fmla="*/ 1190732 h 6557032"/>
              <a:gd name="connsiteX16616" fmla="*/ 1129748 w 4610101"/>
              <a:gd name="connsiteY16616" fmla="*/ 1190732 h 6557032"/>
              <a:gd name="connsiteX16617" fmla="*/ 1049573 w 4610101"/>
              <a:gd name="connsiteY16617" fmla="*/ 1190732 h 6557032"/>
              <a:gd name="connsiteX16618" fmla="*/ 1038639 w 4610101"/>
              <a:gd name="connsiteY16618" fmla="*/ 1192554 h 6557032"/>
              <a:gd name="connsiteX16619" fmla="*/ 1049573 w 4610101"/>
              <a:gd name="connsiteY16619" fmla="*/ 1210776 h 6557032"/>
              <a:gd name="connsiteX16620" fmla="*/ 1055040 w 4610101"/>
              <a:gd name="connsiteY16620" fmla="*/ 1203487 h 6557032"/>
              <a:gd name="connsiteX16621" fmla="*/ 1049573 w 4610101"/>
              <a:gd name="connsiteY16621" fmla="*/ 1190732 h 6557032"/>
              <a:gd name="connsiteX16622" fmla="*/ 850956 w 4610101"/>
              <a:gd name="connsiteY16622" fmla="*/ 1190732 h 6557032"/>
              <a:gd name="connsiteX16623" fmla="*/ 854600 w 4610101"/>
              <a:gd name="connsiteY16623" fmla="*/ 1198021 h 6557032"/>
              <a:gd name="connsiteX16624" fmla="*/ 854600 w 4610101"/>
              <a:gd name="connsiteY16624" fmla="*/ 1192554 h 6557032"/>
              <a:gd name="connsiteX16625" fmla="*/ 850956 w 4610101"/>
              <a:gd name="connsiteY16625" fmla="*/ 1190732 h 6557032"/>
              <a:gd name="connsiteX16626" fmla="*/ 799935 w 4610101"/>
              <a:gd name="connsiteY16626" fmla="*/ 1190732 h 6557032"/>
              <a:gd name="connsiteX16627" fmla="*/ 809046 w 4610101"/>
              <a:gd name="connsiteY16627" fmla="*/ 1198021 h 6557032"/>
              <a:gd name="connsiteX16628" fmla="*/ 799935 w 4610101"/>
              <a:gd name="connsiteY16628" fmla="*/ 1190732 h 6557032"/>
              <a:gd name="connsiteX16629" fmla="*/ 395412 w 4610101"/>
              <a:gd name="connsiteY16629" fmla="*/ 1190732 h 6557032"/>
              <a:gd name="connsiteX16630" fmla="*/ 400879 w 4610101"/>
              <a:gd name="connsiteY16630" fmla="*/ 1196199 h 6557032"/>
              <a:gd name="connsiteX16631" fmla="*/ 402701 w 4610101"/>
              <a:gd name="connsiteY16631" fmla="*/ 1192554 h 6557032"/>
              <a:gd name="connsiteX16632" fmla="*/ 395412 w 4610101"/>
              <a:gd name="connsiteY16632" fmla="*/ 1190732 h 6557032"/>
              <a:gd name="connsiteX16633" fmla="*/ 331636 w 4610101"/>
              <a:gd name="connsiteY16633" fmla="*/ 1190732 h 6557032"/>
              <a:gd name="connsiteX16634" fmla="*/ 327993 w 4610101"/>
              <a:gd name="connsiteY16634" fmla="*/ 1192554 h 6557032"/>
              <a:gd name="connsiteX16635" fmla="*/ 331636 w 4610101"/>
              <a:gd name="connsiteY16635" fmla="*/ 1190732 h 6557032"/>
              <a:gd name="connsiteX16636" fmla="*/ 2118866 w 4610101"/>
              <a:gd name="connsiteY16636" fmla="*/ 1190244 h 6557032"/>
              <a:gd name="connsiteX16637" fmla="*/ 2118148 w 4610101"/>
              <a:gd name="connsiteY16637" fmla="*/ 1193205 h 6557032"/>
              <a:gd name="connsiteX16638" fmla="*/ 2115544 w 4610101"/>
              <a:gd name="connsiteY16638" fmla="*/ 1192554 h 6557032"/>
              <a:gd name="connsiteX16639" fmla="*/ 1214753 w 4610101"/>
              <a:gd name="connsiteY16639" fmla="*/ 1189815 h 6557032"/>
              <a:gd name="connsiteX16640" fmla="*/ 1217213 w 4610101"/>
              <a:gd name="connsiteY16640" fmla="*/ 1190732 h 6557032"/>
              <a:gd name="connsiteX16641" fmla="*/ 1216808 w 4610101"/>
              <a:gd name="connsiteY16641" fmla="*/ 1191542 h 6557032"/>
              <a:gd name="connsiteX16642" fmla="*/ 1213568 w 4610101"/>
              <a:gd name="connsiteY16642" fmla="*/ 1190732 h 6557032"/>
              <a:gd name="connsiteX16643" fmla="*/ 3243470 w 4610101"/>
              <a:gd name="connsiteY16643" fmla="*/ 1188910 h 6557032"/>
              <a:gd name="connsiteX16644" fmla="*/ 3247114 w 4610101"/>
              <a:gd name="connsiteY16644" fmla="*/ 1196199 h 6557032"/>
              <a:gd name="connsiteX16645" fmla="*/ 3243470 w 4610101"/>
              <a:gd name="connsiteY16645" fmla="*/ 1188910 h 6557032"/>
              <a:gd name="connsiteX16646" fmla="*/ 3168761 w 4610101"/>
              <a:gd name="connsiteY16646" fmla="*/ 1188910 h 6557032"/>
              <a:gd name="connsiteX16647" fmla="*/ 3166939 w 4610101"/>
              <a:gd name="connsiteY16647" fmla="*/ 1192554 h 6557032"/>
              <a:gd name="connsiteX16648" fmla="*/ 3177872 w 4610101"/>
              <a:gd name="connsiteY16648" fmla="*/ 1199843 h 6557032"/>
              <a:gd name="connsiteX16649" fmla="*/ 3179694 w 4610101"/>
              <a:gd name="connsiteY16649" fmla="*/ 1188910 h 6557032"/>
              <a:gd name="connsiteX16650" fmla="*/ 3168761 w 4610101"/>
              <a:gd name="connsiteY16650" fmla="*/ 1188910 h 6557032"/>
              <a:gd name="connsiteX16651" fmla="*/ 2615428 w 4610101"/>
              <a:gd name="connsiteY16651" fmla="*/ 1188910 h 6557032"/>
              <a:gd name="connsiteX16652" fmla="*/ 2616642 w 4610101"/>
              <a:gd name="connsiteY16652" fmla="*/ 1188910 h 6557032"/>
              <a:gd name="connsiteX16653" fmla="*/ 2616642 w 4610101"/>
              <a:gd name="connsiteY16653" fmla="*/ 1192098 h 6557032"/>
              <a:gd name="connsiteX16654" fmla="*/ 2616642 w 4610101"/>
              <a:gd name="connsiteY16654" fmla="*/ 1192554 h 6557032"/>
              <a:gd name="connsiteX16655" fmla="*/ 1162547 w 4610101"/>
              <a:gd name="connsiteY16655" fmla="*/ 1188910 h 6557032"/>
              <a:gd name="connsiteX16656" fmla="*/ 1160725 w 4610101"/>
              <a:gd name="connsiteY16656" fmla="*/ 1196199 h 6557032"/>
              <a:gd name="connsiteX16657" fmla="*/ 1169836 w 4610101"/>
              <a:gd name="connsiteY16657" fmla="*/ 1194376 h 6557032"/>
              <a:gd name="connsiteX16658" fmla="*/ 1162547 w 4610101"/>
              <a:gd name="connsiteY16658" fmla="*/ 1188910 h 6557032"/>
              <a:gd name="connsiteX16659" fmla="*/ 909265 w 4610101"/>
              <a:gd name="connsiteY16659" fmla="*/ 1188910 h 6557032"/>
              <a:gd name="connsiteX16660" fmla="*/ 905621 w 4610101"/>
              <a:gd name="connsiteY16660" fmla="*/ 1196199 h 6557032"/>
              <a:gd name="connsiteX16661" fmla="*/ 909265 w 4610101"/>
              <a:gd name="connsiteY16661" fmla="*/ 1188910 h 6557032"/>
              <a:gd name="connsiteX16662" fmla="*/ 819979 w 4610101"/>
              <a:gd name="connsiteY16662" fmla="*/ 1188910 h 6557032"/>
              <a:gd name="connsiteX16663" fmla="*/ 832734 w 4610101"/>
              <a:gd name="connsiteY16663" fmla="*/ 1194376 h 6557032"/>
              <a:gd name="connsiteX16664" fmla="*/ 832734 w 4610101"/>
              <a:gd name="connsiteY16664" fmla="*/ 1188910 h 6557032"/>
              <a:gd name="connsiteX16665" fmla="*/ 819979 w 4610101"/>
              <a:gd name="connsiteY16665" fmla="*/ 1188910 h 6557032"/>
              <a:gd name="connsiteX16666" fmla="*/ 768959 w 4610101"/>
              <a:gd name="connsiteY16666" fmla="*/ 1188910 h 6557032"/>
              <a:gd name="connsiteX16667" fmla="*/ 772602 w 4610101"/>
              <a:gd name="connsiteY16667" fmla="*/ 1190732 h 6557032"/>
              <a:gd name="connsiteX16668" fmla="*/ 768959 w 4610101"/>
              <a:gd name="connsiteY16668" fmla="*/ 1188910 h 6557032"/>
              <a:gd name="connsiteX16669" fmla="*/ 324347 w 4610101"/>
              <a:gd name="connsiteY16669" fmla="*/ 1188910 h 6557032"/>
              <a:gd name="connsiteX16670" fmla="*/ 309771 w 4610101"/>
              <a:gd name="connsiteY16670" fmla="*/ 1192554 h 6557032"/>
              <a:gd name="connsiteX16671" fmla="*/ 348037 w 4610101"/>
              <a:gd name="connsiteY16671" fmla="*/ 1198021 h 6557032"/>
              <a:gd name="connsiteX16672" fmla="*/ 318882 w 4610101"/>
              <a:gd name="connsiteY16672" fmla="*/ 1196199 h 6557032"/>
              <a:gd name="connsiteX16673" fmla="*/ 324347 w 4610101"/>
              <a:gd name="connsiteY16673" fmla="*/ 1188910 h 6557032"/>
              <a:gd name="connsiteX16674" fmla="*/ 302481 w 4610101"/>
              <a:gd name="connsiteY16674" fmla="*/ 1188910 h 6557032"/>
              <a:gd name="connsiteX16675" fmla="*/ 309771 w 4610101"/>
              <a:gd name="connsiteY16675" fmla="*/ 1188910 h 6557032"/>
              <a:gd name="connsiteX16676" fmla="*/ 302481 w 4610101"/>
              <a:gd name="connsiteY16676" fmla="*/ 1188910 h 6557032"/>
              <a:gd name="connsiteX16677" fmla="*/ 163996 w 4610101"/>
              <a:gd name="connsiteY16677" fmla="*/ 1188910 h 6557032"/>
              <a:gd name="connsiteX16678" fmla="*/ 164710 w 4610101"/>
              <a:gd name="connsiteY16678" fmla="*/ 1189318 h 6557032"/>
              <a:gd name="connsiteX16679" fmla="*/ 163996 w 4610101"/>
              <a:gd name="connsiteY16679" fmla="*/ 1189342 h 6557032"/>
              <a:gd name="connsiteX16680" fmla="*/ 1776619 w 4610101"/>
              <a:gd name="connsiteY16680" fmla="*/ 1187113 h 6557032"/>
              <a:gd name="connsiteX16681" fmla="*/ 1789374 w 4610101"/>
              <a:gd name="connsiteY16681" fmla="*/ 1194403 h 6557032"/>
              <a:gd name="connsiteX16682" fmla="*/ 1783908 w 4610101"/>
              <a:gd name="connsiteY16682" fmla="*/ 1196225 h 6557032"/>
              <a:gd name="connsiteX16683" fmla="*/ 1788236 w 4610101"/>
              <a:gd name="connsiteY16683" fmla="*/ 1206475 h 6557032"/>
              <a:gd name="connsiteX16684" fmla="*/ 1788956 w 4610101"/>
              <a:gd name="connsiteY16684" fmla="*/ 1209303 h 6557032"/>
              <a:gd name="connsiteX16685" fmla="*/ 1783908 w 4610101"/>
              <a:gd name="connsiteY16685" fmla="*/ 1205336 h 6557032"/>
              <a:gd name="connsiteX16686" fmla="*/ 3156006 w 4610101"/>
              <a:gd name="connsiteY16686" fmla="*/ 1187088 h 6557032"/>
              <a:gd name="connsiteX16687" fmla="*/ 3148717 w 4610101"/>
              <a:gd name="connsiteY16687" fmla="*/ 1198021 h 6557032"/>
              <a:gd name="connsiteX16688" fmla="*/ 3156006 w 4610101"/>
              <a:gd name="connsiteY16688" fmla="*/ 1190732 h 6557032"/>
              <a:gd name="connsiteX16689" fmla="*/ 3156006 w 4610101"/>
              <a:gd name="connsiteY16689" fmla="*/ 1187088 h 6557032"/>
              <a:gd name="connsiteX16690" fmla="*/ 2740550 w 4610101"/>
              <a:gd name="connsiteY16690" fmla="*/ 1187088 h 6557032"/>
              <a:gd name="connsiteX16691" fmla="*/ 2747839 w 4610101"/>
              <a:gd name="connsiteY16691" fmla="*/ 1190732 h 6557032"/>
              <a:gd name="connsiteX16692" fmla="*/ 2742372 w 4610101"/>
              <a:gd name="connsiteY16692" fmla="*/ 1190732 h 6557032"/>
              <a:gd name="connsiteX16693" fmla="*/ 2740550 w 4610101"/>
              <a:gd name="connsiteY16693" fmla="*/ 1187088 h 6557032"/>
              <a:gd name="connsiteX16694" fmla="*/ 2715040 w 4610101"/>
              <a:gd name="connsiteY16694" fmla="*/ 1187088 h 6557032"/>
              <a:gd name="connsiteX16695" fmla="*/ 2718684 w 4610101"/>
              <a:gd name="connsiteY16695" fmla="*/ 1201665 h 6557032"/>
              <a:gd name="connsiteX16696" fmla="*/ 2715040 w 4610101"/>
              <a:gd name="connsiteY16696" fmla="*/ 1187088 h 6557032"/>
              <a:gd name="connsiteX16697" fmla="*/ 2680418 w 4610101"/>
              <a:gd name="connsiteY16697" fmla="*/ 1187088 h 6557032"/>
              <a:gd name="connsiteX16698" fmla="*/ 2687707 w 4610101"/>
              <a:gd name="connsiteY16698" fmla="*/ 1205309 h 6557032"/>
              <a:gd name="connsiteX16699" fmla="*/ 2682240 w 4610101"/>
              <a:gd name="connsiteY16699" fmla="*/ 1196199 h 6557032"/>
              <a:gd name="connsiteX16700" fmla="*/ 2684063 w 4610101"/>
              <a:gd name="connsiteY16700" fmla="*/ 1192554 h 6557032"/>
              <a:gd name="connsiteX16701" fmla="*/ 2691351 w 4610101"/>
              <a:gd name="connsiteY16701" fmla="*/ 1203487 h 6557032"/>
              <a:gd name="connsiteX16702" fmla="*/ 2689529 w 4610101"/>
              <a:gd name="connsiteY16702" fmla="*/ 1192554 h 6557032"/>
              <a:gd name="connsiteX16703" fmla="*/ 2680418 w 4610101"/>
              <a:gd name="connsiteY16703" fmla="*/ 1187088 h 6557032"/>
              <a:gd name="connsiteX16704" fmla="*/ 2432603 w 4610101"/>
              <a:gd name="connsiteY16704" fmla="*/ 1187088 h 6557032"/>
              <a:gd name="connsiteX16705" fmla="*/ 2421669 w 4610101"/>
              <a:gd name="connsiteY16705" fmla="*/ 1192554 h 6557032"/>
              <a:gd name="connsiteX16706" fmla="*/ 2425314 w 4610101"/>
              <a:gd name="connsiteY16706" fmla="*/ 1198021 h 6557032"/>
              <a:gd name="connsiteX16707" fmla="*/ 2432603 w 4610101"/>
              <a:gd name="connsiteY16707" fmla="*/ 1187088 h 6557032"/>
              <a:gd name="connsiteX16708" fmla="*/ 1058683 w 4610101"/>
              <a:gd name="connsiteY16708" fmla="*/ 1187088 h 6557032"/>
              <a:gd name="connsiteX16709" fmla="*/ 1067794 w 4610101"/>
              <a:gd name="connsiteY16709" fmla="*/ 1205309 h 6557032"/>
              <a:gd name="connsiteX16710" fmla="*/ 1058683 w 4610101"/>
              <a:gd name="connsiteY16710" fmla="*/ 1187088 h 6557032"/>
              <a:gd name="connsiteX16711" fmla="*/ 878029 w 4610101"/>
              <a:gd name="connsiteY16711" fmla="*/ 1187088 h 6557032"/>
              <a:gd name="connsiteX16712" fmla="*/ 878288 w 4610101"/>
              <a:gd name="connsiteY16712" fmla="*/ 1187088 h 6557032"/>
              <a:gd name="connsiteX16713" fmla="*/ 878288 w 4610101"/>
              <a:gd name="connsiteY16713" fmla="*/ 1188910 h 6557032"/>
              <a:gd name="connsiteX16714" fmla="*/ 493809 w 4610101"/>
              <a:gd name="connsiteY16714" fmla="*/ 1187088 h 6557032"/>
              <a:gd name="connsiteX16715" fmla="*/ 502920 w 4610101"/>
              <a:gd name="connsiteY16715" fmla="*/ 1188910 h 6557032"/>
              <a:gd name="connsiteX16716" fmla="*/ 493809 w 4610101"/>
              <a:gd name="connsiteY16716" fmla="*/ 1187088 h 6557032"/>
              <a:gd name="connsiteX16717" fmla="*/ 297015 w 4610101"/>
              <a:gd name="connsiteY16717" fmla="*/ 1187088 h 6557032"/>
              <a:gd name="connsiteX16718" fmla="*/ 291549 w 4610101"/>
              <a:gd name="connsiteY16718" fmla="*/ 1190732 h 6557032"/>
              <a:gd name="connsiteX16719" fmla="*/ 306126 w 4610101"/>
              <a:gd name="connsiteY16719" fmla="*/ 1192554 h 6557032"/>
              <a:gd name="connsiteX16720" fmla="*/ 297015 w 4610101"/>
              <a:gd name="connsiteY16720" fmla="*/ 1187088 h 6557032"/>
              <a:gd name="connsiteX16721" fmla="*/ 245994 w 4610101"/>
              <a:gd name="connsiteY16721" fmla="*/ 1187088 h 6557032"/>
              <a:gd name="connsiteX16722" fmla="*/ 249638 w 4610101"/>
              <a:gd name="connsiteY16722" fmla="*/ 1190732 h 6557032"/>
              <a:gd name="connsiteX16723" fmla="*/ 245994 w 4610101"/>
              <a:gd name="connsiteY16723" fmla="*/ 1187088 h 6557032"/>
              <a:gd name="connsiteX16724" fmla="*/ 202262 w 4610101"/>
              <a:gd name="connsiteY16724" fmla="*/ 1187088 h 6557032"/>
              <a:gd name="connsiteX16725" fmla="*/ 205906 w 4610101"/>
              <a:gd name="connsiteY16725" fmla="*/ 1187088 h 6557032"/>
              <a:gd name="connsiteX16726" fmla="*/ 202262 w 4610101"/>
              <a:gd name="connsiteY16726" fmla="*/ 1187088 h 6557032"/>
              <a:gd name="connsiteX16727" fmla="*/ 191329 w 4610101"/>
              <a:gd name="connsiteY16727" fmla="*/ 1187088 h 6557032"/>
              <a:gd name="connsiteX16728" fmla="*/ 205906 w 4610101"/>
              <a:gd name="connsiteY16728" fmla="*/ 1192554 h 6557032"/>
              <a:gd name="connsiteX16729" fmla="*/ 191329 w 4610101"/>
              <a:gd name="connsiteY16729" fmla="*/ 1187088 h 6557032"/>
              <a:gd name="connsiteX16730" fmla="*/ 2097551 w 4610101"/>
              <a:gd name="connsiteY16730" fmla="*/ 1186860 h 6557032"/>
              <a:gd name="connsiteX16731" fmla="*/ 2090034 w 4610101"/>
              <a:gd name="connsiteY16731" fmla="*/ 1188910 h 6557032"/>
              <a:gd name="connsiteX16732" fmla="*/ 2086390 w 4610101"/>
              <a:gd name="connsiteY16732" fmla="*/ 1190732 h 6557032"/>
              <a:gd name="connsiteX16733" fmla="*/ 2106433 w 4610101"/>
              <a:gd name="connsiteY16733" fmla="*/ 1203487 h 6557032"/>
              <a:gd name="connsiteX16734" fmla="*/ 2102790 w 4610101"/>
              <a:gd name="connsiteY16734" fmla="*/ 1218065 h 6557032"/>
              <a:gd name="connsiteX16735" fmla="*/ 2117366 w 4610101"/>
              <a:gd name="connsiteY16735" fmla="*/ 1218065 h 6557032"/>
              <a:gd name="connsiteX16736" fmla="*/ 2126477 w 4610101"/>
              <a:gd name="connsiteY16736" fmla="*/ 1196199 h 6557032"/>
              <a:gd name="connsiteX16737" fmla="*/ 2124655 w 4610101"/>
              <a:gd name="connsiteY16737" fmla="*/ 1198021 h 6557032"/>
              <a:gd name="connsiteX16738" fmla="*/ 2122833 w 4610101"/>
              <a:gd name="connsiteY16738" fmla="*/ 1194376 h 6557032"/>
              <a:gd name="connsiteX16739" fmla="*/ 2124655 w 4610101"/>
              <a:gd name="connsiteY16739" fmla="*/ 1190732 h 6557032"/>
              <a:gd name="connsiteX16740" fmla="*/ 2120783 w 4610101"/>
              <a:gd name="connsiteY16740" fmla="*/ 1188910 h 6557032"/>
              <a:gd name="connsiteX16741" fmla="*/ 2118866 w 4610101"/>
              <a:gd name="connsiteY16741" fmla="*/ 1190244 h 6557032"/>
              <a:gd name="connsiteX16742" fmla="*/ 2119189 w 4610101"/>
              <a:gd name="connsiteY16742" fmla="*/ 1188910 h 6557032"/>
              <a:gd name="connsiteX16743" fmla="*/ 2113722 w 4610101"/>
              <a:gd name="connsiteY16743" fmla="*/ 1190732 h 6557032"/>
              <a:gd name="connsiteX16744" fmla="*/ 2115544 w 4610101"/>
              <a:gd name="connsiteY16744" fmla="*/ 1196199 h 6557032"/>
              <a:gd name="connsiteX16745" fmla="*/ 2104611 w 4610101"/>
              <a:gd name="connsiteY16745" fmla="*/ 1194376 h 6557032"/>
              <a:gd name="connsiteX16746" fmla="*/ 2106433 w 4610101"/>
              <a:gd name="connsiteY16746" fmla="*/ 1188910 h 6557032"/>
              <a:gd name="connsiteX16747" fmla="*/ 2097551 w 4610101"/>
              <a:gd name="connsiteY16747" fmla="*/ 1186860 h 6557032"/>
              <a:gd name="connsiteX16748" fmla="*/ 1989342 w 4610101"/>
              <a:gd name="connsiteY16748" fmla="*/ 1186261 h 6557032"/>
              <a:gd name="connsiteX16749" fmla="*/ 1987478 w 4610101"/>
              <a:gd name="connsiteY16749" fmla="*/ 1189290 h 6557032"/>
              <a:gd name="connsiteX16750" fmla="*/ 1988220 w 4610101"/>
              <a:gd name="connsiteY16750" fmla="*/ 1186405 h 6557032"/>
              <a:gd name="connsiteX16751" fmla="*/ 1402117 w 4610101"/>
              <a:gd name="connsiteY16751" fmla="*/ 1185448 h 6557032"/>
              <a:gd name="connsiteX16752" fmla="*/ 1397089 w 4610101"/>
              <a:gd name="connsiteY16752" fmla="*/ 1188071 h 6557032"/>
              <a:gd name="connsiteX16753" fmla="*/ 1400113 w 4610101"/>
              <a:gd name="connsiteY16753" fmla="*/ 1186176 h 6557032"/>
              <a:gd name="connsiteX16754" fmla="*/ 3186982 w 4610101"/>
              <a:gd name="connsiteY16754" fmla="*/ 1185266 h 6557032"/>
              <a:gd name="connsiteX16755" fmla="*/ 3179694 w 4610101"/>
              <a:gd name="connsiteY16755" fmla="*/ 1187088 h 6557032"/>
              <a:gd name="connsiteX16756" fmla="*/ 3188805 w 4610101"/>
              <a:gd name="connsiteY16756" fmla="*/ 1188910 h 6557032"/>
              <a:gd name="connsiteX16757" fmla="*/ 3186982 w 4610101"/>
              <a:gd name="connsiteY16757" fmla="*/ 1185266 h 6557032"/>
              <a:gd name="connsiteX16758" fmla="*/ 2971966 w 4610101"/>
              <a:gd name="connsiteY16758" fmla="*/ 1185266 h 6557032"/>
              <a:gd name="connsiteX16759" fmla="*/ 2971966 w 4610101"/>
              <a:gd name="connsiteY16759" fmla="*/ 1192554 h 6557032"/>
              <a:gd name="connsiteX16760" fmla="*/ 2971966 w 4610101"/>
              <a:gd name="connsiteY16760" fmla="*/ 1185266 h 6557032"/>
              <a:gd name="connsiteX16761" fmla="*/ 2944634 w 4610101"/>
              <a:gd name="connsiteY16761" fmla="*/ 1185266 h 6557032"/>
              <a:gd name="connsiteX16762" fmla="*/ 2939167 w 4610101"/>
              <a:gd name="connsiteY16762" fmla="*/ 1203487 h 6557032"/>
              <a:gd name="connsiteX16763" fmla="*/ 2944634 w 4610101"/>
              <a:gd name="connsiteY16763" fmla="*/ 1218065 h 6557032"/>
              <a:gd name="connsiteX16764" fmla="*/ 2917301 w 4610101"/>
              <a:gd name="connsiteY16764" fmla="*/ 1261797 h 6557032"/>
              <a:gd name="connsiteX16765" fmla="*/ 2959211 w 4610101"/>
              <a:gd name="connsiteY16765" fmla="*/ 1259975 h 6557032"/>
              <a:gd name="connsiteX16766" fmla="*/ 2970144 w 4610101"/>
              <a:gd name="connsiteY16766" fmla="*/ 1252686 h 6557032"/>
              <a:gd name="connsiteX16767" fmla="*/ 2970144 w 4610101"/>
              <a:gd name="connsiteY16767" fmla="*/ 1256330 h 6557032"/>
              <a:gd name="connsiteX16768" fmla="*/ 2979939 w 4610101"/>
              <a:gd name="connsiteY16768" fmla="*/ 1252914 h 6557032"/>
              <a:gd name="connsiteX16769" fmla="*/ 2981142 w 4610101"/>
              <a:gd name="connsiteY16769" fmla="*/ 1252621 h 6557032"/>
              <a:gd name="connsiteX16770" fmla="*/ 2979255 w 4610101"/>
              <a:gd name="connsiteY16770" fmla="*/ 1254508 h 6557032"/>
              <a:gd name="connsiteX16771" fmla="*/ 2992010 w 4610101"/>
              <a:gd name="connsiteY16771" fmla="*/ 1256330 h 6557032"/>
              <a:gd name="connsiteX16772" fmla="*/ 2993832 w 4610101"/>
              <a:gd name="connsiteY16772" fmla="*/ 1249042 h 6557032"/>
              <a:gd name="connsiteX16773" fmla="*/ 2999299 w 4610101"/>
              <a:gd name="connsiteY16773" fmla="*/ 1250864 h 6557032"/>
              <a:gd name="connsiteX16774" fmla="*/ 3006587 w 4610101"/>
              <a:gd name="connsiteY16774" fmla="*/ 1252686 h 6557032"/>
              <a:gd name="connsiteX16775" fmla="*/ 3006587 w 4610101"/>
              <a:gd name="connsiteY16775" fmla="*/ 1247219 h 6557032"/>
              <a:gd name="connsiteX16776" fmla="*/ 3003577 w 4610101"/>
              <a:gd name="connsiteY16776" fmla="*/ 1248011 h 6557032"/>
              <a:gd name="connsiteX16777" fmla="*/ 3004765 w 4610101"/>
              <a:gd name="connsiteY16777" fmla="*/ 1247219 h 6557032"/>
              <a:gd name="connsiteX16778" fmla="*/ 3006587 w 4610101"/>
              <a:gd name="connsiteY16778" fmla="*/ 1236286 h 6557032"/>
              <a:gd name="connsiteX16779" fmla="*/ 2999299 w 4610101"/>
              <a:gd name="connsiteY16779" fmla="*/ 1225353 h 6557032"/>
              <a:gd name="connsiteX16780" fmla="*/ 2997477 w 4610101"/>
              <a:gd name="connsiteY16780" fmla="*/ 1243575 h 6557032"/>
              <a:gd name="connsiteX16781" fmla="*/ 2992010 w 4610101"/>
              <a:gd name="connsiteY16781" fmla="*/ 1241753 h 6557032"/>
              <a:gd name="connsiteX16782" fmla="*/ 2990188 w 4610101"/>
              <a:gd name="connsiteY16782" fmla="*/ 1223531 h 6557032"/>
              <a:gd name="connsiteX16783" fmla="*/ 2986543 w 4610101"/>
              <a:gd name="connsiteY16783" fmla="*/ 1227175 h 6557032"/>
              <a:gd name="connsiteX16784" fmla="*/ 2984721 w 4610101"/>
              <a:gd name="connsiteY16784" fmla="*/ 1221709 h 6557032"/>
              <a:gd name="connsiteX16785" fmla="*/ 2979255 w 4610101"/>
              <a:gd name="connsiteY16785" fmla="*/ 1228998 h 6557032"/>
              <a:gd name="connsiteX16786" fmla="*/ 2966500 w 4610101"/>
              <a:gd name="connsiteY16786" fmla="*/ 1227175 h 6557032"/>
              <a:gd name="connsiteX16787" fmla="*/ 2966500 w 4610101"/>
              <a:gd name="connsiteY16787" fmla="*/ 1234464 h 6557032"/>
              <a:gd name="connsiteX16788" fmla="*/ 2966500 w 4610101"/>
              <a:gd name="connsiteY16788" fmla="*/ 1219887 h 6557032"/>
              <a:gd name="connsiteX16789" fmla="*/ 2962855 w 4610101"/>
              <a:gd name="connsiteY16789" fmla="*/ 1212598 h 6557032"/>
              <a:gd name="connsiteX16790" fmla="*/ 2970144 w 4610101"/>
              <a:gd name="connsiteY16790" fmla="*/ 1212598 h 6557032"/>
              <a:gd name="connsiteX16791" fmla="*/ 2968322 w 4610101"/>
              <a:gd name="connsiteY16791" fmla="*/ 1207132 h 6557032"/>
              <a:gd name="connsiteX16792" fmla="*/ 2966500 w 4610101"/>
              <a:gd name="connsiteY16792" fmla="*/ 1205309 h 6557032"/>
              <a:gd name="connsiteX16793" fmla="*/ 2961033 w 4610101"/>
              <a:gd name="connsiteY16793" fmla="*/ 1199843 h 6557032"/>
              <a:gd name="connsiteX16794" fmla="*/ 2950100 w 4610101"/>
              <a:gd name="connsiteY16794" fmla="*/ 1196199 h 6557032"/>
              <a:gd name="connsiteX16795" fmla="*/ 2951922 w 4610101"/>
              <a:gd name="connsiteY16795" fmla="*/ 1190732 h 6557032"/>
              <a:gd name="connsiteX16796" fmla="*/ 2955566 w 4610101"/>
              <a:gd name="connsiteY16796" fmla="*/ 1192554 h 6557032"/>
              <a:gd name="connsiteX16797" fmla="*/ 2944634 w 4610101"/>
              <a:gd name="connsiteY16797" fmla="*/ 1185266 h 6557032"/>
              <a:gd name="connsiteX16798" fmla="*/ 488343 w 4610101"/>
              <a:gd name="connsiteY16798" fmla="*/ 1185266 h 6557032"/>
              <a:gd name="connsiteX16799" fmla="*/ 490165 w 4610101"/>
              <a:gd name="connsiteY16799" fmla="*/ 1188910 h 6557032"/>
              <a:gd name="connsiteX16800" fmla="*/ 488343 w 4610101"/>
              <a:gd name="connsiteY16800" fmla="*/ 1185266 h 6557032"/>
              <a:gd name="connsiteX16801" fmla="*/ 266038 w 4610101"/>
              <a:gd name="connsiteY16801" fmla="*/ 1185266 h 6557032"/>
              <a:gd name="connsiteX16802" fmla="*/ 278793 w 4610101"/>
              <a:gd name="connsiteY16802" fmla="*/ 1188910 h 6557032"/>
              <a:gd name="connsiteX16803" fmla="*/ 266038 w 4610101"/>
              <a:gd name="connsiteY16803" fmla="*/ 1185266 h 6557032"/>
              <a:gd name="connsiteX16804" fmla="*/ 3303602 w 4610101"/>
              <a:gd name="connsiteY16804" fmla="*/ 1183443 h 6557032"/>
              <a:gd name="connsiteX16805" fmla="*/ 3298135 w 4610101"/>
              <a:gd name="connsiteY16805" fmla="*/ 1188910 h 6557032"/>
              <a:gd name="connsiteX16806" fmla="*/ 3305424 w 4610101"/>
              <a:gd name="connsiteY16806" fmla="*/ 1187088 h 6557032"/>
              <a:gd name="connsiteX16807" fmla="*/ 3303602 w 4610101"/>
              <a:gd name="connsiteY16807" fmla="*/ 1183443 h 6557032"/>
              <a:gd name="connsiteX16808" fmla="*/ 2931878 w 4610101"/>
              <a:gd name="connsiteY16808" fmla="*/ 1183443 h 6557032"/>
              <a:gd name="connsiteX16809" fmla="*/ 2937345 w 4610101"/>
              <a:gd name="connsiteY16809" fmla="*/ 1198021 h 6557032"/>
              <a:gd name="connsiteX16810" fmla="*/ 2931878 w 4610101"/>
              <a:gd name="connsiteY16810" fmla="*/ 1183443 h 6557032"/>
              <a:gd name="connsiteX16811" fmla="*/ 1373920 w 4610101"/>
              <a:gd name="connsiteY16811" fmla="*/ 1183443 h 6557032"/>
              <a:gd name="connsiteX16812" fmla="*/ 1355698 w 4610101"/>
              <a:gd name="connsiteY16812" fmla="*/ 1188910 h 6557032"/>
              <a:gd name="connsiteX16813" fmla="*/ 1361164 w 4610101"/>
              <a:gd name="connsiteY16813" fmla="*/ 1192554 h 6557032"/>
              <a:gd name="connsiteX16814" fmla="*/ 1372097 w 4610101"/>
              <a:gd name="connsiteY16814" fmla="*/ 1187088 h 6557032"/>
              <a:gd name="connsiteX16815" fmla="*/ 1373920 w 4610101"/>
              <a:gd name="connsiteY16815" fmla="*/ 1187088 h 6557032"/>
              <a:gd name="connsiteX16816" fmla="*/ 1373920 w 4610101"/>
              <a:gd name="connsiteY16816" fmla="*/ 1183443 h 6557032"/>
              <a:gd name="connsiteX16817" fmla="*/ 1184414 w 4610101"/>
              <a:gd name="connsiteY16817" fmla="*/ 1183443 h 6557032"/>
              <a:gd name="connsiteX16818" fmla="*/ 1180769 w 4610101"/>
              <a:gd name="connsiteY16818" fmla="*/ 1185266 h 6557032"/>
              <a:gd name="connsiteX16819" fmla="*/ 1180769 w 4610101"/>
              <a:gd name="connsiteY16819" fmla="*/ 1190732 h 6557032"/>
              <a:gd name="connsiteX16820" fmla="*/ 1175303 w 4610101"/>
              <a:gd name="connsiteY16820" fmla="*/ 1188910 h 6557032"/>
              <a:gd name="connsiteX16821" fmla="*/ 1180769 w 4610101"/>
              <a:gd name="connsiteY16821" fmla="*/ 1190732 h 6557032"/>
              <a:gd name="connsiteX16822" fmla="*/ 1180769 w 4610101"/>
              <a:gd name="connsiteY16822" fmla="*/ 1194376 h 6557032"/>
              <a:gd name="connsiteX16823" fmla="*/ 1182592 w 4610101"/>
              <a:gd name="connsiteY16823" fmla="*/ 1196199 h 6557032"/>
              <a:gd name="connsiteX16824" fmla="*/ 1184414 w 4610101"/>
              <a:gd name="connsiteY16824" fmla="*/ 1188910 h 6557032"/>
              <a:gd name="connsiteX16825" fmla="*/ 1186236 w 4610101"/>
              <a:gd name="connsiteY16825" fmla="*/ 1198021 h 6557032"/>
              <a:gd name="connsiteX16826" fmla="*/ 1188251 w 4610101"/>
              <a:gd name="connsiteY16826" fmla="*/ 1193184 h 6557032"/>
              <a:gd name="connsiteX16827" fmla="*/ 1188058 w 4610101"/>
              <a:gd name="connsiteY16827" fmla="*/ 1198021 h 6557032"/>
              <a:gd name="connsiteX16828" fmla="*/ 1198991 w 4610101"/>
              <a:gd name="connsiteY16828" fmla="*/ 1199843 h 6557032"/>
              <a:gd name="connsiteX16829" fmla="*/ 1191703 w 4610101"/>
              <a:gd name="connsiteY16829" fmla="*/ 1192554 h 6557032"/>
              <a:gd name="connsiteX16830" fmla="*/ 1193525 w 4610101"/>
              <a:gd name="connsiteY16830" fmla="*/ 1190732 h 6557032"/>
              <a:gd name="connsiteX16831" fmla="*/ 1191703 w 4610101"/>
              <a:gd name="connsiteY16831" fmla="*/ 1185266 h 6557032"/>
              <a:gd name="connsiteX16832" fmla="*/ 1189880 w 4610101"/>
              <a:gd name="connsiteY16832" fmla="*/ 1185266 h 6557032"/>
              <a:gd name="connsiteX16833" fmla="*/ 1188438 w 4610101"/>
              <a:gd name="connsiteY16833" fmla="*/ 1191650 h 6557032"/>
              <a:gd name="connsiteX16834" fmla="*/ 1188058 w 4610101"/>
              <a:gd name="connsiteY16834" fmla="*/ 1187088 h 6557032"/>
              <a:gd name="connsiteX16835" fmla="*/ 1184414 w 4610101"/>
              <a:gd name="connsiteY16835" fmla="*/ 1188910 h 6557032"/>
              <a:gd name="connsiteX16836" fmla="*/ 1184414 w 4610101"/>
              <a:gd name="connsiteY16836" fmla="*/ 1183443 h 6557032"/>
              <a:gd name="connsiteX16837" fmla="*/ 1126104 w 4610101"/>
              <a:gd name="connsiteY16837" fmla="*/ 1183443 h 6557032"/>
              <a:gd name="connsiteX16838" fmla="*/ 1127926 w 4610101"/>
              <a:gd name="connsiteY16838" fmla="*/ 1187088 h 6557032"/>
              <a:gd name="connsiteX16839" fmla="*/ 1131570 w 4610101"/>
              <a:gd name="connsiteY16839" fmla="*/ 1185266 h 6557032"/>
              <a:gd name="connsiteX16840" fmla="*/ 1126104 w 4610101"/>
              <a:gd name="connsiteY16840" fmla="*/ 1183443 h 6557032"/>
              <a:gd name="connsiteX16841" fmla="*/ 1014951 w 4610101"/>
              <a:gd name="connsiteY16841" fmla="*/ 1183443 h 6557032"/>
              <a:gd name="connsiteX16842" fmla="*/ 1011307 w 4610101"/>
              <a:gd name="connsiteY16842" fmla="*/ 1185266 h 6557032"/>
              <a:gd name="connsiteX16843" fmla="*/ 1013129 w 4610101"/>
              <a:gd name="connsiteY16843" fmla="*/ 1187088 h 6557032"/>
              <a:gd name="connsiteX16844" fmla="*/ 1014951 w 4610101"/>
              <a:gd name="connsiteY16844" fmla="*/ 1201665 h 6557032"/>
              <a:gd name="connsiteX16845" fmla="*/ 1020418 w 4610101"/>
              <a:gd name="connsiteY16845" fmla="*/ 1194376 h 6557032"/>
              <a:gd name="connsiteX16846" fmla="*/ 1016774 w 4610101"/>
              <a:gd name="connsiteY16846" fmla="*/ 1201665 h 6557032"/>
              <a:gd name="connsiteX16847" fmla="*/ 1029529 w 4610101"/>
              <a:gd name="connsiteY16847" fmla="*/ 1207132 h 6557032"/>
              <a:gd name="connsiteX16848" fmla="*/ 1030027 w 4610101"/>
              <a:gd name="connsiteY16848" fmla="*/ 1201665 h 6557032"/>
              <a:gd name="connsiteX16849" fmla="*/ 1033173 w 4610101"/>
              <a:gd name="connsiteY16849" fmla="*/ 1201665 h 6557032"/>
              <a:gd name="connsiteX16850" fmla="*/ 1034995 w 4610101"/>
              <a:gd name="connsiteY16850" fmla="*/ 1196199 h 6557032"/>
              <a:gd name="connsiteX16851" fmla="*/ 1027707 w 4610101"/>
              <a:gd name="connsiteY16851" fmla="*/ 1192554 h 6557032"/>
              <a:gd name="connsiteX16852" fmla="*/ 1028468 w 4610101"/>
              <a:gd name="connsiteY16852" fmla="*/ 1198646 h 6557032"/>
              <a:gd name="connsiteX16853" fmla="*/ 1024062 w 4610101"/>
              <a:gd name="connsiteY16853" fmla="*/ 1196199 h 6557032"/>
              <a:gd name="connsiteX16854" fmla="*/ 1022240 w 4610101"/>
              <a:gd name="connsiteY16854" fmla="*/ 1194376 h 6557032"/>
              <a:gd name="connsiteX16855" fmla="*/ 1027707 w 4610101"/>
              <a:gd name="connsiteY16855" fmla="*/ 1196199 h 6557032"/>
              <a:gd name="connsiteX16856" fmla="*/ 1014951 w 4610101"/>
              <a:gd name="connsiteY16856" fmla="*/ 1183443 h 6557032"/>
              <a:gd name="connsiteX16857" fmla="*/ 696071 w 4610101"/>
              <a:gd name="connsiteY16857" fmla="*/ 1183443 h 6557032"/>
              <a:gd name="connsiteX16858" fmla="*/ 697893 w 4610101"/>
              <a:gd name="connsiteY16858" fmla="*/ 1187088 h 6557032"/>
              <a:gd name="connsiteX16859" fmla="*/ 696071 w 4610101"/>
              <a:gd name="connsiteY16859" fmla="*/ 1183443 h 6557032"/>
              <a:gd name="connsiteX16860" fmla="*/ 276971 w 4610101"/>
              <a:gd name="connsiteY16860" fmla="*/ 1183443 h 6557032"/>
              <a:gd name="connsiteX16861" fmla="*/ 280615 w 4610101"/>
              <a:gd name="connsiteY16861" fmla="*/ 1183443 h 6557032"/>
              <a:gd name="connsiteX16862" fmla="*/ 276971 w 4610101"/>
              <a:gd name="connsiteY16862" fmla="*/ 1183443 h 6557032"/>
              <a:gd name="connsiteX16863" fmla="*/ 205906 w 4610101"/>
              <a:gd name="connsiteY16863" fmla="*/ 1183443 h 6557032"/>
              <a:gd name="connsiteX16864" fmla="*/ 218661 w 4610101"/>
              <a:gd name="connsiteY16864" fmla="*/ 1190732 h 6557032"/>
              <a:gd name="connsiteX16865" fmla="*/ 205906 w 4610101"/>
              <a:gd name="connsiteY16865" fmla="*/ 1183443 h 6557032"/>
              <a:gd name="connsiteX16866" fmla="*/ 321842 w 4610101"/>
              <a:gd name="connsiteY16866" fmla="*/ 1182988 h 6557032"/>
              <a:gd name="connsiteX16867" fmla="*/ 318882 w 4610101"/>
              <a:gd name="connsiteY16867" fmla="*/ 1183443 h 6557032"/>
              <a:gd name="connsiteX16868" fmla="*/ 326169 w 4610101"/>
              <a:gd name="connsiteY16868" fmla="*/ 1185266 h 6557032"/>
              <a:gd name="connsiteX16869" fmla="*/ 321842 w 4610101"/>
              <a:gd name="connsiteY16869" fmla="*/ 1182988 h 6557032"/>
              <a:gd name="connsiteX16870" fmla="*/ 2986460 w 4610101"/>
              <a:gd name="connsiteY16870" fmla="*/ 1182697 h 6557032"/>
              <a:gd name="connsiteX16871" fmla="*/ 2990188 w 4610101"/>
              <a:gd name="connsiteY16871" fmla="*/ 1183443 h 6557032"/>
              <a:gd name="connsiteX16872" fmla="*/ 2986543 w 4610101"/>
              <a:gd name="connsiteY16872" fmla="*/ 1183443 h 6557032"/>
              <a:gd name="connsiteX16873" fmla="*/ 436639 w 4610101"/>
              <a:gd name="connsiteY16873" fmla="*/ 1182532 h 6557032"/>
              <a:gd name="connsiteX16874" fmla="*/ 430034 w 4610101"/>
              <a:gd name="connsiteY16874" fmla="*/ 1185266 h 6557032"/>
              <a:gd name="connsiteX16875" fmla="*/ 433678 w 4610101"/>
              <a:gd name="connsiteY16875" fmla="*/ 1187088 h 6557032"/>
              <a:gd name="connsiteX16876" fmla="*/ 431856 w 4610101"/>
              <a:gd name="connsiteY16876" fmla="*/ 1185266 h 6557032"/>
              <a:gd name="connsiteX16877" fmla="*/ 444611 w 4610101"/>
              <a:gd name="connsiteY16877" fmla="*/ 1185266 h 6557032"/>
              <a:gd name="connsiteX16878" fmla="*/ 436639 w 4610101"/>
              <a:gd name="connsiteY16878" fmla="*/ 1182532 h 6557032"/>
              <a:gd name="connsiteX16879" fmla="*/ 417734 w 4610101"/>
              <a:gd name="connsiteY16879" fmla="*/ 1181621 h 6557032"/>
              <a:gd name="connsiteX16880" fmla="*/ 413634 w 4610101"/>
              <a:gd name="connsiteY16880" fmla="*/ 1185266 h 6557032"/>
              <a:gd name="connsiteX16881" fmla="*/ 424567 w 4610101"/>
              <a:gd name="connsiteY16881" fmla="*/ 1183443 h 6557032"/>
              <a:gd name="connsiteX16882" fmla="*/ 417734 w 4610101"/>
              <a:gd name="connsiteY16882" fmla="*/ 1181621 h 6557032"/>
              <a:gd name="connsiteX16883" fmla="*/ 3258047 w 4610101"/>
              <a:gd name="connsiteY16883" fmla="*/ 1181621 h 6557032"/>
              <a:gd name="connsiteX16884" fmla="*/ 3258047 w 4610101"/>
              <a:gd name="connsiteY16884" fmla="*/ 1188910 h 6557032"/>
              <a:gd name="connsiteX16885" fmla="*/ 3265336 w 4610101"/>
              <a:gd name="connsiteY16885" fmla="*/ 1185266 h 6557032"/>
              <a:gd name="connsiteX16886" fmla="*/ 3258047 w 4610101"/>
              <a:gd name="connsiteY16886" fmla="*/ 1181621 h 6557032"/>
              <a:gd name="connsiteX16887" fmla="*/ 3201560 w 4610101"/>
              <a:gd name="connsiteY16887" fmla="*/ 1181621 h 6557032"/>
              <a:gd name="connsiteX16888" fmla="*/ 3208849 w 4610101"/>
              <a:gd name="connsiteY16888" fmla="*/ 1188910 h 6557032"/>
              <a:gd name="connsiteX16889" fmla="*/ 3208849 w 4610101"/>
              <a:gd name="connsiteY16889" fmla="*/ 1183443 h 6557032"/>
              <a:gd name="connsiteX16890" fmla="*/ 3201560 w 4610101"/>
              <a:gd name="connsiteY16890" fmla="*/ 1181621 h 6557032"/>
              <a:gd name="connsiteX16891" fmla="*/ 2667663 w 4610101"/>
              <a:gd name="connsiteY16891" fmla="*/ 1181621 h 6557032"/>
              <a:gd name="connsiteX16892" fmla="*/ 2664019 w 4610101"/>
              <a:gd name="connsiteY16892" fmla="*/ 1183443 h 6557032"/>
              <a:gd name="connsiteX16893" fmla="*/ 2667663 w 4610101"/>
              <a:gd name="connsiteY16893" fmla="*/ 1196199 h 6557032"/>
              <a:gd name="connsiteX16894" fmla="*/ 2669485 w 4610101"/>
              <a:gd name="connsiteY16894" fmla="*/ 1196199 h 6557032"/>
              <a:gd name="connsiteX16895" fmla="*/ 2673130 w 4610101"/>
              <a:gd name="connsiteY16895" fmla="*/ 1199843 h 6557032"/>
              <a:gd name="connsiteX16896" fmla="*/ 2674952 w 4610101"/>
              <a:gd name="connsiteY16896" fmla="*/ 1192554 h 6557032"/>
              <a:gd name="connsiteX16897" fmla="*/ 2667663 w 4610101"/>
              <a:gd name="connsiteY16897" fmla="*/ 1181621 h 6557032"/>
              <a:gd name="connsiteX16898" fmla="*/ 2612998 w 4610101"/>
              <a:gd name="connsiteY16898" fmla="*/ 1181621 h 6557032"/>
              <a:gd name="connsiteX16899" fmla="*/ 2615428 w 4610101"/>
              <a:gd name="connsiteY16899" fmla="*/ 1188910 h 6557032"/>
              <a:gd name="connsiteX16900" fmla="*/ 2611176 w 4610101"/>
              <a:gd name="connsiteY16900" fmla="*/ 1188910 h 6557032"/>
              <a:gd name="connsiteX16901" fmla="*/ 2616642 w 4610101"/>
              <a:gd name="connsiteY16901" fmla="*/ 1198021 h 6557032"/>
              <a:gd name="connsiteX16902" fmla="*/ 2616642 w 4610101"/>
              <a:gd name="connsiteY16902" fmla="*/ 1192554 h 6557032"/>
              <a:gd name="connsiteX16903" fmla="*/ 2618464 w 4610101"/>
              <a:gd name="connsiteY16903" fmla="*/ 1198021 h 6557032"/>
              <a:gd name="connsiteX16904" fmla="*/ 2623931 w 4610101"/>
              <a:gd name="connsiteY16904" fmla="*/ 1188910 h 6557032"/>
              <a:gd name="connsiteX16905" fmla="*/ 2612998 w 4610101"/>
              <a:gd name="connsiteY16905" fmla="*/ 1181621 h 6557032"/>
              <a:gd name="connsiteX16906" fmla="*/ 1279166 w 4610101"/>
              <a:gd name="connsiteY16906" fmla="*/ 1181621 h 6557032"/>
              <a:gd name="connsiteX16907" fmla="*/ 1277344 w 4610101"/>
              <a:gd name="connsiteY16907" fmla="*/ 1185266 h 6557032"/>
              <a:gd name="connsiteX16908" fmla="*/ 1277344 w 4610101"/>
              <a:gd name="connsiteY16908" fmla="*/ 1183546 h 6557032"/>
              <a:gd name="connsiteX16909" fmla="*/ 1279166 w 4610101"/>
              <a:gd name="connsiteY16909" fmla="*/ 1181621 h 6557032"/>
              <a:gd name="connsiteX16910" fmla="*/ 1281216 w 4610101"/>
              <a:gd name="connsiteY16910" fmla="*/ 1187088 h 6557032"/>
              <a:gd name="connsiteX16911" fmla="*/ 1280939 w 4610101"/>
              <a:gd name="connsiteY16911" fmla="*/ 1187827 h 6557032"/>
              <a:gd name="connsiteX16912" fmla="*/ 936598 w 4610101"/>
              <a:gd name="connsiteY16912" fmla="*/ 1181621 h 6557032"/>
              <a:gd name="connsiteX16913" fmla="*/ 932953 w 4610101"/>
              <a:gd name="connsiteY16913" fmla="*/ 1185266 h 6557032"/>
              <a:gd name="connsiteX16914" fmla="*/ 936598 w 4610101"/>
              <a:gd name="connsiteY16914" fmla="*/ 1181621 h 6557032"/>
              <a:gd name="connsiteX16915" fmla="*/ 683316 w 4610101"/>
              <a:gd name="connsiteY16915" fmla="*/ 1181621 h 6557032"/>
              <a:gd name="connsiteX16916" fmla="*/ 688782 w 4610101"/>
              <a:gd name="connsiteY16916" fmla="*/ 1183443 h 6557032"/>
              <a:gd name="connsiteX16917" fmla="*/ 683316 w 4610101"/>
              <a:gd name="connsiteY16917" fmla="*/ 1181621 h 6557032"/>
              <a:gd name="connsiteX16918" fmla="*/ 473766 w 4610101"/>
              <a:gd name="connsiteY16918" fmla="*/ 1181621 h 6557032"/>
              <a:gd name="connsiteX16919" fmla="*/ 481054 w 4610101"/>
              <a:gd name="connsiteY16919" fmla="*/ 1185266 h 6557032"/>
              <a:gd name="connsiteX16920" fmla="*/ 473766 w 4610101"/>
              <a:gd name="connsiteY16920" fmla="*/ 1181621 h 6557032"/>
              <a:gd name="connsiteX16921" fmla="*/ 300660 w 4610101"/>
              <a:gd name="connsiteY16921" fmla="*/ 1181621 h 6557032"/>
              <a:gd name="connsiteX16922" fmla="*/ 307948 w 4610101"/>
              <a:gd name="connsiteY16922" fmla="*/ 1187088 h 6557032"/>
              <a:gd name="connsiteX16923" fmla="*/ 300660 w 4610101"/>
              <a:gd name="connsiteY16923" fmla="*/ 1181621 h 6557032"/>
              <a:gd name="connsiteX16924" fmla="*/ 249638 w 4610101"/>
              <a:gd name="connsiteY16924" fmla="*/ 1181621 h 6557032"/>
              <a:gd name="connsiteX16925" fmla="*/ 269682 w 4610101"/>
              <a:gd name="connsiteY16925" fmla="*/ 1190732 h 6557032"/>
              <a:gd name="connsiteX16926" fmla="*/ 249638 w 4610101"/>
              <a:gd name="connsiteY16926" fmla="*/ 1181621 h 6557032"/>
              <a:gd name="connsiteX16927" fmla="*/ 149419 w 4610101"/>
              <a:gd name="connsiteY16927" fmla="*/ 1181621 h 6557032"/>
              <a:gd name="connsiteX16928" fmla="*/ 160352 w 4610101"/>
              <a:gd name="connsiteY16928" fmla="*/ 1188910 h 6557032"/>
              <a:gd name="connsiteX16929" fmla="*/ 151241 w 4610101"/>
              <a:gd name="connsiteY16929" fmla="*/ 1181621 h 6557032"/>
              <a:gd name="connsiteX16930" fmla="*/ 163312 w 4610101"/>
              <a:gd name="connsiteY16930" fmla="*/ 1189366 h 6557032"/>
              <a:gd name="connsiteX16931" fmla="*/ 163996 w 4610101"/>
              <a:gd name="connsiteY16931" fmla="*/ 1189342 h 6557032"/>
              <a:gd name="connsiteX16932" fmla="*/ 163996 w 4610101"/>
              <a:gd name="connsiteY16932" fmla="*/ 1190732 h 6557032"/>
              <a:gd name="connsiteX16933" fmla="*/ 153063 w 4610101"/>
              <a:gd name="connsiteY16933" fmla="*/ 1188910 h 6557032"/>
              <a:gd name="connsiteX16934" fmla="*/ 156707 w 4610101"/>
              <a:gd name="connsiteY16934" fmla="*/ 1187088 h 6557032"/>
              <a:gd name="connsiteX16935" fmla="*/ 149419 w 4610101"/>
              <a:gd name="connsiteY16935" fmla="*/ 1181621 h 6557032"/>
              <a:gd name="connsiteX16936" fmla="*/ 1451714 w 4610101"/>
              <a:gd name="connsiteY16936" fmla="*/ 1181410 h 6557032"/>
              <a:gd name="connsiteX16937" fmla="*/ 1450761 w 4610101"/>
              <a:gd name="connsiteY16937" fmla="*/ 1181827 h 6557032"/>
              <a:gd name="connsiteX16938" fmla="*/ 1450451 w 4610101"/>
              <a:gd name="connsiteY16938" fmla="*/ 1181621 h 6557032"/>
              <a:gd name="connsiteX16939" fmla="*/ 2753305 w 4610101"/>
              <a:gd name="connsiteY16939" fmla="*/ 1181165 h 6557032"/>
              <a:gd name="connsiteX16940" fmla="*/ 2749661 w 4610101"/>
              <a:gd name="connsiteY16940" fmla="*/ 1183443 h 6557032"/>
              <a:gd name="connsiteX16941" fmla="*/ 2756950 w 4610101"/>
              <a:gd name="connsiteY16941" fmla="*/ 1185266 h 6557032"/>
              <a:gd name="connsiteX16942" fmla="*/ 2756950 w 4610101"/>
              <a:gd name="connsiteY16942" fmla="*/ 1181621 h 6557032"/>
              <a:gd name="connsiteX16943" fmla="*/ 2753305 w 4610101"/>
              <a:gd name="connsiteY16943" fmla="*/ 1181165 h 6557032"/>
              <a:gd name="connsiteX16944" fmla="*/ 2044529 w 4610101"/>
              <a:gd name="connsiteY16944" fmla="*/ 1179992 h 6557032"/>
              <a:gd name="connsiteX16945" fmla="*/ 2048352 w 4610101"/>
              <a:gd name="connsiteY16945" fmla="*/ 1182076 h 6557032"/>
              <a:gd name="connsiteX16946" fmla="*/ 2049946 w 4610101"/>
              <a:gd name="connsiteY16946" fmla="*/ 1185266 h 6557032"/>
              <a:gd name="connsiteX16947" fmla="*/ 2044480 w 4610101"/>
              <a:gd name="connsiteY16947" fmla="*/ 1180027 h 6557032"/>
              <a:gd name="connsiteX16948" fmla="*/ 3367378 w 4610101"/>
              <a:gd name="connsiteY16948" fmla="*/ 1179799 h 6557032"/>
              <a:gd name="connsiteX16949" fmla="*/ 3369200 w 4610101"/>
              <a:gd name="connsiteY16949" fmla="*/ 1183443 h 6557032"/>
              <a:gd name="connsiteX16950" fmla="*/ 3364872 w 4610101"/>
              <a:gd name="connsiteY16950" fmla="*/ 1184810 h 6557032"/>
              <a:gd name="connsiteX16951" fmla="*/ 3364257 w 4610101"/>
              <a:gd name="connsiteY16951" fmla="*/ 1184526 h 6557032"/>
              <a:gd name="connsiteX16952" fmla="*/ 3363734 w 4610101"/>
              <a:gd name="connsiteY16952" fmla="*/ 1183443 h 6557032"/>
              <a:gd name="connsiteX16953" fmla="*/ 3366923 w 4610101"/>
              <a:gd name="connsiteY16953" fmla="*/ 1181393 h 6557032"/>
              <a:gd name="connsiteX16954" fmla="*/ 3367112 w 4610101"/>
              <a:gd name="connsiteY16954" fmla="*/ 1179977 h 6557032"/>
              <a:gd name="connsiteX16955" fmla="*/ 3316357 w 4610101"/>
              <a:gd name="connsiteY16955" fmla="*/ 1179799 h 6557032"/>
              <a:gd name="connsiteX16956" fmla="*/ 3312713 w 4610101"/>
              <a:gd name="connsiteY16956" fmla="*/ 1181621 h 6557032"/>
              <a:gd name="connsiteX16957" fmla="*/ 3318179 w 4610101"/>
              <a:gd name="connsiteY16957" fmla="*/ 1185266 h 6557032"/>
              <a:gd name="connsiteX16958" fmla="*/ 3316357 w 4610101"/>
              <a:gd name="connsiteY16958" fmla="*/ 1179799 h 6557032"/>
              <a:gd name="connsiteX16959" fmla="*/ 1091484 w 4610101"/>
              <a:gd name="connsiteY16959" fmla="*/ 1179799 h 6557032"/>
              <a:gd name="connsiteX16960" fmla="*/ 1095127 w 4610101"/>
              <a:gd name="connsiteY16960" fmla="*/ 1221709 h 6557032"/>
              <a:gd name="connsiteX16961" fmla="*/ 1100593 w 4610101"/>
              <a:gd name="connsiteY16961" fmla="*/ 1223531 h 6557032"/>
              <a:gd name="connsiteX16962" fmla="*/ 1098771 w 4610101"/>
              <a:gd name="connsiteY16962" fmla="*/ 1221709 h 6557032"/>
              <a:gd name="connsiteX16963" fmla="*/ 1106060 w 4610101"/>
              <a:gd name="connsiteY16963" fmla="*/ 1225353 h 6557032"/>
              <a:gd name="connsiteX16964" fmla="*/ 1107882 w 4610101"/>
              <a:gd name="connsiteY16964" fmla="*/ 1219887 h 6557032"/>
              <a:gd name="connsiteX16965" fmla="*/ 1109704 w 4610101"/>
              <a:gd name="connsiteY16965" fmla="*/ 1221709 h 6557032"/>
              <a:gd name="connsiteX16966" fmla="*/ 1111526 w 4610101"/>
              <a:gd name="connsiteY16966" fmla="*/ 1218065 h 6557032"/>
              <a:gd name="connsiteX16967" fmla="*/ 1113349 w 4610101"/>
              <a:gd name="connsiteY16967" fmla="*/ 1219887 h 6557032"/>
              <a:gd name="connsiteX16968" fmla="*/ 1115171 w 4610101"/>
              <a:gd name="connsiteY16968" fmla="*/ 1208954 h 6557032"/>
              <a:gd name="connsiteX16969" fmla="*/ 1116993 w 4610101"/>
              <a:gd name="connsiteY16969" fmla="*/ 1216242 h 6557032"/>
              <a:gd name="connsiteX16970" fmla="*/ 1120637 w 4610101"/>
              <a:gd name="connsiteY16970" fmla="*/ 1201665 h 6557032"/>
              <a:gd name="connsiteX16971" fmla="*/ 1093305 w 4610101"/>
              <a:gd name="connsiteY16971" fmla="*/ 1181621 h 6557032"/>
              <a:gd name="connsiteX16972" fmla="*/ 1091484 w 4610101"/>
              <a:gd name="connsiteY16972" fmla="*/ 1179799 h 6557032"/>
              <a:gd name="connsiteX16973" fmla="*/ 1073262 w 4610101"/>
              <a:gd name="connsiteY16973" fmla="*/ 1179799 h 6557032"/>
              <a:gd name="connsiteX16974" fmla="*/ 1075083 w 4610101"/>
              <a:gd name="connsiteY16974" fmla="*/ 1185266 h 6557032"/>
              <a:gd name="connsiteX16975" fmla="*/ 1071439 w 4610101"/>
              <a:gd name="connsiteY16975" fmla="*/ 1183443 h 6557032"/>
              <a:gd name="connsiteX16976" fmla="*/ 1067794 w 4610101"/>
              <a:gd name="connsiteY16976" fmla="*/ 1190732 h 6557032"/>
              <a:gd name="connsiteX16977" fmla="*/ 1067794 w 4610101"/>
              <a:gd name="connsiteY16977" fmla="*/ 1183443 h 6557032"/>
              <a:gd name="connsiteX16978" fmla="*/ 1058683 w 4610101"/>
              <a:gd name="connsiteY16978" fmla="*/ 1183443 h 6557032"/>
              <a:gd name="connsiteX16979" fmla="*/ 1065972 w 4610101"/>
              <a:gd name="connsiteY16979" fmla="*/ 1194376 h 6557032"/>
              <a:gd name="connsiteX16980" fmla="*/ 1064151 w 4610101"/>
              <a:gd name="connsiteY16980" fmla="*/ 1185266 h 6557032"/>
              <a:gd name="connsiteX16981" fmla="*/ 1073262 w 4610101"/>
              <a:gd name="connsiteY16981" fmla="*/ 1207132 h 6557032"/>
              <a:gd name="connsiteX16982" fmla="*/ 1076905 w 4610101"/>
              <a:gd name="connsiteY16982" fmla="*/ 1205309 h 6557032"/>
              <a:gd name="connsiteX16983" fmla="*/ 1084194 w 4610101"/>
              <a:gd name="connsiteY16983" fmla="*/ 1214420 h 6557032"/>
              <a:gd name="connsiteX16984" fmla="*/ 1082373 w 4610101"/>
              <a:gd name="connsiteY16984" fmla="*/ 1194376 h 6557032"/>
              <a:gd name="connsiteX16985" fmla="*/ 1073262 w 4610101"/>
              <a:gd name="connsiteY16985" fmla="*/ 1179799 h 6557032"/>
              <a:gd name="connsiteX16986" fmla="*/ 885577 w 4610101"/>
              <a:gd name="connsiteY16986" fmla="*/ 1179799 h 6557032"/>
              <a:gd name="connsiteX16987" fmla="*/ 883755 w 4610101"/>
              <a:gd name="connsiteY16987" fmla="*/ 1187088 h 6557032"/>
              <a:gd name="connsiteX16988" fmla="*/ 887399 w 4610101"/>
              <a:gd name="connsiteY16988" fmla="*/ 1181621 h 6557032"/>
              <a:gd name="connsiteX16989" fmla="*/ 885577 w 4610101"/>
              <a:gd name="connsiteY16989" fmla="*/ 1179799 h 6557032"/>
              <a:gd name="connsiteX16990" fmla="*/ 809046 w 4610101"/>
              <a:gd name="connsiteY16990" fmla="*/ 1179799 h 6557032"/>
              <a:gd name="connsiteX16991" fmla="*/ 810868 w 4610101"/>
              <a:gd name="connsiteY16991" fmla="*/ 1188910 h 6557032"/>
              <a:gd name="connsiteX16992" fmla="*/ 816334 w 4610101"/>
              <a:gd name="connsiteY16992" fmla="*/ 1185266 h 6557032"/>
              <a:gd name="connsiteX16993" fmla="*/ 809046 w 4610101"/>
              <a:gd name="connsiteY16993" fmla="*/ 1179799 h 6557032"/>
              <a:gd name="connsiteX16994" fmla="*/ 652339 w 4610101"/>
              <a:gd name="connsiteY16994" fmla="*/ 1179799 h 6557032"/>
              <a:gd name="connsiteX16995" fmla="*/ 641407 w 4610101"/>
              <a:gd name="connsiteY16995" fmla="*/ 1183443 h 6557032"/>
              <a:gd name="connsiteX16996" fmla="*/ 655983 w 4610101"/>
              <a:gd name="connsiteY16996" fmla="*/ 1185266 h 6557032"/>
              <a:gd name="connsiteX16997" fmla="*/ 650516 w 4610101"/>
              <a:gd name="connsiteY16997" fmla="*/ 1183443 h 6557032"/>
              <a:gd name="connsiteX16998" fmla="*/ 652339 w 4610101"/>
              <a:gd name="connsiteY16998" fmla="*/ 1179799 h 6557032"/>
              <a:gd name="connsiteX16999" fmla="*/ 491987 w 4610101"/>
              <a:gd name="connsiteY16999" fmla="*/ 1179799 h 6557032"/>
              <a:gd name="connsiteX17000" fmla="*/ 497454 w 4610101"/>
              <a:gd name="connsiteY17000" fmla="*/ 1185266 h 6557032"/>
              <a:gd name="connsiteX17001" fmla="*/ 491987 w 4610101"/>
              <a:gd name="connsiteY17001" fmla="*/ 1179799 h 6557032"/>
              <a:gd name="connsiteX17002" fmla="*/ 453722 w 4610101"/>
              <a:gd name="connsiteY17002" fmla="*/ 1179799 h 6557032"/>
              <a:gd name="connsiteX17003" fmla="*/ 473766 w 4610101"/>
              <a:gd name="connsiteY17003" fmla="*/ 1185266 h 6557032"/>
              <a:gd name="connsiteX17004" fmla="*/ 462377 w 4610101"/>
              <a:gd name="connsiteY17004" fmla="*/ 1179799 h 6557032"/>
              <a:gd name="connsiteX17005" fmla="*/ 453722 w 4610101"/>
              <a:gd name="connsiteY17005" fmla="*/ 1179799 h 6557032"/>
              <a:gd name="connsiteX17006" fmla="*/ 302481 w 4610101"/>
              <a:gd name="connsiteY17006" fmla="*/ 1179799 h 6557032"/>
              <a:gd name="connsiteX17007" fmla="*/ 317059 w 4610101"/>
              <a:gd name="connsiteY17007" fmla="*/ 1183443 h 6557032"/>
              <a:gd name="connsiteX17008" fmla="*/ 302481 w 4610101"/>
              <a:gd name="connsiteY17008" fmla="*/ 1179799 h 6557032"/>
              <a:gd name="connsiteX17009" fmla="*/ 2939623 w 4610101"/>
              <a:gd name="connsiteY17009" fmla="*/ 1179343 h 6557032"/>
              <a:gd name="connsiteX17010" fmla="*/ 2933700 w 4610101"/>
              <a:gd name="connsiteY17010" fmla="*/ 1179799 h 6557032"/>
              <a:gd name="connsiteX17011" fmla="*/ 2935523 w 4610101"/>
              <a:gd name="connsiteY17011" fmla="*/ 1187088 h 6557032"/>
              <a:gd name="connsiteX17012" fmla="*/ 2942811 w 4610101"/>
              <a:gd name="connsiteY17012" fmla="*/ 1181621 h 6557032"/>
              <a:gd name="connsiteX17013" fmla="*/ 2939623 w 4610101"/>
              <a:gd name="connsiteY17013" fmla="*/ 1179343 h 6557032"/>
              <a:gd name="connsiteX17014" fmla="*/ 1492911 w 4610101"/>
              <a:gd name="connsiteY17014" fmla="*/ 1178877 h 6557032"/>
              <a:gd name="connsiteX17015" fmla="*/ 1490539 w 4610101"/>
              <a:gd name="connsiteY17015" fmla="*/ 1179799 h 6557032"/>
              <a:gd name="connsiteX17016" fmla="*/ 1490734 w 4610101"/>
              <a:gd name="connsiteY17016" fmla="*/ 1179409 h 6557032"/>
              <a:gd name="connsiteX17017" fmla="*/ 1491677 w 4610101"/>
              <a:gd name="connsiteY17017" fmla="*/ 1179116 h 6557032"/>
              <a:gd name="connsiteX17018" fmla="*/ 3004765 w 4610101"/>
              <a:gd name="connsiteY17018" fmla="*/ 1177977 h 6557032"/>
              <a:gd name="connsiteX17019" fmla="*/ 2997477 w 4610101"/>
              <a:gd name="connsiteY17019" fmla="*/ 1181621 h 6557032"/>
              <a:gd name="connsiteX17020" fmla="*/ 3006587 w 4610101"/>
              <a:gd name="connsiteY17020" fmla="*/ 1194376 h 6557032"/>
              <a:gd name="connsiteX17021" fmla="*/ 3004765 w 4610101"/>
              <a:gd name="connsiteY17021" fmla="*/ 1188910 h 6557032"/>
              <a:gd name="connsiteX17022" fmla="*/ 3010232 w 4610101"/>
              <a:gd name="connsiteY17022" fmla="*/ 1196199 h 6557032"/>
              <a:gd name="connsiteX17023" fmla="*/ 3004765 w 4610101"/>
              <a:gd name="connsiteY17023" fmla="*/ 1198021 h 6557032"/>
              <a:gd name="connsiteX17024" fmla="*/ 3010232 w 4610101"/>
              <a:gd name="connsiteY17024" fmla="*/ 1201665 h 6557032"/>
              <a:gd name="connsiteX17025" fmla="*/ 3010232 w 4610101"/>
              <a:gd name="connsiteY17025" fmla="*/ 1198021 h 6557032"/>
              <a:gd name="connsiteX17026" fmla="*/ 3024809 w 4610101"/>
              <a:gd name="connsiteY17026" fmla="*/ 1205309 h 6557032"/>
              <a:gd name="connsiteX17027" fmla="*/ 3035742 w 4610101"/>
              <a:gd name="connsiteY17027" fmla="*/ 1203487 h 6557032"/>
              <a:gd name="connsiteX17028" fmla="*/ 3039387 w 4610101"/>
              <a:gd name="connsiteY17028" fmla="*/ 1192554 h 6557032"/>
              <a:gd name="connsiteX17029" fmla="*/ 3030276 w 4610101"/>
              <a:gd name="connsiteY17029" fmla="*/ 1188910 h 6557032"/>
              <a:gd name="connsiteX17030" fmla="*/ 3030276 w 4610101"/>
              <a:gd name="connsiteY17030" fmla="*/ 1199843 h 6557032"/>
              <a:gd name="connsiteX17031" fmla="*/ 3022987 w 4610101"/>
              <a:gd name="connsiteY17031" fmla="*/ 1183443 h 6557032"/>
              <a:gd name="connsiteX17032" fmla="*/ 3022987 w 4610101"/>
              <a:gd name="connsiteY17032" fmla="*/ 1190732 h 6557032"/>
              <a:gd name="connsiteX17033" fmla="*/ 3019343 w 4610101"/>
              <a:gd name="connsiteY17033" fmla="*/ 1187088 h 6557032"/>
              <a:gd name="connsiteX17034" fmla="*/ 3017521 w 4610101"/>
              <a:gd name="connsiteY17034" fmla="*/ 1192554 h 6557032"/>
              <a:gd name="connsiteX17035" fmla="*/ 3015698 w 4610101"/>
              <a:gd name="connsiteY17035" fmla="*/ 1181621 h 6557032"/>
              <a:gd name="connsiteX17036" fmla="*/ 3012054 w 4610101"/>
              <a:gd name="connsiteY17036" fmla="*/ 1187088 h 6557032"/>
              <a:gd name="connsiteX17037" fmla="*/ 3008410 w 4610101"/>
              <a:gd name="connsiteY17037" fmla="*/ 1181621 h 6557032"/>
              <a:gd name="connsiteX17038" fmla="*/ 3006587 w 4610101"/>
              <a:gd name="connsiteY17038" fmla="*/ 1188910 h 6557032"/>
              <a:gd name="connsiteX17039" fmla="*/ 3004765 w 4610101"/>
              <a:gd name="connsiteY17039" fmla="*/ 1177977 h 6557032"/>
              <a:gd name="connsiteX17040" fmla="*/ 2292295 w 4610101"/>
              <a:gd name="connsiteY17040" fmla="*/ 1177977 h 6557032"/>
              <a:gd name="connsiteX17041" fmla="*/ 2272251 w 4610101"/>
              <a:gd name="connsiteY17041" fmla="*/ 1196199 h 6557032"/>
              <a:gd name="connsiteX17042" fmla="*/ 2286829 w 4610101"/>
              <a:gd name="connsiteY17042" fmla="*/ 1212598 h 6557032"/>
              <a:gd name="connsiteX17043" fmla="*/ 2297762 w 4610101"/>
              <a:gd name="connsiteY17043" fmla="*/ 1203487 h 6557032"/>
              <a:gd name="connsiteX17044" fmla="*/ 2292295 w 4610101"/>
              <a:gd name="connsiteY17044" fmla="*/ 1199843 h 6557032"/>
              <a:gd name="connsiteX17045" fmla="*/ 2297762 w 4610101"/>
              <a:gd name="connsiteY17045" fmla="*/ 1183443 h 6557032"/>
              <a:gd name="connsiteX17046" fmla="*/ 2292295 w 4610101"/>
              <a:gd name="connsiteY17046" fmla="*/ 1177977 h 6557032"/>
              <a:gd name="connsiteX17047" fmla="*/ 2090034 w 4610101"/>
              <a:gd name="connsiteY17047" fmla="*/ 1177977 h 6557032"/>
              <a:gd name="connsiteX17048" fmla="*/ 2088212 w 4610101"/>
              <a:gd name="connsiteY17048" fmla="*/ 1181621 h 6557032"/>
              <a:gd name="connsiteX17049" fmla="*/ 2089118 w 4610101"/>
              <a:gd name="connsiteY17049" fmla="*/ 1177997 h 6557032"/>
              <a:gd name="connsiteX17050" fmla="*/ 821801 w 4610101"/>
              <a:gd name="connsiteY17050" fmla="*/ 1177977 h 6557032"/>
              <a:gd name="connsiteX17051" fmla="*/ 829089 w 4610101"/>
              <a:gd name="connsiteY17051" fmla="*/ 1187088 h 6557032"/>
              <a:gd name="connsiteX17052" fmla="*/ 821801 w 4610101"/>
              <a:gd name="connsiteY17052" fmla="*/ 1177977 h 6557032"/>
              <a:gd name="connsiteX17053" fmla="*/ 1756575 w 4610101"/>
              <a:gd name="connsiteY17053" fmla="*/ 1176180 h 6557032"/>
              <a:gd name="connsiteX17054" fmla="*/ 1783908 w 4610101"/>
              <a:gd name="connsiteY17054" fmla="*/ 1205336 h 6557032"/>
              <a:gd name="connsiteX17055" fmla="*/ 1783908 w 4610101"/>
              <a:gd name="connsiteY17055" fmla="*/ 1214448 h 6557032"/>
              <a:gd name="connsiteX17056" fmla="*/ 1756575 w 4610101"/>
              <a:gd name="connsiteY17056" fmla="*/ 1176180 h 6557032"/>
              <a:gd name="connsiteX17057" fmla="*/ 3267158 w 4610101"/>
              <a:gd name="connsiteY17057" fmla="*/ 1176155 h 6557032"/>
              <a:gd name="connsiteX17058" fmla="*/ 3270803 w 4610101"/>
              <a:gd name="connsiteY17058" fmla="*/ 1183443 h 6557032"/>
              <a:gd name="connsiteX17059" fmla="*/ 3267158 w 4610101"/>
              <a:gd name="connsiteY17059" fmla="*/ 1176155 h 6557032"/>
              <a:gd name="connsiteX17060" fmla="*/ 2142877 w 4610101"/>
              <a:gd name="connsiteY17060" fmla="*/ 1176155 h 6557032"/>
              <a:gd name="connsiteX17061" fmla="*/ 2126477 w 4610101"/>
              <a:gd name="connsiteY17061" fmla="*/ 1185266 h 6557032"/>
              <a:gd name="connsiteX17062" fmla="*/ 2133766 w 4610101"/>
              <a:gd name="connsiteY17062" fmla="*/ 1185266 h 6557032"/>
              <a:gd name="connsiteX17063" fmla="*/ 2131944 w 4610101"/>
              <a:gd name="connsiteY17063" fmla="*/ 1188910 h 6557032"/>
              <a:gd name="connsiteX17064" fmla="*/ 2133766 w 4610101"/>
              <a:gd name="connsiteY17064" fmla="*/ 1190732 h 6557032"/>
              <a:gd name="connsiteX17065" fmla="*/ 2133766 w 4610101"/>
              <a:gd name="connsiteY17065" fmla="*/ 1187088 h 6557032"/>
              <a:gd name="connsiteX17066" fmla="*/ 2133766 w 4610101"/>
              <a:gd name="connsiteY17066" fmla="*/ 1185266 h 6557032"/>
              <a:gd name="connsiteX17067" fmla="*/ 2148344 w 4610101"/>
              <a:gd name="connsiteY17067" fmla="*/ 1192554 h 6557032"/>
              <a:gd name="connsiteX17068" fmla="*/ 2141055 w 4610101"/>
              <a:gd name="connsiteY17068" fmla="*/ 1192554 h 6557032"/>
              <a:gd name="connsiteX17069" fmla="*/ 2142877 w 4610101"/>
              <a:gd name="connsiteY17069" fmla="*/ 1201665 h 6557032"/>
              <a:gd name="connsiteX17070" fmla="*/ 2188431 w 4610101"/>
              <a:gd name="connsiteY17070" fmla="*/ 1187088 h 6557032"/>
              <a:gd name="connsiteX17071" fmla="*/ 2186609 w 4610101"/>
              <a:gd name="connsiteY17071" fmla="*/ 1181621 h 6557032"/>
              <a:gd name="connsiteX17072" fmla="*/ 2177498 w 4610101"/>
              <a:gd name="connsiteY17072" fmla="*/ 1179799 h 6557032"/>
              <a:gd name="connsiteX17073" fmla="*/ 2175676 w 4610101"/>
              <a:gd name="connsiteY17073" fmla="*/ 1179799 h 6557032"/>
              <a:gd name="connsiteX17074" fmla="*/ 2162921 w 4610101"/>
              <a:gd name="connsiteY17074" fmla="*/ 1185266 h 6557032"/>
              <a:gd name="connsiteX17075" fmla="*/ 2164743 w 4610101"/>
              <a:gd name="connsiteY17075" fmla="*/ 1183443 h 6557032"/>
              <a:gd name="connsiteX17076" fmla="*/ 2142877 w 4610101"/>
              <a:gd name="connsiteY17076" fmla="*/ 1179799 h 6557032"/>
              <a:gd name="connsiteX17077" fmla="*/ 1506938 w 4610101"/>
              <a:gd name="connsiteY17077" fmla="*/ 1176155 h 6557032"/>
              <a:gd name="connsiteX17078" fmla="*/ 1492911 w 4610101"/>
              <a:gd name="connsiteY17078" fmla="*/ 1178877 h 6557032"/>
              <a:gd name="connsiteX17079" fmla="*/ 1498739 w 4610101"/>
              <a:gd name="connsiteY17079" fmla="*/ 1176610 h 6557032"/>
              <a:gd name="connsiteX17080" fmla="*/ 1506938 w 4610101"/>
              <a:gd name="connsiteY17080" fmla="*/ 1176155 h 6557032"/>
              <a:gd name="connsiteX17081" fmla="*/ 1277344 w 4610101"/>
              <a:gd name="connsiteY17081" fmla="*/ 1176155 h 6557032"/>
              <a:gd name="connsiteX17082" fmla="*/ 1277344 w 4610101"/>
              <a:gd name="connsiteY17082" fmla="*/ 1180710 h 6557032"/>
              <a:gd name="connsiteX17083" fmla="*/ 1277344 w 4610101"/>
              <a:gd name="connsiteY17083" fmla="*/ 1183546 h 6557032"/>
              <a:gd name="connsiteX17084" fmla="*/ 1267095 w 4610101"/>
              <a:gd name="connsiteY17084" fmla="*/ 1194376 h 6557032"/>
              <a:gd name="connsiteX17085" fmla="*/ 1262440 w 4610101"/>
              <a:gd name="connsiteY17085" fmla="*/ 1198794 h 6557032"/>
              <a:gd name="connsiteX17086" fmla="*/ 1255478 w 4610101"/>
              <a:gd name="connsiteY17086" fmla="*/ 1198021 h 6557032"/>
              <a:gd name="connsiteX17087" fmla="*/ 1277344 w 4610101"/>
              <a:gd name="connsiteY17087" fmla="*/ 1176155 h 6557032"/>
              <a:gd name="connsiteX17088" fmla="*/ 1197169 w 4610101"/>
              <a:gd name="connsiteY17088" fmla="*/ 1176155 h 6557032"/>
              <a:gd name="connsiteX17089" fmla="*/ 1193525 w 4610101"/>
              <a:gd name="connsiteY17089" fmla="*/ 1181621 h 6557032"/>
              <a:gd name="connsiteX17090" fmla="*/ 1189880 w 4610101"/>
              <a:gd name="connsiteY17090" fmla="*/ 1181621 h 6557032"/>
              <a:gd name="connsiteX17091" fmla="*/ 1193525 w 4610101"/>
              <a:gd name="connsiteY17091" fmla="*/ 1183443 h 6557032"/>
              <a:gd name="connsiteX17092" fmla="*/ 1200814 w 4610101"/>
              <a:gd name="connsiteY17092" fmla="*/ 1179799 h 6557032"/>
              <a:gd name="connsiteX17093" fmla="*/ 1197169 w 4610101"/>
              <a:gd name="connsiteY17093" fmla="*/ 1176155 h 6557032"/>
              <a:gd name="connsiteX17094" fmla="*/ 1102416 w 4610101"/>
              <a:gd name="connsiteY17094" fmla="*/ 1176155 h 6557032"/>
              <a:gd name="connsiteX17095" fmla="*/ 1124282 w 4610101"/>
              <a:gd name="connsiteY17095" fmla="*/ 1187088 h 6557032"/>
              <a:gd name="connsiteX17096" fmla="*/ 1102416 w 4610101"/>
              <a:gd name="connsiteY17096" fmla="*/ 1176155 h 6557032"/>
              <a:gd name="connsiteX17097" fmla="*/ 896510 w 4610101"/>
              <a:gd name="connsiteY17097" fmla="*/ 1176155 h 6557032"/>
              <a:gd name="connsiteX17098" fmla="*/ 891043 w 4610101"/>
              <a:gd name="connsiteY17098" fmla="*/ 1183443 h 6557032"/>
              <a:gd name="connsiteX17099" fmla="*/ 896510 w 4610101"/>
              <a:gd name="connsiteY17099" fmla="*/ 1187088 h 6557032"/>
              <a:gd name="connsiteX17100" fmla="*/ 896510 w 4610101"/>
              <a:gd name="connsiteY17100" fmla="*/ 1176155 h 6557032"/>
              <a:gd name="connsiteX17101" fmla="*/ 812690 w 4610101"/>
              <a:gd name="connsiteY17101" fmla="*/ 1176155 h 6557032"/>
              <a:gd name="connsiteX17102" fmla="*/ 818156 w 4610101"/>
              <a:gd name="connsiteY17102" fmla="*/ 1181621 h 6557032"/>
              <a:gd name="connsiteX17103" fmla="*/ 818156 w 4610101"/>
              <a:gd name="connsiteY17103" fmla="*/ 1176155 h 6557032"/>
              <a:gd name="connsiteX17104" fmla="*/ 812690 w 4610101"/>
              <a:gd name="connsiteY17104" fmla="*/ 1176155 h 6557032"/>
              <a:gd name="connsiteX17105" fmla="*/ 284259 w 4610101"/>
              <a:gd name="connsiteY17105" fmla="*/ 1176155 h 6557032"/>
              <a:gd name="connsiteX17106" fmla="*/ 291549 w 4610101"/>
              <a:gd name="connsiteY17106" fmla="*/ 1177977 h 6557032"/>
              <a:gd name="connsiteX17107" fmla="*/ 284259 w 4610101"/>
              <a:gd name="connsiteY17107" fmla="*/ 1176155 h 6557032"/>
              <a:gd name="connsiteX17108" fmla="*/ 1394631 w 4610101"/>
              <a:gd name="connsiteY17108" fmla="*/ 1175890 h 6557032"/>
              <a:gd name="connsiteX17109" fmla="*/ 1391686 w 4610101"/>
              <a:gd name="connsiteY17109" fmla="*/ 1178204 h 6557032"/>
              <a:gd name="connsiteX17110" fmla="*/ 1386365 w 4610101"/>
              <a:gd name="connsiteY17110" fmla="*/ 1179682 h 6557032"/>
              <a:gd name="connsiteX17111" fmla="*/ 1389636 w 4610101"/>
              <a:gd name="connsiteY17111" fmla="*/ 1177066 h 6557032"/>
              <a:gd name="connsiteX17112" fmla="*/ 3205204 w 4610101"/>
              <a:gd name="connsiteY17112" fmla="*/ 1174332 h 6557032"/>
              <a:gd name="connsiteX17113" fmla="*/ 3207027 w 4610101"/>
              <a:gd name="connsiteY17113" fmla="*/ 1181621 h 6557032"/>
              <a:gd name="connsiteX17114" fmla="*/ 3205204 w 4610101"/>
              <a:gd name="connsiteY17114" fmla="*/ 1174332 h 6557032"/>
              <a:gd name="connsiteX17115" fmla="*/ 2899079 w 4610101"/>
              <a:gd name="connsiteY17115" fmla="*/ 1174332 h 6557032"/>
              <a:gd name="connsiteX17116" fmla="*/ 2891790 w 4610101"/>
              <a:gd name="connsiteY17116" fmla="*/ 1181621 h 6557032"/>
              <a:gd name="connsiteX17117" fmla="*/ 2860813 w 4610101"/>
              <a:gd name="connsiteY17117" fmla="*/ 1194376 h 6557032"/>
              <a:gd name="connsiteX17118" fmla="*/ 2864458 w 4610101"/>
              <a:gd name="connsiteY17118" fmla="*/ 1201665 h 6557032"/>
              <a:gd name="connsiteX17119" fmla="*/ 2857169 w 4610101"/>
              <a:gd name="connsiteY17119" fmla="*/ 1208954 h 6557032"/>
              <a:gd name="connsiteX17120" fmla="*/ 2858991 w 4610101"/>
              <a:gd name="connsiteY17120" fmla="*/ 1219887 h 6557032"/>
              <a:gd name="connsiteX17121" fmla="*/ 2860813 w 4610101"/>
              <a:gd name="connsiteY17121" fmla="*/ 1234464 h 6557032"/>
              <a:gd name="connsiteX17122" fmla="*/ 2853525 w 4610101"/>
              <a:gd name="connsiteY17122" fmla="*/ 1219887 h 6557032"/>
              <a:gd name="connsiteX17123" fmla="*/ 2851703 w 4610101"/>
              <a:gd name="connsiteY17123" fmla="*/ 1228998 h 6557032"/>
              <a:gd name="connsiteX17124" fmla="*/ 2846236 w 4610101"/>
              <a:gd name="connsiteY17124" fmla="*/ 1230820 h 6557032"/>
              <a:gd name="connsiteX17125" fmla="*/ 2838947 w 4610101"/>
              <a:gd name="connsiteY17125" fmla="*/ 1225353 h 6557032"/>
              <a:gd name="connsiteX17126" fmla="*/ 2835303 w 4610101"/>
              <a:gd name="connsiteY17126" fmla="*/ 1241753 h 6557032"/>
              <a:gd name="connsiteX17127" fmla="*/ 2829837 w 4610101"/>
              <a:gd name="connsiteY17127" fmla="*/ 1228998 h 6557032"/>
              <a:gd name="connsiteX17128" fmla="*/ 2818903 w 4610101"/>
              <a:gd name="connsiteY17128" fmla="*/ 1227175 h 6557032"/>
              <a:gd name="connsiteX17129" fmla="*/ 2815259 w 4610101"/>
              <a:gd name="connsiteY17129" fmla="*/ 1232642 h 6557032"/>
              <a:gd name="connsiteX17130" fmla="*/ 2838947 w 4610101"/>
              <a:gd name="connsiteY17130" fmla="*/ 1247219 h 6557032"/>
              <a:gd name="connsiteX17131" fmla="*/ 2822548 w 4610101"/>
              <a:gd name="connsiteY17131" fmla="*/ 1250864 h 6557032"/>
              <a:gd name="connsiteX17132" fmla="*/ 2818903 w 4610101"/>
              <a:gd name="connsiteY17132" fmla="*/ 1243575 h 6557032"/>
              <a:gd name="connsiteX17133" fmla="*/ 2809793 w 4610101"/>
              <a:gd name="connsiteY17133" fmla="*/ 1245397 h 6557032"/>
              <a:gd name="connsiteX17134" fmla="*/ 2816854 w 4610101"/>
              <a:gd name="connsiteY17134" fmla="*/ 1261569 h 6557032"/>
              <a:gd name="connsiteX17135" fmla="*/ 2818398 w 4610101"/>
              <a:gd name="connsiteY17135" fmla="*/ 1267066 h 6557032"/>
              <a:gd name="connsiteX17136" fmla="*/ 2814804 w 4610101"/>
              <a:gd name="connsiteY17136" fmla="*/ 1265669 h 6557032"/>
              <a:gd name="connsiteX17137" fmla="*/ 2813437 w 4610101"/>
              <a:gd name="connsiteY17137" fmla="*/ 1254508 h 6557032"/>
              <a:gd name="connsiteX17138" fmla="*/ 2811615 w 4610101"/>
              <a:gd name="connsiteY17138" fmla="*/ 1274552 h 6557032"/>
              <a:gd name="connsiteX17139" fmla="*/ 2818552 w 4610101"/>
              <a:gd name="connsiteY17139" fmla="*/ 1267614 h 6557032"/>
              <a:gd name="connsiteX17140" fmla="*/ 2822548 w 4610101"/>
              <a:gd name="connsiteY17140" fmla="*/ 1281841 h 6557032"/>
              <a:gd name="connsiteX17141" fmla="*/ 2824370 w 4610101"/>
              <a:gd name="connsiteY17141" fmla="*/ 1278196 h 6557032"/>
              <a:gd name="connsiteX17142" fmla="*/ 2835303 w 4610101"/>
              <a:gd name="connsiteY17142" fmla="*/ 1292774 h 6557032"/>
              <a:gd name="connsiteX17143" fmla="*/ 2855347 w 4610101"/>
              <a:gd name="connsiteY17143" fmla="*/ 1281841 h 6557032"/>
              <a:gd name="connsiteX17144" fmla="*/ 2853525 w 4610101"/>
              <a:gd name="connsiteY17144" fmla="*/ 1274552 h 6557032"/>
              <a:gd name="connsiteX17145" fmla="*/ 2858991 w 4610101"/>
              <a:gd name="connsiteY17145" fmla="*/ 1285485 h 6557032"/>
              <a:gd name="connsiteX17146" fmla="*/ 2866280 w 4610101"/>
              <a:gd name="connsiteY17146" fmla="*/ 1289129 h 6557032"/>
              <a:gd name="connsiteX17147" fmla="*/ 2869924 w 4610101"/>
              <a:gd name="connsiteY17147" fmla="*/ 1280018 h 6557032"/>
              <a:gd name="connsiteX17148" fmla="*/ 2886324 w 4610101"/>
              <a:gd name="connsiteY17148" fmla="*/ 1278196 h 6557032"/>
              <a:gd name="connsiteX17149" fmla="*/ 2873569 w 4610101"/>
              <a:gd name="connsiteY17149" fmla="*/ 1269085 h 6557032"/>
              <a:gd name="connsiteX17150" fmla="*/ 2871747 w 4610101"/>
              <a:gd name="connsiteY17150" fmla="*/ 1258152 h 6557032"/>
              <a:gd name="connsiteX17151" fmla="*/ 2855347 w 4610101"/>
              <a:gd name="connsiteY17151" fmla="*/ 1247219 h 6557032"/>
              <a:gd name="connsiteX17152" fmla="*/ 2862636 w 4610101"/>
              <a:gd name="connsiteY17152" fmla="*/ 1254508 h 6557032"/>
              <a:gd name="connsiteX17153" fmla="*/ 2877213 w 4610101"/>
              <a:gd name="connsiteY17153" fmla="*/ 1256330 h 6557032"/>
              <a:gd name="connsiteX17154" fmla="*/ 2868102 w 4610101"/>
              <a:gd name="connsiteY17154" fmla="*/ 1243575 h 6557032"/>
              <a:gd name="connsiteX17155" fmla="*/ 2873569 w 4610101"/>
              <a:gd name="connsiteY17155" fmla="*/ 1234464 h 6557032"/>
              <a:gd name="connsiteX17156" fmla="*/ 2871747 w 4610101"/>
              <a:gd name="connsiteY17156" fmla="*/ 1239931 h 6557032"/>
              <a:gd name="connsiteX17157" fmla="*/ 2875391 w 4610101"/>
              <a:gd name="connsiteY17157" fmla="*/ 1247219 h 6557032"/>
              <a:gd name="connsiteX17158" fmla="*/ 2879035 w 4610101"/>
              <a:gd name="connsiteY17158" fmla="*/ 1241753 h 6557032"/>
              <a:gd name="connsiteX17159" fmla="*/ 2880857 w 4610101"/>
              <a:gd name="connsiteY17159" fmla="*/ 1256330 h 6557032"/>
              <a:gd name="connsiteX17160" fmla="*/ 2888146 w 4610101"/>
              <a:gd name="connsiteY17160" fmla="*/ 1261797 h 6557032"/>
              <a:gd name="connsiteX17161" fmla="*/ 2886324 w 4610101"/>
              <a:gd name="connsiteY17161" fmla="*/ 1270908 h 6557032"/>
              <a:gd name="connsiteX17162" fmla="*/ 2893613 w 4610101"/>
              <a:gd name="connsiteY17162" fmla="*/ 1272730 h 6557032"/>
              <a:gd name="connsiteX17163" fmla="*/ 2897257 w 4610101"/>
              <a:gd name="connsiteY17163" fmla="*/ 1261797 h 6557032"/>
              <a:gd name="connsiteX17164" fmla="*/ 2902724 w 4610101"/>
              <a:gd name="connsiteY17164" fmla="*/ 1265441 h 6557032"/>
              <a:gd name="connsiteX17165" fmla="*/ 2931878 w 4610101"/>
              <a:gd name="connsiteY17165" fmla="*/ 1234464 h 6557032"/>
              <a:gd name="connsiteX17166" fmla="*/ 2920945 w 4610101"/>
              <a:gd name="connsiteY17166" fmla="*/ 1201665 h 6557032"/>
              <a:gd name="connsiteX17167" fmla="*/ 2922767 w 4610101"/>
              <a:gd name="connsiteY17167" fmla="*/ 1187088 h 6557032"/>
              <a:gd name="connsiteX17168" fmla="*/ 2920945 w 4610101"/>
              <a:gd name="connsiteY17168" fmla="*/ 1192554 h 6557032"/>
              <a:gd name="connsiteX17169" fmla="*/ 2910012 w 4610101"/>
              <a:gd name="connsiteY17169" fmla="*/ 1183443 h 6557032"/>
              <a:gd name="connsiteX17170" fmla="*/ 2911834 w 4610101"/>
              <a:gd name="connsiteY17170" fmla="*/ 1190732 h 6557032"/>
              <a:gd name="connsiteX17171" fmla="*/ 2919123 w 4610101"/>
              <a:gd name="connsiteY17171" fmla="*/ 1192554 h 6557032"/>
              <a:gd name="connsiteX17172" fmla="*/ 2917301 w 4610101"/>
              <a:gd name="connsiteY17172" fmla="*/ 1192554 h 6557032"/>
              <a:gd name="connsiteX17173" fmla="*/ 2919123 w 4610101"/>
              <a:gd name="connsiteY17173" fmla="*/ 1196199 h 6557032"/>
              <a:gd name="connsiteX17174" fmla="*/ 2906368 w 4610101"/>
              <a:gd name="connsiteY17174" fmla="*/ 1203487 h 6557032"/>
              <a:gd name="connsiteX17175" fmla="*/ 2899079 w 4610101"/>
              <a:gd name="connsiteY17175" fmla="*/ 1194376 h 6557032"/>
              <a:gd name="connsiteX17176" fmla="*/ 2897257 w 4610101"/>
              <a:gd name="connsiteY17176" fmla="*/ 1198021 h 6557032"/>
              <a:gd name="connsiteX17177" fmla="*/ 2899079 w 4610101"/>
              <a:gd name="connsiteY17177" fmla="*/ 1174332 h 6557032"/>
              <a:gd name="connsiteX17178" fmla="*/ 2441713 w 4610101"/>
              <a:gd name="connsiteY17178" fmla="*/ 1174332 h 6557032"/>
              <a:gd name="connsiteX17179" fmla="*/ 2427136 w 4610101"/>
              <a:gd name="connsiteY17179" fmla="*/ 1187088 h 6557032"/>
              <a:gd name="connsiteX17180" fmla="*/ 2441713 w 4610101"/>
              <a:gd name="connsiteY17180" fmla="*/ 1174332 h 6557032"/>
              <a:gd name="connsiteX17181" fmla="*/ 626828 w 4610101"/>
              <a:gd name="connsiteY17181" fmla="*/ 1174332 h 6557032"/>
              <a:gd name="connsiteX17182" fmla="*/ 621362 w 4610101"/>
              <a:gd name="connsiteY17182" fmla="*/ 1176155 h 6557032"/>
              <a:gd name="connsiteX17183" fmla="*/ 628650 w 4610101"/>
              <a:gd name="connsiteY17183" fmla="*/ 1179799 h 6557032"/>
              <a:gd name="connsiteX17184" fmla="*/ 626828 w 4610101"/>
              <a:gd name="connsiteY17184" fmla="*/ 1174332 h 6557032"/>
              <a:gd name="connsiteX17185" fmla="*/ 497454 w 4610101"/>
              <a:gd name="connsiteY17185" fmla="*/ 1174332 h 6557032"/>
              <a:gd name="connsiteX17186" fmla="*/ 491987 w 4610101"/>
              <a:gd name="connsiteY17186" fmla="*/ 1177977 h 6557032"/>
              <a:gd name="connsiteX17187" fmla="*/ 512031 w 4610101"/>
              <a:gd name="connsiteY17187" fmla="*/ 1188910 h 6557032"/>
              <a:gd name="connsiteX17188" fmla="*/ 497454 w 4610101"/>
              <a:gd name="connsiteY17188" fmla="*/ 1174332 h 6557032"/>
              <a:gd name="connsiteX17189" fmla="*/ 276971 w 4610101"/>
              <a:gd name="connsiteY17189" fmla="*/ 1174332 h 6557032"/>
              <a:gd name="connsiteX17190" fmla="*/ 284259 w 4610101"/>
              <a:gd name="connsiteY17190" fmla="*/ 1179799 h 6557032"/>
              <a:gd name="connsiteX17191" fmla="*/ 276971 w 4610101"/>
              <a:gd name="connsiteY17191" fmla="*/ 1174332 h 6557032"/>
              <a:gd name="connsiteX17192" fmla="*/ 1379893 w 4610101"/>
              <a:gd name="connsiteY17192" fmla="*/ 1174032 h 6557032"/>
              <a:gd name="connsiteX17193" fmla="*/ 1381208 w 4610101"/>
              <a:gd name="connsiteY17193" fmla="*/ 1177977 h 6557032"/>
              <a:gd name="connsiteX17194" fmla="*/ 1379386 w 4610101"/>
              <a:gd name="connsiteY17194" fmla="*/ 1178705 h 6557032"/>
              <a:gd name="connsiteX17195" fmla="*/ 1379386 w 4610101"/>
              <a:gd name="connsiteY17195" fmla="*/ 1174560 h 6557032"/>
              <a:gd name="connsiteX17196" fmla="*/ 2966272 w 4610101"/>
              <a:gd name="connsiteY17196" fmla="*/ 1173877 h 6557032"/>
              <a:gd name="connsiteX17197" fmla="*/ 2966377 w 4610101"/>
              <a:gd name="connsiteY17197" fmla="*/ 1174087 h 6557032"/>
              <a:gd name="connsiteX17198" fmla="*/ 2965515 w 4610101"/>
              <a:gd name="connsiteY17198" fmla="*/ 1174785 h 6557032"/>
              <a:gd name="connsiteX17199" fmla="*/ 456455 w 4610101"/>
              <a:gd name="connsiteY17199" fmla="*/ 1173876 h 6557032"/>
              <a:gd name="connsiteX17200" fmla="*/ 453722 w 4610101"/>
              <a:gd name="connsiteY17200" fmla="*/ 1176155 h 6557032"/>
              <a:gd name="connsiteX17201" fmla="*/ 464655 w 4610101"/>
              <a:gd name="connsiteY17201" fmla="*/ 1174332 h 6557032"/>
              <a:gd name="connsiteX17202" fmla="*/ 456455 w 4610101"/>
              <a:gd name="connsiteY17202" fmla="*/ 1173876 h 6557032"/>
              <a:gd name="connsiteX17203" fmla="*/ 696555 w 4610101"/>
              <a:gd name="connsiteY17203" fmla="*/ 1173535 h 6557032"/>
              <a:gd name="connsiteX17204" fmla="*/ 688782 w 4610101"/>
              <a:gd name="connsiteY17204" fmla="*/ 1174332 h 6557032"/>
              <a:gd name="connsiteX17205" fmla="*/ 710648 w 4610101"/>
              <a:gd name="connsiteY17205" fmla="*/ 1188910 h 6557032"/>
              <a:gd name="connsiteX17206" fmla="*/ 696555 w 4610101"/>
              <a:gd name="connsiteY17206" fmla="*/ 1173535 h 6557032"/>
              <a:gd name="connsiteX17207" fmla="*/ 1178263 w 4610101"/>
              <a:gd name="connsiteY17207" fmla="*/ 1173193 h 6557032"/>
              <a:gd name="connsiteX17208" fmla="*/ 1177125 w 4610101"/>
              <a:gd name="connsiteY17208" fmla="*/ 1176155 h 6557032"/>
              <a:gd name="connsiteX17209" fmla="*/ 1180769 w 4610101"/>
              <a:gd name="connsiteY17209" fmla="*/ 1174332 h 6557032"/>
              <a:gd name="connsiteX17210" fmla="*/ 1178263 w 4610101"/>
              <a:gd name="connsiteY17210" fmla="*/ 1173193 h 6557032"/>
              <a:gd name="connsiteX17211" fmla="*/ 1458367 w 4610101"/>
              <a:gd name="connsiteY17211" fmla="*/ 1172517 h 6557032"/>
              <a:gd name="connsiteX17212" fmla="*/ 1459562 w 4610101"/>
              <a:gd name="connsiteY17212" fmla="*/ 1177977 h 6557032"/>
              <a:gd name="connsiteX17213" fmla="*/ 1458158 w 4610101"/>
              <a:gd name="connsiteY17213" fmla="*/ 1178591 h 6557032"/>
              <a:gd name="connsiteX17214" fmla="*/ 3022987 w 4610101"/>
              <a:gd name="connsiteY17214" fmla="*/ 1172510 h 6557032"/>
              <a:gd name="connsiteX17215" fmla="*/ 3019343 w 4610101"/>
              <a:gd name="connsiteY17215" fmla="*/ 1174332 h 6557032"/>
              <a:gd name="connsiteX17216" fmla="*/ 3026631 w 4610101"/>
              <a:gd name="connsiteY17216" fmla="*/ 1179799 h 6557032"/>
              <a:gd name="connsiteX17217" fmla="*/ 3022987 w 4610101"/>
              <a:gd name="connsiteY17217" fmla="*/ 1172510 h 6557032"/>
              <a:gd name="connsiteX17218" fmla="*/ 1419474 w 4610101"/>
              <a:gd name="connsiteY17218" fmla="*/ 1172510 h 6557032"/>
              <a:gd name="connsiteX17219" fmla="*/ 1419988 w 4610101"/>
              <a:gd name="connsiteY17219" fmla="*/ 1173949 h 6557032"/>
              <a:gd name="connsiteX17220" fmla="*/ 1419474 w 4610101"/>
              <a:gd name="connsiteY17220" fmla="*/ 1174332 h 6557032"/>
              <a:gd name="connsiteX17221" fmla="*/ 1418664 w 4610101"/>
              <a:gd name="connsiteY17221" fmla="*/ 1174130 h 6557032"/>
              <a:gd name="connsiteX17222" fmla="*/ 639583 w 4610101"/>
              <a:gd name="connsiteY17222" fmla="*/ 1172510 h 6557032"/>
              <a:gd name="connsiteX17223" fmla="*/ 643228 w 4610101"/>
              <a:gd name="connsiteY17223" fmla="*/ 1179799 h 6557032"/>
              <a:gd name="connsiteX17224" fmla="*/ 643228 w 4610101"/>
              <a:gd name="connsiteY17224" fmla="*/ 1172510 h 6557032"/>
              <a:gd name="connsiteX17225" fmla="*/ 639583 w 4610101"/>
              <a:gd name="connsiteY17225" fmla="*/ 1172510 h 6557032"/>
              <a:gd name="connsiteX17226" fmla="*/ 586741 w 4610101"/>
              <a:gd name="connsiteY17226" fmla="*/ 1172510 h 6557032"/>
              <a:gd name="connsiteX17227" fmla="*/ 594030 w 4610101"/>
              <a:gd name="connsiteY17227" fmla="*/ 1179799 h 6557032"/>
              <a:gd name="connsiteX17228" fmla="*/ 586741 w 4610101"/>
              <a:gd name="connsiteY17228" fmla="*/ 1172510 h 6557032"/>
              <a:gd name="connsiteX17229" fmla="*/ 552119 w 4610101"/>
              <a:gd name="connsiteY17229" fmla="*/ 1172510 h 6557032"/>
              <a:gd name="connsiteX17230" fmla="*/ 555763 w 4610101"/>
              <a:gd name="connsiteY17230" fmla="*/ 1176155 h 6557032"/>
              <a:gd name="connsiteX17231" fmla="*/ 552119 w 4610101"/>
              <a:gd name="connsiteY17231" fmla="*/ 1172510 h 6557032"/>
              <a:gd name="connsiteX17232" fmla="*/ 249638 w 4610101"/>
              <a:gd name="connsiteY17232" fmla="*/ 1172510 h 6557032"/>
              <a:gd name="connsiteX17233" fmla="*/ 258749 w 4610101"/>
              <a:gd name="connsiteY17233" fmla="*/ 1177977 h 6557032"/>
              <a:gd name="connsiteX17234" fmla="*/ 249638 w 4610101"/>
              <a:gd name="connsiteY17234" fmla="*/ 1172510 h 6557032"/>
              <a:gd name="connsiteX17235" fmla="*/ 224378 w 4610101"/>
              <a:gd name="connsiteY17235" fmla="*/ 1172484 h 6557032"/>
              <a:gd name="connsiteX17236" fmla="*/ 224957 w 4610101"/>
              <a:gd name="connsiteY17236" fmla="*/ 1172986 h 6557032"/>
              <a:gd name="connsiteX17237" fmla="*/ 224128 w 4610101"/>
              <a:gd name="connsiteY17237" fmla="*/ 1172510 h 6557032"/>
              <a:gd name="connsiteX17238" fmla="*/ 477638 w 4610101"/>
              <a:gd name="connsiteY17238" fmla="*/ 1171143 h 6557032"/>
              <a:gd name="connsiteX17239" fmla="*/ 473766 w 4610101"/>
              <a:gd name="connsiteY17239" fmla="*/ 1172510 h 6557032"/>
              <a:gd name="connsiteX17240" fmla="*/ 482876 w 4610101"/>
              <a:gd name="connsiteY17240" fmla="*/ 1172510 h 6557032"/>
              <a:gd name="connsiteX17241" fmla="*/ 477638 w 4610101"/>
              <a:gd name="connsiteY17241" fmla="*/ 1171143 h 6557032"/>
              <a:gd name="connsiteX17242" fmla="*/ 3248937 w 4610101"/>
              <a:gd name="connsiteY17242" fmla="*/ 1170688 h 6557032"/>
              <a:gd name="connsiteX17243" fmla="*/ 3254403 w 4610101"/>
              <a:gd name="connsiteY17243" fmla="*/ 1179799 h 6557032"/>
              <a:gd name="connsiteX17244" fmla="*/ 3256225 w 4610101"/>
              <a:gd name="connsiteY17244" fmla="*/ 1170688 h 6557032"/>
              <a:gd name="connsiteX17245" fmla="*/ 3248937 w 4610101"/>
              <a:gd name="connsiteY17245" fmla="*/ 1170688 h 6557032"/>
              <a:gd name="connsiteX17246" fmla="*/ 3044853 w 4610101"/>
              <a:gd name="connsiteY17246" fmla="*/ 1170688 h 6557032"/>
              <a:gd name="connsiteX17247" fmla="*/ 3046675 w 4610101"/>
              <a:gd name="connsiteY17247" fmla="*/ 1177977 h 6557032"/>
              <a:gd name="connsiteX17248" fmla="*/ 3041209 w 4610101"/>
              <a:gd name="connsiteY17248" fmla="*/ 1172510 h 6557032"/>
              <a:gd name="connsiteX17249" fmla="*/ 3039387 w 4610101"/>
              <a:gd name="connsiteY17249" fmla="*/ 1181621 h 6557032"/>
              <a:gd name="connsiteX17250" fmla="*/ 3041209 w 4610101"/>
              <a:gd name="connsiteY17250" fmla="*/ 1176155 h 6557032"/>
              <a:gd name="connsiteX17251" fmla="*/ 3046675 w 4610101"/>
              <a:gd name="connsiteY17251" fmla="*/ 1177977 h 6557032"/>
              <a:gd name="connsiteX17252" fmla="*/ 3044853 w 4610101"/>
              <a:gd name="connsiteY17252" fmla="*/ 1185266 h 6557032"/>
              <a:gd name="connsiteX17253" fmla="*/ 3050319 w 4610101"/>
              <a:gd name="connsiteY17253" fmla="*/ 1185266 h 6557032"/>
              <a:gd name="connsiteX17254" fmla="*/ 3044853 w 4610101"/>
              <a:gd name="connsiteY17254" fmla="*/ 1170688 h 6557032"/>
              <a:gd name="connsiteX17255" fmla="*/ 1998925 w 4610101"/>
              <a:gd name="connsiteY17255" fmla="*/ 1170688 h 6557032"/>
              <a:gd name="connsiteX17256" fmla="*/ 1997103 w 4610101"/>
              <a:gd name="connsiteY17256" fmla="*/ 1185266 h 6557032"/>
              <a:gd name="connsiteX17257" fmla="*/ 1989342 w 4610101"/>
              <a:gd name="connsiteY17257" fmla="*/ 1186261 h 6557032"/>
              <a:gd name="connsiteX17258" fmla="*/ 1862262 w 4610101"/>
              <a:gd name="connsiteY17258" fmla="*/ 1170688 h 6557032"/>
              <a:gd name="connsiteX17259" fmla="*/ 1863809 w 4610101"/>
              <a:gd name="connsiteY17259" fmla="*/ 1171668 h 6557032"/>
              <a:gd name="connsiteX17260" fmla="*/ 1865906 w 4610101"/>
              <a:gd name="connsiteY17260" fmla="*/ 1183443 h 6557032"/>
              <a:gd name="connsiteX17261" fmla="*/ 1875017 w 4610101"/>
              <a:gd name="connsiteY17261" fmla="*/ 1225353 h 6557032"/>
              <a:gd name="connsiteX17262" fmla="*/ 1869795 w 4610101"/>
              <a:gd name="connsiteY17262" fmla="*/ 1228617 h 6557032"/>
              <a:gd name="connsiteX17263" fmla="*/ 1864767 w 4610101"/>
              <a:gd name="connsiteY17263" fmla="*/ 1204170 h 6557032"/>
              <a:gd name="connsiteX17264" fmla="*/ 1862262 w 4610101"/>
              <a:gd name="connsiteY17264" fmla="*/ 1170688 h 6557032"/>
              <a:gd name="connsiteX17265" fmla="*/ 1401252 w 4610101"/>
              <a:gd name="connsiteY17265" fmla="*/ 1170688 h 6557032"/>
              <a:gd name="connsiteX17266" fmla="*/ 1401252 w 4610101"/>
              <a:gd name="connsiteY17266" fmla="*/ 1172054 h 6557032"/>
              <a:gd name="connsiteX17267" fmla="*/ 1401252 w 4610101"/>
              <a:gd name="connsiteY17267" fmla="*/ 1174332 h 6557032"/>
              <a:gd name="connsiteX17268" fmla="*/ 1394631 w 4610101"/>
              <a:gd name="connsiteY17268" fmla="*/ 1175890 h 6557032"/>
              <a:gd name="connsiteX17269" fmla="*/ 1224501 w 4610101"/>
              <a:gd name="connsiteY17269" fmla="*/ 1170688 h 6557032"/>
              <a:gd name="connsiteX17270" fmla="*/ 1202636 w 4610101"/>
              <a:gd name="connsiteY17270" fmla="*/ 1177977 h 6557032"/>
              <a:gd name="connsiteX17271" fmla="*/ 1208102 w 4610101"/>
              <a:gd name="connsiteY17271" fmla="*/ 1181621 h 6557032"/>
              <a:gd name="connsiteX17272" fmla="*/ 1197169 w 4610101"/>
              <a:gd name="connsiteY17272" fmla="*/ 1185266 h 6557032"/>
              <a:gd name="connsiteX17273" fmla="*/ 1209925 w 4610101"/>
              <a:gd name="connsiteY17273" fmla="*/ 1183443 h 6557032"/>
              <a:gd name="connsiteX17274" fmla="*/ 1208102 w 4610101"/>
              <a:gd name="connsiteY17274" fmla="*/ 1181621 h 6557032"/>
              <a:gd name="connsiteX17275" fmla="*/ 1224501 w 4610101"/>
              <a:gd name="connsiteY17275" fmla="*/ 1170688 h 6557032"/>
              <a:gd name="connsiteX17276" fmla="*/ 1220858 w 4610101"/>
              <a:gd name="connsiteY17276" fmla="*/ 1170688 h 6557032"/>
              <a:gd name="connsiteX17277" fmla="*/ 1202636 w 4610101"/>
              <a:gd name="connsiteY17277" fmla="*/ 1176155 h 6557032"/>
              <a:gd name="connsiteX17278" fmla="*/ 1220858 w 4610101"/>
              <a:gd name="connsiteY17278" fmla="*/ 1170688 h 6557032"/>
              <a:gd name="connsiteX17279" fmla="*/ 861889 w 4610101"/>
              <a:gd name="connsiteY17279" fmla="*/ 1170688 h 6557032"/>
              <a:gd name="connsiteX17280" fmla="*/ 861889 w 4610101"/>
              <a:gd name="connsiteY17280" fmla="*/ 1174880 h 6557032"/>
              <a:gd name="connsiteX17281" fmla="*/ 861223 w 4610101"/>
              <a:gd name="connsiteY17281" fmla="*/ 1172019 h 6557032"/>
              <a:gd name="connsiteX17282" fmla="*/ 841845 w 4610101"/>
              <a:gd name="connsiteY17282" fmla="*/ 1170688 h 6557032"/>
              <a:gd name="connsiteX17283" fmla="*/ 840022 w 4610101"/>
              <a:gd name="connsiteY17283" fmla="*/ 1176155 h 6557032"/>
              <a:gd name="connsiteX17284" fmla="*/ 841845 w 4610101"/>
              <a:gd name="connsiteY17284" fmla="*/ 1170688 h 6557032"/>
              <a:gd name="connsiteX17285" fmla="*/ 630472 w 4610101"/>
              <a:gd name="connsiteY17285" fmla="*/ 1170688 h 6557032"/>
              <a:gd name="connsiteX17286" fmla="*/ 634117 w 4610101"/>
              <a:gd name="connsiteY17286" fmla="*/ 1179799 h 6557032"/>
              <a:gd name="connsiteX17287" fmla="*/ 630472 w 4610101"/>
              <a:gd name="connsiteY17287" fmla="*/ 1170688 h 6557032"/>
              <a:gd name="connsiteX17288" fmla="*/ 588562 w 4610101"/>
              <a:gd name="connsiteY17288" fmla="*/ 1170688 h 6557032"/>
              <a:gd name="connsiteX17289" fmla="*/ 594030 w 4610101"/>
              <a:gd name="connsiteY17289" fmla="*/ 1176155 h 6557032"/>
              <a:gd name="connsiteX17290" fmla="*/ 595852 w 4610101"/>
              <a:gd name="connsiteY17290" fmla="*/ 1170688 h 6557032"/>
              <a:gd name="connsiteX17291" fmla="*/ 588562 w 4610101"/>
              <a:gd name="connsiteY17291" fmla="*/ 1170688 h 6557032"/>
              <a:gd name="connsiteX17292" fmla="*/ 286082 w 4610101"/>
              <a:gd name="connsiteY17292" fmla="*/ 1170688 h 6557032"/>
              <a:gd name="connsiteX17293" fmla="*/ 298837 w 4610101"/>
              <a:gd name="connsiteY17293" fmla="*/ 1172510 h 6557032"/>
              <a:gd name="connsiteX17294" fmla="*/ 286082 w 4610101"/>
              <a:gd name="connsiteY17294" fmla="*/ 1170688 h 6557032"/>
              <a:gd name="connsiteX17295" fmla="*/ 209550 w 4610101"/>
              <a:gd name="connsiteY17295" fmla="*/ 1170688 h 6557032"/>
              <a:gd name="connsiteX17296" fmla="*/ 231416 w 4610101"/>
              <a:gd name="connsiteY17296" fmla="*/ 1190732 h 6557032"/>
              <a:gd name="connsiteX17297" fmla="*/ 209550 w 4610101"/>
              <a:gd name="connsiteY17297" fmla="*/ 1170688 h 6557032"/>
              <a:gd name="connsiteX17298" fmla="*/ 3303109 w 4610101"/>
              <a:gd name="connsiteY17298" fmla="*/ 1169021 h 6557032"/>
              <a:gd name="connsiteX17299" fmla="*/ 3304416 w 4610101"/>
              <a:gd name="connsiteY17299" fmla="*/ 1169962 h 6557032"/>
              <a:gd name="connsiteX17300" fmla="*/ 3299957 w 4610101"/>
              <a:gd name="connsiteY17300" fmla="*/ 1172510 h 6557032"/>
              <a:gd name="connsiteX17301" fmla="*/ 1483250 w 4610101"/>
              <a:gd name="connsiteY17301" fmla="*/ 1168866 h 6557032"/>
              <a:gd name="connsiteX17302" fmla="*/ 1465028 w 4610101"/>
              <a:gd name="connsiteY17302" fmla="*/ 1183443 h 6557032"/>
              <a:gd name="connsiteX17303" fmla="*/ 1466850 w 4610101"/>
              <a:gd name="connsiteY17303" fmla="*/ 1181621 h 6557032"/>
              <a:gd name="connsiteX17304" fmla="*/ 1461384 w 4610101"/>
              <a:gd name="connsiteY17304" fmla="*/ 1181621 h 6557032"/>
              <a:gd name="connsiteX17305" fmla="*/ 1483250 w 4610101"/>
              <a:gd name="connsiteY17305" fmla="*/ 1168866 h 6557032"/>
              <a:gd name="connsiteX17306" fmla="*/ 1157081 w 4610101"/>
              <a:gd name="connsiteY17306" fmla="*/ 1168866 h 6557032"/>
              <a:gd name="connsiteX17307" fmla="*/ 1149792 w 4610101"/>
              <a:gd name="connsiteY17307" fmla="*/ 1172510 h 6557032"/>
              <a:gd name="connsiteX17308" fmla="*/ 1155259 w 4610101"/>
              <a:gd name="connsiteY17308" fmla="*/ 1177977 h 6557032"/>
              <a:gd name="connsiteX17309" fmla="*/ 1157081 w 4610101"/>
              <a:gd name="connsiteY17309" fmla="*/ 1168866 h 6557032"/>
              <a:gd name="connsiteX17310" fmla="*/ 929309 w 4610101"/>
              <a:gd name="connsiteY17310" fmla="*/ 1168866 h 6557032"/>
              <a:gd name="connsiteX17311" fmla="*/ 920198 w 4610101"/>
              <a:gd name="connsiteY17311" fmla="*/ 1179799 h 6557032"/>
              <a:gd name="connsiteX17312" fmla="*/ 931131 w 4610101"/>
              <a:gd name="connsiteY17312" fmla="*/ 1172510 h 6557032"/>
              <a:gd name="connsiteX17313" fmla="*/ 929309 w 4610101"/>
              <a:gd name="connsiteY17313" fmla="*/ 1168866 h 6557032"/>
              <a:gd name="connsiteX17314" fmla="*/ 843667 w 4610101"/>
              <a:gd name="connsiteY17314" fmla="*/ 1168866 h 6557032"/>
              <a:gd name="connsiteX17315" fmla="*/ 845489 w 4610101"/>
              <a:gd name="connsiteY17315" fmla="*/ 1190732 h 6557032"/>
              <a:gd name="connsiteX17316" fmla="*/ 845489 w 4610101"/>
              <a:gd name="connsiteY17316" fmla="*/ 1179799 h 6557032"/>
              <a:gd name="connsiteX17317" fmla="*/ 847311 w 4610101"/>
              <a:gd name="connsiteY17317" fmla="*/ 1176155 h 6557032"/>
              <a:gd name="connsiteX17318" fmla="*/ 843667 w 4610101"/>
              <a:gd name="connsiteY17318" fmla="*/ 1168866 h 6557032"/>
              <a:gd name="connsiteX17319" fmla="*/ 705182 w 4610101"/>
              <a:gd name="connsiteY17319" fmla="*/ 1168866 h 6557032"/>
              <a:gd name="connsiteX17320" fmla="*/ 727048 w 4610101"/>
              <a:gd name="connsiteY17320" fmla="*/ 1190732 h 6557032"/>
              <a:gd name="connsiteX17321" fmla="*/ 705182 w 4610101"/>
              <a:gd name="connsiteY17321" fmla="*/ 1168866 h 6557032"/>
              <a:gd name="connsiteX17322" fmla="*/ 697893 w 4610101"/>
              <a:gd name="connsiteY17322" fmla="*/ 1168866 h 6557032"/>
              <a:gd name="connsiteX17323" fmla="*/ 705182 w 4610101"/>
              <a:gd name="connsiteY17323" fmla="*/ 1174332 h 6557032"/>
              <a:gd name="connsiteX17324" fmla="*/ 701537 w 4610101"/>
              <a:gd name="connsiteY17324" fmla="*/ 1168866 h 6557032"/>
              <a:gd name="connsiteX17325" fmla="*/ 697893 w 4610101"/>
              <a:gd name="connsiteY17325" fmla="*/ 1168866 h 6557032"/>
              <a:gd name="connsiteX17326" fmla="*/ 191329 w 4610101"/>
              <a:gd name="connsiteY17326" fmla="*/ 1168866 h 6557032"/>
              <a:gd name="connsiteX17327" fmla="*/ 220483 w 4610101"/>
              <a:gd name="connsiteY17327" fmla="*/ 1187088 h 6557032"/>
              <a:gd name="connsiteX17328" fmla="*/ 191329 w 4610101"/>
              <a:gd name="connsiteY17328" fmla="*/ 1168866 h 6557032"/>
              <a:gd name="connsiteX17329" fmla="*/ 169462 w 4610101"/>
              <a:gd name="connsiteY17329" fmla="*/ 1168866 h 6557032"/>
              <a:gd name="connsiteX17330" fmla="*/ 180396 w 4610101"/>
              <a:gd name="connsiteY17330" fmla="*/ 1179799 h 6557032"/>
              <a:gd name="connsiteX17331" fmla="*/ 169462 w 4610101"/>
              <a:gd name="connsiteY17331" fmla="*/ 1168866 h 6557032"/>
              <a:gd name="connsiteX17332" fmla="*/ 475361 w 4610101"/>
              <a:gd name="connsiteY17332" fmla="*/ 1168183 h 6557032"/>
              <a:gd name="connsiteX17333" fmla="*/ 471943 w 4610101"/>
              <a:gd name="connsiteY17333" fmla="*/ 1168866 h 6557032"/>
              <a:gd name="connsiteX17334" fmla="*/ 477410 w 4610101"/>
              <a:gd name="connsiteY17334" fmla="*/ 1168866 h 6557032"/>
              <a:gd name="connsiteX17335" fmla="*/ 475361 w 4610101"/>
              <a:gd name="connsiteY17335" fmla="*/ 1168183 h 6557032"/>
              <a:gd name="connsiteX17336" fmla="*/ 213088 w 4610101"/>
              <a:gd name="connsiteY17336" fmla="*/ 1167616 h 6557032"/>
              <a:gd name="connsiteX17337" fmla="*/ 213802 w 4610101"/>
              <a:gd name="connsiteY17337" fmla="*/ 1167854 h 6557032"/>
              <a:gd name="connsiteX17338" fmla="*/ 215017 w 4610101"/>
              <a:gd name="connsiteY17338" fmla="*/ 1168866 h 6557032"/>
              <a:gd name="connsiteX17339" fmla="*/ 2412559 w 4610101"/>
              <a:gd name="connsiteY17339" fmla="*/ 1167044 h 6557032"/>
              <a:gd name="connsiteX17340" fmla="*/ 2405270 w 4610101"/>
              <a:gd name="connsiteY17340" fmla="*/ 1190732 h 6557032"/>
              <a:gd name="connsiteX17341" fmla="*/ 2412559 w 4610101"/>
              <a:gd name="connsiteY17341" fmla="*/ 1190732 h 6557032"/>
              <a:gd name="connsiteX17342" fmla="*/ 2416203 w 4610101"/>
              <a:gd name="connsiteY17342" fmla="*/ 1176155 h 6557032"/>
              <a:gd name="connsiteX17343" fmla="*/ 2410737 w 4610101"/>
              <a:gd name="connsiteY17343" fmla="*/ 1177977 h 6557032"/>
              <a:gd name="connsiteX17344" fmla="*/ 2412559 w 4610101"/>
              <a:gd name="connsiteY17344" fmla="*/ 1167044 h 6557032"/>
              <a:gd name="connsiteX17345" fmla="*/ 2210297 w 4610101"/>
              <a:gd name="connsiteY17345" fmla="*/ 1167044 h 6557032"/>
              <a:gd name="connsiteX17346" fmla="*/ 2210297 w 4610101"/>
              <a:gd name="connsiteY17346" fmla="*/ 1172510 h 6557032"/>
              <a:gd name="connsiteX17347" fmla="*/ 2217586 w 4610101"/>
              <a:gd name="connsiteY17347" fmla="*/ 1172510 h 6557032"/>
              <a:gd name="connsiteX17348" fmla="*/ 2210297 w 4610101"/>
              <a:gd name="connsiteY17348" fmla="*/ 1167044 h 6557032"/>
              <a:gd name="connsiteX17349" fmla="*/ 2060879 w 4610101"/>
              <a:gd name="connsiteY17349" fmla="*/ 1167044 h 6557032"/>
              <a:gd name="connsiteX17350" fmla="*/ 2059057 w 4610101"/>
              <a:gd name="connsiteY17350" fmla="*/ 1177977 h 6557032"/>
              <a:gd name="connsiteX17351" fmla="*/ 2075457 w 4610101"/>
              <a:gd name="connsiteY17351" fmla="*/ 1170688 h 6557032"/>
              <a:gd name="connsiteX17352" fmla="*/ 1140681 w 4610101"/>
              <a:gd name="connsiteY17352" fmla="*/ 1167044 h 6557032"/>
              <a:gd name="connsiteX17353" fmla="*/ 1137037 w 4610101"/>
              <a:gd name="connsiteY17353" fmla="*/ 1170688 h 6557032"/>
              <a:gd name="connsiteX17354" fmla="*/ 1144326 w 4610101"/>
              <a:gd name="connsiteY17354" fmla="*/ 1176155 h 6557032"/>
              <a:gd name="connsiteX17355" fmla="*/ 1149792 w 4610101"/>
              <a:gd name="connsiteY17355" fmla="*/ 1170688 h 6557032"/>
              <a:gd name="connsiteX17356" fmla="*/ 1144326 w 4610101"/>
              <a:gd name="connsiteY17356" fmla="*/ 1167044 h 6557032"/>
              <a:gd name="connsiteX17357" fmla="*/ 1140681 w 4610101"/>
              <a:gd name="connsiteY17357" fmla="*/ 1167044 h 6557032"/>
              <a:gd name="connsiteX17358" fmla="*/ 1111526 w 4610101"/>
              <a:gd name="connsiteY17358" fmla="*/ 1167044 h 6557032"/>
              <a:gd name="connsiteX17359" fmla="*/ 1124282 w 4610101"/>
              <a:gd name="connsiteY17359" fmla="*/ 1170688 h 6557032"/>
              <a:gd name="connsiteX17360" fmla="*/ 1138859 w 4610101"/>
              <a:gd name="connsiteY17360" fmla="*/ 1181621 h 6557032"/>
              <a:gd name="connsiteX17361" fmla="*/ 1147970 w 4610101"/>
              <a:gd name="connsiteY17361" fmla="*/ 1179799 h 6557032"/>
              <a:gd name="connsiteX17362" fmla="*/ 1137037 w 4610101"/>
              <a:gd name="connsiteY17362" fmla="*/ 1174332 h 6557032"/>
              <a:gd name="connsiteX17363" fmla="*/ 1137037 w 4610101"/>
              <a:gd name="connsiteY17363" fmla="*/ 1177977 h 6557032"/>
              <a:gd name="connsiteX17364" fmla="*/ 1133393 w 4610101"/>
              <a:gd name="connsiteY17364" fmla="*/ 1174332 h 6557032"/>
              <a:gd name="connsiteX17365" fmla="*/ 1135215 w 4610101"/>
              <a:gd name="connsiteY17365" fmla="*/ 1172510 h 6557032"/>
              <a:gd name="connsiteX17366" fmla="*/ 1111526 w 4610101"/>
              <a:gd name="connsiteY17366" fmla="*/ 1167044 h 6557032"/>
              <a:gd name="connsiteX17367" fmla="*/ 867355 w 4610101"/>
              <a:gd name="connsiteY17367" fmla="*/ 1167044 h 6557032"/>
              <a:gd name="connsiteX17368" fmla="*/ 868721 w 4610101"/>
              <a:gd name="connsiteY17368" fmla="*/ 1176154 h 6557032"/>
              <a:gd name="connsiteX17369" fmla="*/ 868641 w 4610101"/>
              <a:gd name="connsiteY17369" fmla="*/ 1176691 h 6557032"/>
              <a:gd name="connsiteX17370" fmla="*/ 479232 w 4610101"/>
              <a:gd name="connsiteY17370" fmla="*/ 1167044 h 6557032"/>
              <a:gd name="connsiteX17371" fmla="*/ 490165 w 4610101"/>
              <a:gd name="connsiteY17371" fmla="*/ 1168866 h 6557032"/>
              <a:gd name="connsiteX17372" fmla="*/ 479232 w 4610101"/>
              <a:gd name="connsiteY17372" fmla="*/ 1167044 h 6557032"/>
              <a:gd name="connsiteX17373" fmla="*/ 200439 w 4610101"/>
              <a:gd name="connsiteY17373" fmla="*/ 1167044 h 6557032"/>
              <a:gd name="connsiteX17374" fmla="*/ 211372 w 4610101"/>
              <a:gd name="connsiteY17374" fmla="*/ 1174332 h 6557032"/>
              <a:gd name="connsiteX17375" fmla="*/ 204084 w 4610101"/>
              <a:gd name="connsiteY17375" fmla="*/ 1167044 h 6557032"/>
              <a:gd name="connsiteX17376" fmla="*/ 200439 w 4610101"/>
              <a:gd name="connsiteY17376" fmla="*/ 1167044 h 6557032"/>
              <a:gd name="connsiteX17377" fmla="*/ 2922347 w 4610101"/>
              <a:gd name="connsiteY17377" fmla="*/ 1166278 h 6557032"/>
              <a:gd name="connsiteX17378" fmla="*/ 2924590 w 4610101"/>
              <a:gd name="connsiteY17378" fmla="*/ 1168866 h 6557032"/>
              <a:gd name="connsiteX17379" fmla="*/ 2920703 w 4610101"/>
              <a:gd name="connsiteY17379" fmla="*/ 1166491 h 6557032"/>
              <a:gd name="connsiteX17380" fmla="*/ 4185533 w 4610101"/>
              <a:gd name="connsiteY17380" fmla="*/ 1165311 h 6557032"/>
              <a:gd name="connsiteX17381" fmla="*/ 4201933 w 4610101"/>
              <a:gd name="connsiteY17381" fmla="*/ 1179889 h 6557032"/>
              <a:gd name="connsiteX17382" fmla="*/ 4185533 w 4610101"/>
              <a:gd name="connsiteY17382" fmla="*/ 1188999 h 6557032"/>
              <a:gd name="connsiteX17383" fmla="*/ 2026468 w 4610101"/>
              <a:gd name="connsiteY17383" fmla="*/ 1165264 h 6557032"/>
              <a:gd name="connsiteX17384" fmla="*/ 2034802 w 4610101"/>
              <a:gd name="connsiteY17384" fmla="*/ 1166930 h 6557032"/>
              <a:gd name="connsiteX17385" fmla="*/ 2034427 w 4610101"/>
              <a:gd name="connsiteY17385" fmla="*/ 1168600 h 6557032"/>
              <a:gd name="connsiteX17386" fmla="*/ 2032595 w 4610101"/>
              <a:gd name="connsiteY17386" fmla="*/ 1171620 h 6557032"/>
              <a:gd name="connsiteX17387" fmla="*/ 2026486 w 4610101"/>
              <a:gd name="connsiteY17387" fmla="*/ 1165905 h 6557032"/>
              <a:gd name="connsiteX17388" fmla="*/ 3329112 w 4610101"/>
              <a:gd name="connsiteY17388" fmla="*/ 1165222 h 6557032"/>
              <a:gd name="connsiteX17389" fmla="*/ 3329112 w 4610101"/>
              <a:gd name="connsiteY17389" fmla="*/ 1165677 h 6557032"/>
              <a:gd name="connsiteX17390" fmla="*/ 3327290 w 4610101"/>
              <a:gd name="connsiteY17390" fmla="*/ 1167044 h 6557032"/>
              <a:gd name="connsiteX17391" fmla="*/ 2913656 w 4610101"/>
              <a:gd name="connsiteY17391" fmla="*/ 1165222 h 6557032"/>
              <a:gd name="connsiteX17392" fmla="*/ 2920490 w 4610101"/>
              <a:gd name="connsiteY17392" fmla="*/ 1166360 h 6557032"/>
              <a:gd name="connsiteX17393" fmla="*/ 2920703 w 4610101"/>
              <a:gd name="connsiteY17393" fmla="*/ 1166491 h 6557032"/>
              <a:gd name="connsiteX17394" fmla="*/ 2914881 w 4610101"/>
              <a:gd name="connsiteY17394" fmla="*/ 1167243 h 6557032"/>
              <a:gd name="connsiteX17395" fmla="*/ 2914365 w 4610101"/>
              <a:gd name="connsiteY17395" fmla="*/ 1167412 h 6557032"/>
              <a:gd name="connsiteX17396" fmla="*/ 2478157 w 4610101"/>
              <a:gd name="connsiteY17396" fmla="*/ 1165222 h 6557032"/>
              <a:gd name="connsiteX17397" fmla="*/ 2483624 w 4610101"/>
              <a:gd name="connsiteY17397" fmla="*/ 1188910 h 6557032"/>
              <a:gd name="connsiteX17398" fmla="*/ 2478157 w 4610101"/>
              <a:gd name="connsiteY17398" fmla="*/ 1203487 h 6557032"/>
              <a:gd name="connsiteX17399" fmla="*/ 2474513 w 4610101"/>
              <a:gd name="connsiteY17399" fmla="*/ 1201665 h 6557032"/>
              <a:gd name="connsiteX17400" fmla="*/ 2469046 w 4610101"/>
              <a:gd name="connsiteY17400" fmla="*/ 1227175 h 6557032"/>
              <a:gd name="connsiteX17401" fmla="*/ 2465402 w 4610101"/>
              <a:gd name="connsiteY17401" fmla="*/ 1214420 h 6557032"/>
              <a:gd name="connsiteX17402" fmla="*/ 2463580 w 4610101"/>
              <a:gd name="connsiteY17402" fmla="*/ 1219887 h 6557032"/>
              <a:gd name="connsiteX17403" fmla="*/ 2458113 w 4610101"/>
              <a:gd name="connsiteY17403" fmla="*/ 1214420 h 6557032"/>
              <a:gd name="connsiteX17404" fmla="*/ 2458113 w 4610101"/>
              <a:gd name="connsiteY17404" fmla="*/ 1236286 h 6557032"/>
              <a:gd name="connsiteX17405" fmla="*/ 2465402 w 4610101"/>
              <a:gd name="connsiteY17405" fmla="*/ 1241753 h 6557032"/>
              <a:gd name="connsiteX17406" fmla="*/ 2450824 w 4610101"/>
              <a:gd name="connsiteY17406" fmla="*/ 1243575 h 6557032"/>
              <a:gd name="connsiteX17407" fmla="*/ 2474513 w 4610101"/>
              <a:gd name="connsiteY17407" fmla="*/ 1259975 h 6557032"/>
              <a:gd name="connsiteX17408" fmla="*/ 2477505 w 4610101"/>
              <a:gd name="connsiteY17408" fmla="*/ 1267453 h 6557032"/>
              <a:gd name="connsiteX17409" fmla="*/ 2477018 w 4610101"/>
              <a:gd name="connsiteY17409" fmla="*/ 1267491 h 6557032"/>
              <a:gd name="connsiteX17410" fmla="*/ 2472690 w 4610101"/>
              <a:gd name="connsiteY17410" fmla="*/ 1269085 h 6557032"/>
              <a:gd name="connsiteX17411" fmla="*/ 2470868 w 4610101"/>
              <a:gd name="connsiteY17411" fmla="*/ 1270908 h 6557032"/>
              <a:gd name="connsiteX17412" fmla="*/ 2481801 w 4610101"/>
              <a:gd name="connsiteY17412" fmla="*/ 1269085 h 6557032"/>
              <a:gd name="connsiteX17413" fmla="*/ 2479979 w 4610101"/>
              <a:gd name="connsiteY17413" fmla="*/ 1267263 h 6557032"/>
              <a:gd name="connsiteX17414" fmla="*/ 2477611 w 4610101"/>
              <a:gd name="connsiteY17414" fmla="*/ 1267445 h 6557032"/>
              <a:gd name="connsiteX17415" fmla="*/ 2472690 w 4610101"/>
              <a:gd name="connsiteY17415" fmla="*/ 1252686 h 6557032"/>
              <a:gd name="connsiteX17416" fmla="*/ 2478157 w 4610101"/>
              <a:gd name="connsiteY17416" fmla="*/ 1245397 h 6557032"/>
              <a:gd name="connsiteX17417" fmla="*/ 2509134 w 4610101"/>
              <a:gd name="connsiteY17417" fmla="*/ 1250864 h 6557032"/>
              <a:gd name="connsiteX17418" fmla="*/ 2490912 w 4610101"/>
              <a:gd name="connsiteY17418" fmla="*/ 1272730 h 6557032"/>
              <a:gd name="connsiteX17419" fmla="*/ 2489090 w 4610101"/>
              <a:gd name="connsiteY17419" fmla="*/ 1281841 h 6557032"/>
              <a:gd name="connsiteX17420" fmla="*/ 2487268 w 4610101"/>
              <a:gd name="connsiteY17420" fmla="*/ 1281841 h 6557032"/>
              <a:gd name="connsiteX17421" fmla="*/ 2503667 w 4610101"/>
              <a:gd name="connsiteY17421" fmla="*/ 1301885 h 6557032"/>
              <a:gd name="connsiteX17422" fmla="*/ 2494556 w 4610101"/>
              <a:gd name="connsiteY17422" fmla="*/ 1280018 h 6557032"/>
              <a:gd name="connsiteX17423" fmla="*/ 2525534 w 4610101"/>
              <a:gd name="connsiteY17423" fmla="*/ 1280018 h 6557032"/>
              <a:gd name="connsiteX17424" fmla="*/ 2525534 w 4610101"/>
              <a:gd name="connsiteY17424" fmla="*/ 1301885 h 6557032"/>
              <a:gd name="connsiteX17425" fmla="*/ 2554688 w 4610101"/>
              <a:gd name="connsiteY17425" fmla="*/ 1314640 h 6557032"/>
              <a:gd name="connsiteX17426" fmla="*/ 2563799 w 4610101"/>
              <a:gd name="connsiteY17426" fmla="*/ 1307351 h 6557032"/>
              <a:gd name="connsiteX17427" fmla="*/ 2561977 w 4610101"/>
              <a:gd name="connsiteY17427" fmla="*/ 1303707 h 6557032"/>
              <a:gd name="connsiteX17428" fmla="*/ 2578377 w 4610101"/>
              <a:gd name="connsiteY17428" fmla="*/ 1294596 h 6557032"/>
              <a:gd name="connsiteX17429" fmla="*/ 2585665 w 4610101"/>
              <a:gd name="connsiteY17429" fmla="*/ 1292774 h 6557032"/>
              <a:gd name="connsiteX17430" fmla="*/ 2582021 w 4610101"/>
              <a:gd name="connsiteY17430" fmla="*/ 1285485 h 6557032"/>
              <a:gd name="connsiteX17431" fmla="*/ 2576429 w 4610101"/>
              <a:gd name="connsiteY17431" fmla="*/ 1285485 h 6557032"/>
              <a:gd name="connsiteX17432" fmla="*/ 2576555 w 4610101"/>
              <a:gd name="connsiteY17432" fmla="*/ 1285612 h 6557032"/>
              <a:gd name="connsiteX17433" fmla="*/ 2554689 w 4610101"/>
              <a:gd name="connsiteY17433" fmla="*/ 1292900 h 6557032"/>
              <a:gd name="connsiteX17434" fmla="*/ 2532823 w 4610101"/>
              <a:gd name="connsiteY17434" fmla="*/ 1278323 h 6557032"/>
              <a:gd name="connsiteX17435" fmla="*/ 2556512 w 4610101"/>
              <a:gd name="connsiteY17435" fmla="*/ 1281967 h 6557032"/>
              <a:gd name="connsiteX17436" fmla="*/ 2569267 w 4610101"/>
              <a:gd name="connsiteY17436" fmla="*/ 1278323 h 6557032"/>
              <a:gd name="connsiteX17437" fmla="*/ 2575298 w 4610101"/>
              <a:gd name="connsiteY17437" fmla="*/ 1284354 h 6557032"/>
              <a:gd name="connsiteX17438" fmla="*/ 2582021 w 4610101"/>
              <a:gd name="connsiteY17438" fmla="*/ 1270908 h 6557032"/>
              <a:gd name="connsiteX17439" fmla="*/ 2594776 w 4610101"/>
              <a:gd name="connsiteY17439" fmla="*/ 1272730 h 6557032"/>
              <a:gd name="connsiteX17440" fmla="*/ 2596598 w 4610101"/>
              <a:gd name="connsiteY17440" fmla="*/ 1270908 h 6557032"/>
              <a:gd name="connsiteX17441" fmla="*/ 2585665 w 4610101"/>
              <a:gd name="connsiteY17441" fmla="*/ 1250864 h 6557032"/>
              <a:gd name="connsiteX17442" fmla="*/ 2572910 w 4610101"/>
              <a:gd name="connsiteY17442" fmla="*/ 1234464 h 6557032"/>
              <a:gd name="connsiteX17443" fmla="*/ 2543755 w 4610101"/>
              <a:gd name="connsiteY17443" fmla="*/ 1201665 h 6557032"/>
              <a:gd name="connsiteX17444" fmla="*/ 2525534 w 4610101"/>
              <a:gd name="connsiteY17444" fmla="*/ 1185266 h 6557032"/>
              <a:gd name="connsiteX17445" fmla="*/ 2496379 w 4610101"/>
              <a:gd name="connsiteY17445" fmla="*/ 1168866 h 6557032"/>
              <a:gd name="connsiteX17446" fmla="*/ 2494556 w 4610101"/>
              <a:gd name="connsiteY17446" fmla="*/ 1176155 h 6557032"/>
              <a:gd name="connsiteX17447" fmla="*/ 2478157 w 4610101"/>
              <a:gd name="connsiteY17447" fmla="*/ 1165222 h 6557032"/>
              <a:gd name="connsiteX17448" fmla="*/ 2252207 w 4610101"/>
              <a:gd name="connsiteY17448" fmla="*/ 1165222 h 6557032"/>
              <a:gd name="connsiteX17449" fmla="*/ 2235808 w 4610101"/>
              <a:gd name="connsiteY17449" fmla="*/ 1201665 h 6557032"/>
              <a:gd name="connsiteX17450" fmla="*/ 2232163 w 4610101"/>
              <a:gd name="connsiteY17450" fmla="*/ 1187088 h 6557032"/>
              <a:gd name="connsiteX17451" fmla="*/ 2237630 w 4610101"/>
              <a:gd name="connsiteY17451" fmla="*/ 1223531 h 6557032"/>
              <a:gd name="connsiteX17452" fmla="*/ 2246741 w 4610101"/>
              <a:gd name="connsiteY17452" fmla="*/ 1212598 h 6557032"/>
              <a:gd name="connsiteX17453" fmla="*/ 2250385 w 4610101"/>
              <a:gd name="connsiteY17453" fmla="*/ 1203487 h 6557032"/>
              <a:gd name="connsiteX17454" fmla="*/ 2245830 w 4610101"/>
              <a:gd name="connsiteY17454" fmla="*/ 1190960 h 6557032"/>
              <a:gd name="connsiteX17455" fmla="*/ 2250882 w 4610101"/>
              <a:gd name="connsiteY17455" fmla="*/ 1182118 h 6557032"/>
              <a:gd name="connsiteX17456" fmla="*/ 2252207 w 4610101"/>
              <a:gd name="connsiteY17456" fmla="*/ 1179799 h 6557032"/>
              <a:gd name="connsiteX17457" fmla="*/ 2248563 w 4610101"/>
              <a:gd name="connsiteY17457" fmla="*/ 1174332 h 6557032"/>
              <a:gd name="connsiteX17458" fmla="*/ 2250385 w 4610101"/>
              <a:gd name="connsiteY17458" fmla="*/ 1174332 h 6557032"/>
              <a:gd name="connsiteX17459" fmla="*/ 2252207 w 4610101"/>
              <a:gd name="connsiteY17459" fmla="*/ 1165222 h 6557032"/>
              <a:gd name="connsiteX17460" fmla="*/ 2203009 w 4610101"/>
              <a:gd name="connsiteY17460" fmla="*/ 1165222 h 6557032"/>
              <a:gd name="connsiteX17461" fmla="*/ 2197542 w 4610101"/>
              <a:gd name="connsiteY17461" fmla="*/ 1168866 h 6557032"/>
              <a:gd name="connsiteX17462" fmla="*/ 2201187 w 4610101"/>
              <a:gd name="connsiteY17462" fmla="*/ 1170688 h 6557032"/>
              <a:gd name="connsiteX17463" fmla="*/ 2203009 w 4610101"/>
              <a:gd name="connsiteY17463" fmla="*/ 1165222 h 6557032"/>
              <a:gd name="connsiteX17464" fmla="*/ 1053217 w 4610101"/>
              <a:gd name="connsiteY17464" fmla="*/ 1165222 h 6557032"/>
              <a:gd name="connsiteX17465" fmla="*/ 1058683 w 4610101"/>
              <a:gd name="connsiteY17465" fmla="*/ 1170688 h 6557032"/>
              <a:gd name="connsiteX17466" fmla="*/ 1053217 w 4610101"/>
              <a:gd name="connsiteY17466" fmla="*/ 1165222 h 6557032"/>
              <a:gd name="connsiteX17467" fmla="*/ 781713 w 4610101"/>
              <a:gd name="connsiteY17467" fmla="*/ 1165222 h 6557032"/>
              <a:gd name="connsiteX17468" fmla="*/ 785357 w 4610101"/>
              <a:gd name="connsiteY17468" fmla="*/ 1172510 h 6557032"/>
              <a:gd name="connsiteX17469" fmla="*/ 781713 w 4610101"/>
              <a:gd name="connsiteY17469" fmla="*/ 1165222 h 6557032"/>
              <a:gd name="connsiteX17470" fmla="*/ 717937 w 4610101"/>
              <a:gd name="connsiteY17470" fmla="*/ 1165222 h 6557032"/>
              <a:gd name="connsiteX17471" fmla="*/ 721581 w 4610101"/>
              <a:gd name="connsiteY17471" fmla="*/ 1172510 h 6557032"/>
              <a:gd name="connsiteX17472" fmla="*/ 717937 w 4610101"/>
              <a:gd name="connsiteY17472" fmla="*/ 1165222 h 6557032"/>
              <a:gd name="connsiteX17473" fmla="*/ 686960 w 4610101"/>
              <a:gd name="connsiteY17473" fmla="*/ 1165222 h 6557032"/>
              <a:gd name="connsiteX17474" fmla="*/ 685138 w 4610101"/>
              <a:gd name="connsiteY17474" fmla="*/ 1168866 h 6557032"/>
              <a:gd name="connsiteX17475" fmla="*/ 688782 w 4610101"/>
              <a:gd name="connsiteY17475" fmla="*/ 1168866 h 6557032"/>
              <a:gd name="connsiteX17476" fmla="*/ 686960 w 4610101"/>
              <a:gd name="connsiteY17476" fmla="*/ 1165222 h 6557032"/>
              <a:gd name="connsiteX17477" fmla="*/ 428211 w 4610101"/>
              <a:gd name="connsiteY17477" fmla="*/ 1165222 h 6557032"/>
              <a:gd name="connsiteX17478" fmla="*/ 426389 w 4610101"/>
              <a:gd name="connsiteY17478" fmla="*/ 1167044 h 6557032"/>
              <a:gd name="connsiteX17479" fmla="*/ 433678 w 4610101"/>
              <a:gd name="connsiteY17479" fmla="*/ 1168866 h 6557032"/>
              <a:gd name="connsiteX17480" fmla="*/ 428211 w 4610101"/>
              <a:gd name="connsiteY17480" fmla="*/ 1165222 h 6557032"/>
              <a:gd name="connsiteX17481" fmla="*/ 3017749 w 4610101"/>
              <a:gd name="connsiteY17481" fmla="*/ 1164310 h 6557032"/>
              <a:gd name="connsiteX17482" fmla="*/ 3015698 w 4610101"/>
              <a:gd name="connsiteY17482" fmla="*/ 1167044 h 6557032"/>
              <a:gd name="connsiteX17483" fmla="*/ 3021165 w 4610101"/>
              <a:gd name="connsiteY17483" fmla="*/ 1167044 h 6557032"/>
              <a:gd name="connsiteX17484" fmla="*/ 3017749 w 4610101"/>
              <a:gd name="connsiteY17484" fmla="*/ 1164310 h 6557032"/>
              <a:gd name="connsiteX17485" fmla="*/ 3044853 w 4610101"/>
              <a:gd name="connsiteY17485" fmla="*/ 1163399 h 6557032"/>
              <a:gd name="connsiteX17486" fmla="*/ 3039387 w 4610101"/>
              <a:gd name="connsiteY17486" fmla="*/ 1168866 h 6557032"/>
              <a:gd name="connsiteX17487" fmla="*/ 3044853 w 4610101"/>
              <a:gd name="connsiteY17487" fmla="*/ 1163399 h 6557032"/>
              <a:gd name="connsiteX17488" fmla="*/ 1457739 w 4610101"/>
              <a:gd name="connsiteY17488" fmla="*/ 1163399 h 6557032"/>
              <a:gd name="connsiteX17489" fmla="*/ 1458422 w 4610101"/>
              <a:gd name="connsiteY17489" fmla="*/ 1170916 h 6557032"/>
              <a:gd name="connsiteX17490" fmla="*/ 1458367 w 4610101"/>
              <a:gd name="connsiteY17490" fmla="*/ 1172517 h 6557032"/>
              <a:gd name="connsiteX17491" fmla="*/ 1457968 w 4610101"/>
              <a:gd name="connsiteY17491" fmla="*/ 1170688 h 6557032"/>
              <a:gd name="connsiteX17492" fmla="*/ 1457739 w 4610101"/>
              <a:gd name="connsiteY17492" fmla="*/ 1163399 h 6557032"/>
              <a:gd name="connsiteX17493" fmla="*/ 1044106 w 4610101"/>
              <a:gd name="connsiteY17493" fmla="*/ 1163399 h 6557032"/>
              <a:gd name="connsiteX17494" fmla="*/ 1047750 w 4610101"/>
              <a:gd name="connsiteY17494" fmla="*/ 1167044 h 6557032"/>
              <a:gd name="connsiteX17495" fmla="*/ 1049573 w 4610101"/>
              <a:gd name="connsiteY17495" fmla="*/ 1165222 h 6557032"/>
              <a:gd name="connsiteX17496" fmla="*/ 1044106 w 4610101"/>
              <a:gd name="connsiteY17496" fmla="*/ 1163399 h 6557032"/>
              <a:gd name="connsiteX17497" fmla="*/ 1033173 w 4610101"/>
              <a:gd name="connsiteY17497" fmla="*/ 1163399 h 6557032"/>
              <a:gd name="connsiteX17498" fmla="*/ 1042284 w 4610101"/>
              <a:gd name="connsiteY17498" fmla="*/ 1174332 h 6557032"/>
              <a:gd name="connsiteX17499" fmla="*/ 1033173 w 4610101"/>
              <a:gd name="connsiteY17499" fmla="*/ 1163399 h 6557032"/>
              <a:gd name="connsiteX17500" fmla="*/ 805401 w 4610101"/>
              <a:gd name="connsiteY17500" fmla="*/ 1163399 h 6557032"/>
              <a:gd name="connsiteX17501" fmla="*/ 818156 w 4610101"/>
              <a:gd name="connsiteY17501" fmla="*/ 1172510 h 6557032"/>
              <a:gd name="connsiteX17502" fmla="*/ 809046 w 4610101"/>
              <a:gd name="connsiteY17502" fmla="*/ 1170688 h 6557032"/>
              <a:gd name="connsiteX17503" fmla="*/ 812690 w 4610101"/>
              <a:gd name="connsiteY17503" fmla="*/ 1168866 h 6557032"/>
              <a:gd name="connsiteX17504" fmla="*/ 805401 w 4610101"/>
              <a:gd name="connsiteY17504" fmla="*/ 1163399 h 6557032"/>
              <a:gd name="connsiteX17505" fmla="*/ 798112 w 4610101"/>
              <a:gd name="connsiteY17505" fmla="*/ 1163399 h 6557032"/>
              <a:gd name="connsiteX17506" fmla="*/ 801757 w 4610101"/>
              <a:gd name="connsiteY17506" fmla="*/ 1187088 h 6557032"/>
              <a:gd name="connsiteX17507" fmla="*/ 799935 w 4610101"/>
              <a:gd name="connsiteY17507" fmla="*/ 1183443 h 6557032"/>
              <a:gd name="connsiteX17508" fmla="*/ 807223 w 4610101"/>
              <a:gd name="connsiteY17508" fmla="*/ 1187088 h 6557032"/>
              <a:gd name="connsiteX17509" fmla="*/ 799935 w 4610101"/>
              <a:gd name="connsiteY17509" fmla="*/ 1168866 h 6557032"/>
              <a:gd name="connsiteX17510" fmla="*/ 798112 w 4610101"/>
              <a:gd name="connsiteY17510" fmla="*/ 1163399 h 6557032"/>
              <a:gd name="connsiteX17511" fmla="*/ 533897 w 4610101"/>
              <a:gd name="connsiteY17511" fmla="*/ 1163399 h 6557032"/>
              <a:gd name="connsiteX17512" fmla="*/ 530253 w 4610101"/>
              <a:gd name="connsiteY17512" fmla="*/ 1167044 h 6557032"/>
              <a:gd name="connsiteX17513" fmla="*/ 548475 w 4610101"/>
              <a:gd name="connsiteY17513" fmla="*/ 1174332 h 6557032"/>
              <a:gd name="connsiteX17514" fmla="*/ 533897 w 4610101"/>
              <a:gd name="connsiteY17514" fmla="*/ 1163399 h 6557032"/>
              <a:gd name="connsiteX17515" fmla="*/ 404523 w 4610101"/>
              <a:gd name="connsiteY17515" fmla="*/ 1163399 h 6557032"/>
              <a:gd name="connsiteX17516" fmla="*/ 399056 w 4610101"/>
              <a:gd name="connsiteY17516" fmla="*/ 1165222 h 6557032"/>
              <a:gd name="connsiteX17517" fmla="*/ 409989 w 4610101"/>
              <a:gd name="connsiteY17517" fmla="*/ 1167044 h 6557032"/>
              <a:gd name="connsiteX17518" fmla="*/ 404523 w 4610101"/>
              <a:gd name="connsiteY17518" fmla="*/ 1163399 h 6557032"/>
              <a:gd name="connsiteX17519" fmla="*/ 879745 w 4610101"/>
              <a:gd name="connsiteY17519" fmla="*/ 1163034 h 6557032"/>
              <a:gd name="connsiteX17520" fmla="*/ 880111 w 4610101"/>
              <a:gd name="connsiteY17520" fmla="*/ 1165222 h 6557032"/>
              <a:gd name="connsiteX17521" fmla="*/ 879630 w 4610101"/>
              <a:gd name="connsiteY17521" fmla="*/ 1163495 h 6557032"/>
              <a:gd name="connsiteX17522" fmla="*/ 2095443 w 4610101"/>
              <a:gd name="connsiteY17522" fmla="*/ 1162529 h 6557032"/>
              <a:gd name="connsiteX17523" fmla="*/ 2091855 w 4610101"/>
              <a:gd name="connsiteY17523" fmla="*/ 1163549 h 6557032"/>
              <a:gd name="connsiteX17524" fmla="*/ 2095443 w 4610101"/>
              <a:gd name="connsiteY17524" fmla="*/ 1162529 h 6557032"/>
              <a:gd name="connsiteX17525" fmla="*/ 879980 w 4610101"/>
              <a:gd name="connsiteY17525" fmla="*/ 1162098 h 6557032"/>
              <a:gd name="connsiteX17526" fmla="*/ 879745 w 4610101"/>
              <a:gd name="connsiteY17526" fmla="*/ 1163034 h 6557032"/>
              <a:gd name="connsiteX17527" fmla="*/ 879655 w 4610101"/>
              <a:gd name="connsiteY17527" fmla="*/ 1162488 h 6557032"/>
              <a:gd name="connsiteX17528" fmla="*/ 2766060 w 4610101"/>
              <a:gd name="connsiteY17528" fmla="*/ 1161577 h 6557032"/>
              <a:gd name="connsiteX17529" fmla="*/ 2760594 w 4610101"/>
              <a:gd name="connsiteY17529" fmla="*/ 1163399 h 6557032"/>
              <a:gd name="connsiteX17530" fmla="*/ 2762416 w 4610101"/>
              <a:gd name="connsiteY17530" fmla="*/ 1170688 h 6557032"/>
              <a:gd name="connsiteX17531" fmla="*/ 2766060 w 4610101"/>
              <a:gd name="connsiteY17531" fmla="*/ 1161577 h 6557032"/>
              <a:gd name="connsiteX17532" fmla="*/ 1273700 w 4610101"/>
              <a:gd name="connsiteY17532" fmla="*/ 1161577 h 6557032"/>
              <a:gd name="connsiteX17533" fmla="*/ 1279166 w 4610101"/>
              <a:gd name="connsiteY17533" fmla="*/ 1179799 h 6557032"/>
              <a:gd name="connsiteX17534" fmla="*/ 1290100 w 4610101"/>
              <a:gd name="connsiteY17534" fmla="*/ 1170688 h 6557032"/>
              <a:gd name="connsiteX17535" fmla="*/ 1279166 w 4610101"/>
              <a:gd name="connsiteY17535" fmla="*/ 1181621 h 6557032"/>
              <a:gd name="connsiteX17536" fmla="*/ 1273700 w 4610101"/>
              <a:gd name="connsiteY17536" fmla="*/ 1161577 h 6557032"/>
              <a:gd name="connsiteX17537" fmla="*/ 1166192 w 4610101"/>
              <a:gd name="connsiteY17537" fmla="*/ 1161577 h 6557032"/>
              <a:gd name="connsiteX17538" fmla="*/ 1162547 w 4610101"/>
              <a:gd name="connsiteY17538" fmla="*/ 1167044 h 6557032"/>
              <a:gd name="connsiteX17539" fmla="*/ 1166192 w 4610101"/>
              <a:gd name="connsiteY17539" fmla="*/ 1167044 h 6557032"/>
              <a:gd name="connsiteX17540" fmla="*/ 1160725 w 4610101"/>
              <a:gd name="connsiteY17540" fmla="*/ 1176155 h 6557032"/>
              <a:gd name="connsiteX17541" fmla="*/ 1169836 w 4610101"/>
              <a:gd name="connsiteY17541" fmla="*/ 1177977 h 6557032"/>
              <a:gd name="connsiteX17542" fmla="*/ 1173481 w 4610101"/>
              <a:gd name="connsiteY17542" fmla="*/ 1176155 h 6557032"/>
              <a:gd name="connsiteX17543" fmla="*/ 1166192 w 4610101"/>
              <a:gd name="connsiteY17543" fmla="*/ 1161577 h 6557032"/>
              <a:gd name="connsiteX17544" fmla="*/ 1144326 w 4610101"/>
              <a:gd name="connsiteY17544" fmla="*/ 1161577 h 6557032"/>
              <a:gd name="connsiteX17545" fmla="*/ 1144326 w 4610101"/>
              <a:gd name="connsiteY17545" fmla="*/ 1165222 h 6557032"/>
              <a:gd name="connsiteX17546" fmla="*/ 1146148 w 4610101"/>
              <a:gd name="connsiteY17546" fmla="*/ 1167044 h 6557032"/>
              <a:gd name="connsiteX17547" fmla="*/ 1147970 w 4610101"/>
              <a:gd name="connsiteY17547" fmla="*/ 1161577 h 6557032"/>
              <a:gd name="connsiteX17548" fmla="*/ 1144326 w 4610101"/>
              <a:gd name="connsiteY17548" fmla="*/ 1161577 h 6557032"/>
              <a:gd name="connsiteX17549" fmla="*/ 901976 w 4610101"/>
              <a:gd name="connsiteY17549" fmla="*/ 1161577 h 6557032"/>
              <a:gd name="connsiteX17550" fmla="*/ 907444 w 4610101"/>
              <a:gd name="connsiteY17550" fmla="*/ 1174332 h 6557032"/>
              <a:gd name="connsiteX17551" fmla="*/ 901976 w 4610101"/>
              <a:gd name="connsiteY17551" fmla="*/ 1161577 h 6557032"/>
              <a:gd name="connsiteX17552" fmla="*/ 880111 w 4610101"/>
              <a:gd name="connsiteY17552" fmla="*/ 1161577 h 6557032"/>
              <a:gd name="connsiteX17553" fmla="*/ 880276 w 4610101"/>
              <a:gd name="connsiteY17553" fmla="*/ 1161743 h 6557032"/>
              <a:gd name="connsiteX17554" fmla="*/ 879980 w 4610101"/>
              <a:gd name="connsiteY17554" fmla="*/ 1162098 h 6557032"/>
              <a:gd name="connsiteX17555" fmla="*/ 834556 w 4610101"/>
              <a:gd name="connsiteY17555" fmla="*/ 1161577 h 6557032"/>
              <a:gd name="connsiteX17556" fmla="*/ 840022 w 4610101"/>
              <a:gd name="connsiteY17556" fmla="*/ 1187088 h 6557032"/>
              <a:gd name="connsiteX17557" fmla="*/ 834556 w 4610101"/>
              <a:gd name="connsiteY17557" fmla="*/ 1161577 h 6557032"/>
              <a:gd name="connsiteX17558" fmla="*/ 814512 w 4610101"/>
              <a:gd name="connsiteY17558" fmla="*/ 1161577 h 6557032"/>
              <a:gd name="connsiteX17559" fmla="*/ 816334 w 4610101"/>
              <a:gd name="connsiteY17559" fmla="*/ 1167044 h 6557032"/>
              <a:gd name="connsiteX17560" fmla="*/ 818156 w 4610101"/>
              <a:gd name="connsiteY17560" fmla="*/ 1165222 h 6557032"/>
              <a:gd name="connsiteX17561" fmla="*/ 814512 w 4610101"/>
              <a:gd name="connsiteY17561" fmla="*/ 1161577 h 6557032"/>
              <a:gd name="connsiteX17562" fmla="*/ 790824 w 4610101"/>
              <a:gd name="connsiteY17562" fmla="*/ 1161577 h 6557032"/>
              <a:gd name="connsiteX17563" fmla="*/ 792646 w 4610101"/>
              <a:gd name="connsiteY17563" fmla="*/ 1172510 h 6557032"/>
              <a:gd name="connsiteX17564" fmla="*/ 796290 w 4610101"/>
              <a:gd name="connsiteY17564" fmla="*/ 1163399 h 6557032"/>
              <a:gd name="connsiteX17565" fmla="*/ 790824 w 4610101"/>
              <a:gd name="connsiteY17565" fmla="*/ 1161577 h 6557032"/>
              <a:gd name="connsiteX17566" fmla="*/ 697893 w 4610101"/>
              <a:gd name="connsiteY17566" fmla="*/ 1161577 h 6557032"/>
              <a:gd name="connsiteX17567" fmla="*/ 697893 w 4610101"/>
              <a:gd name="connsiteY17567" fmla="*/ 1167044 h 6557032"/>
              <a:gd name="connsiteX17568" fmla="*/ 701537 w 4610101"/>
              <a:gd name="connsiteY17568" fmla="*/ 1165222 h 6557032"/>
              <a:gd name="connsiteX17569" fmla="*/ 697893 w 4610101"/>
              <a:gd name="connsiteY17569" fmla="*/ 1161577 h 6557032"/>
              <a:gd name="connsiteX17570" fmla="*/ 435500 w 4610101"/>
              <a:gd name="connsiteY17570" fmla="*/ 1161577 h 6557032"/>
              <a:gd name="connsiteX17571" fmla="*/ 428211 w 4610101"/>
              <a:gd name="connsiteY17571" fmla="*/ 1163399 h 6557032"/>
              <a:gd name="connsiteX17572" fmla="*/ 435500 w 4610101"/>
              <a:gd name="connsiteY17572" fmla="*/ 1161577 h 6557032"/>
              <a:gd name="connsiteX17573" fmla="*/ 240527 w 4610101"/>
              <a:gd name="connsiteY17573" fmla="*/ 1161577 h 6557032"/>
              <a:gd name="connsiteX17574" fmla="*/ 247816 w 4610101"/>
              <a:gd name="connsiteY17574" fmla="*/ 1165222 h 6557032"/>
              <a:gd name="connsiteX17575" fmla="*/ 240527 w 4610101"/>
              <a:gd name="connsiteY17575" fmla="*/ 1161577 h 6557032"/>
              <a:gd name="connsiteX17576" fmla="*/ 2943961 w 4610101"/>
              <a:gd name="connsiteY17576" fmla="*/ 1161381 h 6557032"/>
              <a:gd name="connsiteX17577" fmla="*/ 2944634 w 4610101"/>
              <a:gd name="connsiteY17577" fmla="*/ 1163399 h 6557032"/>
              <a:gd name="connsiteX17578" fmla="*/ 2922347 w 4610101"/>
              <a:gd name="connsiteY17578" fmla="*/ 1166278 h 6557032"/>
              <a:gd name="connsiteX17579" fmla="*/ 2921629 w 4610101"/>
              <a:gd name="connsiteY17579" fmla="*/ 1165450 h 6557032"/>
              <a:gd name="connsiteX17580" fmla="*/ 2922767 w 4610101"/>
              <a:gd name="connsiteY17580" fmla="*/ 1163399 h 6557032"/>
              <a:gd name="connsiteX17581" fmla="*/ 3039614 w 4610101"/>
              <a:gd name="connsiteY17581" fmla="*/ 1160666 h 6557032"/>
              <a:gd name="connsiteX17582" fmla="*/ 3037564 w 4610101"/>
              <a:gd name="connsiteY17582" fmla="*/ 1165222 h 6557032"/>
              <a:gd name="connsiteX17583" fmla="*/ 3043031 w 4610101"/>
              <a:gd name="connsiteY17583" fmla="*/ 1161577 h 6557032"/>
              <a:gd name="connsiteX17584" fmla="*/ 3039614 w 4610101"/>
              <a:gd name="connsiteY17584" fmla="*/ 1160666 h 6557032"/>
              <a:gd name="connsiteX17585" fmla="*/ 2590221 w 4610101"/>
              <a:gd name="connsiteY17585" fmla="*/ 1160666 h 6557032"/>
              <a:gd name="connsiteX17586" fmla="*/ 2585665 w 4610101"/>
              <a:gd name="connsiteY17586" fmla="*/ 1163399 h 6557032"/>
              <a:gd name="connsiteX17587" fmla="*/ 2594776 w 4610101"/>
              <a:gd name="connsiteY17587" fmla="*/ 1163399 h 6557032"/>
              <a:gd name="connsiteX17588" fmla="*/ 2590221 w 4610101"/>
              <a:gd name="connsiteY17588" fmla="*/ 1160666 h 6557032"/>
              <a:gd name="connsiteX17589" fmla="*/ 2334205 w 4610101"/>
              <a:gd name="connsiteY17589" fmla="*/ 1159755 h 6557032"/>
              <a:gd name="connsiteX17590" fmla="*/ 2308695 w 4610101"/>
              <a:gd name="connsiteY17590" fmla="*/ 1179799 h 6557032"/>
              <a:gd name="connsiteX17591" fmla="*/ 2314161 w 4610101"/>
              <a:gd name="connsiteY17591" fmla="*/ 1168866 h 6557032"/>
              <a:gd name="connsiteX17592" fmla="*/ 2325094 w 4610101"/>
              <a:gd name="connsiteY17592" fmla="*/ 1187088 h 6557032"/>
              <a:gd name="connsiteX17593" fmla="*/ 2319628 w 4610101"/>
              <a:gd name="connsiteY17593" fmla="*/ 1187088 h 6557032"/>
              <a:gd name="connsiteX17594" fmla="*/ 2308695 w 4610101"/>
              <a:gd name="connsiteY17594" fmla="*/ 1196199 h 6557032"/>
              <a:gd name="connsiteX17595" fmla="*/ 2308695 w 4610101"/>
              <a:gd name="connsiteY17595" fmla="*/ 1199843 h 6557032"/>
              <a:gd name="connsiteX17596" fmla="*/ 2326916 w 4610101"/>
              <a:gd name="connsiteY17596" fmla="*/ 1219887 h 6557032"/>
              <a:gd name="connsiteX17597" fmla="*/ 2334205 w 4610101"/>
              <a:gd name="connsiteY17597" fmla="*/ 1199843 h 6557032"/>
              <a:gd name="connsiteX17598" fmla="*/ 2336027 w 4610101"/>
              <a:gd name="connsiteY17598" fmla="*/ 1205309 h 6557032"/>
              <a:gd name="connsiteX17599" fmla="*/ 2339672 w 4610101"/>
              <a:gd name="connsiteY17599" fmla="*/ 1194376 h 6557032"/>
              <a:gd name="connsiteX17600" fmla="*/ 2350605 w 4610101"/>
              <a:gd name="connsiteY17600" fmla="*/ 1201665 h 6557032"/>
              <a:gd name="connsiteX17601" fmla="*/ 2352427 w 4610101"/>
              <a:gd name="connsiteY17601" fmla="*/ 1199843 h 6557032"/>
              <a:gd name="connsiteX17602" fmla="*/ 2352427 w 4610101"/>
              <a:gd name="connsiteY17602" fmla="*/ 1187088 h 6557032"/>
              <a:gd name="connsiteX17603" fmla="*/ 2374293 w 4610101"/>
              <a:gd name="connsiteY17603" fmla="*/ 1187088 h 6557032"/>
              <a:gd name="connsiteX17604" fmla="*/ 2376115 w 4610101"/>
              <a:gd name="connsiteY17604" fmla="*/ 1179799 h 6557032"/>
              <a:gd name="connsiteX17605" fmla="*/ 2379760 w 4610101"/>
              <a:gd name="connsiteY17605" fmla="*/ 1188910 h 6557032"/>
              <a:gd name="connsiteX17606" fmla="*/ 2387048 w 4610101"/>
              <a:gd name="connsiteY17606" fmla="*/ 1183443 h 6557032"/>
              <a:gd name="connsiteX17607" fmla="*/ 2385226 w 4610101"/>
              <a:gd name="connsiteY17607" fmla="*/ 1181621 h 6557032"/>
              <a:gd name="connsiteX17608" fmla="*/ 2394337 w 4610101"/>
              <a:gd name="connsiteY17608" fmla="*/ 1176155 h 6557032"/>
              <a:gd name="connsiteX17609" fmla="*/ 2388871 w 4610101"/>
              <a:gd name="connsiteY17609" fmla="*/ 1168866 h 6557032"/>
              <a:gd name="connsiteX17610" fmla="*/ 2387048 w 4610101"/>
              <a:gd name="connsiteY17610" fmla="*/ 1174332 h 6557032"/>
              <a:gd name="connsiteX17611" fmla="*/ 2379760 w 4610101"/>
              <a:gd name="connsiteY17611" fmla="*/ 1168866 h 6557032"/>
              <a:gd name="connsiteX17612" fmla="*/ 2374293 w 4610101"/>
              <a:gd name="connsiteY17612" fmla="*/ 1174332 h 6557032"/>
              <a:gd name="connsiteX17613" fmla="*/ 2367004 w 4610101"/>
              <a:gd name="connsiteY17613" fmla="*/ 1183443 h 6557032"/>
              <a:gd name="connsiteX17614" fmla="*/ 2367004 w 4610101"/>
              <a:gd name="connsiteY17614" fmla="*/ 1172510 h 6557032"/>
              <a:gd name="connsiteX17615" fmla="*/ 2359716 w 4610101"/>
              <a:gd name="connsiteY17615" fmla="*/ 1172510 h 6557032"/>
              <a:gd name="connsiteX17616" fmla="*/ 2346960 w 4610101"/>
              <a:gd name="connsiteY17616" fmla="*/ 1161577 h 6557032"/>
              <a:gd name="connsiteX17617" fmla="*/ 2326916 w 4610101"/>
              <a:gd name="connsiteY17617" fmla="*/ 1174332 h 6557032"/>
              <a:gd name="connsiteX17618" fmla="*/ 2325094 w 4610101"/>
              <a:gd name="connsiteY17618" fmla="*/ 1170688 h 6557032"/>
              <a:gd name="connsiteX17619" fmla="*/ 2336027 w 4610101"/>
              <a:gd name="connsiteY17619" fmla="*/ 1167044 h 6557032"/>
              <a:gd name="connsiteX17620" fmla="*/ 2334205 w 4610101"/>
              <a:gd name="connsiteY17620" fmla="*/ 1159755 h 6557032"/>
              <a:gd name="connsiteX17621" fmla="*/ 2277718 w 4610101"/>
              <a:gd name="connsiteY17621" fmla="*/ 1159755 h 6557032"/>
              <a:gd name="connsiteX17622" fmla="*/ 2268607 w 4610101"/>
              <a:gd name="connsiteY17622" fmla="*/ 1172510 h 6557032"/>
              <a:gd name="connsiteX17623" fmla="*/ 2270429 w 4610101"/>
              <a:gd name="connsiteY17623" fmla="*/ 1172510 h 6557032"/>
              <a:gd name="connsiteX17624" fmla="*/ 2270429 w 4610101"/>
              <a:gd name="connsiteY17624" fmla="*/ 1179799 h 6557032"/>
              <a:gd name="connsiteX17625" fmla="*/ 2277718 w 4610101"/>
              <a:gd name="connsiteY17625" fmla="*/ 1172510 h 6557032"/>
              <a:gd name="connsiteX17626" fmla="*/ 2277718 w 4610101"/>
              <a:gd name="connsiteY17626" fmla="*/ 1159755 h 6557032"/>
              <a:gd name="connsiteX17627" fmla="*/ 748914 w 4610101"/>
              <a:gd name="connsiteY17627" fmla="*/ 1159755 h 6557032"/>
              <a:gd name="connsiteX17628" fmla="*/ 750737 w 4610101"/>
              <a:gd name="connsiteY17628" fmla="*/ 1170688 h 6557032"/>
              <a:gd name="connsiteX17629" fmla="*/ 748914 w 4610101"/>
              <a:gd name="connsiteY17629" fmla="*/ 1159755 h 6557032"/>
              <a:gd name="connsiteX17630" fmla="*/ 679671 w 4610101"/>
              <a:gd name="connsiteY17630" fmla="*/ 1159755 h 6557032"/>
              <a:gd name="connsiteX17631" fmla="*/ 681493 w 4610101"/>
              <a:gd name="connsiteY17631" fmla="*/ 1170688 h 6557032"/>
              <a:gd name="connsiteX17632" fmla="*/ 683316 w 4610101"/>
              <a:gd name="connsiteY17632" fmla="*/ 1163399 h 6557032"/>
              <a:gd name="connsiteX17633" fmla="*/ 679671 w 4610101"/>
              <a:gd name="connsiteY17633" fmla="*/ 1159755 h 6557032"/>
              <a:gd name="connsiteX17634" fmla="*/ 1124281 w 4610101"/>
              <a:gd name="connsiteY17634" fmla="*/ 1159754 h 6557032"/>
              <a:gd name="connsiteX17635" fmla="*/ 1131570 w 4610101"/>
              <a:gd name="connsiteY17635" fmla="*/ 1162670 h 6557032"/>
              <a:gd name="connsiteX17636" fmla="*/ 1131570 w 4610101"/>
              <a:gd name="connsiteY17636" fmla="*/ 1163399 h 6557032"/>
              <a:gd name="connsiteX17637" fmla="*/ 1124281 w 4610101"/>
              <a:gd name="connsiteY17637" fmla="*/ 1159755 h 6557032"/>
              <a:gd name="connsiteX17638" fmla="*/ 828179 w 4610101"/>
              <a:gd name="connsiteY17638" fmla="*/ 1159527 h 6557032"/>
              <a:gd name="connsiteX17639" fmla="*/ 828529 w 4610101"/>
              <a:gd name="connsiteY17639" fmla="*/ 1159615 h 6557032"/>
              <a:gd name="connsiteX17640" fmla="*/ 827267 w 4610101"/>
              <a:gd name="connsiteY17640" fmla="*/ 1163399 h 6557032"/>
              <a:gd name="connsiteX17641" fmla="*/ 828179 w 4610101"/>
              <a:gd name="connsiteY17641" fmla="*/ 1159527 h 6557032"/>
              <a:gd name="connsiteX17642" fmla="*/ 516131 w 4610101"/>
              <a:gd name="connsiteY17642" fmla="*/ 1159527 h 6557032"/>
              <a:gd name="connsiteX17643" fmla="*/ 515676 w 4610101"/>
              <a:gd name="connsiteY17643" fmla="*/ 1163399 h 6557032"/>
              <a:gd name="connsiteX17644" fmla="*/ 519320 w 4610101"/>
              <a:gd name="connsiteY17644" fmla="*/ 1159755 h 6557032"/>
              <a:gd name="connsiteX17645" fmla="*/ 516131 w 4610101"/>
              <a:gd name="connsiteY17645" fmla="*/ 1159527 h 6557032"/>
              <a:gd name="connsiteX17646" fmla="*/ 585373 w 4610101"/>
              <a:gd name="connsiteY17646" fmla="*/ 1159072 h 6557032"/>
              <a:gd name="connsiteX17647" fmla="*/ 584919 w 4610101"/>
              <a:gd name="connsiteY17647" fmla="*/ 1159755 h 6557032"/>
              <a:gd name="connsiteX17648" fmla="*/ 588562 w 4610101"/>
              <a:gd name="connsiteY17648" fmla="*/ 1163399 h 6557032"/>
              <a:gd name="connsiteX17649" fmla="*/ 588562 w 4610101"/>
              <a:gd name="connsiteY17649" fmla="*/ 1159755 h 6557032"/>
              <a:gd name="connsiteX17650" fmla="*/ 585373 w 4610101"/>
              <a:gd name="connsiteY17650" fmla="*/ 1159072 h 6557032"/>
              <a:gd name="connsiteX17651" fmla="*/ 872821 w 4610101"/>
              <a:gd name="connsiteY17651" fmla="*/ 1157970 h 6557032"/>
              <a:gd name="connsiteX17652" fmla="*/ 874643 w 4610101"/>
              <a:gd name="connsiteY17652" fmla="*/ 1159792 h 6557032"/>
              <a:gd name="connsiteX17653" fmla="*/ 872821 w 4610101"/>
              <a:gd name="connsiteY17653" fmla="*/ 1157970 h 6557032"/>
              <a:gd name="connsiteX17654" fmla="*/ 3081297 w 4610101"/>
              <a:gd name="connsiteY17654" fmla="*/ 1157933 h 6557032"/>
              <a:gd name="connsiteX17655" fmla="*/ 3063075 w 4610101"/>
              <a:gd name="connsiteY17655" fmla="*/ 1163399 h 6557032"/>
              <a:gd name="connsiteX17656" fmla="*/ 3070363 w 4610101"/>
              <a:gd name="connsiteY17656" fmla="*/ 1183443 h 6557032"/>
              <a:gd name="connsiteX17657" fmla="*/ 3068541 w 4610101"/>
              <a:gd name="connsiteY17657" fmla="*/ 1187088 h 6557032"/>
              <a:gd name="connsiteX17658" fmla="*/ 3074008 w 4610101"/>
              <a:gd name="connsiteY17658" fmla="*/ 1194376 h 6557032"/>
              <a:gd name="connsiteX17659" fmla="*/ 3074008 w 4610101"/>
              <a:gd name="connsiteY17659" fmla="*/ 1187088 h 6557032"/>
              <a:gd name="connsiteX17660" fmla="*/ 3081297 w 4610101"/>
              <a:gd name="connsiteY17660" fmla="*/ 1188910 h 6557032"/>
              <a:gd name="connsiteX17661" fmla="*/ 3075830 w 4610101"/>
              <a:gd name="connsiteY17661" fmla="*/ 1179799 h 6557032"/>
              <a:gd name="connsiteX17662" fmla="*/ 3083119 w 4610101"/>
              <a:gd name="connsiteY17662" fmla="*/ 1187088 h 6557032"/>
              <a:gd name="connsiteX17663" fmla="*/ 3094052 w 4610101"/>
              <a:gd name="connsiteY17663" fmla="*/ 1185266 h 6557032"/>
              <a:gd name="connsiteX17664" fmla="*/ 3103163 w 4610101"/>
              <a:gd name="connsiteY17664" fmla="*/ 1174332 h 6557032"/>
              <a:gd name="connsiteX17665" fmla="*/ 3101340 w 4610101"/>
              <a:gd name="connsiteY17665" fmla="*/ 1176155 h 6557032"/>
              <a:gd name="connsiteX17666" fmla="*/ 3081297 w 4610101"/>
              <a:gd name="connsiteY17666" fmla="*/ 1157933 h 6557032"/>
              <a:gd name="connsiteX17667" fmla="*/ 3048497 w 4610101"/>
              <a:gd name="connsiteY17667" fmla="*/ 1157933 h 6557032"/>
              <a:gd name="connsiteX17668" fmla="*/ 3046675 w 4610101"/>
              <a:gd name="connsiteY17668" fmla="*/ 1165222 h 6557032"/>
              <a:gd name="connsiteX17669" fmla="*/ 3052142 w 4610101"/>
              <a:gd name="connsiteY17669" fmla="*/ 1157933 h 6557032"/>
              <a:gd name="connsiteX17670" fmla="*/ 3048497 w 4610101"/>
              <a:gd name="connsiteY17670" fmla="*/ 1157933 h 6557032"/>
              <a:gd name="connsiteX17671" fmla="*/ 2649441 w 4610101"/>
              <a:gd name="connsiteY17671" fmla="*/ 1157933 h 6557032"/>
              <a:gd name="connsiteX17672" fmla="*/ 2651263 w 4610101"/>
              <a:gd name="connsiteY17672" fmla="*/ 1163399 h 6557032"/>
              <a:gd name="connsiteX17673" fmla="*/ 2653086 w 4610101"/>
              <a:gd name="connsiteY17673" fmla="*/ 1161577 h 6557032"/>
              <a:gd name="connsiteX17674" fmla="*/ 2653086 w 4610101"/>
              <a:gd name="connsiteY17674" fmla="*/ 1159755 h 6557032"/>
              <a:gd name="connsiteX17675" fmla="*/ 2649441 w 4610101"/>
              <a:gd name="connsiteY17675" fmla="*/ 1157933 h 6557032"/>
              <a:gd name="connsiteX17676" fmla="*/ 2642153 w 4610101"/>
              <a:gd name="connsiteY17676" fmla="*/ 1157933 h 6557032"/>
              <a:gd name="connsiteX17677" fmla="*/ 2645797 w 4610101"/>
              <a:gd name="connsiteY17677" fmla="*/ 1163399 h 6557032"/>
              <a:gd name="connsiteX17678" fmla="*/ 2642153 w 4610101"/>
              <a:gd name="connsiteY17678" fmla="*/ 1157933 h 6557032"/>
              <a:gd name="connsiteX17679" fmla="*/ 1208102 w 4610101"/>
              <a:gd name="connsiteY17679" fmla="*/ 1157933 h 6557032"/>
              <a:gd name="connsiteX17680" fmla="*/ 1188058 w 4610101"/>
              <a:gd name="connsiteY17680" fmla="*/ 1168866 h 6557032"/>
              <a:gd name="connsiteX17681" fmla="*/ 1208102 w 4610101"/>
              <a:gd name="connsiteY17681" fmla="*/ 1157933 h 6557032"/>
              <a:gd name="connsiteX17682" fmla="*/ 1175303 w 4610101"/>
              <a:gd name="connsiteY17682" fmla="*/ 1157933 h 6557032"/>
              <a:gd name="connsiteX17683" fmla="*/ 1173481 w 4610101"/>
              <a:gd name="connsiteY17683" fmla="*/ 1163399 h 6557032"/>
              <a:gd name="connsiteX17684" fmla="*/ 1172341 w 4610101"/>
              <a:gd name="connsiteY17684" fmla="*/ 1159299 h 6557032"/>
              <a:gd name="connsiteX17685" fmla="*/ 1175303 w 4610101"/>
              <a:gd name="connsiteY17685" fmla="*/ 1157933 h 6557032"/>
              <a:gd name="connsiteX17686" fmla="*/ 1154264 w 4610101"/>
              <a:gd name="connsiteY17686" fmla="*/ 1157933 h 6557032"/>
              <a:gd name="connsiteX17687" fmla="*/ 1155834 w 4610101"/>
              <a:gd name="connsiteY17687" fmla="*/ 1157933 h 6557032"/>
              <a:gd name="connsiteX17688" fmla="*/ 1155259 w 4610101"/>
              <a:gd name="connsiteY17688" fmla="*/ 1158616 h 6557032"/>
              <a:gd name="connsiteX17689" fmla="*/ 1137037 w 4610101"/>
              <a:gd name="connsiteY17689" fmla="*/ 1157933 h 6557032"/>
              <a:gd name="connsiteX17690" fmla="*/ 1138859 w 4610101"/>
              <a:gd name="connsiteY17690" fmla="*/ 1158020 h 6557032"/>
              <a:gd name="connsiteX17691" fmla="*/ 1138859 w 4610101"/>
              <a:gd name="connsiteY17691" fmla="*/ 1159755 h 6557032"/>
              <a:gd name="connsiteX17692" fmla="*/ 1137037 w 4610101"/>
              <a:gd name="connsiteY17692" fmla="*/ 1157933 h 6557032"/>
              <a:gd name="connsiteX17693" fmla="*/ 1095127 w 4610101"/>
              <a:gd name="connsiteY17693" fmla="*/ 1157933 h 6557032"/>
              <a:gd name="connsiteX17694" fmla="*/ 1091484 w 4610101"/>
              <a:gd name="connsiteY17694" fmla="*/ 1161577 h 6557032"/>
              <a:gd name="connsiteX17695" fmla="*/ 1093305 w 4610101"/>
              <a:gd name="connsiteY17695" fmla="*/ 1163399 h 6557032"/>
              <a:gd name="connsiteX17696" fmla="*/ 1095127 w 4610101"/>
              <a:gd name="connsiteY17696" fmla="*/ 1157933 h 6557032"/>
              <a:gd name="connsiteX17697" fmla="*/ 923843 w 4610101"/>
              <a:gd name="connsiteY17697" fmla="*/ 1157933 h 6557032"/>
              <a:gd name="connsiteX17698" fmla="*/ 922020 w 4610101"/>
              <a:gd name="connsiteY17698" fmla="*/ 1163399 h 6557032"/>
              <a:gd name="connsiteX17699" fmla="*/ 927487 w 4610101"/>
              <a:gd name="connsiteY17699" fmla="*/ 1163399 h 6557032"/>
              <a:gd name="connsiteX17700" fmla="*/ 923843 w 4610101"/>
              <a:gd name="connsiteY17700" fmla="*/ 1157933 h 6557032"/>
              <a:gd name="connsiteX17701" fmla="*/ 686960 w 4610101"/>
              <a:gd name="connsiteY17701" fmla="*/ 1157933 h 6557032"/>
              <a:gd name="connsiteX17702" fmla="*/ 694249 w 4610101"/>
              <a:gd name="connsiteY17702" fmla="*/ 1167044 h 6557032"/>
              <a:gd name="connsiteX17703" fmla="*/ 686960 w 4610101"/>
              <a:gd name="connsiteY17703" fmla="*/ 1157933 h 6557032"/>
              <a:gd name="connsiteX17704" fmla="*/ 663272 w 4610101"/>
              <a:gd name="connsiteY17704" fmla="*/ 1157933 h 6557032"/>
              <a:gd name="connsiteX17705" fmla="*/ 657805 w 4610101"/>
              <a:gd name="connsiteY17705" fmla="*/ 1163399 h 6557032"/>
              <a:gd name="connsiteX17706" fmla="*/ 665094 w 4610101"/>
              <a:gd name="connsiteY17706" fmla="*/ 1159755 h 6557032"/>
              <a:gd name="connsiteX17707" fmla="*/ 663272 w 4610101"/>
              <a:gd name="connsiteY17707" fmla="*/ 1157933 h 6557032"/>
              <a:gd name="connsiteX17708" fmla="*/ 650516 w 4610101"/>
              <a:gd name="connsiteY17708" fmla="*/ 1157933 h 6557032"/>
              <a:gd name="connsiteX17709" fmla="*/ 643228 w 4610101"/>
              <a:gd name="connsiteY17709" fmla="*/ 1159755 h 6557032"/>
              <a:gd name="connsiteX17710" fmla="*/ 652339 w 4610101"/>
              <a:gd name="connsiteY17710" fmla="*/ 1165222 h 6557032"/>
              <a:gd name="connsiteX17711" fmla="*/ 650516 w 4610101"/>
              <a:gd name="connsiteY17711" fmla="*/ 1157933 h 6557032"/>
              <a:gd name="connsiteX17712" fmla="*/ 539364 w 4610101"/>
              <a:gd name="connsiteY17712" fmla="*/ 1157933 h 6557032"/>
              <a:gd name="connsiteX17713" fmla="*/ 555763 w 4610101"/>
              <a:gd name="connsiteY17713" fmla="*/ 1170688 h 6557032"/>
              <a:gd name="connsiteX17714" fmla="*/ 539364 w 4610101"/>
              <a:gd name="connsiteY17714" fmla="*/ 1157933 h 6557032"/>
              <a:gd name="connsiteX17715" fmla="*/ 521142 w 4610101"/>
              <a:gd name="connsiteY17715" fmla="*/ 1157933 h 6557032"/>
              <a:gd name="connsiteX17716" fmla="*/ 521142 w 4610101"/>
              <a:gd name="connsiteY17716" fmla="*/ 1165222 h 6557032"/>
              <a:gd name="connsiteX17717" fmla="*/ 528431 w 4610101"/>
              <a:gd name="connsiteY17717" fmla="*/ 1161577 h 6557032"/>
              <a:gd name="connsiteX17718" fmla="*/ 521142 w 4610101"/>
              <a:gd name="connsiteY17718" fmla="*/ 1157933 h 6557032"/>
              <a:gd name="connsiteX17719" fmla="*/ 399056 w 4610101"/>
              <a:gd name="connsiteY17719" fmla="*/ 1157933 h 6557032"/>
              <a:gd name="connsiteX17720" fmla="*/ 395412 w 4610101"/>
              <a:gd name="connsiteY17720" fmla="*/ 1163399 h 6557032"/>
              <a:gd name="connsiteX17721" fmla="*/ 399056 w 4610101"/>
              <a:gd name="connsiteY17721" fmla="*/ 1157933 h 6557032"/>
              <a:gd name="connsiteX17722" fmla="*/ 182218 w 4610101"/>
              <a:gd name="connsiteY17722" fmla="*/ 1157933 h 6557032"/>
              <a:gd name="connsiteX17723" fmla="*/ 183259 w 4610101"/>
              <a:gd name="connsiteY17723" fmla="*/ 1158453 h 6557032"/>
              <a:gd name="connsiteX17724" fmla="*/ 184040 w 4610101"/>
              <a:gd name="connsiteY17724" fmla="*/ 1159755 h 6557032"/>
              <a:gd name="connsiteX17725" fmla="*/ 393134 w 4610101"/>
              <a:gd name="connsiteY17725" fmla="*/ 1157249 h 6557032"/>
              <a:gd name="connsiteX17726" fmla="*/ 391768 w 4610101"/>
              <a:gd name="connsiteY17726" fmla="*/ 1157933 h 6557032"/>
              <a:gd name="connsiteX17727" fmla="*/ 397234 w 4610101"/>
              <a:gd name="connsiteY17727" fmla="*/ 1157933 h 6557032"/>
              <a:gd name="connsiteX17728" fmla="*/ 393134 w 4610101"/>
              <a:gd name="connsiteY17728" fmla="*/ 1157249 h 6557032"/>
              <a:gd name="connsiteX17729" fmla="*/ 1131570 w 4610101"/>
              <a:gd name="connsiteY17729" fmla="*/ 1156111 h 6557032"/>
              <a:gd name="connsiteX17730" fmla="*/ 1135215 w 4610101"/>
              <a:gd name="connsiteY17730" fmla="*/ 1161577 h 6557032"/>
              <a:gd name="connsiteX17731" fmla="*/ 1133393 w 4610101"/>
              <a:gd name="connsiteY17731" fmla="*/ 1163399 h 6557032"/>
              <a:gd name="connsiteX17732" fmla="*/ 1131570 w 4610101"/>
              <a:gd name="connsiteY17732" fmla="*/ 1162670 h 6557032"/>
              <a:gd name="connsiteX17733" fmla="*/ 1080549 w 4610101"/>
              <a:gd name="connsiteY17733" fmla="*/ 1156111 h 6557032"/>
              <a:gd name="connsiteX17734" fmla="*/ 1078727 w 4610101"/>
              <a:gd name="connsiteY17734" fmla="*/ 1159755 h 6557032"/>
              <a:gd name="connsiteX17735" fmla="*/ 1080549 w 4610101"/>
              <a:gd name="connsiteY17735" fmla="*/ 1156111 h 6557032"/>
              <a:gd name="connsiteX17736" fmla="*/ 705182 w 4610101"/>
              <a:gd name="connsiteY17736" fmla="*/ 1156111 h 6557032"/>
              <a:gd name="connsiteX17737" fmla="*/ 716115 w 4610101"/>
              <a:gd name="connsiteY17737" fmla="*/ 1163399 h 6557032"/>
              <a:gd name="connsiteX17738" fmla="*/ 705182 w 4610101"/>
              <a:gd name="connsiteY17738" fmla="*/ 1156111 h 6557032"/>
              <a:gd name="connsiteX17739" fmla="*/ 362613 w 4610101"/>
              <a:gd name="connsiteY17739" fmla="*/ 1156111 h 6557032"/>
              <a:gd name="connsiteX17740" fmla="*/ 357146 w 4610101"/>
              <a:gd name="connsiteY17740" fmla="*/ 1157933 h 6557032"/>
              <a:gd name="connsiteX17741" fmla="*/ 364435 w 4610101"/>
              <a:gd name="connsiteY17741" fmla="*/ 1159755 h 6557032"/>
              <a:gd name="connsiteX17742" fmla="*/ 362613 w 4610101"/>
              <a:gd name="connsiteY17742" fmla="*/ 1156111 h 6557032"/>
              <a:gd name="connsiteX17743" fmla="*/ 3063530 w 4610101"/>
              <a:gd name="connsiteY17743" fmla="*/ 1154288 h 6557032"/>
              <a:gd name="connsiteX17744" fmla="*/ 3061253 w 4610101"/>
              <a:gd name="connsiteY17744" fmla="*/ 1157933 h 6557032"/>
              <a:gd name="connsiteX17745" fmla="*/ 3068541 w 4610101"/>
              <a:gd name="connsiteY17745" fmla="*/ 1156111 h 6557032"/>
              <a:gd name="connsiteX17746" fmla="*/ 3063530 w 4610101"/>
              <a:gd name="connsiteY17746" fmla="*/ 1154288 h 6557032"/>
              <a:gd name="connsiteX17747" fmla="*/ 3030276 w 4610101"/>
              <a:gd name="connsiteY17747" fmla="*/ 1154288 h 6557032"/>
              <a:gd name="connsiteX17748" fmla="*/ 3035742 w 4610101"/>
              <a:gd name="connsiteY17748" fmla="*/ 1159755 h 6557032"/>
              <a:gd name="connsiteX17749" fmla="*/ 3035742 w 4610101"/>
              <a:gd name="connsiteY17749" fmla="*/ 1154288 h 6557032"/>
              <a:gd name="connsiteX17750" fmla="*/ 3030276 w 4610101"/>
              <a:gd name="connsiteY17750" fmla="*/ 1154288 h 6557032"/>
              <a:gd name="connsiteX17751" fmla="*/ 799935 w 4610101"/>
              <a:gd name="connsiteY17751" fmla="*/ 1154288 h 6557032"/>
              <a:gd name="connsiteX17752" fmla="*/ 809046 w 4610101"/>
              <a:gd name="connsiteY17752" fmla="*/ 1163399 h 6557032"/>
              <a:gd name="connsiteX17753" fmla="*/ 799935 w 4610101"/>
              <a:gd name="connsiteY17753" fmla="*/ 1154288 h 6557032"/>
              <a:gd name="connsiteX17754" fmla="*/ 1154803 w 4610101"/>
              <a:gd name="connsiteY17754" fmla="*/ 1153984 h 6557032"/>
              <a:gd name="connsiteX17755" fmla="*/ 1155259 w 4610101"/>
              <a:gd name="connsiteY17755" fmla="*/ 1154288 h 6557032"/>
              <a:gd name="connsiteX17756" fmla="*/ 1153437 w 4610101"/>
              <a:gd name="connsiteY17756" fmla="*/ 1154895 h 6557032"/>
              <a:gd name="connsiteX17757" fmla="*/ 682177 w 4610101"/>
              <a:gd name="connsiteY17757" fmla="*/ 1153833 h 6557032"/>
              <a:gd name="connsiteX17758" fmla="*/ 679671 w 4610101"/>
              <a:gd name="connsiteY17758" fmla="*/ 1154288 h 6557032"/>
              <a:gd name="connsiteX17759" fmla="*/ 683316 w 4610101"/>
              <a:gd name="connsiteY17759" fmla="*/ 1156111 h 6557032"/>
              <a:gd name="connsiteX17760" fmla="*/ 682177 w 4610101"/>
              <a:gd name="connsiteY17760" fmla="*/ 1153833 h 6557032"/>
              <a:gd name="connsiteX17761" fmla="*/ 2574732 w 4610101"/>
              <a:gd name="connsiteY17761" fmla="*/ 1152466 h 6557032"/>
              <a:gd name="connsiteX17762" fmla="*/ 2578377 w 4610101"/>
              <a:gd name="connsiteY17762" fmla="*/ 1157933 h 6557032"/>
              <a:gd name="connsiteX17763" fmla="*/ 2589310 w 4610101"/>
              <a:gd name="connsiteY17763" fmla="*/ 1157933 h 6557032"/>
              <a:gd name="connsiteX17764" fmla="*/ 2574732 w 4610101"/>
              <a:gd name="connsiteY17764" fmla="*/ 1152466 h 6557032"/>
              <a:gd name="connsiteX17765" fmla="*/ 2343316 w 4610101"/>
              <a:gd name="connsiteY17765" fmla="*/ 1152466 h 6557032"/>
              <a:gd name="connsiteX17766" fmla="*/ 2337850 w 4610101"/>
              <a:gd name="connsiteY17766" fmla="*/ 1157933 h 6557032"/>
              <a:gd name="connsiteX17767" fmla="*/ 2343316 w 4610101"/>
              <a:gd name="connsiteY17767" fmla="*/ 1152466 h 6557032"/>
              <a:gd name="connsiteX17768" fmla="*/ 1075083 w 4610101"/>
              <a:gd name="connsiteY17768" fmla="*/ 1152466 h 6557032"/>
              <a:gd name="connsiteX17769" fmla="*/ 1075083 w 4610101"/>
              <a:gd name="connsiteY17769" fmla="*/ 1159755 h 6557032"/>
              <a:gd name="connsiteX17770" fmla="*/ 1075083 w 4610101"/>
              <a:gd name="connsiteY17770" fmla="*/ 1152466 h 6557032"/>
              <a:gd name="connsiteX17771" fmla="*/ 1033173 w 4610101"/>
              <a:gd name="connsiteY17771" fmla="*/ 1152466 h 6557032"/>
              <a:gd name="connsiteX17772" fmla="*/ 1038639 w 4610101"/>
              <a:gd name="connsiteY17772" fmla="*/ 1156111 h 6557032"/>
              <a:gd name="connsiteX17773" fmla="*/ 1036818 w 4610101"/>
              <a:gd name="connsiteY17773" fmla="*/ 1152466 h 6557032"/>
              <a:gd name="connsiteX17774" fmla="*/ 1033173 w 4610101"/>
              <a:gd name="connsiteY17774" fmla="*/ 1152466 h 6557032"/>
              <a:gd name="connsiteX17775" fmla="*/ 834556 w 4610101"/>
              <a:gd name="connsiteY17775" fmla="*/ 1152466 h 6557032"/>
              <a:gd name="connsiteX17776" fmla="*/ 840022 w 4610101"/>
              <a:gd name="connsiteY17776" fmla="*/ 1161577 h 6557032"/>
              <a:gd name="connsiteX17777" fmla="*/ 834556 w 4610101"/>
              <a:gd name="connsiteY17777" fmla="*/ 1152466 h 6557032"/>
              <a:gd name="connsiteX17778" fmla="*/ 743447 w 4610101"/>
              <a:gd name="connsiteY17778" fmla="*/ 1152466 h 6557032"/>
              <a:gd name="connsiteX17779" fmla="*/ 747092 w 4610101"/>
              <a:gd name="connsiteY17779" fmla="*/ 1154288 h 6557032"/>
              <a:gd name="connsiteX17780" fmla="*/ 743447 w 4610101"/>
              <a:gd name="connsiteY17780" fmla="*/ 1152466 h 6557032"/>
              <a:gd name="connsiteX17781" fmla="*/ 430034 w 4610101"/>
              <a:gd name="connsiteY17781" fmla="*/ 1152466 h 6557032"/>
              <a:gd name="connsiteX17782" fmla="*/ 426389 w 4610101"/>
              <a:gd name="connsiteY17782" fmla="*/ 1161577 h 6557032"/>
              <a:gd name="connsiteX17783" fmla="*/ 435500 w 4610101"/>
              <a:gd name="connsiteY17783" fmla="*/ 1159755 h 6557032"/>
              <a:gd name="connsiteX17784" fmla="*/ 430034 w 4610101"/>
              <a:gd name="connsiteY17784" fmla="*/ 1152466 h 6557032"/>
              <a:gd name="connsiteX17785" fmla="*/ 408167 w 4610101"/>
              <a:gd name="connsiteY17785" fmla="*/ 1152466 h 6557032"/>
              <a:gd name="connsiteX17786" fmla="*/ 411812 w 4610101"/>
              <a:gd name="connsiteY17786" fmla="*/ 1154288 h 6557032"/>
              <a:gd name="connsiteX17787" fmla="*/ 408167 w 4610101"/>
              <a:gd name="connsiteY17787" fmla="*/ 1152466 h 6557032"/>
              <a:gd name="connsiteX17788" fmla="*/ 368079 w 4610101"/>
              <a:gd name="connsiteY17788" fmla="*/ 1152466 h 6557032"/>
              <a:gd name="connsiteX17789" fmla="*/ 364435 w 4610101"/>
              <a:gd name="connsiteY17789" fmla="*/ 1156111 h 6557032"/>
              <a:gd name="connsiteX17790" fmla="*/ 375368 w 4610101"/>
              <a:gd name="connsiteY17790" fmla="*/ 1156111 h 6557032"/>
              <a:gd name="connsiteX17791" fmla="*/ 368079 w 4610101"/>
              <a:gd name="connsiteY17791" fmla="*/ 1152466 h 6557032"/>
              <a:gd name="connsiteX17792" fmla="*/ 266038 w 4610101"/>
              <a:gd name="connsiteY17792" fmla="*/ 1152466 h 6557032"/>
              <a:gd name="connsiteX17793" fmla="*/ 276971 w 4610101"/>
              <a:gd name="connsiteY17793" fmla="*/ 1156111 h 6557032"/>
              <a:gd name="connsiteX17794" fmla="*/ 266038 w 4610101"/>
              <a:gd name="connsiteY17794" fmla="*/ 1152466 h 6557032"/>
              <a:gd name="connsiteX17795" fmla="*/ 145774 w 4610101"/>
              <a:gd name="connsiteY17795" fmla="*/ 1152466 h 6557032"/>
              <a:gd name="connsiteX17796" fmla="*/ 174929 w 4610101"/>
              <a:gd name="connsiteY17796" fmla="*/ 1179799 h 6557032"/>
              <a:gd name="connsiteX17797" fmla="*/ 165818 w 4610101"/>
              <a:gd name="connsiteY17797" fmla="*/ 1167044 h 6557032"/>
              <a:gd name="connsiteX17798" fmla="*/ 145774 w 4610101"/>
              <a:gd name="connsiteY17798" fmla="*/ 1152466 h 6557032"/>
              <a:gd name="connsiteX17799" fmla="*/ 3161472 w 4610101"/>
              <a:gd name="connsiteY17799" fmla="*/ 1150644 h 6557032"/>
              <a:gd name="connsiteX17800" fmla="*/ 3157828 w 4610101"/>
              <a:gd name="connsiteY17800" fmla="*/ 1176155 h 6557032"/>
              <a:gd name="connsiteX17801" fmla="*/ 3168761 w 4610101"/>
              <a:gd name="connsiteY17801" fmla="*/ 1174332 h 6557032"/>
              <a:gd name="connsiteX17802" fmla="*/ 3174227 w 4610101"/>
              <a:gd name="connsiteY17802" fmla="*/ 1177977 h 6557032"/>
              <a:gd name="connsiteX17803" fmla="*/ 3168761 w 4610101"/>
              <a:gd name="connsiteY17803" fmla="*/ 1181621 h 6557032"/>
              <a:gd name="connsiteX17804" fmla="*/ 3168761 w 4610101"/>
              <a:gd name="connsiteY17804" fmla="*/ 1176155 h 6557032"/>
              <a:gd name="connsiteX17805" fmla="*/ 3161472 w 4610101"/>
              <a:gd name="connsiteY17805" fmla="*/ 1177977 h 6557032"/>
              <a:gd name="connsiteX17806" fmla="*/ 3168761 w 4610101"/>
              <a:gd name="connsiteY17806" fmla="*/ 1181621 h 6557032"/>
              <a:gd name="connsiteX17807" fmla="*/ 3177872 w 4610101"/>
              <a:gd name="connsiteY17807" fmla="*/ 1185266 h 6557032"/>
              <a:gd name="connsiteX17808" fmla="*/ 3186982 w 4610101"/>
              <a:gd name="connsiteY17808" fmla="*/ 1179799 h 6557032"/>
              <a:gd name="connsiteX17809" fmla="*/ 3161472 w 4610101"/>
              <a:gd name="connsiteY17809" fmla="*/ 1150644 h 6557032"/>
              <a:gd name="connsiteX17810" fmla="*/ 2441713 w 4610101"/>
              <a:gd name="connsiteY17810" fmla="*/ 1150644 h 6557032"/>
              <a:gd name="connsiteX17811" fmla="*/ 2441713 w 4610101"/>
              <a:gd name="connsiteY17811" fmla="*/ 1152466 h 6557032"/>
              <a:gd name="connsiteX17812" fmla="*/ 2441258 w 4610101"/>
              <a:gd name="connsiteY17812" fmla="*/ 1152010 h 6557032"/>
              <a:gd name="connsiteX17813" fmla="*/ 2199364 w 4610101"/>
              <a:gd name="connsiteY17813" fmla="*/ 1150644 h 6557032"/>
              <a:gd name="connsiteX17814" fmla="*/ 2195720 w 4610101"/>
              <a:gd name="connsiteY17814" fmla="*/ 1161577 h 6557032"/>
              <a:gd name="connsiteX17815" fmla="*/ 2199364 w 4610101"/>
              <a:gd name="connsiteY17815" fmla="*/ 1163399 h 6557032"/>
              <a:gd name="connsiteX17816" fmla="*/ 2199364 w 4610101"/>
              <a:gd name="connsiteY17816" fmla="*/ 1150644 h 6557032"/>
              <a:gd name="connsiteX17817" fmla="*/ 2095500 w 4610101"/>
              <a:gd name="connsiteY17817" fmla="*/ 1150644 h 6557032"/>
              <a:gd name="connsiteX17818" fmla="*/ 2091856 w 4610101"/>
              <a:gd name="connsiteY17818" fmla="*/ 1163399 h 6557032"/>
              <a:gd name="connsiteX17819" fmla="*/ 2084568 w 4610101"/>
              <a:gd name="connsiteY17819" fmla="*/ 1168866 h 6557032"/>
              <a:gd name="connsiteX17820" fmla="*/ 2090034 w 4610101"/>
              <a:gd name="connsiteY17820" fmla="*/ 1174332 h 6557032"/>
              <a:gd name="connsiteX17821" fmla="*/ 2089118 w 4610101"/>
              <a:gd name="connsiteY17821" fmla="*/ 1177997 h 6557032"/>
              <a:gd name="connsiteX17822" fmla="*/ 2079784 w 4610101"/>
              <a:gd name="connsiteY17822" fmla="*/ 1178205 h 6557032"/>
              <a:gd name="connsiteX17823" fmla="*/ 2073634 w 4610101"/>
              <a:gd name="connsiteY17823" fmla="*/ 1185266 h 6557032"/>
              <a:gd name="connsiteX17824" fmla="*/ 2097323 w 4610101"/>
              <a:gd name="connsiteY17824" fmla="*/ 1183443 h 6557032"/>
              <a:gd name="connsiteX17825" fmla="*/ 2095500 w 4610101"/>
              <a:gd name="connsiteY17825" fmla="*/ 1179799 h 6557032"/>
              <a:gd name="connsiteX17826" fmla="*/ 2099145 w 4610101"/>
              <a:gd name="connsiteY17826" fmla="*/ 1187088 h 6557032"/>
              <a:gd name="connsiteX17827" fmla="*/ 2102790 w 4610101"/>
              <a:gd name="connsiteY17827" fmla="*/ 1185266 h 6557032"/>
              <a:gd name="connsiteX17828" fmla="*/ 2104611 w 4610101"/>
              <a:gd name="connsiteY17828" fmla="*/ 1165222 h 6557032"/>
              <a:gd name="connsiteX17829" fmla="*/ 2102790 w 4610101"/>
              <a:gd name="connsiteY17829" fmla="*/ 1170688 h 6557032"/>
              <a:gd name="connsiteX17830" fmla="*/ 2102790 w 4610101"/>
              <a:gd name="connsiteY17830" fmla="*/ 1165222 h 6557032"/>
              <a:gd name="connsiteX17831" fmla="*/ 2099145 w 4610101"/>
              <a:gd name="connsiteY17831" fmla="*/ 1165222 h 6557032"/>
              <a:gd name="connsiteX17832" fmla="*/ 2106433 w 4610101"/>
              <a:gd name="connsiteY17832" fmla="*/ 1156111 h 6557032"/>
              <a:gd name="connsiteX17833" fmla="*/ 1049573 w 4610101"/>
              <a:gd name="connsiteY17833" fmla="*/ 1150644 h 6557032"/>
              <a:gd name="connsiteX17834" fmla="*/ 1053217 w 4610101"/>
              <a:gd name="connsiteY17834" fmla="*/ 1154288 h 6557032"/>
              <a:gd name="connsiteX17835" fmla="*/ 1049573 w 4610101"/>
              <a:gd name="connsiteY17835" fmla="*/ 1150644 h 6557032"/>
              <a:gd name="connsiteX17836" fmla="*/ 1031351 w 4610101"/>
              <a:gd name="connsiteY17836" fmla="*/ 1150644 h 6557032"/>
              <a:gd name="connsiteX17837" fmla="*/ 1025884 w 4610101"/>
              <a:gd name="connsiteY17837" fmla="*/ 1154288 h 6557032"/>
              <a:gd name="connsiteX17838" fmla="*/ 1027707 w 4610101"/>
              <a:gd name="connsiteY17838" fmla="*/ 1156111 h 6557032"/>
              <a:gd name="connsiteX17839" fmla="*/ 1031351 w 4610101"/>
              <a:gd name="connsiteY17839" fmla="*/ 1150644 h 6557032"/>
              <a:gd name="connsiteX17840" fmla="*/ 916555 w 4610101"/>
              <a:gd name="connsiteY17840" fmla="*/ 1150644 h 6557032"/>
              <a:gd name="connsiteX17841" fmla="*/ 911087 w 4610101"/>
              <a:gd name="connsiteY17841" fmla="*/ 1159755 h 6557032"/>
              <a:gd name="connsiteX17842" fmla="*/ 916555 w 4610101"/>
              <a:gd name="connsiteY17842" fmla="*/ 1168866 h 6557032"/>
              <a:gd name="connsiteX17843" fmla="*/ 912909 w 4610101"/>
              <a:gd name="connsiteY17843" fmla="*/ 1167044 h 6557032"/>
              <a:gd name="connsiteX17844" fmla="*/ 912909 w 4610101"/>
              <a:gd name="connsiteY17844" fmla="*/ 1174332 h 6557032"/>
              <a:gd name="connsiteX17845" fmla="*/ 918376 w 4610101"/>
              <a:gd name="connsiteY17845" fmla="*/ 1170688 h 6557032"/>
              <a:gd name="connsiteX17846" fmla="*/ 916555 w 4610101"/>
              <a:gd name="connsiteY17846" fmla="*/ 1168866 h 6557032"/>
              <a:gd name="connsiteX17847" fmla="*/ 917465 w 4610101"/>
              <a:gd name="connsiteY17847" fmla="*/ 1160438 h 6557032"/>
              <a:gd name="connsiteX17848" fmla="*/ 918376 w 4610101"/>
              <a:gd name="connsiteY17848" fmla="*/ 1150644 h 6557032"/>
              <a:gd name="connsiteX17849" fmla="*/ 916555 w 4610101"/>
              <a:gd name="connsiteY17849" fmla="*/ 1150644 h 6557032"/>
              <a:gd name="connsiteX17850" fmla="*/ 850956 w 4610101"/>
              <a:gd name="connsiteY17850" fmla="*/ 1150644 h 6557032"/>
              <a:gd name="connsiteX17851" fmla="*/ 850956 w 4610101"/>
              <a:gd name="connsiteY17851" fmla="*/ 1156111 h 6557032"/>
              <a:gd name="connsiteX17852" fmla="*/ 850956 w 4610101"/>
              <a:gd name="connsiteY17852" fmla="*/ 1150644 h 6557032"/>
              <a:gd name="connsiteX17853" fmla="*/ 827267 w 4610101"/>
              <a:gd name="connsiteY17853" fmla="*/ 1150644 h 6557032"/>
              <a:gd name="connsiteX17854" fmla="*/ 827267 w 4610101"/>
              <a:gd name="connsiteY17854" fmla="*/ 1163399 h 6557032"/>
              <a:gd name="connsiteX17855" fmla="*/ 829089 w 4610101"/>
              <a:gd name="connsiteY17855" fmla="*/ 1172510 h 6557032"/>
              <a:gd name="connsiteX17856" fmla="*/ 827267 w 4610101"/>
              <a:gd name="connsiteY17856" fmla="*/ 1163399 h 6557032"/>
              <a:gd name="connsiteX17857" fmla="*/ 829089 w 4610101"/>
              <a:gd name="connsiteY17857" fmla="*/ 1159755 h 6557032"/>
              <a:gd name="connsiteX17858" fmla="*/ 828529 w 4610101"/>
              <a:gd name="connsiteY17858" fmla="*/ 1159615 h 6557032"/>
              <a:gd name="connsiteX17859" fmla="*/ 830912 w 4610101"/>
              <a:gd name="connsiteY17859" fmla="*/ 1152466 h 6557032"/>
              <a:gd name="connsiteX17860" fmla="*/ 827267 w 4610101"/>
              <a:gd name="connsiteY17860" fmla="*/ 1150644 h 6557032"/>
              <a:gd name="connsiteX17861" fmla="*/ 612251 w 4610101"/>
              <a:gd name="connsiteY17861" fmla="*/ 1150644 h 6557032"/>
              <a:gd name="connsiteX17862" fmla="*/ 614074 w 4610101"/>
              <a:gd name="connsiteY17862" fmla="*/ 1156111 h 6557032"/>
              <a:gd name="connsiteX17863" fmla="*/ 612251 w 4610101"/>
              <a:gd name="connsiteY17863" fmla="*/ 1150644 h 6557032"/>
              <a:gd name="connsiteX17864" fmla="*/ 610429 w 4610101"/>
              <a:gd name="connsiteY17864" fmla="*/ 1150644 h 6557032"/>
              <a:gd name="connsiteX17865" fmla="*/ 604963 w 4610101"/>
              <a:gd name="connsiteY17865" fmla="*/ 1156111 h 6557032"/>
              <a:gd name="connsiteX17866" fmla="*/ 610429 w 4610101"/>
              <a:gd name="connsiteY17866" fmla="*/ 1150644 h 6557032"/>
              <a:gd name="connsiteX17867" fmla="*/ 231416 w 4610101"/>
              <a:gd name="connsiteY17867" fmla="*/ 1150644 h 6557032"/>
              <a:gd name="connsiteX17868" fmla="*/ 244172 w 4610101"/>
              <a:gd name="connsiteY17868" fmla="*/ 1156111 h 6557032"/>
              <a:gd name="connsiteX17869" fmla="*/ 231416 w 4610101"/>
              <a:gd name="connsiteY17869" fmla="*/ 1150644 h 6557032"/>
              <a:gd name="connsiteX17870" fmla="*/ 859659 w 4610101"/>
              <a:gd name="connsiteY17870" fmla="*/ 1149665 h 6557032"/>
              <a:gd name="connsiteX17871" fmla="*/ 859620 w 4610101"/>
              <a:gd name="connsiteY17871" fmla="*/ 1150273 h 6557032"/>
              <a:gd name="connsiteX17872" fmla="*/ 859610 w 4610101"/>
              <a:gd name="connsiteY17872" fmla="*/ 1149961 h 6557032"/>
              <a:gd name="connsiteX17873" fmla="*/ 3021848 w 4610101"/>
              <a:gd name="connsiteY17873" fmla="*/ 1149505 h 6557032"/>
              <a:gd name="connsiteX17874" fmla="*/ 3017521 w 4610101"/>
              <a:gd name="connsiteY17874" fmla="*/ 1152466 h 6557032"/>
              <a:gd name="connsiteX17875" fmla="*/ 3024809 w 4610101"/>
              <a:gd name="connsiteY17875" fmla="*/ 1159755 h 6557032"/>
              <a:gd name="connsiteX17876" fmla="*/ 3022987 w 4610101"/>
              <a:gd name="connsiteY17876" fmla="*/ 1150644 h 6557032"/>
              <a:gd name="connsiteX17877" fmla="*/ 3024809 w 4610101"/>
              <a:gd name="connsiteY17877" fmla="*/ 1150644 h 6557032"/>
              <a:gd name="connsiteX17878" fmla="*/ 3021848 w 4610101"/>
              <a:gd name="connsiteY17878" fmla="*/ 1149505 h 6557032"/>
              <a:gd name="connsiteX17879" fmla="*/ 223900 w 4610101"/>
              <a:gd name="connsiteY17879" fmla="*/ 1149049 h 6557032"/>
              <a:gd name="connsiteX17880" fmla="*/ 222306 w 4610101"/>
              <a:gd name="connsiteY17880" fmla="*/ 1152466 h 6557032"/>
              <a:gd name="connsiteX17881" fmla="*/ 224128 w 4610101"/>
              <a:gd name="connsiteY17881" fmla="*/ 1154288 h 6557032"/>
              <a:gd name="connsiteX17882" fmla="*/ 229594 w 4610101"/>
              <a:gd name="connsiteY17882" fmla="*/ 1152466 h 6557032"/>
              <a:gd name="connsiteX17883" fmla="*/ 223900 w 4610101"/>
              <a:gd name="connsiteY17883" fmla="*/ 1149049 h 6557032"/>
              <a:gd name="connsiteX17884" fmla="*/ 3114096 w 4610101"/>
              <a:gd name="connsiteY17884" fmla="*/ 1148822 h 6557032"/>
              <a:gd name="connsiteX17885" fmla="*/ 3106807 w 4610101"/>
              <a:gd name="connsiteY17885" fmla="*/ 1172510 h 6557032"/>
              <a:gd name="connsiteX17886" fmla="*/ 3117740 w 4610101"/>
              <a:gd name="connsiteY17886" fmla="*/ 1148822 h 6557032"/>
              <a:gd name="connsiteX17887" fmla="*/ 3114096 w 4610101"/>
              <a:gd name="connsiteY17887" fmla="*/ 1148822 h 6557032"/>
              <a:gd name="connsiteX17888" fmla="*/ 2233986 w 4610101"/>
              <a:gd name="connsiteY17888" fmla="*/ 1148822 h 6557032"/>
              <a:gd name="connsiteX17889" fmla="*/ 2230341 w 4610101"/>
              <a:gd name="connsiteY17889" fmla="*/ 1156111 h 6557032"/>
              <a:gd name="connsiteX17890" fmla="*/ 2239452 w 4610101"/>
              <a:gd name="connsiteY17890" fmla="*/ 1156111 h 6557032"/>
              <a:gd name="connsiteX17891" fmla="*/ 2237630 w 4610101"/>
              <a:gd name="connsiteY17891" fmla="*/ 1148822 h 6557032"/>
              <a:gd name="connsiteX17892" fmla="*/ 2044479 w 4610101"/>
              <a:gd name="connsiteY17892" fmla="*/ 1148822 h 6557032"/>
              <a:gd name="connsiteX17893" fmla="*/ 2035369 w 4610101"/>
              <a:gd name="connsiteY17893" fmla="*/ 1154288 h 6557032"/>
              <a:gd name="connsiteX17894" fmla="*/ 2042657 w 4610101"/>
              <a:gd name="connsiteY17894" fmla="*/ 1154288 h 6557032"/>
              <a:gd name="connsiteX17895" fmla="*/ 2046302 w 4610101"/>
              <a:gd name="connsiteY17895" fmla="*/ 1157933 h 6557032"/>
              <a:gd name="connsiteX17896" fmla="*/ 2040835 w 4610101"/>
              <a:gd name="connsiteY17896" fmla="*/ 1170688 h 6557032"/>
              <a:gd name="connsiteX17897" fmla="*/ 2044479 w 4610101"/>
              <a:gd name="connsiteY17897" fmla="*/ 1170688 h 6557032"/>
              <a:gd name="connsiteX17898" fmla="*/ 2048124 w 4610101"/>
              <a:gd name="connsiteY17898" fmla="*/ 1165222 h 6557032"/>
              <a:gd name="connsiteX17899" fmla="*/ 2059057 w 4610101"/>
              <a:gd name="connsiteY17899" fmla="*/ 1168866 h 6557032"/>
              <a:gd name="connsiteX17900" fmla="*/ 2059057 w 4610101"/>
              <a:gd name="connsiteY17900" fmla="*/ 1165222 h 6557032"/>
              <a:gd name="connsiteX17901" fmla="*/ 2053590 w 4610101"/>
              <a:gd name="connsiteY17901" fmla="*/ 1163399 h 6557032"/>
              <a:gd name="connsiteX17902" fmla="*/ 1158903 w 4610101"/>
              <a:gd name="connsiteY17902" fmla="*/ 1148822 h 6557032"/>
              <a:gd name="connsiteX17903" fmla="*/ 1158903 w 4610101"/>
              <a:gd name="connsiteY17903" fmla="*/ 1154288 h 6557032"/>
              <a:gd name="connsiteX17904" fmla="*/ 1157081 w 4610101"/>
              <a:gd name="connsiteY17904" fmla="*/ 1152466 h 6557032"/>
              <a:gd name="connsiteX17905" fmla="*/ 1158903 w 4610101"/>
              <a:gd name="connsiteY17905" fmla="*/ 1148822 h 6557032"/>
              <a:gd name="connsiteX17906" fmla="*/ 809046 w 4610101"/>
              <a:gd name="connsiteY17906" fmla="*/ 1148822 h 6557032"/>
              <a:gd name="connsiteX17907" fmla="*/ 812690 w 4610101"/>
              <a:gd name="connsiteY17907" fmla="*/ 1159755 h 6557032"/>
              <a:gd name="connsiteX17908" fmla="*/ 816334 w 4610101"/>
              <a:gd name="connsiteY17908" fmla="*/ 1156111 h 6557032"/>
              <a:gd name="connsiteX17909" fmla="*/ 809046 w 4610101"/>
              <a:gd name="connsiteY17909" fmla="*/ 1148822 h 6557032"/>
              <a:gd name="connsiteX17910" fmla="*/ 470121 w 4610101"/>
              <a:gd name="connsiteY17910" fmla="*/ 1148822 h 6557032"/>
              <a:gd name="connsiteX17911" fmla="*/ 475589 w 4610101"/>
              <a:gd name="connsiteY17911" fmla="*/ 1154288 h 6557032"/>
              <a:gd name="connsiteX17912" fmla="*/ 475589 w 4610101"/>
              <a:gd name="connsiteY17912" fmla="*/ 1150644 h 6557032"/>
              <a:gd name="connsiteX17913" fmla="*/ 470121 w 4610101"/>
              <a:gd name="connsiteY17913" fmla="*/ 1148822 h 6557032"/>
              <a:gd name="connsiteX17914" fmla="*/ 459188 w 4610101"/>
              <a:gd name="connsiteY17914" fmla="*/ 1148822 h 6557032"/>
              <a:gd name="connsiteX17915" fmla="*/ 455544 w 4610101"/>
              <a:gd name="connsiteY17915" fmla="*/ 1150644 h 6557032"/>
              <a:gd name="connsiteX17916" fmla="*/ 466478 w 4610101"/>
              <a:gd name="connsiteY17916" fmla="*/ 1152466 h 6557032"/>
              <a:gd name="connsiteX17917" fmla="*/ 459188 w 4610101"/>
              <a:gd name="connsiteY17917" fmla="*/ 1148822 h 6557032"/>
              <a:gd name="connsiteX17918" fmla="*/ 202262 w 4610101"/>
              <a:gd name="connsiteY17918" fmla="*/ 1148822 h 6557032"/>
              <a:gd name="connsiteX17919" fmla="*/ 236883 w 4610101"/>
              <a:gd name="connsiteY17919" fmla="*/ 1163399 h 6557032"/>
              <a:gd name="connsiteX17920" fmla="*/ 236883 w 4610101"/>
              <a:gd name="connsiteY17920" fmla="*/ 1159755 h 6557032"/>
              <a:gd name="connsiteX17921" fmla="*/ 215017 w 4610101"/>
              <a:gd name="connsiteY17921" fmla="*/ 1148822 h 6557032"/>
              <a:gd name="connsiteX17922" fmla="*/ 193151 w 4610101"/>
              <a:gd name="connsiteY17922" fmla="*/ 1148822 h 6557032"/>
              <a:gd name="connsiteX17923" fmla="*/ 202717 w 4610101"/>
              <a:gd name="connsiteY17923" fmla="*/ 1160894 h 6557032"/>
              <a:gd name="connsiteX17924" fmla="*/ 213088 w 4610101"/>
              <a:gd name="connsiteY17924" fmla="*/ 1167616 h 6557032"/>
              <a:gd name="connsiteX17925" fmla="*/ 211372 w 4610101"/>
              <a:gd name="connsiteY17925" fmla="*/ 1167044 h 6557032"/>
              <a:gd name="connsiteX17926" fmla="*/ 238705 w 4610101"/>
              <a:gd name="connsiteY17926" fmla="*/ 1192554 h 6557032"/>
              <a:gd name="connsiteX17927" fmla="*/ 236883 w 4610101"/>
              <a:gd name="connsiteY17927" fmla="*/ 1183443 h 6557032"/>
              <a:gd name="connsiteX17928" fmla="*/ 244172 w 4610101"/>
              <a:gd name="connsiteY17928" fmla="*/ 1187088 h 6557032"/>
              <a:gd name="connsiteX17929" fmla="*/ 232555 w 4610101"/>
              <a:gd name="connsiteY17929" fmla="*/ 1179571 h 6557032"/>
              <a:gd name="connsiteX17930" fmla="*/ 224957 w 4610101"/>
              <a:gd name="connsiteY17930" fmla="*/ 1172986 h 6557032"/>
              <a:gd name="connsiteX17931" fmla="*/ 238022 w 4610101"/>
              <a:gd name="connsiteY17931" fmla="*/ 1180482 h 6557032"/>
              <a:gd name="connsiteX17932" fmla="*/ 253282 w 4610101"/>
              <a:gd name="connsiteY17932" fmla="*/ 1187088 h 6557032"/>
              <a:gd name="connsiteX17933" fmla="*/ 244172 w 4610101"/>
              <a:gd name="connsiteY17933" fmla="*/ 1177977 h 6557032"/>
              <a:gd name="connsiteX17934" fmla="*/ 253282 w 4610101"/>
              <a:gd name="connsiteY17934" fmla="*/ 1177977 h 6557032"/>
              <a:gd name="connsiteX17935" fmla="*/ 237339 w 4610101"/>
              <a:gd name="connsiteY17935" fmla="*/ 1171144 h 6557032"/>
              <a:gd name="connsiteX17936" fmla="*/ 224378 w 4610101"/>
              <a:gd name="connsiteY17936" fmla="*/ 1172484 h 6557032"/>
              <a:gd name="connsiteX17937" fmla="*/ 222306 w 4610101"/>
              <a:gd name="connsiteY17937" fmla="*/ 1170688 h 6557032"/>
              <a:gd name="connsiteX17938" fmla="*/ 213802 w 4610101"/>
              <a:gd name="connsiteY17938" fmla="*/ 1167854 h 6557032"/>
              <a:gd name="connsiteX17939" fmla="*/ 204084 w 4610101"/>
              <a:gd name="connsiteY17939" fmla="*/ 1159755 h 6557032"/>
              <a:gd name="connsiteX17940" fmla="*/ 235061 w 4610101"/>
              <a:gd name="connsiteY17940" fmla="*/ 1170688 h 6557032"/>
              <a:gd name="connsiteX17941" fmla="*/ 227772 w 4610101"/>
              <a:gd name="connsiteY17941" fmla="*/ 1165222 h 6557032"/>
              <a:gd name="connsiteX17942" fmla="*/ 193151 w 4610101"/>
              <a:gd name="connsiteY17942" fmla="*/ 1148822 h 6557032"/>
              <a:gd name="connsiteX17943" fmla="*/ 2955351 w 4610101"/>
              <a:gd name="connsiteY17943" fmla="*/ 1148585 h 6557032"/>
              <a:gd name="connsiteX17944" fmla="*/ 2955795 w 4610101"/>
              <a:gd name="connsiteY17944" fmla="*/ 1149733 h 6557032"/>
              <a:gd name="connsiteX17945" fmla="*/ 2952322 w 4610101"/>
              <a:gd name="connsiteY17945" fmla="*/ 1155844 h 6557032"/>
              <a:gd name="connsiteX17946" fmla="*/ 2951922 w 4610101"/>
              <a:gd name="connsiteY17946" fmla="*/ 1156111 h 6557032"/>
              <a:gd name="connsiteX17947" fmla="*/ 2953289 w 4610101"/>
              <a:gd name="connsiteY17947" fmla="*/ 1150188 h 6557032"/>
              <a:gd name="connsiteX17948" fmla="*/ 867355 w 4610101"/>
              <a:gd name="connsiteY17948" fmla="*/ 1147037 h 6557032"/>
              <a:gd name="connsiteX17949" fmla="*/ 874644 w 4610101"/>
              <a:gd name="connsiteY17949" fmla="*/ 1156149 h 6557032"/>
              <a:gd name="connsiteX17950" fmla="*/ 872822 w 4610101"/>
              <a:gd name="connsiteY17950" fmla="*/ 1157971 h 6557032"/>
              <a:gd name="connsiteX17951" fmla="*/ 869177 w 4610101"/>
              <a:gd name="connsiteY17951" fmla="*/ 1154327 h 6557032"/>
              <a:gd name="connsiteX17952" fmla="*/ 865533 w 4610101"/>
              <a:gd name="connsiteY17952" fmla="*/ 1159793 h 6557032"/>
              <a:gd name="connsiteX17953" fmla="*/ 867355 w 4610101"/>
              <a:gd name="connsiteY17953" fmla="*/ 1147037 h 6557032"/>
              <a:gd name="connsiteX17954" fmla="*/ 2643975 w 4610101"/>
              <a:gd name="connsiteY17954" fmla="*/ 1147000 h 6557032"/>
              <a:gd name="connsiteX17955" fmla="*/ 2633042 w 4610101"/>
              <a:gd name="connsiteY17955" fmla="*/ 1156111 h 6557032"/>
              <a:gd name="connsiteX17956" fmla="*/ 2645797 w 4610101"/>
              <a:gd name="connsiteY17956" fmla="*/ 1154288 h 6557032"/>
              <a:gd name="connsiteX17957" fmla="*/ 2643975 w 4610101"/>
              <a:gd name="connsiteY17957" fmla="*/ 1147000 h 6557032"/>
              <a:gd name="connsiteX17958" fmla="*/ 2330561 w 4610101"/>
              <a:gd name="connsiteY17958" fmla="*/ 1147000 h 6557032"/>
              <a:gd name="connsiteX17959" fmla="*/ 2323272 w 4610101"/>
              <a:gd name="connsiteY17959" fmla="*/ 1156111 h 6557032"/>
              <a:gd name="connsiteX17960" fmla="*/ 2332383 w 4610101"/>
              <a:gd name="connsiteY17960" fmla="*/ 1154288 h 6557032"/>
              <a:gd name="connsiteX17961" fmla="*/ 2330561 w 4610101"/>
              <a:gd name="connsiteY17961" fmla="*/ 1147000 h 6557032"/>
              <a:gd name="connsiteX17962" fmla="*/ 2223053 w 4610101"/>
              <a:gd name="connsiteY17962" fmla="*/ 1147000 h 6557032"/>
              <a:gd name="connsiteX17963" fmla="*/ 2204831 w 4610101"/>
              <a:gd name="connsiteY17963" fmla="*/ 1159755 h 6557032"/>
              <a:gd name="connsiteX17964" fmla="*/ 2221230 w 4610101"/>
              <a:gd name="connsiteY17964" fmla="*/ 1156111 h 6557032"/>
              <a:gd name="connsiteX17965" fmla="*/ 2223053 w 4610101"/>
              <a:gd name="connsiteY17965" fmla="*/ 1147000 h 6557032"/>
              <a:gd name="connsiteX17966" fmla="*/ 1005840 w 4610101"/>
              <a:gd name="connsiteY17966" fmla="*/ 1147000 h 6557032"/>
              <a:gd name="connsiteX17967" fmla="*/ 1004018 w 4610101"/>
              <a:gd name="connsiteY17967" fmla="*/ 1154288 h 6557032"/>
              <a:gd name="connsiteX17968" fmla="*/ 1016774 w 4610101"/>
              <a:gd name="connsiteY17968" fmla="*/ 1154288 h 6557032"/>
              <a:gd name="connsiteX17969" fmla="*/ 1005840 w 4610101"/>
              <a:gd name="connsiteY17969" fmla="*/ 1147000 h 6557032"/>
              <a:gd name="connsiteX17970" fmla="*/ 707004 w 4610101"/>
              <a:gd name="connsiteY17970" fmla="*/ 1147000 h 6557032"/>
              <a:gd name="connsiteX17971" fmla="*/ 701537 w 4610101"/>
              <a:gd name="connsiteY17971" fmla="*/ 1148822 h 6557032"/>
              <a:gd name="connsiteX17972" fmla="*/ 712470 w 4610101"/>
              <a:gd name="connsiteY17972" fmla="*/ 1154288 h 6557032"/>
              <a:gd name="connsiteX17973" fmla="*/ 707004 w 4610101"/>
              <a:gd name="connsiteY17973" fmla="*/ 1147000 h 6557032"/>
              <a:gd name="connsiteX17974" fmla="*/ 491987 w 4610101"/>
              <a:gd name="connsiteY17974" fmla="*/ 1147000 h 6557032"/>
              <a:gd name="connsiteX17975" fmla="*/ 497454 w 4610101"/>
              <a:gd name="connsiteY17975" fmla="*/ 1150644 h 6557032"/>
              <a:gd name="connsiteX17976" fmla="*/ 491987 w 4610101"/>
              <a:gd name="connsiteY17976" fmla="*/ 1147000 h 6557032"/>
              <a:gd name="connsiteX17977" fmla="*/ 368079 w 4610101"/>
              <a:gd name="connsiteY17977" fmla="*/ 1147000 h 6557032"/>
              <a:gd name="connsiteX17978" fmla="*/ 371724 w 4610101"/>
              <a:gd name="connsiteY17978" fmla="*/ 1148822 h 6557032"/>
              <a:gd name="connsiteX17979" fmla="*/ 368079 w 4610101"/>
              <a:gd name="connsiteY17979" fmla="*/ 1147000 h 6557032"/>
              <a:gd name="connsiteX17980" fmla="*/ 349858 w 4610101"/>
              <a:gd name="connsiteY17980" fmla="*/ 1147000 h 6557032"/>
              <a:gd name="connsiteX17981" fmla="*/ 364435 w 4610101"/>
              <a:gd name="connsiteY17981" fmla="*/ 1152466 h 6557032"/>
              <a:gd name="connsiteX17982" fmla="*/ 357146 w 4610101"/>
              <a:gd name="connsiteY17982" fmla="*/ 1148822 h 6557032"/>
              <a:gd name="connsiteX17983" fmla="*/ 349858 w 4610101"/>
              <a:gd name="connsiteY17983" fmla="*/ 1147000 h 6557032"/>
              <a:gd name="connsiteX17984" fmla="*/ 297015 w 4610101"/>
              <a:gd name="connsiteY17984" fmla="*/ 1147000 h 6557032"/>
              <a:gd name="connsiteX17985" fmla="*/ 300660 w 4610101"/>
              <a:gd name="connsiteY17985" fmla="*/ 1150644 h 6557032"/>
              <a:gd name="connsiteX17986" fmla="*/ 297015 w 4610101"/>
              <a:gd name="connsiteY17986" fmla="*/ 1147000 h 6557032"/>
              <a:gd name="connsiteX17987" fmla="*/ 601317 w 4610101"/>
              <a:gd name="connsiteY17987" fmla="*/ 1146544 h 6557032"/>
              <a:gd name="connsiteX17988" fmla="*/ 601318 w 4610101"/>
              <a:gd name="connsiteY17988" fmla="*/ 1152466 h 6557032"/>
              <a:gd name="connsiteX17989" fmla="*/ 606784 w 4610101"/>
              <a:gd name="connsiteY17989" fmla="*/ 1148822 h 6557032"/>
              <a:gd name="connsiteX17990" fmla="*/ 601317 w 4610101"/>
              <a:gd name="connsiteY17990" fmla="*/ 1146544 h 6557032"/>
              <a:gd name="connsiteX17991" fmla="*/ 3356445 w 4610101"/>
              <a:gd name="connsiteY17991" fmla="*/ 1145178 h 6557032"/>
              <a:gd name="connsiteX17992" fmla="*/ 3360374 w 4610101"/>
              <a:gd name="connsiteY17992" fmla="*/ 1147692 h 6557032"/>
              <a:gd name="connsiteX17993" fmla="*/ 3358495 w 4610101"/>
              <a:gd name="connsiteY17993" fmla="*/ 1148366 h 6557032"/>
              <a:gd name="connsiteX17994" fmla="*/ 3356142 w 4610101"/>
              <a:gd name="connsiteY17994" fmla="*/ 1148509 h 6557032"/>
              <a:gd name="connsiteX17995" fmla="*/ 3106807 w 4610101"/>
              <a:gd name="connsiteY17995" fmla="*/ 1145178 h 6557032"/>
              <a:gd name="connsiteX17996" fmla="*/ 3099518 w 4610101"/>
              <a:gd name="connsiteY17996" fmla="*/ 1148822 h 6557032"/>
              <a:gd name="connsiteX17997" fmla="*/ 3101340 w 4610101"/>
              <a:gd name="connsiteY17997" fmla="*/ 1159755 h 6557032"/>
              <a:gd name="connsiteX17998" fmla="*/ 3095874 w 4610101"/>
              <a:gd name="connsiteY17998" fmla="*/ 1159755 h 6557032"/>
              <a:gd name="connsiteX17999" fmla="*/ 3097696 w 4610101"/>
              <a:gd name="connsiteY17999" fmla="*/ 1150644 h 6557032"/>
              <a:gd name="connsiteX18000" fmla="*/ 3081297 w 4610101"/>
              <a:gd name="connsiteY18000" fmla="*/ 1152466 h 6557032"/>
              <a:gd name="connsiteX18001" fmla="*/ 3104985 w 4610101"/>
              <a:gd name="connsiteY18001" fmla="*/ 1170688 h 6557032"/>
              <a:gd name="connsiteX18002" fmla="*/ 3101340 w 4610101"/>
              <a:gd name="connsiteY18002" fmla="*/ 1159755 h 6557032"/>
              <a:gd name="connsiteX18003" fmla="*/ 3106807 w 4610101"/>
              <a:gd name="connsiteY18003" fmla="*/ 1145178 h 6557032"/>
              <a:gd name="connsiteX18004" fmla="*/ 2286829 w 4610101"/>
              <a:gd name="connsiteY18004" fmla="*/ 1145178 h 6557032"/>
              <a:gd name="connsiteX18005" fmla="*/ 2281362 w 4610101"/>
              <a:gd name="connsiteY18005" fmla="*/ 1163399 h 6557032"/>
              <a:gd name="connsiteX18006" fmla="*/ 2290473 w 4610101"/>
              <a:gd name="connsiteY18006" fmla="*/ 1161577 h 6557032"/>
              <a:gd name="connsiteX18007" fmla="*/ 2286829 w 4610101"/>
              <a:gd name="connsiteY18007" fmla="*/ 1145178 h 6557032"/>
              <a:gd name="connsiteX18008" fmla="*/ 1082373 w 4610101"/>
              <a:gd name="connsiteY18008" fmla="*/ 1145178 h 6557032"/>
              <a:gd name="connsiteX18009" fmla="*/ 1082373 w 4610101"/>
              <a:gd name="connsiteY18009" fmla="*/ 1156111 h 6557032"/>
              <a:gd name="connsiteX18010" fmla="*/ 1089660 w 4610101"/>
              <a:gd name="connsiteY18010" fmla="*/ 1145178 h 6557032"/>
              <a:gd name="connsiteX18011" fmla="*/ 1082373 w 4610101"/>
              <a:gd name="connsiteY18011" fmla="*/ 1145178 h 6557032"/>
              <a:gd name="connsiteX18012" fmla="*/ 1036818 w 4610101"/>
              <a:gd name="connsiteY18012" fmla="*/ 1145178 h 6557032"/>
              <a:gd name="connsiteX18013" fmla="*/ 1034995 w 4610101"/>
              <a:gd name="connsiteY18013" fmla="*/ 1148822 h 6557032"/>
              <a:gd name="connsiteX18014" fmla="*/ 1036818 w 4610101"/>
              <a:gd name="connsiteY18014" fmla="*/ 1145178 h 6557032"/>
              <a:gd name="connsiteX18015" fmla="*/ 1000374 w 4610101"/>
              <a:gd name="connsiteY18015" fmla="*/ 1145178 h 6557032"/>
              <a:gd name="connsiteX18016" fmla="*/ 996729 w 4610101"/>
              <a:gd name="connsiteY18016" fmla="*/ 1152466 h 6557032"/>
              <a:gd name="connsiteX18017" fmla="*/ 1000374 w 4610101"/>
              <a:gd name="connsiteY18017" fmla="*/ 1154288 h 6557032"/>
              <a:gd name="connsiteX18018" fmla="*/ 998552 w 4610101"/>
              <a:gd name="connsiteY18018" fmla="*/ 1152466 h 6557032"/>
              <a:gd name="connsiteX18019" fmla="*/ 1002196 w 4610101"/>
              <a:gd name="connsiteY18019" fmla="*/ 1154288 h 6557032"/>
              <a:gd name="connsiteX18020" fmla="*/ 1004018 w 4610101"/>
              <a:gd name="connsiteY18020" fmla="*/ 1147000 h 6557032"/>
              <a:gd name="connsiteX18021" fmla="*/ 1000374 w 4610101"/>
              <a:gd name="connsiteY18021" fmla="*/ 1145178 h 6557032"/>
              <a:gd name="connsiteX18022" fmla="*/ 799935 w 4610101"/>
              <a:gd name="connsiteY18022" fmla="*/ 1145178 h 6557032"/>
              <a:gd name="connsiteX18023" fmla="*/ 809046 w 4610101"/>
              <a:gd name="connsiteY18023" fmla="*/ 1157933 h 6557032"/>
              <a:gd name="connsiteX18024" fmla="*/ 799935 w 4610101"/>
              <a:gd name="connsiteY18024" fmla="*/ 1145178 h 6557032"/>
              <a:gd name="connsiteX18025" fmla="*/ 650516 w 4610101"/>
              <a:gd name="connsiteY18025" fmla="*/ 1145178 h 6557032"/>
              <a:gd name="connsiteX18026" fmla="*/ 659627 w 4610101"/>
              <a:gd name="connsiteY18026" fmla="*/ 1152466 h 6557032"/>
              <a:gd name="connsiteX18027" fmla="*/ 650516 w 4610101"/>
              <a:gd name="connsiteY18027" fmla="*/ 1145178 h 6557032"/>
              <a:gd name="connsiteX18028" fmla="*/ 292460 w 4610101"/>
              <a:gd name="connsiteY18028" fmla="*/ 1144722 h 6557032"/>
              <a:gd name="connsiteX18029" fmla="*/ 289726 w 4610101"/>
              <a:gd name="connsiteY18029" fmla="*/ 1145178 h 6557032"/>
              <a:gd name="connsiteX18030" fmla="*/ 295193 w 4610101"/>
              <a:gd name="connsiteY18030" fmla="*/ 1147000 h 6557032"/>
              <a:gd name="connsiteX18031" fmla="*/ 292460 w 4610101"/>
              <a:gd name="connsiteY18031" fmla="*/ 1144722 h 6557032"/>
              <a:gd name="connsiteX18032" fmla="*/ 694932 w 4610101"/>
              <a:gd name="connsiteY18032" fmla="*/ 1144722 h 6557032"/>
              <a:gd name="connsiteX18033" fmla="*/ 688782 w 4610101"/>
              <a:gd name="connsiteY18033" fmla="*/ 1145178 h 6557032"/>
              <a:gd name="connsiteX18034" fmla="*/ 699715 w 4610101"/>
              <a:gd name="connsiteY18034" fmla="*/ 1147000 h 6557032"/>
              <a:gd name="connsiteX18035" fmla="*/ 694932 w 4610101"/>
              <a:gd name="connsiteY18035" fmla="*/ 1144722 h 6557032"/>
              <a:gd name="connsiteX18036" fmla="*/ 3381955 w 4610101"/>
              <a:gd name="connsiteY18036" fmla="*/ 1143355 h 6557032"/>
              <a:gd name="connsiteX18037" fmla="*/ 3381506 w 4610101"/>
              <a:gd name="connsiteY18037" fmla="*/ 1145039 h 6557032"/>
              <a:gd name="connsiteX18038" fmla="*/ 3378311 w 4610101"/>
              <a:gd name="connsiteY18038" fmla="*/ 1145178 h 6557032"/>
              <a:gd name="connsiteX18039" fmla="*/ 3377304 w 4610101"/>
              <a:gd name="connsiteY18039" fmla="*/ 1144130 h 6557032"/>
              <a:gd name="connsiteX18040" fmla="*/ 2334205 w 4610101"/>
              <a:gd name="connsiteY18040" fmla="*/ 1143355 h 6557032"/>
              <a:gd name="connsiteX18041" fmla="*/ 2336027 w 4610101"/>
              <a:gd name="connsiteY18041" fmla="*/ 1148822 h 6557032"/>
              <a:gd name="connsiteX18042" fmla="*/ 2334205 w 4610101"/>
              <a:gd name="connsiteY18042" fmla="*/ 1143355 h 6557032"/>
              <a:gd name="connsiteX18043" fmla="*/ 852778 w 4610101"/>
              <a:gd name="connsiteY18043" fmla="*/ 1143355 h 6557032"/>
              <a:gd name="connsiteX18044" fmla="*/ 849133 w 4610101"/>
              <a:gd name="connsiteY18044" fmla="*/ 1148822 h 6557032"/>
              <a:gd name="connsiteX18045" fmla="*/ 854600 w 4610101"/>
              <a:gd name="connsiteY18045" fmla="*/ 1145178 h 6557032"/>
              <a:gd name="connsiteX18046" fmla="*/ 852778 w 4610101"/>
              <a:gd name="connsiteY18046" fmla="*/ 1143355 h 6557032"/>
              <a:gd name="connsiteX18047" fmla="*/ 794468 w 4610101"/>
              <a:gd name="connsiteY18047" fmla="*/ 1143355 h 6557032"/>
              <a:gd name="connsiteX18048" fmla="*/ 794832 w 4610101"/>
              <a:gd name="connsiteY18048" fmla="*/ 1145906 h 6557032"/>
              <a:gd name="connsiteX18049" fmla="*/ 793947 w 4610101"/>
              <a:gd name="connsiteY18049" fmla="*/ 1144136 h 6557032"/>
              <a:gd name="connsiteX18050" fmla="*/ 637761 w 4610101"/>
              <a:gd name="connsiteY18050" fmla="*/ 1143355 h 6557032"/>
              <a:gd name="connsiteX18051" fmla="*/ 645050 w 4610101"/>
              <a:gd name="connsiteY18051" fmla="*/ 1152466 h 6557032"/>
              <a:gd name="connsiteX18052" fmla="*/ 637761 w 4610101"/>
              <a:gd name="connsiteY18052" fmla="*/ 1143355 h 6557032"/>
              <a:gd name="connsiteX18053" fmla="*/ 561230 w 4610101"/>
              <a:gd name="connsiteY18053" fmla="*/ 1143355 h 6557032"/>
              <a:gd name="connsiteX18054" fmla="*/ 563052 w 4610101"/>
              <a:gd name="connsiteY18054" fmla="*/ 1147000 h 6557032"/>
              <a:gd name="connsiteX18055" fmla="*/ 561230 w 4610101"/>
              <a:gd name="connsiteY18055" fmla="*/ 1143355 h 6557032"/>
              <a:gd name="connsiteX18056" fmla="*/ 342569 w 4610101"/>
              <a:gd name="connsiteY18056" fmla="*/ 1143355 h 6557032"/>
              <a:gd name="connsiteX18057" fmla="*/ 338926 w 4610101"/>
              <a:gd name="connsiteY18057" fmla="*/ 1148822 h 6557032"/>
              <a:gd name="connsiteX18058" fmla="*/ 348037 w 4610101"/>
              <a:gd name="connsiteY18058" fmla="*/ 1156111 h 6557032"/>
              <a:gd name="connsiteX18059" fmla="*/ 357146 w 4610101"/>
              <a:gd name="connsiteY18059" fmla="*/ 1154288 h 6557032"/>
              <a:gd name="connsiteX18060" fmla="*/ 342569 w 4610101"/>
              <a:gd name="connsiteY18060" fmla="*/ 1143355 h 6557032"/>
              <a:gd name="connsiteX18061" fmla="*/ 2840769 w 4610101"/>
              <a:gd name="connsiteY18061" fmla="*/ 1141533 h 6557032"/>
              <a:gd name="connsiteX18062" fmla="*/ 2835303 w 4610101"/>
              <a:gd name="connsiteY18062" fmla="*/ 1148822 h 6557032"/>
              <a:gd name="connsiteX18063" fmla="*/ 2838947 w 4610101"/>
              <a:gd name="connsiteY18063" fmla="*/ 1150644 h 6557032"/>
              <a:gd name="connsiteX18064" fmla="*/ 2829837 w 4610101"/>
              <a:gd name="connsiteY18064" fmla="*/ 1156111 h 6557032"/>
              <a:gd name="connsiteX18065" fmla="*/ 2828014 w 4610101"/>
              <a:gd name="connsiteY18065" fmla="*/ 1181621 h 6557032"/>
              <a:gd name="connsiteX18066" fmla="*/ 2853525 w 4610101"/>
              <a:gd name="connsiteY18066" fmla="*/ 1147000 h 6557032"/>
              <a:gd name="connsiteX18067" fmla="*/ 2840769 w 4610101"/>
              <a:gd name="connsiteY18067" fmla="*/ 1141533 h 6557032"/>
              <a:gd name="connsiteX18068" fmla="*/ 934777 w 4610101"/>
              <a:gd name="connsiteY18068" fmla="*/ 1141533 h 6557032"/>
              <a:gd name="connsiteX18069" fmla="*/ 940242 w 4610101"/>
              <a:gd name="connsiteY18069" fmla="*/ 1143355 h 6557032"/>
              <a:gd name="connsiteX18070" fmla="*/ 934777 w 4610101"/>
              <a:gd name="connsiteY18070" fmla="*/ 1141533 h 6557032"/>
              <a:gd name="connsiteX18071" fmla="*/ 927487 w 4610101"/>
              <a:gd name="connsiteY18071" fmla="*/ 1141533 h 6557032"/>
              <a:gd name="connsiteX18072" fmla="*/ 929309 w 4610101"/>
              <a:gd name="connsiteY18072" fmla="*/ 1156111 h 6557032"/>
              <a:gd name="connsiteX18073" fmla="*/ 927487 w 4610101"/>
              <a:gd name="connsiteY18073" fmla="*/ 1141533 h 6557032"/>
              <a:gd name="connsiteX18074" fmla="*/ 845489 w 4610101"/>
              <a:gd name="connsiteY18074" fmla="*/ 1141533 h 6557032"/>
              <a:gd name="connsiteX18075" fmla="*/ 847311 w 4610101"/>
              <a:gd name="connsiteY18075" fmla="*/ 1147000 h 6557032"/>
              <a:gd name="connsiteX18076" fmla="*/ 845489 w 4610101"/>
              <a:gd name="connsiteY18076" fmla="*/ 1141533 h 6557032"/>
              <a:gd name="connsiteX18077" fmla="*/ 378101 w 4610101"/>
              <a:gd name="connsiteY18077" fmla="*/ 1141077 h 6557032"/>
              <a:gd name="connsiteX18078" fmla="*/ 375368 w 4610101"/>
              <a:gd name="connsiteY18078" fmla="*/ 1141533 h 6557032"/>
              <a:gd name="connsiteX18079" fmla="*/ 380835 w 4610101"/>
              <a:gd name="connsiteY18079" fmla="*/ 1143355 h 6557032"/>
              <a:gd name="connsiteX18080" fmla="*/ 378101 w 4610101"/>
              <a:gd name="connsiteY18080" fmla="*/ 1141077 h 6557032"/>
              <a:gd name="connsiteX18081" fmla="*/ 1085036 w 4610101"/>
              <a:gd name="connsiteY18081" fmla="*/ 1140552 h 6557032"/>
              <a:gd name="connsiteX18082" fmla="*/ 1087175 w 4610101"/>
              <a:gd name="connsiteY18082" fmla="*/ 1142692 h 6557032"/>
              <a:gd name="connsiteX18083" fmla="*/ 1084194 w 4610101"/>
              <a:gd name="connsiteY18083" fmla="*/ 1143355 h 6557032"/>
              <a:gd name="connsiteX18084" fmla="*/ 1476119 w 4610101"/>
              <a:gd name="connsiteY18084" fmla="*/ 1139949 h 6557032"/>
              <a:gd name="connsiteX18085" fmla="*/ 1472317 w 4610101"/>
              <a:gd name="connsiteY18085" fmla="*/ 1141533 h 6557032"/>
              <a:gd name="connsiteX18086" fmla="*/ 1473309 w 4610101"/>
              <a:gd name="connsiteY18086" fmla="*/ 1140350 h 6557032"/>
              <a:gd name="connsiteX18087" fmla="*/ 2219408 w 4610101"/>
              <a:gd name="connsiteY18087" fmla="*/ 1139711 h 6557032"/>
              <a:gd name="connsiteX18088" fmla="*/ 2201187 w 4610101"/>
              <a:gd name="connsiteY18088" fmla="*/ 1143355 h 6557032"/>
              <a:gd name="connsiteX18089" fmla="*/ 2203009 w 4610101"/>
              <a:gd name="connsiteY18089" fmla="*/ 1152466 h 6557032"/>
              <a:gd name="connsiteX18090" fmla="*/ 2219408 w 4610101"/>
              <a:gd name="connsiteY18090" fmla="*/ 1139711 h 6557032"/>
              <a:gd name="connsiteX18091" fmla="*/ 796290 w 4610101"/>
              <a:gd name="connsiteY18091" fmla="*/ 1139711 h 6557032"/>
              <a:gd name="connsiteX18092" fmla="*/ 792646 w 4610101"/>
              <a:gd name="connsiteY18092" fmla="*/ 1141533 h 6557032"/>
              <a:gd name="connsiteX18093" fmla="*/ 793947 w 4610101"/>
              <a:gd name="connsiteY18093" fmla="*/ 1144136 h 6557032"/>
              <a:gd name="connsiteX18094" fmla="*/ 790824 w 4610101"/>
              <a:gd name="connsiteY18094" fmla="*/ 1148822 h 6557032"/>
              <a:gd name="connsiteX18095" fmla="*/ 790824 w 4610101"/>
              <a:gd name="connsiteY18095" fmla="*/ 1147000 h 6557032"/>
              <a:gd name="connsiteX18096" fmla="*/ 790824 w 4610101"/>
              <a:gd name="connsiteY18096" fmla="*/ 1152466 h 6557032"/>
              <a:gd name="connsiteX18097" fmla="*/ 796290 w 4610101"/>
              <a:gd name="connsiteY18097" fmla="*/ 1156111 h 6557032"/>
              <a:gd name="connsiteX18098" fmla="*/ 794832 w 4610101"/>
              <a:gd name="connsiteY18098" fmla="*/ 1145906 h 6557032"/>
              <a:gd name="connsiteX18099" fmla="*/ 796290 w 4610101"/>
              <a:gd name="connsiteY18099" fmla="*/ 1148822 h 6557032"/>
              <a:gd name="connsiteX18100" fmla="*/ 796290 w 4610101"/>
              <a:gd name="connsiteY18100" fmla="*/ 1139711 h 6557032"/>
              <a:gd name="connsiteX18101" fmla="*/ 787179 w 4610101"/>
              <a:gd name="connsiteY18101" fmla="*/ 1139711 h 6557032"/>
              <a:gd name="connsiteX18102" fmla="*/ 789003 w 4610101"/>
              <a:gd name="connsiteY18102" fmla="*/ 1145178 h 6557032"/>
              <a:gd name="connsiteX18103" fmla="*/ 787179 w 4610101"/>
              <a:gd name="connsiteY18103" fmla="*/ 1139711 h 6557032"/>
              <a:gd name="connsiteX18104" fmla="*/ 641407 w 4610101"/>
              <a:gd name="connsiteY18104" fmla="*/ 1139711 h 6557032"/>
              <a:gd name="connsiteX18105" fmla="*/ 645050 w 4610101"/>
              <a:gd name="connsiteY18105" fmla="*/ 1145178 h 6557032"/>
              <a:gd name="connsiteX18106" fmla="*/ 641407 w 4610101"/>
              <a:gd name="connsiteY18106" fmla="*/ 1139711 h 6557032"/>
              <a:gd name="connsiteX18107" fmla="*/ 495632 w 4610101"/>
              <a:gd name="connsiteY18107" fmla="*/ 1139711 h 6557032"/>
              <a:gd name="connsiteX18108" fmla="*/ 506565 w 4610101"/>
              <a:gd name="connsiteY18108" fmla="*/ 1143355 h 6557032"/>
              <a:gd name="connsiteX18109" fmla="*/ 495632 w 4610101"/>
              <a:gd name="connsiteY18109" fmla="*/ 1139711 h 6557032"/>
              <a:gd name="connsiteX18110" fmla="*/ 98397 w 4610101"/>
              <a:gd name="connsiteY18110" fmla="*/ 1137920 h 6557032"/>
              <a:gd name="connsiteX18111" fmla="*/ 116619 w 4610101"/>
              <a:gd name="connsiteY18111" fmla="*/ 1152498 h 6557032"/>
              <a:gd name="connsiteX18112" fmla="*/ 98397 w 4610101"/>
              <a:gd name="connsiteY18112" fmla="*/ 1137920 h 6557032"/>
              <a:gd name="connsiteX18113" fmla="*/ 2294117 w 4610101"/>
              <a:gd name="connsiteY18113" fmla="*/ 1137889 h 6557032"/>
              <a:gd name="connsiteX18114" fmla="*/ 2299584 w 4610101"/>
              <a:gd name="connsiteY18114" fmla="*/ 1147000 h 6557032"/>
              <a:gd name="connsiteX18115" fmla="*/ 2301406 w 4610101"/>
              <a:gd name="connsiteY18115" fmla="*/ 1137889 h 6557032"/>
              <a:gd name="connsiteX18116" fmla="*/ 2294117 w 4610101"/>
              <a:gd name="connsiteY18116" fmla="*/ 1137889 h 6557032"/>
              <a:gd name="connsiteX18117" fmla="*/ 1047750 w 4610101"/>
              <a:gd name="connsiteY18117" fmla="*/ 1137889 h 6557032"/>
              <a:gd name="connsiteX18118" fmla="*/ 1040462 w 4610101"/>
              <a:gd name="connsiteY18118" fmla="*/ 1147000 h 6557032"/>
              <a:gd name="connsiteX18119" fmla="*/ 1044106 w 4610101"/>
              <a:gd name="connsiteY18119" fmla="*/ 1145178 h 6557032"/>
              <a:gd name="connsiteX18120" fmla="*/ 1040462 w 4610101"/>
              <a:gd name="connsiteY18120" fmla="*/ 1150644 h 6557032"/>
              <a:gd name="connsiteX18121" fmla="*/ 1040462 w 4610101"/>
              <a:gd name="connsiteY18121" fmla="*/ 1152466 h 6557032"/>
              <a:gd name="connsiteX18122" fmla="*/ 1047750 w 4610101"/>
              <a:gd name="connsiteY18122" fmla="*/ 1154288 h 6557032"/>
              <a:gd name="connsiteX18123" fmla="*/ 1047750 w 4610101"/>
              <a:gd name="connsiteY18123" fmla="*/ 1137889 h 6557032"/>
              <a:gd name="connsiteX18124" fmla="*/ 1013129 w 4610101"/>
              <a:gd name="connsiteY18124" fmla="*/ 1137889 h 6557032"/>
              <a:gd name="connsiteX18125" fmla="*/ 1000374 w 4610101"/>
              <a:gd name="connsiteY18125" fmla="*/ 1139711 h 6557032"/>
              <a:gd name="connsiteX18126" fmla="*/ 1004018 w 4610101"/>
              <a:gd name="connsiteY18126" fmla="*/ 1143355 h 6557032"/>
              <a:gd name="connsiteX18127" fmla="*/ 1005840 w 4610101"/>
              <a:gd name="connsiteY18127" fmla="*/ 1139711 h 6557032"/>
              <a:gd name="connsiteX18128" fmla="*/ 1016774 w 4610101"/>
              <a:gd name="connsiteY18128" fmla="*/ 1150644 h 6557032"/>
              <a:gd name="connsiteX18129" fmla="*/ 1013129 w 4610101"/>
              <a:gd name="connsiteY18129" fmla="*/ 1137889 h 6557032"/>
              <a:gd name="connsiteX18130" fmla="*/ 947531 w 4610101"/>
              <a:gd name="connsiteY18130" fmla="*/ 1137889 h 6557032"/>
              <a:gd name="connsiteX18131" fmla="*/ 938420 w 4610101"/>
              <a:gd name="connsiteY18131" fmla="*/ 1148822 h 6557032"/>
              <a:gd name="connsiteX18132" fmla="*/ 947531 w 4610101"/>
              <a:gd name="connsiteY18132" fmla="*/ 1137889 h 6557032"/>
              <a:gd name="connsiteX18133" fmla="*/ 770781 w 4610101"/>
              <a:gd name="connsiteY18133" fmla="*/ 1137889 h 6557032"/>
              <a:gd name="connsiteX18134" fmla="*/ 776246 w 4610101"/>
              <a:gd name="connsiteY18134" fmla="*/ 1154288 h 6557032"/>
              <a:gd name="connsiteX18135" fmla="*/ 779892 w 4610101"/>
              <a:gd name="connsiteY18135" fmla="*/ 1148822 h 6557032"/>
              <a:gd name="connsiteX18136" fmla="*/ 770781 w 4610101"/>
              <a:gd name="connsiteY18136" fmla="*/ 1137889 h 6557032"/>
              <a:gd name="connsiteX18137" fmla="*/ 513853 w 4610101"/>
              <a:gd name="connsiteY18137" fmla="*/ 1137889 h 6557032"/>
              <a:gd name="connsiteX18138" fmla="*/ 522964 w 4610101"/>
              <a:gd name="connsiteY18138" fmla="*/ 1139711 h 6557032"/>
              <a:gd name="connsiteX18139" fmla="*/ 513853 w 4610101"/>
              <a:gd name="connsiteY18139" fmla="*/ 1137889 h 6557032"/>
              <a:gd name="connsiteX18140" fmla="*/ 389946 w 4610101"/>
              <a:gd name="connsiteY18140" fmla="*/ 1137889 h 6557032"/>
              <a:gd name="connsiteX18141" fmla="*/ 388123 w 4610101"/>
              <a:gd name="connsiteY18141" fmla="*/ 1139711 h 6557032"/>
              <a:gd name="connsiteX18142" fmla="*/ 393590 w 4610101"/>
              <a:gd name="connsiteY18142" fmla="*/ 1139711 h 6557032"/>
              <a:gd name="connsiteX18143" fmla="*/ 389946 w 4610101"/>
              <a:gd name="connsiteY18143" fmla="*/ 1137889 h 6557032"/>
              <a:gd name="connsiteX18144" fmla="*/ 1116470 w 4610101"/>
              <a:gd name="connsiteY18144" fmla="*/ 1137860 h 6557032"/>
              <a:gd name="connsiteX18145" fmla="*/ 1116993 w 4610101"/>
              <a:gd name="connsiteY18145" fmla="*/ 1137889 h 6557032"/>
              <a:gd name="connsiteX18146" fmla="*/ 1114954 w 4610101"/>
              <a:gd name="connsiteY18146" fmla="*/ 1139247 h 6557032"/>
              <a:gd name="connsiteX18147" fmla="*/ 1114943 w 4610101"/>
              <a:gd name="connsiteY18147" fmla="*/ 1139028 h 6557032"/>
              <a:gd name="connsiteX18148" fmla="*/ 65598 w 4610101"/>
              <a:gd name="connsiteY18148" fmla="*/ 1136114 h 6557032"/>
              <a:gd name="connsiteX18149" fmla="*/ 71065 w 4610101"/>
              <a:gd name="connsiteY18149" fmla="*/ 1143403 h 6557032"/>
              <a:gd name="connsiteX18150" fmla="*/ 71065 w 4610101"/>
              <a:gd name="connsiteY18150" fmla="*/ 1139759 h 6557032"/>
              <a:gd name="connsiteX18151" fmla="*/ 85642 w 4610101"/>
              <a:gd name="connsiteY18151" fmla="*/ 1152514 h 6557032"/>
              <a:gd name="connsiteX18152" fmla="*/ 65598 w 4610101"/>
              <a:gd name="connsiteY18152" fmla="*/ 1136114 h 6557032"/>
              <a:gd name="connsiteX18153" fmla="*/ 1869551 w 4610101"/>
              <a:gd name="connsiteY18153" fmla="*/ 1136067 h 6557032"/>
              <a:gd name="connsiteX18154" fmla="*/ 1872144 w 4610101"/>
              <a:gd name="connsiteY18154" fmla="*/ 1140388 h 6557032"/>
              <a:gd name="connsiteX18155" fmla="*/ 1872983 w 4610101"/>
              <a:gd name="connsiteY18155" fmla="*/ 1145516 h 6557032"/>
              <a:gd name="connsiteX18156" fmla="*/ 1870917 w 4610101"/>
              <a:gd name="connsiteY18156" fmla="*/ 1145861 h 6557032"/>
              <a:gd name="connsiteX18157" fmla="*/ 1869551 w 4610101"/>
              <a:gd name="connsiteY18157" fmla="*/ 1150644 h 6557032"/>
              <a:gd name="connsiteX18158" fmla="*/ 1869551 w 4610101"/>
              <a:gd name="connsiteY18158" fmla="*/ 1136067 h 6557032"/>
              <a:gd name="connsiteX18159" fmla="*/ 1118815 w 4610101"/>
              <a:gd name="connsiteY18159" fmla="*/ 1136067 h 6557032"/>
              <a:gd name="connsiteX18160" fmla="*/ 1116470 w 4610101"/>
              <a:gd name="connsiteY18160" fmla="*/ 1137860 h 6557032"/>
              <a:gd name="connsiteX18161" fmla="*/ 1112893 w 4610101"/>
              <a:gd name="connsiteY18161" fmla="*/ 1137661 h 6557032"/>
              <a:gd name="connsiteX18162" fmla="*/ 1111526 w 4610101"/>
              <a:gd name="connsiteY18162" fmla="*/ 1141533 h 6557032"/>
              <a:gd name="connsiteX18163" fmla="*/ 1114954 w 4610101"/>
              <a:gd name="connsiteY18163" fmla="*/ 1139247 h 6557032"/>
              <a:gd name="connsiteX18164" fmla="*/ 1115171 w 4610101"/>
              <a:gd name="connsiteY18164" fmla="*/ 1143355 h 6557032"/>
              <a:gd name="connsiteX18165" fmla="*/ 1118815 w 4610101"/>
              <a:gd name="connsiteY18165" fmla="*/ 1139711 h 6557032"/>
              <a:gd name="connsiteX18166" fmla="*/ 1118815 w 4610101"/>
              <a:gd name="connsiteY18166" fmla="*/ 1145178 h 6557032"/>
              <a:gd name="connsiteX18167" fmla="*/ 1115171 w 4610101"/>
              <a:gd name="connsiteY18167" fmla="*/ 1150644 h 6557032"/>
              <a:gd name="connsiteX18168" fmla="*/ 1116993 w 4610101"/>
              <a:gd name="connsiteY18168" fmla="*/ 1145178 h 6557032"/>
              <a:gd name="connsiteX18169" fmla="*/ 1095127 w 4610101"/>
              <a:gd name="connsiteY18169" fmla="*/ 1165222 h 6557032"/>
              <a:gd name="connsiteX18170" fmla="*/ 1104238 w 4610101"/>
              <a:gd name="connsiteY18170" fmla="*/ 1165222 h 6557032"/>
              <a:gd name="connsiteX18171" fmla="*/ 1111526 w 4610101"/>
              <a:gd name="connsiteY18171" fmla="*/ 1154288 h 6557032"/>
              <a:gd name="connsiteX18172" fmla="*/ 1113349 w 4610101"/>
              <a:gd name="connsiteY18172" fmla="*/ 1154288 h 6557032"/>
              <a:gd name="connsiteX18173" fmla="*/ 1109704 w 4610101"/>
              <a:gd name="connsiteY18173" fmla="*/ 1163399 h 6557032"/>
              <a:gd name="connsiteX18174" fmla="*/ 1120637 w 4610101"/>
              <a:gd name="connsiteY18174" fmla="*/ 1157933 h 6557032"/>
              <a:gd name="connsiteX18175" fmla="*/ 1124281 w 4610101"/>
              <a:gd name="connsiteY18175" fmla="*/ 1159755 h 6557032"/>
              <a:gd name="connsiteX18176" fmla="*/ 1115171 w 4610101"/>
              <a:gd name="connsiteY18176" fmla="*/ 1161577 h 6557032"/>
              <a:gd name="connsiteX18177" fmla="*/ 1109704 w 4610101"/>
              <a:gd name="connsiteY18177" fmla="*/ 1165222 h 6557032"/>
              <a:gd name="connsiteX18178" fmla="*/ 1135215 w 4610101"/>
              <a:gd name="connsiteY18178" fmla="*/ 1167044 h 6557032"/>
              <a:gd name="connsiteX18179" fmla="*/ 1131570 w 4610101"/>
              <a:gd name="connsiteY18179" fmla="*/ 1165222 h 6557032"/>
              <a:gd name="connsiteX18180" fmla="*/ 1137037 w 4610101"/>
              <a:gd name="connsiteY18180" fmla="*/ 1165222 h 6557032"/>
              <a:gd name="connsiteX18181" fmla="*/ 1137037 w 4610101"/>
              <a:gd name="connsiteY18181" fmla="*/ 1157933 h 6557032"/>
              <a:gd name="connsiteX18182" fmla="*/ 1138859 w 4610101"/>
              <a:gd name="connsiteY18182" fmla="*/ 1161577 h 6557032"/>
              <a:gd name="connsiteX18183" fmla="*/ 1142503 w 4610101"/>
              <a:gd name="connsiteY18183" fmla="*/ 1159755 h 6557032"/>
              <a:gd name="connsiteX18184" fmla="*/ 1141820 w 4610101"/>
              <a:gd name="connsiteY18184" fmla="*/ 1158161 h 6557032"/>
              <a:gd name="connsiteX18185" fmla="*/ 1138859 w 4610101"/>
              <a:gd name="connsiteY18185" fmla="*/ 1158020 h 6557032"/>
              <a:gd name="connsiteX18186" fmla="*/ 1138859 w 4610101"/>
              <a:gd name="connsiteY18186" fmla="*/ 1154288 h 6557032"/>
              <a:gd name="connsiteX18187" fmla="*/ 1137037 w 4610101"/>
              <a:gd name="connsiteY18187" fmla="*/ 1156111 h 6557032"/>
              <a:gd name="connsiteX18188" fmla="*/ 1122459 w 4610101"/>
              <a:gd name="connsiteY18188" fmla="*/ 1137889 h 6557032"/>
              <a:gd name="connsiteX18189" fmla="*/ 1120637 w 4610101"/>
              <a:gd name="connsiteY18189" fmla="*/ 1139711 h 6557032"/>
              <a:gd name="connsiteX18190" fmla="*/ 1118815 w 4610101"/>
              <a:gd name="connsiteY18190" fmla="*/ 1136067 h 6557032"/>
              <a:gd name="connsiteX18191" fmla="*/ 920198 w 4610101"/>
              <a:gd name="connsiteY18191" fmla="*/ 1136067 h 6557032"/>
              <a:gd name="connsiteX18192" fmla="*/ 922020 w 4610101"/>
              <a:gd name="connsiteY18192" fmla="*/ 1143355 h 6557032"/>
              <a:gd name="connsiteX18193" fmla="*/ 923843 w 4610101"/>
              <a:gd name="connsiteY18193" fmla="*/ 1137889 h 6557032"/>
              <a:gd name="connsiteX18194" fmla="*/ 920198 w 4610101"/>
              <a:gd name="connsiteY18194" fmla="*/ 1136067 h 6557032"/>
              <a:gd name="connsiteX18195" fmla="*/ 901976 w 4610101"/>
              <a:gd name="connsiteY18195" fmla="*/ 1136067 h 6557032"/>
              <a:gd name="connsiteX18196" fmla="*/ 898333 w 4610101"/>
              <a:gd name="connsiteY18196" fmla="*/ 1141533 h 6557032"/>
              <a:gd name="connsiteX18197" fmla="*/ 900154 w 4610101"/>
              <a:gd name="connsiteY18197" fmla="*/ 1137889 h 6557032"/>
              <a:gd name="connsiteX18198" fmla="*/ 900154 w 4610101"/>
              <a:gd name="connsiteY18198" fmla="*/ 1145178 h 6557032"/>
              <a:gd name="connsiteX18199" fmla="*/ 900154 w 4610101"/>
              <a:gd name="connsiteY18199" fmla="*/ 1152466 h 6557032"/>
              <a:gd name="connsiteX18200" fmla="*/ 901976 w 4610101"/>
              <a:gd name="connsiteY18200" fmla="*/ 1136067 h 6557032"/>
              <a:gd name="connsiteX18201" fmla="*/ 779892 w 4610101"/>
              <a:gd name="connsiteY18201" fmla="*/ 1136067 h 6557032"/>
              <a:gd name="connsiteX18202" fmla="*/ 781106 w 4610101"/>
              <a:gd name="connsiteY18202" fmla="*/ 1136067 h 6557032"/>
              <a:gd name="connsiteX18203" fmla="*/ 780620 w 4610101"/>
              <a:gd name="connsiteY18203" fmla="*/ 1136431 h 6557032"/>
              <a:gd name="connsiteX18204" fmla="*/ 696071 w 4610101"/>
              <a:gd name="connsiteY18204" fmla="*/ 1136067 h 6557032"/>
              <a:gd name="connsiteX18205" fmla="*/ 692426 w 4610101"/>
              <a:gd name="connsiteY18205" fmla="*/ 1141533 h 6557032"/>
              <a:gd name="connsiteX18206" fmla="*/ 697893 w 4610101"/>
              <a:gd name="connsiteY18206" fmla="*/ 1145178 h 6557032"/>
              <a:gd name="connsiteX18207" fmla="*/ 697893 w 4610101"/>
              <a:gd name="connsiteY18207" fmla="*/ 1143355 h 6557032"/>
              <a:gd name="connsiteX18208" fmla="*/ 701537 w 4610101"/>
              <a:gd name="connsiteY18208" fmla="*/ 1145178 h 6557032"/>
              <a:gd name="connsiteX18209" fmla="*/ 696071 w 4610101"/>
              <a:gd name="connsiteY18209" fmla="*/ 1136067 h 6557032"/>
              <a:gd name="connsiteX18210" fmla="*/ 865988 w 4610101"/>
              <a:gd name="connsiteY18210" fmla="*/ 1134928 h 6557032"/>
              <a:gd name="connsiteX18211" fmla="*/ 861889 w 4610101"/>
              <a:gd name="connsiteY18211" fmla="*/ 1136067 h 6557032"/>
              <a:gd name="connsiteX18212" fmla="*/ 859659 w 4610101"/>
              <a:gd name="connsiteY18212" fmla="*/ 1149665 h 6557032"/>
              <a:gd name="connsiteX18213" fmla="*/ 860066 w 4610101"/>
              <a:gd name="connsiteY18213" fmla="*/ 1143355 h 6557032"/>
              <a:gd name="connsiteX18214" fmla="*/ 852778 w 4610101"/>
              <a:gd name="connsiteY18214" fmla="*/ 1168866 h 6557032"/>
              <a:gd name="connsiteX18215" fmla="*/ 859155 w 4610101"/>
              <a:gd name="connsiteY18215" fmla="*/ 1157477 h 6557032"/>
              <a:gd name="connsiteX18216" fmla="*/ 859620 w 4610101"/>
              <a:gd name="connsiteY18216" fmla="*/ 1150273 h 6557032"/>
              <a:gd name="connsiteX18217" fmla="*/ 860066 w 4610101"/>
              <a:gd name="connsiteY18217" fmla="*/ 1165222 h 6557032"/>
              <a:gd name="connsiteX18218" fmla="*/ 860066 w 4610101"/>
              <a:gd name="connsiteY18218" fmla="*/ 1159755 h 6557032"/>
              <a:gd name="connsiteX18219" fmla="*/ 863711 w 4610101"/>
              <a:gd name="connsiteY18219" fmla="*/ 1163399 h 6557032"/>
              <a:gd name="connsiteX18220" fmla="*/ 860066 w 4610101"/>
              <a:gd name="connsiteY18220" fmla="*/ 1167044 h 6557032"/>
              <a:gd name="connsiteX18221" fmla="*/ 861223 w 4610101"/>
              <a:gd name="connsiteY18221" fmla="*/ 1172019 h 6557032"/>
              <a:gd name="connsiteX18222" fmla="*/ 860522 w 4610101"/>
              <a:gd name="connsiteY18222" fmla="*/ 1173421 h 6557032"/>
              <a:gd name="connsiteX18223" fmla="*/ 861889 w 4610101"/>
              <a:gd name="connsiteY18223" fmla="*/ 1176155 h 6557032"/>
              <a:gd name="connsiteX18224" fmla="*/ 861889 w 4610101"/>
              <a:gd name="connsiteY18224" fmla="*/ 1174880 h 6557032"/>
              <a:gd name="connsiteX18225" fmla="*/ 862345 w 4610101"/>
              <a:gd name="connsiteY18225" fmla="*/ 1176838 h 6557032"/>
              <a:gd name="connsiteX18226" fmla="*/ 867355 w 4610101"/>
              <a:gd name="connsiteY18226" fmla="*/ 1185266 h 6557032"/>
              <a:gd name="connsiteX18227" fmla="*/ 868641 w 4610101"/>
              <a:gd name="connsiteY18227" fmla="*/ 1176691 h 6557032"/>
              <a:gd name="connsiteX18228" fmla="*/ 871000 w 4610101"/>
              <a:gd name="connsiteY18228" fmla="*/ 1194376 h 6557032"/>
              <a:gd name="connsiteX18229" fmla="*/ 876466 w 4610101"/>
              <a:gd name="connsiteY18229" fmla="*/ 1176155 h 6557032"/>
              <a:gd name="connsiteX18230" fmla="*/ 878029 w 4610101"/>
              <a:gd name="connsiteY18230" fmla="*/ 1187088 h 6557032"/>
              <a:gd name="connsiteX18231" fmla="*/ 876466 w 4610101"/>
              <a:gd name="connsiteY18231" fmla="*/ 1187088 h 6557032"/>
              <a:gd name="connsiteX18232" fmla="*/ 880111 w 4610101"/>
              <a:gd name="connsiteY18232" fmla="*/ 1194376 h 6557032"/>
              <a:gd name="connsiteX18233" fmla="*/ 880111 w 4610101"/>
              <a:gd name="connsiteY18233" fmla="*/ 1187088 h 6557032"/>
              <a:gd name="connsiteX18234" fmla="*/ 878288 w 4610101"/>
              <a:gd name="connsiteY18234" fmla="*/ 1187088 h 6557032"/>
              <a:gd name="connsiteX18235" fmla="*/ 878288 w 4610101"/>
              <a:gd name="connsiteY18235" fmla="*/ 1172510 h 6557032"/>
              <a:gd name="connsiteX18236" fmla="*/ 880111 w 4610101"/>
              <a:gd name="connsiteY18236" fmla="*/ 1176155 h 6557032"/>
              <a:gd name="connsiteX18237" fmla="*/ 878491 w 4610101"/>
              <a:gd name="connsiteY18237" fmla="*/ 1168056 h 6557032"/>
              <a:gd name="connsiteX18238" fmla="*/ 878735 w 4610101"/>
              <a:gd name="connsiteY18238" fmla="*/ 1167078 h 6557032"/>
              <a:gd name="connsiteX18239" fmla="*/ 881249 w 4610101"/>
              <a:gd name="connsiteY18239" fmla="*/ 1167271 h 6557032"/>
              <a:gd name="connsiteX18240" fmla="*/ 885577 w 4610101"/>
              <a:gd name="connsiteY18240" fmla="*/ 1168866 h 6557032"/>
              <a:gd name="connsiteX18241" fmla="*/ 885577 w 4610101"/>
              <a:gd name="connsiteY18241" fmla="*/ 1176155 h 6557032"/>
              <a:gd name="connsiteX18242" fmla="*/ 883755 w 4610101"/>
              <a:gd name="connsiteY18242" fmla="*/ 1177977 h 6557032"/>
              <a:gd name="connsiteX18243" fmla="*/ 892866 w 4610101"/>
              <a:gd name="connsiteY18243" fmla="*/ 1177977 h 6557032"/>
              <a:gd name="connsiteX18244" fmla="*/ 887399 w 4610101"/>
              <a:gd name="connsiteY18244" fmla="*/ 1143355 h 6557032"/>
              <a:gd name="connsiteX18245" fmla="*/ 881933 w 4610101"/>
              <a:gd name="connsiteY18245" fmla="*/ 1163399 h 6557032"/>
              <a:gd name="connsiteX18246" fmla="*/ 880276 w 4610101"/>
              <a:gd name="connsiteY18246" fmla="*/ 1161743 h 6557032"/>
              <a:gd name="connsiteX18247" fmla="*/ 881933 w 4610101"/>
              <a:gd name="connsiteY18247" fmla="*/ 1159755 h 6557032"/>
              <a:gd name="connsiteX18248" fmla="*/ 878971 w 4610101"/>
              <a:gd name="connsiteY18248" fmla="*/ 1161122 h 6557032"/>
              <a:gd name="connsiteX18249" fmla="*/ 879630 w 4610101"/>
              <a:gd name="connsiteY18249" fmla="*/ 1163495 h 6557032"/>
              <a:gd name="connsiteX18250" fmla="*/ 878735 w 4610101"/>
              <a:gd name="connsiteY18250" fmla="*/ 1167078 h 6557032"/>
              <a:gd name="connsiteX18251" fmla="*/ 878288 w 4610101"/>
              <a:gd name="connsiteY18251" fmla="*/ 1167044 h 6557032"/>
              <a:gd name="connsiteX18252" fmla="*/ 878491 w 4610101"/>
              <a:gd name="connsiteY18252" fmla="*/ 1168056 h 6557032"/>
              <a:gd name="connsiteX18253" fmla="*/ 878288 w 4610101"/>
              <a:gd name="connsiteY18253" fmla="*/ 1168866 h 6557032"/>
              <a:gd name="connsiteX18254" fmla="*/ 874644 w 4610101"/>
              <a:gd name="connsiteY18254" fmla="*/ 1161577 h 6557032"/>
              <a:gd name="connsiteX18255" fmla="*/ 878288 w 4610101"/>
              <a:gd name="connsiteY18255" fmla="*/ 1159755 h 6557032"/>
              <a:gd name="connsiteX18256" fmla="*/ 874644 w 4610101"/>
              <a:gd name="connsiteY18256" fmla="*/ 1157933 h 6557032"/>
              <a:gd name="connsiteX18257" fmla="*/ 880111 w 4610101"/>
              <a:gd name="connsiteY18257" fmla="*/ 1157933 h 6557032"/>
              <a:gd name="connsiteX18258" fmla="*/ 872822 w 4610101"/>
              <a:gd name="connsiteY18258" fmla="*/ 1137889 h 6557032"/>
              <a:gd name="connsiteX18259" fmla="*/ 865988 w 4610101"/>
              <a:gd name="connsiteY18259" fmla="*/ 1134928 h 6557032"/>
              <a:gd name="connsiteX18260" fmla="*/ 3108629 w 4610101"/>
              <a:gd name="connsiteY18260" fmla="*/ 1134245 h 6557032"/>
              <a:gd name="connsiteX18261" fmla="*/ 3114096 w 4610101"/>
              <a:gd name="connsiteY18261" fmla="*/ 1139711 h 6557032"/>
              <a:gd name="connsiteX18262" fmla="*/ 3112274 w 4610101"/>
              <a:gd name="connsiteY18262" fmla="*/ 1134245 h 6557032"/>
              <a:gd name="connsiteX18263" fmla="*/ 3108629 w 4610101"/>
              <a:gd name="connsiteY18263" fmla="*/ 1134245 h 6557032"/>
              <a:gd name="connsiteX18264" fmla="*/ 2131944 w 4610101"/>
              <a:gd name="connsiteY18264" fmla="*/ 1134245 h 6557032"/>
              <a:gd name="connsiteX18265" fmla="*/ 2111900 w 4610101"/>
              <a:gd name="connsiteY18265" fmla="*/ 1157933 h 6557032"/>
              <a:gd name="connsiteX18266" fmla="*/ 2108256 w 4610101"/>
              <a:gd name="connsiteY18266" fmla="*/ 1156111 h 6557032"/>
              <a:gd name="connsiteX18267" fmla="*/ 2111900 w 4610101"/>
              <a:gd name="connsiteY18267" fmla="*/ 1161577 h 6557032"/>
              <a:gd name="connsiteX18268" fmla="*/ 2122833 w 4610101"/>
              <a:gd name="connsiteY18268" fmla="*/ 1163399 h 6557032"/>
              <a:gd name="connsiteX18269" fmla="*/ 2115544 w 4610101"/>
              <a:gd name="connsiteY18269" fmla="*/ 1172510 h 6557032"/>
              <a:gd name="connsiteX18270" fmla="*/ 2115544 w 4610101"/>
              <a:gd name="connsiteY18270" fmla="*/ 1165222 h 6557032"/>
              <a:gd name="connsiteX18271" fmla="*/ 2106433 w 4610101"/>
              <a:gd name="connsiteY18271" fmla="*/ 1179799 h 6557032"/>
              <a:gd name="connsiteX18272" fmla="*/ 2113722 w 4610101"/>
              <a:gd name="connsiteY18272" fmla="*/ 1181621 h 6557032"/>
              <a:gd name="connsiteX18273" fmla="*/ 2141055 w 4610101"/>
              <a:gd name="connsiteY18273" fmla="*/ 1176155 h 6557032"/>
              <a:gd name="connsiteX18274" fmla="*/ 2133766 w 4610101"/>
              <a:gd name="connsiteY18274" fmla="*/ 1157933 h 6557032"/>
              <a:gd name="connsiteX18275" fmla="*/ 2131944 w 4610101"/>
              <a:gd name="connsiteY18275" fmla="*/ 1134245 h 6557032"/>
              <a:gd name="connsiteX18276" fmla="*/ 1089660 w 4610101"/>
              <a:gd name="connsiteY18276" fmla="*/ 1134245 h 6557032"/>
              <a:gd name="connsiteX18277" fmla="*/ 1089727 w 4610101"/>
              <a:gd name="connsiteY18277" fmla="*/ 1134425 h 6557032"/>
              <a:gd name="connsiteX18278" fmla="*/ 1089517 w 4610101"/>
              <a:gd name="connsiteY18278" fmla="*/ 1134405 h 6557032"/>
              <a:gd name="connsiteX18279" fmla="*/ 1031351 w 4610101"/>
              <a:gd name="connsiteY18279" fmla="*/ 1134245 h 6557032"/>
              <a:gd name="connsiteX18280" fmla="*/ 1033173 w 4610101"/>
              <a:gd name="connsiteY18280" fmla="*/ 1136067 h 6557032"/>
              <a:gd name="connsiteX18281" fmla="*/ 1029529 w 4610101"/>
              <a:gd name="connsiteY18281" fmla="*/ 1136067 h 6557032"/>
              <a:gd name="connsiteX18282" fmla="*/ 1031351 w 4610101"/>
              <a:gd name="connsiteY18282" fmla="*/ 1134245 h 6557032"/>
              <a:gd name="connsiteX18283" fmla="*/ 375368 w 4610101"/>
              <a:gd name="connsiteY18283" fmla="*/ 1134245 h 6557032"/>
              <a:gd name="connsiteX18284" fmla="*/ 375368 w 4610101"/>
              <a:gd name="connsiteY18284" fmla="*/ 1139711 h 6557032"/>
              <a:gd name="connsiteX18285" fmla="*/ 382657 w 4610101"/>
              <a:gd name="connsiteY18285" fmla="*/ 1139711 h 6557032"/>
              <a:gd name="connsiteX18286" fmla="*/ 375368 w 4610101"/>
              <a:gd name="connsiteY18286" fmla="*/ 1134245 h 6557032"/>
              <a:gd name="connsiteX18287" fmla="*/ 3503177 w 4610101"/>
              <a:gd name="connsiteY18287" fmla="*/ 1133285 h 6557032"/>
              <a:gd name="connsiteX18288" fmla="*/ 3520440 w 4610101"/>
              <a:gd name="connsiteY18288" fmla="*/ 1137889 h 6557032"/>
              <a:gd name="connsiteX18289" fmla="*/ 3504269 w 4610101"/>
              <a:gd name="connsiteY18289" fmla="*/ 1133789 h 6557032"/>
              <a:gd name="connsiteX18290" fmla="*/ 1494183 w 4610101"/>
              <a:gd name="connsiteY18290" fmla="*/ 1132422 h 6557032"/>
              <a:gd name="connsiteX18291" fmla="*/ 1492361 w 4610101"/>
              <a:gd name="connsiteY18291" fmla="*/ 1134245 h 6557032"/>
              <a:gd name="connsiteX18292" fmla="*/ 1493871 w 4610101"/>
              <a:gd name="connsiteY18292" fmla="*/ 1132552 h 6557032"/>
              <a:gd name="connsiteX18293" fmla="*/ 1044106 w 4610101"/>
              <a:gd name="connsiteY18293" fmla="*/ 1132422 h 6557032"/>
              <a:gd name="connsiteX18294" fmla="*/ 1042284 w 4610101"/>
              <a:gd name="connsiteY18294" fmla="*/ 1136067 h 6557032"/>
              <a:gd name="connsiteX18295" fmla="*/ 1045929 w 4610101"/>
              <a:gd name="connsiteY18295" fmla="*/ 1136067 h 6557032"/>
              <a:gd name="connsiteX18296" fmla="*/ 1044106 w 4610101"/>
              <a:gd name="connsiteY18296" fmla="*/ 1132422 h 6557032"/>
              <a:gd name="connsiteX18297" fmla="*/ 911087 w 4610101"/>
              <a:gd name="connsiteY18297" fmla="*/ 1132422 h 6557032"/>
              <a:gd name="connsiteX18298" fmla="*/ 914732 w 4610101"/>
              <a:gd name="connsiteY18298" fmla="*/ 1139711 h 6557032"/>
              <a:gd name="connsiteX18299" fmla="*/ 911087 w 4610101"/>
              <a:gd name="connsiteY18299" fmla="*/ 1132422 h 6557032"/>
              <a:gd name="connsiteX18300" fmla="*/ 905621 w 4610101"/>
              <a:gd name="connsiteY18300" fmla="*/ 1132422 h 6557032"/>
              <a:gd name="connsiteX18301" fmla="*/ 901976 w 4610101"/>
              <a:gd name="connsiteY18301" fmla="*/ 1157933 h 6557032"/>
              <a:gd name="connsiteX18302" fmla="*/ 911087 w 4610101"/>
              <a:gd name="connsiteY18302" fmla="*/ 1141533 h 6557032"/>
              <a:gd name="connsiteX18303" fmla="*/ 914732 w 4610101"/>
              <a:gd name="connsiteY18303" fmla="*/ 1143355 h 6557032"/>
              <a:gd name="connsiteX18304" fmla="*/ 905621 w 4610101"/>
              <a:gd name="connsiteY18304" fmla="*/ 1132422 h 6557032"/>
              <a:gd name="connsiteX18305" fmla="*/ 801757 w 4610101"/>
              <a:gd name="connsiteY18305" fmla="*/ 1132422 h 6557032"/>
              <a:gd name="connsiteX18306" fmla="*/ 799935 w 4610101"/>
              <a:gd name="connsiteY18306" fmla="*/ 1139711 h 6557032"/>
              <a:gd name="connsiteX18307" fmla="*/ 807223 w 4610101"/>
              <a:gd name="connsiteY18307" fmla="*/ 1143355 h 6557032"/>
              <a:gd name="connsiteX18308" fmla="*/ 810868 w 4610101"/>
              <a:gd name="connsiteY18308" fmla="*/ 1143355 h 6557032"/>
              <a:gd name="connsiteX18309" fmla="*/ 801757 w 4610101"/>
              <a:gd name="connsiteY18309" fmla="*/ 1132422 h 6557032"/>
              <a:gd name="connsiteX18310" fmla="*/ 670560 w 4610101"/>
              <a:gd name="connsiteY18310" fmla="*/ 1132422 h 6557032"/>
              <a:gd name="connsiteX18311" fmla="*/ 679671 w 4610101"/>
              <a:gd name="connsiteY18311" fmla="*/ 1139711 h 6557032"/>
              <a:gd name="connsiteX18312" fmla="*/ 670560 w 4610101"/>
              <a:gd name="connsiteY18312" fmla="*/ 1132422 h 6557032"/>
              <a:gd name="connsiteX18313" fmla="*/ 276971 w 4610101"/>
              <a:gd name="connsiteY18313" fmla="*/ 1132422 h 6557032"/>
              <a:gd name="connsiteX18314" fmla="*/ 287904 w 4610101"/>
              <a:gd name="connsiteY18314" fmla="*/ 1139711 h 6557032"/>
              <a:gd name="connsiteX18315" fmla="*/ 276971 w 4610101"/>
              <a:gd name="connsiteY18315" fmla="*/ 1132422 h 6557032"/>
              <a:gd name="connsiteX18316" fmla="*/ 933865 w 4610101"/>
              <a:gd name="connsiteY18316" fmla="*/ 1132195 h 6557032"/>
              <a:gd name="connsiteX18317" fmla="*/ 929309 w 4610101"/>
              <a:gd name="connsiteY18317" fmla="*/ 1134245 h 6557032"/>
              <a:gd name="connsiteX18318" fmla="*/ 936598 w 4610101"/>
              <a:gd name="connsiteY18318" fmla="*/ 1139711 h 6557032"/>
              <a:gd name="connsiteX18319" fmla="*/ 938420 w 4610101"/>
              <a:gd name="connsiteY18319" fmla="*/ 1134245 h 6557032"/>
              <a:gd name="connsiteX18320" fmla="*/ 933865 w 4610101"/>
              <a:gd name="connsiteY18320" fmla="*/ 1132195 h 6557032"/>
              <a:gd name="connsiteX18321" fmla="*/ 240299 w 4610101"/>
              <a:gd name="connsiteY18321" fmla="*/ 1131283 h 6557032"/>
              <a:gd name="connsiteX18322" fmla="*/ 235061 w 4610101"/>
              <a:gd name="connsiteY18322" fmla="*/ 1132422 h 6557032"/>
              <a:gd name="connsiteX18323" fmla="*/ 244172 w 4610101"/>
              <a:gd name="connsiteY18323" fmla="*/ 1134245 h 6557032"/>
              <a:gd name="connsiteX18324" fmla="*/ 240299 w 4610101"/>
              <a:gd name="connsiteY18324" fmla="*/ 1131283 h 6557032"/>
              <a:gd name="connsiteX18325" fmla="*/ 3405643 w 4610101"/>
              <a:gd name="connsiteY18325" fmla="*/ 1130600 h 6557032"/>
              <a:gd name="connsiteX18326" fmla="*/ 3401999 w 4610101"/>
              <a:gd name="connsiteY18326" fmla="*/ 1132422 h 6557032"/>
              <a:gd name="connsiteX18327" fmla="*/ 3414754 w 4610101"/>
              <a:gd name="connsiteY18327" fmla="*/ 1145178 h 6557032"/>
              <a:gd name="connsiteX18328" fmla="*/ 3418399 w 4610101"/>
              <a:gd name="connsiteY18328" fmla="*/ 1137889 h 6557032"/>
              <a:gd name="connsiteX18329" fmla="*/ 3407466 w 4610101"/>
              <a:gd name="connsiteY18329" fmla="*/ 1134245 h 6557032"/>
              <a:gd name="connsiteX18330" fmla="*/ 3405643 w 4610101"/>
              <a:gd name="connsiteY18330" fmla="*/ 1130600 h 6557032"/>
              <a:gd name="connsiteX18331" fmla="*/ 2264963 w 4610101"/>
              <a:gd name="connsiteY18331" fmla="*/ 1130600 h 6557032"/>
              <a:gd name="connsiteX18332" fmla="*/ 2254030 w 4610101"/>
              <a:gd name="connsiteY18332" fmla="*/ 1150644 h 6557032"/>
              <a:gd name="connsiteX18333" fmla="*/ 2268607 w 4610101"/>
              <a:gd name="connsiteY18333" fmla="*/ 1132422 h 6557032"/>
              <a:gd name="connsiteX18334" fmla="*/ 2264963 w 4610101"/>
              <a:gd name="connsiteY18334" fmla="*/ 1130600 h 6557032"/>
              <a:gd name="connsiteX18335" fmla="*/ 1521516 w 4610101"/>
              <a:gd name="connsiteY18335" fmla="*/ 1130600 h 6557032"/>
              <a:gd name="connsiteX18336" fmla="*/ 1512405 w 4610101"/>
              <a:gd name="connsiteY18336" fmla="*/ 1134245 h 6557032"/>
              <a:gd name="connsiteX18337" fmla="*/ 1513138 w 4610101"/>
              <a:gd name="connsiteY18337" fmla="*/ 1133145 h 6557032"/>
              <a:gd name="connsiteX18338" fmla="*/ 1253656 w 4610101"/>
              <a:gd name="connsiteY18338" fmla="*/ 1130600 h 6557032"/>
              <a:gd name="connsiteX18339" fmla="*/ 1251834 w 4610101"/>
              <a:gd name="connsiteY18339" fmla="*/ 1137889 h 6557032"/>
              <a:gd name="connsiteX18340" fmla="*/ 1253656 w 4610101"/>
              <a:gd name="connsiteY18340" fmla="*/ 1137889 h 6557032"/>
              <a:gd name="connsiteX18341" fmla="*/ 1250012 w 4610101"/>
              <a:gd name="connsiteY18341" fmla="*/ 1143355 h 6557032"/>
              <a:gd name="connsiteX18342" fmla="*/ 1266411 w 4610101"/>
              <a:gd name="connsiteY18342" fmla="*/ 1134245 h 6557032"/>
              <a:gd name="connsiteX18343" fmla="*/ 1253656 w 4610101"/>
              <a:gd name="connsiteY18343" fmla="*/ 1130600 h 6557032"/>
              <a:gd name="connsiteX18344" fmla="*/ 898333 w 4610101"/>
              <a:gd name="connsiteY18344" fmla="*/ 1130600 h 6557032"/>
              <a:gd name="connsiteX18345" fmla="*/ 898333 w 4610101"/>
              <a:gd name="connsiteY18345" fmla="*/ 1136067 h 6557032"/>
              <a:gd name="connsiteX18346" fmla="*/ 901976 w 4610101"/>
              <a:gd name="connsiteY18346" fmla="*/ 1130600 h 6557032"/>
              <a:gd name="connsiteX18347" fmla="*/ 898333 w 4610101"/>
              <a:gd name="connsiteY18347" fmla="*/ 1130600 h 6557032"/>
              <a:gd name="connsiteX18348" fmla="*/ 191329 w 4610101"/>
              <a:gd name="connsiteY18348" fmla="*/ 1130600 h 6557032"/>
              <a:gd name="connsiteX18349" fmla="*/ 215017 w 4610101"/>
              <a:gd name="connsiteY18349" fmla="*/ 1137889 h 6557032"/>
              <a:gd name="connsiteX18350" fmla="*/ 191329 w 4610101"/>
              <a:gd name="connsiteY18350" fmla="*/ 1130600 h 6557032"/>
              <a:gd name="connsiteX18351" fmla="*/ 3034972 w 4610101"/>
              <a:gd name="connsiteY18351" fmla="*/ 1130380 h 6557032"/>
              <a:gd name="connsiteX18352" fmla="*/ 3037564 w 4610101"/>
              <a:gd name="connsiteY18352" fmla="*/ 1132422 h 6557032"/>
              <a:gd name="connsiteX18353" fmla="*/ 3035742 w 4610101"/>
              <a:gd name="connsiteY18353" fmla="*/ 1133151 h 6557032"/>
              <a:gd name="connsiteX18354" fmla="*/ 850272 w 4610101"/>
              <a:gd name="connsiteY18354" fmla="*/ 1130144 h 6557032"/>
              <a:gd name="connsiteX18355" fmla="*/ 845489 w 4610101"/>
              <a:gd name="connsiteY18355" fmla="*/ 1136067 h 6557032"/>
              <a:gd name="connsiteX18356" fmla="*/ 849133 w 4610101"/>
              <a:gd name="connsiteY18356" fmla="*/ 1141533 h 6557032"/>
              <a:gd name="connsiteX18357" fmla="*/ 856422 w 4610101"/>
              <a:gd name="connsiteY18357" fmla="*/ 1132422 h 6557032"/>
              <a:gd name="connsiteX18358" fmla="*/ 850272 w 4610101"/>
              <a:gd name="connsiteY18358" fmla="*/ 1130144 h 6557032"/>
              <a:gd name="connsiteX18359" fmla="*/ 1026567 w 4610101"/>
              <a:gd name="connsiteY18359" fmla="*/ 1129461 h 6557032"/>
              <a:gd name="connsiteX18360" fmla="*/ 1013129 w 4610101"/>
              <a:gd name="connsiteY18360" fmla="*/ 1132422 h 6557032"/>
              <a:gd name="connsiteX18361" fmla="*/ 1014951 w 4610101"/>
              <a:gd name="connsiteY18361" fmla="*/ 1136067 h 6557032"/>
              <a:gd name="connsiteX18362" fmla="*/ 1024062 w 4610101"/>
              <a:gd name="connsiteY18362" fmla="*/ 1143355 h 6557032"/>
              <a:gd name="connsiteX18363" fmla="*/ 1022240 w 4610101"/>
              <a:gd name="connsiteY18363" fmla="*/ 1147000 h 6557032"/>
              <a:gd name="connsiteX18364" fmla="*/ 1024062 w 4610101"/>
              <a:gd name="connsiteY18364" fmla="*/ 1148822 h 6557032"/>
              <a:gd name="connsiteX18365" fmla="*/ 1034995 w 4610101"/>
              <a:gd name="connsiteY18365" fmla="*/ 1139711 h 6557032"/>
              <a:gd name="connsiteX18366" fmla="*/ 1033173 w 4610101"/>
              <a:gd name="connsiteY18366" fmla="*/ 1137889 h 6557032"/>
              <a:gd name="connsiteX18367" fmla="*/ 1036818 w 4610101"/>
              <a:gd name="connsiteY18367" fmla="*/ 1136067 h 6557032"/>
              <a:gd name="connsiteX18368" fmla="*/ 1033173 w 4610101"/>
              <a:gd name="connsiteY18368" fmla="*/ 1136067 h 6557032"/>
              <a:gd name="connsiteX18369" fmla="*/ 1026567 w 4610101"/>
              <a:gd name="connsiteY18369" fmla="*/ 1129461 h 6557032"/>
              <a:gd name="connsiteX18370" fmla="*/ 2319628 w 4610101"/>
              <a:gd name="connsiteY18370" fmla="*/ 1128778 h 6557032"/>
              <a:gd name="connsiteX18371" fmla="*/ 2325094 w 4610101"/>
              <a:gd name="connsiteY18371" fmla="*/ 1134245 h 6557032"/>
              <a:gd name="connsiteX18372" fmla="*/ 2319628 w 4610101"/>
              <a:gd name="connsiteY18372" fmla="*/ 1128778 h 6557032"/>
              <a:gd name="connsiteX18373" fmla="*/ 1042284 w 4610101"/>
              <a:gd name="connsiteY18373" fmla="*/ 1128778 h 6557032"/>
              <a:gd name="connsiteX18374" fmla="*/ 1034995 w 4610101"/>
              <a:gd name="connsiteY18374" fmla="*/ 1130600 h 6557032"/>
              <a:gd name="connsiteX18375" fmla="*/ 1038639 w 4610101"/>
              <a:gd name="connsiteY18375" fmla="*/ 1134245 h 6557032"/>
              <a:gd name="connsiteX18376" fmla="*/ 1045929 w 4610101"/>
              <a:gd name="connsiteY18376" fmla="*/ 1128778 h 6557032"/>
              <a:gd name="connsiteX18377" fmla="*/ 1038639 w 4610101"/>
              <a:gd name="connsiteY18377" fmla="*/ 1134245 h 6557032"/>
              <a:gd name="connsiteX18378" fmla="*/ 1042284 w 4610101"/>
              <a:gd name="connsiteY18378" fmla="*/ 1128778 h 6557032"/>
              <a:gd name="connsiteX18379" fmla="*/ 841845 w 4610101"/>
              <a:gd name="connsiteY18379" fmla="*/ 1128778 h 6557032"/>
              <a:gd name="connsiteX18380" fmla="*/ 845489 w 4610101"/>
              <a:gd name="connsiteY18380" fmla="*/ 1130600 h 6557032"/>
              <a:gd name="connsiteX18381" fmla="*/ 841845 w 4610101"/>
              <a:gd name="connsiteY18381" fmla="*/ 1128778 h 6557032"/>
              <a:gd name="connsiteX18382" fmla="*/ 138486 w 4610101"/>
              <a:gd name="connsiteY18382" fmla="*/ 1128778 h 6557032"/>
              <a:gd name="connsiteX18383" fmla="*/ 142076 w 4610101"/>
              <a:gd name="connsiteY18383" fmla="*/ 1130573 h 6557032"/>
              <a:gd name="connsiteX18384" fmla="*/ 146768 w 4610101"/>
              <a:gd name="connsiteY18384" fmla="*/ 1134410 h 6557032"/>
              <a:gd name="connsiteX18385" fmla="*/ 418872 w 4610101"/>
              <a:gd name="connsiteY18385" fmla="*/ 1127867 h 6557032"/>
              <a:gd name="connsiteX18386" fmla="*/ 420923 w 4610101"/>
              <a:gd name="connsiteY18386" fmla="*/ 1134245 h 6557032"/>
              <a:gd name="connsiteX18387" fmla="*/ 426389 w 4610101"/>
              <a:gd name="connsiteY18387" fmla="*/ 1132422 h 6557032"/>
              <a:gd name="connsiteX18388" fmla="*/ 418872 w 4610101"/>
              <a:gd name="connsiteY18388" fmla="*/ 1127867 h 6557032"/>
              <a:gd name="connsiteX18389" fmla="*/ 3358267 w 4610101"/>
              <a:gd name="connsiteY18389" fmla="*/ 1126956 h 6557032"/>
              <a:gd name="connsiteX18390" fmla="*/ 3357554 w 4610101"/>
              <a:gd name="connsiteY18390" fmla="*/ 1128362 h 6557032"/>
              <a:gd name="connsiteX18391" fmla="*/ 3356081 w 4610101"/>
              <a:gd name="connsiteY18391" fmla="*/ 1127503 h 6557032"/>
              <a:gd name="connsiteX18392" fmla="*/ 2935523 w 4610101"/>
              <a:gd name="connsiteY18392" fmla="*/ 1126956 h 6557032"/>
              <a:gd name="connsiteX18393" fmla="*/ 2936219 w 4610101"/>
              <a:gd name="connsiteY18393" fmla="*/ 1128027 h 6557032"/>
              <a:gd name="connsiteX18394" fmla="*/ 2935423 w 4610101"/>
              <a:gd name="connsiteY18394" fmla="*/ 1127955 h 6557032"/>
              <a:gd name="connsiteX18395" fmla="*/ 1516049 w 4610101"/>
              <a:gd name="connsiteY18395" fmla="*/ 1126956 h 6557032"/>
              <a:gd name="connsiteX18396" fmla="*/ 1516049 w 4610101"/>
              <a:gd name="connsiteY18396" fmla="*/ 1128778 h 6557032"/>
              <a:gd name="connsiteX18397" fmla="*/ 1513138 w 4610101"/>
              <a:gd name="connsiteY18397" fmla="*/ 1133145 h 6557032"/>
              <a:gd name="connsiteX18398" fmla="*/ 1503522 w 4610101"/>
              <a:gd name="connsiteY18398" fmla="*/ 1136067 h 6557032"/>
              <a:gd name="connsiteX18399" fmla="*/ 1486895 w 4610101"/>
              <a:gd name="connsiteY18399" fmla="*/ 1136067 h 6557032"/>
              <a:gd name="connsiteX18400" fmla="*/ 1477784 w 4610101"/>
              <a:gd name="connsiteY18400" fmla="*/ 1139711 h 6557032"/>
              <a:gd name="connsiteX18401" fmla="*/ 1476119 w 4610101"/>
              <a:gd name="connsiteY18401" fmla="*/ 1139949 h 6557032"/>
              <a:gd name="connsiteX18402" fmla="*/ 1493779 w 4610101"/>
              <a:gd name="connsiteY18402" fmla="*/ 1132590 h 6557032"/>
              <a:gd name="connsiteX18403" fmla="*/ 1492361 w 4610101"/>
              <a:gd name="connsiteY18403" fmla="*/ 1134245 h 6557032"/>
              <a:gd name="connsiteX18404" fmla="*/ 1516049 w 4610101"/>
              <a:gd name="connsiteY18404" fmla="*/ 1126956 h 6557032"/>
              <a:gd name="connsiteX18405" fmla="*/ 1056861 w 4610101"/>
              <a:gd name="connsiteY18405" fmla="*/ 1126956 h 6557032"/>
              <a:gd name="connsiteX18406" fmla="*/ 1047750 w 4610101"/>
              <a:gd name="connsiteY18406" fmla="*/ 1136067 h 6557032"/>
              <a:gd name="connsiteX18407" fmla="*/ 1056861 w 4610101"/>
              <a:gd name="connsiteY18407" fmla="*/ 1126956 h 6557032"/>
              <a:gd name="connsiteX18408" fmla="*/ 836378 w 4610101"/>
              <a:gd name="connsiteY18408" fmla="*/ 1126956 h 6557032"/>
              <a:gd name="connsiteX18409" fmla="*/ 841845 w 4610101"/>
              <a:gd name="connsiteY18409" fmla="*/ 1134245 h 6557032"/>
              <a:gd name="connsiteX18410" fmla="*/ 840022 w 4610101"/>
              <a:gd name="connsiteY18410" fmla="*/ 1126956 h 6557032"/>
              <a:gd name="connsiteX18411" fmla="*/ 836378 w 4610101"/>
              <a:gd name="connsiteY18411" fmla="*/ 1126956 h 6557032"/>
              <a:gd name="connsiteX18412" fmla="*/ 530253 w 4610101"/>
              <a:gd name="connsiteY18412" fmla="*/ 1126956 h 6557032"/>
              <a:gd name="connsiteX18413" fmla="*/ 546653 w 4610101"/>
              <a:gd name="connsiteY18413" fmla="*/ 1134245 h 6557032"/>
              <a:gd name="connsiteX18414" fmla="*/ 530253 w 4610101"/>
              <a:gd name="connsiteY18414" fmla="*/ 1126956 h 6557032"/>
              <a:gd name="connsiteX18415" fmla="*/ 521142 w 4610101"/>
              <a:gd name="connsiteY18415" fmla="*/ 1126956 h 6557032"/>
              <a:gd name="connsiteX18416" fmla="*/ 519320 w 4610101"/>
              <a:gd name="connsiteY18416" fmla="*/ 1128778 h 6557032"/>
              <a:gd name="connsiteX18417" fmla="*/ 530253 w 4610101"/>
              <a:gd name="connsiteY18417" fmla="*/ 1132422 h 6557032"/>
              <a:gd name="connsiteX18418" fmla="*/ 521142 w 4610101"/>
              <a:gd name="connsiteY18418" fmla="*/ 1126956 h 6557032"/>
              <a:gd name="connsiteX18419" fmla="*/ 373546 w 4610101"/>
              <a:gd name="connsiteY18419" fmla="*/ 1126956 h 6557032"/>
              <a:gd name="connsiteX18420" fmla="*/ 386301 w 4610101"/>
              <a:gd name="connsiteY18420" fmla="*/ 1130600 h 6557032"/>
              <a:gd name="connsiteX18421" fmla="*/ 373546 w 4610101"/>
              <a:gd name="connsiteY18421" fmla="*/ 1126956 h 6557032"/>
              <a:gd name="connsiteX18422" fmla="*/ 937964 w 4610101"/>
              <a:gd name="connsiteY18422" fmla="*/ 1126728 h 6557032"/>
              <a:gd name="connsiteX18423" fmla="*/ 932953 w 4610101"/>
              <a:gd name="connsiteY18423" fmla="*/ 1130600 h 6557032"/>
              <a:gd name="connsiteX18424" fmla="*/ 940242 w 4610101"/>
              <a:gd name="connsiteY18424" fmla="*/ 1132422 h 6557032"/>
              <a:gd name="connsiteX18425" fmla="*/ 937964 w 4610101"/>
              <a:gd name="connsiteY18425" fmla="*/ 1126728 h 6557032"/>
              <a:gd name="connsiteX18426" fmla="*/ 1499819 w 4610101"/>
              <a:gd name="connsiteY18426" fmla="*/ 1125542 h 6557032"/>
              <a:gd name="connsiteX18427" fmla="*/ 1499877 w 4610101"/>
              <a:gd name="connsiteY18427" fmla="*/ 1125817 h 6557032"/>
              <a:gd name="connsiteX18428" fmla="*/ 1493871 w 4610101"/>
              <a:gd name="connsiteY18428" fmla="*/ 1132552 h 6557032"/>
              <a:gd name="connsiteX18429" fmla="*/ 1493779 w 4610101"/>
              <a:gd name="connsiteY18429" fmla="*/ 1132590 h 6557032"/>
              <a:gd name="connsiteX18430" fmla="*/ 1231790 w 4610101"/>
              <a:gd name="connsiteY18430" fmla="*/ 1125134 h 6557032"/>
              <a:gd name="connsiteX18431" fmla="*/ 1233612 w 4610101"/>
              <a:gd name="connsiteY18431" fmla="*/ 1130600 h 6557032"/>
              <a:gd name="connsiteX18432" fmla="*/ 1228146 w 4610101"/>
              <a:gd name="connsiteY18432" fmla="*/ 1136067 h 6557032"/>
              <a:gd name="connsiteX18433" fmla="*/ 1231790 w 4610101"/>
              <a:gd name="connsiteY18433" fmla="*/ 1130600 h 6557032"/>
              <a:gd name="connsiteX18434" fmla="*/ 1231790 w 4610101"/>
              <a:gd name="connsiteY18434" fmla="*/ 1125134 h 6557032"/>
              <a:gd name="connsiteX18435" fmla="*/ 3414754 w 4610101"/>
              <a:gd name="connsiteY18435" fmla="*/ 1123312 h 6557032"/>
              <a:gd name="connsiteX18436" fmla="*/ 3412932 w 4610101"/>
              <a:gd name="connsiteY18436" fmla="*/ 1128778 h 6557032"/>
              <a:gd name="connsiteX18437" fmla="*/ 3423865 w 4610101"/>
              <a:gd name="connsiteY18437" fmla="*/ 1139711 h 6557032"/>
              <a:gd name="connsiteX18438" fmla="*/ 3422043 w 4610101"/>
              <a:gd name="connsiteY18438" fmla="*/ 1143355 h 6557032"/>
              <a:gd name="connsiteX18439" fmla="*/ 3420221 w 4610101"/>
              <a:gd name="connsiteY18439" fmla="*/ 1136067 h 6557032"/>
              <a:gd name="connsiteX18440" fmla="*/ 3420221 w 4610101"/>
              <a:gd name="connsiteY18440" fmla="*/ 1148822 h 6557032"/>
              <a:gd name="connsiteX18441" fmla="*/ 3400177 w 4610101"/>
              <a:gd name="connsiteY18441" fmla="*/ 1150644 h 6557032"/>
              <a:gd name="connsiteX18442" fmla="*/ 3394710 w 4610101"/>
              <a:gd name="connsiteY18442" fmla="*/ 1143355 h 6557032"/>
              <a:gd name="connsiteX18443" fmla="*/ 3391066 w 4610101"/>
              <a:gd name="connsiteY18443" fmla="*/ 1145178 h 6557032"/>
              <a:gd name="connsiteX18444" fmla="*/ 3396532 w 4610101"/>
              <a:gd name="connsiteY18444" fmla="*/ 1147000 h 6557032"/>
              <a:gd name="connsiteX18445" fmla="*/ 3389244 w 4610101"/>
              <a:gd name="connsiteY18445" fmla="*/ 1181621 h 6557032"/>
              <a:gd name="connsiteX18446" fmla="*/ 3374666 w 4610101"/>
              <a:gd name="connsiteY18446" fmla="*/ 1170688 h 6557032"/>
              <a:gd name="connsiteX18447" fmla="*/ 3381506 w 4610101"/>
              <a:gd name="connsiteY18447" fmla="*/ 1145039 h 6557032"/>
              <a:gd name="connsiteX18448" fmla="*/ 3383550 w 4610101"/>
              <a:gd name="connsiteY18448" fmla="*/ 1144950 h 6557032"/>
              <a:gd name="connsiteX18449" fmla="*/ 3387422 w 4610101"/>
              <a:gd name="connsiteY18449" fmla="*/ 1143355 h 6557032"/>
              <a:gd name="connsiteX18450" fmla="*/ 3380133 w 4610101"/>
              <a:gd name="connsiteY18450" fmla="*/ 1137889 h 6557032"/>
              <a:gd name="connsiteX18451" fmla="*/ 3385600 w 4610101"/>
              <a:gd name="connsiteY18451" fmla="*/ 1130600 h 6557032"/>
              <a:gd name="connsiteX18452" fmla="*/ 3414754 w 4610101"/>
              <a:gd name="connsiteY18452" fmla="*/ 1123312 h 6557032"/>
              <a:gd name="connsiteX18453" fmla="*/ 3363734 w 4610101"/>
              <a:gd name="connsiteY18453" fmla="*/ 1123312 h 6557032"/>
              <a:gd name="connsiteX18454" fmla="*/ 3361911 w 4610101"/>
              <a:gd name="connsiteY18454" fmla="*/ 1128778 h 6557032"/>
              <a:gd name="connsiteX18455" fmla="*/ 3363734 w 4610101"/>
              <a:gd name="connsiteY18455" fmla="*/ 1123312 h 6557032"/>
              <a:gd name="connsiteX18456" fmla="*/ 1126104 w 4610101"/>
              <a:gd name="connsiteY18456" fmla="*/ 1123312 h 6557032"/>
              <a:gd name="connsiteX18457" fmla="*/ 1120637 w 4610101"/>
              <a:gd name="connsiteY18457" fmla="*/ 1128778 h 6557032"/>
              <a:gd name="connsiteX18458" fmla="*/ 1124282 w 4610101"/>
              <a:gd name="connsiteY18458" fmla="*/ 1130600 h 6557032"/>
              <a:gd name="connsiteX18459" fmla="*/ 1126104 w 4610101"/>
              <a:gd name="connsiteY18459" fmla="*/ 1123312 h 6557032"/>
              <a:gd name="connsiteX18460" fmla="*/ 1031351 w 4610101"/>
              <a:gd name="connsiteY18460" fmla="*/ 1123312 h 6557032"/>
              <a:gd name="connsiteX18461" fmla="*/ 1027707 w 4610101"/>
              <a:gd name="connsiteY18461" fmla="*/ 1125134 h 6557032"/>
              <a:gd name="connsiteX18462" fmla="*/ 1027707 w 4610101"/>
              <a:gd name="connsiteY18462" fmla="*/ 1128778 h 6557032"/>
              <a:gd name="connsiteX18463" fmla="*/ 1033173 w 4610101"/>
              <a:gd name="connsiteY18463" fmla="*/ 1125134 h 6557032"/>
              <a:gd name="connsiteX18464" fmla="*/ 1031351 w 4610101"/>
              <a:gd name="connsiteY18464" fmla="*/ 1123312 h 6557032"/>
              <a:gd name="connsiteX18465" fmla="*/ 976686 w 4610101"/>
              <a:gd name="connsiteY18465" fmla="*/ 1123312 h 6557032"/>
              <a:gd name="connsiteX18466" fmla="*/ 973041 w 4610101"/>
              <a:gd name="connsiteY18466" fmla="*/ 1125134 h 6557032"/>
              <a:gd name="connsiteX18467" fmla="*/ 976686 w 4610101"/>
              <a:gd name="connsiteY18467" fmla="*/ 1126956 h 6557032"/>
              <a:gd name="connsiteX18468" fmla="*/ 976686 w 4610101"/>
              <a:gd name="connsiteY18468" fmla="*/ 1123312 h 6557032"/>
              <a:gd name="connsiteX18469" fmla="*/ 883755 w 4610101"/>
              <a:gd name="connsiteY18469" fmla="*/ 1123312 h 6557032"/>
              <a:gd name="connsiteX18470" fmla="*/ 880111 w 4610101"/>
              <a:gd name="connsiteY18470" fmla="*/ 1126956 h 6557032"/>
              <a:gd name="connsiteX18471" fmla="*/ 883755 w 4610101"/>
              <a:gd name="connsiteY18471" fmla="*/ 1128778 h 6557032"/>
              <a:gd name="connsiteX18472" fmla="*/ 883755 w 4610101"/>
              <a:gd name="connsiteY18472" fmla="*/ 1123312 h 6557032"/>
              <a:gd name="connsiteX18473" fmla="*/ 805401 w 4610101"/>
              <a:gd name="connsiteY18473" fmla="*/ 1123312 h 6557032"/>
              <a:gd name="connsiteX18474" fmla="*/ 810868 w 4610101"/>
              <a:gd name="connsiteY18474" fmla="*/ 1139711 h 6557032"/>
              <a:gd name="connsiteX18475" fmla="*/ 814512 w 4610101"/>
              <a:gd name="connsiteY18475" fmla="*/ 1136067 h 6557032"/>
              <a:gd name="connsiteX18476" fmla="*/ 805401 w 4610101"/>
              <a:gd name="connsiteY18476" fmla="*/ 1123312 h 6557032"/>
              <a:gd name="connsiteX18477" fmla="*/ 1225230 w 4610101"/>
              <a:gd name="connsiteY18477" fmla="*/ 1122947 h 6557032"/>
              <a:gd name="connsiteX18478" fmla="*/ 1226655 w 4610101"/>
              <a:gd name="connsiteY18478" fmla="*/ 1123422 h 6557032"/>
              <a:gd name="connsiteX18479" fmla="*/ 1224501 w 4610101"/>
              <a:gd name="connsiteY18479" fmla="*/ 1123312 h 6557032"/>
              <a:gd name="connsiteX18480" fmla="*/ 3068541 w 4610101"/>
              <a:gd name="connsiteY18480" fmla="*/ 1121489 h 6557032"/>
              <a:gd name="connsiteX18481" fmla="*/ 3070487 w 4610101"/>
              <a:gd name="connsiteY18481" fmla="*/ 1123218 h 6557032"/>
              <a:gd name="connsiteX18482" fmla="*/ 3070363 w 4610101"/>
              <a:gd name="connsiteY18482" fmla="*/ 1125134 h 6557032"/>
              <a:gd name="connsiteX18483" fmla="*/ 3068541 w 4610101"/>
              <a:gd name="connsiteY18483" fmla="*/ 1121489 h 6557032"/>
              <a:gd name="connsiteX18484" fmla="*/ 2314161 w 4610101"/>
              <a:gd name="connsiteY18484" fmla="*/ 1121489 h 6557032"/>
              <a:gd name="connsiteX18485" fmla="*/ 2314161 w 4610101"/>
              <a:gd name="connsiteY18485" fmla="*/ 1126956 h 6557032"/>
              <a:gd name="connsiteX18486" fmla="*/ 2314161 w 4610101"/>
              <a:gd name="connsiteY18486" fmla="*/ 1121489 h 6557032"/>
              <a:gd name="connsiteX18487" fmla="*/ 2223053 w 4610101"/>
              <a:gd name="connsiteY18487" fmla="*/ 1121489 h 6557032"/>
              <a:gd name="connsiteX18488" fmla="*/ 2217586 w 4610101"/>
              <a:gd name="connsiteY18488" fmla="*/ 1136067 h 6557032"/>
              <a:gd name="connsiteX18489" fmla="*/ 2223053 w 4610101"/>
              <a:gd name="connsiteY18489" fmla="*/ 1121489 h 6557032"/>
              <a:gd name="connsiteX18490" fmla="*/ 1291922 w 4610101"/>
              <a:gd name="connsiteY18490" fmla="*/ 1121489 h 6557032"/>
              <a:gd name="connsiteX18491" fmla="*/ 1273700 w 4610101"/>
              <a:gd name="connsiteY18491" fmla="*/ 1130600 h 6557032"/>
              <a:gd name="connsiteX18492" fmla="*/ 1291922 w 4610101"/>
              <a:gd name="connsiteY18492" fmla="*/ 1121489 h 6557032"/>
              <a:gd name="connsiteX18493" fmla="*/ 1084194 w 4610101"/>
              <a:gd name="connsiteY18493" fmla="*/ 1121489 h 6557032"/>
              <a:gd name="connsiteX18494" fmla="*/ 1084308 w 4610101"/>
              <a:gd name="connsiteY18494" fmla="*/ 1123084 h 6557032"/>
              <a:gd name="connsiteX18495" fmla="*/ 1082373 w 4610101"/>
              <a:gd name="connsiteY18495" fmla="*/ 1126956 h 6557032"/>
              <a:gd name="connsiteX18496" fmla="*/ 1080640 w 4610101"/>
              <a:gd name="connsiteY18496" fmla="*/ 1127533 h 6557032"/>
              <a:gd name="connsiteX18497" fmla="*/ 1080549 w 4610101"/>
              <a:gd name="connsiteY18497" fmla="*/ 1127184 h 6557032"/>
              <a:gd name="connsiteX18498" fmla="*/ 1084194 w 4610101"/>
              <a:gd name="connsiteY18498" fmla="*/ 1121489 h 6557032"/>
              <a:gd name="connsiteX18499" fmla="*/ 1034995 w 4610101"/>
              <a:gd name="connsiteY18499" fmla="*/ 1121489 h 6557032"/>
              <a:gd name="connsiteX18500" fmla="*/ 1042284 w 4610101"/>
              <a:gd name="connsiteY18500" fmla="*/ 1125134 h 6557032"/>
              <a:gd name="connsiteX18501" fmla="*/ 1034995 w 4610101"/>
              <a:gd name="connsiteY18501" fmla="*/ 1121489 h 6557032"/>
              <a:gd name="connsiteX18502" fmla="*/ 1033173 w 4610101"/>
              <a:gd name="connsiteY18502" fmla="*/ 1121489 h 6557032"/>
              <a:gd name="connsiteX18503" fmla="*/ 1034995 w 4610101"/>
              <a:gd name="connsiteY18503" fmla="*/ 1126956 h 6557032"/>
              <a:gd name="connsiteX18504" fmla="*/ 1036818 w 4610101"/>
              <a:gd name="connsiteY18504" fmla="*/ 1123312 h 6557032"/>
              <a:gd name="connsiteX18505" fmla="*/ 1033173 w 4610101"/>
              <a:gd name="connsiteY18505" fmla="*/ 1121489 h 6557032"/>
              <a:gd name="connsiteX18506" fmla="*/ 920198 w 4610101"/>
              <a:gd name="connsiteY18506" fmla="*/ 1121489 h 6557032"/>
              <a:gd name="connsiteX18507" fmla="*/ 920198 w 4610101"/>
              <a:gd name="connsiteY18507" fmla="*/ 1125134 h 6557032"/>
              <a:gd name="connsiteX18508" fmla="*/ 920198 w 4610101"/>
              <a:gd name="connsiteY18508" fmla="*/ 1121489 h 6557032"/>
              <a:gd name="connsiteX18509" fmla="*/ 790824 w 4610101"/>
              <a:gd name="connsiteY18509" fmla="*/ 1121489 h 6557032"/>
              <a:gd name="connsiteX18510" fmla="*/ 796290 w 4610101"/>
              <a:gd name="connsiteY18510" fmla="*/ 1132422 h 6557032"/>
              <a:gd name="connsiteX18511" fmla="*/ 790824 w 4610101"/>
              <a:gd name="connsiteY18511" fmla="*/ 1121489 h 6557032"/>
              <a:gd name="connsiteX18512" fmla="*/ 641407 w 4610101"/>
              <a:gd name="connsiteY18512" fmla="*/ 1121489 h 6557032"/>
              <a:gd name="connsiteX18513" fmla="*/ 637761 w 4610101"/>
              <a:gd name="connsiteY18513" fmla="*/ 1126956 h 6557032"/>
              <a:gd name="connsiteX18514" fmla="*/ 648694 w 4610101"/>
              <a:gd name="connsiteY18514" fmla="*/ 1128778 h 6557032"/>
              <a:gd name="connsiteX18515" fmla="*/ 641407 w 4610101"/>
              <a:gd name="connsiteY18515" fmla="*/ 1121489 h 6557032"/>
              <a:gd name="connsiteX18516" fmla="*/ 298837 w 4610101"/>
              <a:gd name="connsiteY18516" fmla="*/ 1121489 h 6557032"/>
              <a:gd name="connsiteX18517" fmla="*/ 313414 w 4610101"/>
              <a:gd name="connsiteY18517" fmla="*/ 1134245 h 6557032"/>
              <a:gd name="connsiteX18518" fmla="*/ 298837 w 4610101"/>
              <a:gd name="connsiteY18518" fmla="*/ 1121489 h 6557032"/>
              <a:gd name="connsiteX18519" fmla="*/ 3045945 w 4610101"/>
              <a:gd name="connsiteY18519" fmla="*/ 1121257 h 6557032"/>
              <a:gd name="connsiteX18520" fmla="*/ 3048497 w 4610101"/>
              <a:gd name="connsiteY18520" fmla="*/ 1123312 h 6557032"/>
              <a:gd name="connsiteX18521" fmla="*/ 3048498 w 4610101"/>
              <a:gd name="connsiteY18521" fmla="*/ 1133561 h 6557032"/>
              <a:gd name="connsiteX18522" fmla="*/ 3048498 w 4610101"/>
              <a:gd name="connsiteY18522" fmla="*/ 1134245 h 6557032"/>
              <a:gd name="connsiteX18523" fmla="*/ 3048497 w 4610101"/>
              <a:gd name="connsiteY18523" fmla="*/ 1134245 h 6557032"/>
              <a:gd name="connsiteX18524" fmla="*/ 3045992 w 4610101"/>
              <a:gd name="connsiteY18524" fmla="*/ 1121717 h 6557032"/>
              <a:gd name="connsiteX18525" fmla="*/ 1130963 w 4610101"/>
              <a:gd name="connsiteY18525" fmla="*/ 1120882 h 6557032"/>
              <a:gd name="connsiteX18526" fmla="*/ 1132709 w 4610101"/>
              <a:gd name="connsiteY18526" fmla="*/ 1122628 h 6557032"/>
              <a:gd name="connsiteX18527" fmla="*/ 1137037 w 4610101"/>
              <a:gd name="connsiteY18527" fmla="*/ 1126956 h 6557032"/>
              <a:gd name="connsiteX18528" fmla="*/ 1142503 w 4610101"/>
              <a:gd name="connsiteY18528" fmla="*/ 1139711 h 6557032"/>
              <a:gd name="connsiteX18529" fmla="*/ 1138003 w 4610101"/>
              <a:gd name="connsiteY18529" fmla="*/ 1136898 h 6557032"/>
              <a:gd name="connsiteX18530" fmla="*/ 1135670 w 4610101"/>
              <a:gd name="connsiteY18530" fmla="*/ 1129234 h 6557032"/>
              <a:gd name="connsiteX18531" fmla="*/ 1135275 w 4610101"/>
              <a:gd name="connsiteY18531" fmla="*/ 1128717 h 6557032"/>
              <a:gd name="connsiteX18532" fmla="*/ 1129748 w 4610101"/>
              <a:gd name="connsiteY18532" fmla="*/ 1121489 h 6557032"/>
              <a:gd name="connsiteX18533" fmla="*/ 3329112 w 4610101"/>
              <a:gd name="connsiteY18533" fmla="*/ 1119667 h 6557032"/>
              <a:gd name="connsiteX18534" fmla="*/ 3331299 w 4610101"/>
              <a:gd name="connsiteY18534" fmla="*/ 1125134 h 6557032"/>
              <a:gd name="connsiteX18535" fmla="*/ 3329112 w 4610101"/>
              <a:gd name="connsiteY18535" fmla="*/ 1125134 h 6557032"/>
              <a:gd name="connsiteX18536" fmla="*/ 3331542 w 4610101"/>
              <a:gd name="connsiteY18536" fmla="*/ 1125741 h 6557032"/>
              <a:gd name="connsiteX18537" fmla="*/ 3332425 w 4610101"/>
              <a:gd name="connsiteY18537" fmla="*/ 1127950 h 6557032"/>
              <a:gd name="connsiteX18538" fmla="*/ 3331797 w 4610101"/>
              <a:gd name="connsiteY18538" fmla="*/ 1128107 h 6557032"/>
              <a:gd name="connsiteX18539" fmla="*/ 3328325 w 4610101"/>
              <a:gd name="connsiteY18539" fmla="*/ 1125675 h 6557032"/>
              <a:gd name="connsiteX18540" fmla="*/ 3328239 w 4610101"/>
              <a:gd name="connsiteY18540" fmla="*/ 1125341 h 6557032"/>
              <a:gd name="connsiteX18541" fmla="*/ 2924590 w 4610101"/>
              <a:gd name="connsiteY18541" fmla="*/ 1119667 h 6557032"/>
              <a:gd name="connsiteX18542" fmla="*/ 2926379 w 4610101"/>
              <a:gd name="connsiteY18542" fmla="*/ 1120043 h 6557032"/>
              <a:gd name="connsiteX18543" fmla="*/ 2927337 w 4610101"/>
              <a:gd name="connsiteY18543" fmla="*/ 1122671 h 6557032"/>
              <a:gd name="connsiteX18544" fmla="*/ 2239452 w 4610101"/>
              <a:gd name="connsiteY18544" fmla="*/ 1119667 h 6557032"/>
              <a:gd name="connsiteX18545" fmla="*/ 2243096 w 4610101"/>
              <a:gd name="connsiteY18545" fmla="*/ 1126956 h 6557032"/>
              <a:gd name="connsiteX18546" fmla="*/ 2248563 w 4610101"/>
              <a:gd name="connsiteY18546" fmla="*/ 1125134 h 6557032"/>
              <a:gd name="connsiteX18547" fmla="*/ 2248563 w 4610101"/>
              <a:gd name="connsiteY18547" fmla="*/ 1119667 h 6557032"/>
              <a:gd name="connsiteX18548" fmla="*/ 2239452 w 4610101"/>
              <a:gd name="connsiteY18548" fmla="*/ 1119667 h 6557032"/>
              <a:gd name="connsiteX18549" fmla="*/ 1258895 w 4610101"/>
              <a:gd name="connsiteY18549" fmla="*/ 1119667 h 6557032"/>
              <a:gd name="connsiteX18550" fmla="*/ 1273275 w 4610101"/>
              <a:gd name="connsiteY18550" fmla="*/ 1119667 h 6557032"/>
              <a:gd name="connsiteX18551" fmla="*/ 1262083 w 4610101"/>
              <a:gd name="connsiteY18551" fmla="*/ 1124678 h 6557032"/>
              <a:gd name="connsiteX18552" fmla="*/ 1248953 w 4610101"/>
              <a:gd name="connsiteY18552" fmla="*/ 1127458 h 6557032"/>
              <a:gd name="connsiteX18553" fmla="*/ 1242723 w 4610101"/>
              <a:gd name="connsiteY18553" fmla="*/ 1125134 h 6557032"/>
              <a:gd name="connsiteX18554" fmla="*/ 1258895 w 4610101"/>
              <a:gd name="connsiteY18554" fmla="*/ 1119667 h 6557032"/>
              <a:gd name="connsiteX18555" fmla="*/ 1133393 w 4610101"/>
              <a:gd name="connsiteY18555" fmla="*/ 1119667 h 6557032"/>
              <a:gd name="connsiteX18556" fmla="*/ 1133890 w 4610101"/>
              <a:gd name="connsiteY18556" fmla="*/ 1120660 h 6557032"/>
              <a:gd name="connsiteX18557" fmla="*/ 1133393 w 4610101"/>
              <a:gd name="connsiteY18557" fmla="*/ 1121489 h 6557032"/>
              <a:gd name="connsiteX18558" fmla="*/ 1132513 w 4610101"/>
              <a:gd name="connsiteY18558" fmla="*/ 1120107 h 6557032"/>
              <a:gd name="connsiteX18559" fmla="*/ 1086016 w 4610101"/>
              <a:gd name="connsiteY18559" fmla="*/ 1119667 h 6557032"/>
              <a:gd name="connsiteX18560" fmla="*/ 1049573 w 4610101"/>
              <a:gd name="connsiteY18560" fmla="*/ 1141533 h 6557032"/>
              <a:gd name="connsiteX18561" fmla="*/ 1051395 w 4610101"/>
              <a:gd name="connsiteY18561" fmla="*/ 1150644 h 6557032"/>
              <a:gd name="connsiteX18562" fmla="*/ 1058683 w 4610101"/>
              <a:gd name="connsiteY18562" fmla="*/ 1157933 h 6557032"/>
              <a:gd name="connsiteX18563" fmla="*/ 1067794 w 4610101"/>
              <a:gd name="connsiteY18563" fmla="*/ 1157933 h 6557032"/>
              <a:gd name="connsiteX18564" fmla="*/ 1067794 w 4610101"/>
              <a:gd name="connsiteY18564" fmla="*/ 1159755 h 6557032"/>
              <a:gd name="connsiteX18565" fmla="*/ 1073262 w 4610101"/>
              <a:gd name="connsiteY18565" fmla="*/ 1159755 h 6557032"/>
              <a:gd name="connsiteX18566" fmla="*/ 1075083 w 4610101"/>
              <a:gd name="connsiteY18566" fmla="*/ 1150644 h 6557032"/>
              <a:gd name="connsiteX18567" fmla="*/ 1078727 w 4610101"/>
              <a:gd name="connsiteY18567" fmla="*/ 1152466 h 6557032"/>
              <a:gd name="connsiteX18568" fmla="*/ 1087838 w 4610101"/>
              <a:gd name="connsiteY18568" fmla="*/ 1143355 h 6557032"/>
              <a:gd name="connsiteX18569" fmla="*/ 1087175 w 4610101"/>
              <a:gd name="connsiteY18569" fmla="*/ 1142692 h 6557032"/>
              <a:gd name="connsiteX18570" fmla="*/ 1092394 w 4610101"/>
              <a:gd name="connsiteY18570" fmla="*/ 1141533 h 6557032"/>
              <a:gd name="connsiteX18571" fmla="*/ 1089727 w 4610101"/>
              <a:gd name="connsiteY18571" fmla="*/ 1134425 h 6557032"/>
              <a:gd name="connsiteX18572" fmla="*/ 1092621 w 4610101"/>
              <a:gd name="connsiteY18572" fmla="*/ 1134700 h 6557032"/>
              <a:gd name="connsiteX18573" fmla="*/ 1093305 w 4610101"/>
              <a:gd name="connsiteY18573" fmla="*/ 1137889 h 6557032"/>
              <a:gd name="connsiteX18574" fmla="*/ 1089660 w 4610101"/>
              <a:gd name="connsiteY18574" fmla="*/ 1119667 h 6557032"/>
              <a:gd name="connsiteX18575" fmla="*/ 1089660 w 4610101"/>
              <a:gd name="connsiteY18575" fmla="*/ 1126956 h 6557032"/>
              <a:gd name="connsiteX18576" fmla="*/ 1087838 w 4610101"/>
              <a:gd name="connsiteY18576" fmla="*/ 1129324 h 6557032"/>
              <a:gd name="connsiteX18577" fmla="*/ 1087382 w 4610101"/>
              <a:gd name="connsiteY18577" fmla="*/ 1129917 h 6557032"/>
              <a:gd name="connsiteX18578" fmla="*/ 1087838 w 4610101"/>
              <a:gd name="connsiteY18578" fmla="*/ 1134245 h 6557032"/>
              <a:gd name="connsiteX18579" fmla="*/ 1089517 w 4610101"/>
              <a:gd name="connsiteY18579" fmla="*/ 1134405 h 6557032"/>
              <a:gd name="connsiteX18580" fmla="*/ 1085560 w 4610101"/>
              <a:gd name="connsiteY18580" fmla="*/ 1138800 h 6557032"/>
              <a:gd name="connsiteX18581" fmla="*/ 1085036 w 4610101"/>
              <a:gd name="connsiteY18581" fmla="*/ 1140552 h 6557032"/>
              <a:gd name="connsiteX18582" fmla="*/ 1084194 w 4610101"/>
              <a:gd name="connsiteY18582" fmla="*/ 1139711 h 6557032"/>
              <a:gd name="connsiteX18583" fmla="*/ 1080549 w 4610101"/>
              <a:gd name="connsiteY18583" fmla="*/ 1147000 h 6557032"/>
              <a:gd name="connsiteX18584" fmla="*/ 1080549 w 4610101"/>
              <a:gd name="connsiteY18584" fmla="*/ 1134245 h 6557032"/>
              <a:gd name="connsiteX18585" fmla="*/ 1067794 w 4610101"/>
              <a:gd name="connsiteY18585" fmla="*/ 1145178 h 6557032"/>
              <a:gd name="connsiteX18586" fmla="*/ 1060506 w 4610101"/>
              <a:gd name="connsiteY18586" fmla="*/ 1147000 h 6557032"/>
              <a:gd name="connsiteX18587" fmla="*/ 1064151 w 4610101"/>
              <a:gd name="connsiteY18587" fmla="*/ 1143355 h 6557032"/>
              <a:gd name="connsiteX18588" fmla="*/ 1062328 w 4610101"/>
              <a:gd name="connsiteY18588" fmla="*/ 1139711 h 6557032"/>
              <a:gd name="connsiteX18589" fmla="*/ 1065972 w 4610101"/>
              <a:gd name="connsiteY18589" fmla="*/ 1141533 h 6557032"/>
              <a:gd name="connsiteX18590" fmla="*/ 1065972 w 4610101"/>
              <a:gd name="connsiteY18590" fmla="*/ 1136067 h 6557032"/>
              <a:gd name="connsiteX18591" fmla="*/ 1069616 w 4610101"/>
              <a:gd name="connsiteY18591" fmla="*/ 1134245 h 6557032"/>
              <a:gd name="connsiteX18592" fmla="*/ 1067794 w 4610101"/>
              <a:gd name="connsiteY18592" fmla="*/ 1137889 h 6557032"/>
              <a:gd name="connsiteX18593" fmla="*/ 1078727 w 4610101"/>
              <a:gd name="connsiteY18593" fmla="*/ 1130600 h 6557032"/>
              <a:gd name="connsiteX18594" fmla="*/ 1075083 w 4610101"/>
              <a:gd name="connsiteY18594" fmla="*/ 1132422 h 6557032"/>
              <a:gd name="connsiteX18595" fmla="*/ 1075083 w 4610101"/>
              <a:gd name="connsiteY18595" fmla="*/ 1126956 h 6557032"/>
              <a:gd name="connsiteX18596" fmla="*/ 1076905 w 4610101"/>
              <a:gd name="connsiteY18596" fmla="*/ 1128778 h 6557032"/>
              <a:gd name="connsiteX18597" fmla="*/ 1080640 w 4610101"/>
              <a:gd name="connsiteY18597" fmla="*/ 1127533 h 6557032"/>
              <a:gd name="connsiteX18598" fmla="*/ 1082373 w 4610101"/>
              <a:gd name="connsiteY18598" fmla="*/ 1134245 h 6557032"/>
              <a:gd name="connsiteX18599" fmla="*/ 1084649 w 4610101"/>
              <a:gd name="connsiteY18599" fmla="*/ 1127867 h 6557032"/>
              <a:gd name="connsiteX18600" fmla="*/ 1084308 w 4610101"/>
              <a:gd name="connsiteY18600" fmla="*/ 1123084 h 6557032"/>
              <a:gd name="connsiteX18601" fmla="*/ 967575 w 4610101"/>
              <a:gd name="connsiteY18601" fmla="*/ 1119667 h 6557032"/>
              <a:gd name="connsiteX18602" fmla="*/ 962108 w 4610101"/>
              <a:gd name="connsiteY18602" fmla="*/ 1126956 h 6557032"/>
              <a:gd name="connsiteX18603" fmla="*/ 967575 w 4610101"/>
              <a:gd name="connsiteY18603" fmla="*/ 1119667 h 6557032"/>
              <a:gd name="connsiteX18604" fmla="*/ 931131 w 4610101"/>
              <a:gd name="connsiteY18604" fmla="*/ 1119667 h 6557032"/>
              <a:gd name="connsiteX18605" fmla="*/ 931131 w 4610101"/>
              <a:gd name="connsiteY18605" fmla="*/ 1125134 h 6557032"/>
              <a:gd name="connsiteX18606" fmla="*/ 934777 w 4610101"/>
              <a:gd name="connsiteY18606" fmla="*/ 1123312 h 6557032"/>
              <a:gd name="connsiteX18607" fmla="*/ 931131 w 4610101"/>
              <a:gd name="connsiteY18607" fmla="*/ 1119667 h 6557032"/>
              <a:gd name="connsiteX18608" fmla="*/ 369902 w 4610101"/>
              <a:gd name="connsiteY18608" fmla="*/ 1119667 h 6557032"/>
              <a:gd name="connsiteX18609" fmla="*/ 375368 w 4610101"/>
              <a:gd name="connsiteY18609" fmla="*/ 1123312 h 6557032"/>
              <a:gd name="connsiteX18610" fmla="*/ 369902 w 4610101"/>
              <a:gd name="connsiteY18610" fmla="*/ 1119667 h 6557032"/>
              <a:gd name="connsiteX18611" fmla="*/ 262393 w 4610101"/>
              <a:gd name="connsiteY18611" fmla="*/ 1119667 h 6557032"/>
              <a:gd name="connsiteX18612" fmla="*/ 267860 w 4610101"/>
              <a:gd name="connsiteY18612" fmla="*/ 1123312 h 6557032"/>
              <a:gd name="connsiteX18613" fmla="*/ 262393 w 4610101"/>
              <a:gd name="connsiteY18613" fmla="*/ 1119667 h 6557032"/>
              <a:gd name="connsiteX18614" fmla="*/ 1274690 w 4610101"/>
              <a:gd name="connsiteY18614" fmla="*/ 1119033 h 6557032"/>
              <a:gd name="connsiteX18615" fmla="*/ 1273700 w 4610101"/>
              <a:gd name="connsiteY18615" fmla="*/ 1119667 h 6557032"/>
              <a:gd name="connsiteX18616" fmla="*/ 1273275 w 4610101"/>
              <a:gd name="connsiteY18616" fmla="*/ 1119667 h 6557032"/>
              <a:gd name="connsiteX18617" fmla="*/ 3026670 w 4610101"/>
              <a:gd name="connsiteY18617" fmla="*/ 1117944 h 6557032"/>
              <a:gd name="connsiteX18618" fmla="*/ 3026727 w 4610101"/>
              <a:gd name="connsiteY18618" fmla="*/ 1117967 h 6557032"/>
              <a:gd name="connsiteX18619" fmla="*/ 3034148 w 4610101"/>
              <a:gd name="connsiteY18619" fmla="*/ 1127411 h 6557032"/>
              <a:gd name="connsiteX18620" fmla="*/ 3034972 w 4610101"/>
              <a:gd name="connsiteY18620" fmla="*/ 1130380 h 6557032"/>
              <a:gd name="connsiteX18621" fmla="*/ 3030048 w 4610101"/>
              <a:gd name="connsiteY18621" fmla="*/ 1126500 h 6557032"/>
              <a:gd name="connsiteX18622" fmla="*/ 1290100 w 4610101"/>
              <a:gd name="connsiteY18622" fmla="*/ 1117845 h 6557032"/>
              <a:gd name="connsiteX18623" fmla="*/ 1291922 w 4610101"/>
              <a:gd name="connsiteY18623" fmla="*/ 1119667 h 6557032"/>
              <a:gd name="connsiteX18624" fmla="*/ 1291440 w 4610101"/>
              <a:gd name="connsiteY18624" fmla="*/ 1119828 h 6557032"/>
              <a:gd name="connsiteX18625" fmla="*/ 1288960 w 4610101"/>
              <a:gd name="connsiteY18625" fmla="*/ 1119894 h 6557032"/>
              <a:gd name="connsiteX18626" fmla="*/ 1287873 w 4610101"/>
              <a:gd name="connsiteY18626" fmla="*/ 1120072 h 6557032"/>
              <a:gd name="connsiteX18627" fmla="*/ 1131570 w 4610101"/>
              <a:gd name="connsiteY18627" fmla="*/ 1117845 h 6557032"/>
              <a:gd name="connsiteX18628" fmla="*/ 1133393 w 4610101"/>
              <a:gd name="connsiteY18628" fmla="*/ 1117845 h 6557032"/>
              <a:gd name="connsiteX18629" fmla="*/ 1133419 w 4610101"/>
              <a:gd name="connsiteY18629" fmla="*/ 1117942 h 6557032"/>
              <a:gd name="connsiteX18630" fmla="*/ 896510 w 4610101"/>
              <a:gd name="connsiteY18630" fmla="*/ 1117845 h 6557032"/>
              <a:gd name="connsiteX18631" fmla="*/ 898333 w 4610101"/>
              <a:gd name="connsiteY18631" fmla="*/ 1121489 h 6557032"/>
              <a:gd name="connsiteX18632" fmla="*/ 896510 w 4610101"/>
              <a:gd name="connsiteY18632" fmla="*/ 1117845 h 6557032"/>
              <a:gd name="connsiteX18633" fmla="*/ 676027 w 4610101"/>
              <a:gd name="connsiteY18633" fmla="*/ 1117845 h 6557032"/>
              <a:gd name="connsiteX18634" fmla="*/ 688782 w 4610101"/>
              <a:gd name="connsiteY18634" fmla="*/ 1139711 h 6557032"/>
              <a:gd name="connsiteX18635" fmla="*/ 685138 w 4610101"/>
              <a:gd name="connsiteY18635" fmla="*/ 1128778 h 6557032"/>
              <a:gd name="connsiteX18636" fmla="*/ 690604 w 4610101"/>
              <a:gd name="connsiteY18636" fmla="*/ 1132422 h 6557032"/>
              <a:gd name="connsiteX18637" fmla="*/ 681493 w 4610101"/>
              <a:gd name="connsiteY18637" fmla="*/ 1126956 h 6557032"/>
              <a:gd name="connsiteX18638" fmla="*/ 686960 w 4610101"/>
              <a:gd name="connsiteY18638" fmla="*/ 1125134 h 6557032"/>
              <a:gd name="connsiteX18639" fmla="*/ 676027 w 4610101"/>
              <a:gd name="connsiteY18639" fmla="*/ 1117845 h 6557032"/>
              <a:gd name="connsiteX18640" fmla="*/ 674205 w 4610101"/>
              <a:gd name="connsiteY18640" fmla="*/ 1117845 h 6557032"/>
              <a:gd name="connsiteX18641" fmla="*/ 672383 w 4610101"/>
              <a:gd name="connsiteY18641" fmla="*/ 1121489 h 6557032"/>
              <a:gd name="connsiteX18642" fmla="*/ 674205 w 4610101"/>
              <a:gd name="connsiteY18642" fmla="*/ 1117845 h 6557032"/>
              <a:gd name="connsiteX18643" fmla="*/ 650516 w 4610101"/>
              <a:gd name="connsiteY18643" fmla="*/ 1117845 h 6557032"/>
              <a:gd name="connsiteX18644" fmla="*/ 655983 w 4610101"/>
              <a:gd name="connsiteY18644" fmla="*/ 1125134 h 6557032"/>
              <a:gd name="connsiteX18645" fmla="*/ 655983 w 4610101"/>
              <a:gd name="connsiteY18645" fmla="*/ 1123312 h 6557032"/>
              <a:gd name="connsiteX18646" fmla="*/ 650516 w 4610101"/>
              <a:gd name="connsiteY18646" fmla="*/ 1117845 h 6557032"/>
              <a:gd name="connsiteX18647" fmla="*/ 548475 w 4610101"/>
              <a:gd name="connsiteY18647" fmla="*/ 1117845 h 6557032"/>
              <a:gd name="connsiteX18648" fmla="*/ 557586 w 4610101"/>
              <a:gd name="connsiteY18648" fmla="*/ 1125134 h 6557032"/>
              <a:gd name="connsiteX18649" fmla="*/ 559408 w 4610101"/>
              <a:gd name="connsiteY18649" fmla="*/ 1121489 h 6557032"/>
              <a:gd name="connsiteX18650" fmla="*/ 548475 w 4610101"/>
              <a:gd name="connsiteY18650" fmla="*/ 1117845 h 6557032"/>
              <a:gd name="connsiteX18651" fmla="*/ 528431 w 4610101"/>
              <a:gd name="connsiteY18651" fmla="*/ 1117845 h 6557032"/>
              <a:gd name="connsiteX18652" fmla="*/ 530253 w 4610101"/>
              <a:gd name="connsiteY18652" fmla="*/ 1119667 h 6557032"/>
              <a:gd name="connsiteX18653" fmla="*/ 528431 w 4610101"/>
              <a:gd name="connsiteY18653" fmla="*/ 1117845 h 6557032"/>
              <a:gd name="connsiteX18654" fmla="*/ 216839 w 4610101"/>
              <a:gd name="connsiteY18654" fmla="*/ 1117845 h 6557032"/>
              <a:gd name="connsiteX18655" fmla="*/ 222306 w 4610101"/>
              <a:gd name="connsiteY18655" fmla="*/ 1121489 h 6557032"/>
              <a:gd name="connsiteX18656" fmla="*/ 216839 w 4610101"/>
              <a:gd name="connsiteY18656" fmla="*/ 1117845 h 6557032"/>
              <a:gd name="connsiteX18657" fmla="*/ 2239452 w 4610101"/>
              <a:gd name="connsiteY18657" fmla="*/ 1116023 h 6557032"/>
              <a:gd name="connsiteX18658" fmla="*/ 2233986 w 4610101"/>
              <a:gd name="connsiteY18658" fmla="*/ 1128778 h 6557032"/>
              <a:gd name="connsiteX18659" fmla="*/ 2239452 w 4610101"/>
              <a:gd name="connsiteY18659" fmla="*/ 1116023 h 6557032"/>
              <a:gd name="connsiteX18660" fmla="*/ 1279394 w 4610101"/>
              <a:gd name="connsiteY18660" fmla="*/ 1116023 h 6557032"/>
              <a:gd name="connsiteX18661" fmla="*/ 1286455 w 4610101"/>
              <a:gd name="connsiteY18661" fmla="*/ 1117845 h 6557032"/>
              <a:gd name="connsiteX18662" fmla="*/ 1283776 w 4610101"/>
              <a:gd name="connsiteY18662" fmla="*/ 1120739 h 6557032"/>
              <a:gd name="connsiteX18663" fmla="*/ 1279166 w 4610101"/>
              <a:gd name="connsiteY18663" fmla="*/ 1121489 h 6557032"/>
              <a:gd name="connsiteX18664" fmla="*/ 1277344 w 4610101"/>
              <a:gd name="connsiteY18664" fmla="*/ 1117845 h 6557032"/>
              <a:gd name="connsiteX18665" fmla="*/ 1274690 w 4610101"/>
              <a:gd name="connsiteY18665" fmla="*/ 1119033 h 6557032"/>
              <a:gd name="connsiteX18666" fmla="*/ 716115 w 4610101"/>
              <a:gd name="connsiteY18666" fmla="*/ 1116023 h 6557032"/>
              <a:gd name="connsiteX18667" fmla="*/ 723404 w 4610101"/>
              <a:gd name="connsiteY18667" fmla="*/ 1121489 h 6557032"/>
              <a:gd name="connsiteX18668" fmla="*/ 716115 w 4610101"/>
              <a:gd name="connsiteY18668" fmla="*/ 1123312 h 6557032"/>
              <a:gd name="connsiteX18669" fmla="*/ 719759 w 4610101"/>
              <a:gd name="connsiteY18669" fmla="*/ 1128778 h 6557032"/>
              <a:gd name="connsiteX18670" fmla="*/ 719759 w 4610101"/>
              <a:gd name="connsiteY18670" fmla="*/ 1125134 h 6557032"/>
              <a:gd name="connsiteX18671" fmla="*/ 730692 w 4610101"/>
              <a:gd name="connsiteY18671" fmla="*/ 1137889 h 6557032"/>
              <a:gd name="connsiteX18672" fmla="*/ 727048 w 4610101"/>
              <a:gd name="connsiteY18672" fmla="*/ 1125134 h 6557032"/>
              <a:gd name="connsiteX18673" fmla="*/ 725226 w 4610101"/>
              <a:gd name="connsiteY18673" fmla="*/ 1126956 h 6557032"/>
              <a:gd name="connsiteX18674" fmla="*/ 725226 w 4610101"/>
              <a:gd name="connsiteY18674" fmla="*/ 1123312 h 6557032"/>
              <a:gd name="connsiteX18675" fmla="*/ 716115 w 4610101"/>
              <a:gd name="connsiteY18675" fmla="*/ 1116023 h 6557032"/>
              <a:gd name="connsiteX18676" fmla="*/ 280615 w 4610101"/>
              <a:gd name="connsiteY18676" fmla="*/ 1116023 h 6557032"/>
              <a:gd name="connsiteX18677" fmla="*/ 287904 w 4610101"/>
              <a:gd name="connsiteY18677" fmla="*/ 1123312 h 6557032"/>
              <a:gd name="connsiteX18678" fmla="*/ 280615 w 4610101"/>
              <a:gd name="connsiteY18678" fmla="*/ 1116023 h 6557032"/>
              <a:gd name="connsiteX18679" fmla="*/ 242349 w 4610101"/>
              <a:gd name="connsiteY18679" fmla="*/ 1116023 h 6557032"/>
              <a:gd name="connsiteX18680" fmla="*/ 256927 w 4610101"/>
              <a:gd name="connsiteY18680" fmla="*/ 1128778 h 6557032"/>
              <a:gd name="connsiteX18681" fmla="*/ 242349 w 4610101"/>
              <a:gd name="connsiteY18681" fmla="*/ 1116023 h 6557032"/>
              <a:gd name="connsiteX18682" fmla="*/ 328344 w 4610101"/>
              <a:gd name="connsiteY18682" fmla="*/ 1115806 h 6557032"/>
              <a:gd name="connsiteX18683" fmla="*/ 326169 w 4610101"/>
              <a:gd name="connsiteY18683" fmla="*/ 1116023 h 6557032"/>
              <a:gd name="connsiteX18684" fmla="*/ 317059 w 4610101"/>
              <a:gd name="connsiteY18684" fmla="*/ 1116023 h 6557032"/>
              <a:gd name="connsiteX18685" fmla="*/ 1072806 w 4610101"/>
              <a:gd name="connsiteY18685" fmla="*/ 1115795 h 6557032"/>
              <a:gd name="connsiteX18686" fmla="*/ 1071439 w 4610101"/>
              <a:gd name="connsiteY18686" fmla="*/ 1119667 h 6557032"/>
              <a:gd name="connsiteX18687" fmla="*/ 1076905 w 4610101"/>
              <a:gd name="connsiteY18687" fmla="*/ 1116023 h 6557032"/>
              <a:gd name="connsiteX18688" fmla="*/ 1072806 w 4610101"/>
              <a:gd name="connsiteY18688" fmla="*/ 1115795 h 6557032"/>
              <a:gd name="connsiteX18689" fmla="*/ 1034539 w 4610101"/>
              <a:gd name="connsiteY18689" fmla="*/ 1115795 h 6557032"/>
              <a:gd name="connsiteX18690" fmla="*/ 1031351 w 4610101"/>
              <a:gd name="connsiteY18690" fmla="*/ 1116023 h 6557032"/>
              <a:gd name="connsiteX18691" fmla="*/ 1033173 w 4610101"/>
              <a:gd name="connsiteY18691" fmla="*/ 1119667 h 6557032"/>
              <a:gd name="connsiteX18692" fmla="*/ 1034995 w 4610101"/>
              <a:gd name="connsiteY18692" fmla="*/ 1119667 h 6557032"/>
              <a:gd name="connsiteX18693" fmla="*/ 1034539 w 4610101"/>
              <a:gd name="connsiteY18693" fmla="*/ 1115795 h 6557032"/>
              <a:gd name="connsiteX18694" fmla="*/ 3189175 w 4610101"/>
              <a:gd name="connsiteY18694" fmla="*/ 1115567 h 6557032"/>
              <a:gd name="connsiteX18695" fmla="*/ 3179694 w 4610101"/>
              <a:gd name="connsiteY18695" fmla="*/ 1117845 h 6557032"/>
              <a:gd name="connsiteX18696" fmla="*/ 3190627 w 4610101"/>
              <a:gd name="connsiteY18696" fmla="*/ 1132422 h 6557032"/>
              <a:gd name="connsiteX18697" fmla="*/ 3197916 w 4610101"/>
              <a:gd name="connsiteY18697" fmla="*/ 1157933 h 6557032"/>
              <a:gd name="connsiteX18698" fmla="*/ 3192449 w 4610101"/>
              <a:gd name="connsiteY18698" fmla="*/ 1147000 h 6557032"/>
              <a:gd name="connsiteX18699" fmla="*/ 3188805 w 4610101"/>
              <a:gd name="connsiteY18699" fmla="*/ 1148822 h 6557032"/>
              <a:gd name="connsiteX18700" fmla="*/ 3181516 w 4610101"/>
              <a:gd name="connsiteY18700" fmla="*/ 1123312 h 6557032"/>
              <a:gd name="connsiteX18701" fmla="*/ 3172405 w 4610101"/>
              <a:gd name="connsiteY18701" fmla="*/ 1130600 h 6557032"/>
              <a:gd name="connsiteX18702" fmla="*/ 3177872 w 4610101"/>
              <a:gd name="connsiteY18702" fmla="*/ 1137889 h 6557032"/>
              <a:gd name="connsiteX18703" fmla="*/ 3170583 w 4610101"/>
              <a:gd name="connsiteY18703" fmla="*/ 1139711 h 6557032"/>
              <a:gd name="connsiteX18704" fmla="*/ 3190627 w 4610101"/>
              <a:gd name="connsiteY18704" fmla="*/ 1163399 h 6557032"/>
              <a:gd name="connsiteX18705" fmla="*/ 3192449 w 4610101"/>
              <a:gd name="connsiteY18705" fmla="*/ 1170688 h 6557032"/>
              <a:gd name="connsiteX18706" fmla="*/ 3199738 w 4610101"/>
              <a:gd name="connsiteY18706" fmla="*/ 1168866 h 6557032"/>
              <a:gd name="connsiteX18707" fmla="*/ 3199738 w 4610101"/>
              <a:gd name="connsiteY18707" fmla="*/ 1161577 h 6557032"/>
              <a:gd name="connsiteX18708" fmla="*/ 3207027 w 4610101"/>
              <a:gd name="connsiteY18708" fmla="*/ 1167044 h 6557032"/>
              <a:gd name="connsiteX18709" fmla="*/ 3207027 w 4610101"/>
              <a:gd name="connsiteY18709" fmla="*/ 1161577 h 6557032"/>
              <a:gd name="connsiteX18710" fmla="*/ 3212493 w 4610101"/>
              <a:gd name="connsiteY18710" fmla="*/ 1165222 h 6557032"/>
              <a:gd name="connsiteX18711" fmla="*/ 3208849 w 4610101"/>
              <a:gd name="connsiteY18711" fmla="*/ 1172510 h 6557032"/>
              <a:gd name="connsiteX18712" fmla="*/ 3225248 w 4610101"/>
              <a:gd name="connsiteY18712" fmla="*/ 1194376 h 6557032"/>
              <a:gd name="connsiteX18713" fmla="*/ 3236181 w 4610101"/>
              <a:gd name="connsiteY18713" fmla="*/ 1194376 h 6557032"/>
              <a:gd name="connsiteX18714" fmla="*/ 3239826 w 4610101"/>
              <a:gd name="connsiteY18714" fmla="*/ 1183443 h 6557032"/>
              <a:gd name="connsiteX18715" fmla="*/ 3212493 w 4610101"/>
              <a:gd name="connsiteY18715" fmla="*/ 1136067 h 6557032"/>
              <a:gd name="connsiteX18716" fmla="*/ 3189175 w 4610101"/>
              <a:gd name="connsiteY18716" fmla="*/ 1115567 h 6557032"/>
              <a:gd name="connsiteX18717" fmla="*/ 2311656 w 4610101"/>
              <a:gd name="connsiteY18717" fmla="*/ 1115111 h 6557032"/>
              <a:gd name="connsiteX18718" fmla="*/ 2306873 w 4610101"/>
              <a:gd name="connsiteY18718" fmla="*/ 1116023 h 6557032"/>
              <a:gd name="connsiteX18719" fmla="*/ 2312339 w 4610101"/>
              <a:gd name="connsiteY18719" fmla="*/ 1119667 h 6557032"/>
              <a:gd name="connsiteX18720" fmla="*/ 2311656 w 4610101"/>
              <a:gd name="connsiteY18720" fmla="*/ 1115111 h 6557032"/>
              <a:gd name="connsiteX18721" fmla="*/ 348435 w 4610101"/>
              <a:gd name="connsiteY18721" fmla="*/ 1115027 h 6557032"/>
              <a:gd name="connsiteX18722" fmla="*/ 348037 w 4610101"/>
              <a:gd name="connsiteY18722" fmla="*/ 1116023 h 6557032"/>
              <a:gd name="connsiteX18723" fmla="*/ 350859 w 4610101"/>
              <a:gd name="connsiteY18723" fmla="*/ 1117278 h 6557032"/>
              <a:gd name="connsiteX18724" fmla="*/ 351225 w 4610101"/>
              <a:gd name="connsiteY18724" fmla="*/ 1117617 h 6557032"/>
              <a:gd name="connsiteX18725" fmla="*/ 354698 w 4610101"/>
              <a:gd name="connsiteY18725" fmla="*/ 1119867 h 6557032"/>
              <a:gd name="connsiteX18726" fmla="*/ 355393 w 4610101"/>
              <a:gd name="connsiteY18726" fmla="*/ 1119293 h 6557032"/>
              <a:gd name="connsiteX18727" fmla="*/ 364435 w 4610101"/>
              <a:gd name="connsiteY18727" fmla="*/ 1123312 h 6557032"/>
              <a:gd name="connsiteX18728" fmla="*/ 357146 w 4610101"/>
              <a:gd name="connsiteY18728" fmla="*/ 1117845 h 6557032"/>
              <a:gd name="connsiteX18729" fmla="*/ 355393 w 4610101"/>
              <a:gd name="connsiteY18729" fmla="*/ 1119293 h 6557032"/>
              <a:gd name="connsiteX18730" fmla="*/ 350859 w 4610101"/>
              <a:gd name="connsiteY18730" fmla="*/ 1117278 h 6557032"/>
              <a:gd name="connsiteX18731" fmla="*/ 2944634 w 4610101"/>
              <a:gd name="connsiteY18731" fmla="*/ 1114201 h 6557032"/>
              <a:gd name="connsiteX18732" fmla="*/ 2951922 w 4610101"/>
              <a:gd name="connsiteY18732" fmla="*/ 1125134 h 6557032"/>
              <a:gd name="connsiteX18733" fmla="*/ 2953744 w 4610101"/>
              <a:gd name="connsiteY18733" fmla="*/ 1117845 h 6557032"/>
              <a:gd name="connsiteX18734" fmla="*/ 2955566 w 4610101"/>
              <a:gd name="connsiteY18734" fmla="*/ 1121489 h 6557032"/>
              <a:gd name="connsiteX18735" fmla="*/ 2970144 w 4610101"/>
              <a:gd name="connsiteY18735" fmla="*/ 1125134 h 6557032"/>
              <a:gd name="connsiteX18736" fmla="*/ 2965361 w 4610101"/>
              <a:gd name="connsiteY18736" fmla="*/ 1124678 h 6557032"/>
              <a:gd name="connsiteX18737" fmla="*/ 2961649 w 4610101"/>
              <a:gd name="connsiteY18737" fmla="*/ 1126053 h 6557032"/>
              <a:gd name="connsiteX18738" fmla="*/ 2962855 w 4610101"/>
              <a:gd name="connsiteY18738" fmla="*/ 1125134 h 6557032"/>
              <a:gd name="connsiteX18739" fmla="*/ 2959211 w 4610101"/>
              <a:gd name="connsiteY18739" fmla="*/ 1126956 h 6557032"/>
              <a:gd name="connsiteX18740" fmla="*/ 2961649 w 4610101"/>
              <a:gd name="connsiteY18740" fmla="*/ 1126053 h 6557032"/>
              <a:gd name="connsiteX18741" fmla="*/ 2958072 w 4610101"/>
              <a:gd name="connsiteY18741" fmla="*/ 1128778 h 6557032"/>
              <a:gd name="connsiteX18742" fmla="*/ 2951922 w 4610101"/>
              <a:gd name="connsiteY18742" fmla="*/ 1126956 h 6557032"/>
              <a:gd name="connsiteX18743" fmla="*/ 2950100 w 4610101"/>
              <a:gd name="connsiteY18743" fmla="*/ 1137889 h 6557032"/>
              <a:gd name="connsiteX18744" fmla="*/ 2957389 w 4610101"/>
              <a:gd name="connsiteY18744" fmla="*/ 1147000 h 6557032"/>
              <a:gd name="connsiteX18745" fmla="*/ 2955351 w 4610101"/>
              <a:gd name="connsiteY18745" fmla="*/ 1148585 h 6557032"/>
              <a:gd name="connsiteX18746" fmla="*/ 2951922 w 4610101"/>
              <a:gd name="connsiteY18746" fmla="*/ 1139711 h 6557032"/>
              <a:gd name="connsiteX18747" fmla="*/ 2942811 w 4610101"/>
              <a:gd name="connsiteY18747" fmla="*/ 1141533 h 6557032"/>
              <a:gd name="connsiteX18748" fmla="*/ 2946456 w 4610101"/>
              <a:gd name="connsiteY18748" fmla="*/ 1148822 h 6557032"/>
              <a:gd name="connsiteX18749" fmla="*/ 2946456 w 4610101"/>
              <a:gd name="connsiteY18749" fmla="*/ 1143355 h 6557032"/>
              <a:gd name="connsiteX18750" fmla="*/ 2948278 w 4610101"/>
              <a:gd name="connsiteY18750" fmla="*/ 1148822 h 6557032"/>
              <a:gd name="connsiteX18751" fmla="*/ 2939167 w 4610101"/>
              <a:gd name="connsiteY18751" fmla="*/ 1150644 h 6557032"/>
              <a:gd name="connsiteX18752" fmla="*/ 2935523 w 4610101"/>
              <a:gd name="connsiteY18752" fmla="*/ 1139711 h 6557032"/>
              <a:gd name="connsiteX18753" fmla="*/ 2931878 w 4610101"/>
              <a:gd name="connsiteY18753" fmla="*/ 1145178 h 6557032"/>
              <a:gd name="connsiteX18754" fmla="*/ 2930056 w 4610101"/>
              <a:gd name="connsiteY18754" fmla="*/ 1143355 h 6557032"/>
              <a:gd name="connsiteX18755" fmla="*/ 2926412 w 4610101"/>
              <a:gd name="connsiteY18755" fmla="*/ 1156111 h 6557032"/>
              <a:gd name="connsiteX18756" fmla="*/ 2917301 w 4610101"/>
              <a:gd name="connsiteY18756" fmla="*/ 1134245 h 6557032"/>
              <a:gd name="connsiteX18757" fmla="*/ 2920945 w 4610101"/>
              <a:gd name="connsiteY18757" fmla="*/ 1123312 h 6557032"/>
              <a:gd name="connsiteX18758" fmla="*/ 2928234 w 4610101"/>
              <a:gd name="connsiteY18758" fmla="*/ 1125134 h 6557032"/>
              <a:gd name="connsiteX18759" fmla="*/ 2927337 w 4610101"/>
              <a:gd name="connsiteY18759" fmla="*/ 1122671 h 6557032"/>
              <a:gd name="connsiteX18760" fmla="*/ 2931879 w 4610101"/>
              <a:gd name="connsiteY18760" fmla="*/ 1127639 h 6557032"/>
              <a:gd name="connsiteX18761" fmla="*/ 2935423 w 4610101"/>
              <a:gd name="connsiteY18761" fmla="*/ 1127955 h 6557032"/>
              <a:gd name="connsiteX18762" fmla="*/ 2935067 w 4610101"/>
              <a:gd name="connsiteY18762" fmla="*/ 1131511 h 6557032"/>
              <a:gd name="connsiteX18763" fmla="*/ 2937345 w 4610101"/>
              <a:gd name="connsiteY18763" fmla="*/ 1136067 h 6557032"/>
              <a:gd name="connsiteX18764" fmla="*/ 2938484 w 4610101"/>
              <a:gd name="connsiteY18764" fmla="*/ 1131511 h 6557032"/>
              <a:gd name="connsiteX18765" fmla="*/ 2936219 w 4610101"/>
              <a:gd name="connsiteY18765" fmla="*/ 1128027 h 6557032"/>
              <a:gd name="connsiteX18766" fmla="*/ 2944634 w 4610101"/>
              <a:gd name="connsiteY18766" fmla="*/ 1128778 h 6557032"/>
              <a:gd name="connsiteX18767" fmla="*/ 2942811 w 4610101"/>
              <a:gd name="connsiteY18767" fmla="*/ 1117845 h 6557032"/>
              <a:gd name="connsiteX18768" fmla="*/ 2950100 w 4610101"/>
              <a:gd name="connsiteY18768" fmla="*/ 1121489 h 6557032"/>
              <a:gd name="connsiteX18769" fmla="*/ 2944634 w 4610101"/>
              <a:gd name="connsiteY18769" fmla="*/ 1114201 h 6557032"/>
              <a:gd name="connsiteX18770" fmla="*/ 1138859 w 4610101"/>
              <a:gd name="connsiteY18770" fmla="*/ 1114201 h 6557032"/>
              <a:gd name="connsiteX18771" fmla="*/ 1135215 w 4610101"/>
              <a:gd name="connsiteY18771" fmla="*/ 1123312 h 6557032"/>
              <a:gd name="connsiteX18772" fmla="*/ 1133890 w 4610101"/>
              <a:gd name="connsiteY18772" fmla="*/ 1120660 h 6557032"/>
              <a:gd name="connsiteX18773" fmla="*/ 1134076 w 4610101"/>
              <a:gd name="connsiteY18773" fmla="*/ 1120350 h 6557032"/>
              <a:gd name="connsiteX18774" fmla="*/ 1133419 w 4610101"/>
              <a:gd name="connsiteY18774" fmla="*/ 1117942 h 6557032"/>
              <a:gd name="connsiteX18775" fmla="*/ 1135898 w 4610101"/>
              <a:gd name="connsiteY18775" fmla="*/ 1118073 h 6557032"/>
              <a:gd name="connsiteX18776" fmla="*/ 1138859 w 4610101"/>
              <a:gd name="connsiteY18776" fmla="*/ 1114201 h 6557032"/>
              <a:gd name="connsiteX18777" fmla="*/ 1067794 w 4610101"/>
              <a:gd name="connsiteY18777" fmla="*/ 1114201 h 6557032"/>
              <a:gd name="connsiteX18778" fmla="*/ 1062328 w 4610101"/>
              <a:gd name="connsiteY18778" fmla="*/ 1121489 h 6557032"/>
              <a:gd name="connsiteX18779" fmla="*/ 1067794 w 4610101"/>
              <a:gd name="connsiteY18779" fmla="*/ 1114201 h 6557032"/>
              <a:gd name="connsiteX18780" fmla="*/ 900154 w 4610101"/>
              <a:gd name="connsiteY18780" fmla="*/ 1114201 h 6557032"/>
              <a:gd name="connsiteX18781" fmla="*/ 905621 w 4610101"/>
              <a:gd name="connsiteY18781" fmla="*/ 1121489 h 6557032"/>
              <a:gd name="connsiteX18782" fmla="*/ 900154 w 4610101"/>
              <a:gd name="connsiteY18782" fmla="*/ 1114201 h 6557032"/>
              <a:gd name="connsiteX18783" fmla="*/ 781713 w 4610101"/>
              <a:gd name="connsiteY18783" fmla="*/ 1114201 h 6557032"/>
              <a:gd name="connsiteX18784" fmla="*/ 776246 w 4610101"/>
              <a:gd name="connsiteY18784" fmla="*/ 1139711 h 6557032"/>
              <a:gd name="connsiteX18785" fmla="*/ 780620 w 4610101"/>
              <a:gd name="connsiteY18785" fmla="*/ 1136431 h 6557032"/>
              <a:gd name="connsiteX18786" fmla="*/ 782624 w 4610101"/>
              <a:gd name="connsiteY18786" fmla="*/ 1137434 h 6557032"/>
              <a:gd name="connsiteX18787" fmla="*/ 785357 w 4610101"/>
              <a:gd name="connsiteY18787" fmla="*/ 1136067 h 6557032"/>
              <a:gd name="connsiteX18788" fmla="*/ 789003 w 4610101"/>
              <a:gd name="connsiteY18788" fmla="*/ 1137889 h 6557032"/>
              <a:gd name="connsiteX18789" fmla="*/ 789003 w 4610101"/>
              <a:gd name="connsiteY18789" fmla="*/ 1132422 h 6557032"/>
              <a:gd name="connsiteX18790" fmla="*/ 785357 w 4610101"/>
              <a:gd name="connsiteY18790" fmla="*/ 1136067 h 6557032"/>
              <a:gd name="connsiteX18791" fmla="*/ 781106 w 4610101"/>
              <a:gd name="connsiteY18791" fmla="*/ 1136067 h 6557032"/>
              <a:gd name="connsiteX18792" fmla="*/ 783535 w 4610101"/>
              <a:gd name="connsiteY18792" fmla="*/ 1134245 h 6557032"/>
              <a:gd name="connsiteX18793" fmla="*/ 781713 w 4610101"/>
              <a:gd name="connsiteY18793" fmla="*/ 1125134 h 6557032"/>
              <a:gd name="connsiteX18794" fmla="*/ 785357 w 4610101"/>
              <a:gd name="connsiteY18794" fmla="*/ 1125134 h 6557032"/>
              <a:gd name="connsiteX18795" fmla="*/ 781713 w 4610101"/>
              <a:gd name="connsiteY18795" fmla="*/ 1114201 h 6557032"/>
              <a:gd name="connsiteX18796" fmla="*/ 734336 w 4610101"/>
              <a:gd name="connsiteY18796" fmla="*/ 1114201 h 6557032"/>
              <a:gd name="connsiteX18797" fmla="*/ 739803 w 4610101"/>
              <a:gd name="connsiteY18797" fmla="*/ 1123312 h 6557032"/>
              <a:gd name="connsiteX18798" fmla="*/ 734336 w 4610101"/>
              <a:gd name="connsiteY18798" fmla="*/ 1114201 h 6557032"/>
              <a:gd name="connsiteX18799" fmla="*/ 1057545 w 4610101"/>
              <a:gd name="connsiteY18799" fmla="*/ 1114200 h 6557032"/>
              <a:gd name="connsiteX18800" fmla="*/ 1049573 w 4610101"/>
              <a:gd name="connsiteY18800" fmla="*/ 1117845 h 6557032"/>
              <a:gd name="connsiteX18801" fmla="*/ 1049573 w 4610101"/>
              <a:gd name="connsiteY18801" fmla="*/ 1126956 h 6557032"/>
              <a:gd name="connsiteX18802" fmla="*/ 1064151 w 4610101"/>
              <a:gd name="connsiteY18802" fmla="*/ 1116023 h 6557032"/>
              <a:gd name="connsiteX18803" fmla="*/ 1057545 w 4610101"/>
              <a:gd name="connsiteY18803" fmla="*/ 1114200 h 6557032"/>
              <a:gd name="connsiteX18804" fmla="*/ 1198385 w 4610101"/>
              <a:gd name="connsiteY18804" fmla="*/ 1113998 h 6557032"/>
              <a:gd name="connsiteX18805" fmla="*/ 1217366 w 4610101"/>
              <a:gd name="connsiteY18805" fmla="*/ 1120326 h 6557032"/>
              <a:gd name="connsiteX18806" fmla="*/ 1215163 w 4610101"/>
              <a:gd name="connsiteY18806" fmla="*/ 1121261 h 6557032"/>
              <a:gd name="connsiteX18807" fmla="*/ 1197169 w 4610101"/>
              <a:gd name="connsiteY18807" fmla="*/ 1116023 h 6557032"/>
              <a:gd name="connsiteX18808" fmla="*/ 1019689 w 4610101"/>
              <a:gd name="connsiteY18808" fmla="*/ 1113836 h 6557032"/>
              <a:gd name="connsiteX18809" fmla="*/ 1020418 w 4610101"/>
              <a:gd name="connsiteY18809" fmla="*/ 1114201 h 6557032"/>
              <a:gd name="connsiteX18810" fmla="*/ 1018596 w 4610101"/>
              <a:gd name="connsiteY18810" fmla="*/ 1115112 h 6557032"/>
              <a:gd name="connsiteX18811" fmla="*/ 1018596 w 4610101"/>
              <a:gd name="connsiteY18811" fmla="*/ 1114201 h 6557032"/>
              <a:gd name="connsiteX18812" fmla="*/ 2585665 w 4610101"/>
              <a:gd name="connsiteY18812" fmla="*/ 1112378 h 6557032"/>
              <a:gd name="connsiteX18813" fmla="*/ 2585665 w 4610101"/>
              <a:gd name="connsiteY18813" fmla="*/ 1117845 h 6557032"/>
              <a:gd name="connsiteX18814" fmla="*/ 2578377 w 4610101"/>
              <a:gd name="connsiteY18814" fmla="*/ 1117845 h 6557032"/>
              <a:gd name="connsiteX18815" fmla="*/ 2574732 w 4610101"/>
              <a:gd name="connsiteY18815" fmla="*/ 1130600 h 6557032"/>
              <a:gd name="connsiteX18816" fmla="*/ 2591132 w 4610101"/>
              <a:gd name="connsiteY18816" fmla="*/ 1132422 h 6557032"/>
              <a:gd name="connsiteX18817" fmla="*/ 2585665 w 4610101"/>
              <a:gd name="connsiteY18817" fmla="*/ 1112378 h 6557032"/>
              <a:gd name="connsiteX18818" fmla="*/ 2192076 w 4610101"/>
              <a:gd name="connsiteY18818" fmla="*/ 1112378 h 6557032"/>
              <a:gd name="connsiteX18819" fmla="*/ 2195720 w 4610101"/>
              <a:gd name="connsiteY18819" fmla="*/ 1113664 h 6557032"/>
              <a:gd name="connsiteX18820" fmla="*/ 2195720 w 4610101"/>
              <a:gd name="connsiteY18820" fmla="*/ 1114201 h 6557032"/>
              <a:gd name="connsiteX18821" fmla="*/ 2192076 w 4610101"/>
              <a:gd name="connsiteY18821" fmla="*/ 1112378 h 6557032"/>
              <a:gd name="connsiteX18822" fmla="*/ 1239080 w 4610101"/>
              <a:gd name="connsiteY18822" fmla="*/ 1112378 h 6557032"/>
              <a:gd name="connsiteX18823" fmla="*/ 1235434 w 4610101"/>
              <a:gd name="connsiteY18823" fmla="*/ 1117845 h 6557032"/>
              <a:gd name="connsiteX18824" fmla="*/ 1225230 w 4610101"/>
              <a:gd name="connsiteY18824" fmla="*/ 1122947 h 6557032"/>
              <a:gd name="connsiteX18825" fmla="*/ 1217366 w 4610101"/>
              <a:gd name="connsiteY18825" fmla="*/ 1120326 h 6557032"/>
              <a:gd name="connsiteX18826" fmla="*/ 1231790 w 4610101"/>
              <a:gd name="connsiteY18826" fmla="*/ 1114201 h 6557032"/>
              <a:gd name="connsiteX18827" fmla="*/ 1239080 w 4610101"/>
              <a:gd name="connsiteY18827" fmla="*/ 1112378 h 6557032"/>
              <a:gd name="connsiteX18828" fmla="*/ 1016774 w 4610101"/>
              <a:gd name="connsiteY18828" fmla="*/ 1112378 h 6557032"/>
              <a:gd name="connsiteX18829" fmla="*/ 1016774 w 4610101"/>
              <a:gd name="connsiteY18829" fmla="*/ 1116023 h 6557032"/>
              <a:gd name="connsiteX18830" fmla="*/ 1018596 w 4610101"/>
              <a:gd name="connsiteY18830" fmla="*/ 1115112 h 6557032"/>
              <a:gd name="connsiteX18831" fmla="*/ 1018596 w 4610101"/>
              <a:gd name="connsiteY18831" fmla="*/ 1123312 h 6557032"/>
              <a:gd name="connsiteX18832" fmla="*/ 1020418 w 4610101"/>
              <a:gd name="connsiteY18832" fmla="*/ 1125134 h 6557032"/>
              <a:gd name="connsiteX18833" fmla="*/ 1027707 w 4610101"/>
              <a:gd name="connsiteY18833" fmla="*/ 1121489 h 6557032"/>
              <a:gd name="connsiteX18834" fmla="*/ 1024062 w 4610101"/>
              <a:gd name="connsiteY18834" fmla="*/ 1112378 h 6557032"/>
              <a:gd name="connsiteX18835" fmla="*/ 1021329 w 4610101"/>
              <a:gd name="connsiteY18835" fmla="*/ 1113289 h 6557032"/>
              <a:gd name="connsiteX18836" fmla="*/ 1019689 w 4610101"/>
              <a:gd name="connsiteY18836" fmla="*/ 1113836 h 6557032"/>
              <a:gd name="connsiteX18837" fmla="*/ 852778 w 4610101"/>
              <a:gd name="connsiteY18837" fmla="*/ 1112378 h 6557032"/>
              <a:gd name="connsiteX18838" fmla="*/ 856422 w 4610101"/>
              <a:gd name="connsiteY18838" fmla="*/ 1119667 h 6557032"/>
              <a:gd name="connsiteX18839" fmla="*/ 858244 w 4610101"/>
              <a:gd name="connsiteY18839" fmla="*/ 1116023 h 6557032"/>
              <a:gd name="connsiteX18840" fmla="*/ 852778 w 4610101"/>
              <a:gd name="connsiteY18840" fmla="*/ 1112378 h 6557032"/>
              <a:gd name="connsiteX18841" fmla="*/ 490165 w 4610101"/>
              <a:gd name="connsiteY18841" fmla="*/ 1112378 h 6557032"/>
              <a:gd name="connsiteX18842" fmla="*/ 484700 w 4610101"/>
              <a:gd name="connsiteY18842" fmla="*/ 1116023 h 6557032"/>
              <a:gd name="connsiteX18843" fmla="*/ 497454 w 4610101"/>
              <a:gd name="connsiteY18843" fmla="*/ 1117845 h 6557032"/>
              <a:gd name="connsiteX18844" fmla="*/ 490165 w 4610101"/>
              <a:gd name="connsiteY18844" fmla="*/ 1112378 h 6557032"/>
              <a:gd name="connsiteX18845" fmla="*/ 2401626 w 4610101"/>
              <a:gd name="connsiteY18845" fmla="*/ 1110556 h 6557032"/>
              <a:gd name="connsiteX18846" fmla="*/ 2368827 w 4610101"/>
              <a:gd name="connsiteY18846" fmla="*/ 1121489 h 6557032"/>
              <a:gd name="connsiteX18847" fmla="*/ 2368827 w 4610101"/>
              <a:gd name="connsiteY18847" fmla="*/ 1123312 h 6557032"/>
              <a:gd name="connsiteX18848" fmla="*/ 2367004 w 4610101"/>
              <a:gd name="connsiteY18848" fmla="*/ 1123312 h 6557032"/>
              <a:gd name="connsiteX18849" fmla="*/ 2354249 w 4610101"/>
              <a:gd name="connsiteY18849" fmla="*/ 1143355 h 6557032"/>
              <a:gd name="connsiteX18850" fmla="*/ 2345138 w 4610101"/>
              <a:gd name="connsiteY18850" fmla="*/ 1150644 h 6557032"/>
              <a:gd name="connsiteX18851" fmla="*/ 2357893 w 4610101"/>
              <a:gd name="connsiteY18851" fmla="*/ 1152466 h 6557032"/>
              <a:gd name="connsiteX18852" fmla="*/ 2352427 w 4610101"/>
              <a:gd name="connsiteY18852" fmla="*/ 1156111 h 6557032"/>
              <a:gd name="connsiteX18853" fmla="*/ 2359716 w 4610101"/>
              <a:gd name="connsiteY18853" fmla="*/ 1148822 h 6557032"/>
              <a:gd name="connsiteX18854" fmla="*/ 2367004 w 4610101"/>
              <a:gd name="connsiteY18854" fmla="*/ 1156111 h 6557032"/>
              <a:gd name="connsiteX18855" fmla="*/ 2379760 w 4610101"/>
              <a:gd name="connsiteY18855" fmla="*/ 1152466 h 6557032"/>
              <a:gd name="connsiteX18856" fmla="*/ 2377937 w 4610101"/>
              <a:gd name="connsiteY18856" fmla="*/ 1156111 h 6557032"/>
              <a:gd name="connsiteX18857" fmla="*/ 2394337 w 4610101"/>
              <a:gd name="connsiteY18857" fmla="*/ 1150644 h 6557032"/>
              <a:gd name="connsiteX18858" fmla="*/ 2397981 w 4610101"/>
              <a:gd name="connsiteY18858" fmla="*/ 1156111 h 6557032"/>
              <a:gd name="connsiteX18859" fmla="*/ 2385226 w 4610101"/>
              <a:gd name="connsiteY18859" fmla="*/ 1163399 h 6557032"/>
              <a:gd name="connsiteX18860" fmla="*/ 2396159 w 4610101"/>
              <a:gd name="connsiteY18860" fmla="*/ 1159755 h 6557032"/>
              <a:gd name="connsiteX18861" fmla="*/ 2397981 w 4610101"/>
              <a:gd name="connsiteY18861" fmla="*/ 1170688 h 6557032"/>
              <a:gd name="connsiteX18862" fmla="*/ 2425314 w 4610101"/>
              <a:gd name="connsiteY18862" fmla="*/ 1156111 h 6557032"/>
              <a:gd name="connsiteX18863" fmla="*/ 2430780 w 4610101"/>
              <a:gd name="connsiteY18863" fmla="*/ 1159755 h 6557032"/>
              <a:gd name="connsiteX18864" fmla="*/ 2438069 w 4610101"/>
              <a:gd name="connsiteY18864" fmla="*/ 1148822 h 6557032"/>
              <a:gd name="connsiteX18865" fmla="*/ 2441258 w 4610101"/>
              <a:gd name="connsiteY18865" fmla="*/ 1152010 h 6557032"/>
              <a:gd name="connsiteX18866" fmla="*/ 2438069 w 4610101"/>
              <a:gd name="connsiteY18866" fmla="*/ 1161577 h 6557032"/>
              <a:gd name="connsiteX18867" fmla="*/ 2428958 w 4610101"/>
              <a:gd name="connsiteY18867" fmla="*/ 1161577 h 6557032"/>
              <a:gd name="connsiteX18868" fmla="*/ 2423492 w 4610101"/>
              <a:gd name="connsiteY18868" fmla="*/ 1168866 h 6557032"/>
              <a:gd name="connsiteX18869" fmla="*/ 2421669 w 4610101"/>
              <a:gd name="connsiteY18869" fmla="*/ 1163399 h 6557032"/>
              <a:gd name="connsiteX18870" fmla="*/ 2419847 w 4610101"/>
              <a:gd name="connsiteY18870" fmla="*/ 1176155 h 6557032"/>
              <a:gd name="connsiteX18871" fmla="*/ 2441713 w 4610101"/>
              <a:gd name="connsiteY18871" fmla="*/ 1161577 h 6557032"/>
              <a:gd name="connsiteX18872" fmla="*/ 2443536 w 4610101"/>
              <a:gd name="connsiteY18872" fmla="*/ 1148822 h 6557032"/>
              <a:gd name="connsiteX18873" fmla="*/ 2428958 w 4610101"/>
              <a:gd name="connsiteY18873" fmla="*/ 1137889 h 6557032"/>
              <a:gd name="connsiteX18874" fmla="*/ 2419847 w 4610101"/>
              <a:gd name="connsiteY18874" fmla="*/ 1145178 h 6557032"/>
              <a:gd name="connsiteX18875" fmla="*/ 2414381 w 4610101"/>
              <a:gd name="connsiteY18875" fmla="*/ 1130600 h 6557032"/>
              <a:gd name="connsiteX18876" fmla="*/ 2397981 w 4610101"/>
              <a:gd name="connsiteY18876" fmla="*/ 1143355 h 6557032"/>
              <a:gd name="connsiteX18877" fmla="*/ 2412559 w 4610101"/>
              <a:gd name="connsiteY18877" fmla="*/ 1121489 h 6557032"/>
              <a:gd name="connsiteX18878" fmla="*/ 2397981 w 4610101"/>
              <a:gd name="connsiteY18878" fmla="*/ 1121489 h 6557032"/>
              <a:gd name="connsiteX18879" fmla="*/ 2401626 w 4610101"/>
              <a:gd name="connsiteY18879" fmla="*/ 1110556 h 6557032"/>
              <a:gd name="connsiteX18880" fmla="*/ 1045929 w 4610101"/>
              <a:gd name="connsiteY18880" fmla="*/ 1110556 h 6557032"/>
              <a:gd name="connsiteX18881" fmla="*/ 1044106 w 4610101"/>
              <a:gd name="connsiteY18881" fmla="*/ 1114201 h 6557032"/>
              <a:gd name="connsiteX18882" fmla="*/ 1047750 w 4610101"/>
              <a:gd name="connsiteY18882" fmla="*/ 1112378 h 6557032"/>
              <a:gd name="connsiteX18883" fmla="*/ 1045929 w 4610101"/>
              <a:gd name="connsiteY18883" fmla="*/ 1110556 h 6557032"/>
              <a:gd name="connsiteX18884" fmla="*/ 1025884 w 4610101"/>
              <a:gd name="connsiteY18884" fmla="*/ 1110556 h 6557032"/>
              <a:gd name="connsiteX18885" fmla="*/ 1031351 w 4610101"/>
              <a:gd name="connsiteY18885" fmla="*/ 1119667 h 6557032"/>
              <a:gd name="connsiteX18886" fmla="*/ 1029529 w 4610101"/>
              <a:gd name="connsiteY18886" fmla="*/ 1110556 h 6557032"/>
              <a:gd name="connsiteX18887" fmla="*/ 1025884 w 4610101"/>
              <a:gd name="connsiteY18887" fmla="*/ 1110556 h 6557032"/>
              <a:gd name="connsiteX18888" fmla="*/ 861889 w 4610101"/>
              <a:gd name="connsiteY18888" fmla="*/ 1110556 h 6557032"/>
              <a:gd name="connsiteX18889" fmla="*/ 863711 w 4610101"/>
              <a:gd name="connsiteY18889" fmla="*/ 1112378 h 6557032"/>
              <a:gd name="connsiteX18890" fmla="*/ 861889 w 4610101"/>
              <a:gd name="connsiteY18890" fmla="*/ 1110556 h 6557032"/>
              <a:gd name="connsiteX18891" fmla="*/ 590385 w 4610101"/>
              <a:gd name="connsiteY18891" fmla="*/ 1110556 h 6557032"/>
              <a:gd name="connsiteX18892" fmla="*/ 586741 w 4610101"/>
              <a:gd name="connsiteY18892" fmla="*/ 1112378 h 6557032"/>
              <a:gd name="connsiteX18893" fmla="*/ 590385 w 4610101"/>
              <a:gd name="connsiteY18893" fmla="*/ 1110556 h 6557032"/>
              <a:gd name="connsiteX18894" fmla="*/ 194973 w 4610101"/>
              <a:gd name="connsiteY18894" fmla="*/ 1110556 h 6557032"/>
              <a:gd name="connsiteX18895" fmla="*/ 213195 w 4610101"/>
              <a:gd name="connsiteY18895" fmla="*/ 1121489 h 6557032"/>
              <a:gd name="connsiteX18896" fmla="*/ 194973 w 4610101"/>
              <a:gd name="connsiteY18896" fmla="*/ 1110556 h 6557032"/>
              <a:gd name="connsiteX18897" fmla="*/ 1071439 w 4610101"/>
              <a:gd name="connsiteY18897" fmla="*/ 1108734 h 6557032"/>
              <a:gd name="connsiteX18898" fmla="*/ 1078727 w 4610101"/>
              <a:gd name="connsiteY18898" fmla="*/ 1112378 h 6557032"/>
              <a:gd name="connsiteX18899" fmla="*/ 1071439 w 4610101"/>
              <a:gd name="connsiteY18899" fmla="*/ 1108734 h 6557032"/>
              <a:gd name="connsiteX18900" fmla="*/ 1031351 w 4610101"/>
              <a:gd name="connsiteY18900" fmla="*/ 1108734 h 6557032"/>
              <a:gd name="connsiteX18901" fmla="*/ 1040462 w 4610101"/>
              <a:gd name="connsiteY18901" fmla="*/ 1117845 h 6557032"/>
              <a:gd name="connsiteX18902" fmla="*/ 1040462 w 4610101"/>
              <a:gd name="connsiteY18902" fmla="*/ 1110556 h 6557032"/>
              <a:gd name="connsiteX18903" fmla="*/ 1031351 w 4610101"/>
              <a:gd name="connsiteY18903" fmla="*/ 1108734 h 6557032"/>
              <a:gd name="connsiteX18904" fmla="*/ 931131 w 4610101"/>
              <a:gd name="connsiteY18904" fmla="*/ 1108734 h 6557032"/>
              <a:gd name="connsiteX18905" fmla="*/ 938420 w 4610101"/>
              <a:gd name="connsiteY18905" fmla="*/ 1119667 h 6557032"/>
              <a:gd name="connsiteX18906" fmla="*/ 931131 w 4610101"/>
              <a:gd name="connsiteY18906" fmla="*/ 1108734 h 6557032"/>
              <a:gd name="connsiteX18907" fmla="*/ 869177 w 4610101"/>
              <a:gd name="connsiteY18907" fmla="*/ 1108734 h 6557032"/>
              <a:gd name="connsiteX18908" fmla="*/ 869177 w 4610101"/>
              <a:gd name="connsiteY18908" fmla="*/ 1121489 h 6557032"/>
              <a:gd name="connsiteX18909" fmla="*/ 871000 w 4610101"/>
              <a:gd name="connsiteY18909" fmla="*/ 1119667 h 6557032"/>
              <a:gd name="connsiteX18910" fmla="*/ 872822 w 4610101"/>
              <a:gd name="connsiteY18910" fmla="*/ 1121489 h 6557032"/>
              <a:gd name="connsiteX18911" fmla="*/ 876466 w 4610101"/>
              <a:gd name="connsiteY18911" fmla="*/ 1117845 h 6557032"/>
              <a:gd name="connsiteX18912" fmla="*/ 869177 w 4610101"/>
              <a:gd name="connsiteY18912" fmla="*/ 1108734 h 6557032"/>
              <a:gd name="connsiteX18913" fmla="*/ 856422 w 4610101"/>
              <a:gd name="connsiteY18913" fmla="*/ 1108734 h 6557032"/>
              <a:gd name="connsiteX18914" fmla="*/ 854600 w 4610101"/>
              <a:gd name="connsiteY18914" fmla="*/ 1110556 h 6557032"/>
              <a:gd name="connsiteX18915" fmla="*/ 856422 w 4610101"/>
              <a:gd name="connsiteY18915" fmla="*/ 1108734 h 6557032"/>
              <a:gd name="connsiteX18916" fmla="*/ 814512 w 4610101"/>
              <a:gd name="connsiteY18916" fmla="*/ 1108734 h 6557032"/>
              <a:gd name="connsiteX18917" fmla="*/ 818156 w 4610101"/>
              <a:gd name="connsiteY18917" fmla="*/ 1117845 h 6557032"/>
              <a:gd name="connsiteX18918" fmla="*/ 814512 w 4610101"/>
              <a:gd name="connsiteY18918" fmla="*/ 1108734 h 6557032"/>
              <a:gd name="connsiteX18919" fmla="*/ 583096 w 4610101"/>
              <a:gd name="connsiteY18919" fmla="*/ 1108734 h 6557032"/>
              <a:gd name="connsiteX18920" fmla="*/ 584919 w 4610101"/>
              <a:gd name="connsiteY18920" fmla="*/ 1112378 h 6557032"/>
              <a:gd name="connsiteX18921" fmla="*/ 583096 w 4610101"/>
              <a:gd name="connsiteY18921" fmla="*/ 1108734 h 6557032"/>
              <a:gd name="connsiteX18922" fmla="*/ 280615 w 4610101"/>
              <a:gd name="connsiteY18922" fmla="*/ 1108734 h 6557032"/>
              <a:gd name="connsiteX18923" fmla="*/ 287904 w 4610101"/>
              <a:gd name="connsiteY18923" fmla="*/ 1117845 h 6557032"/>
              <a:gd name="connsiteX18924" fmla="*/ 280615 w 4610101"/>
              <a:gd name="connsiteY18924" fmla="*/ 1108734 h 6557032"/>
              <a:gd name="connsiteX18925" fmla="*/ 260571 w 4610101"/>
              <a:gd name="connsiteY18925" fmla="*/ 1108734 h 6557032"/>
              <a:gd name="connsiteX18926" fmla="*/ 276971 w 4610101"/>
              <a:gd name="connsiteY18926" fmla="*/ 1121489 h 6557032"/>
              <a:gd name="connsiteX18927" fmla="*/ 267860 w 4610101"/>
              <a:gd name="connsiteY18927" fmla="*/ 1117845 h 6557032"/>
              <a:gd name="connsiteX18928" fmla="*/ 273327 w 4610101"/>
              <a:gd name="connsiteY18928" fmla="*/ 1119667 h 6557032"/>
              <a:gd name="connsiteX18929" fmla="*/ 260571 w 4610101"/>
              <a:gd name="connsiteY18929" fmla="*/ 1108734 h 6557032"/>
              <a:gd name="connsiteX18930" fmla="*/ 189506 w 4610101"/>
              <a:gd name="connsiteY18930" fmla="*/ 1108734 h 6557032"/>
              <a:gd name="connsiteX18931" fmla="*/ 200439 w 4610101"/>
              <a:gd name="connsiteY18931" fmla="*/ 1117845 h 6557032"/>
              <a:gd name="connsiteX18932" fmla="*/ 189506 w 4610101"/>
              <a:gd name="connsiteY18932" fmla="*/ 1108734 h 6557032"/>
              <a:gd name="connsiteX18933" fmla="*/ 508614 w 4610101"/>
              <a:gd name="connsiteY18933" fmla="*/ 1107367 h 6557032"/>
              <a:gd name="connsiteX18934" fmla="*/ 497454 w 4610101"/>
              <a:gd name="connsiteY18934" fmla="*/ 1110556 h 6557032"/>
              <a:gd name="connsiteX18935" fmla="*/ 521142 w 4610101"/>
              <a:gd name="connsiteY18935" fmla="*/ 1112378 h 6557032"/>
              <a:gd name="connsiteX18936" fmla="*/ 508614 w 4610101"/>
              <a:gd name="connsiteY18936" fmla="*/ 1107367 h 6557032"/>
              <a:gd name="connsiteX18937" fmla="*/ 3090407 w 4610101"/>
              <a:gd name="connsiteY18937" fmla="*/ 1106912 h 6557032"/>
              <a:gd name="connsiteX18938" fmla="*/ 3093962 w 4610101"/>
              <a:gd name="connsiteY18938" fmla="*/ 1115589 h 6557032"/>
              <a:gd name="connsiteX18939" fmla="*/ 3092230 w 4610101"/>
              <a:gd name="connsiteY18939" fmla="*/ 1116023 h 6557032"/>
              <a:gd name="connsiteX18940" fmla="*/ 3090407 w 4610101"/>
              <a:gd name="connsiteY18940" fmla="*/ 1106912 h 6557032"/>
              <a:gd name="connsiteX18941" fmla="*/ 2281362 w 4610101"/>
              <a:gd name="connsiteY18941" fmla="*/ 1106912 h 6557032"/>
              <a:gd name="connsiteX18942" fmla="*/ 2285007 w 4610101"/>
              <a:gd name="connsiteY18942" fmla="*/ 1114201 h 6557032"/>
              <a:gd name="connsiteX18943" fmla="*/ 2281362 w 4610101"/>
              <a:gd name="connsiteY18943" fmla="*/ 1106912 h 6557032"/>
              <a:gd name="connsiteX18944" fmla="*/ 2246741 w 4610101"/>
              <a:gd name="connsiteY18944" fmla="*/ 1106912 h 6557032"/>
              <a:gd name="connsiteX18945" fmla="*/ 2246741 w 4610101"/>
              <a:gd name="connsiteY18945" fmla="*/ 1112378 h 6557032"/>
              <a:gd name="connsiteX18946" fmla="*/ 2250385 w 4610101"/>
              <a:gd name="connsiteY18946" fmla="*/ 1108734 h 6557032"/>
              <a:gd name="connsiteX18947" fmla="*/ 925666 w 4610101"/>
              <a:gd name="connsiteY18947" fmla="*/ 1106912 h 6557032"/>
              <a:gd name="connsiteX18948" fmla="*/ 923843 w 4610101"/>
              <a:gd name="connsiteY18948" fmla="*/ 1110556 h 6557032"/>
              <a:gd name="connsiteX18949" fmla="*/ 929309 w 4610101"/>
              <a:gd name="connsiteY18949" fmla="*/ 1110556 h 6557032"/>
              <a:gd name="connsiteX18950" fmla="*/ 925666 w 4610101"/>
              <a:gd name="connsiteY18950" fmla="*/ 1106912 h 6557032"/>
              <a:gd name="connsiteX18951" fmla="*/ 830912 w 4610101"/>
              <a:gd name="connsiteY18951" fmla="*/ 1106912 h 6557032"/>
              <a:gd name="connsiteX18952" fmla="*/ 823623 w 4610101"/>
              <a:gd name="connsiteY18952" fmla="*/ 1110556 h 6557032"/>
              <a:gd name="connsiteX18953" fmla="*/ 829089 w 4610101"/>
              <a:gd name="connsiteY18953" fmla="*/ 1116023 h 6557032"/>
              <a:gd name="connsiteX18954" fmla="*/ 827267 w 4610101"/>
              <a:gd name="connsiteY18954" fmla="*/ 1116023 h 6557032"/>
              <a:gd name="connsiteX18955" fmla="*/ 836378 w 4610101"/>
              <a:gd name="connsiteY18955" fmla="*/ 1119667 h 6557032"/>
              <a:gd name="connsiteX18956" fmla="*/ 830912 w 4610101"/>
              <a:gd name="connsiteY18956" fmla="*/ 1106912 h 6557032"/>
              <a:gd name="connsiteX18957" fmla="*/ 772602 w 4610101"/>
              <a:gd name="connsiteY18957" fmla="*/ 1106912 h 6557032"/>
              <a:gd name="connsiteX18958" fmla="*/ 770781 w 4610101"/>
              <a:gd name="connsiteY18958" fmla="*/ 1121489 h 6557032"/>
              <a:gd name="connsiteX18959" fmla="*/ 772602 w 4610101"/>
              <a:gd name="connsiteY18959" fmla="*/ 1106912 h 6557032"/>
              <a:gd name="connsiteX18960" fmla="*/ 568519 w 4610101"/>
              <a:gd name="connsiteY18960" fmla="*/ 1106912 h 6557032"/>
              <a:gd name="connsiteX18961" fmla="*/ 572163 w 4610101"/>
              <a:gd name="connsiteY18961" fmla="*/ 1108734 h 6557032"/>
              <a:gd name="connsiteX18962" fmla="*/ 568519 w 4610101"/>
              <a:gd name="connsiteY18962" fmla="*/ 1106912 h 6557032"/>
              <a:gd name="connsiteX18963" fmla="*/ 539364 w 4610101"/>
              <a:gd name="connsiteY18963" fmla="*/ 1106912 h 6557032"/>
              <a:gd name="connsiteX18964" fmla="*/ 543008 w 4610101"/>
              <a:gd name="connsiteY18964" fmla="*/ 1110556 h 6557032"/>
              <a:gd name="connsiteX18965" fmla="*/ 543008 w 4610101"/>
              <a:gd name="connsiteY18965" fmla="*/ 1108734 h 6557032"/>
              <a:gd name="connsiteX18966" fmla="*/ 539364 w 4610101"/>
              <a:gd name="connsiteY18966" fmla="*/ 1106912 h 6557032"/>
              <a:gd name="connsiteX18967" fmla="*/ 430034 w 4610101"/>
              <a:gd name="connsiteY18967" fmla="*/ 1106912 h 6557032"/>
              <a:gd name="connsiteX18968" fmla="*/ 426389 w 4610101"/>
              <a:gd name="connsiteY18968" fmla="*/ 1108734 h 6557032"/>
              <a:gd name="connsiteX18969" fmla="*/ 433678 w 4610101"/>
              <a:gd name="connsiteY18969" fmla="*/ 1110556 h 6557032"/>
              <a:gd name="connsiteX18970" fmla="*/ 430034 w 4610101"/>
              <a:gd name="connsiteY18970" fmla="*/ 1106912 h 6557032"/>
              <a:gd name="connsiteX18971" fmla="*/ 313414 w 4610101"/>
              <a:gd name="connsiteY18971" fmla="*/ 1106912 h 6557032"/>
              <a:gd name="connsiteX18972" fmla="*/ 320703 w 4610101"/>
              <a:gd name="connsiteY18972" fmla="*/ 1112378 h 6557032"/>
              <a:gd name="connsiteX18973" fmla="*/ 295193 w 4610101"/>
              <a:gd name="connsiteY18973" fmla="*/ 1108734 h 6557032"/>
              <a:gd name="connsiteX18974" fmla="*/ 317059 w 4610101"/>
              <a:gd name="connsiteY18974" fmla="*/ 1128778 h 6557032"/>
              <a:gd name="connsiteX18975" fmla="*/ 315236 w 4610101"/>
              <a:gd name="connsiteY18975" fmla="*/ 1126956 h 6557032"/>
              <a:gd name="connsiteX18976" fmla="*/ 322525 w 4610101"/>
              <a:gd name="connsiteY18976" fmla="*/ 1132422 h 6557032"/>
              <a:gd name="connsiteX18977" fmla="*/ 320703 w 4610101"/>
              <a:gd name="connsiteY18977" fmla="*/ 1128778 h 6557032"/>
              <a:gd name="connsiteX18978" fmla="*/ 326169 w 4610101"/>
              <a:gd name="connsiteY18978" fmla="*/ 1130600 h 6557032"/>
              <a:gd name="connsiteX18979" fmla="*/ 338926 w 4610101"/>
              <a:gd name="connsiteY18979" fmla="*/ 1136067 h 6557032"/>
              <a:gd name="connsiteX18980" fmla="*/ 337102 w 4610101"/>
              <a:gd name="connsiteY18980" fmla="*/ 1136067 h 6557032"/>
              <a:gd name="connsiteX18981" fmla="*/ 348037 w 4610101"/>
              <a:gd name="connsiteY18981" fmla="*/ 1141533 h 6557032"/>
              <a:gd name="connsiteX18982" fmla="*/ 348037 w 4610101"/>
              <a:gd name="connsiteY18982" fmla="*/ 1139711 h 6557032"/>
              <a:gd name="connsiteX18983" fmla="*/ 355324 w 4610101"/>
              <a:gd name="connsiteY18983" fmla="*/ 1141533 h 6557032"/>
              <a:gd name="connsiteX18984" fmla="*/ 351680 w 4610101"/>
              <a:gd name="connsiteY18984" fmla="*/ 1136067 h 6557032"/>
              <a:gd name="connsiteX18985" fmla="*/ 373546 w 4610101"/>
              <a:gd name="connsiteY18985" fmla="*/ 1143355 h 6557032"/>
              <a:gd name="connsiteX18986" fmla="*/ 366257 w 4610101"/>
              <a:gd name="connsiteY18986" fmla="*/ 1141533 h 6557032"/>
              <a:gd name="connsiteX18987" fmla="*/ 369902 w 4610101"/>
              <a:gd name="connsiteY18987" fmla="*/ 1139711 h 6557032"/>
              <a:gd name="connsiteX18988" fmla="*/ 357146 w 4610101"/>
              <a:gd name="connsiteY18988" fmla="*/ 1136067 h 6557032"/>
              <a:gd name="connsiteX18989" fmla="*/ 369902 w 4610101"/>
              <a:gd name="connsiteY18989" fmla="*/ 1134245 h 6557032"/>
              <a:gd name="connsiteX18990" fmla="*/ 355324 w 4610101"/>
              <a:gd name="connsiteY18990" fmla="*/ 1128778 h 6557032"/>
              <a:gd name="connsiteX18991" fmla="*/ 357146 w 4610101"/>
              <a:gd name="connsiteY18991" fmla="*/ 1126956 h 6557032"/>
              <a:gd name="connsiteX18992" fmla="*/ 335280 w 4610101"/>
              <a:gd name="connsiteY18992" fmla="*/ 1121489 h 6557032"/>
              <a:gd name="connsiteX18993" fmla="*/ 340747 w 4610101"/>
              <a:gd name="connsiteY18993" fmla="*/ 1119667 h 6557032"/>
              <a:gd name="connsiteX18994" fmla="*/ 328903 w 4610101"/>
              <a:gd name="connsiteY18994" fmla="*/ 1115795 h 6557032"/>
              <a:gd name="connsiteX18995" fmla="*/ 328344 w 4610101"/>
              <a:gd name="connsiteY18995" fmla="*/ 1115806 h 6557032"/>
              <a:gd name="connsiteX18996" fmla="*/ 344391 w 4610101"/>
              <a:gd name="connsiteY18996" fmla="*/ 1114201 h 6557032"/>
              <a:gd name="connsiteX18997" fmla="*/ 320703 w 4610101"/>
              <a:gd name="connsiteY18997" fmla="*/ 1110556 h 6557032"/>
              <a:gd name="connsiteX18998" fmla="*/ 313414 w 4610101"/>
              <a:gd name="connsiteY18998" fmla="*/ 1106912 h 6557032"/>
              <a:gd name="connsiteX18999" fmla="*/ 291549 w 4610101"/>
              <a:gd name="connsiteY18999" fmla="*/ 1106912 h 6557032"/>
              <a:gd name="connsiteX19000" fmla="*/ 297015 w 4610101"/>
              <a:gd name="connsiteY19000" fmla="*/ 1116023 h 6557032"/>
              <a:gd name="connsiteX19001" fmla="*/ 291549 w 4610101"/>
              <a:gd name="connsiteY19001" fmla="*/ 1106912 h 6557032"/>
              <a:gd name="connsiteX19002" fmla="*/ 229594 w 4610101"/>
              <a:gd name="connsiteY19002" fmla="*/ 1106912 h 6557032"/>
              <a:gd name="connsiteX19003" fmla="*/ 236883 w 4610101"/>
              <a:gd name="connsiteY19003" fmla="*/ 1112378 h 6557032"/>
              <a:gd name="connsiteX19004" fmla="*/ 229594 w 4610101"/>
              <a:gd name="connsiteY19004" fmla="*/ 1106912 h 6557032"/>
              <a:gd name="connsiteX19005" fmla="*/ 1486895 w 4610101"/>
              <a:gd name="connsiteY19005" fmla="*/ 1105090 h 6557032"/>
              <a:gd name="connsiteX19006" fmla="*/ 1488716 w 4610101"/>
              <a:gd name="connsiteY19006" fmla="*/ 1108734 h 6557032"/>
              <a:gd name="connsiteX19007" fmla="*/ 1494183 w 4610101"/>
              <a:gd name="connsiteY19007" fmla="*/ 1106912 h 6557032"/>
              <a:gd name="connsiteX19008" fmla="*/ 1488716 w 4610101"/>
              <a:gd name="connsiteY19008" fmla="*/ 1119667 h 6557032"/>
              <a:gd name="connsiteX19009" fmla="*/ 1481428 w 4610101"/>
              <a:gd name="connsiteY19009" fmla="*/ 1130600 h 6557032"/>
              <a:gd name="connsiteX19010" fmla="*/ 1486895 w 4610101"/>
              <a:gd name="connsiteY19010" fmla="*/ 1128778 h 6557032"/>
              <a:gd name="connsiteX19011" fmla="*/ 1478240 w 4610101"/>
              <a:gd name="connsiteY19011" fmla="*/ 1134472 h 6557032"/>
              <a:gd name="connsiteX19012" fmla="*/ 1473309 w 4610101"/>
              <a:gd name="connsiteY19012" fmla="*/ 1140350 h 6557032"/>
              <a:gd name="connsiteX19013" fmla="*/ 1465028 w 4610101"/>
              <a:gd name="connsiteY19013" fmla="*/ 1141533 h 6557032"/>
              <a:gd name="connsiteX19014" fmla="*/ 1441340 w 4610101"/>
              <a:gd name="connsiteY19014" fmla="*/ 1161577 h 6557032"/>
              <a:gd name="connsiteX19015" fmla="*/ 1448629 w 4610101"/>
              <a:gd name="connsiteY19015" fmla="*/ 1159755 h 6557032"/>
              <a:gd name="connsiteX19016" fmla="*/ 1424940 w 4610101"/>
              <a:gd name="connsiteY19016" fmla="*/ 1176155 h 6557032"/>
              <a:gd name="connsiteX19017" fmla="*/ 1424940 w 4610101"/>
              <a:gd name="connsiteY19017" fmla="*/ 1172510 h 6557032"/>
              <a:gd name="connsiteX19018" fmla="*/ 1417652 w 4610101"/>
              <a:gd name="connsiteY19018" fmla="*/ 1183443 h 6557032"/>
              <a:gd name="connsiteX19019" fmla="*/ 1417652 w 4610101"/>
              <a:gd name="connsiteY19019" fmla="*/ 1179799 h 6557032"/>
              <a:gd name="connsiteX19020" fmla="*/ 1402117 w 4610101"/>
              <a:gd name="connsiteY19020" fmla="*/ 1185448 h 6557032"/>
              <a:gd name="connsiteX19021" fmla="*/ 1404214 w 4610101"/>
              <a:gd name="connsiteY19021" fmla="*/ 1184354 h 6557032"/>
              <a:gd name="connsiteX19022" fmla="*/ 1410363 w 4610101"/>
              <a:gd name="connsiteY19022" fmla="*/ 1176155 h 6557032"/>
              <a:gd name="connsiteX19023" fmla="*/ 1414007 w 4610101"/>
              <a:gd name="connsiteY19023" fmla="*/ 1176155 h 6557032"/>
              <a:gd name="connsiteX19024" fmla="*/ 1412185 w 4610101"/>
              <a:gd name="connsiteY19024" fmla="*/ 1172510 h 6557032"/>
              <a:gd name="connsiteX19025" fmla="*/ 1418664 w 4610101"/>
              <a:gd name="connsiteY19025" fmla="*/ 1174130 h 6557032"/>
              <a:gd name="connsiteX19026" fmla="*/ 1417652 w 4610101"/>
              <a:gd name="connsiteY19026" fmla="*/ 1176155 h 6557032"/>
              <a:gd name="connsiteX19027" fmla="*/ 1420613 w 4610101"/>
              <a:gd name="connsiteY19027" fmla="*/ 1175699 h 6557032"/>
              <a:gd name="connsiteX19028" fmla="*/ 1419988 w 4610101"/>
              <a:gd name="connsiteY19028" fmla="*/ 1173949 h 6557032"/>
              <a:gd name="connsiteX19029" fmla="*/ 1432001 w 4610101"/>
              <a:gd name="connsiteY19029" fmla="*/ 1164994 h 6557032"/>
              <a:gd name="connsiteX19030" fmla="*/ 1443162 w 4610101"/>
              <a:gd name="connsiteY19030" fmla="*/ 1154288 h 6557032"/>
              <a:gd name="connsiteX19031" fmla="*/ 1439518 w 4610101"/>
              <a:gd name="connsiteY19031" fmla="*/ 1117845 h 6557032"/>
              <a:gd name="connsiteX19032" fmla="*/ 1443162 w 4610101"/>
              <a:gd name="connsiteY19032" fmla="*/ 1148822 h 6557032"/>
              <a:gd name="connsiteX19033" fmla="*/ 1444984 w 4610101"/>
              <a:gd name="connsiteY19033" fmla="*/ 1148822 h 6557032"/>
              <a:gd name="connsiteX19034" fmla="*/ 1444984 w 4610101"/>
              <a:gd name="connsiteY19034" fmla="*/ 1154288 h 6557032"/>
              <a:gd name="connsiteX19035" fmla="*/ 1459562 w 4610101"/>
              <a:gd name="connsiteY19035" fmla="*/ 1139711 h 6557032"/>
              <a:gd name="connsiteX19036" fmla="*/ 1461384 w 4610101"/>
              <a:gd name="connsiteY19036" fmla="*/ 1141533 h 6557032"/>
              <a:gd name="connsiteX19037" fmla="*/ 1459562 w 4610101"/>
              <a:gd name="connsiteY19037" fmla="*/ 1130600 h 6557032"/>
              <a:gd name="connsiteX19038" fmla="*/ 1463206 w 4610101"/>
              <a:gd name="connsiteY19038" fmla="*/ 1121489 h 6557032"/>
              <a:gd name="connsiteX19039" fmla="*/ 1465028 w 4610101"/>
              <a:gd name="connsiteY19039" fmla="*/ 1139711 h 6557032"/>
              <a:gd name="connsiteX19040" fmla="*/ 1470495 w 4610101"/>
              <a:gd name="connsiteY19040" fmla="*/ 1132422 h 6557032"/>
              <a:gd name="connsiteX19041" fmla="*/ 1472317 w 4610101"/>
              <a:gd name="connsiteY19041" fmla="*/ 1134245 h 6557032"/>
              <a:gd name="connsiteX19042" fmla="*/ 1475961 w 4610101"/>
              <a:gd name="connsiteY19042" fmla="*/ 1128778 h 6557032"/>
              <a:gd name="connsiteX19043" fmla="*/ 1479606 w 4610101"/>
              <a:gd name="connsiteY19043" fmla="*/ 1126956 h 6557032"/>
              <a:gd name="connsiteX19044" fmla="*/ 1483250 w 4610101"/>
              <a:gd name="connsiteY19044" fmla="*/ 1116023 h 6557032"/>
              <a:gd name="connsiteX19045" fmla="*/ 1477784 w 4610101"/>
              <a:gd name="connsiteY19045" fmla="*/ 1106912 h 6557032"/>
              <a:gd name="connsiteX19046" fmla="*/ 1485072 w 4610101"/>
              <a:gd name="connsiteY19046" fmla="*/ 1116023 h 6557032"/>
              <a:gd name="connsiteX19047" fmla="*/ 1486895 w 4610101"/>
              <a:gd name="connsiteY19047" fmla="*/ 1105090 h 6557032"/>
              <a:gd name="connsiteX19048" fmla="*/ 1113349 w 4610101"/>
              <a:gd name="connsiteY19048" fmla="*/ 1105090 h 6557032"/>
              <a:gd name="connsiteX19049" fmla="*/ 1109704 w 4610101"/>
              <a:gd name="connsiteY19049" fmla="*/ 1116023 h 6557032"/>
              <a:gd name="connsiteX19050" fmla="*/ 1120637 w 4610101"/>
              <a:gd name="connsiteY19050" fmla="*/ 1110556 h 6557032"/>
              <a:gd name="connsiteX19051" fmla="*/ 1113349 w 4610101"/>
              <a:gd name="connsiteY19051" fmla="*/ 1105090 h 6557032"/>
              <a:gd name="connsiteX19052" fmla="*/ 932953 w 4610101"/>
              <a:gd name="connsiteY19052" fmla="*/ 1105090 h 6557032"/>
              <a:gd name="connsiteX19053" fmla="*/ 938420 w 4610101"/>
              <a:gd name="connsiteY19053" fmla="*/ 1112378 h 6557032"/>
              <a:gd name="connsiteX19054" fmla="*/ 932953 w 4610101"/>
              <a:gd name="connsiteY19054" fmla="*/ 1105090 h 6557032"/>
              <a:gd name="connsiteX19055" fmla="*/ 623185 w 4610101"/>
              <a:gd name="connsiteY19055" fmla="*/ 1105090 h 6557032"/>
              <a:gd name="connsiteX19056" fmla="*/ 619539 w 4610101"/>
              <a:gd name="connsiteY19056" fmla="*/ 1108734 h 6557032"/>
              <a:gd name="connsiteX19057" fmla="*/ 634117 w 4610101"/>
              <a:gd name="connsiteY19057" fmla="*/ 1110556 h 6557032"/>
              <a:gd name="connsiteX19058" fmla="*/ 623185 w 4610101"/>
              <a:gd name="connsiteY19058" fmla="*/ 1105090 h 6557032"/>
              <a:gd name="connsiteX19059" fmla="*/ 450077 w 4610101"/>
              <a:gd name="connsiteY19059" fmla="*/ 1105090 h 6557032"/>
              <a:gd name="connsiteX19060" fmla="*/ 455544 w 4610101"/>
              <a:gd name="connsiteY19060" fmla="*/ 1108734 h 6557032"/>
              <a:gd name="connsiteX19061" fmla="*/ 450077 w 4610101"/>
              <a:gd name="connsiteY19061" fmla="*/ 1105090 h 6557032"/>
              <a:gd name="connsiteX19062" fmla="*/ 377190 w 4610101"/>
              <a:gd name="connsiteY19062" fmla="*/ 1105090 h 6557032"/>
              <a:gd name="connsiteX19063" fmla="*/ 395412 w 4610101"/>
              <a:gd name="connsiteY19063" fmla="*/ 1119667 h 6557032"/>
              <a:gd name="connsiteX19064" fmla="*/ 377190 w 4610101"/>
              <a:gd name="connsiteY19064" fmla="*/ 1105090 h 6557032"/>
              <a:gd name="connsiteX19065" fmla="*/ 494949 w 4610101"/>
              <a:gd name="connsiteY19065" fmla="*/ 1104635 h 6557032"/>
              <a:gd name="connsiteX19066" fmla="*/ 491987 w 4610101"/>
              <a:gd name="connsiteY19066" fmla="*/ 1105090 h 6557032"/>
              <a:gd name="connsiteX19067" fmla="*/ 499276 w 4610101"/>
              <a:gd name="connsiteY19067" fmla="*/ 1106912 h 6557032"/>
              <a:gd name="connsiteX19068" fmla="*/ 494949 w 4610101"/>
              <a:gd name="connsiteY19068" fmla="*/ 1104635 h 6557032"/>
              <a:gd name="connsiteX19069" fmla="*/ 1127926 w 4610101"/>
              <a:gd name="connsiteY19069" fmla="*/ 1103268 h 6557032"/>
              <a:gd name="connsiteX19070" fmla="*/ 1122459 w 4610101"/>
              <a:gd name="connsiteY19070" fmla="*/ 1110556 h 6557032"/>
              <a:gd name="connsiteX19071" fmla="*/ 1131570 w 4610101"/>
              <a:gd name="connsiteY19071" fmla="*/ 1105090 h 6557032"/>
              <a:gd name="connsiteX19072" fmla="*/ 1127926 w 4610101"/>
              <a:gd name="connsiteY19072" fmla="*/ 1103268 h 6557032"/>
              <a:gd name="connsiteX19073" fmla="*/ 1082373 w 4610101"/>
              <a:gd name="connsiteY19073" fmla="*/ 1103268 h 6557032"/>
              <a:gd name="connsiteX19074" fmla="*/ 1076905 w 4610101"/>
              <a:gd name="connsiteY19074" fmla="*/ 1105090 h 6557032"/>
              <a:gd name="connsiteX19075" fmla="*/ 1082373 w 4610101"/>
              <a:gd name="connsiteY19075" fmla="*/ 1108734 h 6557032"/>
              <a:gd name="connsiteX19076" fmla="*/ 1082373 w 4610101"/>
              <a:gd name="connsiteY19076" fmla="*/ 1103268 h 6557032"/>
              <a:gd name="connsiteX19077" fmla="*/ 1047750 w 4610101"/>
              <a:gd name="connsiteY19077" fmla="*/ 1103268 h 6557032"/>
              <a:gd name="connsiteX19078" fmla="*/ 1045929 w 4610101"/>
              <a:gd name="connsiteY19078" fmla="*/ 1108734 h 6557032"/>
              <a:gd name="connsiteX19079" fmla="*/ 1049573 w 4610101"/>
              <a:gd name="connsiteY19079" fmla="*/ 1108734 h 6557032"/>
              <a:gd name="connsiteX19080" fmla="*/ 1047750 w 4610101"/>
              <a:gd name="connsiteY19080" fmla="*/ 1103268 h 6557032"/>
              <a:gd name="connsiteX19081" fmla="*/ 841845 w 4610101"/>
              <a:gd name="connsiteY19081" fmla="*/ 1103268 h 6557032"/>
              <a:gd name="connsiteX19082" fmla="*/ 840022 w 4610101"/>
              <a:gd name="connsiteY19082" fmla="*/ 1117845 h 6557032"/>
              <a:gd name="connsiteX19083" fmla="*/ 841845 w 4610101"/>
              <a:gd name="connsiteY19083" fmla="*/ 1114201 h 6557032"/>
              <a:gd name="connsiteX19084" fmla="*/ 847311 w 4610101"/>
              <a:gd name="connsiteY19084" fmla="*/ 1117845 h 6557032"/>
              <a:gd name="connsiteX19085" fmla="*/ 849133 w 4610101"/>
              <a:gd name="connsiteY19085" fmla="*/ 1114201 h 6557032"/>
              <a:gd name="connsiteX19086" fmla="*/ 841845 w 4610101"/>
              <a:gd name="connsiteY19086" fmla="*/ 1114201 h 6557032"/>
              <a:gd name="connsiteX19087" fmla="*/ 840022 w 4610101"/>
              <a:gd name="connsiteY19087" fmla="*/ 1114201 h 6557032"/>
              <a:gd name="connsiteX19088" fmla="*/ 847311 w 4610101"/>
              <a:gd name="connsiteY19088" fmla="*/ 1110556 h 6557032"/>
              <a:gd name="connsiteX19089" fmla="*/ 841845 w 4610101"/>
              <a:gd name="connsiteY19089" fmla="*/ 1103268 h 6557032"/>
              <a:gd name="connsiteX19090" fmla="*/ 789003 w 4610101"/>
              <a:gd name="connsiteY19090" fmla="*/ 1103268 h 6557032"/>
              <a:gd name="connsiteX19091" fmla="*/ 790824 w 4610101"/>
              <a:gd name="connsiteY19091" fmla="*/ 1106912 h 6557032"/>
              <a:gd name="connsiteX19092" fmla="*/ 789003 w 4610101"/>
              <a:gd name="connsiteY19092" fmla="*/ 1103268 h 6557032"/>
              <a:gd name="connsiteX19093" fmla="*/ 595852 w 4610101"/>
              <a:gd name="connsiteY19093" fmla="*/ 1103268 h 6557032"/>
              <a:gd name="connsiteX19094" fmla="*/ 612251 w 4610101"/>
              <a:gd name="connsiteY19094" fmla="*/ 1114201 h 6557032"/>
              <a:gd name="connsiteX19095" fmla="*/ 595852 w 4610101"/>
              <a:gd name="connsiteY19095" fmla="*/ 1103268 h 6557032"/>
              <a:gd name="connsiteX19096" fmla="*/ 247816 w 4610101"/>
              <a:gd name="connsiteY19096" fmla="*/ 1103268 h 6557032"/>
              <a:gd name="connsiteX19097" fmla="*/ 244172 w 4610101"/>
              <a:gd name="connsiteY19097" fmla="*/ 1105090 h 6557032"/>
              <a:gd name="connsiteX19098" fmla="*/ 262393 w 4610101"/>
              <a:gd name="connsiteY19098" fmla="*/ 1117845 h 6557032"/>
              <a:gd name="connsiteX19099" fmla="*/ 247816 w 4610101"/>
              <a:gd name="connsiteY19099" fmla="*/ 1103268 h 6557032"/>
              <a:gd name="connsiteX19100" fmla="*/ 235061 w 4610101"/>
              <a:gd name="connsiteY19100" fmla="*/ 1103268 h 6557032"/>
              <a:gd name="connsiteX19101" fmla="*/ 238705 w 4610101"/>
              <a:gd name="connsiteY19101" fmla="*/ 1106912 h 6557032"/>
              <a:gd name="connsiteX19102" fmla="*/ 235061 w 4610101"/>
              <a:gd name="connsiteY19102" fmla="*/ 1103268 h 6557032"/>
              <a:gd name="connsiteX19103" fmla="*/ 220483 w 4610101"/>
              <a:gd name="connsiteY19103" fmla="*/ 1103268 h 6557032"/>
              <a:gd name="connsiteX19104" fmla="*/ 233239 w 4610101"/>
              <a:gd name="connsiteY19104" fmla="*/ 1116023 h 6557032"/>
              <a:gd name="connsiteX19105" fmla="*/ 220483 w 4610101"/>
              <a:gd name="connsiteY19105" fmla="*/ 1103268 h 6557032"/>
              <a:gd name="connsiteX19106" fmla="*/ 426388 w 4610101"/>
              <a:gd name="connsiteY19106" fmla="*/ 1103267 h 6557032"/>
              <a:gd name="connsiteX19107" fmla="*/ 426389 w 4610101"/>
              <a:gd name="connsiteY19107" fmla="*/ 1103267 h 6557032"/>
              <a:gd name="connsiteX19108" fmla="*/ 426389 w 4610101"/>
              <a:gd name="connsiteY19108" fmla="*/ 1103268 h 6557032"/>
              <a:gd name="connsiteX19109" fmla="*/ 976310 w 4610101"/>
              <a:gd name="connsiteY19109" fmla="*/ 1102517 h 6557032"/>
              <a:gd name="connsiteX19110" fmla="*/ 976686 w 4610101"/>
              <a:gd name="connsiteY19110" fmla="*/ 1103268 h 6557032"/>
              <a:gd name="connsiteX19111" fmla="*/ 975704 w 4610101"/>
              <a:gd name="connsiteY19111" fmla="*/ 1104249 h 6557032"/>
              <a:gd name="connsiteX19112" fmla="*/ 3285380 w 4610101"/>
              <a:gd name="connsiteY19112" fmla="*/ 1101445 h 6557032"/>
              <a:gd name="connsiteX19113" fmla="*/ 3274447 w 4610101"/>
              <a:gd name="connsiteY19113" fmla="*/ 1110556 h 6557032"/>
              <a:gd name="connsiteX19114" fmla="*/ 3270803 w 4610101"/>
              <a:gd name="connsiteY19114" fmla="*/ 1103268 h 6557032"/>
              <a:gd name="connsiteX19115" fmla="*/ 3263514 w 4610101"/>
              <a:gd name="connsiteY19115" fmla="*/ 1119667 h 6557032"/>
              <a:gd name="connsiteX19116" fmla="*/ 3265336 w 4610101"/>
              <a:gd name="connsiteY19116" fmla="*/ 1103268 h 6557032"/>
              <a:gd name="connsiteX19117" fmla="*/ 3205204 w 4610101"/>
              <a:gd name="connsiteY19117" fmla="*/ 1110556 h 6557032"/>
              <a:gd name="connsiteX19118" fmla="*/ 3230715 w 4610101"/>
              <a:gd name="connsiteY19118" fmla="*/ 1134245 h 6557032"/>
              <a:gd name="connsiteX19119" fmla="*/ 3247114 w 4610101"/>
              <a:gd name="connsiteY19119" fmla="*/ 1156111 h 6557032"/>
              <a:gd name="connsiteX19120" fmla="*/ 3263514 w 4610101"/>
              <a:gd name="connsiteY19120" fmla="*/ 1170688 h 6557032"/>
              <a:gd name="connsiteX19121" fmla="*/ 3270803 w 4610101"/>
              <a:gd name="connsiteY19121" fmla="*/ 1159755 h 6557032"/>
              <a:gd name="connsiteX19122" fmla="*/ 3278091 w 4610101"/>
              <a:gd name="connsiteY19122" fmla="*/ 1172510 h 6557032"/>
              <a:gd name="connsiteX19123" fmla="*/ 3281736 w 4610101"/>
              <a:gd name="connsiteY19123" fmla="*/ 1154288 h 6557032"/>
              <a:gd name="connsiteX19124" fmla="*/ 3289024 w 4610101"/>
              <a:gd name="connsiteY19124" fmla="*/ 1157933 h 6557032"/>
              <a:gd name="connsiteX19125" fmla="*/ 3281736 w 4610101"/>
              <a:gd name="connsiteY19125" fmla="*/ 1167044 h 6557032"/>
              <a:gd name="connsiteX19126" fmla="*/ 3289024 w 4610101"/>
              <a:gd name="connsiteY19126" fmla="*/ 1167044 h 6557032"/>
              <a:gd name="connsiteX19127" fmla="*/ 3287202 w 4610101"/>
              <a:gd name="connsiteY19127" fmla="*/ 1174332 h 6557032"/>
              <a:gd name="connsiteX19128" fmla="*/ 3299957 w 4610101"/>
              <a:gd name="connsiteY19128" fmla="*/ 1174332 h 6557032"/>
              <a:gd name="connsiteX19129" fmla="*/ 3305424 w 4610101"/>
              <a:gd name="connsiteY19129" fmla="*/ 1170688 h 6557032"/>
              <a:gd name="connsiteX19130" fmla="*/ 3304416 w 4610101"/>
              <a:gd name="connsiteY19130" fmla="*/ 1169962 h 6557032"/>
              <a:gd name="connsiteX19131" fmla="*/ 3312713 w 4610101"/>
              <a:gd name="connsiteY19131" fmla="*/ 1165222 h 6557032"/>
              <a:gd name="connsiteX19132" fmla="*/ 3306335 w 4610101"/>
              <a:gd name="connsiteY19132" fmla="*/ 1165449 h 6557032"/>
              <a:gd name="connsiteX19133" fmla="*/ 3303109 w 4610101"/>
              <a:gd name="connsiteY19133" fmla="*/ 1169021 h 6557032"/>
              <a:gd name="connsiteX19134" fmla="*/ 3299730 w 4610101"/>
              <a:gd name="connsiteY19134" fmla="*/ 1166588 h 6557032"/>
              <a:gd name="connsiteX19135" fmla="*/ 3292669 w 4610101"/>
              <a:gd name="connsiteY19135" fmla="*/ 1165222 h 6557032"/>
              <a:gd name="connsiteX19136" fmla="*/ 3290847 w 4610101"/>
              <a:gd name="connsiteY19136" fmla="*/ 1159755 h 6557032"/>
              <a:gd name="connsiteX19137" fmla="*/ 3320001 w 4610101"/>
              <a:gd name="connsiteY19137" fmla="*/ 1161577 h 6557032"/>
              <a:gd name="connsiteX19138" fmla="*/ 3325468 w 4610101"/>
              <a:gd name="connsiteY19138" fmla="*/ 1156111 h 6557032"/>
              <a:gd name="connsiteX19139" fmla="*/ 3330934 w 4610101"/>
              <a:gd name="connsiteY19139" fmla="*/ 1159755 h 6557032"/>
              <a:gd name="connsiteX19140" fmla="*/ 3327290 w 4610101"/>
              <a:gd name="connsiteY19140" fmla="*/ 1167044 h 6557032"/>
              <a:gd name="connsiteX19141" fmla="*/ 3324785 w 4610101"/>
              <a:gd name="connsiteY19141" fmla="*/ 1169549 h 6557032"/>
              <a:gd name="connsiteX19142" fmla="*/ 3321824 w 4610101"/>
              <a:gd name="connsiteY19142" fmla="*/ 1172510 h 6557032"/>
              <a:gd name="connsiteX19143" fmla="*/ 3323646 w 4610101"/>
              <a:gd name="connsiteY19143" fmla="*/ 1172510 h 6557032"/>
              <a:gd name="connsiteX19144" fmla="*/ 3329112 w 4610101"/>
              <a:gd name="connsiteY19144" fmla="*/ 1172510 h 6557032"/>
              <a:gd name="connsiteX19145" fmla="*/ 3329112 w 4610101"/>
              <a:gd name="connsiteY19145" fmla="*/ 1165677 h 6557032"/>
              <a:gd name="connsiteX19146" fmla="*/ 3330934 w 4610101"/>
              <a:gd name="connsiteY19146" fmla="*/ 1164310 h 6557032"/>
              <a:gd name="connsiteX19147" fmla="*/ 3334579 w 4610101"/>
              <a:gd name="connsiteY19147" fmla="*/ 1161577 h 6557032"/>
              <a:gd name="connsiteX19148" fmla="*/ 3334579 w 4610101"/>
              <a:gd name="connsiteY19148" fmla="*/ 1148822 h 6557032"/>
              <a:gd name="connsiteX19149" fmla="*/ 3336401 w 4610101"/>
              <a:gd name="connsiteY19149" fmla="*/ 1152466 h 6557032"/>
              <a:gd name="connsiteX19150" fmla="*/ 3341787 w 4610101"/>
              <a:gd name="connsiteY19150" fmla="*/ 1148785 h 6557032"/>
              <a:gd name="connsiteX19151" fmla="*/ 3341867 w 4610101"/>
              <a:gd name="connsiteY19151" fmla="*/ 1148822 h 6557032"/>
              <a:gd name="connsiteX19152" fmla="*/ 3341843 w 4610101"/>
              <a:gd name="connsiteY19152" fmla="*/ 1148748 h 6557032"/>
              <a:gd name="connsiteX19153" fmla="*/ 3350068 w 4610101"/>
              <a:gd name="connsiteY19153" fmla="*/ 1143127 h 6557032"/>
              <a:gd name="connsiteX19154" fmla="*/ 3357554 w 4610101"/>
              <a:gd name="connsiteY19154" fmla="*/ 1128362 h 6557032"/>
              <a:gd name="connsiteX19155" fmla="*/ 3358267 w 4610101"/>
              <a:gd name="connsiteY19155" fmla="*/ 1128778 h 6557032"/>
              <a:gd name="connsiteX19156" fmla="*/ 3361911 w 4610101"/>
              <a:gd name="connsiteY19156" fmla="*/ 1123312 h 6557032"/>
              <a:gd name="connsiteX19157" fmla="*/ 3352800 w 4610101"/>
              <a:gd name="connsiteY19157" fmla="*/ 1126956 h 6557032"/>
              <a:gd name="connsiteX19158" fmla="*/ 3355534 w 4610101"/>
              <a:gd name="connsiteY19158" fmla="*/ 1127184 h 6557032"/>
              <a:gd name="connsiteX19159" fmla="*/ 3356081 w 4610101"/>
              <a:gd name="connsiteY19159" fmla="*/ 1127503 h 6557032"/>
              <a:gd name="connsiteX19160" fmla="*/ 3347334 w 4610101"/>
              <a:gd name="connsiteY19160" fmla="*/ 1129689 h 6557032"/>
              <a:gd name="connsiteX19161" fmla="*/ 3336401 w 4610101"/>
              <a:gd name="connsiteY19161" fmla="*/ 1132422 h 6557032"/>
              <a:gd name="connsiteX19162" fmla="*/ 3341843 w 4610101"/>
              <a:gd name="connsiteY19162" fmla="*/ 1148748 h 6557032"/>
              <a:gd name="connsiteX19163" fmla="*/ 3341787 w 4610101"/>
              <a:gd name="connsiteY19163" fmla="*/ 1148785 h 6557032"/>
              <a:gd name="connsiteX19164" fmla="*/ 3334806 w 4610101"/>
              <a:gd name="connsiteY19164" fmla="*/ 1145633 h 6557032"/>
              <a:gd name="connsiteX19165" fmla="*/ 3329112 w 4610101"/>
              <a:gd name="connsiteY19165" fmla="*/ 1150644 h 6557032"/>
              <a:gd name="connsiteX19166" fmla="*/ 3332756 w 4610101"/>
              <a:gd name="connsiteY19166" fmla="*/ 1143355 h 6557032"/>
              <a:gd name="connsiteX19167" fmla="*/ 3309068 w 4610101"/>
              <a:gd name="connsiteY19167" fmla="*/ 1139711 h 6557032"/>
              <a:gd name="connsiteX19168" fmla="*/ 3312713 w 4610101"/>
              <a:gd name="connsiteY19168" fmla="*/ 1130600 h 6557032"/>
              <a:gd name="connsiteX19169" fmla="*/ 3314535 w 4610101"/>
              <a:gd name="connsiteY19169" fmla="*/ 1134245 h 6557032"/>
              <a:gd name="connsiteX19170" fmla="*/ 3312713 w 4610101"/>
              <a:gd name="connsiteY19170" fmla="*/ 1130600 h 6557032"/>
              <a:gd name="connsiteX19171" fmla="*/ 3285380 w 4610101"/>
              <a:gd name="connsiteY19171" fmla="*/ 1101445 h 6557032"/>
              <a:gd name="connsiteX19172" fmla="*/ 2922767 w 4610101"/>
              <a:gd name="connsiteY19172" fmla="*/ 1101445 h 6557032"/>
              <a:gd name="connsiteX19173" fmla="*/ 2935523 w 4610101"/>
              <a:gd name="connsiteY19173" fmla="*/ 1112378 h 6557032"/>
              <a:gd name="connsiteX19174" fmla="*/ 2933700 w 4610101"/>
              <a:gd name="connsiteY19174" fmla="*/ 1105090 h 6557032"/>
              <a:gd name="connsiteX19175" fmla="*/ 2940989 w 4610101"/>
              <a:gd name="connsiteY19175" fmla="*/ 1108734 h 6557032"/>
              <a:gd name="connsiteX19176" fmla="*/ 2937345 w 4610101"/>
              <a:gd name="connsiteY19176" fmla="*/ 1116023 h 6557032"/>
              <a:gd name="connsiteX19177" fmla="*/ 2939167 w 4610101"/>
              <a:gd name="connsiteY19177" fmla="*/ 1117845 h 6557032"/>
              <a:gd name="connsiteX19178" fmla="*/ 2933245 w 4610101"/>
              <a:gd name="connsiteY19178" fmla="*/ 1121489 h 6557032"/>
              <a:gd name="connsiteX19179" fmla="*/ 2926379 w 4610101"/>
              <a:gd name="connsiteY19179" fmla="*/ 1120043 h 6557032"/>
              <a:gd name="connsiteX19180" fmla="*/ 2925786 w 4610101"/>
              <a:gd name="connsiteY19180" fmla="*/ 1118414 h 6557032"/>
              <a:gd name="connsiteX19181" fmla="*/ 2919123 w 4610101"/>
              <a:gd name="connsiteY19181" fmla="*/ 1105090 h 6557032"/>
              <a:gd name="connsiteX19182" fmla="*/ 2922767 w 4610101"/>
              <a:gd name="connsiteY19182" fmla="*/ 1101445 h 6557032"/>
              <a:gd name="connsiteX19183" fmla="*/ 2341494 w 4610101"/>
              <a:gd name="connsiteY19183" fmla="*/ 1101445 h 6557032"/>
              <a:gd name="connsiteX19184" fmla="*/ 2350605 w 4610101"/>
              <a:gd name="connsiteY19184" fmla="*/ 1110556 h 6557032"/>
              <a:gd name="connsiteX19185" fmla="*/ 2341494 w 4610101"/>
              <a:gd name="connsiteY19185" fmla="*/ 1101445 h 6557032"/>
              <a:gd name="connsiteX19186" fmla="*/ 2315983 w 4610101"/>
              <a:gd name="connsiteY19186" fmla="*/ 1101445 h 6557032"/>
              <a:gd name="connsiteX19187" fmla="*/ 2303228 w 4610101"/>
              <a:gd name="connsiteY19187" fmla="*/ 1110556 h 6557032"/>
              <a:gd name="connsiteX19188" fmla="*/ 2315983 w 4610101"/>
              <a:gd name="connsiteY19188" fmla="*/ 1112378 h 6557032"/>
              <a:gd name="connsiteX19189" fmla="*/ 2315983 w 4610101"/>
              <a:gd name="connsiteY19189" fmla="*/ 1101445 h 6557032"/>
              <a:gd name="connsiteX19190" fmla="*/ 2203237 w 4610101"/>
              <a:gd name="connsiteY19190" fmla="*/ 1101445 h 6557032"/>
              <a:gd name="connsiteX19191" fmla="*/ 2201187 w 4610101"/>
              <a:gd name="connsiteY19191" fmla="*/ 1105090 h 6557032"/>
              <a:gd name="connsiteX19192" fmla="*/ 2204831 w 4610101"/>
              <a:gd name="connsiteY19192" fmla="*/ 1112378 h 6557032"/>
              <a:gd name="connsiteX19193" fmla="*/ 2208475 w 4610101"/>
              <a:gd name="connsiteY19193" fmla="*/ 1106912 h 6557032"/>
              <a:gd name="connsiteX19194" fmla="*/ 2206653 w 4610101"/>
              <a:gd name="connsiteY19194" fmla="*/ 1103268 h 6557032"/>
              <a:gd name="connsiteX19195" fmla="*/ 2203237 w 4610101"/>
              <a:gd name="connsiteY19195" fmla="*/ 1101445 h 6557032"/>
              <a:gd name="connsiteX19196" fmla="*/ 1372097 w 4610101"/>
              <a:gd name="connsiteY19196" fmla="*/ 1101445 h 6557032"/>
              <a:gd name="connsiteX19197" fmla="*/ 1361848 w 4610101"/>
              <a:gd name="connsiteY19197" fmla="*/ 1106456 h 6557032"/>
              <a:gd name="connsiteX19198" fmla="*/ 1360908 w 4610101"/>
              <a:gd name="connsiteY19198" fmla="*/ 1106641 h 6557032"/>
              <a:gd name="connsiteX19199" fmla="*/ 1113349 w 4610101"/>
              <a:gd name="connsiteY19199" fmla="*/ 1101445 h 6557032"/>
              <a:gd name="connsiteX19200" fmla="*/ 1118815 w 4610101"/>
              <a:gd name="connsiteY19200" fmla="*/ 1106912 h 6557032"/>
              <a:gd name="connsiteX19201" fmla="*/ 1120637 w 4610101"/>
              <a:gd name="connsiteY19201" fmla="*/ 1101445 h 6557032"/>
              <a:gd name="connsiteX19202" fmla="*/ 1113349 w 4610101"/>
              <a:gd name="connsiteY19202" fmla="*/ 1101445 h 6557032"/>
              <a:gd name="connsiteX19203" fmla="*/ 1060506 w 4610101"/>
              <a:gd name="connsiteY19203" fmla="*/ 1101445 h 6557032"/>
              <a:gd name="connsiteX19204" fmla="*/ 1058683 w 4610101"/>
              <a:gd name="connsiteY19204" fmla="*/ 1103268 h 6557032"/>
              <a:gd name="connsiteX19205" fmla="*/ 1064151 w 4610101"/>
              <a:gd name="connsiteY19205" fmla="*/ 1105090 h 6557032"/>
              <a:gd name="connsiteX19206" fmla="*/ 1060506 w 4610101"/>
              <a:gd name="connsiteY19206" fmla="*/ 1101445 h 6557032"/>
              <a:gd name="connsiteX19207" fmla="*/ 1038639 w 4610101"/>
              <a:gd name="connsiteY19207" fmla="*/ 1101445 h 6557032"/>
              <a:gd name="connsiteX19208" fmla="*/ 1031351 w 4610101"/>
              <a:gd name="connsiteY19208" fmla="*/ 1105090 h 6557032"/>
              <a:gd name="connsiteX19209" fmla="*/ 1036818 w 4610101"/>
              <a:gd name="connsiteY19209" fmla="*/ 1103268 h 6557032"/>
              <a:gd name="connsiteX19210" fmla="*/ 1038639 w 4610101"/>
              <a:gd name="connsiteY19210" fmla="*/ 1106912 h 6557032"/>
              <a:gd name="connsiteX19211" fmla="*/ 1038639 w 4610101"/>
              <a:gd name="connsiteY19211" fmla="*/ 1101445 h 6557032"/>
              <a:gd name="connsiteX19212" fmla="*/ 1024062 w 4610101"/>
              <a:gd name="connsiteY19212" fmla="*/ 1101445 h 6557032"/>
              <a:gd name="connsiteX19213" fmla="*/ 1022240 w 4610101"/>
              <a:gd name="connsiteY19213" fmla="*/ 1103268 h 6557032"/>
              <a:gd name="connsiteX19214" fmla="*/ 1025884 w 4610101"/>
              <a:gd name="connsiteY19214" fmla="*/ 1103268 h 6557032"/>
              <a:gd name="connsiteX19215" fmla="*/ 1024062 w 4610101"/>
              <a:gd name="connsiteY19215" fmla="*/ 1101445 h 6557032"/>
              <a:gd name="connsiteX19216" fmla="*/ 821801 w 4610101"/>
              <a:gd name="connsiteY19216" fmla="*/ 1101445 h 6557032"/>
              <a:gd name="connsiteX19217" fmla="*/ 821801 w 4610101"/>
              <a:gd name="connsiteY19217" fmla="*/ 1106912 h 6557032"/>
              <a:gd name="connsiteX19218" fmla="*/ 821801 w 4610101"/>
              <a:gd name="connsiteY19218" fmla="*/ 1101445 h 6557032"/>
              <a:gd name="connsiteX19219" fmla="*/ 599496 w 4610101"/>
              <a:gd name="connsiteY19219" fmla="*/ 1101445 h 6557032"/>
              <a:gd name="connsiteX19220" fmla="*/ 608606 w 4610101"/>
              <a:gd name="connsiteY19220" fmla="*/ 1108734 h 6557032"/>
              <a:gd name="connsiteX19221" fmla="*/ 599496 w 4610101"/>
              <a:gd name="connsiteY19221" fmla="*/ 1101445 h 6557032"/>
              <a:gd name="connsiteX19222" fmla="*/ 457367 w 4610101"/>
              <a:gd name="connsiteY19222" fmla="*/ 1101445 h 6557032"/>
              <a:gd name="connsiteX19223" fmla="*/ 464655 w 4610101"/>
              <a:gd name="connsiteY19223" fmla="*/ 1106912 h 6557032"/>
              <a:gd name="connsiteX19224" fmla="*/ 461010 w 4610101"/>
              <a:gd name="connsiteY19224" fmla="*/ 1101445 h 6557032"/>
              <a:gd name="connsiteX19225" fmla="*/ 457367 w 4610101"/>
              <a:gd name="connsiteY19225" fmla="*/ 1101445 h 6557032"/>
              <a:gd name="connsiteX19226" fmla="*/ 205906 w 4610101"/>
              <a:gd name="connsiteY19226" fmla="*/ 1101445 h 6557032"/>
              <a:gd name="connsiteX19227" fmla="*/ 213195 w 4610101"/>
              <a:gd name="connsiteY19227" fmla="*/ 1108734 h 6557032"/>
              <a:gd name="connsiteX19228" fmla="*/ 205906 w 4610101"/>
              <a:gd name="connsiteY19228" fmla="*/ 1101445 h 6557032"/>
              <a:gd name="connsiteX19229" fmla="*/ 184040 w 4610101"/>
              <a:gd name="connsiteY19229" fmla="*/ 1101445 h 6557032"/>
              <a:gd name="connsiteX19230" fmla="*/ 205906 w 4610101"/>
              <a:gd name="connsiteY19230" fmla="*/ 1112378 h 6557032"/>
              <a:gd name="connsiteX19231" fmla="*/ 184040 w 4610101"/>
              <a:gd name="connsiteY19231" fmla="*/ 1101445 h 6557032"/>
              <a:gd name="connsiteX19232" fmla="*/ 143952 w 4610101"/>
              <a:gd name="connsiteY19232" fmla="*/ 1101445 h 6557032"/>
              <a:gd name="connsiteX19233" fmla="*/ 160113 w 4610101"/>
              <a:gd name="connsiteY19233" fmla="*/ 1110981 h 6557032"/>
              <a:gd name="connsiteX19234" fmla="*/ 157847 w 4610101"/>
              <a:gd name="connsiteY19234" fmla="*/ 1110101 h 6557032"/>
              <a:gd name="connsiteX19235" fmla="*/ 143952 w 4610101"/>
              <a:gd name="connsiteY19235" fmla="*/ 1101445 h 6557032"/>
              <a:gd name="connsiteX19236" fmla="*/ 490848 w 4610101"/>
              <a:gd name="connsiteY19236" fmla="*/ 1100989 h 6557032"/>
              <a:gd name="connsiteX19237" fmla="*/ 486521 w 4610101"/>
              <a:gd name="connsiteY19237" fmla="*/ 1101445 h 6557032"/>
              <a:gd name="connsiteX19238" fmla="*/ 493809 w 4610101"/>
              <a:gd name="connsiteY19238" fmla="*/ 1103268 h 6557032"/>
              <a:gd name="connsiteX19239" fmla="*/ 490848 w 4610101"/>
              <a:gd name="connsiteY19239" fmla="*/ 1100989 h 6557032"/>
              <a:gd name="connsiteX19240" fmla="*/ 260344 w 4610101"/>
              <a:gd name="connsiteY19240" fmla="*/ 1099623 h 6557032"/>
              <a:gd name="connsiteX19241" fmla="*/ 256927 w 4610101"/>
              <a:gd name="connsiteY19241" fmla="*/ 1101445 h 6557032"/>
              <a:gd name="connsiteX19242" fmla="*/ 262393 w 4610101"/>
              <a:gd name="connsiteY19242" fmla="*/ 1103268 h 6557032"/>
              <a:gd name="connsiteX19243" fmla="*/ 260344 w 4610101"/>
              <a:gd name="connsiteY19243" fmla="*/ 1099623 h 6557032"/>
              <a:gd name="connsiteX19244" fmla="*/ 872822 w 4610101"/>
              <a:gd name="connsiteY19244" fmla="*/ 1099623 h 6557032"/>
              <a:gd name="connsiteX19245" fmla="*/ 876466 w 4610101"/>
              <a:gd name="connsiteY19245" fmla="*/ 1110556 h 6557032"/>
              <a:gd name="connsiteX19246" fmla="*/ 872822 w 4610101"/>
              <a:gd name="connsiteY19246" fmla="*/ 1103268 h 6557032"/>
              <a:gd name="connsiteX19247" fmla="*/ 874644 w 4610101"/>
              <a:gd name="connsiteY19247" fmla="*/ 1105090 h 6557032"/>
              <a:gd name="connsiteX19248" fmla="*/ 872822 w 4610101"/>
              <a:gd name="connsiteY19248" fmla="*/ 1099623 h 6557032"/>
              <a:gd name="connsiteX19249" fmla="*/ 847311 w 4610101"/>
              <a:gd name="connsiteY19249" fmla="*/ 1099623 h 6557032"/>
              <a:gd name="connsiteX19250" fmla="*/ 850956 w 4610101"/>
              <a:gd name="connsiteY19250" fmla="*/ 1108734 h 6557032"/>
              <a:gd name="connsiteX19251" fmla="*/ 854600 w 4610101"/>
              <a:gd name="connsiteY19251" fmla="*/ 1105090 h 6557032"/>
              <a:gd name="connsiteX19252" fmla="*/ 854600 w 4610101"/>
              <a:gd name="connsiteY19252" fmla="*/ 1099623 h 6557032"/>
              <a:gd name="connsiteX19253" fmla="*/ 847311 w 4610101"/>
              <a:gd name="connsiteY19253" fmla="*/ 1099623 h 6557032"/>
              <a:gd name="connsiteX19254" fmla="*/ 676027 w 4610101"/>
              <a:gd name="connsiteY19254" fmla="*/ 1099623 h 6557032"/>
              <a:gd name="connsiteX19255" fmla="*/ 683316 w 4610101"/>
              <a:gd name="connsiteY19255" fmla="*/ 1116023 h 6557032"/>
              <a:gd name="connsiteX19256" fmla="*/ 688782 w 4610101"/>
              <a:gd name="connsiteY19256" fmla="*/ 1123312 h 6557032"/>
              <a:gd name="connsiteX19257" fmla="*/ 679671 w 4610101"/>
              <a:gd name="connsiteY19257" fmla="*/ 1110556 h 6557032"/>
              <a:gd name="connsiteX19258" fmla="*/ 681493 w 4610101"/>
              <a:gd name="connsiteY19258" fmla="*/ 1106912 h 6557032"/>
              <a:gd name="connsiteX19259" fmla="*/ 676027 w 4610101"/>
              <a:gd name="connsiteY19259" fmla="*/ 1099623 h 6557032"/>
              <a:gd name="connsiteX19260" fmla="*/ 521142 w 4610101"/>
              <a:gd name="connsiteY19260" fmla="*/ 1099623 h 6557032"/>
              <a:gd name="connsiteX19261" fmla="*/ 528431 w 4610101"/>
              <a:gd name="connsiteY19261" fmla="*/ 1105090 h 6557032"/>
              <a:gd name="connsiteX19262" fmla="*/ 521142 w 4610101"/>
              <a:gd name="connsiteY19262" fmla="*/ 1099623 h 6557032"/>
              <a:gd name="connsiteX19263" fmla="*/ 267860 w 4610101"/>
              <a:gd name="connsiteY19263" fmla="*/ 1099623 h 6557032"/>
              <a:gd name="connsiteX19264" fmla="*/ 273327 w 4610101"/>
              <a:gd name="connsiteY19264" fmla="*/ 1101445 h 6557032"/>
              <a:gd name="connsiteX19265" fmla="*/ 267860 w 4610101"/>
              <a:gd name="connsiteY19265" fmla="*/ 1099623 h 6557032"/>
              <a:gd name="connsiteX19266" fmla="*/ 296331 w 4610101"/>
              <a:gd name="connsiteY19266" fmla="*/ 1099167 h 6557032"/>
              <a:gd name="connsiteX19267" fmla="*/ 293370 w 4610101"/>
              <a:gd name="connsiteY19267" fmla="*/ 1101445 h 6557032"/>
              <a:gd name="connsiteX19268" fmla="*/ 300660 w 4610101"/>
              <a:gd name="connsiteY19268" fmla="*/ 1099623 h 6557032"/>
              <a:gd name="connsiteX19269" fmla="*/ 296331 w 4610101"/>
              <a:gd name="connsiteY19269" fmla="*/ 1099167 h 6557032"/>
              <a:gd name="connsiteX19270" fmla="*/ 529444 w 4610101"/>
              <a:gd name="connsiteY19270" fmla="*/ 1098813 h 6557032"/>
              <a:gd name="connsiteX19271" fmla="*/ 532075 w 4610101"/>
              <a:gd name="connsiteY19271" fmla="*/ 1101445 h 6557032"/>
              <a:gd name="connsiteX19272" fmla="*/ 530731 w 4610101"/>
              <a:gd name="connsiteY19272" fmla="*/ 1100677 h 6557032"/>
              <a:gd name="connsiteX19273" fmla="*/ 529797 w 4610101"/>
              <a:gd name="connsiteY19273" fmla="*/ 1099851 h 6557032"/>
              <a:gd name="connsiteX19274" fmla="*/ 2295940 w 4610101"/>
              <a:gd name="connsiteY19274" fmla="*/ 1097801 h 6557032"/>
              <a:gd name="connsiteX19275" fmla="*/ 2297762 w 4610101"/>
              <a:gd name="connsiteY19275" fmla="*/ 1105090 h 6557032"/>
              <a:gd name="connsiteX19276" fmla="*/ 2303228 w 4610101"/>
              <a:gd name="connsiteY19276" fmla="*/ 1097801 h 6557032"/>
              <a:gd name="connsiteX19277" fmla="*/ 2295940 w 4610101"/>
              <a:gd name="connsiteY19277" fmla="*/ 1097801 h 6557032"/>
              <a:gd name="connsiteX19278" fmla="*/ 1104238 w 4610101"/>
              <a:gd name="connsiteY19278" fmla="*/ 1097801 h 6557032"/>
              <a:gd name="connsiteX19279" fmla="*/ 1104238 w 4610101"/>
              <a:gd name="connsiteY19279" fmla="*/ 1101445 h 6557032"/>
              <a:gd name="connsiteX19280" fmla="*/ 1102416 w 4610101"/>
              <a:gd name="connsiteY19280" fmla="*/ 1099623 h 6557032"/>
              <a:gd name="connsiteX19281" fmla="*/ 1098771 w 4610101"/>
              <a:gd name="connsiteY19281" fmla="*/ 1101445 h 6557032"/>
              <a:gd name="connsiteX19282" fmla="*/ 1095127 w 4610101"/>
              <a:gd name="connsiteY19282" fmla="*/ 1106912 h 6557032"/>
              <a:gd name="connsiteX19283" fmla="*/ 1102416 w 4610101"/>
              <a:gd name="connsiteY19283" fmla="*/ 1112378 h 6557032"/>
              <a:gd name="connsiteX19284" fmla="*/ 1104238 w 4610101"/>
              <a:gd name="connsiteY19284" fmla="*/ 1108734 h 6557032"/>
              <a:gd name="connsiteX19285" fmla="*/ 1107882 w 4610101"/>
              <a:gd name="connsiteY19285" fmla="*/ 1114201 h 6557032"/>
              <a:gd name="connsiteX19286" fmla="*/ 1111526 w 4610101"/>
              <a:gd name="connsiteY19286" fmla="*/ 1103268 h 6557032"/>
              <a:gd name="connsiteX19287" fmla="*/ 1107882 w 4610101"/>
              <a:gd name="connsiteY19287" fmla="*/ 1099623 h 6557032"/>
              <a:gd name="connsiteX19288" fmla="*/ 1106060 w 4610101"/>
              <a:gd name="connsiteY19288" fmla="*/ 1103268 h 6557032"/>
              <a:gd name="connsiteX19289" fmla="*/ 1104238 w 4610101"/>
              <a:gd name="connsiteY19289" fmla="*/ 1097801 h 6557032"/>
              <a:gd name="connsiteX19290" fmla="*/ 1055040 w 4610101"/>
              <a:gd name="connsiteY19290" fmla="*/ 1097801 h 6557032"/>
              <a:gd name="connsiteX19291" fmla="*/ 1049573 w 4610101"/>
              <a:gd name="connsiteY19291" fmla="*/ 1103268 h 6557032"/>
              <a:gd name="connsiteX19292" fmla="*/ 1051395 w 4610101"/>
              <a:gd name="connsiteY19292" fmla="*/ 1110556 h 6557032"/>
              <a:gd name="connsiteX19293" fmla="*/ 1055040 w 4610101"/>
              <a:gd name="connsiteY19293" fmla="*/ 1097801 h 6557032"/>
              <a:gd name="connsiteX19294" fmla="*/ 1042284 w 4610101"/>
              <a:gd name="connsiteY19294" fmla="*/ 1097801 h 6557032"/>
              <a:gd name="connsiteX19295" fmla="*/ 1042284 w 4610101"/>
              <a:gd name="connsiteY19295" fmla="*/ 1105090 h 6557032"/>
              <a:gd name="connsiteX19296" fmla="*/ 1042284 w 4610101"/>
              <a:gd name="connsiteY19296" fmla="*/ 1097801 h 6557032"/>
              <a:gd name="connsiteX19297" fmla="*/ 971219 w 4610101"/>
              <a:gd name="connsiteY19297" fmla="*/ 1097801 h 6557032"/>
              <a:gd name="connsiteX19298" fmla="*/ 974863 w 4610101"/>
              <a:gd name="connsiteY19298" fmla="*/ 1105090 h 6557032"/>
              <a:gd name="connsiteX19299" fmla="*/ 975704 w 4610101"/>
              <a:gd name="connsiteY19299" fmla="*/ 1104249 h 6557032"/>
              <a:gd name="connsiteX19300" fmla="*/ 975091 w 4610101"/>
              <a:gd name="connsiteY19300" fmla="*/ 1106001 h 6557032"/>
              <a:gd name="connsiteX19301" fmla="*/ 974863 w 4610101"/>
              <a:gd name="connsiteY19301" fmla="*/ 1110556 h 6557032"/>
              <a:gd name="connsiteX19302" fmla="*/ 976686 w 4610101"/>
              <a:gd name="connsiteY19302" fmla="*/ 1106912 h 6557032"/>
              <a:gd name="connsiteX19303" fmla="*/ 978508 w 4610101"/>
              <a:gd name="connsiteY19303" fmla="*/ 1108734 h 6557032"/>
              <a:gd name="connsiteX19304" fmla="*/ 976686 w 4610101"/>
              <a:gd name="connsiteY19304" fmla="*/ 1101445 h 6557032"/>
              <a:gd name="connsiteX19305" fmla="*/ 976310 w 4610101"/>
              <a:gd name="connsiteY19305" fmla="*/ 1102517 h 6557032"/>
              <a:gd name="connsiteX19306" fmla="*/ 974636 w 4610101"/>
              <a:gd name="connsiteY19306" fmla="*/ 1099167 h 6557032"/>
              <a:gd name="connsiteX19307" fmla="*/ 971219 w 4610101"/>
              <a:gd name="connsiteY19307" fmla="*/ 1097801 h 6557032"/>
              <a:gd name="connsiteX19308" fmla="*/ 880111 w 4610101"/>
              <a:gd name="connsiteY19308" fmla="*/ 1097801 h 6557032"/>
              <a:gd name="connsiteX19309" fmla="*/ 887399 w 4610101"/>
              <a:gd name="connsiteY19309" fmla="*/ 1103268 h 6557032"/>
              <a:gd name="connsiteX19310" fmla="*/ 880111 w 4610101"/>
              <a:gd name="connsiteY19310" fmla="*/ 1097801 h 6557032"/>
              <a:gd name="connsiteX19311" fmla="*/ 767136 w 4610101"/>
              <a:gd name="connsiteY19311" fmla="*/ 1097801 h 6557032"/>
              <a:gd name="connsiteX19312" fmla="*/ 767136 w 4610101"/>
              <a:gd name="connsiteY19312" fmla="*/ 1108734 h 6557032"/>
              <a:gd name="connsiteX19313" fmla="*/ 767136 w 4610101"/>
              <a:gd name="connsiteY19313" fmla="*/ 1097801 h 6557032"/>
              <a:gd name="connsiteX19314" fmla="*/ 621362 w 4610101"/>
              <a:gd name="connsiteY19314" fmla="*/ 1097801 h 6557032"/>
              <a:gd name="connsiteX19315" fmla="*/ 628650 w 4610101"/>
              <a:gd name="connsiteY19315" fmla="*/ 1103268 h 6557032"/>
              <a:gd name="connsiteX19316" fmla="*/ 625006 w 4610101"/>
              <a:gd name="connsiteY19316" fmla="*/ 1097801 h 6557032"/>
              <a:gd name="connsiteX19317" fmla="*/ 621362 w 4610101"/>
              <a:gd name="connsiteY19317" fmla="*/ 1097801 h 6557032"/>
              <a:gd name="connsiteX19318" fmla="*/ 570341 w 4610101"/>
              <a:gd name="connsiteY19318" fmla="*/ 1097801 h 6557032"/>
              <a:gd name="connsiteX19319" fmla="*/ 572163 w 4610101"/>
              <a:gd name="connsiteY19319" fmla="*/ 1106912 h 6557032"/>
              <a:gd name="connsiteX19320" fmla="*/ 577630 w 4610101"/>
              <a:gd name="connsiteY19320" fmla="*/ 1101445 h 6557032"/>
              <a:gd name="connsiteX19321" fmla="*/ 570341 w 4610101"/>
              <a:gd name="connsiteY19321" fmla="*/ 1097801 h 6557032"/>
              <a:gd name="connsiteX19322" fmla="*/ 340747 w 4610101"/>
              <a:gd name="connsiteY19322" fmla="*/ 1097801 h 6557032"/>
              <a:gd name="connsiteX19323" fmla="*/ 333458 w 4610101"/>
              <a:gd name="connsiteY19323" fmla="*/ 1099623 h 6557032"/>
              <a:gd name="connsiteX19324" fmla="*/ 346213 w 4610101"/>
              <a:gd name="connsiteY19324" fmla="*/ 1105090 h 6557032"/>
              <a:gd name="connsiteX19325" fmla="*/ 340747 w 4610101"/>
              <a:gd name="connsiteY19325" fmla="*/ 1097801 h 6557032"/>
              <a:gd name="connsiteX19326" fmla="*/ 282438 w 4610101"/>
              <a:gd name="connsiteY19326" fmla="*/ 1097801 h 6557032"/>
              <a:gd name="connsiteX19327" fmla="*/ 293370 w 4610101"/>
              <a:gd name="connsiteY19327" fmla="*/ 1097801 h 6557032"/>
              <a:gd name="connsiteX19328" fmla="*/ 282438 w 4610101"/>
              <a:gd name="connsiteY19328" fmla="*/ 1097801 h 6557032"/>
              <a:gd name="connsiteX19329" fmla="*/ 326853 w 4610101"/>
              <a:gd name="connsiteY19329" fmla="*/ 1097345 h 6557032"/>
              <a:gd name="connsiteX19330" fmla="*/ 322525 w 4610101"/>
              <a:gd name="connsiteY19330" fmla="*/ 1097801 h 6557032"/>
              <a:gd name="connsiteX19331" fmla="*/ 329814 w 4610101"/>
              <a:gd name="connsiteY19331" fmla="*/ 1099623 h 6557032"/>
              <a:gd name="connsiteX19332" fmla="*/ 326853 w 4610101"/>
              <a:gd name="connsiteY19332" fmla="*/ 1097345 h 6557032"/>
              <a:gd name="connsiteX19333" fmla="*/ 3024809 w 4610101"/>
              <a:gd name="connsiteY19333" fmla="*/ 1095979 h 6557032"/>
              <a:gd name="connsiteX19334" fmla="*/ 3030276 w 4610101"/>
              <a:gd name="connsiteY19334" fmla="*/ 1106912 h 6557032"/>
              <a:gd name="connsiteX19335" fmla="*/ 3024809 w 4610101"/>
              <a:gd name="connsiteY19335" fmla="*/ 1095979 h 6557032"/>
              <a:gd name="connsiteX19336" fmla="*/ 2884502 w 4610101"/>
              <a:gd name="connsiteY19336" fmla="*/ 1095979 h 6557032"/>
              <a:gd name="connsiteX19337" fmla="*/ 2842592 w 4610101"/>
              <a:gd name="connsiteY19337" fmla="*/ 1134245 h 6557032"/>
              <a:gd name="connsiteX19338" fmla="*/ 2855347 w 4610101"/>
              <a:gd name="connsiteY19338" fmla="*/ 1141533 h 6557032"/>
              <a:gd name="connsiteX19339" fmla="*/ 2858991 w 4610101"/>
              <a:gd name="connsiteY19339" fmla="*/ 1130600 h 6557032"/>
              <a:gd name="connsiteX19340" fmla="*/ 2862636 w 4610101"/>
              <a:gd name="connsiteY19340" fmla="*/ 1130600 h 6557032"/>
              <a:gd name="connsiteX19341" fmla="*/ 2866280 w 4610101"/>
              <a:gd name="connsiteY19341" fmla="*/ 1119667 h 6557032"/>
              <a:gd name="connsiteX19342" fmla="*/ 2864458 w 4610101"/>
              <a:gd name="connsiteY19342" fmla="*/ 1116023 h 6557032"/>
              <a:gd name="connsiteX19343" fmla="*/ 2884502 w 4610101"/>
              <a:gd name="connsiteY19343" fmla="*/ 1095979 h 6557032"/>
              <a:gd name="connsiteX19344" fmla="*/ 2283184 w 4610101"/>
              <a:gd name="connsiteY19344" fmla="*/ 1095979 h 6557032"/>
              <a:gd name="connsiteX19345" fmla="*/ 2281362 w 4610101"/>
              <a:gd name="connsiteY19345" fmla="*/ 1105090 h 6557032"/>
              <a:gd name="connsiteX19346" fmla="*/ 2292295 w 4610101"/>
              <a:gd name="connsiteY19346" fmla="*/ 1099623 h 6557032"/>
              <a:gd name="connsiteX19347" fmla="*/ 2283184 w 4610101"/>
              <a:gd name="connsiteY19347" fmla="*/ 1095979 h 6557032"/>
              <a:gd name="connsiteX19348" fmla="*/ 1313788 w 4610101"/>
              <a:gd name="connsiteY19348" fmla="*/ 1095979 h 6557032"/>
              <a:gd name="connsiteX19349" fmla="*/ 1317432 w 4610101"/>
              <a:gd name="connsiteY19349" fmla="*/ 1101445 h 6557032"/>
              <a:gd name="connsiteX19350" fmla="*/ 1306499 w 4610101"/>
              <a:gd name="connsiteY19350" fmla="*/ 1108734 h 6557032"/>
              <a:gd name="connsiteX19351" fmla="*/ 1313788 w 4610101"/>
              <a:gd name="connsiteY19351" fmla="*/ 1095979 h 6557032"/>
              <a:gd name="connsiteX19352" fmla="*/ 1171658 w 4610101"/>
              <a:gd name="connsiteY19352" fmla="*/ 1095979 h 6557032"/>
              <a:gd name="connsiteX19353" fmla="*/ 1158903 w 4610101"/>
              <a:gd name="connsiteY19353" fmla="*/ 1099623 h 6557032"/>
              <a:gd name="connsiteX19354" fmla="*/ 1153436 w 4610101"/>
              <a:gd name="connsiteY19354" fmla="*/ 1103268 h 6557032"/>
              <a:gd name="connsiteX19355" fmla="*/ 1162547 w 4610101"/>
              <a:gd name="connsiteY19355" fmla="*/ 1106912 h 6557032"/>
              <a:gd name="connsiteX19356" fmla="*/ 1171658 w 4610101"/>
              <a:gd name="connsiteY19356" fmla="*/ 1095979 h 6557032"/>
              <a:gd name="connsiteX19357" fmla="*/ 968258 w 4610101"/>
              <a:gd name="connsiteY19357" fmla="*/ 1094840 h 6557032"/>
              <a:gd name="connsiteX19358" fmla="*/ 969397 w 4610101"/>
              <a:gd name="connsiteY19358" fmla="*/ 1097801 h 6557032"/>
              <a:gd name="connsiteX19359" fmla="*/ 971219 w 4610101"/>
              <a:gd name="connsiteY19359" fmla="*/ 1095979 h 6557032"/>
              <a:gd name="connsiteX19360" fmla="*/ 968258 w 4610101"/>
              <a:gd name="connsiteY19360" fmla="*/ 1094840 h 6557032"/>
              <a:gd name="connsiteX19361" fmla="*/ 3604260 w 4610101"/>
              <a:gd name="connsiteY19361" fmla="*/ 1094157 h 6557032"/>
              <a:gd name="connsiteX19362" fmla="*/ 3598794 w 4610101"/>
              <a:gd name="connsiteY19362" fmla="*/ 1099623 h 6557032"/>
              <a:gd name="connsiteX19363" fmla="*/ 3604260 w 4610101"/>
              <a:gd name="connsiteY19363" fmla="*/ 1110556 h 6557032"/>
              <a:gd name="connsiteX19364" fmla="*/ 3611549 w 4610101"/>
              <a:gd name="connsiteY19364" fmla="*/ 1110556 h 6557032"/>
              <a:gd name="connsiteX19365" fmla="*/ 3604260 w 4610101"/>
              <a:gd name="connsiteY19365" fmla="*/ 1094157 h 6557032"/>
              <a:gd name="connsiteX19366" fmla="*/ 841845 w 4610101"/>
              <a:gd name="connsiteY19366" fmla="*/ 1094157 h 6557032"/>
              <a:gd name="connsiteX19367" fmla="*/ 834556 w 4610101"/>
              <a:gd name="connsiteY19367" fmla="*/ 1101445 h 6557032"/>
              <a:gd name="connsiteX19368" fmla="*/ 843667 w 4610101"/>
              <a:gd name="connsiteY19368" fmla="*/ 1097801 h 6557032"/>
              <a:gd name="connsiteX19369" fmla="*/ 841845 w 4610101"/>
              <a:gd name="connsiteY19369" fmla="*/ 1094157 h 6557032"/>
              <a:gd name="connsiteX19370" fmla="*/ 573985 w 4610101"/>
              <a:gd name="connsiteY19370" fmla="*/ 1094157 h 6557032"/>
              <a:gd name="connsiteX19371" fmla="*/ 581274 w 4610101"/>
              <a:gd name="connsiteY19371" fmla="*/ 1099623 h 6557032"/>
              <a:gd name="connsiteX19372" fmla="*/ 583096 w 4610101"/>
              <a:gd name="connsiteY19372" fmla="*/ 1097801 h 6557032"/>
              <a:gd name="connsiteX19373" fmla="*/ 573985 w 4610101"/>
              <a:gd name="connsiteY19373" fmla="*/ 1094157 h 6557032"/>
              <a:gd name="connsiteX19374" fmla="*/ 461010 w 4610101"/>
              <a:gd name="connsiteY19374" fmla="*/ 1094157 h 6557032"/>
              <a:gd name="connsiteX19375" fmla="*/ 464655 w 4610101"/>
              <a:gd name="connsiteY19375" fmla="*/ 1099623 h 6557032"/>
              <a:gd name="connsiteX19376" fmla="*/ 461010 w 4610101"/>
              <a:gd name="connsiteY19376" fmla="*/ 1094157 h 6557032"/>
              <a:gd name="connsiteX19377" fmla="*/ 399056 w 4610101"/>
              <a:gd name="connsiteY19377" fmla="*/ 1094157 h 6557032"/>
              <a:gd name="connsiteX19378" fmla="*/ 404523 w 4610101"/>
              <a:gd name="connsiteY19378" fmla="*/ 1099623 h 6557032"/>
              <a:gd name="connsiteX19379" fmla="*/ 399056 w 4610101"/>
              <a:gd name="connsiteY19379" fmla="*/ 1094157 h 6557032"/>
              <a:gd name="connsiteX19380" fmla="*/ 176751 w 4610101"/>
              <a:gd name="connsiteY19380" fmla="*/ 1094157 h 6557032"/>
              <a:gd name="connsiteX19381" fmla="*/ 184040 w 4610101"/>
              <a:gd name="connsiteY19381" fmla="*/ 1099623 h 6557032"/>
              <a:gd name="connsiteX19382" fmla="*/ 176751 w 4610101"/>
              <a:gd name="connsiteY19382" fmla="*/ 1094157 h 6557032"/>
              <a:gd name="connsiteX19383" fmla="*/ 3030457 w 4610101"/>
              <a:gd name="connsiteY19383" fmla="*/ 1093069 h 6557032"/>
              <a:gd name="connsiteX19384" fmla="*/ 3035287 w 4610101"/>
              <a:gd name="connsiteY19384" fmla="*/ 1094840 h 6557032"/>
              <a:gd name="connsiteX19385" fmla="*/ 3033920 w 4610101"/>
              <a:gd name="connsiteY19385" fmla="*/ 1095979 h 6557032"/>
              <a:gd name="connsiteX19386" fmla="*/ 3591505 w 4610101"/>
              <a:gd name="connsiteY19386" fmla="*/ 1092335 h 6557032"/>
              <a:gd name="connsiteX19387" fmla="*/ 3587861 w 4610101"/>
              <a:gd name="connsiteY19387" fmla="*/ 1097801 h 6557032"/>
              <a:gd name="connsiteX19388" fmla="*/ 3591505 w 4610101"/>
              <a:gd name="connsiteY19388" fmla="*/ 1097801 h 6557032"/>
              <a:gd name="connsiteX19389" fmla="*/ 3591505 w 4610101"/>
              <a:gd name="connsiteY19389" fmla="*/ 1092335 h 6557032"/>
              <a:gd name="connsiteX19390" fmla="*/ 3177872 w 4610101"/>
              <a:gd name="connsiteY19390" fmla="*/ 1092335 h 6557032"/>
              <a:gd name="connsiteX19391" fmla="*/ 3166939 w 4610101"/>
              <a:gd name="connsiteY19391" fmla="*/ 1119667 h 6557032"/>
              <a:gd name="connsiteX19392" fmla="*/ 3179694 w 4610101"/>
              <a:gd name="connsiteY19392" fmla="*/ 1099623 h 6557032"/>
              <a:gd name="connsiteX19393" fmla="*/ 3177872 w 4610101"/>
              <a:gd name="connsiteY19393" fmla="*/ 1105090 h 6557032"/>
              <a:gd name="connsiteX19394" fmla="*/ 3177872 w 4610101"/>
              <a:gd name="connsiteY19394" fmla="*/ 1092335 h 6557032"/>
              <a:gd name="connsiteX19395" fmla="*/ 3088585 w 4610101"/>
              <a:gd name="connsiteY19395" fmla="*/ 1092335 h 6557032"/>
              <a:gd name="connsiteX19396" fmla="*/ 3095874 w 4610101"/>
              <a:gd name="connsiteY19396" fmla="*/ 1106912 h 6557032"/>
              <a:gd name="connsiteX19397" fmla="*/ 3090407 w 4610101"/>
              <a:gd name="connsiteY19397" fmla="*/ 1106912 h 6557032"/>
              <a:gd name="connsiteX19398" fmla="*/ 3079474 w 4610101"/>
              <a:gd name="connsiteY19398" fmla="*/ 1114201 h 6557032"/>
              <a:gd name="connsiteX19399" fmla="*/ 3081297 w 4610101"/>
              <a:gd name="connsiteY19399" fmla="*/ 1119667 h 6557032"/>
              <a:gd name="connsiteX19400" fmla="*/ 3074008 w 4610101"/>
              <a:gd name="connsiteY19400" fmla="*/ 1128778 h 6557032"/>
              <a:gd name="connsiteX19401" fmla="*/ 3072642 w 4610101"/>
              <a:gd name="connsiteY19401" fmla="*/ 1125133 h 6557032"/>
              <a:gd name="connsiteX19402" fmla="*/ 3070487 w 4610101"/>
              <a:gd name="connsiteY19402" fmla="*/ 1123218 h 6557032"/>
              <a:gd name="connsiteX19403" fmla="*/ 3070819 w 4610101"/>
              <a:gd name="connsiteY19403" fmla="*/ 1118073 h 6557032"/>
              <a:gd name="connsiteX19404" fmla="*/ 3079474 w 4610101"/>
              <a:gd name="connsiteY19404" fmla="*/ 1112378 h 6557032"/>
              <a:gd name="connsiteX19405" fmla="*/ 3077652 w 4610101"/>
              <a:gd name="connsiteY19405" fmla="*/ 1097801 h 6557032"/>
              <a:gd name="connsiteX19406" fmla="*/ 3090407 w 4610101"/>
              <a:gd name="connsiteY19406" fmla="*/ 1105090 h 6557032"/>
              <a:gd name="connsiteX19407" fmla="*/ 3083119 w 4610101"/>
              <a:gd name="connsiteY19407" fmla="*/ 1094157 h 6557032"/>
              <a:gd name="connsiteX19408" fmla="*/ 3088585 w 4610101"/>
              <a:gd name="connsiteY19408" fmla="*/ 1092335 h 6557032"/>
              <a:gd name="connsiteX19409" fmla="*/ 2532822 w 4610101"/>
              <a:gd name="connsiteY19409" fmla="*/ 1092335 h 6557032"/>
              <a:gd name="connsiteX19410" fmla="*/ 2538289 w 4610101"/>
              <a:gd name="connsiteY19410" fmla="*/ 1101445 h 6557032"/>
              <a:gd name="connsiteX19411" fmla="*/ 2540111 w 4610101"/>
              <a:gd name="connsiteY19411" fmla="*/ 1092335 h 6557032"/>
              <a:gd name="connsiteX19412" fmla="*/ 2532822 w 4610101"/>
              <a:gd name="connsiteY19412" fmla="*/ 1092335 h 6557032"/>
              <a:gd name="connsiteX19413" fmla="*/ 1494183 w 4610101"/>
              <a:gd name="connsiteY19413" fmla="*/ 1092335 h 6557032"/>
              <a:gd name="connsiteX19414" fmla="*/ 1497827 w 4610101"/>
              <a:gd name="connsiteY19414" fmla="*/ 1092335 h 6557032"/>
              <a:gd name="connsiteX19415" fmla="*/ 1497827 w 4610101"/>
              <a:gd name="connsiteY19415" fmla="*/ 1114201 h 6557032"/>
              <a:gd name="connsiteX19416" fmla="*/ 1501472 w 4610101"/>
              <a:gd name="connsiteY19416" fmla="*/ 1116023 h 6557032"/>
              <a:gd name="connsiteX19417" fmla="*/ 1503294 w 4610101"/>
              <a:gd name="connsiteY19417" fmla="*/ 1121489 h 6557032"/>
              <a:gd name="connsiteX19418" fmla="*/ 1499819 w 4610101"/>
              <a:gd name="connsiteY19418" fmla="*/ 1125542 h 6557032"/>
              <a:gd name="connsiteX19419" fmla="*/ 1497827 w 4610101"/>
              <a:gd name="connsiteY19419" fmla="*/ 1116023 h 6557032"/>
              <a:gd name="connsiteX19420" fmla="*/ 1486895 w 4610101"/>
              <a:gd name="connsiteY19420" fmla="*/ 1125134 h 6557032"/>
              <a:gd name="connsiteX19421" fmla="*/ 1496006 w 4610101"/>
              <a:gd name="connsiteY19421" fmla="*/ 1097801 h 6557032"/>
              <a:gd name="connsiteX19422" fmla="*/ 1494183 w 4610101"/>
              <a:gd name="connsiteY19422" fmla="*/ 1099623 h 6557032"/>
              <a:gd name="connsiteX19423" fmla="*/ 1494183 w 4610101"/>
              <a:gd name="connsiteY19423" fmla="*/ 1092335 h 6557032"/>
              <a:gd name="connsiteX19424" fmla="*/ 938420 w 4610101"/>
              <a:gd name="connsiteY19424" fmla="*/ 1092335 h 6557032"/>
              <a:gd name="connsiteX19425" fmla="*/ 934777 w 4610101"/>
              <a:gd name="connsiteY19425" fmla="*/ 1099623 h 6557032"/>
              <a:gd name="connsiteX19426" fmla="*/ 938420 w 4610101"/>
              <a:gd name="connsiteY19426" fmla="*/ 1092335 h 6557032"/>
              <a:gd name="connsiteX19427" fmla="*/ 847311 w 4610101"/>
              <a:gd name="connsiteY19427" fmla="*/ 1092335 h 6557032"/>
              <a:gd name="connsiteX19428" fmla="*/ 847311 w 4610101"/>
              <a:gd name="connsiteY19428" fmla="*/ 1095979 h 6557032"/>
              <a:gd name="connsiteX19429" fmla="*/ 852778 w 4610101"/>
              <a:gd name="connsiteY19429" fmla="*/ 1094157 h 6557032"/>
              <a:gd name="connsiteX19430" fmla="*/ 847311 w 4610101"/>
              <a:gd name="connsiteY19430" fmla="*/ 1092335 h 6557032"/>
              <a:gd name="connsiteX19431" fmla="*/ 488343 w 4610101"/>
              <a:gd name="connsiteY19431" fmla="*/ 1092335 h 6557032"/>
              <a:gd name="connsiteX19432" fmla="*/ 506565 w 4610101"/>
              <a:gd name="connsiteY19432" fmla="*/ 1101445 h 6557032"/>
              <a:gd name="connsiteX19433" fmla="*/ 488343 w 4610101"/>
              <a:gd name="connsiteY19433" fmla="*/ 1092335 h 6557032"/>
              <a:gd name="connsiteX19434" fmla="*/ 353502 w 4610101"/>
              <a:gd name="connsiteY19434" fmla="*/ 1092335 h 6557032"/>
              <a:gd name="connsiteX19435" fmla="*/ 360791 w 4610101"/>
              <a:gd name="connsiteY19435" fmla="*/ 1094157 h 6557032"/>
              <a:gd name="connsiteX19436" fmla="*/ 353502 w 4610101"/>
              <a:gd name="connsiteY19436" fmla="*/ 1092335 h 6557032"/>
              <a:gd name="connsiteX19437" fmla="*/ 225950 w 4610101"/>
              <a:gd name="connsiteY19437" fmla="*/ 1092335 h 6557032"/>
              <a:gd name="connsiteX19438" fmla="*/ 235061 w 4610101"/>
              <a:gd name="connsiteY19438" fmla="*/ 1099623 h 6557032"/>
              <a:gd name="connsiteX19439" fmla="*/ 225950 w 4610101"/>
              <a:gd name="connsiteY19439" fmla="*/ 1092335 h 6557032"/>
              <a:gd name="connsiteX19440" fmla="*/ 3271030 w 4610101"/>
              <a:gd name="connsiteY19440" fmla="*/ 1092334 h 6557032"/>
              <a:gd name="connsiteX19441" fmla="*/ 3263514 w 4610101"/>
              <a:gd name="connsiteY19441" fmla="*/ 1092335 h 6557032"/>
              <a:gd name="connsiteX19442" fmla="*/ 3274447 w 4610101"/>
              <a:gd name="connsiteY19442" fmla="*/ 1097801 h 6557032"/>
              <a:gd name="connsiteX19443" fmla="*/ 3271030 w 4610101"/>
              <a:gd name="connsiteY19443" fmla="*/ 1092334 h 6557032"/>
              <a:gd name="connsiteX19444" fmla="*/ 3191842 w 4610101"/>
              <a:gd name="connsiteY19444" fmla="*/ 1091120 h 6557032"/>
              <a:gd name="connsiteX19445" fmla="*/ 3192677 w 4610101"/>
              <a:gd name="connsiteY19445" fmla="*/ 1091196 h 6557032"/>
              <a:gd name="connsiteX19446" fmla="*/ 3193056 w 4610101"/>
              <a:gd name="connsiteY19446" fmla="*/ 1091727 h 6557032"/>
              <a:gd name="connsiteX19447" fmla="*/ 3627949 w 4610101"/>
              <a:gd name="connsiteY19447" fmla="*/ 1090512 h 6557032"/>
              <a:gd name="connsiteX19448" fmla="*/ 3629771 w 4610101"/>
              <a:gd name="connsiteY19448" fmla="*/ 1105090 h 6557032"/>
              <a:gd name="connsiteX19449" fmla="*/ 3627949 w 4610101"/>
              <a:gd name="connsiteY19449" fmla="*/ 1090512 h 6557032"/>
              <a:gd name="connsiteX19450" fmla="*/ 3617016 w 4610101"/>
              <a:gd name="connsiteY19450" fmla="*/ 1090512 h 6557032"/>
              <a:gd name="connsiteX19451" fmla="*/ 3606082 w 4610101"/>
              <a:gd name="connsiteY19451" fmla="*/ 1092335 h 6557032"/>
              <a:gd name="connsiteX19452" fmla="*/ 3617016 w 4610101"/>
              <a:gd name="connsiteY19452" fmla="*/ 1095979 h 6557032"/>
              <a:gd name="connsiteX19453" fmla="*/ 3617016 w 4610101"/>
              <a:gd name="connsiteY19453" fmla="*/ 1090512 h 6557032"/>
              <a:gd name="connsiteX19454" fmla="*/ 1071439 w 4610101"/>
              <a:gd name="connsiteY19454" fmla="*/ 1090512 h 6557032"/>
              <a:gd name="connsiteX19455" fmla="*/ 1067794 w 4610101"/>
              <a:gd name="connsiteY19455" fmla="*/ 1092335 h 6557032"/>
              <a:gd name="connsiteX19456" fmla="*/ 1071439 w 4610101"/>
              <a:gd name="connsiteY19456" fmla="*/ 1099623 h 6557032"/>
              <a:gd name="connsiteX19457" fmla="*/ 1075083 w 4610101"/>
              <a:gd name="connsiteY19457" fmla="*/ 1095979 h 6557032"/>
              <a:gd name="connsiteX19458" fmla="*/ 1071439 w 4610101"/>
              <a:gd name="connsiteY19458" fmla="*/ 1090512 h 6557032"/>
              <a:gd name="connsiteX19459" fmla="*/ 774424 w 4610101"/>
              <a:gd name="connsiteY19459" fmla="*/ 1090512 h 6557032"/>
              <a:gd name="connsiteX19460" fmla="*/ 779892 w 4610101"/>
              <a:gd name="connsiteY19460" fmla="*/ 1101445 h 6557032"/>
              <a:gd name="connsiteX19461" fmla="*/ 778070 w 4610101"/>
              <a:gd name="connsiteY19461" fmla="*/ 1094157 h 6557032"/>
              <a:gd name="connsiteX19462" fmla="*/ 774424 w 4610101"/>
              <a:gd name="connsiteY19462" fmla="*/ 1090512 h 6557032"/>
              <a:gd name="connsiteX19463" fmla="*/ 552119 w 4610101"/>
              <a:gd name="connsiteY19463" fmla="*/ 1090512 h 6557032"/>
              <a:gd name="connsiteX19464" fmla="*/ 564874 w 4610101"/>
              <a:gd name="connsiteY19464" fmla="*/ 1114201 h 6557032"/>
              <a:gd name="connsiteX19465" fmla="*/ 568519 w 4610101"/>
              <a:gd name="connsiteY19465" fmla="*/ 1099623 h 6557032"/>
              <a:gd name="connsiteX19466" fmla="*/ 555763 w 4610101"/>
              <a:gd name="connsiteY19466" fmla="*/ 1095979 h 6557032"/>
              <a:gd name="connsiteX19467" fmla="*/ 559408 w 4610101"/>
              <a:gd name="connsiteY19467" fmla="*/ 1094157 h 6557032"/>
              <a:gd name="connsiteX19468" fmla="*/ 552119 w 4610101"/>
              <a:gd name="connsiteY19468" fmla="*/ 1090512 h 6557032"/>
              <a:gd name="connsiteX19469" fmla="*/ 481054 w 4610101"/>
              <a:gd name="connsiteY19469" fmla="*/ 1090512 h 6557032"/>
              <a:gd name="connsiteX19470" fmla="*/ 488343 w 4610101"/>
              <a:gd name="connsiteY19470" fmla="*/ 1097801 h 6557032"/>
              <a:gd name="connsiteX19471" fmla="*/ 488343 w 4610101"/>
              <a:gd name="connsiteY19471" fmla="*/ 1096760 h 6557032"/>
              <a:gd name="connsiteX19472" fmla="*/ 493809 w 4610101"/>
              <a:gd name="connsiteY19472" fmla="*/ 1101445 h 6557032"/>
              <a:gd name="connsiteX19473" fmla="*/ 488343 w 4610101"/>
              <a:gd name="connsiteY19473" fmla="*/ 1095979 h 6557032"/>
              <a:gd name="connsiteX19474" fmla="*/ 488343 w 4610101"/>
              <a:gd name="connsiteY19474" fmla="*/ 1096760 h 6557032"/>
              <a:gd name="connsiteX19475" fmla="*/ 386301 w 4610101"/>
              <a:gd name="connsiteY19475" fmla="*/ 1090512 h 6557032"/>
              <a:gd name="connsiteX19476" fmla="*/ 384479 w 4610101"/>
              <a:gd name="connsiteY19476" fmla="*/ 1092335 h 6557032"/>
              <a:gd name="connsiteX19477" fmla="*/ 391768 w 4610101"/>
              <a:gd name="connsiteY19477" fmla="*/ 1099623 h 6557032"/>
              <a:gd name="connsiteX19478" fmla="*/ 386301 w 4610101"/>
              <a:gd name="connsiteY19478" fmla="*/ 1090512 h 6557032"/>
              <a:gd name="connsiteX19479" fmla="*/ 205906 w 4610101"/>
              <a:gd name="connsiteY19479" fmla="*/ 1090512 h 6557032"/>
              <a:gd name="connsiteX19480" fmla="*/ 211372 w 4610101"/>
              <a:gd name="connsiteY19480" fmla="*/ 1095979 h 6557032"/>
              <a:gd name="connsiteX19481" fmla="*/ 205906 w 4610101"/>
              <a:gd name="connsiteY19481" fmla="*/ 1090512 h 6557032"/>
              <a:gd name="connsiteX19482" fmla="*/ 189506 w 4610101"/>
              <a:gd name="connsiteY19482" fmla="*/ 1090512 h 6557032"/>
              <a:gd name="connsiteX19483" fmla="*/ 204084 w 4610101"/>
              <a:gd name="connsiteY19483" fmla="*/ 1099623 h 6557032"/>
              <a:gd name="connsiteX19484" fmla="*/ 189506 w 4610101"/>
              <a:gd name="connsiteY19484" fmla="*/ 1090512 h 6557032"/>
              <a:gd name="connsiteX19485" fmla="*/ 616806 w 4610101"/>
              <a:gd name="connsiteY19485" fmla="*/ 1090057 h 6557032"/>
              <a:gd name="connsiteX19486" fmla="*/ 612251 w 4610101"/>
              <a:gd name="connsiteY19486" fmla="*/ 1090512 h 6557032"/>
              <a:gd name="connsiteX19487" fmla="*/ 619539 w 4610101"/>
              <a:gd name="connsiteY19487" fmla="*/ 1097801 h 6557032"/>
              <a:gd name="connsiteX19488" fmla="*/ 621362 w 4610101"/>
              <a:gd name="connsiteY19488" fmla="*/ 1092335 h 6557032"/>
              <a:gd name="connsiteX19489" fmla="*/ 616806 w 4610101"/>
              <a:gd name="connsiteY19489" fmla="*/ 1090057 h 6557032"/>
              <a:gd name="connsiteX19490" fmla="*/ 3075830 w 4610101"/>
              <a:gd name="connsiteY19490" fmla="*/ 1088765 h 6557032"/>
              <a:gd name="connsiteX19491" fmla="*/ 3075830 w 4610101"/>
              <a:gd name="connsiteY19491" fmla="*/ 1105165 h 6557032"/>
              <a:gd name="connsiteX19492" fmla="*/ 3059430 w 4610101"/>
              <a:gd name="connsiteY19492" fmla="*/ 1103343 h 6557032"/>
              <a:gd name="connsiteX19493" fmla="*/ 3232537 w 4610101"/>
              <a:gd name="connsiteY19493" fmla="*/ 1088690 h 6557032"/>
              <a:gd name="connsiteX19494" fmla="*/ 3225248 w 4610101"/>
              <a:gd name="connsiteY19494" fmla="*/ 1090512 h 6557032"/>
              <a:gd name="connsiteX19495" fmla="*/ 3232537 w 4610101"/>
              <a:gd name="connsiteY19495" fmla="*/ 1088690 h 6557032"/>
              <a:gd name="connsiteX19496" fmla="*/ 2297762 w 4610101"/>
              <a:gd name="connsiteY19496" fmla="*/ 1088690 h 6557032"/>
              <a:gd name="connsiteX19497" fmla="*/ 2290473 w 4610101"/>
              <a:gd name="connsiteY19497" fmla="*/ 1090512 h 6557032"/>
              <a:gd name="connsiteX19498" fmla="*/ 2297762 w 4610101"/>
              <a:gd name="connsiteY19498" fmla="*/ 1088690 h 6557032"/>
              <a:gd name="connsiteX19499" fmla="*/ 1147970 w 4610101"/>
              <a:gd name="connsiteY19499" fmla="*/ 1088690 h 6557032"/>
              <a:gd name="connsiteX19500" fmla="*/ 1131570 w 4610101"/>
              <a:gd name="connsiteY19500" fmla="*/ 1101445 h 6557032"/>
              <a:gd name="connsiteX19501" fmla="*/ 1147970 w 4610101"/>
              <a:gd name="connsiteY19501" fmla="*/ 1088690 h 6557032"/>
              <a:gd name="connsiteX19502" fmla="*/ 881933 w 4610101"/>
              <a:gd name="connsiteY19502" fmla="*/ 1088690 h 6557032"/>
              <a:gd name="connsiteX19503" fmla="*/ 878288 w 4610101"/>
              <a:gd name="connsiteY19503" fmla="*/ 1090512 h 6557032"/>
              <a:gd name="connsiteX19504" fmla="*/ 881933 w 4610101"/>
              <a:gd name="connsiteY19504" fmla="*/ 1094157 h 6557032"/>
              <a:gd name="connsiteX19505" fmla="*/ 881933 w 4610101"/>
              <a:gd name="connsiteY19505" fmla="*/ 1088690 h 6557032"/>
              <a:gd name="connsiteX19506" fmla="*/ 807223 w 4610101"/>
              <a:gd name="connsiteY19506" fmla="*/ 1088690 h 6557032"/>
              <a:gd name="connsiteX19507" fmla="*/ 810868 w 4610101"/>
              <a:gd name="connsiteY19507" fmla="*/ 1103268 h 6557032"/>
              <a:gd name="connsiteX19508" fmla="*/ 812690 w 4610101"/>
              <a:gd name="connsiteY19508" fmla="*/ 1099623 h 6557032"/>
              <a:gd name="connsiteX19509" fmla="*/ 807223 w 4610101"/>
              <a:gd name="connsiteY19509" fmla="*/ 1088690 h 6557032"/>
              <a:gd name="connsiteX19510" fmla="*/ 759848 w 4610101"/>
              <a:gd name="connsiteY19510" fmla="*/ 1088690 h 6557032"/>
              <a:gd name="connsiteX19511" fmla="*/ 761670 w 4610101"/>
              <a:gd name="connsiteY19511" fmla="*/ 1099623 h 6557032"/>
              <a:gd name="connsiteX19512" fmla="*/ 761670 w 4610101"/>
              <a:gd name="connsiteY19512" fmla="*/ 1106912 h 6557032"/>
              <a:gd name="connsiteX19513" fmla="*/ 761670 w 4610101"/>
              <a:gd name="connsiteY19513" fmla="*/ 1099623 h 6557032"/>
              <a:gd name="connsiteX19514" fmla="*/ 763491 w 4610101"/>
              <a:gd name="connsiteY19514" fmla="*/ 1090512 h 6557032"/>
              <a:gd name="connsiteX19515" fmla="*/ 759848 w 4610101"/>
              <a:gd name="connsiteY19515" fmla="*/ 1088690 h 6557032"/>
              <a:gd name="connsiteX19516" fmla="*/ 557586 w 4610101"/>
              <a:gd name="connsiteY19516" fmla="*/ 1088690 h 6557032"/>
              <a:gd name="connsiteX19517" fmla="*/ 564874 w 4610101"/>
              <a:gd name="connsiteY19517" fmla="*/ 1094157 h 6557032"/>
              <a:gd name="connsiteX19518" fmla="*/ 557586 w 4610101"/>
              <a:gd name="connsiteY19518" fmla="*/ 1088690 h 6557032"/>
              <a:gd name="connsiteX19519" fmla="*/ 413634 w 4610101"/>
              <a:gd name="connsiteY19519" fmla="*/ 1088690 h 6557032"/>
              <a:gd name="connsiteX19520" fmla="*/ 426388 w 4610101"/>
              <a:gd name="connsiteY19520" fmla="*/ 1103267 h 6557032"/>
              <a:gd name="connsiteX19521" fmla="*/ 422745 w 4610101"/>
              <a:gd name="connsiteY19521" fmla="*/ 1101445 h 6557032"/>
              <a:gd name="connsiteX19522" fmla="*/ 426389 w 4610101"/>
              <a:gd name="connsiteY19522" fmla="*/ 1106912 h 6557032"/>
              <a:gd name="connsiteX19523" fmla="*/ 430034 w 4610101"/>
              <a:gd name="connsiteY19523" fmla="*/ 1105090 h 6557032"/>
              <a:gd name="connsiteX19524" fmla="*/ 426389 w 4610101"/>
              <a:gd name="connsiteY19524" fmla="*/ 1103267 h 6557032"/>
              <a:gd name="connsiteX19525" fmla="*/ 425706 w 4610101"/>
              <a:gd name="connsiteY19525" fmla="*/ 1097801 h 6557032"/>
              <a:gd name="connsiteX19526" fmla="*/ 426389 w 4610101"/>
              <a:gd name="connsiteY19526" fmla="*/ 1092335 h 6557032"/>
              <a:gd name="connsiteX19527" fmla="*/ 440966 w 4610101"/>
              <a:gd name="connsiteY19527" fmla="*/ 1106912 h 6557032"/>
              <a:gd name="connsiteX19528" fmla="*/ 428211 w 4610101"/>
              <a:gd name="connsiteY19528" fmla="*/ 1090512 h 6557032"/>
              <a:gd name="connsiteX19529" fmla="*/ 413634 w 4610101"/>
              <a:gd name="connsiteY19529" fmla="*/ 1088690 h 6557032"/>
              <a:gd name="connsiteX19530" fmla="*/ 355552 w 4610101"/>
              <a:gd name="connsiteY19530" fmla="*/ 1088690 h 6557032"/>
              <a:gd name="connsiteX19531" fmla="*/ 353502 w 4610101"/>
              <a:gd name="connsiteY19531" fmla="*/ 1090512 h 6557032"/>
              <a:gd name="connsiteX19532" fmla="*/ 358969 w 4610101"/>
              <a:gd name="connsiteY19532" fmla="*/ 1092335 h 6557032"/>
              <a:gd name="connsiteX19533" fmla="*/ 355552 w 4610101"/>
              <a:gd name="connsiteY19533" fmla="*/ 1088690 h 6557032"/>
              <a:gd name="connsiteX19534" fmla="*/ 443927 w 4610101"/>
              <a:gd name="connsiteY19534" fmla="*/ 1088462 h 6557032"/>
              <a:gd name="connsiteX19535" fmla="*/ 439145 w 4610101"/>
              <a:gd name="connsiteY19535" fmla="*/ 1088690 h 6557032"/>
              <a:gd name="connsiteX19536" fmla="*/ 444611 w 4610101"/>
              <a:gd name="connsiteY19536" fmla="*/ 1092335 h 6557032"/>
              <a:gd name="connsiteX19537" fmla="*/ 443927 w 4610101"/>
              <a:gd name="connsiteY19537" fmla="*/ 1088462 h 6557032"/>
              <a:gd name="connsiteX19538" fmla="*/ 2268607 w 4610101"/>
              <a:gd name="connsiteY19538" fmla="*/ 1086868 h 6557032"/>
              <a:gd name="connsiteX19539" fmla="*/ 2277718 w 4610101"/>
              <a:gd name="connsiteY19539" fmla="*/ 1099623 h 6557032"/>
              <a:gd name="connsiteX19540" fmla="*/ 2275896 w 4610101"/>
              <a:gd name="connsiteY19540" fmla="*/ 1090512 h 6557032"/>
              <a:gd name="connsiteX19541" fmla="*/ 2268607 w 4610101"/>
              <a:gd name="connsiteY19541" fmla="*/ 1086868 h 6557032"/>
              <a:gd name="connsiteX19542" fmla="*/ 1177125 w 4610101"/>
              <a:gd name="connsiteY19542" fmla="*/ 1086868 h 6557032"/>
              <a:gd name="connsiteX19543" fmla="*/ 1171658 w 4610101"/>
              <a:gd name="connsiteY19543" fmla="*/ 1092335 h 6557032"/>
              <a:gd name="connsiteX19544" fmla="*/ 1177125 w 4610101"/>
              <a:gd name="connsiteY19544" fmla="*/ 1086868 h 6557032"/>
              <a:gd name="connsiteX19545" fmla="*/ 1102416 w 4610101"/>
              <a:gd name="connsiteY19545" fmla="*/ 1086868 h 6557032"/>
              <a:gd name="connsiteX19546" fmla="*/ 1104238 w 4610101"/>
              <a:gd name="connsiteY19546" fmla="*/ 1094157 h 6557032"/>
              <a:gd name="connsiteX19547" fmla="*/ 1109704 w 4610101"/>
              <a:gd name="connsiteY19547" fmla="*/ 1095979 h 6557032"/>
              <a:gd name="connsiteX19548" fmla="*/ 1111526 w 4610101"/>
              <a:gd name="connsiteY19548" fmla="*/ 1094157 h 6557032"/>
              <a:gd name="connsiteX19549" fmla="*/ 1106060 w 4610101"/>
              <a:gd name="connsiteY19549" fmla="*/ 1092335 h 6557032"/>
              <a:gd name="connsiteX19550" fmla="*/ 1102416 w 4610101"/>
              <a:gd name="connsiteY19550" fmla="*/ 1086868 h 6557032"/>
              <a:gd name="connsiteX19551" fmla="*/ 1075083 w 4610101"/>
              <a:gd name="connsiteY19551" fmla="*/ 1086868 h 6557032"/>
              <a:gd name="connsiteX19552" fmla="*/ 1073262 w 4610101"/>
              <a:gd name="connsiteY19552" fmla="*/ 1090512 h 6557032"/>
              <a:gd name="connsiteX19553" fmla="*/ 1075083 w 4610101"/>
              <a:gd name="connsiteY19553" fmla="*/ 1086868 h 6557032"/>
              <a:gd name="connsiteX19554" fmla="*/ 488343 w 4610101"/>
              <a:gd name="connsiteY19554" fmla="*/ 1086868 h 6557032"/>
              <a:gd name="connsiteX19555" fmla="*/ 491987 w 4610101"/>
              <a:gd name="connsiteY19555" fmla="*/ 1090512 h 6557032"/>
              <a:gd name="connsiteX19556" fmla="*/ 488343 w 4610101"/>
              <a:gd name="connsiteY19556" fmla="*/ 1086868 h 6557032"/>
              <a:gd name="connsiteX19557" fmla="*/ 402701 w 4610101"/>
              <a:gd name="connsiteY19557" fmla="*/ 1086868 h 6557032"/>
              <a:gd name="connsiteX19558" fmla="*/ 415456 w 4610101"/>
              <a:gd name="connsiteY19558" fmla="*/ 1103268 h 6557032"/>
              <a:gd name="connsiteX19559" fmla="*/ 402701 w 4610101"/>
              <a:gd name="connsiteY19559" fmla="*/ 1086868 h 6557032"/>
              <a:gd name="connsiteX19560" fmla="*/ 320703 w 4610101"/>
              <a:gd name="connsiteY19560" fmla="*/ 1086868 h 6557032"/>
              <a:gd name="connsiteX19561" fmla="*/ 326169 w 4610101"/>
              <a:gd name="connsiteY19561" fmla="*/ 1090512 h 6557032"/>
              <a:gd name="connsiteX19562" fmla="*/ 320703 w 4610101"/>
              <a:gd name="connsiteY19562" fmla="*/ 1086868 h 6557032"/>
              <a:gd name="connsiteX19563" fmla="*/ 215017 w 4610101"/>
              <a:gd name="connsiteY19563" fmla="*/ 1086868 h 6557032"/>
              <a:gd name="connsiteX19564" fmla="*/ 211372 w 4610101"/>
              <a:gd name="connsiteY19564" fmla="*/ 1088690 h 6557032"/>
              <a:gd name="connsiteX19565" fmla="*/ 218661 w 4610101"/>
              <a:gd name="connsiteY19565" fmla="*/ 1092335 h 6557032"/>
              <a:gd name="connsiteX19566" fmla="*/ 215017 w 4610101"/>
              <a:gd name="connsiteY19566" fmla="*/ 1086868 h 6557032"/>
              <a:gd name="connsiteX19567" fmla="*/ 3607905 w 4610101"/>
              <a:gd name="connsiteY19567" fmla="*/ 1085046 h 6557032"/>
              <a:gd name="connsiteX19568" fmla="*/ 3615193 w 4610101"/>
              <a:gd name="connsiteY19568" fmla="*/ 1085046 h 6557032"/>
              <a:gd name="connsiteX19569" fmla="*/ 3607905 w 4610101"/>
              <a:gd name="connsiteY19569" fmla="*/ 1085046 h 6557032"/>
              <a:gd name="connsiteX19570" fmla="*/ 3252581 w 4610101"/>
              <a:gd name="connsiteY19570" fmla="*/ 1085046 h 6557032"/>
              <a:gd name="connsiteX19571" fmla="*/ 3245292 w 4610101"/>
              <a:gd name="connsiteY19571" fmla="*/ 1092335 h 6557032"/>
              <a:gd name="connsiteX19572" fmla="*/ 3259869 w 4610101"/>
              <a:gd name="connsiteY19572" fmla="*/ 1086868 h 6557032"/>
              <a:gd name="connsiteX19573" fmla="*/ 3252581 w 4610101"/>
              <a:gd name="connsiteY19573" fmla="*/ 1085046 h 6557032"/>
              <a:gd name="connsiteX19574" fmla="*/ 1096949 w 4610101"/>
              <a:gd name="connsiteY19574" fmla="*/ 1085046 h 6557032"/>
              <a:gd name="connsiteX19575" fmla="*/ 1093305 w 4610101"/>
              <a:gd name="connsiteY19575" fmla="*/ 1088690 h 6557032"/>
              <a:gd name="connsiteX19576" fmla="*/ 1100593 w 4610101"/>
              <a:gd name="connsiteY19576" fmla="*/ 1086868 h 6557032"/>
              <a:gd name="connsiteX19577" fmla="*/ 1096949 w 4610101"/>
              <a:gd name="connsiteY19577" fmla="*/ 1085046 h 6557032"/>
              <a:gd name="connsiteX19578" fmla="*/ 707004 w 4610101"/>
              <a:gd name="connsiteY19578" fmla="*/ 1085046 h 6557032"/>
              <a:gd name="connsiteX19579" fmla="*/ 717937 w 4610101"/>
              <a:gd name="connsiteY19579" fmla="*/ 1101445 h 6557032"/>
              <a:gd name="connsiteX19580" fmla="*/ 707004 w 4610101"/>
              <a:gd name="connsiteY19580" fmla="*/ 1085046 h 6557032"/>
              <a:gd name="connsiteX19581" fmla="*/ 666916 w 4610101"/>
              <a:gd name="connsiteY19581" fmla="*/ 1085046 h 6557032"/>
              <a:gd name="connsiteX19582" fmla="*/ 663272 w 4610101"/>
              <a:gd name="connsiteY19582" fmla="*/ 1095979 h 6557032"/>
              <a:gd name="connsiteX19583" fmla="*/ 677849 w 4610101"/>
              <a:gd name="connsiteY19583" fmla="*/ 1095979 h 6557032"/>
              <a:gd name="connsiteX19584" fmla="*/ 666916 w 4610101"/>
              <a:gd name="connsiteY19584" fmla="*/ 1085046 h 6557032"/>
              <a:gd name="connsiteX19585" fmla="*/ 572163 w 4610101"/>
              <a:gd name="connsiteY19585" fmla="*/ 1085046 h 6557032"/>
              <a:gd name="connsiteX19586" fmla="*/ 595852 w 4610101"/>
              <a:gd name="connsiteY19586" fmla="*/ 1090512 h 6557032"/>
              <a:gd name="connsiteX19587" fmla="*/ 572163 w 4610101"/>
              <a:gd name="connsiteY19587" fmla="*/ 1085046 h 6557032"/>
              <a:gd name="connsiteX19588" fmla="*/ 563052 w 4610101"/>
              <a:gd name="connsiteY19588" fmla="*/ 1085046 h 6557032"/>
              <a:gd name="connsiteX19589" fmla="*/ 566697 w 4610101"/>
              <a:gd name="connsiteY19589" fmla="*/ 1088690 h 6557032"/>
              <a:gd name="connsiteX19590" fmla="*/ 568519 w 4610101"/>
              <a:gd name="connsiteY19590" fmla="*/ 1085046 h 6557032"/>
              <a:gd name="connsiteX19591" fmla="*/ 563052 w 4610101"/>
              <a:gd name="connsiteY19591" fmla="*/ 1085046 h 6557032"/>
              <a:gd name="connsiteX19592" fmla="*/ 535719 w 4610101"/>
              <a:gd name="connsiteY19592" fmla="*/ 1085046 h 6557032"/>
              <a:gd name="connsiteX19593" fmla="*/ 543008 w 4610101"/>
              <a:gd name="connsiteY19593" fmla="*/ 1095979 h 6557032"/>
              <a:gd name="connsiteX19594" fmla="*/ 535719 w 4610101"/>
              <a:gd name="connsiteY19594" fmla="*/ 1085046 h 6557032"/>
              <a:gd name="connsiteX19595" fmla="*/ 275149 w 4610101"/>
              <a:gd name="connsiteY19595" fmla="*/ 1085046 h 6557032"/>
              <a:gd name="connsiteX19596" fmla="*/ 291549 w 4610101"/>
              <a:gd name="connsiteY19596" fmla="*/ 1094157 h 6557032"/>
              <a:gd name="connsiteX19597" fmla="*/ 275149 w 4610101"/>
              <a:gd name="connsiteY19597" fmla="*/ 1085046 h 6557032"/>
              <a:gd name="connsiteX19598" fmla="*/ 1337957 w 4610101"/>
              <a:gd name="connsiteY19598" fmla="*/ 1084792 h 6557032"/>
              <a:gd name="connsiteX19599" fmla="*/ 1337931 w 4610101"/>
              <a:gd name="connsiteY19599" fmla="*/ 1084818 h 6557032"/>
              <a:gd name="connsiteX19600" fmla="*/ 1337826 w 4610101"/>
              <a:gd name="connsiteY19600" fmla="*/ 1084880 h 6557032"/>
              <a:gd name="connsiteX19601" fmla="*/ 1033173 w 4610101"/>
              <a:gd name="connsiteY19601" fmla="*/ 1083224 h 6557032"/>
              <a:gd name="connsiteX19602" fmla="*/ 1020418 w 4610101"/>
              <a:gd name="connsiteY19602" fmla="*/ 1099623 h 6557032"/>
              <a:gd name="connsiteX19603" fmla="*/ 1029529 w 4610101"/>
              <a:gd name="connsiteY19603" fmla="*/ 1103268 h 6557032"/>
              <a:gd name="connsiteX19604" fmla="*/ 1033173 w 4610101"/>
              <a:gd name="connsiteY19604" fmla="*/ 1095979 h 6557032"/>
              <a:gd name="connsiteX19605" fmla="*/ 1033173 w 4610101"/>
              <a:gd name="connsiteY19605" fmla="*/ 1083224 h 6557032"/>
              <a:gd name="connsiteX19606" fmla="*/ 832734 w 4610101"/>
              <a:gd name="connsiteY19606" fmla="*/ 1083224 h 6557032"/>
              <a:gd name="connsiteX19607" fmla="*/ 827267 w 4610101"/>
              <a:gd name="connsiteY19607" fmla="*/ 1097801 h 6557032"/>
              <a:gd name="connsiteX19608" fmla="*/ 832734 w 4610101"/>
              <a:gd name="connsiteY19608" fmla="*/ 1101445 h 6557032"/>
              <a:gd name="connsiteX19609" fmla="*/ 840022 w 4610101"/>
              <a:gd name="connsiteY19609" fmla="*/ 1090512 h 6557032"/>
              <a:gd name="connsiteX19610" fmla="*/ 832734 w 4610101"/>
              <a:gd name="connsiteY19610" fmla="*/ 1083224 h 6557032"/>
              <a:gd name="connsiteX19611" fmla="*/ 776246 w 4610101"/>
              <a:gd name="connsiteY19611" fmla="*/ 1083224 h 6557032"/>
              <a:gd name="connsiteX19612" fmla="*/ 780118 w 4610101"/>
              <a:gd name="connsiteY19612" fmla="*/ 1091879 h 6557032"/>
              <a:gd name="connsiteX19613" fmla="*/ 783912 w 4610101"/>
              <a:gd name="connsiteY19613" fmla="*/ 1096167 h 6557032"/>
              <a:gd name="connsiteX19614" fmla="*/ 783535 w 4610101"/>
              <a:gd name="connsiteY19614" fmla="*/ 1095979 h 6557032"/>
              <a:gd name="connsiteX19615" fmla="*/ 785357 w 4610101"/>
              <a:gd name="connsiteY19615" fmla="*/ 1097801 h 6557032"/>
              <a:gd name="connsiteX19616" fmla="*/ 783912 w 4610101"/>
              <a:gd name="connsiteY19616" fmla="*/ 1096167 h 6557032"/>
              <a:gd name="connsiteX19617" fmla="*/ 787179 w 4610101"/>
              <a:gd name="connsiteY19617" fmla="*/ 1097801 h 6557032"/>
              <a:gd name="connsiteX19618" fmla="*/ 776246 w 4610101"/>
              <a:gd name="connsiteY19618" fmla="*/ 1083224 h 6557032"/>
              <a:gd name="connsiteX19619" fmla="*/ 741626 w 4610101"/>
              <a:gd name="connsiteY19619" fmla="*/ 1083224 h 6557032"/>
              <a:gd name="connsiteX19620" fmla="*/ 745269 w 4610101"/>
              <a:gd name="connsiteY19620" fmla="*/ 1092335 h 6557032"/>
              <a:gd name="connsiteX19621" fmla="*/ 741626 w 4610101"/>
              <a:gd name="connsiteY19621" fmla="*/ 1083224 h 6557032"/>
              <a:gd name="connsiteX19622" fmla="*/ 220483 w 4610101"/>
              <a:gd name="connsiteY19622" fmla="*/ 1083224 h 6557032"/>
              <a:gd name="connsiteX19623" fmla="*/ 227772 w 4610101"/>
              <a:gd name="connsiteY19623" fmla="*/ 1090512 h 6557032"/>
              <a:gd name="connsiteX19624" fmla="*/ 220483 w 4610101"/>
              <a:gd name="connsiteY19624" fmla="*/ 1083224 h 6557032"/>
              <a:gd name="connsiteX19625" fmla="*/ 171285 w 4610101"/>
              <a:gd name="connsiteY19625" fmla="*/ 1083224 h 6557032"/>
              <a:gd name="connsiteX19626" fmla="*/ 189506 w 4610101"/>
              <a:gd name="connsiteY19626" fmla="*/ 1095979 h 6557032"/>
              <a:gd name="connsiteX19627" fmla="*/ 171285 w 4610101"/>
              <a:gd name="connsiteY19627" fmla="*/ 1083224 h 6557032"/>
              <a:gd name="connsiteX19628" fmla="*/ 2568485 w 4610101"/>
              <a:gd name="connsiteY19628" fmla="*/ 1083171 h 6557032"/>
              <a:gd name="connsiteX19629" fmla="*/ 2567671 w 4610101"/>
              <a:gd name="connsiteY19629" fmla="*/ 1084818 h 6557032"/>
              <a:gd name="connsiteX19630" fmla="*/ 2566781 w 4610101"/>
              <a:gd name="connsiteY19630" fmla="*/ 1085093 h 6557032"/>
              <a:gd name="connsiteX19631" fmla="*/ 973868 w 4610101"/>
              <a:gd name="connsiteY19631" fmla="*/ 1082939 h 6557032"/>
              <a:gd name="connsiteX19632" fmla="*/ 976686 w 4610101"/>
              <a:gd name="connsiteY19632" fmla="*/ 1097801 h 6557032"/>
              <a:gd name="connsiteX19633" fmla="*/ 976686 w 4610101"/>
              <a:gd name="connsiteY19633" fmla="*/ 1094157 h 6557032"/>
              <a:gd name="connsiteX19634" fmla="*/ 980330 w 4610101"/>
              <a:gd name="connsiteY19634" fmla="*/ 1094157 h 6557032"/>
              <a:gd name="connsiteX19635" fmla="*/ 980330 w 4610101"/>
              <a:gd name="connsiteY19635" fmla="*/ 1085046 h 6557032"/>
              <a:gd name="connsiteX19636" fmla="*/ 973868 w 4610101"/>
              <a:gd name="connsiteY19636" fmla="*/ 1082939 h 6557032"/>
              <a:gd name="connsiteX19637" fmla="*/ 3558706 w 4610101"/>
              <a:gd name="connsiteY19637" fmla="*/ 1081402 h 6557032"/>
              <a:gd name="connsiteX19638" fmla="*/ 3564173 w 4610101"/>
              <a:gd name="connsiteY19638" fmla="*/ 1090512 h 6557032"/>
              <a:gd name="connsiteX19639" fmla="*/ 3558706 w 4610101"/>
              <a:gd name="connsiteY19639" fmla="*/ 1081402 h 6557032"/>
              <a:gd name="connsiteX19640" fmla="*/ 3239826 w 4610101"/>
              <a:gd name="connsiteY19640" fmla="*/ 1081402 h 6557032"/>
              <a:gd name="connsiteX19641" fmla="*/ 3236181 w 4610101"/>
              <a:gd name="connsiteY19641" fmla="*/ 1088690 h 6557032"/>
              <a:gd name="connsiteX19642" fmla="*/ 3247114 w 4610101"/>
              <a:gd name="connsiteY19642" fmla="*/ 1081402 h 6557032"/>
              <a:gd name="connsiteX19643" fmla="*/ 3239826 w 4610101"/>
              <a:gd name="connsiteY19643" fmla="*/ 1081402 h 6557032"/>
              <a:gd name="connsiteX19644" fmla="*/ 3185160 w 4610101"/>
              <a:gd name="connsiteY19644" fmla="*/ 1081402 h 6557032"/>
              <a:gd name="connsiteX19645" fmla="*/ 3181516 w 4610101"/>
              <a:gd name="connsiteY19645" fmla="*/ 1088690 h 6557032"/>
              <a:gd name="connsiteX19646" fmla="*/ 3186982 w 4610101"/>
              <a:gd name="connsiteY19646" fmla="*/ 1088690 h 6557032"/>
              <a:gd name="connsiteX19647" fmla="*/ 3185160 w 4610101"/>
              <a:gd name="connsiteY19647" fmla="*/ 1081402 h 6557032"/>
              <a:gd name="connsiteX19648" fmla="*/ 2813437 w 4610101"/>
              <a:gd name="connsiteY19648" fmla="*/ 1081402 h 6557032"/>
              <a:gd name="connsiteX19649" fmla="*/ 2814223 w 4610101"/>
              <a:gd name="connsiteY19649" fmla="*/ 1083044 h 6557032"/>
              <a:gd name="connsiteX19650" fmla="*/ 2810650 w 4610101"/>
              <a:gd name="connsiteY19650" fmla="*/ 1087375 h 6557032"/>
              <a:gd name="connsiteX19651" fmla="*/ 2809793 w 4610101"/>
              <a:gd name="connsiteY19651" fmla="*/ 1084590 h 6557032"/>
              <a:gd name="connsiteX19652" fmla="*/ 2813437 w 4610101"/>
              <a:gd name="connsiteY19652" fmla="*/ 1081402 h 6557032"/>
              <a:gd name="connsiteX19653" fmla="*/ 1193525 w 4610101"/>
              <a:gd name="connsiteY19653" fmla="*/ 1081402 h 6557032"/>
              <a:gd name="connsiteX19654" fmla="*/ 1188058 w 4610101"/>
              <a:gd name="connsiteY19654" fmla="*/ 1088690 h 6557032"/>
              <a:gd name="connsiteX19655" fmla="*/ 1166192 w 4610101"/>
              <a:gd name="connsiteY19655" fmla="*/ 1105090 h 6557032"/>
              <a:gd name="connsiteX19656" fmla="*/ 1169836 w 4610101"/>
              <a:gd name="connsiteY19656" fmla="*/ 1106912 h 6557032"/>
              <a:gd name="connsiteX19657" fmla="*/ 1178947 w 4610101"/>
              <a:gd name="connsiteY19657" fmla="*/ 1105090 h 6557032"/>
              <a:gd name="connsiteX19658" fmla="*/ 1184414 w 4610101"/>
              <a:gd name="connsiteY19658" fmla="*/ 1099623 h 6557032"/>
              <a:gd name="connsiteX19659" fmla="*/ 1182592 w 4610101"/>
              <a:gd name="connsiteY19659" fmla="*/ 1105090 h 6557032"/>
              <a:gd name="connsiteX19660" fmla="*/ 1186236 w 4610101"/>
              <a:gd name="connsiteY19660" fmla="*/ 1099623 h 6557032"/>
              <a:gd name="connsiteX19661" fmla="*/ 1186236 w 4610101"/>
              <a:gd name="connsiteY19661" fmla="*/ 1105090 h 6557032"/>
              <a:gd name="connsiteX19662" fmla="*/ 1197169 w 4610101"/>
              <a:gd name="connsiteY19662" fmla="*/ 1092335 h 6557032"/>
              <a:gd name="connsiteX19663" fmla="*/ 1206279 w 4610101"/>
              <a:gd name="connsiteY19663" fmla="*/ 1090512 h 6557032"/>
              <a:gd name="connsiteX19664" fmla="*/ 1193525 w 4610101"/>
              <a:gd name="connsiteY19664" fmla="*/ 1081402 h 6557032"/>
              <a:gd name="connsiteX19665" fmla="*/ 1153436 w 4610101"/>
              <a:gd name="connsiteY19665" fmla="*/ 1081402 h 6557032"/>
              <a:gd name="connsiteX19666" fmla="*/ 1149792 w 4610101"/>
              <a:gd name="connsiteY19666" fmla="*/ 1085046 h 6557032"/>
              <a:gd name="connsiteX19667" fmla="*/ 1151614 w 4610101"/>
              <a:gd name="connsiteY19667" fmla="*/ 1086868 h 6557032"/>
              <a:gd name="connsiteX19668" fmla="*/ 1153436 w 4610101"/>
              <a:gd name="connsiteY19668" fmla="*/ 1081402 h 6557032"/>
              <a:gd name="connsiteX19669" fmla="*/ 823623 w 4610101"/>
              <a:gd name="connsiteY19669" fmla="*/ 1081402 h 6557032"/>
              <a:gd name="connsiteX19670" fmla="*/ 821801 w 4610101"/>
              <a:gd name="connsiteY19670" fmla="*/ 1088690 h 6557032"/>
              <a:gd name="connsiteX19671" fmla="*/ 823623 w 4610101"/>
              <a:gd name="connsiteY19671" fmla="*/ 1081402 h 6557032"/>
              <a:gd name="connsiteX19672" fmla="*/ 479232 w 4610101"/>
              <a:gd name="connsiteY19672" fmla="*/ 1081402 h 6557032"/>
              <a:gd name="connsiteX19673" fmla="*/ 484700 w 4610101"/>
              <a:gd name="connsiteY19673" fmla="*/ 1085046 h 6557032"/>
              <a:gd name="connsiteX19674" fmla="*/ 479232 w 4610101"/>
              <a:gd name="connsiteY19674" fmla="*/ 1081402 h 6557032"/>
              <a:gd name="connsiteX19675" fmla="*/ 2986543 w 4610101"/>
              <a:gd name="connsiteY19675" fmla="*/ 1079579 h 6557032"/>
              <a:gd name="connsiteX19676" fmla="*/ 2986543 w 4610101"/>
              <a:gd name="connsiteY19676" fmla="*/ 1088690 h 6557032"/>
              <a:gd name="connsiteX19677" fmla="*/ 2990188 w 4610101"/>
              <a:gd name="connsiteY19677" fmla="*/ 1083224 h 6557032"/>
              <a:gd name="connsiteX19678" fmla="*/ 2986543 w 4610101"/>
              <a:gd name="connsiteY19678" fmla="*/ 1079579 h 6557032"/>
              <a:gd name="connsiteX19679" fmla="*/ 856422 w 4610101"/>
              <a:gd name="connsiteY19679" fmla="*/ 1079579 h 6557032"/>
              <a:gd name="connsiteX19680" fmla="*/ 861889 w 4610101"/>
              <a:gd name="connsiteY19680" fmla="*/ 1092335 h 6557032"/>
              <a:gd name="connsiteX19681" fmla="*/ 865533 w 4610101"/>
              <a:gd name="connsiteY19681" fmla="*/ 1086868 h 6557032"/>
              <a:gd name="connsiteX19682" fmla="*/ 856422 w 4610101"/>
              <a:gd name="connsiteY19682" fmla="*/ 1079579 h 6557032"/>
              <a:gd name="connsiteX19683" fmla="*/ 610429 w 4610101"/>
              <a:gd name="connsiteY19683" fmla="*/ 1079579 h 6557032"/>
              <a:gd name="connsiteX19684" fmla="*/ 610429 w 4610101"/>
              <a:gd name="connsiteY19684" fmla="*/ 1086868 h 6557032"/>
              <a:gd name="connsiteX19685" fmla="*/ 621362 w 4610101"/>
              <a:gd name="connsiteY19685" fmla="*/ 1086868 h 6557032"/>
              <a:gd name="connsiteX19686" fmla="*/ 610429 w 4610101"/>
              <a:gd name="connsiteY19686" fmla="*/ 1079579 h 6557032"/>
              <a:gd name="connsiteX19687" fmla="*/ 513853 w 4610101"/>
              <a:gd name="connsiteY19687" fmla="*/ 1079579 h 6557032"/>
              <a:gd name="connsiteX19688" fmla="*/ 526609 w 4610101"/>
              <a:gd name="connsiteY19688" fmla="*/ 1094157 h 6557032"/>
              <a:gd name="connsiteX19689" fmla="*/ 526609 w 4610101"/>
              <a:gd name="connsiteY19689" fmla="*/ 1090512 h 6557032"/>
              <a:gd name="connsiteX19690" fmla="*/ 529444 w 4610101"/>
              <a:gd name="connsiteY19690" fmla="*/ 1098813 h 6557032"/>
              <a:gd name="connsiteX19691" fmla="*/ 526609 w 4610101"/>
              <a:gd name="connsiteY19691" fmla="*/ 1095979 h 6557032"/>
              <a:gd name="connsiteX19692" fmla="*/ 527292 w 4610101"/>
              <a:gd name="connsiteY19692" fmla="*/ 1098712 h 6557032"/>
              <a:gd name="connsiteX19693" fmla="*/ 530731 w 4610101"/>
              <a:gd name="connsiteY19693" fmla="*/ 1100677 h 6557032"/>
              <a:gd name="connsiteX19694" fmla="*/ 535719 w 4610101"/>
              <a:gd name="connsiteY19694" fmla="*/ 1105090 h 6557032"/>
              <a:gd name="connsiteX19695" fmla="*/ 532075 w 4610101"/>
              <a:gd name="connsiteY19695" fmla="*/ 1092335 h 6557032"/>
              <a:gd name="connsiteX19696" fmla="*/ 535719 w 4610101"/>
              <a:gd name="connsiteY19696" fmla="*/ 1092335 h 6557032"/>
              <a:gd name="connsiteX19697" fmla="*/ 513853 w 4610101"/>
              <a:gd name="connsiteY19697" fmla="*/ 1079579 h 6557032"/>
              <a:gd name="connsiteX19698" fmla="*/ 373546 w 4610101"/>
              <a:gd name="connsiteY19698" fmla="*/ 1079579 h 6557032"/>
              <a:gd name="connsiteX19699" fmla="*/ 379012 w 4610101"/>
              <a:gd name="connsiteY19699" fmla="*/ 1083224 h 6557032"/>
              <a:gd name="connsiteX19700" fmla="*/ 373546 w 4610101"/>
              <a:gd name="connsiteY19700" fmla="*/ 1079579 h 6557032"/>
              <a:gd name="connsiteX19701" fmla="*/ 178573 w 4610101"/>
              <a:gd name="connsiteY19701" fmla="*/ 1079579 h 6557032"/>
              <a:gd name="connsiteX19702" fmla="*/ 189506 w 4610101"/>
              <a:gd name="connsiteY19702" fmla="*/ 1086868 h 6557032"/>
              <a:gd name="connsiteX19703" fmla="*/ 178573 w 4610101"/>
              <a:gd name="connsiteY19703" fmla="*/ 1079579 h 6557032"/>
              <a:gd name="connsiteX19704" fmla="*/ 87465 w 4610101"/>
              <a:gd name="connsiteY19704" fmla="*/ 1079579 h 6557032"/>
              <a:gd name="connsiteX19705" fmla="*/ 142130 w 4610101"/>
              <a:gd name="connsiteY19705" fmla="*/ 1130600 h 6557032"/>
              <a:gd name="connsiteX19706" fmla="*/ 142076 w 4610101"/>
              <a:gd name="connsiteY19706" fmla="*/ 1130573 h 6557032"/>
              <a:gd name="connsiteX19707" fmla="*/ 133475 w 4610101"/>
              <a:gd name="connsiteY19707" fmla="*/ 1123539 h 6557032"/>
              <a:gd name="connsiteX19708" fmla="*/ 87465 w 4610101"/>
              <a:gd name="connsiteY19708" fmla="*/ 1079579 h 6557032"/>
              <a:gd name="connsiteX19709" fmla="*/ 843619 w 4610101"/>
              <a:gd name="connsiteY19709" fmla="*/ 1078600 h 6557032"/>
              <a:gd name="connsiteX19710" fmla="*/ 843895 w 4610101"/>
              <a:gd name="connsiteY19710" fmla="*/ 1079579 h 6557032"/>
              <a:gd name="connsiteX19711" fmla="*/ 842909 w 4610101"/>
              <a:gd name="connsiteY19711" fmla="*/ 1083084 h 6557032"/>
              <a:gd name="connsiteX19712" fmla="*/ 842072 w 4610101"/>
              <a:gd name="connsiteY19712" fmla="*/ 1082312 h 6557032"/>
              <a:gd name="connsiteX19713" fmla="*/ 3330934 w 4610101"/>
              <a:gd name="connsiteY19713" fmla="*/ 1077757 h 6557032"/>
              <a:gd name="connsiteX19714" fmla="*/ 3325468 w 4610101"/>
              <a:gd name="connsiteY19714" fmla="*/ 1079579 h 6557032"/>
              <a:gd name="connsiteX19715" fmla="*/ 3330934 w 4610101"/>
              <a:gd name="connsiteY19715" fmla="*/ 1077757 h 6557032"/>
              <a:gd name="connsiteX19716" fmla="*/ 1344765 w 4610101"/>
              <a:gd name="connsiteY19716" fmla="*/ 1077757 h 6557032"/>
              <a:gd name="connsiteX19717" fmla="*/ 1352053 w 4610101"/>
              <a:gd name="connsiteY19717" fmla="*/ 1077757 h 6557032"/>
              <a:gd name="connsiteX19718" fmla="*/ 1355698 w 4610101"/>
              <a:gd name="connsiteY19718" fmla="*/ 1077757 h 6557032"/>
              <a:gd name="connsiteX19719" fmla="*/ 1342942 w 4610101"/>
              <a:gd name="connsiteY19719" fmla="*/ 1081402 h 6557032"/>
              <a:gd name="connsiteX19720" fmla="*/ 1337957 w 4610101"/>
              <a:gd name="connsiteY19720" fmla="*/ 1084792 h 6557032"/>
              <a:gd name="connsiteX19721" fmla="*/ 1065972 w 4610101"/>
              <a:gd name="connsiteY19721" fmla="*/ 1077757 h 6557032"/>
              <a:gd name="connsiteX19722" fmla="*/ 1067794 w 4610101"/>
              <a:gd name="connsiteY19722" fmla="*/ 1079579 h 6557032"/>
              <a:gd name="connsiteX19723" fmla="*/ 1069616 w 4610101"/>
              <a:gd name="connsiteY19723" fmla="*/ 1085046 h 6557032"/>
              <a:gd name="connsiteX19724" fmla="*/ 1071439 w 4610101"/>
              <a:gd name="connsiteY19724" fmla="*/ 1081402 h 6557032"/>
              <a:gd name="connsiteX19725" fmla="*/ 1065972 w 4610101"/>
              <a:gd name="connsiteY19725" fmla="*/ 1077757 h 6557032"/>
              <a:gd name="connsiteX19726" fmla="*/ 1040462 w 4610101"/>
              <a:gd name="connsiteY19726" fmla="*/ 1077757 h 6557032"/>
              <a:gd name="connsiteX19727" fmla="*/ 1044106 w 4610101"/>
              <a:gd name="connsiteY19727" fmla="*/ 1090512 h 6557032"/>
              <a:gd name="connsiteX19728" fmla="*/ 1045929 w 4610101"/>
              <a:gd name="connsiteY19728" fmla="*/ 1086868 h 6557032"/>
              <a:gd name="connsiteX19729" fmla="*/ 1040462 w 4610101"/>
              <a:gd name="connsiteY19729" fmla="*/ 1077757 h 6557032"/>
              <a:gd name="connsiteX19730" fmla="*/ 1029529 w 4610101"/>
              <a:gd name="connsiteY19730" fmla="*/ 1077757 h 6557032"/>
              <a:gd name="connsiteX19731" fmla="*/ 1009485 w 4610101"/>
              <a:gd name="connsiteY19731" fmla="*/ 1088690 h 6557032"/>
              <a:gd name="connsiteX19732" fmla="*/ 1011307 w 4610101"/>
              <a:gd name="connsiteY19732" fmla="*/ 1094157 h 6557032"/>
              <a:gd name="connsiteX19733" fmla="*/ 1011307 w 4610101"/>
              <a:gd name="connsiteY19733" fmla="*/ 1090512 h 6557032"/>
              <a:gd name="connsiteX19734" fmla="*/ 1016774 w 4610101"/>
              <a:gd name="connsiteY19734" fmla="*/ 1095979 h 6557032"/>
              <a:gd name="connsiteX19735" fmla="*/ 1029529 w 4610101"/>
              <a:gd name="connsiteY19735" fmla="*/ 1077757 h 6557032"/>
              <a:gd name="connsiteX19736" fmla="*/ 825445 w 4610101"/>
              <a:gd name="connsiteY19736" fmla="*/ 1077757 h 6557032"/>
              <a:gd name="connsiteX19737" fmla="*/ 825445 w 4610101"/>
              <a:gd name="connsiteY19737" fmla="*/ 1088690 h 6557032"/>
              <a:gd name="connsiteX19738" fmla="*/ 830912 w 4610101"/>
              <a:gd name="connsiteY19738" fmla="*/ 1086868 h 6557032"/>
              <a:gd name="connsiteX19739" fmla="*/ 825445 w 4610101"/>
              <a:gd name="connsiteY19739" fmla="*/ 1077757 h 6557032"/>
              <a:gd name="connsiteX19740" fmla="*/ 561913 w 4610101"/>
              <a:gd name="connsiteY19740" fmla="*/ 1077757 h 6557032"/>
              <a:gd name="connsiteX19741" fmla="*/ 553941 w 4610101"/>
              <a:gd name="connsiteY19741" fmla="*/ 1079579 h 6557032"/>
              <a:gd name="connsiteX19742" fmla="*/ 568519 w 4610101"/>
              <a:gd name="connsiteY19742" fmla="*/ 1081402 h 6557032"/>
              <a:gd name="connsiteX19743" fmla="*/ 561913 w 4610101"/>
              <a:gd name="connsiteY19743" fmla="*/ 1077757 h 6557032"/>
              <a:gd name="connsiteX19744" fmla="*/ 388123 w 4610101"/>
              <a:gd name="connsiteY19744" fmla="*/ 1077757 h 6557032"/>
              <a:gd name="connsiteX19745" fmla="*/ 397234 w 4610101"/>
              <a:gd name="connsiteY19745" fmla="*/ 1086868 h 6557032"/>
              <a:gd name="connsiteX19746" fmla="*/ 393590 w 4610101"/>
              <a:gd name="connsiteY19746" fmla="*/ 1081402 h 6557032"/>
              <a:gd name="connsiteX19747" fmla="*/ 388123 w 4610101"/>
              <a:gd name="connsiteY19747" fmla="*/ 1077757 h 6557032"/>
              <a:gd name="connsiteX19748" fmla="*/ 326169 w 4610101"/>
              <a:gd name="connsiteY19748" fmla="*/ 1077757 h 6557032"/>
              <a:gd name="connsiteX19749" fmla="*/ 331636 w 4610101"/>
              <a:gd name="connsiteY19749" fmla="*/ 1085046 h 6557032"/>
              <a:gd name="connsiteX19750" fmla="*/ 326169 w 4610101"/>
              <a:gd name="connsiteY19750" fmla="*/ 1079579 h 6557032"/>
              <a:gd name="connsiteX19751" fmla="*/ 331636 w 4610101"/>
              <a:gd name="connsiteY19751" fmla="*/ 1088690 h 6557032"/>
              <a:gd name="connsiteX19752" fmla="*/ 331636 w 4610101"/>
              <a:gd name="connsiteY19752" fmla="*/ 1085046 h 6557032"/>
              <a:gd name="connsiteX19753" fmla="*/ 342569 w 4610101"/>
              <a:gd name="connsiteY19753" fmla="*/ 1092335 h 6557032"/>
              <a:gd name="connsiteX19754" fmla="*/ 326169 w 4610101"/>
              <a:gd name="connsiteY19754" fmla="*/ 1077757 h 6557032"/>
              <a:gd name="connsiteX19755" fmla="*/ 276971 w 4610101"/>
              <a:gd name="connsiteY19755" fmla="*/ 1077757 h 6557032"/>
              <a:gd name="connsiteX19756" fmla="*/ 286309 w 4610101"/>
              <a:gd name="connsiteY19756" fmla="*/ 1081857 h 6557032"/>
              <a:gd name="connsiteX19757" fmla="*/ 287018 w 4610101"/>
              <a:gd name="connsiteY19757" fmla="*/ 1082781 h 6557032"/>
              <a:gd name="connsiteX19758" fmla="*/ 260571 w 4610101"/>
              <a:gd name="connsiteY19758" fmla="*/ 1077757 h 6557032"/>
              <a:gd name="connsiteX19759" fmla="*/ 266038 w 4610101"/>
              <a:gd name="connsiteY19759" fmla="*/ 1083224 h 6557032"/>
              <a:gd name="connsiteX19760" fmla="*/ 269682 w 4610101"/>
              <a:gd name="connsiteY19760" fmla="*/ 1086868 h 6557032"/>
              <a:gd name="connsiteX19761" fmla="*/ 269226 w 4610101"/>
              <a:gd name="connsiteY19761" fmla="*/ 1085729 h 6557032"/>
              <a:gd name="connsiteX19762" fmla="*/ 266038 w 4610101"/>
              <a:gd name="connsiteY19762" fmla="*/ 1083224 h 6557032"/>
              <a:gd name="connsiteX19763" fmla="*/ 267860 w 4610101"/>
              <a:gd name="connsiteY19763" fmla="*/ 1083224 h 6557032"/>
              <a:gd name="connsiteX19764" fmla="*/ 260571 w 4610101"/>
              <a:gd name="connsiteY19764" fmla="*/ 1077757 h 6557032"/>
              <a:gd name="connsiteX19765" fmla="*/ 153063 w 4610101"/>
              <a:gd name="connsiteY19765" fmla="*/ 1077757 h 6557032"/>
              <a:gd name="connsiteX19766" fmla="*/ 171285 w 4610101"/>
              <a:gd name="connsiteY19766" fmla="*/ 1092335 h 6557032"/>
              <a:gd name="connsiteX19767" fmla="*/ 153063 w 4610101"/>
              <a:gd name="connsiteY19767" fmla="*/ 1077757 h 6557032"/>
              <a:gd name="connsiteX19768" fmla="*/ 1171658 w 4610101"/>
              <a:gd name="connsiteY19768" fmla="*/ 1075935 h 6557032"/>
              <a:gd name="connsiteX19769" fmla="*/ 1164370 w 4610101"/>
              <a:gd name="connsiteY19769" fmla="*/ 1081402 h 6557032"/>
              <a:gd name="connsiteX19770" fmla="*/ 1171658 w 4610101"/>
              <a:gd name="connsiteY19770" fmla="*/ 1075935 h 6557032"/>
              <a:gd name="connsiteX19771" fmla="*/ 1045929 w 4610101"/>
              <a:gd name="connsiteY19771" fmla="*/ 1075935 h 6557032"/>
              <a:gd name="connsiteX19772" fmla="*/ 1049573 w 4610101"/>
              <a:gd name="connsiteY19772" fmla="*/ 1081402 h 6557032"/>
              <a:gd name="connsiteX19773" fmla="*/ 1055040 w 4610101"/>
              <a:gd name="connsiteY19773" fmla="*/ 1094157 h 6557032"/>
              <a:gd name="connsiteX19774" fmla="*/ 1058683 w 4610101"/>
              <a:gd name="connsiteY19774" fmla="*/ 1092335 h 6557032"/>
              <a:gd name="connsiteX19775" fmla="*/ 1045929 w 4610101"/>
              <a:gd name="connsiteY19775" fmla="*/ 1075935 h 6557032"/>
              <a:gd name="connsiteX19776" fmla="*/ 911087 w 4610101"/>
              <a:gd name="connsiteY19776" fmla="*/ 1075935 h 6557032"/>
              <a:gd name="connsiteX19777" fmla="*/ 896510 w 4610101"/>
              <a:gd name="connsiteY19777" fmla="*/ 1081402 h 6557032"/>
              <a:gd name="connsiteX19778" fmla="*/ 911087 w 4610101"/>
              <a:gd name="connsiteY19778" fmla="*/ 1075935 h 6557032"/>
              <a:gd name="connsiteX19779" fmla="*/ 823623 w 4610101"/>
              <a:gd name="connsiteY19779" fmla="*/ 1075935 h 6557032"/>
              <a:gd name="connsiteX19780" fmla="*/ 819979 w 4610101"/>
              <a:gd name="connsiteY19780" fmla="*/ 1081402 h 6557032"/>
              <a:gd name="connsiteX19781" fmla="*/ 823623 w 4610101"/>
              <a:gd name="connsiteY19781" fmla="*/ 1075935 h 6557032"/>
              <a:gd name="connsiteX19782" fmla="*/ 763491 w 4610101"/>
              <a:gd name="connsiteY19782" fmla="*/ 1075935 h 6557032"/>
              <a:gd name="connsiteX19783" fmla="*/ 765313 w 4610101"/>
              <a:gd name="connsiteY19783" fmla="*/ 1092335 h 6557032"/>
              <a:gd name="connsiteX19784" fmla="*/ 763491 w 4610101"/>
              <a:gd name="connsiteY19784" fmla="*/ 1075935 h 6557032"/>
              <a:gd name="connsiteX19785" fmla="*/ 490165 w 4610101"/>
              <a:gd name="connsiteY19785" fmla="*/ 1075935 h 6557032"/>
              <a:gd name="connsiteX19786" fmla="*/ 488343 w 4610101"/>
              <a:gd name="connsiteY19786" fmla="*/ 1081402 h 6557032"/>
              <a:gd name="connsiteX19787" fmla="*/ 499276 w 4610101"/>
              <a:gd name="connsiteY19787" fmla="*/ 1088690 h 6557032"/>
              <a:gd name="connsiteX19788" fmla="*/ 490165 w 4610101"/>
              <a:gd name="connsiteY19788" fmla="*/ 1075935 h 6557032"/>
              <a:gd name="connsiteX19789" fmla="*/ 318882 w 4610101"/>
              <a:gd name="connsiteY19789" fmla="*/ 1075935 h 6557032"/>
              <a:gd name="connsiteX19790" fmla="*/ 322525 w 4610101"/>
              <a:gd name="connsiteY19790" fmla="*/ 1079579 h 6557032"/>
              <a:gd name="connsiteX19791" fmla="*/ 322525 w 4610101"/>
              <a:gd name="connsiteY19791" fmla="*/ 1075935 h 6557032"/>
              <a:gd name="connsiteX19792" fmla="*/ 318882 w 4610101"/>
              <a:gd name="connsiteY19792" fmla="*/ 1075935 h 6557032"/>
              <a:gd name="connsiteX19793" fmla="*/ 302481 w 4610101"/>
              <a:gd name="connsiteY19793" fmla="*/ 1075935 h 6557032"/>
              <a:gd name="connsiteX19794" fmla="*/ 311592 w 4610101"/>
              <a:gd name="connsiteY19794" fmla="*/ 1086868 h 6557032"/>
              <a:gd name="connsiteX19795" fmla="*/ 302481 w 4610101"/>
              <a:gd name="connsiteY19795" fmla="*/ 1075935 h 6557032"/>
              <a:gd name="connsiteX19796" fmla="*/ 143952 w 4610101"/>
              <a:gd name="connsiteY19796" fmla="*/ 1075935 h 6557032"/>
              <a:gd name="connsiteX19797" fmla="*/ 160352 w 4610101"/>
              <a:gd name="connsiteY19797" fmla="*/ 1090512 h 6557032"/>
              <a:gd name="connsiteX19798" fmla="*/ 143952 w 4610101"/>
              <a:gd name="connsiteY19798" fmla="*/ 1075935 h 6557032"/>
              <a:gd name="connsiteX19799" fmla="*/ 327080 w 4610101"/>
              <a:gd name="connsiteY19799" fmla="*/ 1075479 h 6557032"/>
              <a:gd name="connsiteX19800" fmla="*/ 324347 w 4610101"/>
              <a:gd name="connsiteY19800" fmla="*/ 1075935 h 6557032"/>
              <a:gd name="connsiteX19801" fmla="*/ 329814 w 4610101"/>
              <a:gd name="connsiteY19801" fmla="*/ 1077757 h 6557032"/>
              <a:gd name="connsiteX19802" fmla="*/ 327080 w 4610101"/>
              <a:gd name="connsiteY19802" fmla="*/ 1075479 h 6557032"/>
              <a:gd name="connsiteX19803" fmla="*/ 3620660 w 4610101"/>
              <a:gd name="connsiteY19803" fmla="*/ 1074113 h 6557032"/>
              <a:gd name="connsiteX19804" fmla="*/ 3633415 w 4610101"/>
              <a:gd name="connsiteY19804" fmla="*/ 1081402 h 6557032"/>
              <a:gd name="connsiteX19805" fmla="*/ 3626127 w 4610101"/>
              <a:gd name="connsiteY19805" fmla="*/ 1077757 h 6557032"/>
              <a:gd name="connsiteX19806" fmla="*/ 3631593 w 4610101"/>
              <a:gd name="connsiteY19806" fmla="*/ 1074113 h 6557032"/>
              <a:gd name="connsiteX19807" fmla="*/ 3620660 w 4610101"/>
              <a:gd name="connsiteY19807" fmla="*/ 1074113 h 6557032"/>
              <a:gd name="connsiteX19808" fmla="*/ 3106807 w 4610101"/>
              <a:gd name="connsiteY19808" fmla="*/ 1074113 h 6557032"/>
              <a:gd name="connsiteX19809" fmla="*/ 3112274 w 4610101"/>
              <a:gd name="connsiteY19809" fmla="*/ 1083224 h 6557032"/>
              <a:gd name="connsiteX19810" fmla="*/ 3106807 w 4610101"/>
              <a:gd name="connsiteY19810" fmla="*/ 1085046 h 6557032"/>
              <a:gd name="connsiteX19811" fmla="*/ 3106807 w 4610101"/>
              <a:gd name="connsiteY19811" fmla="*/ 1074113 h 6557032"/>
              <a:gd name="connsiteX19812" fmla="*/ 2997477 w 4610101"/>
              <a:gd name="connsiteY19812" fmla="*/ 1074113 h 6557032"/>
              <a:gd name="connsiteX19813" fmla="*/ 2993832 w 4610101"/>
              <a:gd name="connsiteY19813" fmla="*/ 1075935 h 6557032"/>
              <a:gd name="connsiteX19814" fmla="*/ 2992010 w 4610101"/>
              <a:gd name="connsiteY19814" fmla="*/ 1081402 h 6557032"/>
              <a:gd name="connsiteX19815" fmla="*/ 2997477 w 4610101"/>
              <a:gd name="connsiteY19815" fmla="*/ 1083224 h 6557032"/>
              <a:gd name="connsiteX19816" fmla="*/ 2995654 w 4610101"/>
              <a:gd name="connsiteY19816" fmla="*/ 1095979 h 6557032"/>
              <a:gd name="connsiteX19817" fmla="*/ 3010232 w 4610101"/>
              <a:gd name="connsiteY19817" fmla="*/ 1086868 h 6557032"/>
              <a:gd name="connsiteX19818" fmla="*/ 3015698 w 4610101"/>
              <a:gd name="connsiteY19818" fmla="*/ 1105090 h 6557032"/>
              <a:gd name="connsiteX19819" fmla="*/ 2997477 w 4610101"/>
              <a:gd name="connsiteY19819" fmla="*/ 1074113 h 6557032"/>
              <a:gd name="connsiteX19820" fmla="*/ 2264963 w 4610101"/>
              <a:gd name="connsiteY19820" fmla="*/ 1074113 h 6557032"/>
              <a:gd name="connsiteX19821" fmla="*/ 2257674 w 4610101"/>
              <a:gd name="connsiteY19821" fmla="*/ 1077757 h 6557032"/>
              <a:gd name="connsiteX19822" fmla="*/ 2264963 w 4610101"/>
              <a:gd name="connsiteY19822" fmla="*/ 1079579 h 6557032"/>
              <a:gd name="connsiteX19823" fmla="*/ 2264963 w 4610101"/>
              <a:gd name="connsiteY19823" fmla="*/ 1074113 h 6557032"/>
              <a:gd name="connsiteX19824" fmla="*/ 1182592 w 4610101"/>
              <a:gd name="connsiteY19824" fmla="*/ 1074113 h 6557032"/>
              <a:gd name="connsiteX19825" fmla="*/ 1182592 w 4610101"/>
              <a:gd name="connsiteY19825" fmla="*/ 1083224 h 6557032"/>
              <a:gd name="connsiteX19826" fmla="*/ 1181144 w 4610101"/>
              <a:gd name="connsiteY19826" fmla="*/ 1086843 h 6557032"/>
              <a:gd name="connsiteX19827" fmla="*/ 1180769 w 4610101"/>
              <a:gd name="connsiteY19827" fmla="*/ 1086868 h 6557032"/>
              <a:gd name="connsiteX19828" fmla="*/ 1181073 w 4610101"/>
              <a:gd name="connsiteY19828" fmla="*/ 1087020 h 6557032"/>
              <a:gd name="connsiteX19829" fmla="*/ 1178947 w 4610101"/>
              <a:gd name="connsiteY19829" fmla="*/ 1092335 h 6557032"/>
              <a:gd name="connsiteX19830" fmla="*/ 1184414 w 4610101"/>
              <a:gd name="connsiteY19830" fmla="*/ 1088690 h 6557032"/>
              <a:gd name="connsiteX19831" fmla="*/ 1181073 w 4610101"/>
              <a:gd name="connsiteY19831" fmla="*/ 1087020 h 6557032"/>
              <a:gd name="connsiteX19832" fmla="*/ 1181144 w 4610101"/>
              <a:gd name="connsiteY19832" fmla="*/ 1086843 h 6557032"/>
              <a:gd name="connsiteX19833" fmla="*/ 1184186 w 4610101"/>
              <a:gd name="connsiteY19833" fmla="*/ 1086640 h 6557032"/>
              <a:gd name="connsiteX19834" fmla="*/ 1186236 w 4610101"/>
              <a:gd name="connsiteY19834" fmla="*/ 1085046 h 6557032"/>
              <a:gd name="connsiteX19835" fmla="*/ 1182592 w 4610101"/>
              <a:gd name="connsiteY19835" fmla="*/ 1083224 h 6557032"/>
              <a:gd name="connsiteX19836" fmla="*/ 1188058 w 4610101"/>
              <a:gd name="connsiteY19836" fmla="*/ 1075935 h 6557032"/>
              <a:gd name="connsiteX19837" fmla="*/ 1182592 w 4610101"/>
              <a:gd name="connsiteY19837" fmla="*/ 1074113 h 6557032"/>
              <a:gd name="connsiteX19838" fmla="*/ 1180769 w 4610101"/>
              <a:gd name="connsiteY19838" fmla="*/ 1074113 h 6557032"/>
              <a:gd name="connsiteX19839" fmla="*/ 1173481 w 4610101"/>
              <a:gd name="connsiteY19839" fmla="*/ 1077757 h 6557032"/>
              <a:gd name="connsiteX19840" fmla="*/ 1178947 w 4610101"/>
              <a:gd name="connsiteY19840" fmla="*/ 1081402 h 6557032"/>
              <a:gd name="connsiteX19841" fmla="*/ 1180769 w 4610101"/>
              <a:gd name="connsiteY19841" fmla="*/ 1074113 h 6557032"/>
              <a:gd name="connsiteX19842" fmla="*/ 1133393 w 4610101"/>
              <a:gd name="connsiteY19842" fmla="*/ 1074113 h 6557032"/>
              <a:gd name="connsiteX19843" fmla="*/ 1134310 w 4610101"/>
              <a:gd name="connsiteY19843" fmla="*/ 1074571 h 6557032"/>
              <a:gd name="connsiteX19844" fmla="*/ 1132548 w 4610101"/>
              <a:gd name="connsiteY19844" fmla="*/ 1082557 h 6557032"/>
              <a:gd name="connsiteX19845" fmla="*/ 914732 w 4610101"/>
              <a:gd name="connsiteY19845" fmla="*/ 1074113 h 6557032"/>
              <a:gd name="connsiteX19846" fmla="*/ 896510 w 4610101"/>
              <a:gd name="connsiteY19846" fmla="*/ 1085046 h 6557032"/>
              <a:gd name="connsiteX19847" fmla="*/ 894688 w 4610101"/>
              <a:gd name="connsiteY19847" fmla="*/ 1088690 h 6557032"/>
              <a:gd name="connsiteX19848" fmla="*/ 920198 w 4610101"/>
              <a:gd name="connsiteY19848" fmla="*/ 1116023 h 6557032"/>
              <a:gd name="connsiteX19849" fmla="*/ 923843 w 4610101"/>
              <a:gd name="connsiteY19849" fmla="*/ 1114201 h 6557032"/>
              <a:gd name="connsiteX19850" fmla="*/ 922020 w 4610101"/>
              <a:gd name="connsiteY19850" fmla="*/ 1110556 h 6557032"/>
              <a:gd name="connsiteX19851" fmla="*/ 920198 w 4610101"/>
              <a:gd name="connsiteY19851" fmla="*/ 1116023 h 6557032"/>
              <a:gd name="connsiteX19852" fmla="*/ 911087 w 4610101"/>
              <a:gd name="connsiteY19852" fmla="*/ 1108734 h 6557032"/>
              <a:gd name="connsiteX19853" fmla="*/ 916555 w 4610101"/>
              <a:gd name="connsiteY19853" fmla="*/ 1112378 h 6557032"/>
              <a:gd name="connsiteX19854" fmla="*/ 918376 w 4610101"/>
              <a:gd name="connsiteY19854" fmla="*/ 1108734 h 6557032"/>
              <a:gd name="connsiteX19855" fmla="*/ 920198 w 4610101"/>
              <a:gd name="connsiteY19855" fmla="*/ 1110556 h 6557032"/>
              <a:gd name="connsiteX19856" fmla="*/ 920198 w 4610101"/>
              <a:gd name="connsiteY19856" fmla="*/ 1106912 h 6557032"/>
              <a:gd name="connsiteX19857" fmla="*/ 918376 w 4610101"/>
              <a:gd name="connsiteY19857" fmla="*/ 1106912 h 6557032"/>
              <a:gd name="connsiteX19858" fmla="*/ 903799 w 4610101"/>
              <a:gd name="connsiteY19858" fmla="*/ 1094157 h 6557032"/>
              <a:gd name="connsiteX19859" fmla="*/ 914732 w 4610101"/>
              <a:gd name="connsiteY19859" fmla="*/ 1090512 h 6557032"/>
              <a:gd name="connsiteX19860" fmla="*/ 911087 w 4610101"/>
              <a:gd name="connsiteY19860" fmla="*/ 1092335 h 6557032"/>
              <a:gd name="connsiteX19861" fmla="*/ 909265 w 4610101"/>
              <a:gd name="connsiteY19861" fmla="*/ 1083224 h 6557032"/>
              <a:gd name="connsiteX19862" fmla="*/ 914732 w 4610101"/>
              <a:gd name="connsiteY19862" fmla="*/ 1086868 h 6557032"/>
              <a:gd name="connsiteX19863" fmla="*/ 912909 w 4610101"/>
              <a:gd name="connsiteY19863" fmla="*/ 1083224 h 6557032"/>
              <a:gd name="connsiteX19864" fmla="*/ 914732 w 4610101"/>
              <a:gd name="connsiteY19864" fmla="*/ 1079579 h 6557032"/>
              <a:gd name="connsiteX19865" fmla="*/ 918376 w 4610101"/>
              <a:gd name="connsiteY19865" fmla="*/ 1088690 h 6557032"/>
              <a:gd name="connsiteX19866" fmla="*/ 918376 w 4610101"/>
              <a:gd name="connsiteY19866" fmla="*/ 1097801 h 6557032"/>
              <a:gd name="connsiteX19867" fmla="*/ 925666 w 4610101"/>
              <a:gd name="connsiteY19867" fmla="*/ 1101445 h 6557032"/>
              <a:gd name="connsiteX19868" fmla="*/ 918376 w 4610101"/>
              <a:gd name="connsiteY19868" fmla="*/ 1092335 h 6557032"/>
              <a:gd name="connsiteX19869" fmla="*/ 923843 w 4610101"/>
              <a:gd name="connsiteY19869" fmla="*/ 1094157 h 6557032"/>
              <a:gd name="connsiteX19870" fmla="*/ 914732 w 4610101"/>
              <a:gd name="connsiteY19870" fmla="*/ 1074113 h 6557032"/>
              <a:gd name="connsiteX19871" fmla="*/ 832734 w 4610101"/>
              <a:gd name="connsiteY19871" fmla="*/ 1074113 h 6557032"/>
              <a:gd name="connsiteX19872" fmla="*/ 836378 w 4610101"/>
              <a:gd name="connsiteY19872" fmla="*/ 1079579 h 6557032"/>
              <a:gd name="connsiteX19873" fmla="*/ 832734 w 4610101"/>
              <a:gd name="connsiteY19873" fmla="*/ 1074113 h 6557032"/>
              <a:gd name="connsiteX19874" fmla="*/ 393590 w 4610101"/>
              <a:gd name="connsiteY19874" fmla="*/ 1074113 h 6557032"/>
              <a:gd name="connsiteX19875" fmla="*/ 397234 w 4610101"/>
              <a:gd name="connsiteY19875" fmla="*/ 1074113 h 6557032"/>
              <a:gd name="connsiteX19876" fmla="*/ 393590 w 4610101"/>
              <a:gd name="connsiteY19876" fmla="*/ 1074113 h 6557032"/>
              <a:gd name="connsiteX19877" fmla="*/ 213195 w 4610101"/>
              <a:gd name="connsiteY19877" fmla="*/ 1074113 h 6557032"/>
              <a:gd name="connsiteX19878" fmla="*/ 222306 w 4610101"/>
              <a:gd name="connsiteY19878" fmla="*/ 1081402 h 6557032"/>
              <a:gd name="connsiteX19879" fmla="*/ 213195 w 4610101"/>
              <a:gd name="connsiteY19879" fmla="*/ 1074113 h 6557032"/>
              <a:gd name="connsiteX19880" fmla="*/ 145774 w 4610101"/>
              <a:gd name="connsiteY19880" fmla="*/ 1074113 h 6557032"/>
              <a:gd name="connsiteX19881" fmla="*/ 154885 w 4610101"/>
              <a:gd name="connsiteY19881" fmla="*/ 1083224 h 6557032"/>
              <a:gd name="connsiteX19882" fmla="*/ 145774 w 4610101"/>
              <a:gd name="connsiteY19882" fmla="*/ 1074113 h 6557032"/>
              <a:gd name="connsiteX19883" fmla="*/ 1134762 w 4610101"/>
              <a:gd name="connsiteY19883" fmla="*/ 1072522 h 6557032"/>
              <a:gd name="connsiteX19884" fmla="*/ 1136228 w 4610101"/>
              <a:gd name="connsiteY19884" fmla="*/ 1074720 h 6557032"/>
              <a:gd name="connsiteX19885" fmla="*/ 1136374 w 4610101"/>
              <a:gd name="connsiteY19885" fmla="*/ 1075604 h 6557032"/>
              <a:gd name="connsiteX19886" fmla="*/ 1134310 w 4610101"/>
              <a:gd name="connsiteY19886" fmla="*/ 1074571 h 6557032"/>
              <a:gd name="connsiteX19887" fmla="*/ 1195346 w 4610101"/>
              <a:gd name="connsiteY19887" fmla="*/ 1072291 h 6557032"/>
              <a:gd name="connsiteX19888" fmla="*/ 1189880 w 4610101"/>
              <a:gd name="connsiteY19888" fmla="*/ 1074113 h 6557032"/>
              <a:gd name="connsiteX19889" fmla="*/ 1195346 w 4610101"/>
              <a:gd name="connsiteY19889" fmla="*/ 1072291 h 6557032"/>
              <a:gd name="connsiteX19890" fmla="*/ 1177125 w 4610101"/>
              <a:gd name="connsiteY19890" fmla="*/ 1072291 h 6557032"/>
              <a:gd name="connsiteX19891" fmla="*/ 1173481 w 4610101"/>
              <a:gd name="connsiteY19891" fmla="*/ 1074113 h 6557032"/>
              <a:gd name="connsiteX19892" fmla="*/ 1177125 w 4610101"/>
              <a:gd name="connsiteY19892" fmla="*/ 1072291 h 6557032"/>
              <a:gd name="connsiteX19893" fmla="*/ 1075083 w 4610101"/>
              <a:gd name="connsiteY19893" fmla="*/ 1072291 h 6557032"/>
              <a:gd name="connsiteX19894" fmla="*/ 1075083 w 4610101"/>
              <a:gd name="connsiteY19894" fmla="*/ 1075935 h 6557032"/>
              <a:gd name="connsiteX19895" fmla="*/ 1078727 w 4610101"/>
              <a:gd name="connsiteY19895" fmla="*/ 1074113 h 6557032"/>
              <a:gd name="connsiteX19896" fmla="*/ 1075083 w 4610101"/>
              <a:gd name="connsiteY19896" fmla="*/ 1072291 h 6557032"/>
              <a:gd name="connsiteX19897" fmla="*/ 1053217 w 4610101"/>
              <a:gd name="connsiteY19897" fmla="*/ 1072291 h 6557032"/>
              <a:gd name="connsiteX19898" fmla="*/ 1060506 w 4610101"/>
              <a:gd name="connsiteY19898" fmla="*/ 1081402 h 6557032"/>
              <a:gd name="connsiteX19899" fmla="*/ 1053217 w 4610101"/>
              <a:gd name="connsiteY19899" fmla="*/ 1072291 h 6557032"/>
              <a:gd name="connsiteX19900" fmla="*/ 936598 w 4610101"/>
              <a:gd name="connsiteY19900" fmla="*/ 1072291 h 6557032"/>
              <a:gd name="connsiteX19901" fmla="*/ 934777 w 4610101"/>
              <a:gd name="connsiteY19901" fmla="*/ 1088690 h 6557032"/>
              <a:gd name="connsiteX19902" fmla="*/ 936598 w 4610101"/>
              <a:gd name="connsiteY19902" fmla="*/ 1072291 h 6557032"/>
              <a:gd name="connsiteX19903" fmla="*/ 495632 w 4610101"/>
              <a:gd name="connsiteY19903" fmla="*/ 1072291 h 6557032"/>
              <a:gd name="connsiteX19904" fmla="*/ 515676 w 4610101"/>
              <a:gd name="connsiteY19904" fmla="*/ 1099623 h 6557032"/>
              <a:gd name="connsiteX19905" fmla="*/ 517498 w 4610101"/>
              <a:gd name="connsiteY19905" fmla="*/ 1094157 h 6557032"/>
              <a:gd name="connsiteX19906" fmla="*/ 519320 w 4610101"/>
              <a:gd name="connsiteY19906" fmla="*/ 1094157 h 6557032"/>
              <a:gd name="connsiteX19907" fmla="*/ 524786 w 4610101"/>
              <a:gd name="connsiteY19907" fmla="*/ 1099623 h 6557032"/>
              <a:gd name="connsiteX19908" fmla="*/ 504743 w 4610101"/>
              <a:gd name="connsiteY19908" fmla="*/ 1079579 h 6557032"/>
              <a:gd name="connsiteX19909" fmla="*/ 512031 w 4610101"/>
              <a:gd name="connsiteY19909" fmla="*/ 1079579 h 6557032"/>
              <a:gd name="connsiteX19910" fmla="*/ 495632 w 4610101"/>
              <a:gd name="connsiteY19910" fmla="*/ 1072291 h 6557032"/>
              <a:gd name="connsiteX19911" fmla="*/ 431856 w 4610101"/>
              <a:gd name="connsiteY19911" fmla="*/ 1072291 h 6557032"/>
              <a:gd name="connsiteX19912" fmla="*/ 453722 w 4610101"/>
              <a:gd name="connsiteY19912" fmla="*/ 1088690 h 6557032"/>
              <a:gd name="connsiteX19913" fmla="*/ 431856 w 4610101"/>
              <a:gd name="connsiteY19913" fmla="*/ 1072291 h 6557032"/>
              <a:gd name="connsiteX19914" fmla="*/ 1009485 w 4610101"/>
              <a:gd name="connsiteY19914" fmla="*/ 1072063 h 6557032"/>
              <a:gd name="connsiteX19915" fmla="*/ 1005840 w 4610101"/>
              <a:gd name="connsiteY19915" fmla="*/ 1075935 h 6557032"/>
              <a:gd name="connsiteX19916" fmla="*/ 1013129 w 4610101"/>
              <a:gd name="connsiteY19916" fmla="*/ 1072291 h 6557032"/>
              <a:gd name="connsiteX19917" fmla="*/ 1009485 w 4610101"/>
              <a:gd name="connsiteY19917" fmla="*/ 1072063 h 6557032"/>
              <a:gd name="connsiteX19918" fmla="*/ 3567817 w 4610101"/>
              <a:gd name="connsiteY19918" fmla="*/ 1070469 h 6557032"/>
              <a:gd name="connsiteX19919" fmla="*/ 3575106 w 4610101"/>
              <a:gd name="connsiteY19919" fmla="*/ 1075935 h 6557032"/>
              <a:gd name="connsiteX19920" fmla="*/ 3567817 w 4610101"/>
              <a:gd name="connsiteY19920" fmla="*/ 1070469 h 6557032"/>
              <a:gd name="connsiteX19921" fmla="*/ 2233986 w 4610101"/>
              <a:gd name="connsiteY19921" fmla="*/ 1070469 h 6557032"/>
              <a:gd name="connsiteX19922" fmla="*/ 2235283 w 4610101"/>
              <a:gd name="connsiteY19922" fmla="*/ 1070665 h 6557032"/>
              <a:gd name="connsiteX19923" fmla="*/ 2233274 w 4610101"/>
              <a:gd name="connsiteY19923" fmla="*/ 1071418 h 6557032"/>
              <a:gd name="connsiteX19924" fmla="*/ 1133393 w 4610101"/>
              <a:gd name="connsiteY19924" fmla="*/ 1070469 h 6557032"/>
              <a:gd name="connsiteX19925" fmla="*/ 1135215 w 4610101"/>
              <a:gd name="connsiteY19925" fmla="*/ 1070469 h 6557032"/>
              <a:gd name="connsiteX19926" fmla="*/ 1134762 w 4610101"/>
              <a:gd name="connsiteY19926" fmla="*/ 1072522 h 6557032"/>
              <a:gd name="connsiteX19927" fmla="*/ 889222 w 4610101"/>
              <a:gd name="connsiteY19927" fmla="*/ 1070469 h 6557032"/>
              <a:gd name="connsiteX19928" fmla="*/ 885577 w 4610101"/>
              <a:gd name="connsiteY19928" fmla="*/ 1079579 h 6557032"/>
              <a:gd name="connsiteX19929" fmla="*/ 889222 w 4610101"/>
              <a:gd name="connsiteY19929" fmla="*/ 1070469 h 6557032"/>
              <a:gd name="connsiteX19930" fmla="*/ 834556 w 4610101"/>
              <a:gd name="connsiteY19930" fmla="*/ 1070469 h 6557032"/>
              <a:gd name="connsiteX19931" fmla="*/ 841845 w 4610101"/>
              <a:gd name="connsiteY19931" fmla="*/ 1086868 h 6557032"/>
              <a:gd name="connsiteX19932" fmla="*/ 842909 w 4610101"/>
              <a:gd name="connsiteY19932" fmla="*/ 1083084 h 6557032"/>
              <a:gd name="connsiteX19933" fmla="*/ 850956 w 4610101"/>
              <a:gd name="connsiteY19933" fmla="*/ 1090512 h 6557032"/>
              <a:gd name="connsiteX19934" fmla="*/ 847311 w 4610101"/>
              <a:gd name="connsiteY19934" fmla="*/ 1086868 h 6557032"/>
              <a:gd name="connsiteX19935" fmla="*/ 849133 w 4610101"/>
              <a:gd name="connsiteY19935" fmla="*/ 1077757 h 6557032"/>
              <a:gd name="connsiteX19936" fmla="*/ 854600 w 4610101"/>
              <a:gd name="connsiteY19936" fmla="*/ 1086868 h 6557032"/>
              <a:gd name="connsiteX19937" fmla="*/ 845489 w 4610101"/>
              <a:gd name="connsiteY19937" fmla="*/ 1074113 h 6557032"/>
              <a:gd name="connsiteX19938" fmla="*/ 843619 w 4610101"/>
              <a:gd name="connsiteY19938" fmla="*/ 1078600 h 6557032"/>
              <a:gd name="connsiteX19939" fmla="*/ 841845 w 4610101"/>
              <a:gd name="connsiteY19939" fmla="*/ 1072291 h 6557032"/>
              <a:gd name="connsiteX19940" fmla="*/ 834556 w 4610101"/>
              <a:gd name="connsiteY19940" fmla="*/ 1070469 h 6557032"/>
              <a:gd name="connsiteX19941" fmla="*/ 830912 w 4610101"/>
              <a:gd name="connsiteY19941" fmla="*/ 1070469 h 6557032"/>
              <a:gd name="connsiteX19942" fmla="*/ 827267 w 4610101"/>
              <a:gd name="connsiteY19942" fmla="*/ 1075935 h 6557032"/>
              <a:gd name="connsiteX19943" fmla="*/ 830912 w 4610101"/>
              <a:gd name="connsiteY19943" fmla="*/ 1077757 h 6557032"/>
              <a:gd name="connsiteX19944" fmla="*/ 830912 w 4610101"/>
              <a:gd name="connsiteY19944" fmla="*/ 1070469 h 6557032"/>
              <a:gd name="connsiteX19945" fmla="*/ 739803 w 4610101"/>
              <a:gd name="connsiteY19945" fmla="*/ 1070469 h 6557032"/>
              <a:gd name="connsiteX19946" fmla="*/ 747092 w 4610101"/>
              <a:gd name="connsiteY19946" fmla="*/ 1086868 h 6557032"/>
              <a:gd name="connsiteX19947" fmla="*/ 745269 w 4610101"/>
              <a:gd name="connsiteY19947" fmla="*/ 1072291 h 6557032"/>
              <a:gd name="connsiteX19948" fmla="*/ 739803 w 4610101"/>
              <a:gd name="connsiteY19948" fmla="*/ 1070469 h 6557032"/>
              <a:gd name="connsiteX19949" fmla="*/ 570341 w 4610101"/>
              <a:gd name="connsiteY19949" fmla="*/ 1070469 h 6557032"/>
              <a:gd name="connsiteX19950" fmla="*/ 579452 w 4610101"/>
              <a:gd name="connsiteY19950" fmla="*/ 1075935 h 6557032"/>
              <a:gd name="connsiteX19951" fmla="*/ 573985 w 4610101"/>
              <a:gd name="connsiteY19951" fmla="*/ 1070469 h 6557032"/>
              <a:gd name="connsiteX19952" fmla="*/ 570341 w 4610101"/>
              <a:gd name="connsiteY19952" fmla="*/ 1070469 h 6557032"/>
              <a:gd name="connsiteX19953" fmla="*/ 386301 w 4610101"/>
              <a:gd name="connsiteY19953" fmla="*/ 1070469 h 6557032"/>
              <a:gd name="connsiteX19954" fmla="*/ 380835 w 4610101"/>
              <a:gd name="connsiteY19954" fmla="*/ 1072291 h 6557032"/>
              <a:gd name="connsiteX19955" fmla="*/ 386301 w 4610101"/>
              <a:gd name="connsiteY19955" fmla="*/ 1070469 h 6557032"/>
              <a:gd name="connsiteX19956" fmla="*/ 258749 w 4610101"/>
              <a:gd name="connsiteY19956" fmla="*/ 1070469 h 6557032"/>
              <a:gd name="connsiteX19957" fmla="*/ 269682 w 4610101"/>
              <a:gd name="connsiteY19957" fmla="*/ 1079579 h 6557032"/>
              <a:gd name="connsiteX19958" fmla="*/ 258749 w 4610101"/>
              <a:gd name="connsiteY19958" fmla="*/ 1070469 h 6557032"/>
              <a:gd name="connsiteX19959" fmla="*/ 204084 w 4610101"/>
              <a:gd name="connsiteY19959" fmla="*/ 1070469 h 6557032"/>
              <a:gd name="connsiteX19960" fmla="*/ 209550 w 4610101"/>
              <a:gd name="connsiteY19960" fmla="*/ 1074113 h 6557032"/>
              <a:gd name="connsiteX19961" fmla="*/ 204084 w 4610101"/>
              <a:gd name="connsiteY19961" fmla="*/ 1070469 h 6557032"/>
              <a:gd name="connsiteX19962" fmla="*/ 1096949 w 4610101"/>
              <a:gd name="connsiteY19962" fmla="*/ 1070468 h 6557032"/>
              <a:gd name="connsiteX19963" fmla="*/ 1087838 w 4610101"/>
              <a:gd name="connsiteY19963" fmla="*/ 1075935 h 6557032"/>
              <a:gd name="connsiteX19964" fmla="*/ 1087838 w 4610101"/>
              <a:gd name="connsiteY19964" fmla="*/ 1079579 h 6557032"/>
              <a:gd name="connsiteX19965" fmla="*/ 1089660 w 4610101"/>
              <a:gd name="connsiteY19965" fmla="*/ 1075935 h 6557032"/>
              <a:gd name="connsiteX19966" fmla="*/ 1093305 w 4610101"/>
              <a:gd name="connsiteY19966" fmla="*/ 1079579 h 6557032"/>
              <a:gd name="connsiteX19967" fmla="*/ 1093305 w 4610101"/>
              <a:gd name="connsiteY19967" fmla="*/ 1075935 h 6557032"/>
              <a:gd name="connsiteX19968" fmla="*/ 1095127 w 4610101"/>
              <a:gd name="connsiteY19968" fmla="*/ 1081402 h 6557032"/>
              <a:gd name="connsiteX19969" fmla="*/ 1106060 w 4610101"/>
              <a:gd name="connsiteY19969" fmla="*/ 1075935 h 6557032"/>
              <a:gd name="connsiteX19970" fmla="*/ 1106060 w 4610101"/>
              <a:gd name="connsiteY19970" fmla="*/ 1070469 h 6557032"/>
              <a:gd name="connsiteX19971" fmla="*/ 1096949 w 4610101"/>
              <a:gd name="connsiteY19971" fmla="*/ 1070468 h 6557032"/>
              <a:gd name="connsiteX19972" fmla="*/ 2343487 w 4610101"/>
              <a:gd name="connsiteY19972" fmla="*/ 1069643 h 6557032"/>
              <a:gd name="connsiteX19973" fmla="*/ 2337850 w 4610101"/>
              <a:gd name="connsiteY19973" fmla="*/ 1083224 h 6557032"/>
              <a:gd name="connsiteX19974" fmla="*/ 2363360 w 4610101"/>
              <a:gd name="connsiteY19974" fmla="*/ 1103268 h 6557032"/>
              <a:gd name="connsiteX19975" fmla="*/ 2365182 w 4610101"/>
              <a:gd name="connsiteY19975" fmla="*/ 1101445 h 6557032"/>
              <a:gd name="connsiteX19976" fmla="*/ 2365182 w 4610101"/>
              <a:gd name="connsiteY19976" fmla="*/ 1103268 h 6557032"/>
              <a:gd name="connsiteX19977" fmla="*/ 2388871 w 4610101"/>
              <a:gd name="connsiteY19977" fmla="*/ 1094157 h 6557032"/>
              <a:gd name="connsiteX19978" fmla="*/ 2383404 w 4610101"/>
              <a:gd name="connsiteY19978" fmla="*/ 1074113 h 6557032"/>
              <a:gd name="connsiteX19979" fmla="*/ 2381582 w 4610101"/>
              <a:gd name="connsiteY19979" fmla="*/ 1081402 h 6557032"/>
              <a:gd name="connsiteX19980" fmla="*/ 2367004 w 4610101"/>
              <a:gd name="connsiteY19980" fmla="*/ 1079579 h 6557032"/>
              <a:gd name="connsiteX19981" fmla="*/ 2367004 w 4610101"/>
              <a:gd name="connsiteY19981" fmla="*/ 1083224 h 6557032"/>
              <a:gd name="connsiteX19982" fmla="*/ 2359716 w 4610101"/>
              <a:gd name="connsiteY19982" fmla="*/ 1075935 h 6557032"/>
              <a:gd name="connsiteX19983" fmla="*/ 2346960 w 4610101"/>
              <a:gd name="connsiteY19983" fmla="*/ 1077757 h 6557032"/>
              <a:gd name="connsiteX19984" fmla="*/ 2348782 w 4610101"/>
              <a:gd name="connsiteY19984" fmla="*/ 1070469 h 6557032"/>
              <a:gd name="connsiteX19985" fmla="*/ 2343487 w 4610101"/>
              <a:gd name="connsiteY19985" fmla="*/ 1069643 h 6557032"/>
              <a:gd name="connsiteX19986" fmla="*/ 2317806 w 4610101"/>
              <a:gd name="connsiteY19986" fmla="*/ 1068646 h 6557032"/>
              <a:gd name="connsiteX19987" fmla="*/ 2321450 w 4610101"/>
              <a:gd name="connsiteY19987" fmla="*/ 1075935 h 6557032"/>
              <a:gd name="connsiteX19988" fmla="*/ 2321450 w 4610101"/>
              <a:gd name="connsiteY19988" fmla="*/ 1068646 h 6557032"/>
              <a:gd name="connsiteX19989" fmla="*/ 2317806 w 4610101"/>
              <a:gd name="connsiteY19989" fmla="*/ 1068646 h 6557032"/>
              <a:gd name="connsiteX19990" fmla="*/ 1162547 w 4610101"/>
              <a:gd name="connsiteY19990" fmla="*/ 1068646 h 6557032"/>
              <a:gd name="connsiteX19991" fmla="*/ 1157081 w 4610101"/>
              <a:gd name="connsiteY19991" fmla="*/ 1077757 h 6557032"/>
              <a:gd name="connsiteX19992" fmla="*/ 1166192 w 4610101"/>
              <a:gd name="connsiteY19992" fmla="*/ 1070469 h 6557032"/>
              <a:gd name="connsiteX19993" fmla="*/ 1162547 w 4610101"/>
              <a:gd name="connsiteY19993" fmla="*/ 1068646 h 6557032"/>
              <a:gd name="connsiteX19994" fmla="*/ 1113349 w 4610101"/>
              <a:gd name="connsiteY19994" fmla="*/ 1068646 h 6557032"/>
              <a:gd name="connsiteX19995" fmla="*/ 1121509 w 4610101"/>
              <a:gd name="connsiteY19995" fmla="*/ 1073379 h 6557032"/>
              <a:gd name="connsiteX19996" fmla="*/ 1120637 w 4610101"/>
              <a:gd name="connsiteY19996" fmla="*/ 1074113 h 6557032"/>
              <a:gd name="connsiteX19997" fmla="*/ 1113349 w 4610101"/>
              <a:gd name="connsiteY19997" fmla="*/ 1068646 h 6557032"/>
              <a:gd name="connsiteX19998" fmla="*/ 1065972 w 4610101"/>
              <a:gd name="connsiteY19998" fmla="*/ 1068646 h 6557032"/>
              <a:gd name="connsiteX19999" fmla="*/ 1064151 w 4610101"/>
              <a:gd name="connsiteY19999" fmla="*/ 1075935 h 6557032"/>
              <a:gd name="connsiteX20000" fmla="*/ 1071439 w 4610101"/>
              <a:gd name="connsiteY20000" fmla="*/ 1077757 h 6557032"/>
              <a:gd name="connsiteX20001" fmla="*/ 1071439 w 4610101"/>
              <a:gd name="connsiteY20001" fmla="*/ 1070469 h 6557032"/>
              <a:gd name="connsiteX20002" fmla="*/ 1065972 w 4610101"/>
              <a:gd name="connsiteY20002" fmla="*/ 1068646 h 6557032"/>
              <a:gd name="connsiteX20003" fmla="*/ 1060506 w 4610101"/>
              <a:gd name="connsiteY20003" fmla="*/ 1068646 h 6557032"/>
              <a:gd name="connsiteX20004" fmla="*/ 1055040 w 4610101"/>
              <a:gd name="connsiteY20004" fmla="*/ 1070469 h 6557032"/>
              <a:gd name="connsiteX20005" fmla="*/ 1060506 w 4610101"/>
              <a:gd name="connsiteY20005" fmla="*/ 1074113 h 6557032"/>
              <a:gd name="connsiteX20006" fmla="*/ 1060506 w 4610101"/>
              <a:gd name="connsiteY20006" fmla="*/ 1068646 h 6557032"/>
              <a:gd name="connsiteX20007" fmla="*/ 776246 w 4610101"/>
              <a:gd name="connsiteY20007" fmla="*/ 1068646 h 6557032"/>
              <a:gd name="connsiteX20008" fmla="*/ 783535 w 4610101"/>
              <a:gd name="connsiteY20008" fmla="*/ 1081402 h 6557032"/>
              <a:gd name="connsiteX20009" fmla="*/ 787179 w 4610101"/>
              <a:gd name="connsiteY20009" fmla="*/ 1077757 h 6557032"/>
              <a:gd name="connsiteX20010" fmla="*/ 789003 w 4610101"/>
              <a:gd name="connsiteY20010" fmla="*/ 1072291 h 6557032"/>
              <a:gd name="connsiteX20011" fmla="*/ 783535 w 4610101"/>
              <a:gd name="connsiteY20011" fmla="*/ 1072291 h 6557032"/>
              <a:gd name="connsiteX20012" fmla="*/ 787179 w 4610101"/>
              <a:gd name="connsiteY20012" fmla="*/ 1077757 h 6557032"/>
              <a:gd name="connsiteX20013" fmla="*/ 776246 w 4610101"/>
              <a:gd name="connsiteY20013" fmla="*/ 1068646 h 6557032"/>
              <a:gd name="connsiteX20014" fmla="*/ 541414 w 4610101"/>
              <a:gd name="connsiteY20014" fmla="*/ 1068646 h 6557032"/>
              <a:gd name="connsiteX20015" fmla="*/ 537542 w 4610101"/>
              <a:gd name="connsiteY20015" fmla="*/ 1070469 h 6557032"/>
              <a:gd name="connsiteX20016" fmla="*/ 548475 w 4610101"/>
              <a:gd name="connsiteY20016" fmla="*/ 1081402 h 6557032"/>
              <a:gd name="connsiteX20017" fmla="*/ 550297 w 4610101"/>
              <a:gd name="connsiteY20017" fmla="*/ 1077757 h 6557032"/>
              <a:gd name="connsiteX20018" fmla="*/ 541186 w 4610101"/>
              <a:gd name="connsiteY20018" fmla="*/ 1075935 h 6557032"/>
              <a:gd name="connsiteX20019" fmla="*/ 546653 w 4610101"/>
              <a:gd name="connsiteY20019" fmla="*/ 1075935 h 6557032"/>
              <a:gd name="connsiteX20020" fmla="*/ 541186 w 4610101"/>
              <a:gd name="connsiteY20020" fmla="*/ 1072291 h 6557032"/>
              <a:gd name="connsiteX20021" fmla="*/ 546653 w 4610101"/>
              <a:gd name="connsiteY20021" fmla="*/ 1072291 h 6557032"/>
              <a:gd name="connsiteX20022" fmla="*/ 541414 w 4610101"/>
              <a:gd name="connsiteY20022" fmla="*/ 1068646 h 6557032"/>
              <a:gd name="connsiteX20023" fmla="*/ 2459935 w 4610101"/>
              <a:gd name="connsiteY20023" fmla="*/ 1066824 h 6557032"/>
              <a:gd name="connsiteX20024" fmla="*/ 2454469 w 4610101"/>
              <a:gd name="connsiteY20024" fmla="*/ 1068646 h 6557032"/>
              <a:gd name="connsiteX20025" fmla="*/ 2449002 w 4610101"/>
              <a:gd name="connsiteY20025" fmla="*/ 1081402 h 6557032"/>
              <a:gd name="connsiteX20026" fmla="*/ 2489090 w 4610101"/>
              <a:gd name="connsiteY20026" fmla="*/ 1099623 h 6557032"/>
              <a:gd name="connsiteX20027" fmla="*/ 2481801 w 4610101"/>
              <a:gd name="connsiteY20027" fmla="*/ 1095979 h 6557032"/>
              <a:gd name="connsiteX20028" fmla="*/ 2469046 w 4610101"/>
              <a:gd name="connsiteY20028" fmla="*/ 1074113 h 6557032"/>
              <a:gd name="connsiteX20029" fmla="*/ 2465402 w 4610101"/>
              <a:gd name="connsiteY20029" fmla="*/ 1081402 h 6557032"/>
              <a:gd name="connsiteX20030" fmla="*/ 2461757 w 4610101"/>
              <a:gd name="connsiteY20030" fmla="*/ 1081402 h 6557032"/>
              <a:gd name="connsiteX20031" fmla="*/ 2459935 w 4610101"/>
              <a:gd name="connsiteY20031" fmla="*/ 1066824 h 6557032"/>
              <a:gd name="connsiteX20032" fmla="*/ 1153436 w 4610101"/>
              <a:gd name="connsiteY20032" fmla="*/ 1066824 h 6557032"/>
              <a:gd name="connsiteX20033" fmla="*/ 1147970 w 4610101"/>
              <a:gd name="connsiteY20033" fmla="*/ 1068646 h 6557032"/>
              <a:gd name="connsiteX20034" fmla="*/ 1149792 w 4610101"/>
              <a:gd name="connsiteY20034" fmla="*/ 1072291 h 6557032"/>
              <a:gd name="connsiteX20035" fmla="*/ 1151614 w 4610101"/>
              <a:gd name="connsiteY20035" fmla="*/ 1068646 h 6557032"/>
              <a:gd name="connsiteX20036" fmla="*/ 1147970 w 4610101"/>
              <a:gd name="connsiteY20036" fmla="*/ 1077757 h 6557032"/>
              <a:gd name="connsiteX20037" fmla="*/ 1153436 w 4610101"/>
              <a:gd name="connsiteY20037" fmla="*/ 1074113 h 6557032"/>
              <a:gd name="connsiteX20038" fmla="*/ 1153436 w 4610101"/>
              <a:gd name="connsiteY20038" fmla="*/ 1066824 h 6557032"/>
              <a:gd name="connsiteX20039" fmla="*/ 1144326 w 4610101"/>
              <a:gd name="connsiteY20039" fmla="*/ 1066824 h 6557032"/>
              <a:gd name="connsiteX20040" fmla="*/ 1142503 w 4610101"/>
              <a:gd name="connsiteY20040" fmla="*/ 1072291 h 6557032"/>
              <a:gd name="connsiteX20041" fmla="*/ 1147970 w 4610101"/>
              <a:gd name="connsiteY20041" fmla="*/ 1074113 h 6557032"/>
              <a:gd name="connsiteX20042" fmla="*/ 1144326 w 4610101"/>
              <a:gd name="connsiteY20042" fmla="*/ 1066824 h 6557032"/>
              <a:gd name="connsiteX20043" fmla="*/ 1113349 w 4610101"/>
              <a:gd name="connsiteY20043" fmla="*/ 1066824 h 6557032"/>
              <a:gd name="connsiteX20044" fmla="*/ 1113349 w 4610101"/>
              <a:gd name="connsiteY20044" fmla="*/ 1068646 h 6557032"/>
              <a:gd name="connsiteX20045" fmla="*/ 1107882 w 4610101"/>
              <a:gd name="connsiteY20045" fmla="*/ 1085046 h 6557032"/>
              <a:gd name="connsiteX20046" fmla="*/ 1106060 w 4610101"/>
              <a:gd name="connsiteY20046" fmla="*/ 1079579 h 6557032"/>
              <a:gd name="connsiteX20047" fmla="*/ 1102416 w 4610101"/>
              <a:gd name="connsiteY20047" fmla="*/ 1081402 h 6557032"/>
              <a:gd name="connsiteX20048" fmla="*/ 1111526 w 4610101"/>
              <a:gd name="connsiteY20048" fmla="*/ 1090512 h 6557032"/>
              <a:gd name="connsiteX20049" fmla="*/ 1116993 w 4610101"/>
              <a:gd name="connsiteY20049" fmla="*/ 1085046 h 6557032"/>
              <a:gd name="connsiteX20050" fmla="*/ 1113349 w 4610101"/>
              <a:gd name="connsiteY20050" fmla="*/ 1092335 h 6557032"/>
              <a:gd name="connsiteX20051" fmla="*/ 1115171 w 4610101"/>
              <a:gd name="connsiteY20051" fmla="*/ 1095979 h 6557032"/>
              <a:gd name="connsiteX20052" fmla="*/ 1122459 w 4610101"/>
              <a:gd name="connsiteY20052" fmla="*/ 1097801 h 6557032"/>
              <a:gd name="connsiteX20053" fmla="*/ 1115171 w 4610101"/>
              <a:gd name="connsiteY20053" fmla="*/ 1095979 h 6557032"/>
              <a:gd name="connsiteX20054" fmla="*/ 1120637 w 4610101"/>
              <a:gd name="connsiteY20054" fmla="*/ 1092335 h 6557032"/>
              <a:gd name="connsiteX20055" fmla="*/ 1126104 w 4610101"/>
              <a:gd name="connsiteY20055" fmla="*/ 1097801 h 6557032"/>
              <a:gd name="connsiteX20056" fmla="*/ 1122459 w 4610101"/>
              <a:gd name="connsiteY20056" fmla="*/ 1099623 h 6557032"/>
              <a:gd name="connsiteX20057" fmla="*/ 1129748 w 4610101"/>
              <a:gd name="connsiteY20057" fmla="*/ 1101445 h 6557032"/>
              <a:gd name="connsiteX20058" fmla="*/ 1131798 w 4610101"/>
              <a:gd name="connsiteY20058" fmla="*/ 1085957 h 6557032"/>
              <a:gd name="connsiteX20059" fmla="*/ 1132548 w 4610101"/>
              <a:gd name="connsiteY20059" fmla="*/ 1082557 h 6557032"/>
              <a:gd name="connsiteX20060" fmla="*/ 1131570 w 4610101"/>
              <a:gd name="connsiteY20060" fmla="*/ 1092335 h 6557032"/>
              <a:gd name="connsiteX20061" fmla="*/ 1137037 w 4610101"/>
              <a:gd name="connsiteY20061" fmla="*/ 1079579 h 6557032"/>
              <a:gd name="connsiteX20062" fmla="*/ 1136374 w 4610101"/>
              <a:gd name="connsiteY20062" fmla="*/ 1075604 h 6557032"/>
              <a:gd name="connsiteX20063" fmla="*/ 1137037 w 4610101"/>
              <a:gd name="connsiteY20063" fmla="*/ 1075935 h 6557032"/>
              <a:gd name="connsiteX20064" fmla="*/ 1136228 w 4610101"/>
              <a:gd name="connsiteY20064" fmla="*/ 1074720 h 6557032"/>
              <a:gd name="connsiteX20065" fmla="*/ 1135215 w 4610101"/>
              <a:gd name="connsiteY20065" fmla="*/ 1068646 h 6557032"/>
              <a:gd name="connsiteX20066" fmla="*/ 1133393 w 4610101"/>
              <a:gd name="connsiteY20066" fmla="*/ 1070469 h 6557032"/>
              <a:gd name="connsiteX20067" fmla="*/ 1131570 w 4610101"/>
              <a:gd name="connsiteY20067" fmla="*/ 1070469 h 6557032"/>
              <a:gd name="connsiteX20068" fmla="*/ 1133393 w 4610101"/>
              <a:gd name="connsiteY20068" fmla="*/ 1066824 h 6557032"/>
              <a:gd name="connsiteX20069" fmla="*/ 1124737 w 4610101"/>
              <a:gd name="connsiteY20069" fmla="*/ 1075251 h 6557032"/>
              <a:gd name="connsiteX20070" fmla="*/ 1121509 w 4610101"/>
              <a:gd name="connsiteY20070" fmla="*/ 1073379 h 6557032"/>
              <a:gd name="connsiteX20071" fmla="*/ 1124965 w 4610101"/>
              <a:gd name="connsiteY20071" fmla="*/ 1070468 h 6557032"/>
              <a:gd name="connsiteX20072" fmla="*/ 1127926 w 4610101"/>
              <a:gd name="connsiteY20072" fmla="*/ 1066824 h 6557032"/>
              <a:gd name="connsiteX20073" fmla="*/ 1113349 w 4610101"/>
              <a:gd name="connsiteY20073" fmla="*/ 1066824 h 6557032"/>
              <a:gd name="connsiteX20074" fmla="*/ 1025884 w 4610101"/>
              <a:gd name="connsiteY20074" fmla="*/ 1066824 h 6557032"/>
              <a:gd name="connsiteX20075" fmla="*/ 1014951 w 4610101"/>
              <a:gd name="connsiteY20075" fmla="*/ 1077757 h 6557032"/>
              <a:gd name="connsiteX20076" fmla="*/ 1025884 w 4610101"/>
              <a:gd name="connsiteY20076" fmla="*/ 1066824 h 6557032"/>
              <a:gd name="connsiteX20077" fmla="*/ 905621 w 4610101"/>
              <a:gd name="connsiteY20077" fmla="*/ 1066824 h 6557032"/>
              <a:gd name="connsiteX20078" fmla="*/ 898333 w 4610101"/>
              <a:gd name="connsiteY20078" fmla="*/ 1075935 h 6557032"/>
              <a:gd name="connsiteX20079" fmla="*/ 909265 w 4610101"/>
              <a:gd name="connsiteY20079" fmla="*/ 1072291 h 6557032"/>
              <a:gd name="connsiteX20080" fmla="*/ 905621 w 4610101"/>
              <a:gd name="connsiteY20080" fmla="*/ 1066824 h 6557032"/>
              <a:gd name="connsiteX20081" fmla="*/ 595852 w 4610101"/>
              <a:gd name="connsiteY20081" fmla="*/ 1066824 h 6557032"/>
              <a:gd name="connsiteX20082" fmla="*/ 603140 w 4610101"/>
              <a:gd name="connsiteY20082" fmla="*/ 1072291 h 6557032"/>
              <a:gd name="connsiteX20083" fmla="*/ 595852 w 4610101"/>
              <a:gd name="connsiteY20083" fmla="*/ 1066824 h 6557032"/>
              <a:gd name="connsiteX20084" fmla="*/ 459188 w 4610101"/>
              <a:gd name="connsiteY20084" fmla="*/ 1066824 h 6557032"/>
              <a:gd name="connsiteX20085" fmla="*/ 475589 w 4610101"/>
              <a:gd name="connsiteY20085" fmla="*/ 1083224 h 6557032"/>
              <a:gd name="connsiteX20086" fmla="*/ 459188 w 4610101"/>
              <a:gd name="connsiteY20086" fmla="*/ 1066824 h 6557032"/>
              <a:gd name="connsiteX20087" fmla="*/ 340747 w 4610101"/>
              <a:gd name="connsiteY20087" fmla="*/ 1066824 h 6557032"/>
              <a:gd name="connsiteX20088" fmla="*/ 348037 w 4610101"/>
              <a:gd name="connsiteY20088" fmla="*/ 1074113 h 6557032"/>
              <a:gd name="connsiteX20089" fmla="*/ 340747 w 4610101"/>
              <a:gd name="connsiteY20089" fmla="*/ 1066824 h 6557032"/>
              <a:gd name="connsiteX20090" fmla="*/ 309771 w 4610101"/>
              <a:gd name="connsiteY20090" fmla="*/ 1066824 h 6557032"/>
              <a:gd name="connsiteX20091" fmla="*/ 320703 w 4610101"/>
              <a:gd name="connsiteY20091" fmla="*/ 1074113 h 6557032"/>
              <a:gd name="connsiteX20092" fmla="*/ 309771 w 4610101"/>
              <a:gd name="connsiteY20092" fmla="*/ 1066824 h 6557032"/>
              <a:gd name="connsiteX20093" fmla="*/ 267860 w 4610101"/>
              <a:gd name="connsiteY20093" fmla="*/ 1066824 h 6557032"/>
              <a:gd name="connsiteX20094" fmla="*/ 269682 w 4610101"/>
              <a:gd name="connsiteY20094" fmla="*/ 1075935 h 6557032"/>
              <a:gd name="connsiteX20095" fmla="*/ 267860 w 4610101"/>
              <a:gd name="connsiteY20095" fmla="*/ 1066824 h 6557032"/>
              <a:gd name="connsiteX20096" fmla="*/ 842985 w 4610101"/>
              <a:gd name="connsiteY20096" fmla="*/ 1065229 h 6557032"/>
              <a:gd name="connsiteX20097" fmla="*/ 841845 w 4610101"/>
              <a:gd name="connsiteY20097" fmla="*/ 1068646 h 6557032"/>
              <a:gd name="connsiteX20098" fmla="*/ 845489 w 4610101"/>
              <a:gd name="connsiteY20098" fmla="*/ 1072291 h 6557032"/>
              <a:gd name="connsiteX20099" fmla="*/ 845489 w 4610101"/>
              <a:gd name="connsiteY20099" fmla="*/ 1068646 h 6557032"/>
              <a:gd name="connsiteX20100" fmla="*/ 842985 w 4610101"/>
              <a:gd name="connsiteY20100" fmla="*/ 1065229 h 6557032"/>
              <a:gd name="connsiteX20101" fmla="*/ 1036818 w 4610101"/>
              <a:gd name="connsiteY20101" fmla="*/ 1065002 h 6557032"/>
              <a:gd name="connsiteX20102" fmla="*/ 1029529 w 4610101"/>
              <a:gd name="connsiteY20102" fmla="*/ 1072291 h 6557032"/>
              <a:gd name="connsiteX20103" fmla="*/ 1034995 w 4610101"/>
              <a:gd name="connsiteY20103" fmla="*/ 1072291 h 6557032"/>
              <a:gd name="connsiteX20104" fmla="*/ 1040462 w 4610101"/>
              <a:gd name="connsiteY20104" fmla="*/ 1068646 h 6557032"/>
              <a:gd name="connsiteX20105" fmla="*/ 1036818 w 4610101"/>
              <a:gd name="connsiteY20105" fmla="*/ 1065002 h 6557032"/>
              <a:gd name="connsiteX20106" fmla="*/ 936598 w 4610101"/>
              <a:gd name="connsiteY20106" fmla="*/ 1065002 h 6557032"/>
              <a:gd name="connsiteX20107" fmla="*/ 929309 w 4610101"/>
              <a:gd name="connsiteY20107" fmla="*/ 1079579 h 6557032"/>
              <a:gd name="connsiteX20108" fmla="*/ 936598 w 4610101"/>
              <a:gd name="connsiteY20108" fmla="*/ 1065002 h 6557032"/>
              <a:gd name="connsiteX20109" fmla="*/ 840022 w 4610101"/>
              <a:gd name="connsiteY20109" fmla="*/ 1065002 h 6557032"/>
              <a:gd name="connsiteX20110" fmla="*/ 836378 w 4610101"/>
              <a:gd name="connsiteY20110" fmla="*/ 1066824 h 6557032"/>
              <a:gd name="connsiteX20111" fmla="*/ 840022 w 4610101"/>
              <a:gd name="connsiteY20111" fmla="*/ 1065002 h 6557032"/>
              <a:gd name="connsiteX20112" fmla="*/ 420923 w 4610101"/>
              <a:gd name="connsiteY20112" fmla="*/ 1065002 h 6557032"/>
              <a:gd name="connsiteX20113" fmla="*/ 426389 w 4610101"/>
              <a:gd name="connsiteY20113" fmla="*/ 1068646 h 6557032"/>
              <a:gd name="connsiteX20114" fmla="*/ 420923 w 4610101"/>
              <a:gd name="connsiteY20114" fmla="*/ 1065002 h 6557032"/>
              <a:gd name="connsiteX20115" fmla="*/ 386301 w 4610101"/>
              <a:gd name="connsiteY20115" fmla="*/ 1065002 h 6557032"/>
              <a:gd name="connsiteX20116" fmla="*/ 382657 w 4610101"/>
              <a:gd name="connsiteY20116" fmla="*/ 1068646 h 6557032"/>
              <a:gd name="connsiteX20117" fmla="*/ 380835 w 4610101"/>
              <a:gd name="connsiteY20117" fmla="*/ 1066824 h 6557032"/>
              <a:gd name="connsiteX20118" fmla="*/ 380835 w 4610101"/>
              <a:gd name="connsiteY20118" fmla="*/ 1072291 h 6557032"/>
              <a:gd name="connsiteX20119" fmla="*/ 391768 w 4610101"/>
              <a:gd name="connsiteY20119" fmla="*/ 1075935 h 6557032"/>
              <a:gd name="connsiteX20120" fmla="*/ 388123 w 4610101"/>
              <a:gd name="connsiteY20120" fmla="*/ 1070469 h 6557032"/>
              <a:gd name="connsiteX20121" fmla="*/ 391768 w 4610101"/>
              <a:gd name="connsiteY20121" fmla="*/ 1070469 h 6557032"/>
              <a:gd name="connsiteX20122" fmla="*/ 386301 w 4610101"/>
              <a:gd name="connsiteY20122" fmla="*/ 1065002 h 6557032"/>
              <a:gd name="connsiteX20123" fmla="*/ 300660 w 4610101"/>
              <a:gd name="connsiteY20123" fmla="*/ 1065002 h 6557032"/>
              <a:gd name="connsiteX20124" fmla="*/ 309771 w 4610101"/>
              <a:gd name="connsiteY20124" fmla="*/ 1068646 h 6557032"/>
              <a:gd name="connsiteX20125" fmla="*/ 306126 w 4610101"/>
              <a:gd name="connsiteY20125" fmla="*/ 1065002 h 6557032"/>
              <a:gd name="connsiteX20126" fmla="*/ 300660 w 4610101"/>
              <a:gd name="connsiteY20126" fmla="*/ 1065002 h 6557032"/>
              <a:gd name="connsiteX20127" fmla="*/ 289726 w 4610101"/>
              <a:gd name="connsiteY20127" fmla="*/ 1065002 h 6557032"/>
              <a:gd name="connsiteX20128" fmla="*/ 298837 w 4610101"/>
              <a:gd name="connsiteY20128" fmla="*/ 1075935 h 6557032"/>
              <a:gd name="connsiteX20129" fmla="*/ 304303 w 4610101"/>
              <a:gd name="connsiteY20129" fmla="*/ 1074113 h 6557032"/>
              <a:gd name="connsiteX20130" fmla="*/ 320703 w 4610101"/>
              <a:gd name="connsiteY20130" fmla="*/ 1092335 h 6557032"/>
              <a:gd name="connsiteX20131" fmla="*/ 311592 w 4610101"/>
              <a:gd name="connsiteY20131" fmla="*/ 1083224 h 6557032"/>
              <a:gd name="connsiteX20132" fmla="*/ 320703 w 4610101"/>
              <a:gd name="connsiteY20132" fmla="*/ 1079579 h 6557032"/>
              <a:gd name="connsiteX20133" fmla="*/ 289726 w 4610101"/>
              <a:gd name="connsiteY20133" fmla="*/ 1065002 h 6557032"/>
              <a:gd name="connsiteX20134" fmla="*/ 273327 w 4610101"/>
              <a:gd name="connsiteY20134" fmla="*/ 1065002 h 6557032"/>
              <a:gd name="connsiteX20135" fmla="*/ 291549 w 4610101"/>
              <a:gd name="connsiteY20135" fmla="*/ 1088690 h 6557032"/>
              <a:gd name="connsiteX20136" fmla="*/ 287018 w 4610101"/>
              <a:gd name="connsiteY20136" fmla="*/ 1082781 h 6557032"/>
              <a:gd name="connsiteX20137" fmla="*/ 287904 w 4610101"/>
              <a:gd name="connsiteY20137" fmla="*/ 1083224 h 6557032"/>
              <a:gd name="connsiteX20138" fmla="*/ 273327 w 4610101"/>
              <a:gd name="connsiteY20138" fmla="*/ 1065002 h 6557032"/>
              <a:gd name="connsiteX20139" fmla="*/ 151241 w 4610101"/>
              <a:gd name="connsiteY20139" fmla="*/ 1065002 h 6557032"/>
              <a:gd name="connsiteX20140" fmla="*/ 176751 w 4610101"/>
              <a:gd name="connsiteY20140" fmla="*/ 1085046 h 6557032"/>
              <a:gd name="connsiteX20141" fmla="*/ 151241 w 4610101"/>
              <a:gd name="connsiteY20141" fmla="*/ 1065002 h 6557032"/>
              <a:gd name="connsiteX20142" fmla="*/ 739803 w 4610101"/>
              <a:gd name="connsiteY20142" fmla="*/ 1064774 h 6557032"/>
              <a:gd name="connsiteX20143" fmla="*/ 736159 w 4610101"/>
              <a:gd name="connsiteY20143" fmla="*/ 1066824 h 6557032"/>
              <a:gd name="connsiteX20144" fmla="*/ 743447 w 4610101"/>
              <a:gd name="connsiteY20144" fmla="*/ 1066824 h 6557032"/>
              <a:gd name="connsiteX20145" fmla="*/ 739803 w 4610101"/>
              <a:gd name="connsiteY20145" fmla="*/ 1064774 h 6557032"/>
              <a:gd name="connsiteX20146" fmla="*/ 3100202 w 4610101"/>
              <a:gd name="connsiteY20146" fmla="*/ 1064773 h 6557032"/>
              <a:gd name="connsiteX20147" fmla="*/ 3092230 w 4610101"/>
              <a:gd name="connsiteY20147" fmla="*/ 1068646 h 6557032"/>
              <a:gd name="connsiteX20148" fmla="*/ 3106807 w 4610101"/>
              <a:gd name="connsiteY20148" fmla="*/ 1065002 h 6557032"/>
              <a:gd name="connsiteX20149" fmla="*/ 3100202 w 4610101"/>
              <a:gd name="connsiteY20149" fmla="*/ 1064773 h 6557032"/>
              <a:gd name="connsiteX20150" fmla="*/ 3604260 w 4610101"/>
              <a:gd name="connsiteY20150" fmla="*/ 1063180 h 6557032"/>
              <a:gd name="connsiteX20151" fmla="*/ 3598794 w 4610101"/>
              <a:gd name="connsiteY20151" fmla="*/ 1065002 h 6557032"/>
              <a:gd name="connsiteX20152" fmla="*/ 3604260 w 4610101"/>
              <a:gd name="connsiteY20152" fmla="*/ 1068646 h 6557032"/>
              <a:gd name="connsiteX20153" fmla="*/ 3604260 w 4610101"/>
              <a:gd name="connsiteY20153" fmla="*/ 1063180 h 6557032"/>
              <a:gd name="connsiteX20154" fmla="*/ 2204831 w 4610101"/>
              <a:gd name="connsiteY20154" fmla="*/ 1063180 h 6557032"/>
              <a:gd name="connsiteX20155" fmla="*/ 2205109 w 4610101"/>
              <a:gd name="connsiteY20155" fmla="*/ 1063328 h 6557032"/>
              <a:gd name="connsiteX20156" fmla="*/ 2205038 w 4610101"/>
              <a:gd name="connsiteY20156" fmla="*/ 1063524 h 6557032"/>
              <a:gd name="connsiteX20157" fmla="*/ 1169836 w 4610101"/>
              <a:gd name="connsiteY20157" fmla="*/ 1063180 h 6557032"/>
              <a:gd name="connsiteX20158" fmla="*/ 1166192 w 4610101"/>
              <a:gd name="connsiteY20158" fmla="*/ 1065002 h 6557032"/>
              <a:gd name="connsiteX20159" fmla="*/ 1171658 w 4610101"/>
              <a:gd name="connsiteY20159" fmla="*/ 1065002 h 6557032"/>
              <a:gd name="connsiteX20160" fmla="*/ 1169836 w 4610101"/>
              <a:gd name="connsiteY20160" fmla="*/ 1063180 h 6557032"/>
              <a:gd name="connsiteX20161" fmla="*/ 1082373 w 4610101"/>
              <a:gd name="connsiteY20161" fmla="*/ 1063180 h 6557032"/>
              <a:gd name="connsiteX20162" fmla="*/ 1073262 w 4610101"/>
              <a:gd name="connsiteY20162" fmla="*/ 1066824 h 6557032"/>
              <a:gd name="connsiteX20163" fmla="*/ 1078727 w 4610101"/>
              <a:gd name="connsiteY20163" fmla="*/ 1072291 h 6557032"/>
              <a:gd name="connsiteX20164" fmla="*/ 1082373 w 4610101"/>
              <a:gd name="connsiteY20164" fmla="*/ 1063180 h 6557032"/>
              <a:gd name="connsiteX20165" fmla="*/ 747092 w 4610101"/>
              <a:gd name="connsiteY20165" fmla="*/ 1063180 h 6557032"/>
              <a:gd name="connsiteX20166" fmla="*/ 750737 w 4610101"/>
              <a:gd name="connsiteY20166" fmla="*/ 1085046 h 6557032"/>
              <a:gd name="connsiteX20167" fmla="*/ 758025 w 4610101"/>
              <a:gd name="connsiteY20167" fmla="*/ 1106912 h 6557032"/>
              <a:gd name="connsiteX20168" fmla="*/ 752558 w 4610101"/>
              <a:gd name="connsiteY20168" fmla="*/ 1081402 h 6557032"/>
              <a:gd name="connsiteX20169" fmla="*/ 758025 w 4610101"/>
              <a:gd name="connsiteY20169" fmla="*/ 1085046 h 6557032"/>
              <a:gd name="connsiteX20170" fmla="*/ 747092 w 4610101"/>
              <a:gd name="connsiteY20170" fmla="*/ 1063180 h 6557032"/>
              <a:gd name="connsiteX20171" fmla="*/ 666916 w 4610101"/>
              <a:gd name="connsiteY20171" fmla="*/ 1063180 h 6557032"/>
              <a:gd name="connsiteX20172" fmla="*/ 672383 w 4610101"/>
              <a:gd name="connsiteY20172" fmla="*/ 1065002 h 6557032"/>
              <a:gd name="connsiteX20173" fmla="*/ 666916 w 4610101"/>
              <a:gd name="connsiteY20173" fmla="*/ 1063180 h 6557032"/>
              <a:gd name="connsiteX20174" fmla="*/ 473766 w 4610101"/>
              <a:gd name="connsiteY20174" fmla="*/ 1063180 h 6557032"/>
              <a:gd name="connsiteX20175" fmla="*/ 480074 w 4610101"/>
              <a:gd name="connsiteY20175" fmla="*/ 1074534 h 6557032"/>
              <a:gd name="connsiteX20176" fmla="*/ 479232 w 4610101"/>
              <a:gd name="connsiteY20176" fmla="*/ 1074113 h 6557032"/>
              <a:gd name="connsiteX20177" fmla="*/ 482876 w 4610101"/>
              <a:gd name="connsiteY20177" fmla="*/ 1079579 h 6557032"/>
              <a:gd name="connsiteX20178" fmla="*/ 480074 w 4610101"/>
              <a:gd name="connsiteY20178" fmla="*/ 1074534 h 6557032"/>
              <a:gd name="connsiteX20179" fmla="*/ 482876 w 4610101"/>
              <a:gd name="connsiteY20179" fmla="*/ 1075935 h 6557032"/>
              <a:gd name="connsiteX20180" fmla="*/ 481054 w 4610101"/>
              <a:gd name="connsiteY20180" fmla="*/ 1066824 h 6557032"/>
              <a:gd name="connsiteX20181" fmla="*/ 473766 w 4610101"/>
              <a:gd name="connsiteY20181" fmla="*/ 1063180 h 6557032"/>
              <a:gd name="connsiteX20182" fmla="*/ 413634 w 4610101"/>
              <a:gd name="connsiteY20182" fmla="*/ 1063180 h 6557032"/>
              <a:gd name="connsiteX20183" fmla="*/ 433678 w 4610101"/>
              <a:gd name="connsiteY20183" fmla="*/ 1085046 h 6557032"/>
              <a:gd name="connsiteX20184" fmla="*/ 430034 w 4610101"/>
              <a:gd name="connsiteY20184" fmla="*/ 1075935 h 6557032"/>
              <a:gd name="connsiteX20185" fmla="*/ 413634 w 4610101"/>
              <a:gd name="connsiteY20185" fmla="*/ 1063180 h 6557032"/>
              <a:gd name="connsiteX20186" fmla="*/ 158529 w 4610101"/>
              <a:gd name="connsiteY20186" fmla="*/ 1063180 h 6557032"/>
              <a:gd name="connsiteX20187" fmla="*/ 185862 w 4610101"/>
              <a:gd name="connsiteY20187" fmla="*/ 1079579 h 6557032"/>
              <a:gd name="connsiteX20188" fmla="*/ 180396 w 4610101"/>
              <a:gd name="connsiteY20188" fmla="*/ 1075935 h 6557032"/>
              <a:gd name="connsiteX20189" fmla="*/ 158529 w 4610101"/>
              <a:gd name="connsiteY20189" fmla="*/ 1063180 h 6557032"/>
              <a:gd name="connsiteX20190" fmla="*/ 1188369 w 4610101"/>
              <a:gd name="connsiteY20190" fmla="*/ 1063135 h 6557032"/>
              <a:gd name="connsiteX20191" fmla="*/ 1188122 w 4610101"/>
              <a:gd name="connsiteY20191" fmla="*/ 1064625 h 6557032"/>
              <a:gd name="connsiteX20192" fmla="*/ 1187374 w 4610101"/>
              <a:gd name="connsiteY20192" fmla="*/ 1064774 h 6557032"/>
              <a:gd name="connsiteX20193" fmla="*/ 1186738 w 4610101"/>
              <a:gd name="connsiteY20193" fmla="*/ 1064562 h 6557032"/>
              <a:gd name="connsiteX20194" fmla="*/ 1204685 w 4610101"/>
              <a:gd name="connsiteY20194" fmla="*/ 1062952 h 6557032"/>
              <a:gd name="connsiteX20195" fmla="*/ 1193525 w 4610101"/>
              <a:gd name="connsiteY20195" fmla="*/ 1068646 h 6557032"/>
              <a:gd name="connsiteX20196" fmla="*/ 1198991 w 4610101"/>
              <a:gd name="connsiteY20196" fmla="*/ 1072291 h 6557032"/>
              <a:gd name="connsiteX20197" fmla="*/ 1193525 w 4610101"/>
              <a:gd name="connsiteY20197" fmla="*/ 1077757 h 6557032"/>
              <a:gd name="connsiteX20198" fmla="*/ 1202636 w 4610101"/>
              <a:gd name="connsiteY20198" fmla="*/ 1074113 h 6557032"/>
              <a:gd name="connsiteX20199" fmla="*/ 1217213 w 4610101"/>
              <a:gd name="connsiteY20199" fmla="*/ 1066824 h 6557032"/>
              <a:gd name="connsiteX20200" fmla="*/ 1195346 w 4610101"/>
              <a:gd name="connsiteY20200" fmla="*/ 1079579 h 6557032"/>
              <a:gd name="connsiteX20201" fmla="*/ 1211747 w 4610101"/>
              <a:gd name="connsiteY20201" fmla="*/ 1090512 h 6557032"/>
              <a:gd name="connsiteX20202" fmla="*/ 1226323 w 4610101"/>
              <a:gd name="connsiteY20202" fmla="*/ 1077757 h 6557032"/>
              <a:gd name="connsiteX20203" fmla="*/ 1221768 w 4610101"/>
              <a:gd name="connsiteY20203" fmla="*/ 1083451 h 6557032"/>
              <a:gd name="connsiteX20204" fmla="*/ 1218254 w 4610101"/>
              <a:gd name="connsiteY20204" fmla="*/ 1088898 h 6557032"/>
              <a:gd name="connsiteX20205" fmla="*/ 1217213 w 4610101"/>
              <a:gd name="connsiteY20205" fmla="*/ 1088690 h 6557032"/>
              <a:gd name="connsiteX20206" fmla="*/ 1217213 w 4610101"/>
              <a:gd name="connsiteY20206" fmla="*/ 1090512 h 6557032"/>
              <a:gd name="connsiteX20207" fmla="*/ 1218254 w 4610101"/>
              <a:gd name="connsiteY20207" fmla="*/ 1088898 h 6557032"/>
              <a:gd name="connsiteX20208" fmla="*/ 1226323 w 4610101"/>
              <a:gd name="connsiteY20208" fmla="*/ 1090512 h 6557032"/>
              <a:gd name="connsiteX20209" fmla="*/ 1253656 w 4610101"/>
              <a:gd name="connsiteY20209" fmla="*/ 1074113 h 6557032"/>
              <a:gd name="connsiteX20210" fmla="*/ 1217213 w 4610101"/>
              <a:gd name="connsiteY20210" fmla="*/ 1066824 h 6557032"/>
              <a:gd name="connsiteX20211" fmla="*/ 1204685 w 4610101"/>
              <a:gd name="connsiteY20211" fmla="*/ 1062952 h 6557032"/>
              <a:gd name="connsiteX20212" fmla="*/ 496910 w 4610101"/>
              <a:gd name="connsiteY20212" fmla="*/ 1062933 h 6557032"/>
              <a:gd name="connsiteX20213" fmla="*/ 501554 w 4610101"/>
              <a:gd name="connsiteY20213" fmla="*/ 1066141 h 6557032"/>
              <a:gd name="connsiteX20214" fmla="*/ 503758 w 4610101"/>
              <a:gd name="connsiteY20214" fmla="*/ 1068713 h 6557032"/>
              <a:gd name="connsiteX20215" fmla="*/ 503604 w 4610101"/>
              <a:gd name="connsiteY20215" fmla="*/ 1068646 h 6557032"/>
              <a:gd name="connsiteX20216" fmla="*/ 280616 w 4610101"/>
              <a:gd name="connsiteY20216" fmla="*/ 1062725 h 6557032"/>
              <a:gd name="connsiteX20217" fmla="*/ 275149 w 4610101"/>
              <a:gd name="connsiteY20217" fmla="*/ 1065002 h 6557032"/>
              <a:gd name="connsiteX20218" fmla="*/ 307948 w 4610101"/>
              <a:gd name="connsiteY20218" fmla="*/ 1094157 h 6557032"/>
              <a:gd name="connsiteX20219" fmla="*/ 280615 w 4610101"/>
              <a:gd name="connsiteY20219" fmla="*/ 1068646 h 6557032"/>
              <a:gd name="connsiteX20220" fmla="*/ 302481 w 4610101"/>
              <a:gd name="connsiteY20220" fmla="*/ 1083224 h 6557032"/>
              <a:gd name="connsiteX20221" fmla="*/ 291549 w 4610101"/>
              <a:gd name="connsiteY20221" fmla="*/ 1072291 h 6557032"/>
              <a:gd name="connsiteX20222" fmla="*/ 286082 w 4610101"/>
              <a:gd name="connsiteY20222" fmla="*/ 1063180 h 6557032"/>
              <a:gd name="connsiteX20223" fmla="*/ 280616 w 4610101"/>
              <a:gd name="connsiteY20223" fmla="*/ 1062725 h 6557032"/>
              <a:gd name="connsiteX20224" fmla="*/ 248955 w 4610101"/>
              <a:gd name="connsiteY20224" fmla="*/ 1062725 h 6557032"/>
              <a:gd name="connsiteX20225" fmla="*/ 245994 w 4610101"/>
              <a:gd name="connsiteY20225" fmla="*/ 1063180 h 6557032"/>
              <a:gd name="connsiteX20226" fmla="*/ 249638 w 4610101"/>
              <a:gd name="connsiteY20226" fmla="*/ 1066824 h 6557032"/>
              <a:gd name="connsiteX20227" fmla="*/ 253282 w 4610101"/>
              <a:gd name="connsiteY20227" fmla="*/ 1065002 h 6557032"/>
              <a:gd name="connsiteX20228" fmla="*/ 248955 w 4610101"/>
              <a:gd name="connsiteY20228" fmla="*/ 1062725 h 6557032"/>
              <a:gd name="connsiteX20229" fmla="*/ 2384771 w 4610101"/>
              <a:gd name="connsiteY20229" fmla="*/ 1062268 h 6557032"/>
              <a:gd name="connsiteX20230" fmla="*/ 2379760 w 4610101"/>
              <a:gd name="connsiteY20230" fmla="*/ 1063180 h 6557032"/>
              <a:gd name="connsiteX20231" fmla="*/ 2381582 w 4610101"/>
              <a:gd name="connsiteY20231" fmla="*/ 1068646 h 6557032"/>
              <a:gd name="connsiteX20232" fmla="*/ 2387048 w 4610101"/>
              <a:gd name="connsiteY20232" fmla="*/ 1066824 h 6557032"/>
              <a:gd name="connsiteX20233" fmla="*/ 2384771 w 4610101"/>
              <a:gd name="connsiteY20233" fmla="*/ 1062268 h 6557032"/>
              <a:gd name="connsiteX20234" fmla="*/ 824307 w 4610101"/>
              <a:gd name="connsiteY20234" fmla="*/ 1062041 h 6557032"/>
              <a:gd name="connsiteX20235" fmla="*/ 825445 w 4610101"/>
              <a:gd name="connsiteY20235" fmla="*/ 1065002 h 6557032"/>
              <a:gd name="connsiteX20236" fmla="*/ 827267 w 4610101"/>
              <a:gd name="connsiteY20236" fmla="*/ 1063180 h 6557032"/>
              <a:gd name="connsiteX20237" fmla="*/ 824307 w 4610101"/>
              <a:gd name="connsiteY20237" fmla="*/ 1062041 h 6557032"/>
              <a:gd name="connsiteX20238" fmla="*/ 1140681 w 4610101"/>
              <a:gd name="connsiteY20238" fmla="*/ 1061358 h 6557032"/>
              <a:gd name="connsiteX20239" fmla="*/ 1146148 w 4610101"/>
              <a:gd name="connsiteY20239" fmla="*/ 1061358 h 6557032"/>
              <a:gd name="connsiteX20240" fmla="*/ 1140681 w 4610101"/>
              <a:gd name="connsiteY20240" fmla="*/ 1061358 h 6557032"/>
              <a:gd name="connsiteX20241" fmla="*/ 911087 w 4610101"/>
              <a:gd name="connsiteY20241" fmla="*/ 1061358 h 6557032"/>
              <a:gd name="connsiteX20242" fmla="*/ 909265 w 4610101"/>
              <a:gd name="connsiteY20242" fmla="*/ 1065002 h 6557032"/>
              <a:gd name="connsiteX20243" fmla="*/ 912909 w 4610101"/>
              <a:gd name="connsiteY20243" fmla="*/ 1066824 h 6557032"/>
              <a:gd name="connsiteX20244" fmla="*/ 912909 w 4610101"/>
              <a:gd name="connsiteY20244" fmla="*/ 1063180 h 6557032"/>
              <a:gd name="connsiteX20245" fmla="*/ 909265 w 4610101"/>
              <a:gd name="connsiteY20245" fmla="*/ 1065002 h 6557032"/>
              <a:gd name="connsiteX20246" fmla="*/ 911087 w 4610101"/>
              <a:gd name="connsiteY20246" fmla="*/ 1063180 h 6557032"/>
              <a:gd name="connsiteX20247" fmla="*/ 911087 w 4610101"/>
              <a:gd name="connsiteY20247" fmla="*/ 1061358 h 6557032"/>
              <a:gd name="connsiteX20248" fmla="*/ 812690 w 4610101"/>
              <a:gd name="connsiteY20248" fmla="*/ 1061358 h 6557032"/>
              <a:gd name="connsiteX20249" fmla="*/ 812739 w 4610101"/>
              <a:gd name="connsiteY20249" fmla="*/ 1061388 h 6557032"/>
              <a:gd name="connsiteX20250" fmla="*/ 812740 w 4610101"/>
              <a:gd name="connsiteY20250" fmla="*/ 1061424 h 6557032"/>
              <a:gd name="connsiteX20251" fmla="*/ 601318 w 4610101"/>
              <a:gd name="connsiteY20251" fmla="*/ 1061358 h 6557032"/>
              <a:gd name="connsiteX20252" fmla="*/ 597673 w 4610101"/>
              <a:gd name="connsiteY20252" fmla="*/ 1063180 h 6557032"/>
              <a:gd name="connsiteX20253" fmla="*/ 603140 w 4610101"/>
              <a:gd name="connsiteY20253" fmla="*/ 1066824 h 6557032"/>
              <a:gd name="connsiteX20254" fmla="*/ 601318 w 4610101"/>
              <a:gd name="connsiteY20254" fmla="*/ 1061358 h 6557032"/>
              <a:gd name="connsiteX20255" fmla="*/ 331636 w 4610101"/>
              <a:gd name="connsiteY20255" fmla="*/ 1061358 h 6557032"/>
              <a:gd name="connsiteX20256" fmla="*/ 337102 w 4610101"/>
              <a:gd name="connsiteY20256" fmla="*/ 1068646 h 6557032"/>
              <a:gd name="connsiteX20257" fmla="*/ 331636 w 4610101"/>
              <a:gd name="connsiteY20257" fmla="*/ 1061358 h 6557032"/>
              <a:gd name="connsiteX20258" fmla="*/ 143952 w 4610101"/>
              <a:gd name="connsiteY20258" fmla="*/ 1061358 h 6557032"/>
              <a:gd name="connsiteX20259" fmla="*/ 147596 w 4610101"/>
              <a:gd name="connsiteY20259" fmla="*/ 1065002 h 6557032"/>
              <a:gd name="connsiteX20260" fmla="*/ 143952 w 4610101"/>
              <a:gd name="connsiteY20260" fmla="*/ 1061358 h 6557032"/>
              <a:gd name="connsiteX20261" fmla="*/ 3496297 w 4610101"/>
              <a:gd name="connsiteY20261" fmla="*/ 1060446 h 6557032"/>
              <a:gd name="connsiteX20262" fmla="*/ 3478530 w 4610101"/>
              <a:gd name="connsiteY20262" fmla="*/ 1065002 h 6557032"/>
              <a:gd name="connsiteX20263" fmla="*/ 3453020 w 4610101"/>
              <a:gd name="connsiteY20263" fmla="*/ 1075935 h 6557032"/>
              <a:gd name="connsiteX20264" fmla="*/ 3483997 w 4610101"/>
              <a:gd name="connsiteY20264" fmla="*/ 1086868 h 6557032"/>
              <a:gd name="connsiteX20265" fmla="*/ 3485819 w 4610101"/>
              <a:gd name="connsiteY20265" fmla="*/ 1081402 h 6557032"/>
              <a:gd name="connsiteX20266" fmla="*/ 3493108 w 4610101"/>
              <a:gd name="connsiteY20266" fmla="*/ 1072291 h 6557032"/>
              <a:gd name="connsiteX20267" fmla="*/ 3513152 w 4610101"/>
              <a:gd name="connsiteY20267" fmla="*/ 1072291 h 6557032"/>
              <a:gd name="connsiteX20268" fmla="*/ 3516796 w 4610101"/>
              <a:gd name="connsiteY20268" fmla="*/ 1061358 h 6557032"/>
              <a:gd name="connsiteX20269" fmla="*/ 3496297 w 4610101"/>
              <a:gd name="connsiteY20269" fmla="*/ 1060446 h 6557032"/>
              <a:gd name="connsiteX20270" fmla="*/ 2851247 w 4610101"/>
              <a:gd name="connsiteY20270" fmla="*/ 1060446 h 6557032"/>
              <a:gd name="connsiteX20271" fmla="*/ 2849880 w 4610101"/>
              <a:gd name="connsiteY20271" fmla="*/ 1065002 h 6557032"/>
              <a:gd name="connsiteX20272" fmla="*/ 2855347 w 4610101"/>
              <a:gd name="connsiteY20272" fmla="*/ 1061358 h 6557032"/>
              <a:gd name="connsiteX20273" fmla="*/ 2851247 w 4610101"/>
              <a:gd name="connsiteY20273" fmla="*/ 1060446 h 6557032"/>
              <a:gd name="connsiteX20274" fmla="*/ 3075830 w 4610101"/>
              <a:gd name="connsiteY20274" fmla="*/ 1059535 h 6557032"/>
              <a:gd name="connsiteX20275" fmla="*/ 3090407 w 4610101"/>
              <a:gd name="connsiteY20275" fmla="*/ 1068646 h 6557032"/>
              <a:gd name="connsiteX20276" fmla="*/ 3086763 w 4610101"/>
              <a:gd name="connsiteY20276" fmla="*/ 1063180 h 6557032"/>
              <a:gd name="connsiteX20277" fmla="*/ 3075830 w 4610101"/>
              <a:gd name="connsiteY20277" fmla="*/ 1059535 h 6557032"/>
              <a:gd name="connsiteX20278" fmla="*/ 1155259 w 4610101"/>
              <a:gd name="connsiteY20278" fmla="*/ 1059535 h 6557032"/>
              <a:gd name="connsiteX20279" fmla="*/ 1147970 w 4610101"/>
              <a:gd name="connsiteY20279" fmla="*/ 1061358 h 6557032"/>
              <a:gd name="connsiteX20280" fmla="*/ 1149792 w 4610101"/>
              <a:gd name="connsiteY20280" fmla="*/ 1063180 h 6557032"/>
              <a:gd name="connsiteX20281" fmla="*/ 1155259 w 4610101"/>
              <a:gd name="connsiteY20281" fmla="*/ 1059535 h 6557032"/>
              <a:gd name="connsiteX20282" fmla="*/ 1022240 w 4610101"/>
              <a:gd name="connsiteY20282" fmla="*/ 1059535 h 6557032"/>
              <a:gd name="connsiteX20283" fmla="*/ 1026405 w 4610101"/>
              <a:gd name="connsiteY20283" fmla="*/ 1060577 h 6557032"/>
              <a:gd name="connsiteX20284" fmla="*/ 1027023 w 4610101"/>
              <a:gd name="connsiteY20284" fmla="*/ 1061814 h 6557032"/>
              <a:gd name="connsiteX20285" fmla="*/ 1029529 w 4610101"/>
              <a:gd name="connsiteY20285" fmla="*/ 1061358 h 6557032"/>
              <a:gd name="connsiteX20286" fmla="*/ 1026405 w 4610101"/>
              <a:gd name="connsiteY20286" fmla="*/ 1060577 h 6557032"/>
              <a:gd name="connsiteX20287" fmla="*/ 1025884 w 4610101"/>
              <a:gd name="connsiteY20287" fmla="*/ 1059535 h 6557032"/>
              <a:gd name="connsiteX20288" fmla="*/ 1022240 w 4610101"/>
              <a:gd name="connsiteY20288" fmla="*/ 1059535 h 6557032"/>
              <a:gd name="connsiteX20289" fmla="*/ 1005840 w 4610101"/>
              <a:gd name="connsiteY20289" fmla="*/ 1059535 h 6557032"/>
              <a:gd name="connsiteX20290" fmla="*/ 1002196 w 4610101"/>
              <a:gd name="connsiteY20290" fmla="*/ 1070469 h 6557032"/>
              <a:gd name="connsiteX20291" fmla="*/ 1004018 w 4610101"/>
              <a:gd name="connsiteY20291" fmla="*/ 1075935 h 6557032"/>
              <a:gd name="connsiteX20292" fmla="*/ 1007663 w 4610101"/>
              <a:gd name="connsiteY20292" fmla="*/ 1059535 h 6557032"/>
              <a:gd name="connsiteX20293" fmla="*/ 1005840 w 4610101"/>
              <a:gd name="connsiteY20293" fmla="*/ 1059535 h 6557032"/>
              <a:gd name="connsiteX20294" fmla="*/ 366257 w 4610101"/>
              <a:gd name="connsiteY20294" fmla="*/ 1059535 h 6557032"/>
              <a:gd name="connsiteX20295" fmla="*/ 373546 w 4610101"/>
              <a:gd name="connsiteY20295" fmla="*/ 1066824 h 6557032"/>
              <a:gd name="connsiteX20296" fmla="*/ 373546 w 4610101"/>
              <a:gd name="connsiteY20296" fmla="*/ 1063180 h 6557032"/>
              <a:gd name="connsiteX20297" fmla="*/ 366257 w 4610101"/>
              <a:gd name="connsiteY20297" fmla="*/ 1059535 h 6557032"/>
              <a:gd name="connsiteX20298" fmla="*/ 209550 w 4610101"/>
              <a:gd name="connsiteY20298" fmla="*/ 1059535 h 6557032"/>
              <a:gd name="connsiteX20299" fmla="*/ 229594 w 4610101"/>
              <a:gd name="connsiteY20299" fmla="*/ 1074113 h 6557032"/>
              <a:gd name="connsiteX20300" fmla="*/ 209550 w 4610101"/>
              <a:gd name="connsiteY20300" fmla="*/ 1059535 h 6557032"/>
              <a:gd name="connsiteX20301" fmla="*/ 163996 w 4610101"/>
              <a:gd name="connsiteY20301" fmla="*/ 1059535 h 6557032"/>
              <a:gd name="connsiteX20302" fmla="*/ 171845 w 4610101"/>
              <a:gd name="connsiteY20302" fmla="*/ 1064020 h 6557032"/>
              <a:gd name="connsiteX20303" fmla="*/ 172681 w 4610101"/>
              <a:gd name="connsiteY20303" fmla="*/ 1064595 h 6557032"/>
              <a:gd name="connsiteX20304" fmla="*/ 167925 w 4610101"/>
              <a:gd name="connsiteY20304" fmla="*/ 1061990 h 6557032"/>
              <a:gd name="connsiteX20305" fmla="*/ 149419 w 4610101"/>
              <a:gd name="connsiteY20305" fmla="*/ 1059535 h 6557032"/>
              <a:gd name="connsiteX20306" fmla="*/ 163996 w 4610101"/>
              <a:gd name="connsiteY20306" fmla="*/ 1072291 h 6557032"/>
              <a:gd name="connsiteX20307" fmla="*/ 149419 w 4610101"/>
              <a:gd name="connsiteY20307" fmla="*/ 1059535 h 6557032"/>
              <a:gd name="connsiteX20308" fmla="*/ 1187884 w 4610101"/>
              <a:gd name="connsiteY20308" fmla="*/ 1057886 h 6557032"/>
              <a:gd name="connsiteX20309" fmla="*/ 1188058 w 4610101"/>
              <a:gd name="connsiteY20309" fmla="*/ 1061358 h 6557032"/>
              <a:gd name="connsiteX20310" fmla="*/ 1193525 w 4610101"/>
              <a:gd name="connsiteY20310" fmla="*/ 1061358 h 6557032"/>
              <a:gd name="connsiteX20311" fmla="*/ 1189880 w 4610101"/>
              <a:gd name="connsiteY20311" fmla="*/ 1061813 h 6557032"/>
              <a:gd name="connsiteX20312" fmla="*/ 1188369 w 4610101"/>
              <a:gd name="connsiteY20312" fmla="*/ 1063135 h 6557032"/>
              <a:gd name="connsiteX20313" fmla="*/ 1188513 w 4610101"/>
              <a:gd name="connsiteY20313" fmla="*/ 1062269 h 6557032"/>
              <a:gd name="connsiteX20314" fmla="*/ 1186236 w 4610101"/>
              <a:gd name="connsiteY20314" fmla="*/ 1059535 h 6557032"/>
              <a:gd name="connsiteX20315" fmla="*/ 1188058 w 4610101"/>
              <a:gd name="connsiteY20315" fmla="*/ 1057713 h 6557032"/>
              <a:gd name="connsiteX20316" fmla="*/ 1187884 w 4610101"/>
              <a:gd name="connsiteY20316" fmla="*/ 1057886 h 6557032"/>
              <a:gd name="connsiteX20317" fmla="*/ 1187882 w 4610101"/>
              <a:gd name="connsiteY20317" fmla="*/ 1057845 h 6557032"/>
              <a:gd name="connsiteX20318" fmla="*/ 916555 w 4610101"/>
              <a:gd name="connsiteY20318" fmla="*/ 1057713 h 6557032"/>
              <a:gd name="connsiteX20319" fmla="*/ 916555 w 4610101"/>
              <a:gd name="connsiteY20319" fmla="*/ 1059535 h 6557032"/>
              <a:gd name="connsiteX20320" fmla="*/ 914732 w 4610101"/>
              <a:gd name="connsiteY20320" fmla="*/ 1061358 h 6557032"/>
              <a:gd name="connsiteX20321" fmla="*/ 918376 w 4610101"/>
              <a:gd name="connsiteY20321" fmla="*/ 1068646 h 6557032"/>
              <a:gd name="connsiteX20322" fmla="*/ 916555 w 4610101"/>
              <a:gd name="connsiteY20322" fmla="*/ 1057713 h 6557032"/>
              <a:gd name="connsiteX20323" fmla="*/ 896510 w 4610101"/>
              <a:gd name="connsiteY20323" fmla="*/ 1057713 h 6557032"/>
              <a:gd name="connsiteX20324" fmla="*/ 892866 w 4610101"/>
              <a:gd name="connsiteY20324" fmla="*/ 1075935 h 6557032"/>
              <a:gd name="connsiteX20325" fmla="*/ 903799 w 4610101"/>
              <a:gd name="connsiteY20325" fmla="*/ 1065002 h 6557032"/>
              <a:gd name="connsiteX20326" fmla="*/ 896510 w 4610101"/>
              <a:gd name="connsiteY20326" fmla="*/ 1057713 h 6557032"/>
              <a:gd name="connsiteX20327" fmla="*/ 721581 w 4610101"/>
              <a:gd name="connsiteY20327" fmla="*/ 1057713 h 6557032"/>
              <a:gd name="connsiteX20328" fmla="*/ 728870 w 4610101"/>
              <a:gd name="connsiteY20328" fmla="*/ 1068646 h 6557032"/>
              <a:gd name="connsiteX20329" fmla="*/ 721581 w 4610101"/>
              <a:gd name="connsiteY20329" fmla="*/ 1057713 h 6557032"/>
              <a:gd name="connsiteX20330" fmla="*/ 298153 w 4610101"/>
              <a:gd name="connsiteY20330" fmla="*/ 1057029 h 6557032"/>
              <a:gd name="connsiteX20331" fmla="*/ 289726 w 4610101"/>
              <a:gd name="connsiteY20331" fmla="*/ 1057713 h 6557032"/>
              <a:gd name="connsiteX20332" fmla="*/ 307948 w 4610101"/>
              <a:gd name="connsiteY20332" fmla="*/ 1063180 h 6557032"/>
              <a:gd name="connsiteX20333" fmla="*/ 298153 w 4610101"/>
              <a:gd name="connsiteY20333" fmla="*/ 1057029 h 6557032"/>
              <a:gd name="connsiteX20334" fmla="*/ 3225248 w 4610101"/>
              <a:gd name="connsiteY20334" fmla="*/ 1055891 h 6557032"/>
              <a:gd name="connsiteX20335" fmla="*/ 3192449 w 4610101"/>
              <a:gd name="connsiteY20335" fmla="*/ 1079579 h 6557032"/>
              <a:gd name="connsiteX20336" fmla="*/ 3188805 w 4610101"/>
              <a:gd name="connsiteY20336" fmla="*/ 1077757 h 6557032"/>
              <a:gd name="connsiteX20337" fmla="*/ 3186982 w 4610101"/>
              <a:gd name="connsiteY20337" fmla="*/ 1085046 h 6557032"/>
              <a:gd name="connsiteX20338" fmla="*/ 3192449 w 4610101"/>
              <a:gd name="connsiteY20338" fmla="*/ 1079579 h 6557032"/>
              <a:gd name="connsiteX20339" fmla="*/ 3190627 w 4610101"/>
              <a:gd name="connsiteY20339" fmla="*/ 1090512 h 6557032"/>
              <a:gd name="connsiteX20340" fmla="*/ 3191842 w 4610101"/>
              <a:gd name="connsiteY20340" fmla="*/ 1091120 h 6557032"/>
              <a:gd name="connsiteX20341" fmla="*/ 3185160 w 4610101"/>
              <a:gd name="connsiteY20341" fmla="*/ 1090512 h 6557032"/>
              <a:gd name="connsiteX20342" fmla="*/ 3188805 w 4610101"/>
              <a:gd name="connsiteY20342" fmla="*/ 1099623 h 6557032"/>
              <a:gd name="connsiteX20343" fmla="*/ 3196093 w 4610101"/>
              <a:gd name="connsiteY20343" fmla="*/ 1095979 h 6557032"/>
              <a:gd name="connsiteX20344" fmla="*/ 3193056 w 4610101"/>
              <a:gd name="connsiteY20344" fmla="*/ 1091727 h 6557032"/>
              <a:gd name="connsiteX20345" fmla="*/ 3197916 w 4610101"/>
              <a:gd name="connsiteY20345" fmla="*/ 1094157 h 6557032"/>
              <a:gd name="connsiteX20346" fmla="*/ 3221604 w 4610101"/>
              <a:gd name="connsiteY20346" fmla="*/ 1081402 h 6557032"/>
              <a:gd name="connsiteX20347" fmla="*/ 3217960 w 4610101"/>
              <a:gd name="connsiteY20347" fmla="*/ 1072291 h 6557032"/>
              <a:gd name="connsiteX20348" fmla="*/ 3225248 w 4610101"/>
              <a:gd name="connsiteY20348" fmla="*/ 1055891 h 6557032"/>
              <a:gd name="connsiteX20349" fmla="*/ 2377937 w 4610101"/>
              <a:gd name="connsiteY20349" fmla="*/ 1055891 h 6557032"/>
              <a:gd name="connsiteX20350" fmla="*/ 2372471 w 4610101"/>
              <a:gd name="connsiteY20350" fmla="*/ 1065002 h 6557032"/>
              <a:gd name="connsiteX20351" fmla="*/ 2377937 w 4610101"/>
              <a:gd name="connsiteY20351" fmla="*/ 1055891 h 6557032"/>
              <a:gd name="connsiteX20352" fmla="*/ 1175303 w 4610101"/>
              <a:gd name="connsiteY20352" fmla="*/ 1055891 h 6557032"/>
              <a:gd name="connsiteX20353" fmla="*/ 1169836 w 4610101"/>
              <a:gd name="connsiteY20353" fmla="*/ 1061358 h 6557032"/>
              <a:gd name="connsiteX20354" fmla="*/ 1175303 w 4610101"/>
              <a:gd name="connsiteY20354" fmla="*/ 1055891 h 6557032"/>
              <a:gd name="connsiteX20355" fmla="*/ 1104238 w 4610101"/>
              <a:gd name="connsiteY20355" fmla="*/ 1055891 h 6557032"/>
              <a:gd name="connsiteX20356" fmla="*/ 1098771 w 4610101"/>
              <a:gd name="connsiteY20356" fmla="*/ 1057713 h 6557032"/>
              <a:gd name="connsiteX20357" fmla="*/ 1102416 w 4610101"/>
              <a:gd name="connsiteY20357" fmla="*/ 1057713 h 6557032"/>
              <a:gd name="connsiteX20358" fmla="*/ 1104238 w 4610101"/>
              <a:gd name="connsiteY20358" fmla="*/ 1055891 h 6557032"/>
              <a:gd name="connsiteX20359" fmla="*/ 974863 w 4610101"/>
              <a:gd name="connsiteY20359" fmla="*/ 1055891 h 6557032"/>
              <a:gd name="connsiteX20360" fmla="*/ 976686 w 4610101"/>
              <a:gd name="connsiteY20360" fmla="*/ 1065002 h 6557032"/>
              <a:gd name="connsiteX20361" fmla="*/ 980330 w 4610101"/>
              <a:gd name="connsiteY20361" fmla="*/ 1063180 h 6557032"/>
              <a:gd name="connsiteX20362" fmla="*/ 974863 w 4610101"/>
              <a:gd name="connsiteY20362" fmla="*/ 1055891 h 6557032"/>
              <a:gd name="connsiteX20363" fmla="*/ 973041 w 4610101"/>
              <a:gd name="connsiteY20363" fmla="*/ 1055891 h 6557032"/>
              <a:gd name="connsiteX20364" fmla="*/ 971219 w 4610101"/>
              <a:gd name="connsiteY20364" fmla="*/ 1079579 h 6557032"/>
              <a:gd name="connsiteX20365" fmla="*/ 980330 w 4610101"/>
              <a:gd name="connsiteY20365" fmla="*/ 1081402 h 6557032"/>
              <a:gd name="connsiteX20366" fmla="*/ 973041 w 4610101"/>
              <a:gd name="connsiteY20366" fmla="*/ 1065002 h 6557032"/>
              <a:gd name="connsiteX20367" fmla="*/ 973041 w 4610101"/>
              <a:gd name="connsiteY20367" fmla="*/ 1055891 h 6557032"/>
              <a:gd name="connsiteX20368" fmla="*/ 741626 w 4610101"/>
              <a:gd name="connsiteY20368" fmla="*/ 1055891 h 6557032"/>
              <a:gd name="connsiteX20369" fmla="*/ 748914 w 4610101"/>
              <a:gd name="connsiteY20369" fmla="*/ 1059535 h 6557032"/>
              <a:gd name="connsiteX20370" fmla="*/ 741626 w 4610101"/>
              <a:gd name="connsiteY20370" fmla="*/ 1055891 h 6557032"/>
              <a:gd name="connsiteX20371" fmla="*/ 431856 w 4610101"/>
              <a:gd name="connsiteY20371" fmla="*/ 1055891 h 6557032"/>
              <a:gd name="connsiteX20372" fmla="*/ 442789 w 4610101"/>
              <a:gd name="connsiteY20372" fmla="*/ 1066824 h 6557032"/>
              <a:gd name="connsiteX20373" fmla="*/ 431856 w 4610101"/>
              <a:gd name="connsiteY20373" fmla="*/ 1055891 h 6557032"/>
              <a:gd name="connsiteX20374" fmla="*/ 344391 w 4610101"/>
              <a:gd name="connsiteY20374" fmla="*/ 1055891 h 6557032"/>
              <a:gd name="connsiteX20375" fmla="*/ 357146 w 4610101"/>
              <a:gd name="connsiteY20375" fmla="*/ 1072291 h 6557032"/>
              <a:gd name="connsiteX20376" fmla="*/ 344391 w 4610101"/>
              <a:gd name="connsiteY20376" fmla="*/ 1055891 h 6557032"/>
              <a:gd name="connsiteX20377" fmla="*/ 338926 w 4610101"/>
              <a:gd name="connsiteY20377" fmla="*/ 1055891 h 6557032"/>
              <a:gd name="connsiteX20378" fmla="*/ 335280 w 4610101"/>
              <a:gd name="connsiteY20378" fmla="*/ 1057713 h 6557032"/>
              <a:gd name="connsiteX20379" fmla="*/ 355324 w 4610101"/>
              <a:gd name="connsiteY20379" fmla="*/ 1070469 h 6557032"/>
              <a:gd name="connsiteX20380" fmla="*/ 338926 w 4610101"/>
              <a:gd name="connsiteY20380" fmla="*/ 1055891 h 6557032"/>
              <a:gd name="connsiteX20381" fmla="*/ 2364271 w 4610101"/>
              <a:gd name="connsiteY20381" fmla="*/ 1054980 h 6557032"/>
              <a:gd name="connsiteX20382" fmla="*/ 2352427 w 4610101"/>
              <a:gd name="connsiteY20382" fmla="*/ 1059535 h 6557032"/>
              <a:gd name="connsiteX20383" fmla="*/ 2357893 w 4610101"/>
              <a:gd name="connsiteY20383" fmla="*/ 1059535 h 6557032"/>
              <a:gd name="connsiteX20384" fmla="*/ 2370649 w 4610101"/>
              <a:gd name="connsiteY20384" fmla="*/ 1077757 h 6557032"/>
              <a:gd name="connsiteX20385" fmla="*/ 2363360 w 4610101"/>
              <a:gd name="connsiteY20385" fmla="*/ 1059535 h 6557032"/>
              <a:gd name="connsiteX20386" fmla="*/ 2370649 w 4610101"/>
              <a:gd name="connsiteY20386" fmla="*/ 1061358 h 6557032"/>
              <a:gd name="connsiteX20387" fmla="*/ 2364271 w 4610101"/>
              <a:gd name="connsiteY20387" fmla="*/ 1054980 h 6557032"/>
              <a:gd name="connsiteX20388" fmla="*/ 2773531 w 4610101"/>
              <a:gd name="connsiteY20388" fmla="*/ 1054888 h 6557032"/>
              <a:gd name="connsiteX20389" fmla="*/ 2773349 w 4610101"/>
              <a:gd name="connsiteY20389" fmla="*/ 1055891 h 6557032"/>
              <a:gd name="connsiteX20390" fmla="*/ 2753305 w 4610101"/>
              <a:gd name="connsiteY20390" fmla="*/ 1075935 h 6557032"/>
              <a:gd name="connsiteX20391" fmla="*/ 2760138 w 4610101"/>
              <a:gd name="connsiteY20391" fmla="*/ 1061585 h 6557032"/>
              <a:gd name="connsiteX20392" fmla="*/ 266265 w 4610101"/>
              <a:gd name="connsiteY20392" fmla="*/ 1054752 h 6557032"/>
              <a:gd name="connsiteX20393" fmla="*/ 264216 w 4610101"/>
              <a:gd name="connsiteY20393" fmla="*/ 1055891 h 6557032"/>
              <a:gd name="connsiteX20394" fmla="*/ 269682 w 4610101"/>
              <a:gd name="connsiteY20394" fmla="*/ 1057713 h 6557032"/>
              <a:gd name="connsiteX20395" fmla="*/ 266265 w 4610101"/>
              <a:gd name="connsiteY20395" fmla="*/ 1054752 h 6557032"/>
              <a:gd name="connsiteX20396" fmla="*/ 1751109 w 4610101"/>
              <a:gd name="connsiteY20396" fmla="*/ 1054222 h 6557032"/>
              <a:gd name="connsiteX20397" fmla="*/ 1789376 w 4610101"/>
              <a:gd name="connsiteY20397" fmla="*/ 1068802 h 6557032"/>
              <a:gd name="connsiteX20398" fmla="*/ 1782086 w 4610101"/>
              <a:gd name="connsiteY20398" fmla="*/ 1083374 h 6557032"/>
              <a:gd name="connsiteX20399" fmla="*/ 1789376 w 4610101"/>
              <a:gd name="connsiteY20399" fmla="*/ 1097955 h 6557032"/>
              <a:gd name="connsiteX20400" fmla="*/ 1789376 w 4610101"/>
              <a:gd name="connsiteY20400" fmla="*/ 1105245 h 6557032"/>
              <a:gd name="connsiteX20401" fmla="*/ 1758398 w 4610101"/>
              <a:gd name="connsiteY20401" fmla="*/ 1150797 h 6557032"/>
              <a:gd name="connsiteX20402" fmla="*/ 1712844 w 4610101"/>
              <a:gd name="connsiteY20402" fmla="*/ 1134399 h 6557032"/>
              <a:gd name="connsiteX20403" fmla="*/ 1696444 w 4610101"/>
              <a:gd name="connsiteY20403" fmla="*/ 1097955 h 6557032"/>
              <a:gd name="connsiteX20404" fmla="*/ 1712844 w 4610101"/>
              <a:gd name="connsiteY20404" fmla="*/ 1083374 h 6557032"/>
              <a:gd name="connsiteX20405" fmla="*/ 1705555 w 4610101"/>
              <a:gd name="connsiteY20405" fmla="*/ 1068802 h 6557032"/>
              <a:gd name="connsiteX20406" fmla="*/ 1751109 w 4610101"/>
              <a:gd name="connsiteY20406" fmla="*/ 1054222 h 6557032"/>
              <a:gd name="connsiteX20407" fmla="*/ 1118815 w 4610101"/>
              <a:gd name="connsiteY20407" fmla="*/ 1054069 h 6557032"/>
              <a:gd name="connsiteX20408" fmla="*/ 1116993 w 4610101"/>
              <a:gd name="connsiteY20408" fmla="*/ 1055891 h 6557032"/>
              <a:gd name="connsiteX20409" fmla="*/ 1129748 w 4610101"/>
              <a:gd name="connsiteY20409" fmla="*/ 1055891 h 6557032"/>
              <a:gd name="connsiteX20410" fmla="*/ 1118815 w 4610101"/>
              <a:gd name="connsiteY20410" fmla="*/ 1054069 h 6557032"/>
              <a:gd name="connsiteX20411" fmla="*/ 1065972 w 4610101"/>
              <a:gd name="connsiteY20411" fmla="*/ 1054069 h 6557032"/>
              <a:gd name="connsiteX20412" fmla="*/ 1064151 w 4610101"/>
              <a:gd name="connsiteY20412" fmla="*/ 1057713 h 6557032"/>
              <a:gd name="connsiteX20413" fmla="*/ 1067794 w 4610101"/>
              <a:gd name="connsiteY20413" fmla="*/ 1055891 h 6557032"/>
              <a:gd name="connsiteX20414" fmla="*/ 1065972 w 4610101"/>
              <a:gd name="connsiteY20414" fmla="*/ 1054069 h 6557032"/>
              <a:gd name="connsiteX20415" fmla="*/ 903799 w 4610101"/>
              <a:gd name="connsiteY20415" fmla="*/ 1054069 h 6557032"/>
              <a:gd name="connsiteX20416" fmla="*/ 909265 w 4610101"/>
              <a:gd name="connsiteY20416" fmla="*/ 1059535 h 6557032"/>
              <a:gd name="connsiteX20417" fmla="*/ 903799 w 4610101"/>
              <a:gd name="connsiteY20417" fmla="*/ 1059535 h 6557032"/>
              <a:gd name="connsiteX20418" fmla="*/ 903799 w 4610101"/>
              <a:gd name="connsiteY20418" fmla="*/ 1054069 h 6557032"/>
              <a:gd name="connsiteX20419" fmla="*/ 856422 w 4610101"/>
              <a:gd name="connsiteY20419" fmla="*/ 1054069 h 6557032"/>
              <a:gd name="connsiteX20420" fmla="*/ 849133 w 4610101"/>
              <a:gd name="connsiteY20420" fmla="*/ 1059535 h 6557032"/>
              <a:gd name="connsiteX20421" fmla="*/ 863711 w 4610101"/>
              <a:gd name="connsiteY20421" fmla="*/ 1083224 h 6557032"/>
              <a:gd name="connsiteX20422" fmla="*/ 858244 w 4610101"/>
              <a:gd name="connsiteY20422" fmla="*/ 1072291 h 6557032"/>
              <a:gd name="connsiteX20423" fmla="*/ 865533 w 4610101"/>
              <a:gd name="connsiteY20423" fmla="*/ 1072291 h 6557032"/>
              <a:gd name="connsiteX20424" fmla="*/ 856422 w 4610101"/>
              <a:gd name="connsiteY20424" fmla="*/ 1054069 h 6557032"/>
              <a:gd name="connsiteX20425" fmla="*/ 453722 w 4610101"/>
              <a:gd name="connsiteY20425" fmla="*/ 1054069 h 6557032"/>
              <a:gd name="connsiteX20426" fmla="*/ 470121 w 4610101"/>
              <a:gd name="connsiteY20426" fmla="*/ 1068646 h 6557032"/>
              <a:gd name="connsiteX20427" fmla="*/ 453722 w 4610101"/>
              <a:gd name="connsiteY20427" fmla="*/ 1054069 h 6557032"/>
              <a:gd name="connsiteX20428" fmla="*/ 377190 w 4610101"/>
              <a:gd name="connsiteY20428" fmla="*/ 1054069 h 6557032"/>
              <a:gd name="connsiteX20429" fmla="*/ 373546 w 4610101"/>
              <a:gd name="connsiteY20429" fmla="*/ 1055891 h 6557032"/>
              <a:gd name="connsiteX20430" fmla="*/ 377190 w 4610101"/>
              <a:gd name="connsiteY20430" fmla="*/ 1066824 h 6557032"/>
              <a:gd name="connsiteX20431" fmla="*/ 388123 w 4610101"/>
              <a:gd name="connsiteY20431" fmla="*/ 1063180 h 6557032"/>
              <a:gd name="connsiteX20432" fmla="*/ 377190 w 4610101"/>
              <a:gd name="connsiteY20432" fmla="*/ 1054069 h 6557032"/>
              <a:gd name="connsiteX20433" fmla="*/ 251460 w 4610101"/>
              <a:gd name="connsiteY20433" fmla="*/ 1054069 h 6557032"/>
              <a:gd name="connsiteX20434" fmla="*/ 260571 w 4610101"/>
              <a:gd name="connsiteY20434" fmla="*/ 1059535 h 6557032"/>
              <a:gd name="connsiteX20435" fmla="*/ 251460 w 4610101"/>
              <a:gd name="connsiteY20435" fmla="*/ 1054069 h 6557032"/>
              <a:gd name="connsiteX20436" fmla="*/ 187684 w 4610101"/>
              <a:gd name="connsiteY20436" fmla="*/ 1054069 h 6557032"/>
              <a:gd name="connsiteX20437" fmla="*/ 205906 w 4610101"/>
              <a:gd name="connsiteY20437" fmla="*/ 1068646 h 6557032"/>
              <a:gd name="connsiteX20438" fmla="*/ 187684 w 4610101"/>
              <a:gd name="connsiteY20438" fmla="*/ 1054069 h 6557032"/>
              <a:gd name="connsiteX20439" fmla="*/ 176751 w 4610101"/>
              <a:gd name="connsiteY20439" fmla="*/ 1054069 h 6557032"/>
              <a:gd name="connsiteX20440" fmla="*/ 182218 w 4610101"/>
              <a:gd name="connsiteY20440" fmla="*/ 1061358 h 6557032"/>
              <a:gd name="connsiteX20441" fmla="*/ 176751 w 4610101"/>
              <a:gd name="connsiteY20441" fmla="*/ 1054069 h 6557032"/>
              <a:gd name="connsiteX20442" fmla="*/ 1052359 w 4610101"/>
              <a:gd name="connsiteY20442" fmla="*/ 1053640 h 6557032"/>
              <a:gd name="connsiteX20443" fmla="*/ 1051568 w 4610101"/>
              <a:gd name="connsiteY20443" fmla="*/ 1054589 h 6557032"/>
              <a:gd name="connsiteX20444" fmla="*/ 1051395 w 4610101"/>
              <a:gd name="connsiteY20444" fmla="*/ 1054069 h 6557032"/>
              <a:gd name="connsiteX20445" fmla="*/ 2817081 w 4610101"/>
              <a:gd name="connsiteY20445" fmla="*/ 1052247 h 6557032"/>
              <a:gd name="connsiteX20446" fmla="*/ 2809793 w 4610101"/>
              <a:gd name="connsiteY20446" fmla="*/ 1054069 h 6557032"/>
              <a:gd name="connsiteX20447" fmla="*/ 2820726 w 4610101"/>
              <a:gd name="connsiteY20447" fmla="*/ 1074113 h 6557032"/>
              <a:gd name="connsiteX20448" fmla="*/ 2818903 w 4610101"/>
              <a:gd name="connsiteY20448" fmla="*/ 1083224 h 6557032"/>
              <a:gd name="connsiteX20449" fmla="*/ 2826192 w 4610101"/>
              <a:gd name="connsiteY20449" fmla="*/ 1085046 h 6557032"/>
              <a:gd name="connsiteX20450" fmla="*/ 2817081 w 4610101"/>
              <a:gd name="connsiteY20450" fmla="*/ 1052247 h 6557032"/>
              <a:gd name="connsiteX20451" fmla="*/ 2434425 w 4610101"/>
              <a:gd name="connsiteY20451" fmla="*/ 1052247 h 6557032"/>
              <a:gd name="connsiteX20452" fmla="*/ 2438069 w 4610101"/>
              <a:gd name="connsiteY20452" fmla="*/ 1068646 h 6557032"/>
              <a:gd name="connsiteX20453" fmla="*/ 2447180 w 4610101"/>
              <a:gd name="connsiteY20453" fmla="*/ 1055891 h 6557032"/>
              <a:gd name="connsiteX20454" fmla="*/ 2443536 w 4610101"/>
              <a:gd name="connsiteY20454" fmla="*/ 1059535 h 6557032"/>
              <a:gd name="connsiteX20455" fmla="*/ 2441713 w 4610101"/>
              <a:gd name="connsiteY20455" fmla="*/ 1052247 h 6557032"/>
              <a:gd name="connsiteX20456" fmla="*/ 2434425 w 4610101"/>
              <a:gd name="connsiteY20456" fmla="*/ 1052247 h 6557032"/>
              <a:gd name="connsiteX20457" fmla="*/ 810868 w 4610101"/>
              <a:gd name="connsiteY20457" fmla="*/ 1052247 h 6557032"/>
              <a:gd name="connsiteX20458" fmla="*/ 816334 w 4610101"/>
              <a:gd name="connsiteY20458" fmla="*/ 1061358 h 6557032"/>
              <a:gd name="connsiteX20459" fmla="*/ 810868 w 4610101"/>
              <a:gd name="connsiteY20459" fmla="*/ 1052247 h 6557032"/>
              <a:gd name="connsiteX20460" fmla="*/ 807223 w 4610101"/>
              <a:gd name="connsiteY20460" fmla="*/ 1052247 h 6557032"/>
              <a:gd name="connsiteX20461" fmla="*/ 810868 w 4610101"/>
              <a:gd name="connsiteY20461" fmla="*/ 1081402 h 6557032"/>
              <a:gd name="connsiteX20462" fmla="*/ 819979 w 4610101"/>
              <a:gd name="connsiteY20462" fmla="*/ 1074113 h 6557032"/>
              <a:gd name="connsiteX20463" fmla="*/ 812918 w 4610101"/>
              <a:gd name="connsiteY20463" fmla="*/ 1068191 h 6557032"/>
              <a:gd name="connsiteX20464" fmla="*/ 812740 w 4610101"/>
              <a:gd name="connsiteY20464" fmla="*/ 1061424 h 6557032"/>
              <a:gd name="connsiteX20465" fmla="*/ 815424 w 4610101"/>
              <a:gd name="connsiteY20465" fmla="*/ 1065002 h 6557032"/>
              <a:gd name="connsiteX20466" fmla="*/ 818156 w 4610101"/>
              <a:gd name="connsiteY20466" fmla="*/ 1068646 h 6557032"/>
              <a:gd name="connsiteX20467" fmla="*/ 817473 w 4610101"/>
              <a:gd name="connsiteY20467" fmla="*/ 1064318 h 6557032"/>
              <a:gd name="connsiteX20468" fmla="*/ 812739 w 4610101"/>
              <a:gd name="connsiteY20468" fmla="*/ 1061388 h 6557032"/>
              <a:gd name="connsiteX20469" fmla="*/ 812690 w 4610101"/>
              <a:gd name="connsiteY20469" fmla="*/ 1059535 h 6557032"/>
              <a:gd name="connsiteX20470" fmla="*/ 807223 w 4610101"/>
              <a:gd name="connsiteY20470" fmla="*/ 1052247 h 6557032"/>
              <a:gd name="connsiteX20471" fmla="*/ 781713 w 4610101"/>
              <a:gd name="connsiteY20471" fmla="*/ 1052247 h 6557032"/>
              <a:gd name="connsiteX20472" fmla="*/ 779892 w 4610101"/>
              <a:gd name="connsiteY20472" fmla="*/ 1061358 h 6557032"/>
              <a:gd name="connsiteX20473" fmla="*/ 781713 w 4610101"/>
              <a:gd name="connsiteY20473" fmla="*/ 1059535 h 6557032"/>
              <a:gd name="connsiteX20474" fmla="*/ 778070 w 4610101"/>
              <a:gd name="connsiteY20474" fmla="*/ 1065002 h 6557032"/>
              <a:gd name="connsiteX20475" fmla="*/ 789003 w 4610101"/>
              <a:gd name="connsiteY20475" fmla="*/ 1066824 h 6557032"/>
              <a:gd name="connsiteX20476" fmla="*/ 781713 w 4610101"/>
              <a:gd name="connsiteY20476" fmla="*/ 1052247 h 6557032"/>
              <a:gd name="connsiteX20477" fmla="*/ 750737 w 4610101"/>
              <a:gd name="connsiteY20477" fmla="*/ 1052247 h 6557032"/>
              <a:gd name="connsiteX20478" fmla="*/ 754380 w 4610101"/>
              <a:gd name="connsiteY20478" fmla="*/ 1061358 h 6557032"/>
              <a:gd name="connsiteX20479" fmla="*/ 750737 w 4610101"/>
              <a:gd name="connsiteY20479" fmla="*/ 1052247 h 6557032"/>
              <a:gd name="connsiteX20480" fmla="*/ 721581 w 4610101"/>
              <a:gd name="connsiteY20480" fmla="*/ 1052247 h 6557032"/>
              <a:gd name="connsiteX20481" fmla="*/ 719759 w 4610101"/>
              <a:gd name="connsiteY20481" fmla="*/ 1054069 h 6557032"/>
              <a:gd name="connsiteX20482" fmla="*/ 723404 w 4610101"/>
              <a:gd name="connsiteY20482" fmla="*/ 1059535 h 6557032"/>
              <a:gd name="connsiteX20483" fmla="*/ 721581 w 4610101"/>
              <a:gd name="connsiteY20483" fmla="*/ 1052247 h 6557032"/>
              <a:gd name="connsiteX20484" fmla="*/ 659627 w 4610101"/>
              <a:gd name="connsiteY20484" fmla="*/ 1052247 h 6557032"/>
              <a:gd name="connsiteX20485" fmla="*/ 665094 w 4610101"/>
              <a:gd name="connsiteY20485" fmla="*/ 1057713 h 6557032"/>
              <a:gd name="connsiteX20486" fmla="*/ 666916 w 4610101"/>
              <a:gd name="connsiteY20486" fmla="*/ 1054069 h 6557032"/>
              <a:gd name="connsiteX20487" fmla="*/ 659627 w 4610101"/>
              <a:gd name="connsiteY20487" fmla="*/ 1052247 h 6557032"/>
              <a:gd name="connsiteX20488" fmla="*/ 348037 w 4610101"/>
              <a:gd name="connsiteY20488" fmla="*/ 1052247 h 6557032"/>
              <a:gd name="connsiteX20489" fmla="*/ 373546 w 4610101"/>
              <a:gd name="connsiteY20489" fmla="*/ 1077757 h 6557032"/>
              <a:gd name="connsiteX20490" fmla="*/ 368079 w 4610101"/>
              <a:gd name="connsiteY20490" fmla="*/ 1072291 h 6557032"/>
              <a:gd name="connsiteX20491" fmla="*/ 368079 w 4610101"/>
              <a:gd name="connsiteY20491" fmla="*/ 1066824 h 6557032"/>
              <a:gd name="connsiteX20492" fmla="*/ 360791 w 4610101"/>
              <a:gd name="connsiteY20492" fmla="*/ 1065002 h 6557032"/>
              <a:gd name="connsiteX20493" fmla="*/ 362613 w 4610101"/>
              <a:gd name="connsiteY20493" fmla="*/ 1063180 h 6557032"/>
              <a:gd name="connsiteX20494" fmla="*/ 348037 w 4610101"/>
              <a:gd name="connsiteY20494" fmla="*/ 1052247 h 6557032"/>
              <a:gd name="connsiteX20495" fmla="*/ 2774134 w 4610101"/>
              <a:gd name="connsiteY20495" fmla="*/ 1051578 h 6557032"/>
              <a:gd name="connsiteX20496" fmla="*/ 2775171 w 4610101"/>
              <a:gd name="connsiteY20496" fmla="*/ 1054069 h 6557032"/>
              <a:gd name="connsiteX20497" fmla="*/ 2773531 w 4610101"/>
              <a:gd name="connsiteY20497" fmla="*/ 1054888 h 6557032"/>
              <a:gd name="connsiteX20498" fmla="*/ 2314161 w 4610101"/>
              <a:gd name="connsiteY20498" fmla="*/ 1050425 h 6557032"/>
              <a:gd name="connsiteX20499" fmla="*/ 2315983 w 4610101"/>
              <a:gd name="connsiteY20499" fmla="*/ 1052247 h 6557032"/>
              <a:gd name="connsiteX20500" fmla="*/ 2317806 w 4610101"/>
              <a:gd name="connsiteY20500" fmla="*/ 1052247 h 6557032"/>
              <a:gd name="connsiteX20501" fmla="*/ 1157081 w 4610101"/>
              <a:gd name="connsiteY20501" fmla="*/ 1050425 h 6557032"/>
              <a:gd name="connsiteX20502" fmla="*/ 1155259 w 4610101"/>
              <a:gd name="connsiteY20502" fmla="*/ 1052247 h 6557032"/>
              <a:gd name="connsiteX20503" fmla="*/ 1160725 w 4610101"/>
              <a:gd name="connsiteY20503" fmla="*/ 1052247 h 6557032"/>
              <a:gd name="connsiteX20504" fmla="*/ 1157081 w 4610101"/>
              <a:gd name="connsiteY20504" fmla="*/ 1050425 h 6557032"/>
              <a:gd name="connsiteX20505" fmla="*/ 1111526 w 4610101"/>
              <a:gd name="connsiteY20505" fmla="*/ 1050425 h 6557032"/>
              <a:gd name="connsiteX20506" fmla="*/ 1116993 w 4610101"/>
              <a:gd name="connsiteY20506" fmla="*/ 1054069 h 6557032"/>
              <a:gd name="connsiteX20507" fmla="*/ 1118815 w 4610101"/>
              <a:gd name="connsiteY20507" fmla="*/ 1052247 h 6557032"/>
              <a:gd name="connsiteX20508" fmla="*/ 1111526 w 4610101"/>
              <a:gd name="connsiteY20508" fmla="*/ 1050425 h 6557032"/>
              <a:gd name="connsiteX20509" fmla="*/ 1022240 w 4610101"/>
              <a:gd name="connsiteY20509" fmla="*/ 1050425 h 6557032"/>
              <a:gd name="connsiteX20510" fmla="*/ 1020418 w 4610101"/>
              <a:gd name="connsiteY20510" fmla="*/ 1059535 h 6557032"/>
              <a:gd name="connsiteX20511" fmla="*/ 1024062 w 4610101"/>
              <a:gd name="connsiteY20511" fmla="*/ 1052247 h 6557032"/>
              <a:gd name="connsiteX20512" fmla="*/ 1022240 w 4610101"/>
              <a:gd name="connsiteY20512" fmla="*/ 1050425 h 6557032"/>
              <a:gd name="connsiteX20513" fmla="*/ 891043 w 4610101"/>
              <a:gd name="connsiteY20513" fmla="*/ 1050425 h 6557032"/>
              <a:gd name="connsiteX20514" fmla="*/ 891043 w 4610101"/>
              <a:gd name="connsiteY20514" fmla="*/ 1059535 h 6557032"/>
              <a:gd name="connsiteX20515" fmla="*/ 894688 w 4610101"/>
              <a:gd name="connsiteY20515" fmla="*/ 1054069 h 6557032"/>
              <a:gd name="connsiteX20516" fmla="*/ 891043 w 4610101"/>
              <a:gd name="connsiteY20516" fmla="*/ 1050425 h 6557032"/>
              <a:gd name="connsiteX20517" fmla="*/ 196795 w 4610101"/>
              <a:gd name="connsiteY20517" fmla="*/ 1050425 h 6557032"/>
              <a:gd name="connsiteX20518" fmla="*/ 199225 w 4610101"/>
              <a:gd name="connsiteY20518" fmla="*/ 1054069 h 6557032"/>
              <a:gd name="connsiteX20519" fmla="*/ 198617 w 4610101"/>
              <a:gd name="connsiteY20519" fmla="*/ 1054069 h 6557032"/>
              <a:gd name="connsiteX20520" fmla="*/ 204084 w 4610101"/>
              <a:gd name="connsiteY20520" fmla="*/ 1061358 h 6557032"/>
              <a:gd name="connsiteX20521" fmla="*/ 199225 w 4610101"/>
              <a:gd name="connsiteY20521" fmla="*/ 1054069 h 6557032"/>
              <a:gd name="connsiteX20522" fmla="*/ 200439 w 4610101"/>
              <a:gd name="connsiteY20522" fmla="*/ 1054069 h 6557032"/>
              <a:gd name="connsiteX20523" fmla="*/ 196795 w 4610101"/>
              <a:gd name="connsiteY20523" fmla="*/ 1050425 h 6557032"/>
              <a:gd name="connsiteX20524" fmla="*/ 253738 w 4610101"/>
              <a:gd name="connsiteY20524" fmla="*/ 1050424 h 6557032"/>
              <a:gd name="connsiteX20525" fmla="*/ 245994 w 4610101"/>
              <a:gd name="connsiteY20525" fmla="*/ 1052247 h 6557032"/>
              <a:gd name="connsiteX20526" fmla="*/ 258749 w 4610101"/>
              <a:gd name="connsiteY20526" fmla="*/ 1054069 h 6557032"/>
              <a:gd name="connsiteX20527" fmla="*/ 253738 w 4610101"/>
              <a:gd name="connsiteY20527" fmla="*/ 1050424 h 6557032"/>
              <a:gd name="connsiteX20528" fmla="*/ 3134140 w 4610101"/>
              <a:gd name="connsiteY20528" fmla="*/ 1048602 h 6557032"/>
              <a:gd name="connsiteX20529" fmla="*/ 3134140 w 4610101"/>
              <a:gd name="connsiteY20529" fmla="*/ 1059535 h 6557032"/>
              <a:gd name="connsiteX20530" fmla="*/ 3134140 w 4610101"/>
              <a:gd name="connsiteY20530" fmla="*/ 1048602 h 6557032"/>
              <a:gd name="connsiteX20531" fmla="*/ 907444 w 4610101"/>
              <a:gd name="connsiteY20531" fmla="*/ 1048602 h 6557032"/>
              <a:gd name="connsiteX20532" fmla="*/ 898333 w 4610101"/>
              <a:gd name="connsiteY20532" fmla="*/ 1055891 h 6557032"/>
              <a:gd name="connsiteX20533" fmla="*/ 905621 w 4610101"/>
              <a:gd name="connsiteY20533" fmla="*/ 1063180 h 6557032"/>
              <a:gd name="connsiteX20534" fmla="*/ 909265 w 4610101"/>
              <a:gd name="connsiteY20534" fmla="*/ 1059535 h 6557032"/>
              <a:gd name="connsiteX20535" fmla="*/ 907444 w 4610101"/>
              <a:gd name="connsiteY20535" fmla="*/ 1048602 h 6557032"/>
              <a:gd name="connsiteX20536" fmla="*/ 884666 w 4610101"/>
              <a:gd name="connsiteY20536" fmla="*/ 1048147 h 6557032"/>
              <a:gd name="connsiteX20537" fmla="*/ 880111 w 4610101"/>
              <a:gd name="connsiteY20537" fmla="*/ 1050425 h 6557032"/>
              <a:gd name="connsiteX20538" fmla="*/ 881933 w 4610101"/>
              <a:gd name="connsiteY20538" fmla="*/ 1052247 h 6557032"/>
              <a:gd name="connsiteX20539" fmla="*/ 878288 w 4610101"/>
              <a:gd name="connsiteY20539" fmla="*/ 1050425 h 6557032"/>
              <a:gd name="connsiteX20540" fmla="*/ 869177 w 4610101"/>
              <a:gd name="connsiteY20540" fmla="*/ 1052247 h 6557032"/>
              <a:gd name="connsiteX20541" fmla="*/ 871000 w 4610101"/>
              <a:gd name="connsiteY20541" fmla="*/ 1059535 h 6557032"/>
              <a:gd name="connsiteX20542" fmla="*/ 881933 w 4610101"/>
              <a:gd name="connsiteY20542" fmla="*/ 1075935 h 6557032"/>
              <a:gd name="connsiteX20543" fmla="*/ 881933 w 4610101"/>
              <a:gd name="connsiteY20543" fmla="*/ 1074113 h 6557032"/>
              <a:gd name="connsiteX20544" fmla="*/ 883755 w 4610101"/>
              <a:gd name="connsiteY20544" fmla="*/ 1054069 h 6557032"/>
              <a:gd name="connsiteX20545" fmla="*/ 887399 w 4610101"/>
              <a:gd name="connsiteY20545" fmla="*/ 1055891 h 6557032"/>
              <a:gd name="connsiteX20546" fmla="*/ 889222 w 4610101"/>
              <a:gd name="connsiteY20546" fmla="*/ 1048602 h 6557032"/>
              <a:gd name="connsiteX20547" fmla="*/ 884666 w 4610101"/>
              <a:gd name="connsiteY20547" fmla="*/ 1048147 h 6557032"/>
              <a:gd name="connsiteX20548" fmla="*/ 1276731 w 4610101"/>
              <a:gd name="connsiteY20548" fmla="*/ 1046798 h 6557032"/>
              <a:gd name="connsiteX20549" fmla="*/ 1275522 w 4610101"/>
              <a:gd name="connsiteY20549" fmla="*/ 1050425 h 6557032"/>
              <a:gd name="connsiteX20550" fmla="*/ 1273875 w 4610101"/>
              <a:gd name="connsiteY20550" fmla="*/ 1047131 h 6557032"/>
              <a:gd name="connsiteX20551" fmla="*/ 1275294 w 4610101"/>
              <a:gd name="connsiteY20551" fmla="*/ 1047463 h 6557032"/>
              <a:gd name="connsiteX20552" fmla="*/ 1016774 w 4610101"/>
              <a:gd name="connsiteY20552" fmla="*/ 1046780 h 6557032"/>
              <a:gd name="connsiteX20553" fmla="*/ 1014951 w 4610101"/>
              <a:gd name="connsiteY20553" fmla="*/ 1059535 h 6557032"/>
              <a:gd name="connsiteX20554" fmla="*/ 1016774 w 4610101"/>
              <a:gd name="connsiteY20554" fmla="*/ 1046780 h 6557032"/>
              <a:gd name="connsiteX20555" fmla="*/ 871000 w 4610101"/>
              <a:gd name="connsiteY20555" fmla="*/ 1046780 h 6557032"/>
              <a:gd name="connsiteX20556" fmla="*/ 869177 w 4610101"/>
              <a:gd name="connsiteY20556" fmla="*/ 1048602 h 6557032"/>
              <a:gd name="connsiteX20557" fmla="*/ 872822 w 4610101"/>
              <a:gd name="connsiteY20557" fmla="*/ 1048602 h 6557032"/>
              <a:gd name="connsiteX20558" fmla="*/ 871000 w 4610101"/>
              <a:gd name="connsiteY20558" fmla="*/ 1046780 h 6557032"/>
              <a:gd name="connsiteX20559" fmla="*/ 810868 w 4610101"/>
              <a:gd name="connsiteY20559" fmla="*/ 1046780 h 6557032"/>
              <a:gd name="connsiteX20560" fmla="*/ 807223 w 4610101"/>
              <a:gd name="connsiteY20560" fmla="*/ 1050425 h 6557032"/>
              <a:gd name="connsiteX20561" fmla="*/ 812690 w 4610101"/>
              <a:gd name="connsiteY20561" fmla="*/ 1052247 h 6557032"/>
              <a:gd name="connsiteX20562" fmla="*/ 810868 w 4610101"/>
              <a:gd name="connsiteY20562" fmla="*/ 1046780 h 6557032"/>
              <a:gd name="connsiteX20563" fmla="*/ 655983 w 4610101"/>
              <a:gd name="connsiteY20563" fmla="*/ 1046780 h 6557032"/>
              <a:gd name="connsiteX20564" fmla="*/ 665094 w 4610101"/>
              <a:gd name="connsiteY20564" fmla="*/ 1050425 h 6557032"/>
              <a:gd name="connsiteX20565" fmla="*/ 655983 w 4610101"/>
              <a:gd name="connsiteY20565" fmla="*/ 1046780 h 6557032"/>
              <a:gd name="connsiteX20566" fmla="*/ 420923 w 4610101"/>
              <a:gd name="connsiteY20566" fmla="*/ 1046780 h 6557032"/>
              <a:gd name="connsiteX20567" fmla="*/ 428211 w 4610101"/>
              <a:gd name="connsiteY20567" fmla="*/ 1057713 h 6557032"/>
              <a:gd name="connsiteX20568" fmla="*/ 430034 w 4610101"/>
              <a:gd name="connsiteY20568" fmla="*/ 1050425 h 6557032"/>
              <a:gd name="connsiteX20569" fmla="*/ 420923 w 4610101"/>
              <a:gd name="connsiteY20569" fmla="*/ 1046780 h 6557032"/>
              <a:gd name="connsiteX20570" fmla="*/ 311592 w 4610101"/>
              <a:gd name="connsiteY20570" fmla="*/ 1046780 h 6557032"/>
              <a:gd name="connsiteX20571" fmla="*/ 326169 w 4610101"/>
              <a:gd name="connsiteY20571" fmla="*/ 1055891 h 6557032"/>
              <a:gd name="connsiteX20572" fmla="*/ 318882 w 4610101"/>
              <a:gd name="connsiteY20572" fmla="*/ 1046780 h 6557032"/>
              <a:gd name="connsiteX20573" fmla="*/ 311592 w 4610101"/>
              <a:gd name="connsiteY20573" fmla="*/ 1046780 h 6557032"/>
              <a:gd name="connsiteX20574" fmla="*/ 125730 w 4610101"/>
              <a:gd name="connsiteY20574" fmla="*/ 1046780 h 6557032"/>
              <a:gd name="connsiteX20575" fmla="*/ 143952 w 4610101"/>
              <a:gd name="connsiteY20575" fmla="*/ 1059535 h 6557032"/>
              <a:gd name="connsiteX20576" fmla="*/ 125730 w 4610101"/>
              <a:gd name="connsiteY20576" fmla="*/ 1046780 h 6557032"/>
              <a:gd name="connsiteX20577" fmla="*/ 3297233 w 4610101"/>
              <a:gd name="connsiteY20577" fmla="*/ 1045564 h 6557032"/>
              <a:gd name="connsiteX20578" fmla="*/ 3296996 w 4610101"/>
              <a:gd name="connsiteY20578" fmla="*/ 1045641 h 6557032"/>
              <a:gd name="connsiteX20579" fmla="*/ 3289969 w 4610101"/>
              <a:gd name="connsiteY20579" fmla="*/ 1048725 h 6557032"/>
              <a:gd name="connsiteX20580" fmla="*/ 3294719 w 4610101"/>
              <a:gd name="connsiteY20580" fmla="*/ 1045869 h 6557032"/>
              <a:gd name="connsiteX20581" fmla="*/ 3084941 w 4610101"/>
              <a:gd name="connsiteY20581" fmla="*/ 1044958 h 6557032"/>
              <a:gd name="connsiteX20582" fmla="*/ 3075830 w 4610101"/>
              <a:gd name="connsiteY20582" fmla="*/ 1050425 h 6557032"/>
              <a:gd name="connsiteX20583" fmla="*/ 3079474 w 4610101"/>
              <a:gd name="connsiteY20583" fmla="*/ 1059535 h 6557032"/>
              <a:gd name="connsiteX20584" fmla="*/ 3095874 w 4610101"/>
              <a:gd name="connsiteY20584" fmla="*/ 1057713 h 6557032"/>
              <a:gd name="connsiteX20585" fmla="*/ 3084941 w 4610101"/>
              <a:gd name="connsiteY20585" fmla="*/ 1044958 h 6557032"/>
              <a:gd name="connsiteX20586" fmla="*/ 2299584 w 4610101"/>
              <a:gd name="connsiteY20586" fmla="*/ 1044958 h 6557032"/>
              <a:gd name="connsiteX20587" fmla="*/ 2303228 w 4610101"/>
              <a:gd name="connsiteY20587" fmla="*/ 1054069 h 6557032"/>
              <a:gd name="connsiteX20588" fmla="*/ 2305050 w 4610101"/>
              <a:gd name="connsiteY20588" fmla="*/ 1046780 h 6557032"/>
              <a:gd name="connsiteX20589" fmla="*/ 2305050 w 4610101"/>
              <a:gd name="connsiteY20589" fmla="*/ 1052247 h 6557032"/>
              <a:gd name="connsiteX20590" fmla="*/ 2310517 w 4610101"/>
              <a:gd name="connsiteY20590" fmla="*/ 1048602 h 6557032"/>
              <a:gd name="connsiteX20591" fmla="*/ 2235808 w 4610101"/>
              <a:gd name="connsiteY20591" fmla="*/ 1044958 h 6557032"/>
              <a:gd name="connsiteX20592" fmla="*/ 2221230 w 4610101"/>
              <a:gd name="connsiteY20592" fmla="*/ 1075935 h 6557032"/>
              <a:gd name="connsiteX20593" fmla="*/ 2233274 w 4610101"/>
              <a:gd name="connsiteY20593" fmla="*/ 1071418 h 6557032"/>
              <a:gd name="connsiteX20594" fmla="*/ 2228520 w 4610101"/>
              <a:gd name="connsiteY20594" fmla="*/ 1077757 h 6557032"/>
              <a:gd name="connsiteX20595" fmla="*/ 2228519 w 4610101"/>
              <a:gd name="connsiteY20595" fmla="*/ 1077757 h 6557032"/>
              <a:gd name="connsiteX20596" fmla="*/ 2223053 w 4610101"/>
              <a:gd name="connsiteY20596" fmla="*/ 1085046 h 6557032"/>
              <a:gd name="connsiteX20597" fmla="*/ 2228520 w 4610101"/>
              <a:gd name="connsiteY20597" fmla="*/ 1077757 h 6557032"/>
              <a:gd name="connsiteX20598" fmla="*/ 2232163 w 4610101"/>
              <a:gd name="connsiteY20598" fmla="*/ 1083224 h 6557032"/>
              <a:gd name="connsiteX20599" fmla="*/ 2252207 w 4610101"/>
              <a:gd name="connsiteY20599" fmla="*/ 1068646 h 6557032"/>
              <a:gd name="connsiteX20600" fmla="*/ 2244919 w 4610101"/>
              <a:gd name="connsiteY20600" fmla="*/ 1068646 h 6557032"/>
              <a:gd name="connsiteX20601" fmla="*/ 2241503 w 4610101"/>
              <a:gd name="connsiteY20601" fmla="*/ 1071607 h 6557032"/>
              <a:gd name="connsiteX20602" fmla="*/ 2235283 w 4610101"/>
              <a:gd name="connsiteY20602" fmla="*/ 1070665 h 6557032"/>
              <a:gd name="connsiteX20603" fmla="*/ 2250385 w 4610101"/>
              <a:gd name="connsiteY20603" fmla="*/ 1065002 h 6557032"/>
              <a:gd name="connsiteX20604" fmla="*/ 2255852 w 4610101"/>
              <a:gd name="connsiteY20604" fmla="*/ 1050425 h 6557032"/>
              <a:gd name="connsiteX20605" fmla="*/ 2248563 w 4610101"/>
              <a:gd name="connsiteY20605" fmla="*/ 1048602 h 6557032"/>
              <a:gd name="connsiteX20606" fmla="*/ 2244919 w 4610101"/>
              <a:gd name="connsiteY20606" fmla="*/ 1059535 h 6557032"/>
              <a:gd name="connsiteX20607" fmla="*/ 2233986 w 4610101"/>
              <a:gd name="connsiteY20607" fmla="*/ 1066824 h 6557032"/>
              <a:gd name="connsiteX20608" fmla="*/ 2233986 w 4610101"/>
              <a:gd name="connsiteY20608" fmla="*/ 1055891 h 6557032"/>
              <a:gd name="connsiteX20609" fmla="*/ 2223053 w 4610101"/>
              <a:gd name="connsiteY20609" fmla="*/ 1063180 h 6557032"/>
              <a:gd name="connsiteX20610" fmla="*/ 2235808 w 4610101"/>
              <a:gd name="connsiteY20610" fmla="*/ 1044958 h 6557032"/>
              <a:gd name="connsiteX20611" fmla="*/ 1142503 w 4610101"/>
              <a:gd name="connsiteY20611" fmla="*/ 1044958 h 6557032"/>
              <a:gd name="connsiteX20612" fmla="*/ 1138859 w 4610101"/>
              <a:gd name="connsiteY20612" fmla="*/ 1048602 h 6557032"/>
              <a:gd name="connsiteX20613" fmla="*/ 1142503 w 4610101"/>
              <a:gd name="connsiteY20613" fmla="*/ 1044958 h 6557032"/>
              <a:gd name="connsiteX20614" fmla="*/ 922020 w 4610101"/>
              <a:gd name="connsiteY20614" fmla="*/ 1044958 h 6557032"/>
              <a:gd name="connsiteX20615" fmla="*/ 923843 w 4610101"/>
              <a:gd name="connsiteY20615" fmla="*/ 1066824 h 6557032"/>
              <a:gd name="connsiteX20616" fmla="*/ 922020 w 4610101"/>
              <a:gd name="connsiteY20616" fmla="*/ 1044958 h 6557032"/>
              <a:gd name="connsiteX20617" fmla="*/ 894688 w 4610101"/>
              <a:gd name="connsiteY20617" fmla="*/ 1044958 h 6557032"/>
              <a:gd name="connsiteX20618" fmla="*/ 891043 w 4610101"/>
              <a:gd name="connsiteY20618" fmla="*/ 1046780 h 6557032"/>
              <a:gd name="connsiteX20619" fmla="*/ 894688 w 4610101"/>
              <a:gd name="connsiteY20619" fmla="*/ 1052247 h 6557032"/>
              <a:gd name="connsiteX20620" fmla="*/ 894688 w 4610101"/>
              <a:gd name="connsiteY20620" fmla="*/ 1044958 h 6557032"/>
              <a:gd name="connsiteX20621" fmla="*/ 821801 w 4610101"/>
              <a:gd name="connsiteY20621" fmla="*/ 1044958 h 6557032"/>
              <a:gd name="connsiteX20622" fmla="*/ 821801 w 4610101"/>
              <a:gd name="connsiteY20622" fmla="*/ 1052247 h 6557032"/>
              <a:gd name="connsiteX20623" fmla="*/ 821801 w 4610101"/>
              <a:gd name="connsiteY20623" fmla="*/ 1044958 h 6557032"/>
              <a:gd name="connsiteX20624" fmla="*/ 380835 w 4610101"/>
              <a:gd name="connsiteY20624" fmla="*/ 1044958 h 6557032"/>
              <a:gd name="connsiteX20625" fmla="*/ 413634 w 4610101"/>
              <a:gd name="connsiteY20625" fmla="*/ 1068646 h 6557032"/>
              <a:gd name="connsiteX20626" fmla="*/ 400879 w 4610101"/>
              <a:gd name="connsiteY20626" fmla="*/ 1055891 h 6557032"/>
              <a:gd name="connsiteX20627" fmla="*/ 380835 w 4610101"/>
              <a:gd name="connsiteY20627" fmla="*/ 1044958 h 6557032"/>
              <a:gd name="connsiteX20628" fmla="*/ 368079 w 4610101"/>
              <a:gd name="connsiteY20628" fmla="*/ 1044958 h 6557032"/>
              <a:gd name="connsiteX20629" fmla="*/ 377190 w 4610101"/>
              <a:gd name="connsiteY20629" fmla="*/ 1050425 h 6557032"/>
              <a:gd name="connsiteX20630" fmla="*/ 368079 w 4610101"/>
              <a:gd name="connsiteY20630" fmla="*/ 1044958 h 6557032"/>
              <a:gd name="connsiteX20631" fmla="*/ 324347 w 4610101"/>
              <a:gd name="connsiteY20631" fmla="*/ 1044958 h 6557032"/>
              <a:gd name="connsiteX20632" fmla="*/ 337102 w 4610101"/>
              <a:gd name="connsiteY20632" fmla="*/ 1055891 h 6557032"/>
              <a:gd name="connsiteX20633" fmla="*/ 324347 w 4610101"/>
              <a:gd name="connsiteY20633" fmla="*/ 1044958 h 6557032"/>
              <a:gd name="connsiteX20634" fmla="*/ 202262 w 4610101"/>
              <a:gd name="connsiteY20634" fmla="*/ 1044958 h 6557032"/>
              <a:gd name="connsiteX20635" fmla="*/ 240527 w 4610101"/>
              <a:gd name="connsiteY20635" fmla="*/ 1077757 h 6557032"/>
              <a:gd name="connsiteX20636" fmla="*/ 202262 w 4610101"/>
              <a:gd name="connsiteY20636" fmla="*/ 1044958 h 6557032"/>
              <a:gd name="connsiteX20637" fmla="*/ 3141428 w 4610101"/>
              <a:gd name="connsiteY20637" fmla="*/ 1043136 h 6557032"/>
              <a:gd name="connsiteX20638" fmla="*/ 3137784 w 4610101"/>
              <a:gd name="connsiteY20638" fmla="*/ 1052247 h 6557032"/>
              <a:gd name="connsiteX20639" fmla="*/ 3141428 w 4610101"/>
              <a:gd name="connsiteY20639" fmla="*/ 1055891 h 6557032"/>
              <a:gd name="connsiteX20640" fmla="*/ 3148717 w 4610101"/>
              <a:gd name="connsiteY20640" fmla="*/ 1050425 h 6557032"/>
              <a:gd name="connsiteX20641" fmla="*/ 3141428 w 4610101"/>
              <a:gd name="connsiteY20641" fmla="*/ 1043136 h 6557032"/>
              <a:gd name="connsiteX20642" fmla="*/ 1271878 w 4610101"/>
              <a:gd name="connsiteY20642" fmla="*/ 1043136 h 6557032"/>
              <a:gd name="connsiteX20643" fmla="*/ 1273875 w 4610101"/>
              <a:gd name="connsiteY20643" fmla="*/ 1047131 h 6557032"/>
              <a:gd name="connsiteX20644" fmla="*/ 1264589 w 4610101"/>
              <a:gd name="connsiteY20644" fmla="*/ 1044958 h 6557032"/>
              <a:gd name="connsiteX20645" fmla="*/ 1271878 w 4610101"/>
              <a:gd name="connsiteY20645" fmla="*/ 1043136 h 6557032"/>
              <a:gd name="connsiteX20646" fmla="*/ 1211747 w 4610101"/>
              <a:gd name="connsiteY20646" fmla="*/ 1043136 h 6557032"/>
              <a:gd name="connsiteX20647" fmla="*/ 1209241 w 4610101"/>
              <a:gd name="connsiteY20647" fmla="*/ 1050197 h 6557032"/>
              <a:gd name="connsiteX20648" fmla="*/ 1204064 w 4610101"/>
              <a:gd name="connsiteY20648" fmla="*/ 1054660 h 6557032"/>
              <a:gd name="connsiteX20649" fmla="*/ 1149792 w 4610101"/>
              <a:gd name="connsiteY20649" fmla="*/ 1043136 h 6557032"/>
              <a:gd name="connsiteX20650" fmla="*/ 1146148 w 4610101"/>
              <a:gd name="connsiteY20650" fmla="*/ 1046780 h 6557032"/>
              <a:gd name="connsiteX20651" fmla="*/ 1149792 w 4610101"/>
              <a:gd name="connsiteY20651" fmla="*/ 1043136 h 6557032"/>
              <a:gd name="connsiteX20652" fmla="*/ 1091484 w 4610101"/>
              <a:gd name="connsiteY20652" fmla="*/ 1043136 h 6557032"/>
              <a:gd name="connsiteX20653" fmla="*/ 1091484 w 4610101"/>
              <a:gd name="connsiteY20653" fmla="*/ 1048602 h 6557032"/>
              <a:gd name="connsiteX20654" fmla="*/ 1091484 w 4610101"/>
              <a:gd name="connsiteY20654" fmla="*/ 1052247 h 6557032"/>
              <a:gd name="connsiteX20655" fmla="*/ 1098771 w 4610101"/>
              <a:gd name="connsiteY20655" fmla="*/ 1050425 h 6557032"/>
              <a:gd name="connsiteX20656" fmla="*/ 1096949 w 4610101"/>
              <a:gd name="connsiteY20656" fmla="*/ 1044958 h 6557032"/>
              <a:gd name="connsiteX20657" fmla="*/ 1091484 w 4610101"/>
              <a:gd name="connsiteY20657" fmla="*/ 1048602 h 6557032"/>
              <a:gd name="connsiteX20658" fmla="*/ 1095127 w 4610101"/>
              <a:gd name="connsiteY20658" fmla="*/ 1044958 h 6557032"/>
              <a:gd name="connsiteX20659" fmla="*/ 1091484 w 4610101"/>
              <a:gd name="connsiteY20659" fmla="*/ 1043136 h 6557032"/>
              <a:gd name="connsiteX20660" fmla="*/ 1047750 w 4610101"/>
              <a:gd name="connsiteY20660" fmla="*/ 1043136 h 6557032"/>
              <a:gd name="connsiteX20661" fmla="*/ 1045929 w 4610101"/>
              <a:gd name="connsiteY20661" fmla="*/ 1061358 h 6557032"/>
              <a:gd name="connsiteX20662" fmla="*/ 1051568 w 4610101"/>
              <a:gd name="connsiteY20662" fmla="*/ 1054589 h 6557032"/>
              <a:gd name="connsiteX20663" fmla="*/ 1053217 w 4610101"/>
              <a:gd name="connsiteY20663" fmla="*/ 1059535 h 6557032"/>
              <a:gd name="connsiteX20664" fmla="*/ 1056861 w 4610101"/>
              <a:gd name="connsiteY20664" fmla="*/ 1057713 h 6557032"/>
              <a:gd name="connsiteX20665" fmla="*/ 1055040 w 4610101"/>
              <a:gd name="connsiteY20665" fmla="*/ 1057713 h 6557032"/>
              <a:gd name="connsiteX20666" fmla="*/ 1056861 w 4610101"/>
              <a:gd name="connsiteY20666" fmla="*/ 1050425 h 6557032"/>
              <a:gd name="connsiteX20667" fmla="*/ 1055494 w 4610101"/>
              <a:gd name="connsiteY20667" fmla="*/ 1052247 h 6557032"/>
              <a:gd name="connsiteX20668" fmla="*/ 1052359 w 4610101"/>
              <a:gd name="connsiteY20668" fmla="*/ 1053640 h 6557032"/>
              <a:gd name="connsiteX20669" fmla="*/ 1055040 w 4610101"/>
              <a:gd name="connsiteY20669" fmla="*/ 1050425 h 6557032"/>
              <a:gd name="connsiteX20670" fmla="*/ 1047750 w 4610101"/>
              <a:gd name="connsiteY20670" fmla="*/ 1043136 h 6557032"/>
              <a:gd name="connsiteX20671" fmla="*/ 1009485 w 4610101"/>
              <a:gd name="connsiteY20671" fmla="*/ 1043136 h 6557032"/>
              <a:gd name="connsiteX20672" fmla="*/ 1009485 w 4610101"/>
              <a:gd name="connsiteY20672" fmla="*/ 1050425 h 6557032"/>
              <a:gd name="connsiteX20673" fmla="*/ 1013129 w 4610101"/>
              <a:gd name="connsiteY20673" fmla="*/ 1046780 h 6557032"/>
              <a:gd name="connsiteX20674" fmla="*/ 1009485 w 4610101"/>
              <a:gd name="connsiteY20674" fmla="*/ 1043136 h 6557032"/>
              <a:gd name="connsiteX20675" fmla="*/ 901976 w 4610101"/>
              <a:gd name="connsiteY20675" fmla="*/ 1043136 h 6557032"/>
              <a:gd name="connsiteX20676" fmla="*/ 896510 w 4610101"/>
              <a:gd name="connsiteY20676" fmla="*/ 1055891 h 6557032"/>
              <a:gd name="connsiteX20677" fmla="*/ 903799 w 4610101"/>
              <a:gd name="connsiteY20677" fmla="*/ 1046780 h 6557032"/>
              <a:gd name="connsiteX20678" fmla="*/ 901976 w 4610101"/>
              <a:gd name="connsiteY20678" fmla="*/ 1043136 h 6557032"/>
              <a:gd name="connsiteX20679" fmla="*/ 444611 w 4610101"/>
              <a:gd name="connsiteY20679" fmla="*/ 1043136 h 6557032"/>
              <a:gd name="connsiteX20680" fmla="*/ 455544 w 4610101"/>
              <a:gd name="connsiteY20680" fmla="*/ 1052247 h 6557032"/>
              <a:gd name="connsiteX20681" fmla="*/ 444611 w 4610101"/>
              <a:gd name="connsiteY20681" fmla="*/ 1043136 h 6557032"/>
              <a:gd name="connsiteX20682" fmla="*/ 878060 w 4610101"/>
              <a:gd name="connsiteY20682" fmla="*/ 1042225 h 6557032"/>
              <a:gd name="connsiteX20683" fmla="*/ 871000 w 4610101"/>
              <a:gd name="connsiteY20683" fmla="*/ 1043136 h 6557032"/>
              <a:gd name="connsiteX20684" fmla="*/ 883755 w 4610101"/>
              <a:gd name="connsiteY20684" fmla="*/ 1046780 h 6557032"/>
              <a:gd name="connsiteX20685" fmla="*/ 878060 w 4610101"/>
              <a:gd name="connsiteY20685" fmla="*/ 1042225 h 6557032"/>
              <a:gd name="connsiteX20686" fmla="*/ 190242 w 4610101"/>
              <a:gd name="connsiteY20686" fmla="*/ 1041524 h 6557032"/>
              <a:gd name="connsiteX20687" fmla="*/ 191007 w 4610101"/>
              <a:gd name="connsiteY20687" fmla="*/ 1041742 h 6557032"/>
              <a:gd name="connsiteX20688" fmla="*/ 193151 w 4610101"/>
              <a:gd name="connsiteY20688" fmla="*/ 1044958 h 6557032"/>
              <a:gd name="connsiteX20689" fmla="*/ 3365556 w 4610101"/>
              <a:gd name="connsiteY20689" fmla="*/ 1041314 h 6557032"/>
              <a:gd name="connsiteX20690" fmla="*/ 3363734 w 4610101"/>
              <a:gd name="connsiteY20690" fmla="*/ 1048602 h 6557032"/>
              <a:gd name="connsiteX20691" fmla="*/ 3376489 w 4610101"/>
              <a:gd name="connsiteY20691" fmla="*/ 1050425 h 6557032"/>
              <a:gd name="connsiteX20692" fmla="*/ 3372844 w 4610101"/>
              <a:gd name="connsiteY20692" fmla="*/ 1055891 h 6557032"/>
              <a:gd name="connsiteX20693" fmla="*/ 3383777 w 4610101"/>
              <a:gd name="connsiteY20693" fmla="*/ 1059535 h 6557032"/>
              <a:gd name="connsiteX20694" fmla="*/ 3380133 w 4610101"/>
              <a:gd name="connsiteY20694" fmla="*/ 1044958 h 6557032"/>
              <a:gd name="connsiteX20695" fmla="*/ 3365556 w 4610101"/>
              <a:gd name="connsiteY20695" fmla="*/ 1041314 h 6557032"/>
              <a:gd name="connsiteX20696" fmla="*/ 3150539 w 4610101"/>
              <a:gd name="connsiteY20696" fmla="*/ 1041314 h 6557032"/>
              <a:gd name="connsiteX20697" fmla="*/ 3143250 w 4610101"/>
              <a:gd name="connsiteY20697" fmla="*/ 1043136 h 6557032"/>
              <a:gd name="connsiteX20698" fmla="*/ 3148717 w 4610101"/>
              <a:gd name="connsiteY20698" fmla="*/ 1046780 h 6557032"/>
              <a:gd name="connsiteX20699" fmla="*/ 3150539 w 4610101"/>
              <a:gd name="connsiteY20699" fmla="*/ 1041314 h 6557032"/>
              <a:gd name="connsiteX20700" fmla="*/ 2623931 w 4610101"/>
              <a:gd name="connsiteY20700" fmla="*/ 1041314 h 6557032"/>
              <a:gd name="connsiteX20701" fmla="*/ 2618464 w 4610101"/>
              <a:gd name="connsiteY20701" fmla="*/ 1048602 h 6557032"/>
              <a:gd name="connsiteX20702" fmla="*/ 2625753 w 4610101"/>
              <a:gd name="connsiteY20702" fmla="*/ 1054069 h 6557032"/>
              <a:gd name="connsiteX20703" fmla="*/ 2623931 w 4610101"/>
              <a:gd name="connsiteY20703" fmla="*/ 1041314 h 6557032"/>
              <a:gd name="connsiteX20704" fmla="*/ 2259496 w 4610101"/>
              <a:gd name="connsiteY20704" fmla="*/ 1041314 h 6557032"/>
              <a:gd name="connsiteX20705" fmla="*/ 2261318 w 4610101"/>
              <a:gd name="connsiteY20705" fmla="*/ 1061358 h 6557032"/>
              <a:gd name="connsiteX20706" fmla="*/ 2270429 w 4610101"/>
              <a:gd name="connsiteY20706" fmla="*/ 1059535 h 6557032"/>
              <a:gd name="connsiteX20707" fmla="*/ 2270429 w 4610101"/>
              <a:gd name="connsiteY20707" fmla="*/ 1055891 h 6557032"/>
              <a:gd name="connsiteX20708" fmla="*/ 2259496 w 4610101"/>
              <a:gd name="connsiteY20708" fmla="*/ 1041314 h 6557032"/>
              <a:gd name="connsiteX20709" fmla="*/ 1197169 w 4610101"/>
              <a:gd name="connsiteY20709" fmla="*/ 1041314 h 6557032"/>
              <a:gd name="connsiteX20710" fmla="*/ 1189880 w 4610101"/>
              <a:gd name="connsiteY20710" fmla="*/ 1046780 h 6557032"/>
              <a:gd name="connsiteX20711" fmla="*/ 1197169 w 4610101"/>
              <a:gd name="connsiteY20711" fmla="*/ 1041314 h 6557032"/>
              <a:gd name="connsiteX20712" fmla="*/ 1153436 w 4610101"/>
              <a:gd name="connsiteY20712" fmla="*/ 1041314 h 6557032"/>
              <a:gd name="connsiteX20713" fmla="*/ 1144326 w 4610101"/>
              <a:gd name="connsiteY20713" fmla="*/ 1052247 h 6557032"/>
              <a:gd name="connsiteX20714" fmla="*/ 1153436 w 4610101"/>
              <a:gd name="connsiteY20714" fmla="*/ 1041314 h 6557032"/>
              <a:gd name="connsiteX20715" fmla="*/ 1127926 w 4610101"/>
              <a:gd name="connsiteY20715" fmla="*/ 1041314 h 6557032"/>
              <a:gd name="connsiteX20716" fmla="*/ 1126104 w 4610101"/>
              <a:gd name="connsiteY20716" fmla="*/ 1043136 h 6557032"/>
              <a:gd name="connsiteX20717" fmla="*/ 1129748 w 4610101"/>
              <a:gd name="connsiteY20717" fmla="*/ 1044958 h 6557032"/>
              <a:gd name="connsiteX20718" fmla="*/ 1127926 w 4610101"/>
              <a:gd name="connsiteY20718" fmla="*/ 1041314 h 6557032"/>
              <a:gd name="connsiteX20719" fmla="*/ 856422 w 4610101"/>
              <a:gd name="connsiteY20719" fmla="*/ 1041314 h 6557032"/>
              <a:gd name="connsiteX20720" fmla="*/ 858244 w 4610101"/>
              <a:gd name="connsiteY20720" fmla="*/ 1048602 h 6557032"/>
              <a:gd name="connsiteX20721" fmla="*/ 856422 w 4610101"/>
              <a:gd name="connsiteY20721" fmla="*/ 1041314 h 6557032"/>
              <a:gd name="connsiteX20722" fmla="*/ 763491 w 4610101"/>
              <a:gd name="connsiteY20722" fmla="*/ 1041314 h 6557032"/>
              <a:gd name="connsiteX20723" fmla="*/ 765313 w 4610101"/>
              <a:gd name="connsiteY20723" fmla="*/ 1059535 h 6557032"/>
              <a:gd name="connsiteX20724" fmla="*/ 765313 w 4610101"/>
              <a:gd name="connsiteY20724" fmla="*/ 1044958 h 6557032"/>
              <a:gd name="connsiteX20725" fmla="*/ 763491 w 4610101"/>
              <a:gd name="connsiteY20725" fmla="*/ 1041314 h 6557032"/>
              <a:gd name="connsiteX20726" fmla="*/ 393590 w 4610101"/>
              <a:gd name="connsiteY20726" fmla="*/ 1041314 h 6557032"/>
              <a:gd name="connsiteX20727" fmla="*/ 409989 w 4610101"/>
              <a:gd name="connsiteY20727" fmla="*/ 1054069 h 6557032"/>
              <a:gd name="connsiteX20728" fmla="*/ 393590 w 4610101"/>
              <a:gd name="connsiteY20728" fmla="*/ 1041314 h 6557032"/>
              <a:gd name="connsiteX20729" fmla="*/ 275149 w 4610101"/>
              <a:gd name="connsiteY20729" fmla="*/ 1041314 h 6557032"/>
              <a:gd name="connsiteX20730" fmla="*/ 287904 w 4610101"/>
              <a:gd name="connsiteY20730" fmla="*/ 1046780 h 6557032"/>
              <a:gd name="connsiteX20731" fmla="*/ 275149 w 4610101"/>
              <a:gd name="connsiteY20731" fmla="*/ 1041314 h 6557032"/>
              <a:gd name="connsiteX20732" fmla="*/ 260571 w 4610101"/>
              <a:gd name="connsiteY20732" fmla="*/ 1041314 h 6557032"/>
              <a:gd name="connsiteX20733" fmla="*/ 262863 w 4610101"/>
              <a:gd name="connsiteY20733" fmla="*/ 1043210 h 6557032"/>
              <a:gd name="connsiteX20734" fmla="*/ 261105 w 4610101"/>
              <a:gd name="connsiteY20734" fmla="*/ 1041955 h 6557032"/>
              <a:gd name="connsiteX20735" fmla="*/ 975198 w 4610101"/>
              <a:gd name="connsiteY20735" fmla="*/ 1040182 h 6557032"/>
              <a:gd name="connsiteX20736" fmla="*/ 975782 w 4610101"/>
              <a:gd name="connsiteY20736" fmla="*/ 1041383 h 6557032"/>
              <a:gd name="connsiteX20737" fmla="*/ 975319 w 4610101"/>
              <a:gd name="connsiteY20737" fmla="*/ 1041086 h 6557032"/>
              <a:gd name="connsiteX20738" fmla="*/ 1180769 w 4610101"/>
              <a:gd name="connsiteY20738" fmla="*/ 1039492 h 6557032"/>
              <a:gd name="connsiteX20739" fmla="*/ 1171658 w 4610101"/>
              <a:gd name="connsiteY20739" fmla="*/ 1052247 h 6557032"/>
              <a:gd name="connsiteX20740" fmla="*/ 1188058 w 4610101"/>
              <a:gd name="connsiteY20740" fmla="*/ 1041314 h 6557032"/>
              <a:gd name="connsiteX20741" fmla="*/ 1180769 w 4610101"/>
              <a:gd name="connsiteY20741" fmla="*/ 1039492 h 6557032"/>
              <a:gd name="connsiteX20742" fmla="*/ 789003 w 4610101"/>
              <a:gd name="connsiteY20742" fmla="*/ 1039492 h 6557032"/>
              <a:gd name="connsiteX20743" fmla="*/ 794468 w 4610101"/>
              <a:gd name="connsiteY20743" fmla="*/ 1054069 h 6557032"/>
              <a:gd name="connsiteX20744" fmla="*/ 789003 w 4610101"/>
              <a:gd name="connsiteY20744" fmla="*/ 1039492 h 6557032"/>
              <a:gd name="connsiteX20745" fmla="*/ 694249 w 4610101"/>
              <a:gd name="connsiteY20745" fmla="*/ 1039492 h 6557032"/>
              <a:gd name="connsiteX20746" fmla="*/ 705182 w 4610101"/>
              <a:gd name="connsiteY20746" fmla="*/ 1057713 h 6557032"/>
              <a:gd name="connsiteX20747" fmla="*/ 694249 w 4610101"/>
              <a:gd name="connsiteY20747" fmla="*/ 1039492 h 6557032"/>
              <a:gd name="connsiteX20748" fmla="*/ 391768 w 4610101"/>
              <a:gd name="connsiteY20748" fmla="*/ 1039492 h 6557032"/>
              <a:gd name="connsiteX20749" fmla="*/ 424567 w 4610101"/>
              <a:gd name="connsiteY20749" fmla="*/ 1059535 h 6557032"/>
              <a:gd name="connsiteX20750" fmla="*/ 415456 w 4610101"/>
              <a:gd name="connsiteY20750" fmla="*/ 1044958 h 6557032"/>
              <a:gd name="connsiteX20751" fmla="*/ 391768 w 4610101"/>
              <a:gd name="connsiteY20751" fmla="*/ 1039492 h 6557032"/>
              <a:gd name="connsiteX20752" fmla="*/ 348037 w 4610101"/>
              <a:gd name="connsiteY20752" fmla="*/ 1039492 h 6557032"/>
              <a:gd name="connsiteX20753" fmla="*/ 340747 w 4610101"/>
              <a:gd name="connsiteY20753" fmla="*/ 1044958 h 6557032"/>
              <a:gd name="connsiteX20754" fmla="*/ 362613 w 4610101"/>
              <a:gd name="connsiteY20754" fmla="*/ 1057713 h 6557032"/>
              <a:gd name="connsiteX20755" fmla="*/ 373546 w 4610101"/>
              <a:gd name="connsiteY20755" fmla="*/ 1052247 h 6557032"/>
              <a:gd name="connsiteX20756" fmla="*/ 355324 w 4610101"/>
              <a:gd name="connsiteY20756" fmla="*/ 1041314 h 6557032"/>
              <a:gd name="connsiteX20757" fmla="*/ 362613 w 4610101"/>
              <a:gd name="connsiteY20757" fmla="*/ 1057713 h 6557032"/>
              <a:gd name="connsiteX20758" fmla="*/ 357146 w 4610101"/>
              <a:gd name="connsiteY20758" fmla="*/ 1050425 h 6557032"/>
              <a:gd name="connsiteX20759" fmla="*/ 360791 w 4610101"/>
              <a:gd name="connsiteY20759" fmla="*/ 1054069 h 6557032"/>
              <a:gd name="connsiteX20760" fmla="*/ 348037 w 4610101"/>
              <a:gd name="connsiteY20760" fmla="*/ 1039492 h 6557032"/>
              <a:gd name="connsiteX20761" fmla="*/ 209550 w 4610101"/>
              <a:gd name="connsiteY20761" fmla="*/ 1039492 h 6557032"/>
              <a:gd name="connsiteX20762" fmla="*/ 200439 w 4610101"/>
              <a:gd name="connsiteY20762" fmla="*/ 1043136 h 6557032"/>
              <a:gd name="connsiteX20763" fmla="*/ 233239 w 4610101"/>
              <a:gd name="connsiteY20763" fmla="*/ 1061358 h 6557032"/>
              <a:gd name="connsiteX20764" fmla="*/ 209550 w 4610101"/>
              <a:gd name="connsiteY20764" fmla="*/ 1039492 h 6557032"/>
              <a:gd name="connsiteX20765" fmla="*/ 133019 w 4610101"/>
              <a:gd name="connsiteY20765" fmla="*/ 1039492 h 6557032"/>
              <a:gd name="connsiteX20766" fmla="*/ 143952 w 4610101"/>
              <a:gd name="connsiteY20766" fmla="*/ 1050425 h 6557032"/>
              <a:gd name="connsiteX20767" fmla="*/ 149419 w 4610101"/>
              <a:gd name="connsiteY20767" fmla="*/ 1054069 h 6557032"/>
              <a:gd name="connsiteX20768" fmla="*/ 138486 w 4610101"/>
              <a:gd name="connsiteY20768" fmla="*/ 1043136 h 6557032"/>
              <a:gd name="connsiteX20769" fmla="*/ 157618 w 4610101"/>
              <a:gd name="connsiteY20769" fmla="*/ 1056346 h 6557032"/>
              <a:gd name="connsiteX20770" fmla="*/ 167925 w 4610101"/>
              <a:gd name="connsiteY20770" fmla="*/ 1061990 h 6557032"/>
              <a:gd name="connsiteX20771" fmla="*/ 178573 w 4610101"/>
              <a:gd name="connsiteY20771" fmla="*/ 1068646 h 6557032"/>
              <a:gd name="connsiteX20772" fmla="*/ 172681 w 4610101"/>
              <a:gd name="connsiteY20772" fmla="*/ 1064595 h 6557032"/>
              <a:gd name="connsiteX20773" fmla="*/ 176751 w 4610101"/>
              <a:gd name="connsiteY20773" fmla="*/ 1066824 h 6557032"/>
              <a:gd name="connsiteX20774" fmla="*/ 171845 w 4610101"/>
              <a:gd name="connsiteY20774" fmla="*/ 1064020 h 6557032"/>
              <a:gd name="connsiteX20775" fmla="*/ 149419 w 4610101"/>
              <a:gd name="connsiteY20775" fmla="*/ 1048602 h 6557032"/>
              <a:gd name="connsiteX20776" fmla="*/ 163996 w 4610101"/>
              <a:gd name="connsiteY20776" fmla="*/ 1055891 h 6557032"/>
              <a:gd name="connsiteX20777" fmla="*/ 133019 w 4610101"/>
              <a:gd name="connsiteY20777" fmla="*/ 1039492 h 6557032"/>
              <a:gd name="connsiteX20778" fmla="*/ 385391 w 4610101"/>
              <a:gd name="connsiteY20778" fmla="*/ 1039492 h 6557032"/>
              <a:gd name="connsiteX20779" fmla="*/ 382657 w 4610101"/>
              <a:gd name="connsiteY20779" fmla="*/ 1039492 h 6557032"/>
              <a:gd name="connsiteX20780" fmla="*/ 389946 w 4610101"/>
              <a:gd name="connsiteY20780" fmla="*/ 1044958 h 6557032"/>
              <a:gd name="connsiteX20781" fmla="*/ 388123 w 4610101"/>
              <a:gd name="connsiteY20781" fmla="*/ 1039492 h 6557032"/>
              <a:gd name="connsiteX20782" fmla="*/ 385391 w 4610101"/>
              <a:gd name="connsiteY20782" fmla="*/ 1039492 h 6557032"/>
              <a:gd name="connsiteX20783" fmla="*/ 1263463 w 4610101"/>
              <a:gd name="connsiteY20783" fmla="*/ 1037965 h 6557032"/>
              <a:gd name="connsiteX20784" fmla="*/ 1273700 w 4610101"/>
              <a:gd name="connsiteY20784" fmla="*/ 1039492 h 6557032"/>
              <a:gd name="connsiteX20785" fmla="*/ 1277344 w 4610101"/>
              <a:gd name="connsiteY20785" fmla="*/ 1041314 h 6557032"/>
              <a:gd name="connsiteX20786" fmla="*/ 1275522 w 4610101"/>
              <a:gd name="connsiteY20786" fmla="*/ 1046780 h 6557032"/>
              <a:gd name="connsiteX20787" fmla="*/ 1271878 w 4610101"/>
              <a:gd name="connsiteY20787" fmla="*/ 1043136 h 6557032"/>
              <a:gd name="connsiteX20788" fmla="*/ 1251834 w 4610101"/>
              <a:gd name="connsiteY20788" fmla="*/ 1041314 h 6557032"/>
              <a:gd name="connsiteX20789" fmla="*/ 1260261 w 4610101"/>
              <a:gd name="connsiteY20789" fmla="*/ 1038808 h 6557032"/>
              <a:gd name="connsiteX20790" fmla="*/ 3398355 w 4610101"/>
              <a:gd name="connsiteY20790" fmla="*/ 1037669 h 6557032"/>
              <a:gd name="connsiteX20791" fmla="*/ 3418399 w 4610101"/>
              <a:gd name="connsiteY20791" fmla="*/ 1059535 h 6557032"/>
              <a:gd name="connsiteX20792" fmla="*/ 3429332 w 4610101"/>
              <a:gd name="connsiteY20792" fmla="*/ 1057713 h 6557032"/>
              <a:gd name="connsiteX20793" fmla="*/ 3442087 w 4610101"/>
              <a:gd name="connsiteY20793" fmla="*/ 1070469 h 6557032"/>
              <a:gd name="connsiteX20794" fmla="*/ 3398355 w 4610101"/>
              <a:gd name="connsiteY20794" fmla="*/ 1037669 h 6557032"/>
              <a:gd name="connsiteX20795" fmla="*/ 1264589 w 4610101"/>
              <a:gd name="connsiteY20795" fmla="*/ 1037669 h 6557032"/>
              <a:gd name="connsiteX20796" fmla="*/ 1263463 w 4610101"/>
              <a:gd name="connsiteY20796" fmla="*/ 1037965 h 6557032"/>
              <a:gd name="connsiteX20797" fmla="*/ 1262895 w 4610101"/>
              <a:gd name="connsiteY20797" fmla="*/ 1037880 h 6557032"/>
              <a:gd name="connsiteX20798" fmla="*/ 974863 w 4610101"/>
              <a:gd name="connsiteY20798" fmla="*/ 1037669 h 6557032"/>
              <a:gd name="connsiteX20799" fmla="*/ 975198 w 4610101"/>
              <a:gd name="connsiteY20799" fmla="*/ 1040182 h 6557032"/>
              <a:gd name="connsiteX20800" fmla="*/ 974863 w 4610101"/>
              <a:gd name="connsiteY20800" fmla="*/ 1039492 h 6557032"/>
              <a:gd name="connsiteX20801" fmla="*/ 973041 w 4610101"/>
              <a:gd name="connsiteY20801" fmla="*/ 1046780 h 6557032"/>
              <a:gd name="connsiteX20802" fmla="*/ 983974 w 4610101"/>
              <a:gd name="connsiteY20802" fmla="*/ 1054069 h 6557032"/>
              <a:gd name="connsiteX20803" fmla="*/ 978735 w 4610101"/>
              <a:gd name="connsiteY20803" fmla="*/ 1047463 h 6557032"/>
              <a:gd name="connsiteX20804" fmla="*/ 975782 w 4610101"/>
              <a:gd name="connsiteY20804" fmla="*/ 1041383 h 6557032"/>
              <a:gd name="connsiteX20805" fmla="*/ 978508 w 4610101"/>
              <a:gd name="connsiteY20805" fmla="*/ 1043136 h 6557032"/>
              <a:gd name="connsiteX20806" fmla="*/ 980330 w 4610101"/>
              <a:gd name="connsiteY20806" fmla="*/ 1041314 h 6557032"/>
              <a:gd name="connsiteX20807" fmla="*/ 983974 w 4610101"/>
              <a:gd name="connsiteY20807" fmla="*/ 1048602 h 6557032"/>
              <a:gd name="connsiteX20808" fmla="*/ 974863 w 4610101"/>
              <a:gd name="connsiteY20808" fmla="*/ 1037669 h 6557032"/>
              <a:gd name="connsiteX20809" fmla="*/ 696071 w 4610101"/>
              <a:gd name="connsiteY20809" fmla="*/ 1037669 h 6557032"/>
              <a:gd name="connsiteX20810" fmla="*/ 707004 w 4610101"/>
              <a:gd name="connsiteY20810" fmla="*/ 1048602 h 6557032"/>
              <a:gd name="connsiteX20811" fmla="*/ 699715 w 4610101"/>
              <a:gd name="connsiteY20811" fmla="*/ 1037669 h 6557032"/>
              <a:gd name="connsiteX20812" fmla="*/ 696071 w 4610101"/>
              <a:gd name="connsiteY20812" fmla="*/ 1037669 h 6557032"/>
              <a:gd name="connsiteX20813" fmla="*/ 548475 w 4610101"/>
              <a:gd name="connsiteY20813" fmla="*/ 1037669 h 6557032"/>
              <a:gd name="connsiteX20814" fmla="*/ 555763 w 4610101"/>
              <a:gd name="connsiteY20814" fmla="*/ 1048602 h 6557032"/>
              <a:gd name="connsiteX20815" fmla="*/ 552119 w 4610101"/>
              <a:gd name="connsiteY20815" fmla="*/ 1039492 h 6557032"/>
              <a:gd name="connsiteX20816" fmla="*/ 548475 w 4610101"/>
              <a:gd name="connsiteY20816" fmla="*/ 1037669 h 6557032"/>
              <a:gd name="connsiteX20817" fmla="*/ 337102 w 4610101"/>
              <a:gd name="connsiteY20817" fmla="*/ 1037669 h 6557032"/>
              <a:gd name="connsiteX20818" fmla="*/ 340747 w 4610101"/>
              <a:gd name="connsiteY20818" fmla="*/ 1039492 h 6557032"/>
              <a:gd name="connsiteX20819" fmla="*/ 337102 w 4610101"/>
              <a:gd name="connsiteY20819" fmla="*/ 1037669 h 6557032"/>
              <a:gd name="connsiteX20820" fmla="*/ 255105 w 4610101"/>
              <a:gd name="connsiteY20820" fmla="*/ 1037669 h 6557032"/>
              <a:gd name="connsiteX20821" fmla="*/ 261105 w 4610101"/>
              <a:gd name="connsiteY20821" fmla="*/ 1041955 h 6557032"/>
              <a:gd name="connsiteX20822" fmla="*/ 269682 w 4610101"/>
              <a:gd name="connsiteY20822" fmla="*/ 1052247 h 6557032"/>
              <a:gd name="connsiteX20823" fmla="*/ 267176 w 4610101"/>
              <a:gd name="connsiteY20823" fmla="*/ 1046780 h 6557032"/>
              <a:gd name="connsiteX20824" fmla="*/ 262863 w 4610101"/>
              <a:gd name="connsiteY20824" fmla="*/ 1043210 h 6557032"/>
              <a:gd name="connsiteX20825" fmla="*/ 267860 w 4610101"/>
              <a:gd name="connsiteY20825" fmla="*/ 1046780 h 6557032"/>
              <a:gd name="connsiteX20826" fmla="*/ 269682 w 4610101"/>
              <a:gd name="connsiteY20826" fmla="*/ 1043136 h 6557032"/>
              <a:gd name="connsiteX20827" fmla="*/ 282438 w 4610101"/>
              <a:gd name="connsiteY20827" fmla="*/ 1052247 h 6557032"/>
              <a:gd name="connsiteX20828" fmla="*/ 255105 w 4610101"/>
              <a:gd name="connsiteY20828" fmla="*/ 1037669 h 6557032"/>
              <a:gd name="connsiteX20829" fmla="*/ 227772 w 4610101"/>
              <a:gd name="connsiteY20829" fmla="*/ 1037669 h 6557032"/>
              <a:gd name="connsiteX20830" fmla="*/ 251460 w 4610101"/>
              <a:gd name="connsiteY20830" fmla="*/ 1048602 h 6557032"/>
              <a:gd name="connsiteX20831" fmla="*/ 236883 w 4610101"/>
              <a:gd name="connsiteY20831" fmla="*/ 1037669 h 6557032"/>
              <a:gd name="connsiteX20832" fmla="*/ 227772 w 4610101"/>
              <a:gd name="connsiteY20832" fmla="*/ 1037669 h 6557032"/>
              <a:gd name="connsiteX20833" fmla="*/ 2206736 w 4610101"/>
              <a:gd name="connsiteY20833" fmla="*/ 1037627 h 6557032"/>
              <a:gd name="connsiteX20834" fmla="*/ 2205287 w 4610101"/>
              <a:gd name="connsiteY20834" fmla="*/ 1040630 h 6557032"/>
              <a:gd name="connsiteX20835" fmla="*/ 2205221 w 4610101"/>
              <a:gd name="connsiteY20835" fmla="*/ 1041774 h 6557032"/>
              <a:gd name="connsiteX20836" fmla="*/ 2203009 w 4610101"/>
              <a:gd name="connsiteY20836" fmla="*/ 1043136 h 6557032"/>
              <a:gd name="connsiteX20837" fmla="*/ 2206653 w 4610101"/>
              <a:gd name="connsiteY20837" fmla="*/ 1037669 h 6557032"/>
              <a:gd name="connsiteX20838" fmla="*/ 2235808 w 4610101"/>
              <a:gd name="connsiteY20838" fmla="*/ 1035847 h 6557032"/>
              <a:gd name="connsiteX20839" fmla="*/ 2235728 w 4610101"/>
              <a:gd name="connsiteY20839" fmla="*/ 1035953 h 6557032"/>
              <a:gd name="connsiteX20840" fmla="*/ 2235676 w 4610101"/>
              <a:gd name="connsiteY20840" fmla="*/ 1035903 h 6557032"/>
              <a:gd name="connsiteX20841" fmla="*/ 1135215 w 4610101"/>
              <a:gd name="connsiteY20841" fmla="*/ 1035847 h 6557032"/>
              <a:gd name="connsiteX20842" fmla="*/ 1131570 w 4610101"/>
              <a:gd name="connsiteY20842" fmla="*/ 1037669 h 6557032"/>
              <a:gd name="connsiteX20843" fmla="*/ 1135215 w 4610101"/>
              <a:gd name="connsiteY20843" fmla="*/ 1044958 h 6557032"/>
              <a:gd name="connsiteX20844" fmla="*/ 1135215 w 4610101"/>
              <a:gd name="connsiteY20844" fmla="*/ 1035847 h 6557032"/>
              <a:gd name="connsiteX20845" fmla="*/ 1080549 w 4610101"/>
              <a:gd name="connsiteY20845" fmla="*/ 1035847 h 6557032"/>
              <a:gd name="connsiteX20846" fmla="*/ 1076905 w 4610101"/>
              <a:gd name="connsiteY20846" fmla="*/ 1048602 h 6557032"/>
              <a:gd name="connsiteX20847" fmla="*/ 1080549 w 4610101"/>
              <a:gd name="connsiteY20847" fmla="*/ 1046780 h 6557032"/>
              <a:gd name="connsiteX20848" fmla="*/ 1080549 w 4610101"/>
              <a:gd name="connsiteY20848" fmla="*/ 1052247 h 6557032"/>
              <a:gd name="connsiteX20849" fmla="*/ 1084194 w 4610101"/>
              <a:gd name="connsiteY20849" fmla="*/ 1052247 h 6557032"/>
              <a:gd name="connsiteX20850" fmla="*/ 1084194 w 4610101"/>
              <a:gd name="connsiteY20850" fmla="*/ 1046780 h 6557032"/>
              <a:gd name="connsiteX20851" fmla="*/ 1082373 w 4610101"/>
              <a:gd name="connsiteY20851" fmla="*/ 1044958 h 6557032"/>
              <a:gd name="connsiteX20852" fmla="*/ 1080549 w 4610101"/>
              <a:gd name="connsiteY20852" fmla="*/ 1035847 h 6557032"/>
              <a:gd name="connsiteX20853" fmla="*/ 1018596 w 4610101"/>
              <a:gd name="connsiteY20853" fmla="*/ 1035847 h 6557032"/>
              <a:gd name="connsiteX20854" fmla="*/ 1016774 w 4610101"/>
              <a:gd name="connsiteY20854" fmla="*/ 1037669 h 6557032"/>
              <a:gd name="connsiteX20855" fmla="*/ 1022240 w 4610101"/>
              <a:gd name="connsiteY20855" fmla="*/ 1041314 h 6557032"/>
              <a:gd name="connsiteX20856" fmla="*/ 1018596 w 4610101"/>
              <a:gd name="connsiteY20856" fmla="*/ 1035847 h 6557032"/>
              <a:gd name="connsiteX20857" fmla="*/ 814512 w 4610101"/>
              <a:gd name="connsiteY20857" fmla="*/ 1035847 h 6557032"/>
              <a:gd name="connsiteX20858" fmla="*/ 812690 w 4610101"/>
              <a:gd name="connsiteY20858" fmla="*/ 1041314 h 6557032"/>
              <a:gd name="connsiteX20859" fmla="*/ 814512 w 4610101"/>
              <a:gd name="connsiteY20859" fmla="*/ 1041314 h 6557032"/>
              <a:gd name="connsiteX20860" fmla="*/ 816334 w 4610101"/>
              <a:gd name="connsiteY20860" fmla="*/ 1041314 h 6557032"/>
              <a:gd name="connsiteX20861" fmla="*/ 814512 w 4610101"/>
              <a:gd name="connsiteY20861" fmla="*/ 1035847 h 6557032"/>
              <a:gd name="connsiteX20862" fmla="*/ 703359 w 4610101"/>
              <a:gd name="connsiteY20862" fmla="*/ 1035847 h 6557032"/>
              <a:gd name="connsiteX20863" fmla="*/ 708826 w 4610101"/>
              <a:gd name="connsiteY20863" fmla="*/ 1041314 h 6557032"/>
              <a:gd name="connsiteX20864" fmla="*/ 703359 w 4610101"/>
              <a:gd name="connsiteY20864" fmla="*/ 1035847 h 6557032"/>
              <a:gd name="connsiteX20865" fmla="*/ 683316 w 4610101"/>
              <a:gd name="connsiteY20865" fmla="*/ 1035847 h 6557032"/>
              <a:gd name="connsiteX20866" fmla="*/ 683316 w 4610101"/>
              <a:gd name="connsiteY20866" fmla="*/ 1041314 h 6557032"/>
              <a:gd name="connsiteX20867" fmla="*/ 681493 w 4610101"/>
              <a:gd name="connsiteY20867" fmla="*/ 1041314 h 6557032"/>
              <a:gd name="connsiteX20868" fmla="*/ 683316 w 4610101"/>
              <a:gd name="connsiteY20868" fmla="*/ 1046780 h 6557032"/>
              <a:gd name="connsiteX20869" fmla="*/ 685138 w 4610101"/>
              <a:gd name="connsiteY20869" fmla="*/ 1043136 h 6557032"/>
              <a:gd name="connsiteX20870" fmla="*/ 697893 w 4610101"/>
              <a:gd name="connsiteY20870" fmla="*/ 1054069 h 6557032"/>
              <a:gd name="connsiteX20871" fmla="*/ 696071 w 4610101"/>
              <a:gd name="connsiteY20871" fmla="*/ 1046780 h 6557032"/>
              <a:gd name="connsiteX20872" fmla="*/ 688782 w 4610101"/>
              <a:gd name="connsiteY20872" fmla="*/ 1044958 h 6557032"/>
              <a:gd name="connsiteX20873" fmla="*/ 692426 w 4610101"/>
              <a:gd name="connsiteY20873" fmla="*/ 1039492 h 6557032"/>
              <a:gd name="connsiteX20874" fmla="*/ 683316 w 4610101"/>
              <a:gd name="connsiteY20874" fmla="*/ 1035847 h 6557032"/>
              <a:gd name="connsiteX20875" fmla="*/ 601318 w 4610101"/>
              <a:gd name="connsiteY20875" fmla="*/ 1035847 h 6557032"/>
              <a:gd name="connsiteX20876" fmla="*/ 604963 w 4610101"/>
              <a:gd name="connsiteY20876" fmla="*/ 1041314 h 6557032"/>
              <a:gd name="connsiteX20877" fmla="*/ 604963 w 4610101"/>
              <a:gd name="connsiteY20877" fmla="*/ 1037669 h 6557032"/>
              <a:gd name="connsiteX20878" fmla="*/ 601318 w 4610101"/>
              <a:gd name="connsiteY20878" fmla="*/ 1035847 h 6557032"/>
              <a:gd name="connsiteX20879" fmla="*/ 526609 w 4610101"/>
              <a:gd name="connsiteY20879" fmla="*/ 1035847 h 6557032"/>
              <a:gd name="connsiteX20880" fmla="*/ 550297 w 4610101"/>
              <a:gd name="connsiteY20880" fmla="*/ 1065002 h 6557032"/>
              <a:gd name="connsiteX20881" fmla="*/ 544830 w 4610101"/>
              <a:gd name="connsiteY20881" fmla="*/ 1052247 h 6557032"/>
              <a:gd name="connsiteX20882" fmla="*/ 561230 w 4610101"/>
              <a:gd name="connsiteY20882" fmla="*/ 1054069 h 6557032"/>
              <a:gd name="connsiteX20883" fmla="*/ 550297 w 4610101"/>
              <a:gd name="connsiteY20883" fmla="*/ 1052247 h 6557032"/>
              <a:gd name="connsiteX20884" fmla="*/ 526609 w 4610101"/>
              <a:gd name="connsiteY20884" fmla="*/ 1035847 h 6557032"/>
              <a:gd name="connsiteX20885" fmla="*/ 413634 w 4610101"/>
              <a:gd name="connsiteY20885" fmla="*/ 1035847 h 6557032"/>
              <a:gd name="connsiteX20886" fmla="*/ 424567 w 4610101"/>
              <a:gd name="connsiteY20886" fmla="*/ 1041314 h 6557032"/>
              <a:gd name="connsiteX20887" fmla="*/ 413634 w 4610101"/>
              <a:gd name="connsiteY20887" fmla="*/ 1035847 h 6557032"/>
              <a:gd name="connsiteX20888" fmla="*/ 1248827 w 4610101"/>
              <a:gd name="connsiteY20888" fmla="*/ 1035782 h 6557032"/>
              <a:gd name="connsiteX20889" fmla="*/ 1262895 w 4610101"/>
              <a:gd name="connsiteY20889" fmla="*/ 1037880 h 6557032"/>
              <a:gd name="connsiteX20890" fmla="*/ 1250012 w 4610101"/>
              <a:gd name="connsiteY20890" fmla="*/ 1039492 h 6557032"/>
              <a:gd name="connsiteX20891" fmla="*/ 1244545 w 4610101"/>
              <a:gd name="connsiteY20891" fmla="*/ 1041314 h 6557032"/>
              <a:gd name="connsiteX20892" fmla="*/ 3099518 w 4610101"/>
              <a:gd name="connsiteY20892" fmla="*/ 1034025 h 6557032"/>
              <a:gd name="connsiteX20893" fmla="*/ 3095874 w 4610101"/>
              <a:gd name="connsiteY20893" fmla="*/ 1039492 h 6557032"/>
              <a:gd name="connsiteX20894" fmla="*/ 3101340 w 4610101"/>
              <a:gd name="connsiteY20894" fmla="*/ 1039492 h 6557032"/>
              <a:gd name="connsiteX20895" fmla="*/ 3099518 w 4610101"/>
              <a:gd name="connsiteY20895" fmla="*/ 1034025 h 6557032"/>
              <a:gd name="connsiteX20896" fmla="*/ 1186236 w 4610101"/>
              <a:gd name="connsiteY20896" fmla="*/ 1034025 h 6557032"/>
              <a:gd name="connsiteX20897" fmla="*/ 1184940 w 4610101"/>
              <a:gd name="connsiteY20897" fmla="*/ 1037912 h 6557032"/>
              <a:gd name="connsiteX20898" fmla="*/ 1184414 w 4610101"/>
              <a:gd name="connsiteY20898" fmla="*/ 1037669 h 6557032"/>
              <a:gd name="connsiteX20899" fmla="*/ 1184414 w 4610101"/>
              <a:gd name="connsiteY20899" fmla="*/ 1039492 h 6557032"/>
              <a:gd name="connsiteX20900" fmla="*/ 1184940 w 4610101"/>
              <a:gd name="connsiteY20900" fmla="*/ 1037912 h 6557032"/>
              <a:gd name="connsiteX20901" fmla="*/ 1187374 w 4610101"/>
              <a:gd name="connsiteY20901" fmla="*/ 1039036 h 6557032"/>
              <a:gd name="connsiteX20902" fmla="*/ 1191703 w 4610101"/>
              <a:gd name="connsiteY20902" fmla="*/ 1037669 h 6557032"/>
              <a:gd name="connsiteX20903" fmla="*/ 1186236 w 4610101"/>
              <a:gd name="connsiteY20903" fmla="*/ 1034025 h 6557032"/>
              <a:gd name="connsiteX20904" fmla="*/ 1075083 w 4610101"/>
              <a:gd name="connsiteY20904" fmla="*/ 1034025 h 6557032"/>
              <a:gd name="connsiteX20905" fmla="*/ 1073262 w 4610101"/>
              <a:gd name="connsiteY20905" fmla="*/ 1039492 h 6557032"/>
              <a:gd name="connsiteX20906" fmla="*/ 1073262 w 4610101"/>
              <a:gd name="connsiteY20906" fmla="*/ 1035847 h 6557032"/>
              <a:gd name="connsiteX20907" fmla="*/ 1067794 w 4610101"/>
              <a:gd name="connsiteY20907" fmla="*/ 1043136 h 6557032"/>
              <a:gd name="connsiteX20908" fmla="*/ 1071439 w 4610101"/>
              <a:gd name="connsiteY20908" fmla="*/ 1046780 h 6557032"/>
              <a:gd name="connsiteX20909" fmla="*/ 1067794 w 4610101"/>
              <a:gd name="connsiteY20909" fmla="*/ 1044958 h 6557032"/>
              <a:gd name="connsiteX20910" fmla="*/ 1064151 w 4610101"/>
              <a:gd name="connsiteY20910" fmla="*/ 1050425 h 6557032"/>
              <a:gd name="connsiteX20911" fmla="*/ 1071439 w 4610101"/>
              <a:gd name="connsiteY20911" fmla="*/ 1052247 h 6557032"/>
              <a:gd name="connsiteX20912" fmla="*/ 1069616 w 4610101"/>
              <a:gd name="connsiteY20912" fmla="*/ 1048602 h 6557032"/>
              <a:gd name="connsiteX20913" fmla="*/ 1073262 w 4610101"/>
              <a:gd name="connsiteY20913" fmla="*/ 1052247 h 6557032"/>
              <a:gd name="connsiteX20914" fmla="*/ 1075083 w 4610101"/>
              <a:gd name="connsiteY20914" fmla="*/ 1046780 h 6557032"/>
              <a:gd name="connsiteX20915" fmla="*/ 1071439 w 4610101"/>
              <a:gd name="connsiteY20915" fmla="*/ 1041314 h 6557032"/>
              <a:gd name="connsiteX20916" fmla="*/ 1073262 w 4610101"/>
              <a:gd name="connsiteY20916" fmla="*/ 1039492 h 6557032"/>
              <a:gd name="connsiteX20917" fmla="*/ 1075083 w 4610101"/>
              <a:gd name="connsiteY20917" fmla="*/ 1043136 h 6557032"/>
              <a:gd name="connsiteX20918" fmla="*/ 1078727 w 4610101"/>
              <a:gd name="connsiteY20918" fmla="*/ 1037669 h 6557032"/>
              <a:gd name="connsiteX20919" fmla="*/ 1075083 w 4610101"/>
              <a:gd name="connsiteY20919" fmla="*/ 1034025 h 6557032"/>
              <a:gd name="connsiteX20920" fmla="*/ 1058683 w 4610101"/>
              <a:gd name="connsiteY20920" fmla="*/ 1034025 h 6557032"/>
              <a:gd name="connsiteX20921" fmla="*/ 1056861 w 4610101"/>
              <a:gd name="connsiteY20921" fmla="*/ 1035847 h 6557032"/>
              <a:gd name="connsiteX20922" fmla="*/ 1058683 w 4610101"/>
              <a:gd name="connsiteY20922" fmla="*/ 1039492 h 6557032"/>
              <a:gd name="connsiteX20923" fmla="*/ 1058683 w 4610101"/>
              <a:gd name="connsiteY20923" fmla="*/ 1034025 h 6557032"/>
              <a:gd name="connsiteX20924" fmla="*/ 1045929 w 4610101"/>
              <a:gd name="connsiteY20924" fmla="*/ 1034025 h 6557032"/>
              <a:gd name="connsiteX20925" fmla="*/ 1056861 w 4610101"/>
              <a:gd name="connsiteY20925" fmla="*/ 1044958 h 6557032"/>
              <a:gd name="connsiteX20926" fmla="*/ 1060506 w 4610101"/>
              <a:gd name="connsiteY20926" fmla="*/ 1048602 h 6557032"/>
              <a:gd name="connsiteX20927" fmla="*/ 1064151 w 4610101"/>
              <a:gd name="connsiteY20927" fmla="*/ 1035847 h 6557032"/>
              <a:gd name="connsiteX20928" fmla="*/ 1065972 w 4610101"/>
              <a:gd name="connsiteY20928" fmla="*/ 1039492 h 6557032"/>
              <a:gd name="connsiteX20929" fmla="*/ 1069616 w 4610101"/>
              <a:gd name="connsiteY20929" fmla="*/ 1034025 h 6557032"/>
              <a:gd name="connsiteX20930" fmla="*/ 1064151 w 4610101"/>
              <a:gd name="connsiteY20930" fmla="*/ 1035847 h 6557032"/>
              <a:gd name="connsiteX20931" fmla="*/ 1056861 w 4610101"/>
              <a:gd name="connsiteY20931" fmla="*/ 1044958 h 6557032"/>
              <a:gd name="connsiteX20932" fmla="*/ 1045929 w 4610101"/>
              <a:gd name="connsiteY20932" fmla="*/ 1034025 h 6557032"/>
              <a:gd name="connsiteX20933" fmla="*/ 761670 w 4610101"/>
              <a:gd name="connsiteY20933" fmla="*/ 1034025 h 6557032"/>
              <a:gd name="connsiteX20934" fmla="*/ 756203 w 4610101"/>
              <a:gd name="connsiteY20934" fmla="*/ 1039492 h 6557032"/>
              <a:gd name="connsiteX20935" fmla="*/ 761670 w 4610101"/>
              <a:gd name="connsiteY20935" fmla="*/ 1034025 h 6557032"/>
              <a:gd name="connsiteX20936" fmla="*/ 247816 w 4610101"/>
              <a:gd name="connsiteY20936" fmla="*/ 1034025 h 6557032"/>
              <a:gd name="connsiteX20937" fmla="*/ 240527 w 4610101"/>
              <a:gd name="connsiteY20937" fmla="*/ 1035847 h 6557032"/>
              <a:gd name="connsiteX20938" fmla="*/ 260571 w 4610101"/>
              <a:gd name="connsiteY20938" fmla="*/ 1048602 h 6557032"/>
              <a:gd name="connsiteX20939" fmla="*/ 247816 w 4610101"/>
              <a:gd name="connsiteY20939" fmla="*/ 1034025 h 6557032"/>
              <a:gd name="connsiteX20940" fmla="*/ 112975 w 4610101"/>
              <a:gd name="connsiteY20940" fmla="*/ 1034025 h 6557032"/>
              <a:gd name="connsiteX20941" fmla="*/ 134841 w 4610101"/>
              <a:gd name="connsiteY20941" fmla="*/ 1048602 h 6557032"/>
              <a:gd name="connsiteX20942" fmla="*/ 112975 w 4610101"/>
              <a:gd name="connsiteY20942" fmla="*/ 1034025 h 6557032"/>
              <a:gd name="connsiteX20943" fmla="*/ 794151 w 4610101"/>
              <a:gd name="connsiteY20943" fmla="*/ 1033611 h 6557032"/>
              <a:gd name="connsiteX20944" fmla="*/ 794468 w 4610101"/>
              <a:gd name="connsiteY20944" fmla="*/ 1034086 h 6557032"/>
              <a:gd name="connsiteX20945" fmla="*/ 789001 w 4610101"/>
              <a:gd name="connsiteY20945" fmla="*/ 1037732 h 6557032"/>
              <a:gd name="connsiteX20946" fmla="*/ 1234916 w 4610101"/>
              <a:gd name="connsiteY20946" fmla="*/ 1033280 h 6557032"/>
              <a:gd name="connsiteX20947" fmla="*/ 1245751 w 4610101"/>
              <a:gd name="connsiteY20947" fmla="*/ 1035257 h 6557032"/>
              <a:gd name="connsiteX20948" fmla="*/ 1244545 w 4610101"/>
              <a:gd name="connsiteY20948" fmla="*/ 1037669 h 6557032"/>
              <a:gd name="connsiteX20949" fmla="*/ 1233612 w 4610101"/>
              <a:gd name="connsiteY20949" fmla="*/ 1037669 h 6557032"/>
              <a:gd name="connsiteX20950" fmla="*/ 1233612 w 4610101"/>
              <a:gd name="connsiteY20950" fmla="*/ 1034025 h 6557032"/>
              <a:gd name="connsiteX20951" fmla="*/ 3106807 w 4610101"/>
              <a:gd name="connsiteY20951" fmla="*/ 1032203 h 6557032"/>
              <a:gd name="connsiteX20952" fmla="*/ 3110451 w 4610101"/>
              <a:gd name="connsiteY20952" fmla="*/ 1041314 h 6557032"/>
              <a:gd name="connsiteX20953" fmla="*/ 3115918 w 4610101"/>
              <a:gd name="connsiteY20953" fmla="*/ 1032203 h 6557032"/>
              <a:gd name="connsiteX20954" fmla="*/ 3106807 w 4610101"/>
              <a:gd name="connsiteY20954" fmla="*/ 1032203 h 6557032"/>
              <a:gd name="connsiteX20955" fmla="*/ 1290100 w 4610101"/>
              <a:gd name="connsiteY20955" fmla="*/ 1032203 h 6557032"/>
              <a:gd name="connsiteX20956" fmla="*/ 1287391 w 4610101"/>
              <a:gd name="connsiteY20956" fmla="*/ 1044197 h 6557032"/>
              <a:gd name="connsiteX20957" fmla="*/ 1284633 w 4610101"/>
              <a:gd name="connsiteY20957" fmla="*/ 1043136 h 6557032"/>
              <a:gd name="connsiteX20958" fmla="*/ 1276731 w 4610101"/>
              <a:gd name="connsiteY20958" fmla="*/ 1046798 h 6557032"/>
              <a:gd name="connsiteX20959" fmla="*/ 1279166 w 4610101"/>
              <a:gd name="connsiteY20959" fmla="*/ 1039492 h 6557032"/>
              <a:gd name="connsiteX20960" fmla="*/ 1290100 w 4610101"/>
              <a:gd name="connsiteY20960" fmla="*/ 1032203 h 6557032"/>
              <a:gd name="connsiteX20961" fmla="*/ 1146148 w 4610101"/>
              <a:gd name="connsiteY20961" fmla="*/ 1032203 h 6557032"/>
              <a:gd name="connsiteX20962" fmla="*/ 1142503 w 4610101"/>
              <a:gd name="connsiteY20962" fmla="*/ 1039492 h 6557032"/>
              <a:gd name="connsiteX20963" fmla="*/ 1147970 w 4610101"/>
              <a:gd name="connsiteY20963" fmla="*/ 1037669 h 6557032"/>
              <a:gd name="connsiteX20964" fmla="*/ 1146148 w 4610101"/>
              <a:gd name="connsiteY20964" fmla="*/ 1032203 h 6557032"/>
              <a:gd name="connsiteX20965" fmla="*/ 1034995 w 4610101"/>
              <a:gd name="connsiteY20965" fmla="*/ 1032203 h 6557032"/>
              <a:gd name="connsiteX20966" fmla="*/ 1031351 w 4610101"/>
              <a:gd name="connsiteY20966" fmla="*/ 1041314 h 6557032"/>
              <a:gd name="connsiteX20967" fmla="*/ 1027707 w 4610101"/>
              <a:gd name="connsiteY20967" fmla="*/ 1041314 h 6557032"/>
              <a:gd name="connsiteX20968" fmla="*/ 1025884 w 4610101"/>
              <a:gd name="connsiteY20968" fmla="*/ 1050425 h 6557032"/>
              <a:gd name="connsiteX20969" fmla="*/ 1031351 w 4610101"/>
              <a:gd name="connsiteY20969" fmla="*/ 1050425 h 6557032"/>
              <a:gd name="connsiteX20970" fmla="*/ 1031351 w 4610101"/>
              <a:gd name="connsiteY20970" fmla="*/ 1044958 h 6557032"/>
              <a:gd name="connsiteX20971" fmla="*/ 1034995 w 4610101"/>
              <a:gd name="connsiteY20971" fmla="*/ 1050425 h 6557032"/>
              <a:gd name="connsiteX20972" fmla="*/ 1034995 w 4610101"/>
              <a:gd name="connsiteY20972" fmla="*/ 1048602 h 6557032"/>
              <a:gd name="connsiteX20973" fmla="*/ 1040462 w 4610101"/>
              <a:gd name="connsiteY20973" fmla="*/ 1048602 h 6557032"/>
              <a:gd name="connsiteX20974" fmla="*/ 1036818 w 4610101"/>
              <a:gd name="connsiteY20974" fmla="*/ 1043136 h 6557032"/>
              <a:gd name="connsiteX20975" fmla="*/ 1034995 w 4610101"/>
              <a:gd name="connsiteY20975" fmla="*/ 1048602 h 6557032"/>
              <a:gd name="connsiteX20976" fmla="*/ 1034995 w 4610101"/>
              <a:gd name="connsiteY20976" fmla="*/ 1039492 h 6557032"/>
              <a:gd name="connsiteX20977" fmla="*/ 1040462 w 4610101"/>
              <a:gd name="connsiteY20977" fmla="*/ 1043136 h 6557032"/>
              <a:gd name="connsiteX20978" fmla="*/ 1034995 w 4610101"/>
              <a:gd name="connsiteY20978" fmla="*/ 1032203 h 6557032"/>
              <a:gd name="connsiteX20979" fmla="*/ 1024062 w 4610101"/>
              <a:gd name="connsiteY20979" fmla="*/ 1032203 h 6557032"/>
              <a:gd name="connsiteX20980" fmla="*/ 1020418 w 4610101"/>
              <a:gd name="connsiteY20980" fmla="*/ 1035847 h 6557032"/>
              <a:gd name="connsiteX20981" fmla="*/ 1024062 w 4610101"/>
              <a:gd name="connsiteY20981" fmla="*/ 1043136 h 6557032"/>
              <a:gd name="connsiteX20982" fmla="*/ 1024062 w 4610101"/>
              <a:gd name="connsiteY20982" fmla="*/ 1032203 h 6557032"/>
              <a:gd name="connsiteX20983" fmla="*/ 916555 w 4610101"/>
              <a:gd name="connsiteY20983" fmla="*/ 1032203 h 6557032"/>
              <a:gd name="connsiteX20984" fmla="*/ 918376 w 4610101"/>
              <a:gd name="connsiteY20984" fmla="*/ 1035847 h 6557032"/>
              <a:gd name="connsiteX20985" fmla="*/ 916555 w 4610101"/>
              <a:gd name="connsiteY20985" fmla="*/ 1046780 h 6557032"/>
              <a:gd name="connsiteX20986" fmla="*/ 920198 w 4610101"/>
              <a:gd name="connsiteY20986" fmla="*/ 1039492 h 6557032"/>
              <a:gd name="connsiteX20987" fmla="*/ 918376 w 4610101"/>
              <a:gd name="connsiteY20987" fmla="*/ 1035847 h 6557032"/>
              <a:gd name="connsiteX20988" fmla="*/ 920198 w 4610101"/>
              <a:gd name="connsiteY20988" fmla="*/ 1032203 h 6557032"/>
              <a:gd name="connsiteX20989" fmla="*/ 916555 w 4610101"/>
              <a:gd name="connsiteY20989" fmla="*/ 1032203 h 6557032"/>
              <a:gd name="connsiteX20990" fmla="*/ 225950 w 4610101"/>
              <a:gd name="connsiteY20990" fmla="*/ 1032203 h 6557032"/>
              <a:gd name="connsiteX20991" fmla="*/ 238705 w 4610101"/>
              <a:gd name="connsiteY20991" fmla="*/ 1032203 h 6557032"/>
              <a:gd name="connsiteX20992" fmla="*/ 225950 w 4610101"/>
              <a:gd name="connsiteY20992" fmla="*/ 1032203 h 6557032"/>
              <a:gd name="connsiteX20993" fmla="*/ 537541 w 4610101"/>
              <a:gd name="connsiteY20993" fmla="*/ 1031519 h 6557032"/>
              <a:gd name="connsiteX20994" fmla="*/ 530253 w 4610101"/>
              <a:gd name="connsiteY20994" fmla="*/ 1032203 h 6557032"/>
              <a:gd name="connsiteX20995" fmla="*/ 544830 w 4610101"/>
              <a:gd name="connsiteY20995" fmla="*/ 1039492 h 6557032"/>
              <a:gd name="connsiteX20996" fmla="*/ 539364 w 4610101"/>
              <a:gd name="connsiteY20996" fmla="*/ 1039492 h 6557032"/>
              <a:gd name="connsiteX20997" fmla="*/ 546653 w 4610101"/>
              <a:gd name="connsiteY20997" fmla="*/ 1044958 h 6557032"/>
              <a:gd name="connsiteX20998" fmla="*/ 544830 w 4610101"/>
              <a:gd name="connsiteY20998" fmla="*/ 1039492 h 6557032"/>
              <a:gd name="connsiteX20999" fmla="*/ 544830 w 4610101"/>
              <a:gd name="connsiteY20999" fmla="*/ 1032203 h 6557032"/>
              <a:gd name="connsiteX21000" fmla="*/ 537541 w 4610101"/>
              <a:gd name="connsiteY21000" fmla="*/ 1031519 h 6557032"/>
              <a:gd name="connsiteX21001" fmla="*/ 3533196 w 4610101"/>
              <a:gd name="connsiteY21001" fmla="*/ 1030381 h 6557032"/>
              <a:gd name="connsiteX21002" fmla="*/ 3540484 w 4610101"/>
              <a:gd name="connsiteY21002" fmla="*/ 1037669 h 6557032"/>
              <a:gd name="connsiteX21003" fmla="*/ 3533196 w 4610101"/>
              <a:gd name="connsiteY21003" fmla="*/ 1030381 h 6557032"/>
              <a:gd name="connsiteX21004" fmla="*/ 2589310 w 4610101"/>
              <a:gd name="connsiteY21004" fmla="*/ 1030381 h 6557032"/>
              <a:gd name="connsiteX21005" fmla="*/ 2587487 w 4610101"/>
              <a:gd name="connsiteY21005" fmla="*/ 1041314 h 6557032"/>
              <a:gd name="connsiteX21006" fmla="*/ 2589310 w 4610101"/>
              <a:gd name="connsiteY21006" fmla="*/ 1030381 h 6557032"/>
              <a:gd name="connsiteX21007" fmla="*/ 976686 w 4610101"/>
              <a:gd name="connsiteY21007" fmla="*/ 1030381 h 6557032"/>
              <a:gd name="connsiteX21008" fmla="*/ 974863 w 4610101"/>
              <a:gd name="connsiteY21008" fmla="*/ 1032203 h 6557032"/>
              <a:gd name="connsiteX21009" fmla="*/ 980330 w 4610101"/>
              <a:gd name="connsiteY21009" fmla="*/ 1037669 h 6557032"/>
              <a:gd name="connsiteX21010" fmla="*/ 976686 w 4610101"/>
              <a:gd name="connsiteY21010" fmla="*/ 1030381 h 6557032"/>
              <a:gd name="connsiteX21011" fmla="*/ 858244 w 4610101"/>
              <a:gd name="connsiteY21011" fmla="*/ 1030381 h 6557032"/>
              <a:gd name="connsiteX21012" fmla="*/ 856422 w 4610101"/>
              <a:gd name="connsiteY21012" fmla="*/ 1039492 h 6557032"/>
              <a:gd name="connsiteX21013" fmla="*/ 860066 w 4610101"/>
              <a:gd name="connsiteY21013" fmla="*/ 1037669 h 6557032"/>
              <a:gd name="connsiteX21014" fmla="*/ 858244 w 4610101"/>
              <a:gd name="connsiteY21014" fmla="*/ 1030381 h 6557032"/>
              <a:gd name="connsiteX21015" fmla="*/ 422745 w 4610101"/>
              <a:gd name="connsiteY21015" fmla="*/ 1030381 h 6557032"/>
              <a:gd name="connsiteX21016" fmla="*/ 435500 w 4610101"/>
              <a:gd name="connsiteY21016" fmla="*/ 1041314 h 6557032"/>
              <a:gd name="connsiteX21017" fmla="*/ 422745 w 4610101"/>
              <a:gd name="connsiteY21017" fmla="*/ 1030381 h 6557032"/>
              <a:gd name="connsiteX21018" fmla="*/ 320703 w 4610101"/>
              <a:gd name="connsiteY21018" fmla="*/ 1030381 h 6557032"/>
              <a:gd name="connsiteX21019" fmla="*/ 331636 w 4610101"/>
              <a:gd name="connsiteY21019" fmla="*/ 1039492 h 6557032"/>
              <a:gd name="connsiteX21020" fmla="*/ 320703 w 4610101"/>
              <a:gd name="connsiteY21020" fmla="*/ 1030381 h 6557032"/>
              <a:gd name="connsiteX21021" fmla="*/ 119505 w 4610101"/>
              <a:gd name="connsiteY21021" fmla="*/ 1029828 h 6557032"/>
              <a:gd name="connsiteX21022" fmla="*/ 122086 w 4610101"/>
              <a:gd name="connsiteY21022" fmla="*/ 1032203 h 6557032"/>
              <a:gd name="connsiteX21023" fmla="*/ 120875 w 4610101"/>
              <a:gd name="connsiteY21023" fmla="*/ 1031842 h 6557032"/>
              <a:gd name="connsiteX21024" fmla="*/ 119932 w 4610101"/>
              <a:gd name="connsiteY21024" fmla="*/ 1030712 h 6557032"/>
              <a:gd name="connsiteX21025" fmla="*/ 119808 w 4610101"/>
              <a:gd name="connsiteY21025" fmla="*/ 1030153 h 6557032"/>
              <a:gd name="connsiteX21026" fmla="*/ 3553467 w 4610101"/>
              <a:gd name="connsiteY21026" fmla="*/ 1029470 h 6557032"/>
              <a:gd name="connsiteX21027" fmla="*/ 3545951 w 4610101"/>
              <a:gd name="connsiteY21027" fmla="*/ 1030381 h 6557032"/>
              <a:gd name="connsiteX21028" fmla="*/ 3544129 w 4610101"/>
              <a:gd name="connsiteY21028" fmla="*/ 1041314 h 6557032"/>
              <a:gd name="connsiteX21029" fmla="*/ 3547773 w 4610101"/>
              <a:gd name="connsiteY21029" fmla="*/ 1048602 h 6557032"/>
              <a:gd name="connsiteX21030" fmla="*/ 3553240 w 4610101"/>
              <a:gd name="connsiteY21030" fmla="*/ 1041314 h 6557032"/>
              <a:gd name="connsiteX21031" fmla="*/ 3558706 w 4610101"/>
              <a:gd name="connsiteY21031" fmla="*/ 1046780 h 6557032"/>
              <a:gd name="connsiteX21032" fmla="*/ 3560528 w 4610101"/>
              <a:gd name="connsiteY21032" fmla="*/ 1043136 h 6557032"/>
              <a:gd name="connsiteX21033" fmla="*/ 3562350 w 4610101"/>
              <a:gd name="connsiteY21033" fmla="*/ 1046780 h 6557032"/>
              <a:gd name="connsiteX21034" fmla="*/ 3558706 w 4610101"/>
              <a:gd name="connsiteY21034" fmla="*/ 1057713 h 6557032"/>
              <a:gd name="connsiteX21035" fmla="*/ 3578750 w 4610101"/>
              <a:gd name="connsiteY21035" fmla="*/ 1059535 h 6557032"/>
              <a:gd name="connsiteX21036" fmla="*/ 3575106 w 4610101"/>
              <a:gd name="connsiteY21036" fmla="*/ 1061358 h 6557032"/>
              <a:gd name="connsiteX21037" fmla="*/ 3589683 w 4610101"/>
              <a:gd name="connsiteY21037" fmla="*/ 1066824 h 6557032"/>
              <a:gd name="connsiteX21038" fmla="*/ 3582394 w 4610101"/>
              <a:gd name="connsiteY21038" fmla="*/ 1052247 h 6557032"/>
              <a:gd name="connsiteX21039" fmla="*/ 3591505 w 4610101"/>
              <a:gd name="connsiteY21039" fmla="*/ 1050425 h 6557032"/>
              <a:gd name="connsiteX21040" fmla="*/ 3593327 w 4610101"/>
              <a:gd name="connsiteY21040" fmla="*/ 1043136 h 6557032"/>
              <a:gd name="connsiteX21041" fmla="*/ 3593327 w 4610101"/>
              <a:gd name="connsiteY21041" fmla="*/ 1057713 h 6557032"/>
              <a:gd name="connsiteX21042" fmla="*/ 3604260 w 4610101"/>
              <a:gd name="connsiteY21042" fmla="*/ 1050425 h 6557032"/>
              <a:gd name="connsiteX21043" fmla="*/ 3573284 w 4610101"/>
              <a:gd name="connsiteY21043" fmla="*/ 1032203 h 6557032"/>
              <a:gd name="connsiteX21044" fmla="*/ 3560528 w 4610101"/>
              <a:gd name="connsiteY21044" fmla="*/ 1034025 h 6557032"/>
              <a:gd name="connsiteX21045" fmla="*/ 3553240 w 4610101"/>
              <a:gd name="connsiteY21045" fmla="*/ 1041314 h 6557032"/>
              <a:gd name="connsiteX21046" fmla="*/ 3556884 w 4610101"/>
              <a:gd name="connsiteY21046" fmla="*/ 1034025 h 6557032"/>
              <a:gd name="connsiteX21047" fmla="*/ 3553467 w 4610101"/>
              <a:gd name="connsiteY21047" fmla="*/ 1029470 h 6557032"/>
              <a:gd name="connsiteX21048" fmla="*/ 164384 w 4610101"/>
              <a:gd name="connsiteY21048" fmla="*/ 1029185 h 6557032"/>
              <a:gd name="connsiteX21049" fmla="*/ 177777 w 4610101"/>
              <a:gd name="connsiteY21049" fmla="*/ 1040346 h 6557032"/>
              <a:gd name="connsiteX21050" fmla="*/ 182218 w 4610101"/>
              <a:gd name="connsiteY21050" fmla="*/ 1044958 h 6557032"/>
              <a:gd name="connsiteX21051" fmla="*/ 169690 w 4610101"/>
              <a:gd name="connsiteY21051" fmla="*/ 1034708 h 6557032"/>
              <a:gd name="connsiteX21052" fmla="*/ 2592954 w 4610101"/>
              <a:gd name="connsiteY21052" fmla="*/ 1028559 h 6557032"/>
              <a:gd name="connsiteX21053" fmla="*/ 2596598 w 4610101"/>
              <a:gd name="connsiteY21053" fmla="*/ 1043136 h 6557032"/>
              <a:gd name="connsiteX21054" fmla="*/ 2596598 w 4610101"/>
              <a:gd name="connsiteY21054" fmla="*/ 1030381 h 6557032"/>
              <a:gd name="connsiteX21055" fmla="*/ 2592954 w 4610101"/>
              <a:gd name="connsiteY21055" fmla="*/ 1028559 h 6557032"/>
              <a:gd name="connsiteX21056" fmla="*/ 1073262 w 4610101"/>
              <a:gd name="connsiteY21056" fmla="*/ 1028559 h 6557032"/>
              <a:gd name="connsiteX21057" fmla="*/ 1071439 w 4610101"/>
              <a:gd name="connsiteY21057" fmla="*/ 1030381 h 6557032"/>
              <a:gd name="connsiteX21058" fmla="*/ 1075083 w 4610101"/>
              <a:gd name="connsiteY21058" fmla="*/ 1030381 h 6557032"/>
              <a:gd name="connsiteX21059" fmla="*/ 1073262 w 4610101"/>
              <a:gd name="connsiteY21059" fmla="*/ 1028559 h 6557032"/>
              <a:gd name="connsiteX21060" fmla="*/ 819979 w 4610101"/>
              <a:gd name="connsiteY21060" fmla="*/ 1028559 h 6557032"/>
              <a:gd name="connsiteX21061" fmla="*/ 820707 w 4610101"/>
              <a:gd name="connsiteY21061" fmla="*/ 1029651 h 6557032"/>
              <a:gd name="connsiteX21062" fmla="*/ 819213 w 4610101"/>
              <a:gd name="connsiteY21062" fmla="*/ 1031147 h 6557032"/>
              <a:gd name="connsiteX21063" fmla="*/ 748914 w 4610101"/>
              <a:gd name="connsiteY21063" fmla="*/ 1028559 h 6557032"/>
              <a:gd name="connsiteX21064" fmla="*/ 750737 w 4610101"/>
              <a:gd name="connsiteY21064" fmla="*/ 1037669 h 6557032"/>
              <a:gd name="connsiteX21065" fmla="*/ 752558 w 4610101"/>
              <a:gd name="connsiteY21065" fmla="*/ 1034025 h 6557032"/>
              <a:gd name="connsiteX21066" fmla="*/ 748914 w 4610101"/>
              <a:gd name="connsiteY21066" fmla="*/ 1028559 h 6557032"/>
              <a:gd name="connsiteX21067" fmla="*/ 677849 w 4610101"/>
              <a:gd name="connsiteY21067" fmla="*/ 1028559 h 6557032"/>
              <a:gd name="connsiteX21068" fmla="*/ 683316 w 4610101"/>
              <a:gd name="connsiteY21068" fmla="*/ 1030381 h 6557032"/>
              <a:gd name="connsiteX21069" fmla="*/ 677849 w 4610101"/>
              <a:gd name="connsiteY21069" fmla="*/ 1028559 h 6557032"/>
              <a:gd name="connsiteX21070" fmla="*/ 386301 w 4610101"/>
              <a:gd name="connsiteY21070" fmla="*/ 1028559 h 6557032"/>
              <a:gd name="connsiteX21071" fmla="*/ 399056 w 4610101"/>
              <a:gd name="connsiteY21071" fmla="*/ 1035847 h 6557032"/>
              <a:gd name="connsiteX21072" fmla="*/ 386301 w 4610101"/>
              <a:gd name="connsiteY21072" fmla="*/ 1028559 h 6557032"/>
              <a:gd name="connsiteX21073" fmla="*/ 295193 w 4610101"/>
              <a:gd name="connsiteY21073" fmla="*/ 1028559 h 6557032"/>
              <a:gd name="connsiteX21074" fmla="*/ 311592 w 4610101"/>
              <a:gd name="connsiteY21074" fmla="*/ 1041314 h 6557032"/>
              <a:gd name="connsiteX21075" fmla="*/ 300660 w 4610101"/>
              <a:gd name="connsiteY21075" fmla="*/ 1028559 h 6557032"/>
              <a:gd name="connsiteX21076" fmla="*/ 298837 w 4610101"/>
              <a:gd name="connsiteY21076" fmla="*/ 1028559 h 6557032"/>
              <a:gd name="connsiteX21077" fmla="*/ 311592 w 4610101"/>
              <a:gd name="connsiteY21077" fmla="*/ 1041314 h 6557032"/>
              <a:gd name="connsiteX21078" fmla="*/ 295193 w 4610101"/>
              <a:gd name="connsiteY21078" fmla="*/ 1028559 h 6557032"/>
              <a:gd name="connsiteX21079" fmla="*/ 94753 w 4610101"/>
              <a:gd name="connsiteY21079" fmla="*/ 1028559 h 6557032"/>
              <a:gd name="connsiteX21080" fmla="*/ 94756 w 4610101"/>
              <a:gd name="connsiteY21080" fmla="*/ 1028561 h 6557032"/>
              <a:gd name="connsiteX21081" fmla="*/ 96576 w 4610101"/>
              <a:gd name="connsiteY21081" fmla="*/ 1030381 h 6557032"/>
              <a:gd name="connsiteX21082" fmla="*/ 798112 w 4610101"/>
              <a:gd name="connsiteY21082" fmla="*/ 1026797 h 6557032"/>
              <a:gd name="connsiteX21083" fmla="*/ 799934 w 4610101"/>
              <a:gd name="connsiteY21083" fmla="*/ 1030442 h 6557032"/>
              <a:gd name="connsiteX21084" fmla="*/ 798112 w 4610101"/>
              <a:gd name="connsiteY21084" fmla="*/ 1030442 h 6557032"/>
              <a:gd name="connsiteX21085" fmla="*/ 794151 w 4610101"/>
              <a:gd name="connsiteY21085" fmla="*/ 1033611 h 6557032"/>
              <a:gd name="connsiteX21086" fmla="*/ 793142 w 4610101"/>
              <a:gd name="connsiteY21086" fmla="*/ 1032099 h 6557032"/>
              <a:gd name="connsiteX21087" fmla="*/ 790823 w 4610101"/>
              <a:gd name="connsiteY21087" fmla="*/ 1028620 h 6557032"/>
              <a:gd name="connsiteX21088" fmla="*/ 798112 w 4610101"/>
              <a:gd name="connsiteY21088" fmla="*/ 1026797 h 6557032"/>
              <a:gd name="connsiteX21089" fmla="*/ 3119562 w 4610101"/>
              <a:gd name="connsiteY21089" fmla="*/ 1026736 h 6557032"/>
              <a:gd name="connsiteX21090" fmla="*/ 3126851 w 4610101"/>
              <a:gd name="connsiteY21090" fmla="*/ 1032203 h 6557032"/>
              <a:gd name="connsiteX21091" fmla="*/ 3119562 w 4610101"/>
              <a:gd name="connsiteY21091" fmla="*/ 1026736 h 6557032"/>
              <a:gd name="connsiteX21092" fmla="*/ 1250012 w 4610101"/>
              <a:gd name="connsiteY21092" fmla="*/ 1026736 h 6557032"/>
              <a:gd name="connsiteX21093" fmla="*/ 1255478 w 4610101"/>
              <a:gd name="connsiteY21093" fmla="*/ 1028559 h 6557032"/>
              <a:gd name="connsiteX21094" fmla="*/ 1250012 w 4610101"/>
              <a:gd name="connsiteY21094" fmla="*/ 1034252 h 6557032"/>
              <a:gd name="connsiteX21095" fmla="*/ 1248827 w 4610101"/>
              <a:gd name="connsiteY21095" fmla="*/ 1035782 h 6557032"/>
              <a:gd name="connsiteX21096" fmla="*/ 1247735 w 4610101"/>
              <a:gd name="connsiteY21096" fmla="*/ 1035619 h 6557032"/>
              <a:gd name="connsiteX21097" fmla="*/ 1245751 w 4610101"/>
              <a:gd name="connsiteY21097" fmla="*/ 1035257 h 6557032"/>
              <a:gd name="connsiteX21098" fmla="*/ 927487 w 4610101"/>
              <a:gd name="connsiteY21098" fmla="*/ 1026736 h 6557032"/>
              <a:gd name="connsiteX21099" fmla="*/ 925666 w 4610101"/>
              <a:gd name="connsiteY21099" fmla="*/ 1063180 h 6557032"/>
              <a:gd name="connsiteX21100" fmla="*/ 929309 w 4610101"/>
              <a:gd name="connsiteY21100" fmla="*/ 1059535 h 6557032"/>
              <a:gd name="connsiteX21101" fmla="*/ 927487 w 4610101"/>
              <a:gd name="connsiteY21101" fmla="*/ 1063180 h 6557032"/>
              <a:gd name="connsiteX21102" fmla="*/ 936598 w 4610101"/>
              <a:gd name="connsiteY21102" fmla="*/ 1063180 h 6557032"/>
              <a:gd name="connsiteX21103" fmla="*/ 927487 w 4610101"/>
              <a:gd name="connsiteY21103" fmla="*/ 1026736 h 6557032"/>
              <a:gd name="connsiteX21104" fmla="*/ 767136 w 4610101"/>
              <a:gd name="connsiteY21104" fmla="*/ 1026736 h 6557032"/>
              <a:gd name="connsiteX21105" fmla="*/ 770781 w 4610101"/>
              <a:gd name="connsiteY21105" fmla="*/ 1032203 h 6557032"/>
              <a:gd name="connsiteX21106" fmla="*/ 767136 w 4610101"/>
              <a:gd name="connsiteY21106" fmla="*/ 1034025 h 6557032"/>
              <a:gd name="connsiteX21107" fmla="*/ 379012 w 4610101"/>
              <a:gd name="connsiteY21107" fmla="*/ 1026736 h 6557032"/>
              <a:gd name="connsiteX21108" fmla="*/ 384479 w 4610101"/>
              <a:gd name="connsiteY21108" fmla="*/ 1035847 h 6557032"/>
              <a:gd name="connsiteX21109" fmla="*/ 382657 w 4610101"/>
              <a:gd name="connsiteY21109" fmla="*/ 1028559 h 6557032"/>
              <a:gd name="connsiteX21110" fmla="*/ 379012 w 4610101"/>
              <a:gd name="connsiteY21110" fmla="*/ 1026736 h 6557032"/>
              <a:gd name="connsiteX21111" fmla="*/ 207728 w 4610101"/>
              <a:gd name="connsiteY21111" fmla="*/ 1026736 h 6557032"/>
              <a:gd name="connsiteX21112" fmla="*/ 227772 w 4610101"/>
              <a:gd name="connsiteY21112" fmla="*/ 1048602 h 6557032"/>
              <a:gd name="connsiteX21113" fmla="*/ 249638 w 4610101"/>
              <a:gd name="connsiteY21113" fmla="*/ 1061358 h 6557032"/>
              <a:gd name="connsiteX21114" fmla="*/ 231416 w 4610101"/>
              <a:gd name="connsiteY21114" fmla="*/ 1048602 h 6557032"/>
              <a:gd name="connsiteX21115" fmla="*/ 238705 w 4610101"/>
              <a:gd name="connsiteY21115" fmla="*/ 1050425 h 6557032"/>
              <a:gd name="connsiteX21116" fmla="*/ 207728 w 4610101"/>
              <a:gd name="connsiteY21116" fmla="*/ 1026736 h 6557032"/>
              <a:gd name="connsiteX21117" fmla="*/ 191329 w 4610101"/>
              <a:gd name="connsiteY21117" fmla="*/ 1026736 h 6557032"/>
              <a:gd name="connsiteX21118" fmla="*/ 198617 w 4610101"/>
              <a:gd name="connsiteY21118" fmla="*/ 1039492 h 6557032"/>
              <a:gd name="connsiteX21119" fmla="*/ 209550 w 4610101"/>
              <a:gd name="connsiteY21119" fmla="*/ 1037669 h 6557032"/>
              <a:gd name="connsiteX21120" fmla="*/ 191329 w 4610101"/>
              <a:gd name="connsiteY21120" fmla="*/ 1026736 h 6557032"/>
              <a:gd name="connsiteX21121" fmla="*/ 185862 w 4610101"/>
              <a:gd name="connsiteY21121" fmla="*/ 1026736 h 6557032"/>
              <a:gd name="connsiteX21122" fmla="*/ 185865 w 4610101"/>
              <a:gd name="connsiteY21122" fmla="*/ 1026739 h 6557032"/>
              <a:gd name="connsiteX21123" fmla="*/ 185866 w 4610101"/>
              <a:gd name="connsiteY21123" fmla="*/ 1026740 h 6557032"/>
              <a:gd name="connsiteX21124" fmla="*/ 116619 w 4610101"/>
              <a:gd name="connsiteY21124" fmla="*/ 1026736 h 6557032"/>
              <a:gd name="connsiteX21125" fmla="*/ 119505 w 4610101"/>
              <a:gd name="connsiteY21125" fmla="*/ 1029828 h 6557032"/>
              <a:gd name="connsiteX21126" fmla="*/ 118181 w 4610101"/>
              <a:gd name="connsiteY21126" fmla="*/ 1028610 h 6557032"/>
              <a:gd name="connsiteX21127" fmla="*/ 3228893 w 4610101"/>
              <a:gd name="connsiteY21127" fmla="*/ 1024914 h 6557032"/>
              <a:gd name="connsiteX21128" fmla="*/ 3216137 w 4610101"/>
              <a:gd name="connsiteY21128" fmla="*/ 1030381 h 6557032"/>
              <a:gd name="connsiteX21129" fmla="*/ 3228893 w 4610101"/>
              <a:gd name="connsiteY21129" fmla="*/ 1024914 h 6557032"/>
              <a:gd name="connsiteX21130" fmla="*/ 3052142 w 4610101"/>
              <a:gd name="connsiteY21130" fmla="*/ 1024914 h 6557032"/>
              <a:gd name="connsiteX21131" fmla="*/ 3055038 w 4610101"/>
              <a:gd name="connsiteY21131" fmla="*/ 1025879 h 6557032"/>
              <a:gd name="connsiteX21132" fmla="*/ 3054648 w 4610101"/>
              <a:gd name="connsiteY21132" fmla="*/ 1025825 h 6557032"/>
              <a:gd name="connsiteX21133" fmla="*/ 3052372 w 4610101"/>
              <a:gd name="connsiteY21133" fmla="*/ 1025565 h 6557032"/>
              <a:gd name="connsiteX21134" fmla="*/ 3006587 w 4610101"/>
              <a:gd name="connsiteY21134" fmla="*/ 1024914 h 6557032"/>
              <a:gd name="connsiteX21135" fmla="*/ 3008260 w 4610101"/>
              <a:gd name="connsiteY21135" fmla="*/ 1027701 h 6557032"/>
              <a:gd name="connsiteX21136" fmla="*/ 3008410 w 4610101"/>
              <a:gd name="connsiteY21136" fmla="*/ 1028559 h 6557032"/>
              <a:gd name="connsiteX21137" fmla="*/ 3006587 w 4610101"/>
              <a:gd name="connsiteY21137" fmla="*/ 1024914 h 6557032"/>
              <a:gd name="connsiteX21138" fmla="*/ 2428958 w 4610101"/>
              <a:gd name="connsiteY21138" fmla="*/ 1024914 h 6557032"/>
              <a:gd name="connsiteX21139" fmla="*/ 2432603 w 4610101"/>
              <a:gd name="connsiteY21139" fmla="*/ 1033704 h 6557032"/>
              <a:gd name="connsiteX21140" fmla="*/ 2432603 w 4610101"/>
              <a:gd name="connsiteY21140" fmla="*/ 1034025 h 6557032"/>
              <a:gd name="connsiteX21141" fmla="*/ 2432748 w 4610101"/>
              <a:gd name="connsiteY21141" fmla="*/ 1034054 h 6557032"/>
              <a:gd name="connsiteX21142" fmla="*/ 2432831 w 4610101"/>
              <a:gd name="connsiteY21142" fmla="*/ 1034252 h 6557032"/>
              <a:gd name="connsiteX21143" fmla="*/ 2443536 w 4610101"/>
              <a:gd name="connsiteY21143" fmla="*/ 1039492 h 6557032"/>
              <a:gd name="connsiteX21144" fmla="*/ 2439436 w 4610101"/>
              <a:gd name="connsiteY21144" fmla="*/ 1035391 h 6557032"/>
              <a:gd name="connsiteX21145" fmla="*/ 2432748 w 4610101"/>
              <a:gd name="connsiteY21145" fmla="*/ 1034054 h 6557032"/>
              <a:gd name="connsiteX21146" fmla="*/ 2432603 w 4610101"/>
              <a:gd name="connsiteY21146" fmla="*/ 1033704 h 6557032"/>
              <a:gd name="connsiteX21147" fmla="*/ 2432603 w 4610101"/>
              <a:gd name="connsiteY21147" fmla="*/ 1029470 h 6557032"/>
              <a:gd name="connsiteX21148" fmla="*/ 2432603 w 4610101"/>
              <a:gd name="connsiteY21148" fmla="*/ 1024914 h 6557032"/>
              <a:gd name="connsiteX21149" fmla="*/ 2428958 w 4610101"/>
              <a:gd name="connsiteY21149" fmla="*/ 1024914 h 6557032"/>
              <a:gd name="connsiteX21150" fmla="*/ 1067794 w 4610101"/>
              <a:gd name="connsiteY21150" fmla="*/ 1024914 h 6557032"/>
              <a:gd name="connsiteX21151" fmla="*/ 1065972 w 4610101"/>
              <a:gd name="connsiteY21151" fmla="*/ 1030381 h 6557032"/>
              <a:gd name="connsiteX21152" fmla="*/ 1067794 w 4610101"/>
              <a:gd name="connsiteY21152" fmla="*/ 1024914 h 6557032"/>
              <a:gd name="connsiteX21153" fmla="*/ 1014951 w 4610101"/>
              <a:gd name="connsiteY21153" fmla="*/ 1024914 h 6557032"/>
              <a:gd name="connsiteX21154" fmla="*/ 1011307 w 4610101"/>
              <a:gd name="connsiteY21154" fmla="*/ 1026736 h 6557032"/>
              <a:gd name="connsiteX21155" fmla="*/ 1013129 w 4610101"/>
              <a:gd name="connsiteY21155" fmla="*/ 1030381 h 6557032"/>
              <a:gd name="connsiteX21156" fmla="*/ 1014951 w 4610101"/>
              <a:gd name="connsiteY21156" fmla="*/ 1024914 h 6557032"/>
              <a:gd name="connsiteX21157" fmla="*/ 646872 w 4610101"/>
              <a:gd name="connsiteY21157" fmla="*/ 1024914 h 6557032"/>
              <a:gd name="connsiteX21158" fmla="*/ 650516 w 4610101"/>
              <a:gd name="connsiteY21158" fmla="*/ 1028559 h 6557032"/>
              <a:gd name="connsiteX21159" fmla="*/ 646872 w 4610101"/>
              <a:gd name="connsiteY21159" fmla="*/ 1024914 h 6557032"/>
              <a:gd name="connsiteX21160" fmla="*/ 282438 w 4610101"/>
              <a:gd name="connsiteY21160" fmla="*/ 1024914 h 6557032"/>
              <a:gd name="connsiteX21161" fmla="*/ 298837 w 4610101"/>
              <a:gd name="connsiteY21161" fmla="*/ 1041314 h 6557032"/>
              <a:gd name="connsiteX21162" fmla="*/ 282438 w 4610101"/>
              <a:gd name="connsiteY21162" fmla="*/ 1024914 h 6557032"/>
              <a:gd name="connsiteX21163" fmla="*/ 249638 w 4610101"/>
              <a:gd name="connsiteY21163" fmla="*/ 1024914 h 6557032"/>
              <a:gd name="connsiteX21164" fmla="*/ 269682 w 4610101"/>
              <a:gd name="connsiteY21164" fmla="*/ 1034025 h 6557032"/>
              <a:gd name="connsiteX21165" fmla="*/ 249638 w 4610101"/>
              <a:gd name="connsiteY21165" fmla="*/ 1024914 h 6557032"/>
              <a:gd name="connsiteX21166" fmla="*/ 143772 w 4610101"/>
              <a:gd name="connsiteY21166" fmla="*/ 1024644 h 6557032"/>
              <a:gd name="connsiteX21167" fmla="*/ 151241 w 4610101"/>
              <a:gd name="connsiteY21167" fmla="*/ 1035847 h 6557032"/>
              <a:gd name="connsiteX21168" fmla="*/ 149131 w 4610101"/>
              <a:gd name="connsiteY21168" fmla="*/ 1033606 h 6557032"/>
              <a:gd name="connsiteX21169" fmla="*/ 337330 w 4610101"/>
              <a:gd name="connsiteY21169" fmla="*/ 1024230 h 6557032"/>
              <a:gd name="connsiteX21170" fmla="*/ 331636 w 4610101"/>
              <a:gd name="connsiteY21170" fmla="*/ 1024914 h 6557032"/>
              <a:gd name="connsiteX21171" fmla="*/ 358969 w 4610101"/>
              <a:gd name="connsiteY21171" fmla="*/ 1034025 h 6557032"/>
              <a:gd name="connsiteX21172" fmla="*/ 349858 w 4610101"/>
              <a:gd name="connsiteY21172" fmla="*/ 1026736 h 6557032"/>
              <a:gd name="connsiteX21173" fmla="*/ 353502 w 4610101"/>
              <a:gd name="connsiteY21173" fmla="*/ 1032203 h 6557032"/>
              <a:gd name="connsiteX21174" fmla="*/ 344391 w 4610101"/>
              <a:gd name="connsiteY21174" fmla="*/ 1024914 h 6557032"/>
              <a:gd name="connsiteX21175" fmla="*/ 337330 w 4610101"/>
              <a:gd name="connsiteY21175" fmla="*/ 1024230 h 6557032"/>
              <a:gd name="connsiteX21176" fmla="*/ 3518618 w 4610101"/>
              <a:gd name="connsiteY21176" fmla="*/ 1023092 h 6557032"/>
              <a:gd name="connsiteX21177" fmla="*/ 3525907 w 4610101"/>
              <a:gd name="connsiteY21177" fmla="*/ 1030381 h 6557032"/>
              <a:gd name="connsiteX21178" fmla="*/ 3518618 w 4610101"/>
              <a:gd name="connsiteY21178" fmla="*/ 1023092 h 6557032"/>
              <a:gd name="connsiteX21179" fmla="*/ 2627575 w 4610101"/>
              <a:gd name="connsiteY21179" fmla="*/ 1023092 h 6557032"/>
              <a:gd name="connsiteX21180" fmla="*/ 2625753 w 4610101"/>
              <a:gd name="connsiteY21180" fmla="*/ 1028559 h 6557032"/>
              <a:gd name="connsiteX21181" fmla="*/ 2633042 w 4610101"/>
              <a:gd name="connsiteY21181" fmla="*/ 1030381 h 6557032"/>
              <a:gd name="connsiteX21182" fmla="*/ 2627575 w 4610101"/>
              <a:gd name="connsiteY21182" fmla="*/ 1023092 h 6557032"/>
              <a:gd name="connsiteX21183" fmla="*/ 1168014 w 4610101"/>
              <a:gd name="connsiteY21183" fmla="*/ 1023092 h 6557032"/>
              <a:gd name="connsiteX21184" fmla="*/ 1160725 w 4610101"/>
              <a:gd name="connsiteY21184" fmla="*/ 1034025 h 6557032"/>
              <a:gd name="connsiteX21185" fmla="*/ 1164370 w 4610101"/>
              <a:gd name="connsiteY21185" fmla="*/ 1032203 h 6557032"/>
              <a:gd name="connsiteX21186" fmla="*/ 1158903 w 4610101"/>
              <a:gd name="connsiteY21186" fmla="*/ 1048602 h 6557032"/>
              <a:gd name="connsiteX21187" fmla="*/ 1168014 w 4610101"/>
              <a:gd name="connsiteY21187" fmla="*/ 1048602 h 6557032"/>
              <a:gd name="connsiteX21188" fmla="*/ 1168014 w 4610101"/>
              <a:gd name="connsiteY21188" fmla="*/ 1030381 h 6557032"/>
              <a:gd name="connsiteX21189" fmla="*/ 1166192 w 4610101"/>
              <a:gd name="connsiteY21189" fmla="*/ 1032203 h 6557032"/>
              <a:gd name="connsiteX21190" fmla="*/ 1168014 w 4610101"/>
              <a:gd name="connsiteY21190" fmla="*/ 1023092 h 6557032"/>
              <a:gd name="connsiteX21191" fmla="*/ 1135215 w 4610101"/>
              <a:gd name="connsiteY21191" fmla="*/ 1023092 h 6557032"/>
              <a:gd name="connsiteX21192" fmla="*/ 1133393 w 4610101"/>
              <a:gd name="connsiteY21192" fmla="*/ 1026736 h 6557032"/>
              <a:gd name="connsiteX21193" fmla="*/ 1135215 w 4610101"/>
              <a:gd name="connsiteY21193" fmla="*/ 1028559 h 6557032"/>
              <a:gd name="connsiteX21194" fmla="*/ 1135215 w 4610101"/>
              <a:gd name="connsiteY21194" fmla="*/ 1023092 h 6557032"/>
              <a:gd name="connsiteX21195" fmla="*/ 1055040 w 4610101"/>
              <a:gd name="connsiteY21195" fmla="*/ 1023092 h 6557032"/>
              <a:gd name="connsiteX21196" fmla="*/ 1056861 w 4610101"/>
              <a:gd name="connsiteY21196" fmla="*/ 1032203 h 6557032"/>
              <a:gd name="connsiteX21197" fmla="*/ 1062328 w 4610101"/>
              <a:gd name="connsiteY21197" fmla="*/ 1030381 h 6557032"/>
              <a:gd name="connsiteX21198" fmla="*/ 1062328 w 4610101"/>
              <a:gd name="connsiteY21198" fmla="*/ 1026736 h 6557032"/>
              <a:gd name="connsiteX21199" fmla="*/ 1055040 w 4610101"/>
              <a:gd name="connsiteY21199" fmla="*/ 1023092 h 6557032"/>
              <a:gd name="connsiteX21200" fmla="*/ 925666 w 4610101"/>
              <a:gd name="connsiteY21200" fmla="*/ 1023092 h 6557032"/>
              <a:gd name="connsiteX21201" fmla="*/ 922020 w 4610101"/>
              <a:gd name="connsiteY21201" fmla="*/ 1028559 h 6557032"/>
              <a:gd name="connsiteX21202" fmla="*/ 925666 w 4610101"/>
              <a:gd name="connsiteY21202" fmla="*/ 1023092 h 6557032"/>
              <a:gd name="connsiteX21203" fmla="*/ 918376 w 4610101"/>
              <a:gd name="connsiteY21203" fmla="*/ 1023092 h 6557032"/>
              <a:gd name="connsiteX21204" fmla="*/ 914732 w 4610101"/>
              <a:gd name="connsiteY21204" fmla="*/ 1028559 h 6557032"/>
              <a:gd name="connsiteX21205" fmla="*/ 918376 w 4610101"/>
              <a:gd name="connsiteY21205" fmla="*/ 1030381 h 6557032"/>
              <a:gd name="connsiteX21206" fmla="*/ 918376 w 4610101"/>
              <a:gd name="connsiteY21206" fmla="*/ 1023092 h 6557032"/>
              <a:gd name="connsiteX21207" fmla="*/ 754380 w 4610101"/>
              <a:gd name="connsiteY21207" fmla="*/ 1023092 h 6557032"/>
              <a:gd name="connsiteX21208" fmla="*/ 756203 w 4610101"/>
              <a:gd name="connsiteY21208" fmla="*/ 1035847 h 6557032"/>
              <a:gd name="connsiteX21209" fmla="*/ 754380 w 4610101"/>
              <a:gd name="connsiteY21209" fmla="*/ 1023092 h 6557032"/>
              <a:gd name="connsiteX21210" fmla="*/ 719759 w 4610101"/>
              <a:gd name="connsiteY21210" fmla="*/ 1023092 h 6557032"/>
              <a:gd name="connsiteX21211" fmla="*/ 723404 w 4610101"/>
              <a:gd name="connsiteY21211" fmla="*/ 1030381 h 6557032"/>
              <a:gd name="connsiteX21212" fmla="*/ 719759 w 4610101"/>
              <a:gd name="connsiteY21212" fmla="*/ 1023092 h 6557032"/>
              <a:gd name="connsiteX21213" fmla="*/ 382657 w 4610101"/>
              <a:gd name="connsiteY21213" fmla="*/ 1023092 h 6557032"/>
              <a:gd name="connsiteX21214" fmla="*/ 413634 w 4610101"/>
              <a:gd name="connsiteY21214" fmla="*/ 1037669 h 6557032"/>
              <a:gd name="connsiteX21215" fmla="*/ 382657 w 4610101"/>
              <a:gd name="connsiteY21215" fmla="*/ 1023092 h 6557032"/>
              <a:gd name="connsiteX21216" fmla="*/ 364435 w 4610101"/>
              <a:gd name="connsiteY21216" fmla="*/ 1023092 h 6557032"/>
              <a:gd name="connsiteX21217" fmla="*/ 375368 w 4610101"/>
              <a:gd name="connsiteY21217" fmla="*/ 1034025 h 6557032"/>
              <a:gd name="connsiteX21218" fmla="*/ 371724 w 4610101"/>
              <a:gd name="connsiteY21218" fmla="*/ 1024914 h 6557032"/>
              <a:gd name="connsiteX21219" fmla="*/ 364435 w 4610101"/>
              <a:gd name="connsiteY21219" fmla="*/ 1023092 h 6557032"/>
              <a:gd name="connsiteX21220" fmla="*/ 158529 w 4610101"/>
              <a:gd name="connsiteY21220" fmla="*/ 1023092 h 6557032"/>
              <a:gd name="connsiteX21221" fmla="*/ 158534 w 4610101"/>
              <a:gd name="connsiteY21221" fmla="*/ 1023096 h 6557032"/>
              <a:gd name="connsiteX21222" fmla="*/ 162174 w 4610101"/>
              <a:gd name="connsiteY21222" fmla="*/ 1026736 h 6557032"/>
              <a:gd name="connsiteX21223" fmla="*/ 161660 w 4610101"/>
              <a:gd name="connsiteY21223" fmla="*/ 1026350 h 6557032"/>
              <a:gd name="connsiteX21224" fmla="*/ 1138859 w 4610101"/>
              <a:gd name="connsiteY21224" fmla="*/ 1021270 h 6557032"/>
              <a:gd name="connsiteX21225" fmla="*/ 1139310 w 4610101"/>
              <a:gd name="connsiteY21225" fmla="*/ 1022021 h 6557032"/>
              <a:gd name="connsiteX21226" fmla="*/ 1138859 w 4610101"/>
              <a:gd name="connsiteY21226" fmla="*/ 1023092 h 6557032"/>
              <a:gd name="connsiteX21227" fmla="*/ 1138312 w 4610101"/>
              <a:gd name="connsiteY21227" fmla="*/ 1021816 h 6557032"/>
              <a:gd name="connsiteX21228" fmla="*/ 1016774 w 4610101"/>
              <a:gd name="connsiteY21228" fmla="*/ 1021270 h 6557032"/>
              <a:gd name="connsiteX21229" fmla="*/ 1022240 w 4610101"/>
              <a:gd name="connsiteY21229" fmla="*/ 1024914 h 6557032"/>
              <a:gd name="connsiteX21230" fmla="*/ 1016774 w 4610101"/>
              <a:gd name="connsiteY21230" fmla="*/ 1021270 h 6557032"/>
              <a:gd name="connsiteX21231" fmla="*/ 911087 w 4610101"/>
              <a:gd name="connsiteY21231" fmla="*/ 1021270 h 6557032"/>
              <a:gd name="connsiteX21232" fmla="*/ 903799 w 4610101"/>
              <a:gd name="connsiteY21232" fmla="*/ 1039492 h 6557032"/>
              <a:gd name="connsiteX21233" fmla="*/ 911087 w 4610101"/>
              <a:gd name="connsiteY21233" fmla="*/ 1021270 h 6557032"/>
              <a:gd name="connsiteX21234" fmla="*/ 887399 w 4610101"/>
              <a:gd name="connsiteY21234" fmla="*/ 1021270 h 6557032"/>
              <a:gd name="connsiteX21235" fmla="*/ 891043 w 4610101"/>
              <a:gd name="connsiteY21235" fmla="*/ 1044958 h 6557032"/>
              <a:gd name="connsiteX21236" fmla="*/ 900154 w 4610101"/>
              <a:gd name="connsiteY21236" fmla="*/ 1030381 h 6557032"/>
              <a:gd name="connsiteX21237" fmla="*/ 887399 w 4610101"/>
              <a:gd name="connsiteY21237" fmla="*/ 1021270 h 6557032"/>
              <a:gd name="connsiteX21238" fmla="*/ 865533 w 4610101"/>
              <a:gd name="connsiteY21238" fmla="*/ 1021270 h 6557032"/>
              <a:gd name="connsiteX21239" fmla="*/ 867355 w 4610101"/>
              <a:gd name="connsiteY21239" fmla="*/ 1037669 h 6557032"/>
              <a:gd name="connsiteX21240" fmla="*/ 871000 w 4610101"/>
              <a:gd name="connsiteY21240" fmla="*/ 1035847 h 6557032"/>
              <a:gd name="connsiteX21241" fmla="*/ 869177 w 4610101"/>
              <a:gd name="connsiteY21241" fmla="*/ 1041314 h 6557032"/>
              <a:gd name="connsiteX21242" fmla="*/ 880111 w 4610101"/>
              <a:gd name="connsiteY21242" fmla="*/ 1041314 h 6557032"/>
              <a:gd name="connsiteX21243" fmla="*/ 871000 w 4610101"/>
              <a:gd name="connsiteY21243" fmla="*/ 1032203 h 6557032"/>
              <a:gd name="connsiteX21244" fmla="*/ 865533 w 4610101"/>
              <a:gd name="connsiteY21244" fmla="*/ 1021270 h 6557032"/>
              <a:gd name="connsiteX21245" fmla="*/ 739803 w 4610101"/>
              <a:gd name="connsiteY21245" fmla="*/ 1021270 h 6557032"/>
              <a:gd name="connsiteX21246" fmla="*/ 739803 w 4610101"/>
              <a:gd name="connsiteY21246" fmla="*/ 1039492 h 6557032"/>
              <a:gd name="connsiteX21247" fmla="*/ 737981 w 4610101"/>
              <a:gd name="connsiteY21247" fmla="*/ 1028559 h 6557032"/>
              <a:gd name="connsiteX21248" fmla="*/ 745269 w 4610101"/>
              <a:gd name="connsiteY21248" fmla="*/ 1032203 h 6557032"/>
              <a:gd name="connsiteX21249" fmla="*/ 739803 w 4610101"/>
              <a:gd name="connsiteY21249" fmla="*/ 1021270 h 6557032"/>
              <a:gd name="connsiteX21250" fmla="*/ 291549 w 4610101"/>
              <a:gd name="connsiteY21250" fmla="*/ 1021270 h 6557032"/>
              <a:gd name="connsiteX21251" fmla="*/ 300660 w 4610101"/>
              <a:gd name="connsiteY21251" fmla="*/ 1026736 h 6557032"/>
              <a:gd name="connsiteX21252" fmla="*/ 291549 w 4610101"/>
              <a:gd name="connsiteY21252" fmla="*/ 1021270 h 6557032"/>
              <a:gd name="connsiteX21253" fmla="*/ 154885 w 4610101"/>
              <a:gd name="connsiteY21253" fmla="*/ 1021270 h 6557032"/>
              <a:gd name="connsiteX21254" fmla="*/ 161660 w 4610101"/>
              <a:gd name="connsiteY21254" fmla="*/ 1026350 h 6557032"/>
              <a:gd name="connsiteX21255" fmla="*/ 164384 w 4610101"/>
              <a:gd name="connsiteY21255" fmla="*/ 1029185 h 6557032"/>
              <a:gd name="connsiteX21256" fmla="*/ 3429104 w 4610101"/>
              <a:gd name="connsiteY21256" fmla="*/ 1020358 h 6557032"/>
              <a:gd name="connsiteX21257" fmla="*/ 3423865 w 4610101"/>
              <a:gd name="connsiteY21257" fmla="*/ 1024914 h 6557032"/>
              <a:gd name="connsiteX21258" fmla="*/ 3434798 w 4610101"/>
              <a:gd name="connsiteY21258" fmla="*/ 1026736 h 6557032"/>
              <a:gd name="connsiteX21259" fmla="*/ 3422043 w 4610101"/>
              <a:gd name="connsiteY21259" fmla="*/ 1026736 h 6557032"/>
              <a:gd name="connsiteX21260" fmla="*/ 3418399 w 4610101"/>
              <a:gd name="connsiteY21260" fmla="*/ 1037669 h 6557032"/>
              <a:gd name="connsiteX21261" fmla="*/ 3416577 w 4610101"/>
              <a:gd name="connsiteY21261" fmla="*/ 1030381 h 6557032"/>
              <a:gd name="connsiteX21262" fmla="*/ 3407466 w 4610101"/>
              <a:gd name="connsiteY21262" fmla="*/ 1039492 h 6557032"/>
              <a:gd name="connsiteX21263" fmla="*/ 3418399 w 4610101"/>
              <a:gd name="connsiteY21263" fmla="*/ 1041314 h 6557032"/>
              <a:gd name="connsiteX21264" fmla="*/ 3451198 w 4610101"/>
              <a:gd name="connsiteY21264" fmla="*/ 1070469 h 6557032"/>
              <a:gd name="connsiteX21265" fmla="*/ 3473064 w 4610101"/>
              <a:gd name="connsiteY21265" fmla="*/ 1052247 h 6557032"/>
              <a:gd name="connsiteX21266" fmla="*/ 3478530 w 4610101"/>
              <a:gd name="connsiteY21266" fmla="*/ 1057713 h 6557032"/>
              <a:gd name="connsiteX21267" fmla="*/ 3516796 w 4610101"/>
              <a:gd name="connsiteY21267" fmla="*/ 1046780 h 6557032"/>
              <a:gd name="connsiteX21268" fmla="*/ 3540484 w 4610101"/>
              <a:gd name="connsiteY21268" fmla="*/ 1055891 h 6557032"/>
              <a:gd name="connsiteX21269" fmla="*/ 3522263 w 4610101"/>
              <a:gd name="connsiteY21269" fmla="*/ 1035847 h 6557032"/>
              <a:gd name="connsiteX21270" fmla="*/ 3518618 w 4610101"/>
              <a:gd name="connsiteY21270" fmla="*/ 1043136 h 6557032"/>
              <a:gd name="connsiteX21271" fmla="*/ 3504041 w 4610101"/>
              <a:gd name="connsiteY21271" fmla="*/ 1032203 h 6557032"/>
              <a:gd name="connsiteX21272" fmla="*/ 3504041 w 4610101"/>
              <a:gd name="connsiteY21272" fmla="*/ 1028559 h 6557032"/>
              <a:gd name="connsiteX21273" fmla="*/ 3493108 w 4610101"/>
              <a:gd name="connsiteY21273" fmla="*/ 1026736 h 6557032"/>
              <a:gd name="connsiteX21274" fmla="*/ 3498574 w 4610101"/>
              <a:gd name="connsiteY21274" fmla="*/ 1030381 h 6557032"/>
              <a:gd name="connsiteX21275" fmla="*/ 3491286 w 4610101"/>
              <a:gd name="connsiteY21275" fmla="*/ 1037669 h 6557032"/>
              <a:gd name="connsiteX21276" fmla="*/ 3483997 w 4610101"/>
              <a:gd name="connsiteY21276" fmla="*/ 1034025 h 6557032"/>
              <a:gd name="connsiteX21277" fmla="*/ 3485819 w 4610101"/>
              <a:gd name="connsiteY21277" fmla="*/ 1048602 h 6557032"/>
              <a:gd name="connsiteX21278" fmla="*/ 3463953 w 4610101"/>
              <a:gd name="connsiteY21278" fmla="*/ 1028559 h 6557032"/>
              <a:gd name="connsiteX21279" fmla="*/ 3451198 w 4610101"/>
              <a:gd name="connsiteY21279" fmla="*/ 1026736 h 6557032"/>
              <a:gd name="connsiteX21280" fmla="*/ 3442087 w 4610101"/>
              <a:gd name="connsiteY21280" fmla="*/ 1035847 h 6557032"/>
              <a:gd name="connsiteX21281" fmla="*/ 3436621 w 4610101"/>
              <a:gd name="connsiteY21281" fmla="*/ 1034025 h 6557032"/>
              <a:gd name="connsiteX21282" fmla="*/ 3438443 w 4610101"/>
              <a:gd name="connsiteY21282" fmla="*/ 1021270 h 6557032"/>
              <a:gd name="connsiteX21283" fmla="*/ 3429104 w 4610101"/>
              <a:gd name="connsiteY21283" fmla="*/ 1020358 h 6557032"/>
              <a:gd name="connsiteX21284" fmla="*/ 790823 w 4610101"/>
              <a:gd name="connsiteY21284" fmla="*/ 1019497 h 6557032"/>
              <a:gd name="connsiteX21285" fmla="*/ 787179 w 4610101"/>
              <a:gd name="connsiteY21285" fmla="*/ 1024963 h 6557032"/>
              <a:gd name="connsiteX21286" fmla="*/ 790823 w 4610101"/>
              <a:gd name="connsiteY21286" fmla="*/ 1019497 h 6557032"/>
              <a:gd name="connsiteX21287" fmla="*/ 774424 w 4610101"/>
              <a:gd name="connsiteY21287" fmla="*/ 1019496 h 6557032"/>
              <a:gd name="connsiteX21288" fmla="*/ 778068 w 4610101"/>
              <a:gd name="connsiteY21288" fmla="*/ 1028607 h 6557032"/>
              <a:gd name="connsiteX21289" fmla="*/ 774424 w 4610101"/>
              <a:gd name="connsiteY21289" fmla="*/ 1019496 h 6557032"/>
              <a:gd name="connsiteX21290" fmla="*/ 2376115 w 4610101"/>
              <a:gd name="connsiteY21290" fmla="*/ 1019448 h 6557032"/>
              <a:gd name="connsiteX21291" fmla="*/ 2381582 w 4610101"/>
              <a:gd name="connsiteY21291" fmla="*/ 1021270 h 6557032"/>
              <a:gd name="connsiteX21292" fmla="*/ 2377937 w 4610101"/>
              <a:gd name="connsiteY21292" fmla="*/ 1024914 h 6557032"/>
              <a:gd name="connsiteX21293" fmla="*/ 2376115 w 4610101"/>
              <a:gd name="connsiteY21293" fmla="*/ 1019448 h 6557032"/>
              <a:gd name="connsiteX21294" fmla="*/ 985796 w 4610101"/>
              <a:gd name="connsiteY21294" fmla="*/ 1019448 h 6557032"/>
              <a:gd name="connsiteX21295" fmla="*/ 982152 w 4610101"/>
              <a:gd name="connsiteY21295" fmla="*/ 1021270 h 6557032"/>
              <a:gd name="connsiteX21296" fmla="*/ 985796 w 4610101"/>
              <a:gd name="connsiteY21296" fmla="*/ 1028559 h 6557032"/>
              <a:gd name="connsiteX21297" fmla="*/ 985796 w 4610101"/>
              <a:gd name="connsiteY21297" fmla="*/ 1019448 h 6557032"/>
              <a:gd name="connsiteX21298" fmla="*/ 595852 w 4610101"/>
              <a:gd name="connsiteY21298" fmla="*/ 1019448 h 6557032"/>
              <a:gd name="connsiteX21299" fmla="*/ 601318 w 4610101"/>
              <a:gd name="connsiteY21299" fmla="*/ 1026736 h 6557032"/>
              <a:gd name="connsiteX21300" fmla="*/ 595852 w 4610101"/>
              <a:gd name="connsiteY21300" fmla="*/ 1019448 h 6557032"/>
              <a:gd name="connsiteX21301" fmla="*/ 584919 w 4610101"/>
              <a:gd name="connsiteY21301" fmla="*/ 1019448 h 6557032"/>
              <a:gd name="connsiteX21302" fmla="*/ 581274 w 4610101"/>
              <a:gd name="connsiteY21302" fmla="*/ 1023092 h 6557032"/>
              <a:gd name="connsiteX21303" fmla="*/ 594030 w 4610101"/>
              <a:gd name="connsiteY21303" fmla="*/ 1026736 h 6557032"/>
              <a:gd name="connsiteX21304" fmla="*/ 584919 w 4610101"/>
              <a:gd name="connsiteY21304" fmla="*/ 1019448 h 6557032"/>
              <a:gd name="connsiteX21305" fmla="*/ 266038 w 4610101"/>
              <a:gd name="connsiteY21305" fmla="*/ 1019448 h 6557032"/>
              <a:gd name="connsiteX21306" fmla="*/ 267066 w 4610101"/>
              <a:gd name="connsiteY21306" fmla="*/ 1020692 h 6557032"/>
              <a:gd name="connsiteX21307" fmla="*/ 266549 w 4610101"/>
              <a:gd name="connsiteY21307" fmla="*/ 1020316 h 6557032"/>
              <a:gd name="connsiteX21308" fmla="*/ 679215 w 4610101"/>
              <a:gd name="connsiteY21308" fmla="*/ 1018764 h 6557032"/>
              <a:gd name="connsiteX21309" fmla="*/ 672383 w 4610101"/>
              <a:gd name="connsiteY21309" fmla="*/ 1023092 h 6557032"/>
              <a:gd name="connsiteX21310" fmla="*/ 683316 w 4610101"/>
              <a:gd name="connsiteY21310" fmla="*/ 1026736 h 6557032"/>
              <a:gd name="connsiteX21311" fmla="*/ 679215 w 4610101"/>
              <a:gd name="connsiteY21311" fmla="*/ 1018764 h 6557032"/>
              <a:gd name="connsiteX21312" fmla="*/ 344619 w 4610101"/>
              <a:gd name="connsiteY21312" fmla="*/ 1018308 h 6557032"/>
              <a:gd name="connsiteX21313" fmla="*/ 344531 w 4610101"/>
              <a:gd name="connsiteY21313" fmla="*/ 1019448 h 6557032"/>
              <a:gd name="connsiteX21314" fmla="*/ 338926 w 4610101"/>
              <a:gd name="connsiteY21314" fmla="*/ 1019448 h 6557032"/>
              <a:gd name="connsiteX21315" fmla="*/ 344391 w 4610101"/>
              <a:gd name="connsiteY21315" fmla="*/ 1021270 h 6557032"/>
              <a:gd name="connsiteX21316" fmla="*/ 344531 w 4610101"/>
              <a:gd name="connsiteY21316" fmla="*/ 1019448 h 6557032"/>
              <a:gd name="connsiteX21317" fmla="*/ 346213 w 4610101"/>
              <a:gd name="connsiteY21317" fmla="*/ 1019448 h 6557032"/>
              <a:gd name="connsiteX21318" fmla="*/ 344619 w 4610101"/>
              <a:gd name="connsiteY21318" fmla="*/ 1018308 h 6557032"/>
              <a:gd name="connsiteX21319" fmla="*/ 315464 w 4610101"/>
              <a:gd name="connsiteY21319" fmla="*/ 1018308 h 6557032"/>
              <a:gd name="connsiteX21320" fmla="*/ 313414 w 4610101"/>
              <a:gd name="connsiteY21320" fmla="*/ 1019448 h 6557032"/>
              <a:gd name="connsiteX21321" fmla="*/ 338926 w 4610101"/>
              <a:gd name="connsiteY21321" fmla="*/ 1032203 h 6557032"/>
              <a:gd name="connsiteX21322" fmla="*/ 318882 w 4610101"/>
              <a:gd name="connsiteY21322" fmla="*/ 1021270 h 6557032"/>
              <a:gd name="connsiteX21323" fmla="*/ 315464 w 4610101"/>
              <a:gd name="connsiteY21323" fmla="*/ 1018308 h 6557032"/>
              <a:gd name="connsiteX21324" fmla="*/ 326963 w 4610101"/>
              <a:gd name="connsiteY21324" fmla="*/ 1017890 h 6557032"/>
              <a:gd name="connsiteX21325" fmla="*/ 323160 w 4610101"/>
              <a:gd name="connsiteY21325" fmla="*/ 1018734 h 6557032"/>
              <a:gd name="connsiteX21326" fmla="*/ 337102 w 4610101"/>
              <a:gd name="connsiteY21326" fmla="*/ 1021270 h 6557032"/>
              <a:gd name="connsiteX21327" fmla="*/ 3364417 w 4610101"/>
              <a:gd name="connsiteY21327" fmla="*/ 1017853 h 6557032"/>
              <a:gd name="connsiteX21328" fmla="*/ 3345512 w 4610101"/>
              <a:gd name="connsiteY21328" fmla="*/ 1019448 h 6557032"/>
              <a:gd name="connsiteX21329" fmla="*/ 3345512 w 4610101"/>
              <a:gd name="connsiteY21329" fmla="*/ 1024985 h 6557032"/>
              <a:gd name="connsiteX21330" fmla="*/ 3341867 w 4610101"/>
              <a:gd name="connsiteY21330" fmla="*/ 1024914 h 6557032"/>
              <a:gd name="connsiteX21331" fmla="*/ 3345512 w 4610101"/>
              <a:gd name="connsiteY21331" fmla="*/ 1026736 h 6557032"/>
              <a:gd name="connsiteX21332" fmla="*/ 3345512 w 4610101"/>
              <a:gd name="connsiteY21332" fmla="*/ 1024985 h 6557032"/>
              <a:gd name="connsiteX21333" fmla="*/ 3353484 w 4610101"/>
              <a:gd name="connsiteY21333" fmla="*/ 1025142 h 6557032"/>
              <a:gd name="connsiteX21334" fmla="*/ 3369200 w 4610101"/>
              <a:gd name="connsiteY21334" fmla="*/ 1021270 h 6557032"/>
              <a:gd name="connsiteX21335" fmla="*/ 3369200 w 4610101"/>
              <a:gd name="connsiteY21335" fmla="*/ 1032203 h 6557032"/>
              <a:gd name="connsiteX21336" fmla="*/ 3363734 w 4610101"/>
              <a:gd name="connsiteY21336" fmla="*/ 1024914 h 6557032"/>
              <a:gd name="connsiteX21337" fmla="*/ 3347334 w 4610101"/>
              <a:gd name="connsiteY21337" fmla="*/ 1034025 h 6557032"/>
              <a:gd name="connsiteX21338" fmla="*/ 3380133 w 4610101"/>
              <a:gd name="connsiteY21338" fmla="*/ 1030381 h 6557032"/>
              <a:gd name="connsiteX21339" fmla="*/ 3371022 w 4610101"/>
              <a:gd name="connsiteY21339" fmla="*/ 1023092 h 6557032"/>
              <a:gd name="connsiteX21340" fmla="*/ 3364417 w 4610101"/>
              <a:gd name="connsiteY21340" fmla="*/ 1017853 h 6557032"/>
              <a:gd name="connsiteX21341" fmla="*/ 3330934 w 4610101"/>
              <a:gd name="connsiteY21341" fmla="*/ 1017625 h 6557032"/>
              <a:gd name="connsiteX21342" fmla="*/ 3332756 w 4610101"/>
              <a:gd name="connsiteY21342" fmla="*/ 1024914 h 6557032"/>
              <a:gd name="connsiteX21343" fmla="*/ 3338223 w 4610101"/>
              <a:gd name="connsiteY21343" fmla="*/ 1017625 h 6557032"/>
              <a:gd name="connsiteX21344" fmla="*/ 3332756 w 4610101"/>
              <a:gd name="connsiteY21344" fmla="*/ 1019448 h 6557032"/>
              <a:gd name="connsiteX21345" fmla="*/ 3330934 w 4610101"/>
              <a:gd name="connsiteY21345" fmla="*/ 1017625 h 6557032"/>
              <a:gd name="connsiteX21346" fmla="*/ 2192076 w 4610101"/>
              <a:gd name="connsiteY21346" fmla="*/ 1017625 h 6557032"/>
              <a:gd name="connsiteX21347" fmla="*/ 2188431 w 4610101"/>
              <a:gd name="connsiteY21347" fmla="*/ 1019448 h 6557032"/>
              <a:gd name="connsiteX21348" fmla="*/ 2190253 w 4610101"/>
              <a:gd name="connsiteY21348" fmla="*/ 1023092 h 6557032"/>
              <a:gd name="connsiteX21349" fmla="*/ 2192076 w 4610101"/>
              <a:gd name="connsiteY21349" fmla="*/ 1017625 h 6557032"/>
              <a:gd name="connsiteX21350" fmla="*/ 1045929 w 4610101"/>
              <a:gd name="connsiteY21350" fmla="*/ 1017625 h 6557032"/>
              <a:gd name="connsiteX21351" fmla="*/ 1051395 w 4610101"/>
              <a:gd name="connsiteY21351" fmla="*/ 1021270 h 6557032"/>
              <a:gd name="connsiteX21352" fmla="*/ 1049573 w 4610101"/>
              <a:gd name="connsiteY21352" fmla="*/ 1023092 h 6557032"/>
              <a:gd name="connsiteX21353" fmla="*/ 1045929 w 4610101"/>
              <a:gd name="connsiteY21353" fmla="*/ 1017625 h 6557032"/>
              <a:gd name="connsiteX21354" fmla="*/ 736159 w 4610101"/>
              <a:gd name="connsiteY21354" fmla="*/ 1017625 h 6557032"/>
              <a:gd name="connsiteX21355" fmla="*/ 734336 w 4610101"/>
              <a:gd name="connsiteY21355" fmla="*/ 1019448 h 6557032"/>
              <a:gd name="connsiteX21356" fmla="*/ 736159 w 4610101"/>
              <a:gd name="connsiteY21356" fmla="*/ 1017625 h 6557032"/>
              <a:gd name="connsiteX21357" fmla="*/ 685138 w 4610101"/>
              <a:gd name="connsiteY21357" fmla="*/ 1017625 h 6557032"/>
              <a:gd name="connsiteX21358" fmla="*/ 696071 w 4610101"/>
              <a:gd name="connsiteY21358" fmla="*/ 1032203 h 6557032"/>
              <a:gd name="connsiteX21359" fmla="*/ 686960 w 4610101"/>
              <a:gd name="connsiteY21359" fmla="*/ 1024914 h 6557032"/>
              <a:gd name="connsiteX21360" fmla="*/ 688782 w 4610101"/>
              <a:gd name="connsiteY21360" fmla="*/ 1032203 h 6557032"/>
              <a:gd name="connsiteX21361" fmla="*/ 690604 w 4610101"/>
              <a:gd name="connsiteY21361" fmla="*/ 1030381 h 6557032"/>
              <a:gd name="connsiteX21362" fmla="*/ 696071 w 4610101"/>
              <a:gd name="connsiteY21362" fmla="*/ 1032203 h 6557032"/>
              <a:gd name="connsiteX21363" fmla="*/ 692426 w 4610101"/>
              <a:gd name="connsiteY21363" fmla="*/ 1024914 h 6557032"/>
              <a:gd name="connsiteX21364" fmla="*/ 710648 w 4610101"/>
              <a:gd name="connsiteY21364" fmla="*/ 1035847 h 6557032"/>
              <a:gd name="connsiteX21365" fmla="*/ 685138 w 4610101"/>
              <a:gd name="connsiteY21365" fmla="*/ 1017625 h 6557032"/>
              <a:gd name="connsiteX21366" fmla="*/ 634117 w 4610101"/>
              <a:gd name="connsiteY21366" fmla="*/ 1017625 h 6557032"/>
              <a:gd name="connsiteX21367" fmla="*/ 635939 w 4610101"/>
              <a:gd name="connsiteY21367" fmla="*/ 1026736 h 6557032"/>
              <a:gd name="connsiteX21368" fmla="*/ 639583 w 4610101"/>
              <a:gd name="connsiteY21368" fmla="*/ 1019448 h 6557032"/>
              <a:gd name="connsiteX21369" fmla="*/ 634117 w 4610101"/>
              <a:gd name="connsiteY21369" fmla="*/ 1017625 h 6557032"/>
              <a:gd name="connsiteX21370" fmla="*/ 382657 w 4610101"/>
              <a:gd name="connsiteY21370" fmla="*/ 1017625 h 6557032"/>
              <a:gd name="connsiteX21371" fmla="*/ 397234 w 4610101"/>
              <a:gd name="connsiteY21371" fmla="*/ 1024914 h 6557032"/>
              <a:gd name="connsiteX21372" fmla="*/ 397234 w 4610101"/>
              <a:gd name="connsiteY21372" fmla="*/ 1021270 h 6557032"/>
              <a:gd name="connsiteX21373" fmla="*/ 382657 w 4610101"/>
              <a:gd name="connsiteY21373" fmla="*/ 1017625 h 6557032"/>
              <a:gd name="connsiteX21374" fmla="*/ 1029528 w 4610101"/>
              <a:gd name="connsiteY21374" fmla="*/ 1016258 h 6557032"/>
              <a:gd name="connsiteX21375" fmla="*/ 1027707 w 4610101"/>
              <a:gd name="connsiteY21375" fmla="*/ 1017625 h 6557032"/>
              <a:gd name="connsiteX21376" fmla="*/ 1031351 w 4610101"/>
              <a:gd name="connsiteY21376" fmla="*/ 1024914 h 6557032"/>
              <a:gd name="connsiteX21377" fmla="*/ 1031351 w 4610101"/>
              <a:gd name="connsiteY21377" fmla="*/ 1017625 h 6557032"/>
              <a:gd name="connsiteX21378" fmla="*/ 1029528 w 4610101"/>
              <a:gd name="connsiteY21378" fmla="*/ 1016258 h 6557032"/>
              <a:gd name="connsiteX21379" fmla="*/ 104342 w 4610101"/>
              <a:gd name="connsiteY21379" fmla="*/ 1015878 h 6557032"/>
              <a:gd name="connsiteX21380" fmla="*/ 118181 w 4610101"/>
              <a:gd name="connsiteY21380" fmla="*/ 1028610 h 6557032"/>
              <a:gd name="connsiteX21381" fmla="*/ 119932 w 4610101"/>
              <a:gd name="connsiteY21381" fmla="*/ 1030712 h 6557032"/>
              <a:gd name="connsiteX21382" fmla="*/ 120135 w 4610101"/>
              <a:gd name="connsiteY21382" fmla="*/ 1031623 h 6557032"/>
              <a:gd name="connsiteX21383" fmla="*/ 119520 w 4610101"/>
              <a:gd name="connsiteY21383" fmla="*/ 1031440 h 6557032"/>
              <a:gd name="connsiteX21384" fmla="*/ 819978 w 4610101"/>
              <a:gd name="connsiteY21384" fmla="*/ 1015861 h 6557032"/>
              <a:gd name="connsiteX21385" fmla="*/ 821800 w 4610101"/>
              <a:gd name="connsiteY21385" fmla="*/ 1019506 h 6557032"/>
              <a:gd name="connsiteX21386" fmla="*/ 810867 w 4610101"/>
              <a:gd name="connsiteY21386" fmla="*/ 1026795 h 6557032"/>
              <a:gd name="connsiteX21387" fmla="*/ 819978 w 4610101"/>
              <a:gd name="connsiteY21387" fmla="*/ 1015861 h 6557032"/>
              <a:gd name="connsiteX21388" fmla="*/ 3443909 w 4610101"/>
              <a:gd name="connsiteY21388" fmla="*/ 1015803 h 6557032"/>
              <a:gd name="connsiteX21389" fmla="*/ 3460309 w 4610101"/>
              <a:gd name="connsiteY21389" fmla="*/ 1023092 h 6557032"/>
              <a:gd name="connsiteX21390" fmla="*/ 3443909 w 4610101"/>
              <a:gd name="connsiteY21390" fmla="*/ 1015803 h 6557032"/>
              <a:gd name="connsiteX21391" fmla="*/ 1131570 w 4610101"/>
              <a:gd name="connsiteY21391" fmla="*/ 1015803 h 6557032"/>
              <a:gd name="connsiteX21392" fmla="*/ 1131533 w 4610101"/>
              <a:gd name="connsiteY21392" fmla="*/ 1016459 h 6557032"/>
              <a:gd name="connsiteX21393" fmla="*/ 1129520 w 4610101"/>
              <a:gd name="connsiteY21393" fmla="*/ 1017170 h 6557032"/>
              <a:gd name="connsiteX21394" fmla="*/ 1129748 w 4610101"/>
              <a:gd name="connsiteY21394" fmla="*/ 1021270 h 6557032"/>
              <a:gd name="connsiteX21395" fmla="*/ 1131342 w 4610101"/>
              <a:gd name="connsiteY21395" fmla="*/ 1019903 h 6557032"/>
              <a:gd name="connsiteX21396" fmla="*/ 1131533 w 4610101"/>
              <a:gd name="connsiteY21396" fmla="*/ 1016459 h 6557032"/>
              <a:gd name="connsiteX21397" fmla="*/ 1133393 w 4610101"/>
              <a:gd name="connsiteY21397" fmla="*/ 1015803 h 6557032"/>
              <a:gd name="connsiteX21398" fmla="*/ 1131570 w 4610101"/>
              <a:gd name="connsiteY21398" fmla="*/ 1015803 h 6557032"/>
              <a:gd name="connsiteX21399" fmla="*/ 1080549 w 4610101"/>
              <a:gd name="connsiteY21399" fmla="*/ 1015803 h 6557032"/>
              <a:gd name="connsiteX21400" fmla="*/ 1076905 w 4610101"/>
              <a:gd name="connsiteY21400" fmla="*/ 1021270 h 6557032"/>
              <a:gd name="connsiteX21401" fmla="*/ 1080549 w 4610101"/>
              <a:gd name="connsiteY21401" fmla="*/ 1023092 h 6557032"/>
              <a:gd name="connsiteX21402" fmla="*/ 1080549 w 4610101"/>
              <a:gd name="connsiteY21402" fmla="*/ 1015803 h 6557032"/>
              <a:gd name="connsiteX21403" fmla="*/ 1064151 w 4610101"/>
              <a:gd name="connsiteY21403" fmla="*/ 1015803 h 6557032"/>
              <a:gd name="connsiteX21404" fmla="*/ 1065972 w 4610101"/>
              <a:gd name="connsiteY21404" fmla="*/ 1015803 h 6557032"/>
              <a:gd name="connsiteX21405" fmla="*/ 1065607 w 4610101"/>
              <a:gd name="connsiteY21405" fmla="*/ 1017260 h 6557032"/>
              <a:gd name="connsiteX21406" fmla="*/ 952997 w 4610101"/>
              <a:gd name="connsiteY21406" fmla="*/ 1015803 h 6557032"/>
              <a:gd name="connsiteX21407" fmla="*/ 958464 w 4610101"/>
              <a:gd name="connsiteY21407" fmla="*/ 1030381 h 6557032"/>
              <a:gd name="connsiteX21408" fmla="*/ 965753 w 4610101"/>
              <a:gd name="connsiteY21408" fmla="*/ 1015803 h 6557032"/>
              <a:gd name="connsiteX21409" fmla="*/ 952997 w 4610101"/>
              <a:gd name="connsiteY21409" fmla="*/ 1015803 h 6557032"/>
              <a:gd name="connsiteX21410" fmla="*/ 395412 w 4610101"/>
              <a:gd name="connsiteY21410" fmla="*/ 1015803 h 6557032"/>
              <a:gd name="connsiteX21411" fmla="*/ 419100 w 4610101"/>
              <a:gd name="connsiteY21411" fmla="*/ 1028559 h 6557032"/>
              <a:gd name="connsiteX21412" fmla="*/ 395412 w 4610101"/>
              <a:gd name="connsiteY21412" fmla="*/ 1015803 h 6557032"/>
              <a:gd name="connsiteX21413" fmla="*/ 3467142 w 4610101"/>
              <a:gd name="connsiteY21413" fmla="*/ 1014664 h 6557032"/>
              <a:gd name="connsiteX21414" fmla="*/ 3460309 w 4610101"/>
              <a:gd name="connsiteY21414" fmla="*/ 1015803 h 6557032"/>
              <a:gd name="connsiteX21415" fmla="*/ 3471242 w 4610101"/>
              <a:gd name="connsiteY21415" fmla="*/ 1017625 h 6557032"/>
              <a:gd name="connsiteX21416" fmla="*/ 3467142 w 4610101"/>
              <a:gd name="connsiteY21416" fmla="*/ 1014664 h 6557032"/>
              <a:gd name="connsiteX21417" fmla="*/ 3063075 w 4610101"/>
              <a:gd name="connsiteY21417" fmla="*/ 1013981 h 6557032"/>
              <a:gd name="connsiteX21418" fmla="*/ 3070363 w 4610101"/>
              <a:gd name="connsiteY21418" fmla="*/ 1023092 h 6557032"/>
              <a:gd name="connsiteX21419" fmla="*/ 3063075 w 4610101"/>
              <a:gd name="connsiteY21419" fmla="*/ 1013981 h 6557032"/>
              <a:gd name="connsiteX21420" fmla="*/ 1211747 w 4610101"/>
              <a:gd name="connsiteY21420" fmla="*/ 1013981 h 6557032"/>
              <a:gd name="connsiteX21421" fmla="*/ 1198991 w 4610101"/>
              <a:gd name="connsiteY21421" fmla="*/ 1039492 h 6557032"/>
              <a:gd name="connsiteX21422" fmla="*/ 1217213 w 4610101"/>
              <a:gd name="connsiteY21422" fmla="*/ 1023092 h 6557032"/>
              <a:gd name="connsiteX21423" fmla="*/ 1211747 w 4610101"/>
              <a:gd name="connsiteY21423" fmla="*/ 1013981 h 6557032"/>
              <a:gd name="connsiteX21424" fmla="*/ 692426 w 4610101"/>
              <a:gd name="connsiteY21424" fmla="*/ 1013981 h 6557032"/>
              <a:gd name="connsiteX21425" fmla="*/ 703359 w 4610101"/>
              <a:gd name="connsiteY21425" fmla="*/ 1021270 h 6557032"/>
              <a:gd name="connsiteX21426" fmla="*/ 692426 w 4610101"/>
              <a:gd name="connsiteY21426" fmla="*/ 1013981 h 6557032"/>
              <a:gd name="connsiteX21427" fmla="*/ 522964 w 4610101"/>
              <a:gd name="connsiteY21427" fmla="*/ 1013981 h 6557032"/>
              <a:gd name="connsiteX21428" fmla="*/ 539364 w 4610101"/>
              <a:gd name="connsiteY21428" fmla="*/ 1026736 h 6557032"/>
              <a:gd name="connsiteX21429" fmla="*/ 539105 w 4610101"/>
              <a:gd name="connsiteY21429" fmla="*/ 1026671 h 6557032"/>
              <a:gd name="connsiteX21430" fmla="*/ 529570 w 4610101"/>
              <a:gd name="connsiteY21430" fmla="*/ 1021042 h 6557032"/>
              <a:gd name="connsiteX21431" fmla="*/ 523021 w 4610101"/>
              <a:gd name="connsiteY21431" fmla="*/ 1014440 h 6557032"/>
              <a:gd name="connsiteX21432" fmla="*/ 324347 w 4610101"/>
              <a:gd name="connsiteY21432" fmla="*/ 1013981 h 6557032"/>
              <a:gd name="connsiteX21433" fmla="*/ 320703 w 4610101"/>
              <a:gd name="connsiteY21433" fmla="*/ 1017625 h 6557032"/>
              <a:gd name="connsiteX21434" fmla="*/ 317059 w 4610101"/>
              <a:gd name="connsiteY21434" fmla="*/ 1017625 h 6557032"/>
              <a:gd name="connsiteX21435" fmla="*/ 322085 w 4610101"/>
              <a:gd name="connsiteY21435" fmla="*/ 1018539 h 6557032"/>
              <a:gd name="connsiteX21436" fmla="*/ 322525 w 4610101"/>
              <a:gd name="connsiteY21436" fmla="*/ 1017661 h 6557032"/>
              <a:gd name="connsiteX21437" fmla="*/ 326278 w 4610101"/>
              <a:gd name="connsiteY21437" fmla="*/ 1017661 h 6557032"/>
              <a:gd name="connsiteX21438" fmla="*/ 326169 w 4610101"/>
              <a:gd name="connsiteY21438" fmla="*/ 1017625 h 6557032"/>
              <a:gd name="connsiteX21439" fmla="*/ 329814 w 4610101"/>
              <a:gd name="connsiteY21439" fmla="*/ 1015803 h 6557032"/>
              <a:gd name="connsiteX21440" fmla="*/ 324347 w 4610101"/>
              <a:gd name="connsiteY21440" fmla="*/ 1013981 h 6557032"/>
              <a:gd name="connsiteX21441" fmla="*/ 260571 w 4610101"/>
              <a:gd name="connsiteY21441" fmla="*/ 1013981 h 6557032"/>
              <a:gd name="connsiteX21442" fmla="*/ 262849 w 4610101"/>
              <a:gd name="connsiteY21442" fmla="*/ 1017625 h 6557032"/>
              <a:gd name="connsiteX21443" fmla="*/ 266549 w 4610101"/>
              <a:gd name="connsiteY21443" fmla="*/ 1020316 h 6557032"/>
              <a:gd name="connsiteX21444" fmla="*/ 268315 w 4610101"/>
              <a:gd name="connsiteY21444" fmla="*/ 1023320 h 6557032"/>
              <a:gd name="connsiteX21445" fmla="*/ 273327 w 4610101"/>
              <a:gd name="connsiteY21445" fmla="*/ 1028559 h 6557032"/>
              <a:gd name="connsiteX21446" fmla="*/ 270365 w 4610101"/>
              <a:gd name="connsiteY21446" fmla="*/ 1024686 h 6557032"/>
              <a:gd name="connsiteX21447" fmla="*/ 267066 w 4610101"/>
              <a:gd name="connsiteY21447" fmla="*/ 1020692 h 6557032"/>
              <a:gd name="connsiteX21448" fmla="*/ 267860 w 4610101"/>
              <a:gd name="connsiteY21448" fmla="*/ 1021270 h 6557032"/>
              <a:gd name="connsiteX21449" fmla="*/ 260571 w 4610101"/>
              <a:gd name="connsiteY21449" fmla="*/ 1013981 h 6557032"/>
              <a:gd name="connsiteX21450" fmla="*/ 2227381 w 4610101"/>
              <a:gd name="connsiteY21450" fmla="*/ 1013753 h 6557032"/>
              <a:gd name="connsiteX21451" fmla="*/ 2217586 w 4610101"/>
              <a:gd name="connsiteY21451" fmla="*/ 1013981 h 6557032"/>
              <a:gd name="connsiteX21452" fmla="*/ 2217586 w 4610101"/>
              <a:gd name="connsiteY21452" fmla="*/ 1035847 h 6557032"/>
              <a:gd name="connsiteX21453" fmla="*/ 2213942 w 4610101"/>
              <a:gd name="connsiteY21453" fmla="*/ 1034025 h 6557032"/>
              <a:gd name="connsiteX21454" fmla="*/ 2206736 w 4610101"/>
              <a:gd name="connsiteY21454" fmla="*/ 1037627 h 6557032"/>
              <a:gd name="connsiteX21455" fmla="*/ 2208475 w 4610101"/>
              <a:gd name="connsiteY21455" fmla="*/ 1034025 h 6557032"/>
              <a:gd name="connsiteX21456" fmla="*/ 2197542 w 4610101"/>
              <a:gd name="connsiteY21456" fmla="*/ 1032203 h 6557032"/>
              <a:gd name="connsiteX21457" fmla="*/ 2197542 w 4610101"/>
              <a:gd name="connsiteY21457" fmla="*/ 1035847 h 6557032"/>
              <a:gd name="connsiteX21458" fmla="*/ 2188431 w 4610101"/>
              <a:gd name="connsiteY21458" fmla="*/ 1030381 h 6557032"/>
              <a:gd name="connsiteX21459" fmla="*/ 2173854 w 4610101"/>
              <a:gd name="connsiteY21459" fmla="*/ 1030381 h 6557032"/>
              <a:gd name="connsiteX21460" fmla="*/ 2197542 w 4610101"/>
              <a:gd name="connsiteY21460" fmla="*/ 1059535 h 6557032"/>
              <a:gd name="connsiteX21461" fmla="*/ 2173854 w 4610101"/>
              <a:gd name="connsiteY21461" fmla="*/ 1059535 h 6557032"/>
              <a:gd name="connsiteX21462" fmla="*/ 2181143 w 4610101"/>
              <a:gd name="connsiteY21462" fmla="*/ 1074113 h 6557032"/>
              <a:gd name="connsiteX21463" fmla="*/ 2157454 w 4610101"/>
              <a:gd name="connsiteY21463" fmla="*/ 1074113 h 6557032"/>
              <a:gd name="connsiteX21464" fmla="*/ 2164743 w 4610101"/>
              <a:gd name="connsiteY21464" fmla="*/ 1088690 h 6557032"/>
              <a:gd name="connsiteX21465" fmla="*/ 2157454 w 4610101"/>
              <a:gd name="connsiteY21465" fmla="*/ 1119667 h 6557032"/>
              <a:gd name="connsiteX21466" fmla="*/ 2190253 w 4610101"/>
              <a:gd name="connsiteY21466" fmla="*/ 1132422 h 6557032"/>
              <a:gd name="connsiteX21467" fmla="*/ 2193898 w 4610101"/>
              <a:gd name="connsiteY21467" fmla="*/ 1119667 h 6557032"/>
              <a:gd name="connsiteX21468" fmla="*/ 2186609 w 4610101"/>
              <a:gd name="connsiteY21468" fmla="*/ 1117845 h 6557032"/>
              <a:gd name="connsiteX21469" fmla="*/ 2204831 w 4610101"/>
              <a:gd name="connsiteY21469" fmla="*/ 1117845 h 6557032"/>
              <a:gd name="connsiteX21470" fmla="*/ 2199820 w 4610101"/>
              <a:gd name="connsiteY21470" fmla="*/ 1115111 h 6557032"/>
              <a:gd name="connsiteX21471" fmla="*/ 2195720 w 4610101"/>
              <a:gd name="connsiteY21471" fmla="*/ 1113664 h 6557032"/>
              <a:gd name="connsiteX21472" fmla="*/ 2195720 w 4610101"/>
              <a:gd name="connsiteY21472" fmla="*/ 1108734 h 6557032"/>
              <a:gd name="connsiteX21473" fmla="*/ 2170210 w 4610101"/>
              <a:gd name="connsiteY21473" fmla="*/ 1106912 h 6557032"/>
              <a:gd name="connsiteX21474" fmla="*/ 2197542 w 4610101"/>
              <a:gd name="connsiteY21474" fmla="*/ 1095979 h 6557032"/>
              <a:gd name="connsiteX21475" fmla="*/ 2186609 w 4610101"/>
              <a:gd name="connsiteY21475" fmla="*/ 1088690 h 6557032"/>
              <a:gd name="connsiteX21476" fmla="*/ 2190253 w 4610101"/>
              <a:gd name="connsiteY21476" fmla="*/ 1083224 h 6557032"/>
              <a:gd name="connsiteX21477" fmla="*/ 2203009 w 4610101"/>
              <a:gd name="connsiteY21477" fmla="*/ 1085046 h 6557032"/>
              <a:gd name="connsiteX21478" fmla="*/ 2208475 w 4610101"/>
              <a:gd name="connsiteY21478" fmla="*/ 1079579 h 6557032"/>
              <a:gd name="connsiteX21479" fmla="*/ 2204831 w 4610101"/>
              <a:gd name="connsiteY21479" fmla="*/ 1083224 h 6557032"/>
              <a:gd name="connsiteX21480" fmla="*/ 2210297 w 4610101"/>
              <a:gd name="connsiteY21480" fmla="*/ 1077757 h 6557032"/>
              <a:gd name="connsiteX21481" fmla="*/ 2203009 w 4610101"/>
              <a:gd name="connsiteY21481" fmla="*/ 1085046 h 6557032"/>
              <a:gd name="connsiteX21482" fmla="*/ 2204831 w 4610101"/>
              <a:gd name="connsiteY21482" fmla="*/ 1075935 h 6557032"/>
              <a:gd name="connsiteX21483" fmla="*/ 2201187 w 4610101"/>
              <a:gd name="connsiteY21483" fmla="*/ 1074113 h 6557032"/>
              <a:gd name="connsiteX21484" fmla="*/ 2205038 w 4610101"/>
              <a:gd name="connsiteY21484" fmla="*/ 1063524 h 6557032"/>
              <a:gd name="connsiteX21485" fmla="*/ 2210297 w 4610101"/>
              <a:gd name="connsiteY21485" fmla="*/ 1072291 h 6557032"/>
              <a:gd name="connsiteX21486" fmla="*/ 2212120 w 4610101"/>
              <a:gd name="connsiteY21486" fmla="*/ 1065002 h 6557032"/>
              <a:gd name="connsiteX21487" fmla="*/ 2217586 w 4610101"/>
              <a:gd name="connsiteY21487" fmla="*/ 1068646 h 6557032"/>
              <a:gd name="connsiteX21488" fmla="*/ 2217586 w 4610101"/>
              <a:gd name="connsiteY21488" fmla="*/ 1059535 h 6557032"/>
              <a:gd name="connsiteX21489" fmla="*/ 2208475 w 4610101"/>
              <a:gd name="connsiteY21489" fmla="*/ 1057713 h 6557032"/>
              <a:gd name="connsiteX21490" fmla="*/ 2210297 w 4610101"/>
              <a:gd name="connsiteY21490" fmla="*/ 1066824 h 6557032"/>
              <a:gd name="connsiteX21491" fmla="*/ 2208247 w 4610101"/>
              <a:gd name="connsiteY21491" fmla="*/ 1065002 h 6557032"/>
              <a:gd name="connsiteX21492" fmla="*/ 2205109 w 4610101"/>
              <a:gd name="connsiteY21492" fmla="*/ 1063328 h 6557032"/>
              <a:gd name="connsiteX21493" fmla="*/ 2208475 w 4610101"/>
              <a:gd name="connsiteY21493" fmla="*/ 1054069 h 6557032"/>
              <a:gd name="connsiteX21494" fmla="*/ 2197542 w 4610101"/>
              <a:gd name="connsiteY21494" fmla="*/ 1050425 h 6557032"/>
              <a:gd name="connsiteX21495" fmla="*/ 2204831 w 4610101"/>
              <a:gd name="connsiteY21495" fmla="*/ 1048602 h 6557032"/>
              <a:gd name="connsiteX21496" fmla="*/ 2205221 w 4610101"/>
              <a:gd name="connsiteY21496" fmla="*/ 1041774 h 6557032"/>
              <a:gd name="connsiteX21497" fmla="*/ 2208931 w 4610101"/>
              <a:gd name="connsiteY21497" fmla="*/ 1039491 h 6557032"/>
              <a:gd name="connsiteX21498" fmla="*/ 2212120 w 4610101"/>
              <a:gd name="connsiteY21498" fmla="*/ 1035847 h 6557032"/>
              <a:gd name="connsiteX21499" fmla="*/ 2219408 w 4610101"/>
              <a:gd name="connsiteY21499" fmla="*/ 1043136 h 6557032"/>
              <a:gd name="connsiteX21500" fmla="*/ 2231025 w 4610101"/>
              <a:gd name="connsiteY21500" fmla="*/ 1042225 h 6557032"/>
              <a:gd name="connsiteX21501" fmla="*/ 2235728 w 4610101"/>
              <a:gd name="connsiteY21501" fmla="*/ 1035953 h 6557032"/>
              <a:gd name="connsiteX21502" fmla="*/ 2239452 w 4610101"/>
              <a:gd name="connsiteY21502" fmla="*/ 1039492 h 6557032"/>
              <a:gd name="connsiteX21503" fmla="*/ 2241274 w 4610101"/>
              <a:gd name="connsiteY21503" fmla="*/ 1030381 h 6557032"/>
              <a:gd name="connsiteX21504" fmla="*/ 2241274 w 4610101"/>
              <a:gd name="connsiteY21504" fmla="*/ 1043136 h 6557032"/>
              <a:gd name="connsiteX21505" fmla="*/ 2255852 w 4610101"/>
              <a:gd name="connsiteY21505" fmla="*/ 1046780 h 6557032"/>
              <a:gd name="connsiteX21506" fmla="*/ 2256440 w 4610101"/>
              <a:gd name="connsiteY21506" fmla="*/ 1044429 h 6557032"/>
              <a:gd name="connsiteX21507" fmla="*/ 2258130 w 4610101"/>
              <a:gd name="connsiteY21507" fmla="*/ 1042908 h 6557032"/>
              <a:gd name="connsiteX21508" fmla="*/ 2257674 w 4610101"/>
              <a:gd name="connsiteY21508" fmla="*/ 1039492 h 6557032"/>
              <a:gd name="connsiteX21509" fmla="*/ 2256440 w 4610101"/>
              <a:gd name="connsiteY21509" fmla="*/ 1044429 h 6557032"/>
              <a:gd name="connsiteX21510" fmla="*/ 2255852 w 4610101"/>
              <a:gd name="connsiteY21510" fmla="*/ 1044958 h 6557032"/>
              <a:gd name="connsiteX21511" fmla="*/ 2255852 w 4610101"/>
              <a:gd name="connsiteY21511" fmla="*/ 1037669 h 6557032"/>
              <a:gd name="connsiteX21512" fmla="*/ 2254030 w 4610101"/>
              <a:gd name="connsiteY21512" fmla="*/ 1035847 h 6557032"/>
              <a:gd name="connsiteX21513" fmla="*/ 2248563 w 4610101"/>
              <a:gd name="connsiteY21513" fmla="*/ 1037669 h 6557032"/>
              <a:gd name="connsiteX21514" fmla="*/ 2252207 w 4610101"/>
              <a:gd name="connsiteY21514" fmla="*/ 1034025 h 6557032"/>
              <a:gd name="connsiteX21515" fmla="*/ 2246741 w 4610101"/>
              <a:gd name="connsiteY21515" fmla="*/ 1026736 h 6557032"/>
              <a:gd name="connsiteX21516" fmla="*/ 2235808 w 4610101"/>
              <a:gd name="connsiteY21516" fmla="*/ 1026736 h 6557032"/>
              <a:gd name="connsiteX21517" fmla="*/ 2234897 w 4610101"/>
              <a:gd name="connsiteY21517" fmla="*/ 1035164 h 6557032"/>
              <a:gd name="connsiteX21518" fmla="*/ 2235676 w 4610101"/>
              <a:gd name="connsiteY21518" fmla="*/ 1035903 h 6557032"/>
              <a:gd name="connsiteX21519" fmla="*/ 2231025 w 4610101"/>
              <a:gd name="connsiteY21519" fmla="*/ 1037897 h 6557032"/>
              <a:gd name="connsiteX21520" fmla="*/ 2224875 w 4610101"/>
              <a:gd name="connsiteY21520" fmla="*/ 1035847 h 6557032"/>
              <a:gd name="connsiteX21521" fmla="*/ 2223053 w 4610101"/>
              <a:gd name="connsiteY21521" fmla="*/ 1032203 h 6557032"/>
              <a:gd name="connsiteX21522" fmla="*/ 2233986 w 4610101"/>
              <a:gd name="connsiteY21522" fmla="*/ 1024914 h 6557032"/>
              <a:gd name="connsiteX21523" fmla="*/ 2235808 w 4610101"/>
              <a:gd name="connsiteY21523" fmla="*/ 1017625 h 6557032"/>
              <a:gd name="connsiteX21524" fmla="*/ 2227381 w 4610101"/>
              <a:gd name="connsiteY21524" fmla="*/ 1013753 h 6557032"/>
              <a:gd name="connsiteX21525" fmla="*/ 823623 w 4610101"/>
              <a:gd name="connsiteY21525" fmla="*/ 1013070 h 6557032"/>
              <a:gd name="connsiteX21526" fmla="*/ 823623 w 4610101"/>
              <a:gd name="connsiteY21526" fmla="*/ 1017625 h 6557032"/>
              <a:gd name="connsiteX21527" fmla="*/ 825445 w 4610101"/>
              <a:gd name="connsiteY21527" fmla="*/ 1024914 h 6557032"/>
              <a:gd name="connsiteX21528" fmla="*/ 823050 w 4610101"/>
              <a:gd name="connsiteY21528" fmla="*/ 1027308 h 6557032"/>
              <a:gd name="connsiteX21529" fmla="*/ 821801 w 4610101"/>
              <a:gd name="connsiteY21529" fmla="*/ 1013981 h 6557032"/>
              <a:gd name="connsiteX21530" fmla="*/ 1037274 w 4610101"/>
              <a:gd name="connsiteY21530" fmla="*/ 1012842 h 6557032"/>
              <a:gd name="connsiteX21531" fmla="*/ 1034995 w 4610101"/>
              <a:gd name="connsiteY21531" fmla="*/ 1015803 h 6557032"/>
              <a:gd name="connsiteX21532" fmla="*/ 1036818 w 4610101"/>
              <a:gd name="connsiteY21532" fmla="*/ 1015803 h 6557032"/>
              <a:gd name="connsiteX21533" fmla="*/ 1034995 w 4610101"/>
              <a:gd name="connsiteY21533" fmla="*/ 1019448 h 6557032"/>
              <a:gd name="connsiteX21534" fmla="*/ 1042284 w 4610101"/>
              <a:gd name="connsiteY21534" fmla="*/ 1013981 h 6557032"/>
              <a:gd name="connsiteX21535" fmla="*/ 1037274 w 4610101"/>
              <a:gd name="connsiteY21535" fmla="*/ 1012842 h 6557032"/>
              <a:gd name="connsiteX21536" fmla="*/ 3551417 w 4610101"/>
              <a:gd name="connsiteY21536" fmla="*/ 1012159 h 6557032"/>
              <a:gd name="connsiteX21537" fmla="*/ 3556884 w 4610101"/>
              <a:gd name="connsiteY21537" fmla="*/ 1023092 h 6557032"/>
              <a:gd name="connsiteX21538" fmla="*/ 3551417 w 4610101"/>
              <a:gd name="connsiteY21538" fmla="*/ 1012159 h 6557032"/>
              <a:gd name="connsiteX21539" fmla="*/ 3055786 w 4610101"/>
              <a:gd name="connsiteY21539" fmla="*/ 1012159 h 6557032"/>
              <a:gd name="connsiteX21540" fmla="*/ 3048497 w 4610101"/>
              <a:gd name="connsiteY21540" fmla="*/ 1013981 h 6557032"/>
              <a:gd name="connsiteX21541" fmla="*/ 3044853 w 4610101"/>
              <a:gd name="connsiteY21541" fmla="*/ 1021270 h 6557032"/>
              <a:gd name="connsiteX21542" fmla="*/ 3046675 w 4610101"/>
              <a:gd name="connsiteY21542" fmla="*/ 1024914 h 6557032"/>
              <a:gd name="connsiteX21543" fmla="*/ 3052372 w 4610101"/>
              <a:gd name="connsiteY21543" fmla="*/ 1025565 h 6557032"/>
              <a:gd name="connsiteX21544" fmla="*/ 3053508 w 4610101"/>
              <a:gd name="connsiteY21544" fmla="*/ 1028786 h 6557032"/>
              <a:gd name="connsiteX21545" fmla="*/ 3057608 w 4610101"/>
              <a:gd name="connsiteY21545" fmla="*/ 1034025 h 6557032"/>
              <a:gd name="connsiteX21546" fmla="*/ 3057608 w 4610101"/>
              <a:gd name="connsiteY21546" fmla="*/ 1026736 h 6557032"/>
              <a:gd name="connsiteX21547" fmla="*/ 3055038 w 4610101"/>
              <a:gd name="connsiteY21547" fmla="*/ 1025879 h 6557032"/>
              <a:gd name="connsiteX21548" fmla="*/ 3061253 w 4610101"/>
              <a:gd name="connsiteY21548" fmla="*/ 1026736 h 6557032"/>
              <a:gd name="connsiteX21549" fmla="*/ 3055786 w 4610101"/>
              <a:gd name="connsiteY21549" fmla="*/ 1021270 h 6557032"/>
              <a:gd name="connsiteX21550" fmla="*/ 3055786 w 4610101"/>
              <a:gd name="connsiteY21550" fmla="*/ 1012159 h 6557032"/>
              <a:gd name="connsiteX21551" fmla="*/ 3017521 w 4610101"/>
              <a:gd name="connsiteY21551" fmla="*/ 1012159 h 6557032"/>
              <a:gd name="connsiteX21552" fmla="*/ 3024809 w 4610101"/>
              <a:gd name="connsiteY21552" fmla="*/ 1015803 h 6557032"/>
              <a:gd name="connsiteX21553" fmla="*/ 3017521 w 4610101"/>
              <a:gd name="connsiteY21553" fmla="*/ 1012159 h 6557032"/>
              <a:gd name="connsiteX21554" fmla="*/ 1164370 w 4610101"/>
              <a:gd name="connsiteY21554" fmla="*/ 1012159 h 6557032"/>
              <a:gd name="connsiteX21555" fmla="*/ 1165120 w 4610101"/>
              <a:gd name="connsiteY21555" fmla="*/ 1012909 h 6557032"/>
              <a:gd name="connsiteX21556" fmla="*/ 1163914 w 4610101"/>
              <a:gd name="connsiteY21556" fmla="*/ 1019903 h 6557032"/>
              <a:gd name="connsiteX21557" fmla="*/ 1163417 w 4610101"/>
              <a:gd name="connsiteY21557" fmla="*/ 1020942 h 6557032"/>
              <a:gd name="connsiteX21558" fmla="*/ 1163003 w 4610101"/>
              <a:gd name="connsiteY21558" fmla="*/ 1019220 h 6557032"/>
              <a:gd name="connsiteX21559" fmla="*/ 1164370 w 4610101"/>
              <a:gd name="connsiteY21559" fmla="*/ 1012159 h 6557032"/>
              <a:gd name="connsiteX21560" fmla="*/ 462832 w 4610101"/>
              <a:gd name="connsiteY21560" fmla="*/ 1012159 h 6557032"/>
              <a:gd name="connsiteX21561" fmla="*/ 465110 w 4610101"/>
              <a:gd name="connsiteY21561" fmla="*/ 1024687 h 6557032"/>
              <a:gd name="connsiteX21562" fmla="*/ 464970 w 4610101"/>
              <a:gd name="connsiteY21562" fmla="*/ 1028120 h 6557032"/>
              <a:gd name="connsiteX21563" fmla="*/ 335280 w 4610101"/>
              <a:gd name="connsiteY21563" fmla="*/ 1012159 h 6557032"/>
              <a:gd name="connsiteX21564" fmla="*/ 337102 w 4610101"/>
              <a:gd name="connsiteY21564" fmla="*/ 1015803 h 6557032"/>
              <a:gd name="connsiteX21565" fmla="*/ 338926 w 4610101"/>
              <a:gd name="connsiteY21565" fmla="*/ 1013981 h 6557032"/>
              <a:gd name="connsiteX21566" fmla="*/ 335280 w 4610101"/>
              <a:gd name="connsiteY21566" fmla="*/ 1012159 h 6557032"/>
              <a:gd name="connsiteX21567" fmla="*/ 298837 w 4610101"/>
              <a:gd name="connsiteY21567" fmla="*/ 1012159 h 6557032"/>
              <a:gd name="connsiteX21568" fmla="*/ 301252 w 4610101"/>
              <a:gd name="connsiteY21568" fmla="*/ 1016735 h 6557032"/>
              <a:gd name="connsiteX21569" fmla="*/ 300660 w 4610101"/>
              <a:gd name="connsiteY21569" fmla="*/ 1017625 h 6557032"/>
              <a:gd name="connsiteX21570" fmla="*/ 301949 w 4610101"/>
              <a:gd name="connsiteY21570" fmla="*/ 1018055 h 6557032"/>
              <a:gd name="connsiteX21571" fmla="*/ 303164 w 4610101"/>
              <a:gd name="connsiteY21571" fmla="*/ 1020358 h 6557032"/>
              <a:gd name="connsiteX21572" fmla="*/ 311592 w 4610101"/>
              <a:gd name="connsiteY21572" fmla="*/ 1023092 h 6557032"/>
              <a:gd name="connsiteX21573" fmla="*/ 304303 w 4610101"/>
              <a:gd name="connsiteY21573" fmla="*/ 1015803 h 6557032"/>
              <a:gd name="connsiteX21574" fmla="*/ 306126 w 4610101"/>
              <a:gd name="connsiteY21574" fmla="*/ 1019448 h 6557032"/>
              <a:gd name="connsiteX21575" fmla="*/ 301949 w 4610101"/>
              <a:gd name="connsiteY21575" fmla="*/ 1018055 h 6557032"/>
              <a:gd name="connsiteX21576" fmla="*/ 301252 w 4610101"/>
              <a:gd name="connsiteY21576" fmla="*/ 1016735 h 6557032"/>
              <a:gd name="connsiteX21577" fmla="*/ 304303 w 4610101"/>
              <a:gd name="connsiteY21577" fmla="*/ 1012159 h 6557032"/>
              <a:gd name="connsiteX21578" fmla="*/ 298837 w 4610101"/>
              <a:gd name="connsiteY21578" fmla="*/ 1012159 h 6557032"/>
              <a:gd name="connsiteX21579" fmla="*/ 247816 w 4610101"/>
              <a:gd name="connsiteY21579" fmla="*/ 1012159 h 6557032"/>
              <a:gd name="connsiteX21580" fmla="*/ 255105 w 4610101"/>
              <a:gd name="connsiteY21580" fmla="*/ 1015803 h 6557032"/>
              <a:gd name="connsiteX21581" fmla="*/ 247816 w 4610101"/>
              <a:gd name="connsiteY21581" fmla="*/ 1012159 h 6557032"/>
              <a:gd name="connsiteX21582" fmla="*/ 911253 w 4610101"/>
              <a:gd name="connsiteY21582" fmla="*/ 1011825 h 6557032"/>
              <a:gd name="connsiteX21583" fmla="*/ 911543 w 4610101"/>
              <a:gd name="connsiteY21583" fmla="*/ 1012842 h 6557032"/>
              <a:gd name="connsiteX21584" fmla="*/ 911475 w 4610101"/>
              <a:gd name="connsiteY21584" fmla="*/ 1013827 h 6557032"/>
              <a:gd name="connsiteX21585" fmla="*/ 1165318 w 4610101"/>
              <a:gd name="connsiteY21585" fmla="*/ 1011759 h 6557032"/>
              <a:gd name="connsiteX21586" fmla="*/ 1168014 w 4610101"/>
              <a:gd name="connsiteY21586" fmla="*/ 1015803 h 6557032"/>
              <a:gd name="connsiteX21587" fmla="*/ 1165120 w 4610101"/>
              <a:gd name="connsiteY21587" fmla="*/ 1012909 h 6557032"/>
              <a:gd name="connsiteX21588" fmla="*/ 287676 w 4610101"/>
              <a:gd name="connsiteY21588" fmla="*/ 1011703 h 6557032"/>
              <a:gd name="connsiteX21589" fmla="*/ 280615 w 4610101"/>
              <a:gd name="connsiteY21589" fmla="*/ 1012159 h 6557032"/>
              <a:gd name="connsiteX21590" fmla="*/ 293370 w 4610101"/>
              <a:gd name="connsiteY21590" fmla="*/ 1019448 h 6557032"/>
              <a:gd name="connsiteX21591" fmla="*/ 287676 w 4610101"/>
              <a:gd name="connsiteY21591" fmla="*/ 1011703 h 6557032"/>
              <a:gd name="connsiteX21592" fmla="*/ 1025884 w 4610101"/>
              <a:gd name="connsiteY21592" fmla="*/ 1010337 h 6557032"/>
              <a:gd name="connsiteX21593" fmla="*/ 1022240 w 4610101"/>
              <a:gd name="connsiteY21593" fmla="*/ 1013981 h 6557032"/>
              <a:gd name="connsiteX21594" fmla="*/ 1027707 w 4610101"/>
              <a:gd name="connsiteY21594" fmla="*/ 1013981 h 6557032"/>
              <a:gd name="connsiteX21595" fmla="*/ 1025884 w 4610101"/>
              <a:gd name="connsiteY21595" fmla="*/ 1010337 h 6557032"/>
              <a:gd name="connsiteX21596" fmla="*/ 679671 w 4610101"/>
              <a:gd name="connsiteY21596" fmla="*/ 1010337 h 6557032"/>
              <a:gd name="connsiteX21597" fmla="*/ 683316 w 4610101"/>
              <a:gd name="connsiteY21597" fmla="*/ 1012159 h 6557032"/>
              <a:gd name="connsiteX21598" fmla="*/ 679671 w 4610101"/>
              <a:gd name="connsiteY21598" fmla="*/ 1010337 h 6557032"/>
              <a:gd name="connsiteX21599" fmla="*/ 313414 w 4610101"/>
              <a:gd name="connsiteY21599" fmla="*/ 1010337 h 6557032"/>
              <a:gd name="connsiteX21600" fmla="*/ 317059 w 4610101"/>
              <a:gd name="connsiteY21600" fmla="*/ 1015803 h 6557032"/>
              <a:gd name="connsiteX21601" fmla="*/ 322525 w 4610101"/>
              <a:gd name="connsiteY21601" fmla="*/ 1012159 h 6557032"/>
              <a:gd name="connsiteX21602" fmla="*/ 313414 w 4610101"/>
              <a:gd name="connsiteY21602" fmla="*/ 1010337 h 6557032"/>
              <a:gd name="connsiteX21603" fmla="*/ 231416 w 4610101"/>
              <a:gd name="connsiteY21603" fmla="*/ 1010337 h 6557032"/>
              <a:gd name="connsiteX21604" fmla="*/ 240527 w 4610101"/>
              <a:gd name="connsiteY21604" fmla="*/ 1019448 h 6557032"/>
              <a:gd name="connsiteX21605" fmla="*/ 231416 w 4610101"/>
              <a:gd name="connsiteY21605" fmla="*/ 1010337 h 6557032"/>
              <a:gd name="connsiteX21606" fmla="*/ 1076905 w 4610101"/>
              <a:gd name="connsiteY21606" fmla="*/ 1008515 h 6557032"/>
              <a:gd name="connsiteX21607" fmla="*/ 1075083 w 4610101"/>
              <a:gd name="connsiteY21607" fmla="*/ 1019448 h 6557032"/>
              <a:gd name="connsiteX21608" fmla="*/ 1076905 w 4610101"/>
              <a:gd name="connsiteY21608" fmla="*/ 1008515 h 6557032"/>
              <a:gd name="connsiteX21609" fmla="*/ 1013129 w 4610101"/>
              <a:gd name="connsiteY21609" fmla="*/ 1008515 h 6557032"/>
              <a:gd name="connsiteX21610" fmla="*/ 1011307 w 4610101"/>
              <a:gd name="connsiteY21610" fmla="*/ 1012159 h 6557032"/>
              <a:gd name="connsiteX21611" fmla="*/ 1014951 w 4610101"/>
              <a:gd name="connsiteY21611" fmla="*/ 1010337 h 6557032"/>
              <a:gd name="connsiteX21612" fmla="*/ 1013129 w 4610101"/>
              <a:gd name="connsiteY21612" fmla="*/ 1008515 h 6557032"/>
              <a:gd name="connsiteX21613" fmla="*/ 854600 w 4610101"/>
              <a:gd name="connsiteY21613" fmla="*/ 1008515 h 6557032"/>
              <a:gd name="connsiteX21614" fmla="*/ 861889 w 4610101"/>
              <a:gd name="connsiteY21614" fmla="*/ 1026736 h 6557032"/>
              <a:gd name="connsiteX21615" fmla="*/ 854600 w 4610101"/>
              <a:gd name="connsiteY21615" fmla="*/ 1008515 h 6557032"/>
              <a:gd name="connsiteX21616" fmla="*/ 710648 w 4610101"/>
              <a:gd name="connsiteY21616" fmla="*/ 1008515 h 6557032"/>
              <a:gd name="connsiteX21617" fmla="*/ 714293 w 4610101"/>
              <a:gd name="connsiteY21617" fmla="*/ 1019448 h 6557032"/>
              <a:gd name="connsiteX21618" fmla="*/ 710648 w 4610101"/>
              <a:gd name="connsiteY21618" fmla="*/ 1008515 h 6557032"/>
              <a:gd name="connsiteX21619" fmla="*/ 697893 w 4610101"/>
              <a:gd name="connsiteY21619" fmla="*/ 1008515 h 6557032"/>
              <a:gd name="connsiteX21620" fmla="*/ 701537 w 4610101"/>
              <a:gd name="connsiteY21620" fmla="*/ 1012159 h 6557032"/>
              <a:gd name="connsiteX21621" fmla="*/ 699715 w 4610101"/>
              <a:gd name="connsiteY21621" fmla="*/ 1012159 h 6557032"/>
              <a:gd name="connsiteX21622" fmla="*/ 705182 w 4610101"/>
              <a:gd name="connsiteY21622" fmla="*/ 1017625 h 6557032"/>
              <a:gd name="connsiteX21623" fmla="*/ 703359 w 4610101"/>
              <a:gd name="connsiteY21623" fmla="*/ 1008515 h 6557032"/>
              <a:gd name="connsiteX21624" fmla="*/ 697893 w 4610101"/>
              <a:gd name="connsiteY21624" fmla="*/ 1008515 h 6557032"/>
              <a:gd name="connsiteX21625" fmla="*/ 632296 w 4610101"/>
              <a:gd name="connsiteY21625" fmla="*/ 1008515 h 6557032"/>
              <a:gd name="connsiteX21626" fmla="*/ 641407 w 4610101"/>
              <a:gd name="connsiteY21626" fmla="*/ 1017625 h 6557032"/>
              <a:gd name="connsiteX21627" fmla="*/ 643228 w 4610101"/>
              <a:gd name="connsiteY21627" fmla="*/ 1012159 h 6557032"/>
              <a:gd name="connsiteX21628" fmla="*/ 632296 w 4610101"/>
              <a:gd name="connsiteY21628" fmla="*/ 1008515 h 6557032"/>
              <a:gd name="connsiteX21629" fmla="*/ 572163 w 4610101"/>
              <a:gd name="connsiteY21629" fmla="*/ 1008515 h 6557032"/>
              <a:gd name="connsiteX21630" fmla="*/ 581274 w 4610101"/>
              <a:gd name="connsiteY21630" fmla="*/ 1015803 h 6557032"/>
              <a:gd name="connsiteX21631" fmla="*/ 572163 w 4610101"/>
              <a:gd name="connsiteY21631" fmla="*/ 1008515 h 6557032"/>
              <a:gd name="connsiteX21632" fmla="*/ 189506 w 4610101"/>
              <a:gd name="connsiteY21632" fmla="*/ 1008515 h 6557032"/>
              <a:gd name="connsiteX21633" fmla="*/ 216839 w 4610101"/>
              <a:gd name="connsiteY21633" fmla="*/ 1028559 h 6557032"/>
              <a:gd name="connsiteX21634" fmla="*/ 211372 w 4610101"/>
              <a:gd name="connsiteY21634" fmla="*/ 1023092 h 6557032"/>
              <a:gd name="connsiteX21635" fmla="*/ 215017 w 4610101"/>
              <a:gd name="connsiteY21635" fmla="*/ 1024914 h 6557032"/>
              <a:gd name="connsiteX21636" fmla="*/ 215017 w 4610101"/>
              <a:gd name="connsiteY21636" fmla="*/ 1021270 h 6557032"/>
              <a:gd name="connsiteX21637" fmla="*/ 196795 w 4610101"/>
              <a:gd name="connsiteY21637" fmla="*/ 1015803 h 6557032"/>
              <a:gd name="connsiteX21638" fmla="*/ 198617 w 4610101"/>
              <a:gd name="connsiteY21638" fmla="*/ 1013981 h 6557032"/>
              <a:gd name="connsiteX21639" fmla="*/ 189506 w 4610101"/>
              <a:gd name="connsiteY21639" fmla="*/ 1008515 h 6557032"/>
              <a:gd name="connsiteX21640" fmla="*/ 2970827 w 4610101"/>
              <a:gd name="connsiteY21640" fmla="*/ 1008059 h 6557032"/>
              <a:gd name="connsiteX21641" fmla="*/ 2962855 w 4610101"/>
              <a:gd name="connsiteY21641" fmla="*/ 1010337 h 6557032"/>
              <a:gd name="connsiteX21642" fmla="*/ 2955566 w 4610101"/>
              <a:gd name="connsiteY21642" fmla="*/ 1024914 h 6557032"/>
              <a:gd name="connsiteX21643" fmla="*/ 2953744 w 4610101"/>
              <a:gd name="connsiteY21643" fmla="*/ 1023092 h 6557032"/>
              <a:gd name="connsiteX21644" fmla="*/ 2961033 w 4610101"/>
              <a:gd name="connsiteY21644" fmla="*/ 1013981 h 6557032"/>
              <a:gd name="connsiteX21645" fmla="*/ 2940989 w 4610101"/>
              <a:gd name="connsiteY21645" fmla="*/ 1024914 h 6557032"/>
              <a:gd name="connsiteX21646" fmla="*/ 2973788 w 4610101"/>
              <a:gd name="connsiteY21646" fmla="*/ 1044958 h 6557032"/>
              <a:gd name="connsiteX21647" fmla="*/ 2977432 w 4610101"/>
              <a:gd name="connsiteY21647" fmla="*/ 1052247 h 6557032"/>
              <a:gd name="connsiteX21648" fmla="*/ 2977432 w 4610101"/>
              <a:gd name="connsiteY21648" fmla="*/ 1044958 h 6557032"/>
              <a:gd name="connsiteX21649" fmla="*/ 2988366 w 4610101"/>
              <a:gd name="connsiteY21649" fmla="*/ 1057713 h 6557032"/>
              <a:gd name="connsiteX21650" fmla="*/ 3030457 w 4610101"/>
              <a:gd name="connsiteY21650" fmla="*/ 1093069 h 6557032"/>
              <a:gd name="connsiteX21651" fmla="*/ 3028453 w 4610101"/>
              <a:gd name="connsiteY21651" fmla="*/ 1092335 h 6557032"/>
              <a:gd name="connsiteX21652" fmla="*/ 3035742 w 4610101"/>
              <a:gd name="connsiteY21652" fmla="*/ 1097801 h 6557032"/>
              <a:gd name="connsiteX21653" fmla="*/ 3041209 w 4610101"/>
              <a:gd name="connsiteY21653" fmla="*/ 1105090 h 6557032"/>
              <a:gd name="connsiteX21654" fmla="*/ 3044853 w 4610101"/>
              <a:gd name="connsiteY21654" fmla="*/ 1092335 h 6557032"/>
              <a:gd name="connsiteX21655" fmla="*/ 3055786 w 4610101"/>
              <a:gd name="connsiteY21655" fmla="*/ 1099623 h 6557032"/>
              <a:gd name="connsiteX21656" fmla="*/ 3053964 w 4610101"/>
              <a:gd name="connsiteY21656" fmla="*/ 1114201 h 6557032"/>
              <a:gd name="connsiteX21657" fmla="*/ 3044853 w 4610101"/>
              <a:gd name="connsiteY21657" fmla="*/ 1110556 h 6557032"/>
              <a:gd name="connsiteX21658" fmla="*/ 3045945 w 4610101"/>
              <a:gd name="connsiteY21658" fmla="*/ 1121257 h 6557032"/>
              <a:gd name="connsiteX21659" fmla="*/ 3039159 w 4610101"/>
              <a:gd name="connsiteY21659" fmla="*/ 1115795 h 6557032"/>
              <a:gd name="connsiteX21660" fmla="*/ 3035706 w 4610101"/>
              <a:gd name="connsiteY21660" fmla="*/ 1114692 h 6557032"/>
              <a:gd name="connsiteX21661" fmla="*/ 3035742 w 4610101"/>
              <a:gd name="connsiteY21661" fmla="*/ 1114201 h 6557032"/>
              <a:gd name="connsiteX21662" fmla="*/ 3033902 w 4610101"/>
              <a:gd name="connsiteY21662" fmla="*/ 1114117 h 6557032"/>
              <a:gd name="connsiteX21663" fmla="*/ 3028453 w 4610101"/>
              <a:gd name="connsiteY21663" fmla="*/ 1112378 h 6557032"/>
              <a:gd name="connsiteX21664" fmla="*/ 3030731 w 4610101"/>
              <a:gd name="connsiteY21664" fmla="*/ 1113972 h 6557032"/>
              <a:gd name="connsiteX21665" fmla="*/ 3033902 w 4610101"/>
              <a:gd name="connsiteY21665" fmla="*/ 1114117 h 6557032"/>
              <a:gd name="connsiteX21666" fmla="*/ 3035706 w 4610101"/>
              <a:gd name="connsiteY21666" fmla="*/ 1114692 h 6557032"/>
              <a:gd name="connsiteX21667" fmla="*/ 3035287 w 4610101"/>
              <a:gd name="connsiteY21667" fmla="*/ 1120350 h 6557032"/>
              <a:gd name="connsiteX21668" fmla="*/ 3037564 w 4610101"/>
              <a:gd name="connsiteY21668" fmla="*/ 1125134 h 6557032"/>
              <a:gd name="connsiteX21669" fmla="*/ 3027542 w 4610101"/>
              <a:gd name="connsiteY21669" fmla="*/ 1118300 h 6557032"/>
              <a:gd name="connsiteX21670" fmla="*/ 3026727 w 4610101"/>
              <a:gd name="connsiteY21670" fmla="*/ 1117967 h 6557032"/>
              <a:gd name="connsiteX21671" fmla="*/ 3026631 w 4610101"/>
              <a:gd name="connsiteY21671" fmla="*/ 1117845 h 6557032"/>
              <a:gd name="connsiteX21672" fmla="*/ 3026670 w 4610101"/>
              <a:gd name="connsiteY21672" fmla="*/ 1117944 h 6557032"/>
              <a:gd name="connsiteX21673" fmla="*/ 3017521 w 4610101"/>
              <a:gd name="connsiteY21673" fmla="*/ 1114201 h 6557032"/>
              <a:gd name="connsiteX21674" fmla="*/ 3017521 w 4610101"/>
              <a:gd name="connsiteY21674" fmla="*/ 1103268 h 6557032"/>
              <a:gd name="connsiteX21675" fmla="*/ 3013876 w 4610101"/>
              <a:gd name="connsiteY21675" fmla="*/ 1117845 h 6557032"/>
              <a:gd name="connsiteX21676" fmla="*/ 3001121 w 4610101"/>
              <a:gd name="connsiteY21676" fmla="*/ 1095979 h 6557032"/>
              <a:gd name="connsiteX21677" fmla="*/ 2995654 w 4610101"/>
              <a:gd name="connsiteY21677" fmla="*/ 1101445 h 6557032"/>
              <a:gd name="connsiteX21678" fmla="*/ 2997477 w 4610101"/>
              <a:gd name="connsiteY21678" fmla="*/ 1099623 h 6557032"/>
              <a:gd name="connsiteX21679" fmla="*/ 2995654 w 4610101"/>
              <a:gd name="connsiteY21679" fmla="*/ 1105090 h 6557032"/>
              <a:gd name="connsiteX21680" fmla="*/ 2990188 w 4610101"/>
              <a:gd name="connsiteY21680" fmla="*/ 1086868 h 6557032"/>
              <a:gd name="connsiteX21681" fmla="*/ 2982899 w 4610101"/>
              <a:gd name="connsiteY21681" fmla="*/ 1086868 h 6557032"/>
              <a:gd name="connsiteX21682" fmla="*/ 2979255 w 4610101"/>
              <a:gd name="connsiteY21682" fmla="*/ 1101445 h 6557032"/>
              <a:gd name="connsiteX21683" fmla="*/ 2982899 w 4610101"/>
              <a:gd name="connsiteY21683" fmla="*/ 1110556 h 6557032"/>
              <a:gd name="connsiteX21684" fmla="*/ 2968322 w 4610101"/>
              <a:gd name="connsiteY21684" fmla="*/ 1105090 h 6557032"/>
              <a:gd name="connsiteX21685" fmla="*/ 2968322 w 4610101"/>
              <a:gd name="connsiteY21685" fmla="*/ 1099623 h 6557032"/>
              <a:gd name="connsiteX21686" fmla="*/ 2966500 w 4610101"/>
              <a:gd name="connsiteY21686" fmla="*/ 1101445 h 6557032"/>
              <a:gd name="connsiteX21687" fmla="*/ 2962855 w 4610101"/>
              <a:gd name="connsiteY21687" fmla="*/ 1095979 h 6557032"/>
              <a:gd name="connsiteX21688" fmla="*/ 2968322 w 4610101"/>
              <a:gd name="connsiteY21688" fmla="*/ 1095979 h 6557032"/>
              <a:gd name="connsiteX21689" fmla="*/ 2971966 w 4610101"/>
              <a:gd name="connsiteY21689" fmla="*/ 1101445 h 6557032"/>
              <a:gd name="connsiteX21690" fmla="*/ 2973788 w 4610101"/>
              <a:gd name="connsiteY21690" fmla="*/ 1090512 h 6557032"/>
              <a:gd name="connsiteX21691" fmla="*/ 2968322 w 4610101"/>
              <a:gd name="connsiteY21691" fmla="*/ 1081402 h 6557032"/>
              <a:gd name="connsiteX21692" fmla="*/ 2966500 w 4610101"/>
              <a:gd name="connsiteY21692" fmla="*/ 1083224 h 6557032"/>
              <a:gd name="connsiteX21693" fmla="*/ 2970144 w 4610101"/>
              <a:gd name="connsiteY21693" fmla="*/ 1072291 h 6557032"/>
              <a:gd name="connsiteX21694" fmla="*/ 2966500 w 4610101"/>
              <a:gd name="connsiteY21694" fmla="*/ 1070469 h 6557032"/>
              <a:gd name="connsiteX21695" fmla="*/ 2970144 w 4610101"/>
              <a:gd name="connsiteY21695" fmla="*/ 1065002 h 6557032"/>
              <a:gd name="connsiteX21696" fmla="*/ 2986543 w 4610101"/>
              <a:gd name="connsiteY21696" fmla="*/ 1074113 h 6557032"/>
              <a:gd name="connsiteX21697" fmla="*/ 2986543 w 4610101"/>
              <a:gd name="connsiteY21697" fmla="*/ 1065002 h 6557032"/>
              <a:gd name="connsiteX21698" fmla="*/ 2975610 w 4610101"/>
              <a:gd name="connsiteY21698" fmla="*/ 1063180 h 6557032"/>
              <a:gd name="connsiteX21699" fmla="*/ 2950100 w 4610101"/>
              <a:gd name="connsiteY21699" fmla="*/ 1043136 h 6557032"/>
              <a:gd name="connsiteX21700" fmla="*/ 2948278 w 4610101"/>
              <a:gd name="connsiteY21700" fmla="*/ 1048602 h 6557032"/>
              <a:gd name="connsiteX21701" fmla="*/ 2937345 w 4610101"/>
              <a:gd name="connsiteY21701" fmla="*/ 1034025 h 6557032"/>
              <a:gd name="connsiteX21702" fmla="*/ 2950100 w 4610101"/>
              <a:gd name="connsiteY21702" fmla="*/ 1039492 h 6557032"/>
              <a:gd name="connsiteX21703" fmla="*/ 2931878 w 4610101"/>
              <a:gd name="connsiteY21703" fmla="*/ 1026736 h 6557032"/>
              <a:gd name="connsiteX21704" fmla="*/ 2888146 w 4610101"/>
              <a:gd name="connsiteY21704" fmla="*/ 1097801 h 6557032"/>
              <a:gd name="connsiteX21705" fmla="*/ 2906368 w 4610101"/>
              <a:gd name="connsiteY21705" fmla="*/ 1077757 h 6557032"/>
              <a:gd name="connsiteX21706" fmla="*/ 2911834 w 4610101"/>
              <a:gd name="connsiteY21706" fmla="*/ 1079579 h 6557032"/>
              <a:gd name="connsiteX21707" fmla="*/ 2900901 w 4610101"/>
              <a:gd name="connsiteY21707" fmla="*/ 1110556 h 6557032"/>
              <a:gd name="connsiteX21708" fmla="*/ 2891790 w 4610101"/>
              <a:gd name="connsiteY21708" fmla="*/ 1105090 h 6557032"/>
              <a:gd name="connsiteX21709" fmla="*/ 2868102 w 4610101"/>
              <a:gd name="connsiteY21709" fmla="*/ 1147000 h 6557032"/>
              <a:gd name="connsiteX21710" fmla="*/ 2862636 w 4610101"/>
              <a:gd name="connsiteY21710" fmla="*/ 1145178 h 6557032"/>
              <a:gd name="connsiteX21711" fmla="*/ 2868102 w 4610101"/>
              <a:gd name="connsiteY21711" fmla="*/ 1148822 h 6557032"/>
              <a:gd name="connsiteX21712" fmla="*/ 2868102 w 4610101"/>
              <a:gd name="connsiteY21712" fmla="*/ 1159755 h 6557032"/>
              <a:gd name="connsiteX21713" fmla="*/ 2862636 w 4610101"/>
              <a:gd name="connsiteY21713" fmla="*/ 1161577 h 6557032"/>
              <a:gd name="connsiteX21714" fmla="*/ 2864458 w 4610101"/>
              <a:gd name="connsiteY21714" fmla="*/ 1154288 h 6557032"/>
              <a:gd name="connsiteX21715" fmla="*/ 2848058 w 4610101"/>
              <a:gd name="connsiteY21715" fmla="*/ 1168866 h 6557032"/>
              <a:gd name="connsiteX21716" fmla="*/ 2833481 w 4610101"/>
              <a:gd name="connsiteY21716" fmla="*/ 1190732 h 6557032"/>
              <a:gd name="connsiteX21717" fmla="*/ 2840769 w 4610101"/>
              <a:gd name="connsiteY21717" fmla="*/ 1188910 h 6557032"/>
              <a:gd name="connsiteX21718" fmla="*/ 2844414 w 4610101"/>
              <a:gd name="connsiteY21718" fmla="*/ 1196199 h 6557032"/>
              <a:gd name="connsiteX21719" fmla="*/ 2891107 w 4610101"/>
              <a:gd name="connsiteY21719" fmla="*/ 1175016 h 6557032"/>
              <a:gd name="connsiteX21720" fmla="*/ 2914365 w 4610101"/>
              <a:gd name="connsiteY21720" fmla="*/ 1167412 h 6557032"/>
              <a:gd name="connsiteX21721" fmla="*/ 2916162 w 4610101"/>
              <a:gd name="connsiteY21721" fmla="*/ 1172966 h 6557032"/>
              <a:gd name="connsiteX21722" fmla="*/ 2922767 w 4610101"/>
              <a:gd name="connsiteY21722" fmla="*/ 1172510 h 6557032"/>
              <a:gd name="connsiteX21723" fmla="*/ 2959154 w 4610101"/>
              <a:gd name="connsiteY21723" fmla="*/ 1179941 h 6557032"/>
              <a:gd name="connsiteX21724" fmla="*/ 2965515 w 4610101"/>
              <a:gd name="connsiteY21724" fmla="*/ 1174785 h 6557032"/>
              <a:gd name="connsiteX21725" fmla="*/ 2962855 w 4610101"/>
              <a:gd name="connsiteY21725" fmla="*/ 1177977 h 6557032"/>
              <a:gd name="connsiteX21726" fmla="*/ 2968322 w 4610101"/>
              <a:gd name="connsiteY21726" fmla="*/ 1177977 h 6557032"/>
              <a:gd name="connsiteX21727" fmla="*/ 2966377 w 4610101"/>
              <a:gd name="connsiteY21727" fmla="*/ 1174087 h 6557032"/>
              <a:gd name="connsiteX21728" fmla="*/ 2968322 w 4610101"/>
              <a:gd name="connsiteY21728" fmla="*/ 1172510 h 6557032"/>
              <a:gd name="connsiteX21729" fmla="*/ 2951922 w 4610101"/>
              <a:gd name="connsiteY21729" fmla="*/ 1170688 h 6557032"/>
              <a:gd name="connsiteX21730" fmla="*/ 2961033 w 4610101"/>
              <a:gd name="connsiteY21730" fmla="*/ 1159755 h 6557032"/>
              <a:gd name="connsiteX21731" fmla="*/ 2943961 w 4610101"/>
              <a:gd name="connsiteY21731" fmla="*/ 1161381 h 6557032"/>
              <a:gd name="connsiteX21732" fmla="*/ 2942811 w 4610101"/>
              <a:gd name="connsiteY21732" fmla="*/ 1157933 h 6557032"/>
              <a:gd name="connsiteX21733" fmla="*/ 2948278 w 4610101"/>
              <a:gd name="connsiteY21733" fmla="*/ 1156111 h 6557032"/>
              <a:gd name="connsiteX21734" fmla="*/ 2950100 w 4610101"/>
              <a:gd name="connsiteY21734" fmla="*/ 1159755 h 6557032"/>
              <a:gd name="connsiteX21735" fmla="*/ 2952322 w 4610101"/>
              <a:gd name="connsiteY21735" fmla="*/ 1155844 h 6557032"/>
              <a:gd name="connsiteX21736" fmla="*/ 2956706 w 4610101"/>
              <a:gd name="connsiteY21736" fmla="*/ 1152922 h 6557032"/>
              <a:gd name="connsiteX21737" fmla="*/ 2957389 w 4610101"/>
              <a:gd name="connsiteY21737" fmla="*/ 1147000 h 6557032"/>
              <a:gd name="connsiteX21738" fmla="*/ 2962855 w 4610101"/>
              <a:gd name="connsiteY21738" fmla="*/ 1141533 h 6557032"/>
              <a:gd name="connsiteX21739" fmla="*/ 2957389 w 4610101"/>
              <a:gd name="connsiteY21739" fmla="*/ 1141533 h 6557032"/>
              <a:gd name="connsiteX21740" fmla="*/ 2959211 w 4610101"/>
              <a:gd name="connsiteY21740" fmla="*/ 1136067 h 6557032"/>
              <a:gd name="connsiteX21741" fmla="*/ 2970144 w 4610101"/>
              <a:gd name="connsiteY21741" fmla="*/ 1139711 h 6557032"/>
              <a:gd name="connsiteX21742" fmla="*/ 2966500 w 4610101"/>
              <a:gd name="connsiteY21742" fmla="*/ 1130600 h 6557032"/>
              <a:gd name="connsiteX21743" fmla="*/ 2962855 w 4610101"/>
              <a:gd name="connsiteY21743" fmla="*/ 1147000 h 6557032"/>
              <a:gd name="connsiteX21744" fmla="*/ 2970144 w 4610101"/>
              <a:gd name="connsiteY21744" fmla="*/ 1159755 h 6557032"/>
              <a:gd name="connsiteX21745" fmla="*/ 2964677 w 4610101"/>
              <a:gd name="connsiteY21745" fmla="*/ 1163399 h 6557032"/>
              <a:gd name="connsiteX21746" fmla="*/ 2975610 w 4610101"/>
              <a:gd name="connsiteY21746" fmla="*/ 1177977 h 6557032"/>
              <a:gd name="connsiteX21747" fmla="*/ 2977432 w 4610101"/>
              <a:gd name="connsiteY21747" fmla="*/ 1170688 h 6557032"/>
              <a:gd name="connsiteX21748" fmla="*/ 2981305 w 4610101"/>
              <a:gd name="connsiteY21748" fmla="*/ 1173649 h 6557032"/>
              <a:gd name="connsiteX21749" fmla="*/ 2984135 w 4610101"/>
              <a:gd name="connsiteY21749" fmla="*/ 1173034 h 6557032"/>
              <a:gd name="connsiteX21750" fmla="*/ 2986543 w 4610101"/>
              <a:gd name="connsiteY21750" fmla="*/ 1172510 h 6557032"/>
              <a:gd name="connsiteX21751" fmla="*/ 2985860 w 4610101"/>
              <a:gd name="connsiteY21751" fmla="*/ 1177294 h 6557032"/>
              <a:gd name="connsiteX21752" fmla="*/ 2986460 w 4610101"/>
              <a:gd name="connsiteY21752" fmla="*/ 1182697 h 6557032"/>
              <a:gd name="connsiteX21753" fmla="*/ 2981077 w 4610101"/>
              <a:gd name="connsiteY21753" fmla="*/ 1181621 h 6557032"/>
              <a:gd name="connsiteX21754" fmla="*/ 2986543 w 4610101"/>
              <a:gd name="connsiteY21754" fmla="*/ 1192554 h 6557032"/>
              <a:gd name="connsiteX21755" fmla="*/ 2990188 w 4610101"/>
              <a:gd name="connsiteY21755" fmla="*/ 1183443 h 6557032"/>
              <a:gd name="connsiteX21756" fmla="*/ 2992010 w 4610101"/>
              <a:gd name="connsiteY21756" fmla="*/ 1183443 h 6557032"/>
              <a:gd name="connsiteX21757" fmla="*/ 2997477 w 4610101"/>
              <a:gd name="connsiteY21757" fmla="*/ 1179799 h 6557032"/>
              <a:gd name="connsiteX21758" fmla="*/ 2999299 w 4610101"/>
              <a:gd name="connsiteY21758" fmla="*/ 1168866 h 6557032"/>
              <a:gd name="connsiteX21759" fmla="*/ 2992010 w 4610101"/>
              <a:gd name="connsiteY21759" fmla="*/ 1170688 h 6557032"/>
              <a:gd name="connsiteX21760" fmla="*/ 2990188 w 4610101"/>
              <a:gd name="connsiteY21760" fmla="*/ 1163399 h 6557032"/>
              <a:gd name="connsiteX21761" fmla="*/ 3001121 w 4610101"/>
              <a:gd name="connsiteY21761" fmla="*/ 1161577 h 6557032"/>
              <a:gd name="connsiteX21762" fmla="*/ 3002943 w 4610101"/>
              <a:gd name="connsiteY21762" fmla="*/ 1172510 h 6557032"/>
              <a:gd name="connsiteX21763" fmla="*/ 3012054 w 4610101"/>
              <a:gd name="connsiteY21763" fmla="*/ 1177977 h 6557032"/>
              <a:gd name="connsiteX21764" fmla="*/ 3010232 w 4610101"/>
              <a:gd name="connsiteY21764" fmla="*/ 1163399 h 6557032"/>
              <a:gd name="connsiteX21765" fmla="*/ 3004765 w 4610101"/>
              <a:gd name="connsiteY21765" fmla="*/ 1163399 h 6557032"/>
              <a:gd name="connsiteX21766" fmla="*/ 3006587 w 4610101"/>
              <a:gd name="connsiteY21766" fmla="*/ 1152466 h 6557032"/>
              <a:gd name="connsiteX21767" fmla="*/ 3010232 w 4610101"/>
              <a:gd name="connsiteY21767" fmla="*/ 1150644 h 6557032"/>
              <a:gd name="connsiteX21768" fmla="*/ 3002943 w 4610101"/>
              <a:gd name="connsiteY21768" fmla="*/ 1143355 h 6557032"/>
              <a:gd name="connsiteX21769" fmla="*/ 2999299 w 4610101"/>
              <a:gd name="connsiteY21769" fmla="*/ 1128778 h 6557032"/>
              <a:gd name="connsiteX21770" fmla="*/ 2986543 w 4610101"/>
              <a:gd name="connsiteY21770" fmla="*/ 1126956 h 6557032"/>
              <a:gd name="connsiteX21771" fmla="*/ 2984721 w 4610101"/>
              <a:gd name="connsiteY21771" fmla="*/ 1114201 h 6557032"/>
              <a:gd name="connsiteX21772" fmla="*/ 2990188 w 4610101"/>
              <a:gd name="connsiteY21772" fmla="*/ 1116023 h 6557032"/>
              <a:gd name="connsiteX21773" fmla="*/ 3001121 w 4610101"/>
              <a:gd name="connsiteY21773" fmla="*/ 1125134 h 6557032"/>
              <a:gd name="connsiteX21774" fmla="*/ 2999299 w 4610101"/>
              <a:gd name="connsiteY21774" fmla="*/ 1110556 h 6557032"/>
              <a:gd name="connsiteX21775" fmla="*/ 3004765 w 4610101"/>
              <a:gd name="connsiteY21775" fmla="*/ 1121489 h 6557032"/>
              <a:gd name="connsiteX21776" fmla="*/ 3006587 w 4610101"/>
              <a:gd name="connsiteY21776" fmla="*/ 1117845 h 6557032"/>
              <a:gd name="connsiteX21777" fmla="*/ 3010460 w 4610101"/>
              <a:gd name="connsiteY21777" fmla="*/ 1137205 h 6557032"/>
              <a:gd name="connsiteX21778" fmla="*/ 3023192 w 4610101"/>
              <a:gd name="connsiteY21778" fmla="*/ 1144917 h 6557032"/>
              <a:gd name="connsiteX21779" fmla="*/ 3022987 w 4610101"/>
              <a:gd name="connsiteY21779" fmla="*/ 1145178 h 6557032"/>
              <a:gd name="connsiteX21780" fmla="*/ 3023387 w 4610101"/>
              <a:gd name="connsiteY21780" fmla="*/ 1145035 h 6557032"/>
              <a:gd name="connsiteX21781" fmla="*/ 3026631 w 4610101"/>
              <a:gd name="connsiteY21781" fmla="*/ 1147000 h 6557032"/>
              <a:gd name="connsiteX21782" fmla="*/ 3026176 w 4610101"/>
              <a:gd name="connsiteY21782" fmla="*/ 1144039 h 6557032"/>
              <a:gd name="connsiteX21783" fmla="*/ 3023387 w 4610101"/>
              <a:gd name="connsiteY21783" fmla="*/ 1145035 h 6557032"/>
              <a:gd name="connsiteX21784" fmla="*/ 3023192 w 4610101"/>
              <a:gd name="connsiteY21784" fmla="*/ 1144917 h 6557032"/>
              <a:gd name="connsiteX21785" fmla="*/ 3027087 w 4610101"/>
              <a:gd name="connsiteY21785" fmla="*/ 1139939 h 6557032"/>
              <a:gd name="connsiteX21786" fmla="*/ 3028453 w 4610101"/>
              <a:gd name="connsiteY21786" fmla="*/ 1136067 h 6557032"/>
              <a:gd name="connsiteX21787" fmla="*/ 3035742 w 4610101"/>
              <a:gd name="connsiteY21787" fmla="*/ 1133151 h 6557032"/>
              <a:gd name="connsiteX21788" fmla="*/ 3037564 w 4610101"/>
              <a:gd name="connsiteY21788" fmla="*/ 1139711 h 6557032"/>
              <a:gd name="connsiteX21789" fmla="*/ 3039387 w 4610101"/>
              <a:gd name="connsiteY21789" fmla="*/ 1143355 h 6557032"/>
              <a:gd name="connsiteX21790" fmla="*/ 3035742 w 4610101"/>
              <a:gd name="connsiteY21790" fmla="*/ 1147000 h 6557032"/>
              <a:gd name="connsiteX21791" fmla="*/ 3043031 w 4610101"/>
              <a:gd name="connsiteY21791" fmla="*/ 1154288 h 6557032"/>
              <a:gd name="connsiteX21792" fmla="*/ 3044853 w 4610101"/>
              <a:gd name="connsiteY21792" fmla="*/ 1143355 h 6557032"/>
              <a:gd name="connsiteX21793" fmla="*/ 3048497 w 4610101"/>
              <a:gd name="connsiteY21793" fmla="*/ 1145178 h 6557032"/>
              <a:gd name="connsiteX21794" fmla="*/ 3048498 w 4610101"/>
              <a:gd name="connsiteY21794" fmla="*/ 1134245 h 6557032"/>
              <a:gd name="connsiteX21795" fmla="*/ 3059430 w 4610101"/>
              <a:gd name="connsiteY21795" fmla="*/ 1123312 h 6557032"/>
              <a:gd name="connsiteX21796" fmla="*/ 3061253 w 4610101"/>
              <a:gd name="connsiteY21796" fmla="*/ 1128778 h 6557032"/>
              <a:gd name="connsiteX21797" fmla="*/ 3057608 w 4610101"/>
              <a:gd name="connsiteY21797" fmla="*/ 1130600 h 6557032"/>
              <a:gd name="connsiteX21798" fmla="*/ 3063075 w 4610101"/>
              <a:gd name="connsiteY21798" fmla="*/ 1132422 h 6557032"/>
              <a:gd name="connsiteX21799" fmla="*/ 3057608 w 4610101"/>
              <a:gd name="connsiteY21799" fmla="*/ 1134245 h 6557032"/>
              <a:gd name="connsiteX21800" fmla="*/ 3059430 w 4610101"/>
              <a:gd name="connsiteY21800" fmla="*/ 1143355 h 6557032"/>
              <a:gd name="connsiteX21801" fmla="*/ 3052142 w 4610101"/>
              <a:gd name="connsiteY21801" fmla="*/ 1141533 h 6557032"/>
              <a:gd name="connsiteX21802" fmla="*/ 3052142 w 4610101"/>
              <a:gd name="connsiteY21802" fmla="*/ 1154288 h 6557032"/>
              <a:gd name="connsiteX21803" fmla="*/ 3074008 w 4610101"/>
              <a:gd name="connsiteY21803" fmla="*/ 1150644 h 6557032"/>
              <a:gd name="connsiteX21804" fmla="*/ 3074008 w 4610101"/>
              <a:gd name="connsiteY21804" fmla="*/ 1143355 h 6557032"/>
              <a:gd name="connsiteX21805" fmla="*/ 3081297 w 4610101"/>
              <a:gd name="connsiteY21805" fmla="*/ 1148822 h 6557032"/>
              <a:gd name="connsiteX21806" fmla="*/ 3081297 w 4610101"/>
              <a:gd name="connsiteY21806" fmla="*/ 1137889 h 6557032"/>
              <a:gd name="connsiteX21807" fmla="*/ 3074008 w 4610101"/>
              <a:gd name="connsiteY21807" fmla="*/ 1134245 h 6557032"/>
              <a:gd name="connsiteX21808" fmla="*/ 3084941 w 4610101"/>
              <a:gd name="connsiteY21808" fmla="*/ 1132422 h 6557032"/>
              <a:gd name="connsiteX21809" fmla="*/ 3083119 w 4610101"/>
              <a:gd name="connsiteY21809" fmla="*/ 1126956 h 6557032"/>
              <a:gd name="connsiteX21810" fmla="*/ 3086763 w 4610101"/>
              <a:gd name="connsiteY21810" fmla="*/ 1121489 h 6557032"/>
              <a:gd name="connsiteX21811" fmla="*/ 3094052 w 4610101"/>
              <a:gd name="connsiteY21811" fmla="*/ 1125134 h 6557032"/>
              <a:gd name="connsiteX21812" fmla="*/ 3094052 w 4610101"/>
              <a:gd name="connsiteY21812" fmla="*/ 1132422 h 6557032"/>
              <a:gd name="connsiteX21813" fmla="*/ 3084941 w 4610101"/>
              <a:gd name="connsiteY21813" fmla="*/ 1134245 h 6557032"/>
              <a:gd name="connsiteX21814" fmla="*/ 3083119 w 4610101"/>
              <a:gd name="connsiteY21814" fmla="*/ 1141533 h 6557032"/>
              <a:gd name="connsiteX21815" fmla="*/ 3086763 w 4610101"/>
              <a:gd name="connsiteY21815" fmla="*/ 1145178 h 6557032"/>
              <a:gd name="connsiteX21816" fmla="*/ 3094052 w 4610101"/>
              <a:gd name="connsiteY21816" fmla="*/ 1145178 h 6557032"/>
              <a:gd name="connsiteX21817" fmla="*/ 3095874 w 4610101"/>
              <a:gd name="connsiteY21817" fmla="*/ 1137889 h 6557032"/>
              <a:gd name="connsiteX21818" fmla="*/ 3097696 w 4610101"/>
              <a:gd name="connsiteY21818" fmla="*/ 1143355 h 6557032"/>
              <a:gd name="connsiteX21819" fmla="*/ 3098152 w 4610101"/>
              <a:gd name="connsiteY21819" fmla="*/ 1125817 h 6557032"/>
              <a:gd name="connsiteX21820" fmla="*/ 3093962 w 4610101"/>
              <a:gd name="connsiteY21820" fmla="*/ 1115589 h 6557032"/>
              <a:gd name="connsiteX21821" fmla="*/ 3095874 w 4610101"/>
              <a:gd name="connsiteY21821" fmla="*/ 1115111 h 6557032"/>
              <a:gd name="connsiteX21822" fmla="*/ 3099518 w 4610101"/>
              <a:gd name="connsiteY21822" fmla="*/ 1119667 h 6557032"/>
              <a:gd name="connsiteX21823" fmla="*/ 3104985 w 4610101"/>
              <a:gd name="connsiteY21823" fmla="*/ 1106912 h 6557032"/>
              <a:gd name="connsiteX21824" fmla="*/ 3108629 w 4610101"/>
              <a:gd name="connsiteY21824" fmla="*/ 1109873 h 6557032"/>
              <a:gd name="connsiteX21825" fmla="*/ 3110725 w 4610101"/>
              <a:gd name="connsiteY21825" fmla="*/ 1112362 h 6557032"/>
              <a:gd name="connsiteX21826" fmla="*/ 3110451 w 4610101"/>
              <a:gd name="connsiteY21826" fmla="*/ 1112378 h 6557032"/>
              <a:gd name="connsiteX21827" fmla="*/ 3112274 w 4610101"/>
              <a:gd name="connsiteY21827" fmla="*/ 1114201 h 6557032"/>
              <a:gd name="connsiteX21828" fmla="*/ 3110725 w 4610101"/>
              <a:gd name="connsiteY21828" fmla="*/ 1112362 h 6557032"/>
              <a:gd name="connsiteX21829" fmla="*/ 3114323 w 4610101"/>
              <a:gd name="connsiteY21829" fmla="*/ 1112150 h 6557032"/>
              <a:gd name="connsiteX21830" fmla="*/ 3119562 w 4610101"/>
              <a:gd name="connsiteY21830" fmla="*/ 1110556 h 6557032"/>
              <a:gd name="connsiteX21831" fmla="*/ 3115918 w 4610101"/>
              <a:gd name="connsiteY21831" fmla="*/ 1101445 h 6557032"/>
              <a:gd name="connsiteX21832" fmla="*/ 3123206 w 4610101"/>
              <a:gd name="connsiteY21832" fmla="*/ 1103268 h 6557032"/>
              <a:gd name="connsiteX21833" fmla="*/ 3125029 w 4610101"/>
              <a:gd name="connsiteY21833" fmla="*/ 1095979 h 6557032"/>
              <a:gd name="connsiteX21834" fmla="*/ 3119562 w 4610101"/>
              <a:gd name="connsiteY21834" fmla="*/ 1090512 h 6557032"/>
              <a:gd name="connsiteX21835" fmla="*/ 3132317 w 4610101"/>
              <a:gd name="connsiteY21835" fmla="*/ 1077757 h 6557032"/>
              <a:gd name="connsiteX21836" fmla="*/ 3119562 w 4610101"/>
              <a:gd name="connsiteY21836" fmla="*/ 1072291 h 6557032"/>
              <a:gd name="connsiteX21837" fmla="*/ 3119562 w 4610101"/>
              <a:gd name="connsiteY21837" fmla="*/ 1077757 h 6557032"/>
              <a:gd name="connsiteX21838" fmla="*/ 3106807 w 4610101"/>
              <a:gd name="connsiteY21838" fmla="*/ 1074113 h 6557032"/>
              <a:gd name="connsiteX21839" fmla="*/ 3099518 w 4610101"/>
              <a:gd name="connsiteY21839" fmla="*/ 1075935 h 6557032"/>
              <a:gd name="connsiteX21840" fmla="*/ 3101340 w 4610101"/>
              <a:gd name="connsiteY21840" fmla="*/ 1079579 h 6557032"/>
              <a:gd name="connsiteX21841" fmla="*/ 3094052 w 4610101"/>
              <a:gd name="connsiteY21841" fmla="*/ 1077757 h 6557032"/>
              <a:gd name="connsiteX21842" fmla="*/ 3095874 w 4610101"/>
              <a:gd name="connsiteY21842" fmla="*/ 1081402 h 6557032"/>
              <a:gd name="connsiteX21843" fmla="*/ 3083119 w 4610101"/>
              <a:gd name="connsiteY21843" fmla="*/ 1079579 h 6557032"/>
              <a:gd name="connsiteX21844" fmla="*/ 3079474 w 4610101"/>
              <a:gd name="connsiteY21844" fmla="*/ 1092335 h 6557032"/>
              <a:gd name="connsiteX21845" fmla="*/ 3077652 w 4610101"/>
              <a:gd name="connsiteY21845" fmla="*/ 1081402 h 6557032"/>
              <a:gd name="connsiteX21846" fmla="*/ 3070363 w 4610101"/>
              <a:gd name="connsiteY21846" fmla="*/ 1077757 h 6557032"/>
              <a:gd name="connsiteX21847" fmla="*/ 3052142 w 4610101"/>
              <a:gd name="connsiteY21847" fmla="*/ 1088690 h 6557032"/>
              <a:gd name="connsiteX21848" fmla="*/ 3064897 w 4610101"/>
              <a:gd name="connsiteY21848" fmla="*/ 1072291 h 6557032"/>
              <a:gd name="connsiteX21849" fmla="*/ 3059430 w 4610101"/>
              <a:gd name="connsiteY21849" fmla="*/ 1043136 h 6557032"/>
              <a:gd name="connsiteX21850" fmla="*/ 3055786 w 4610101"/>
              <a:gd name="connsiteY21850" fmla="*/ 1063180 h 6557032"/>
              <a:gd name="connsiteX21851" fmla="*/ 3055786 w 4610101"/>
              <a:gd name="connsiteY21851" fmla="*/ 1057713 h 6557032"/>
              <a:gd name="connsiteX21852" fmla="*/ 3053964 w 4610101"/>
              <a:gd name="connsiteY21852" fmla="*/ 1041314 h 6557032"/>
              <a:gd name="connsiteX21853" fmla="*/ 3046675 w 4610101"/>
              <a:gd name="connsiteY21853" fmla="*/ 1039492 h 6557032"/>
              <a:gd name="connsiteX21854" fmla="*/ 3048497 w 4610101"/>
              <a:gd name="connsiteY21854" fmla="*/ 1044958 h 6557032"/>
              <a:gd name="connsiteX21855" fmla="*/ 3037564 w 4610101"/>
              <a:gd name="connsiteY21855" fmla="*/ 1034025 h 6557032"/>
              <a:gd name="connsiteX21856" fmla="*/ 3026631 w 4610101"/>
              <a:gd name="connsiteY21856" fmla="*/ 1039492 h 6557032"/>
              <a:gd name="connsiteX21857" fmla="*/ 3019343 w 4610101"/>
              <a:gd name="connsiteY21857" fmla="*/ 1026736 h 6557032"/>
              <a:gd name="connsiteX21858" fmla="*/ 3017521 w 4610101"/>
              <a:gd name="connsiteY21858" fmla="*/ 1035847 h 6557032"/>
              <a:gd name="connsiteX21859" fmla="*/ 3010687 w 4610101"/>
              <a:gd name="connsiteY21859" fmla="*/ 1031747 h 6557032"/>
              <a:gd name="connsiteX21860" fmla="*/ 3008260 w 4610101"/>
              <a:gd name="connsiteY21860" fmla="*/ 1027701 h 6557032"/>
              <a:gd name="connsiteX21861" fmla="*/ 3007300 w 4610101"/>
              <a:gd name="connsiteY21861" fmla="*/ 1022238 h 6557032"/>
              <a:gd name="connsiteX21862" fmla="*/ 2986543 w 4610101"/>
              <a:gd name="connsiteY21862" fmla="*/ 1017625 h 6557032"/>
              <a:gd name="connsiteX21863" fmla="*/ 2992010 w 4610101"/>
              <a:gd name="connsiteY21863" fmla="*/ 1015803 h 6557032"/>
              <a:gd name="connsiteX21864" fmla="*/ 2981077 w 4610101"/>
              <a:gd name="connsiteY21864" fmla="*/ 1010337 h 6557032"/>
              <a:gd name="connsiteX21865" fmla="*/ 2984721 w 4610101"/>
              <a:gd name="connsiteY21865" fmla="*/ 1017625 h 6557032"/>
              <a:gd name="connsiteX21866" fmla="*/ 2975610 w 4610101"/>
              <a:gd name="connsiteY21866" fmla="*/ 1017625 h 6557032"/>
              <a:gd name="connsiteX21867" fmla="*/ 2977432 w 4610101"/>
              <a:gd name="connsiteY21867" fmla="*/ 1008515 h 6557032"/>
              <a:gd name="connsiteX21868" fmla="*/ 2970827 w 4610101"/>
              <a:gd name="connsiteY21868" fmla="*/ 1008059 h 6557032"/>
              <a:gd name="connsiteX21869" fmla="*/ 531814 w 4610101"/>
              <a:gd name="connsiteY21869" fmla="*/ 1007778 h 6557032"/>
              <a:gd name="connsiteX21870" fmla="*/ 531976 w 4610101"/>
              <a:gd name="connsiteY21870" fmla="*/ 1007891 h 6557032"/>
              <a:gd name="connsiteX21871" fmla="*/ 531847 w 4610101"/>
              <a:gd name="connsiteY21871" fmla="*/ 1007831 h 6557032"/>
              <a:gd name="connsiteX21872" fmla="*/ 779892 w 4610101"/>
              <a:gd name="connsiteY21872" fmla="*/ 1006741 h 6557032"/>
              <a:gd name="connsiteX21873" fmla="*/ 783535 w 4610101"/>
              <a:gd name="connsiteY21873" fmla="*/ 1028608 h 6557032"/>
              <a:gd name="connsiteX21874" fmla="*/ 779892 w 4610101"/>
              <a:gd name="connsiteY21874" fmla="*/ 1006741 h 6557032"/>
              <a:gd name="connsiteX21875" fmla="*/ 3398355 w 4610101"/>
              <a:gd name="connsiteY21875" fmla="*/ 1006692 h 6557032"/>
              <a:gd name="connsiteX21876" fmla="*/ 3385600 w 4610101"/>
              <a:gd name="connsiteY21876" fmla="*/ 1010337 h 6557032"/>
              <a:gd name="connsiteX21877" fmla="*/ 3396532 w 4610101"/>
              <a:gd name="connsiteY21877" fmla="*/ 1024914 h 6557032"/>
              <a:gd name="connsiteX21878" fmla="*/ 3405643 w 4610101"/>
              <a:gd name="connsiteY21878" fmla="*/ 1012159 h 6557032"/>
              <a:gd name="connsiteX21879" fmla="*/ 3396532 w 4610101"/>
              <a:gd name="connsiteY21879" fmla="*/ 1012159 h 6557032"/>
              <a:gd name="connsiteX21880" fmla="*/ 3398355 w 4610101"/>
              <a:gd name="connsiteY21880" fmla="*/ 1006692 h 6557032"/>
              <a:gd name="connsiteX21881" fmla="*/ 3072186 w 4610101"/>
              <a:gd name="connsiteY21881" fmla="*/ 1006692 h 6557032"/>
              <a:gd name="connsiteX21882" fmla="*/ 3072186 w 4610101"/>
              <a:gd name="connsiteY21882" fmla="*/ 1015803 h 6557032"/>
              <a:gd name="connsiteX21883" fmla="*/ 3072186 w 4610101"/>
              <a:gd name="connsiteY21883" fmla="*/ 1006692 h 6557032"/>
              <a:gd name="connsiteX21884" fmla="*/ 1084194 w 4610101"/>
              <a:gd name="connsiteY21884" fmla="*/ 1006692 h 6557032"/>
              <a:gd name="connsiteX21885" fmla="*/ 1082373 w 4610101"/>
              <a:gd name="connsiteY21885" fmla="*/ 1015803 h 6557032"/>
              <a:gd name="connsiteX21886" fmla="*/ 1084194 w 4610101"/>
              <a:gd name="connsiteY21886" fmla="*/ 1012159 h 6557032"/>
              <a:gd name="connsiteX21887" fmla="*/ 1084194 w 4610101"/>
              <a:gd name="connsiteY21887" fmla="*/ 1018991 h 6557032"/>
              <a:gd name="connsiteX21888" fmla="*/ 1082371 w 4610101"/>
              <a:gd name="connsiteY21888" fmla="*/ 1024003 h 6557032"/>
              <a:gd name="connsiteX21889" fmla="*/ 1083384 w 4610101"/>
              <a:gd name="connsiteY21889" fmla="*/ 1029571 h 6557032"/>
              <a:gd name="connsiteX21890" fmla="*/ 1082373 w 4610101"/>
              <a:gd name="connsiteY21890" fmla="*/ 1028559 h 6557032"/>
              <a:gd name="connsiteX21891" fmla="*/ 1084194 w 4610101"/>
              <a:gd name="connsiteY21891" fmla="*/ 1034025 h 6557032"/>
              <a:gd name="connsiteX21892" fmla="*/ 1083384 w 4610101"/>
              <a:gd name="connsiteY21892" fmla="*/ 1029571 h 6557032"/>
              <a:gd name="connsiteX21893" fmla="*/ 1084194 w 4610101"/>
              <a:gd name="connsiteY21893" fmla="*/ 1030381 h 6557032"/>
              <a:gd name="connsiteX21894" fmla="*/ 1084194 w 4610101"/>
              <a:gd name="connsiteY21894" fmla="*/ 1021270 h 6557032"/>
              <a:gd name="connsiteX21895" fmla="*/ 1084194 w 4610101"/>
              <a:gd name="connsiteY21895" fmla="*/ 1018991 h 6557032"/>
              <a:gd name="connsiteX21896" fmla="*/ 1086016 w 4610101"/>
              <a:gd name="connsiteY21896" fmla="*/ 1013981 h 6557032"/>
              <a:gd name="connsiteX21897" fmla="*/ 1084194 w 4610101"/>
              <a:gd name="connsiteY21897" fmla="*/ 1012159 h 6557032"/>
              <a:gd name="connsiteX21898" fmla="*/ 1064151 w 4610101"/>
              <a:gd name="connsiteY21898" fmla="*/ 1006692 h 6557032"/>
              <a:gd name="connsiteX21899" fmla="*/ 1058683 w 4610101"/>
              <a:gd name="connsiteY21899" fmla="*/ 1010337 h 6557032"/>
              <a:gd name="connsiteX21900" fmla="*/ 1045929 w 4610101"/>
              <a:gd name="connsiteY21900" fmla="*/ 1017625 h 6557032"/>
              <a:gd name="connsiteX21901" fmla="*/ 1042284 w 4610101"/>
              <a:gd name="connsiteY21901" fmla="*/ 1026736 h 6557032"/>
              <a:gd name="connsiteX21902" fmla="*/ 1053217 w 4610101"/>
              <a:gd name="connsiteY21902" fmla="*/ 1024914 h 6557032"/>
              <a:gd name="connsiteX21903" fmla="*/ 1055040 w 4610101"/>
              <a:gd name="connsiteY21903" fmla="*/ 1028559 h 6557032"/>
              <a:gd name="connsiteX21904" fmla="*/ 1053217 w 4610101"/>
              <a:gd name="connsiteY21904" fmla="*/ 1021270 h 6557032"/>
              <a:gd name="connsiteX21905" fmla="*/ 1055040 w 4610101"/>
              <a:gd name="connsiteY21905" fmla="*/ 1017625 h 6557032"/>
              <a:gd name="connsiteX21906" fmla="*/ 1060506 w 4610101"/>
              <a:gd name="connsiteY21906" fmla="*/ 1021270 h 6557032"/>
              <a:gd name="connsiteX21907" fmla="*/ 1060506 w 4610101"/>
              <a:gd name="connsiteY21907" fmla="*/ 1017625 h 6557032"/>
              <a:gd name="connsiteX21908" fmla="*/ 1064151 w 4610101"/>
              <a:gd name="connsiteY21908" fmla="*/ 1023092 h 6557032"/>
              <a:gd name="connsiteX21909" fmla="*/ 1065607 w 4610101"/>
              <a:gd name="connsiteY21909" fmla="*/ 1017260 h 6557032"/>
              <a:gd name="connsiteX21910" fmla="*/ 1071439 w 4610101"/>
              <a:gd name="connsiteY21910" fmla="*/ 1023092 h 6557032"/>
              <a:gd name="connsiteX21911" fmla="*/ 1067794 w 4610101"/>
              <a:gd name="connsiteY21911" fmla="*/ 1013981 h 6557032"/>
              <a:gd name="connsiteX21912" fmla="*/ 1064151 w 4610101"/>
              <a:gd name="connsiteY21912" fmla="*/ 1015803 h 6557032"/>
              <a:gd name="connsiteX21913" fmla="*/ 1062328 w 4610101"/>
              <a:gd name="connsiteY21913" fmla="*/ 1015803 h 6557032"/>
              <a:gd name="connsiteX21914" fmla="*/ 1064151 w 4610101"/>
              <a:gd name="connsiteY21914" fmla="*/ 1012159 h 6557032"/>
              <a:gd name="connsiteX21915" fmla="*/ 1064151 w 4610101"/>
              <a:gd name="connsiteY21915" fmla="*/ 1006692 h 6557032"/>
              <a:gd name="connsiteX21916" fmla="*/ 867355 w 4610101"/>
              <a:gd name="connsiteY21916" fmla="*/ 1006692 h 6557032"/>
              <a:gd name="connsiteX21917" fmla="*/ 887399 w 4610101"/>
              <a:gd name="connsiteY21917" fmla="*/ 1046780 h 6557032"/>
              <a:gd name="connsiteX21918" fmla="*/ 878288 w 4610101"/>
              <a:gd name="connsiteY21918" fmla="*/ 1013981 h 6557032"/>
              <a:gd name="connsiteX21919" fmla="*/ 867355 w 4610101"/>
              <a:gd name="connsiteY21919" fmla="*/ 1006692 h 6557032"/>
              <a:gd name="connsiteX21920" fmla="*/ 725226 w 4610101"/>
              <a:gd name="connsiteY21920" fmla="*/ 1006692 h 6557032"/>
              <a:gd name="connsiteX21921" fmla="*/ 727048 w 4610101"/>
              <a:gd name="connsiteY21921" fmla="*/ 1028559 h 6557032"/>
              <a:gd name="connsiteX21922" fmla="*/ 730692 w 4610101"/>
              <a:gd name="connsiteY21922" fmla="*/ 1012159 h 6557032"/>
              <a:gd name="connsiteX21923" fmla="*/ 725226 w 4610101"/>
              <a:gd name="connsiteY21923" fmla="*/ 1006692 h 6557032"/>
              <a:gd name="connsiteX21924" fmla="*/ 577630 w 4610101"/>
              <a:gd name="connsiteY21924" fmla="*/ 1006692 h 6557032"/>
              <a:gd name="connsiteX21925" fmla="*/ 583096 w 4610101"/>
              <a:gd name="connsiteY21925" fmla="*/ 1012159 h 6557032"/>
              <a:gd name="connsiteX21926" fmla="*/ 584919 w 4610101"/>
              <a:gd name="connsiteY21926" fmla="*/ 1010337 h 6557032"/>
              <a:gd name="connsiteX21927" fmla="*/ 577630 w 4610101"/>
              <a:gd name="connsiteY21927" fmla="*/ 1006692 h 6557032"/>
              <a:gd name="connsiteX21928" fmla="*/ 382657 w 4610101"/>
              <a:gd name="connsiteY21928" fmla="*/ 1006692 h 6557032"/>
              <a:gd name="connsiteX21929" fmla="*/ 386301 w 4610101"/>
              <a:gd name="connsiteY21929" fmla="*/ 1010337 h 6557032"/>
              <a:gd name="connsiteX21930" fmla="*/ 382657 w 4610101"/>
              <a:gd name="connsiteY21930" fmla="*/ 1006692 h 6557032"/>
              <a:gd name="connsiteX21931" fmla="*/ 375368 w 4610101"/>
              <a:gd name="connsiteY21931" fmla="*/ 1006692 h 6557032"/>
              <a:gd name="connsiteX21932" fmla="*/ 373546 w 4610101"/>
              <a:gd name="connsiteY21932" fmla="*/ 1010337 h 6557032"/>
              <a:gd name="connsiteX21933" fmla="*/ 377190 w 4610101"/>
              <a:gd name="connsiteY21933" fmla="*/ 1010564 h 6557032"/>
              <a:gd name="connsiteX21934" fmla="*/ 377190 w 4610101"/>
              <a:gd name="connsiteY21934" fmla="*/ 1012159 h 6557032"/>
              <a:gd name="connsiteX21935" fmla="*/ 379012 w 4610101"/>
              <a:gd name="connsiteY21935" fmla="*/ 1010337 h 6557032"/>
              <a:gd name="connsiteX21936" fmla="*/ 377190 w 4610101"/>
              <a:gd name="connsiteY21936" fmla="*/ 1008515 h 6557032"/>
              <a:gd name="connsiteX21937" fmla="*/ 377190 w 4610101"/>
              <a:gd name="connsiteY21937" fmla="*/ 1010564 h 6557032"/>
              <a:gd name="connsiteX21938" fmla="*/ 375368 w 4610101"/>
              <a:gd name="connsiteY21938" fmla="*/ 1006692 h 6557032"/>
              <a:gd name="connsiteX21939" fmla="*/ 1178947 w 4610101"/>
              <a:gd name="connsiteY21939" fmla="*/ 1006645 h 6557032"/>
              <a:gd name="connsiteX21940" fmla="*/ 1178947 w 4610101"/>
              <a:gd name="connsiteY21940" fmla="*/ 1006692 h 6557032"/>
              <a:gd name="connsiteX21941" fmla="*/ 1178923 w 4610101"/>
              <a:gd name="connsiteY21941" fmla="*/ 1006692 h 6557032"/>
              <a:gd name="connsiteX21942" fmla="*/ 1165463 w 4610101"/>
              <a:gd name="connsiteY21942" fmla="*/ 1005963 h 6557032"/>
              <a:gd name="connsiteX21943" fmla="*/ 1166192 w 4610101"/>
              <a:gd name="connsiteY21943" fmla="*/ 1006692 h 6557032"/>
              <a:gd name="connsiteX21944" fmla="*/ 1165318 w 4610101"/>
              <a:gd name="connsiteY21944" fmla="*/ 1011759 h 6557032"/>
              <a:gd name="connsiteX21945" fmla="*/ 1164370 w 4610101"/>
              <a:gd name="connsiteY21945" fmla="*/ 1010337 h 6557032"/>
              <a:gd name="connsiteX21946" fmla="*/ 909479 w 4610101"/>
              <a:gd name="connsiteY21946" fmla="*/ 1005620 h 6557032"/>
              <a:gd name="connsiteX21947" fmla="*/ 909720 w 4610101"/>
              <a:gd name="connsiteY21947" fmla="*/ 1006464 h 6557032"/>
              <a:gd name="connsiteX21948" fmla="*/ 909265 w 4610101"/>
              <a:gd name="connsiteY21948" fmla="*/ 1006692 h 6557032"/>
              <a:gd name="connsiteX21949" fmla="*/ 3325165 w 4610101"/>
              <a:gd name="connsiteY21949" fmla="*/ 1004870 h 6557032"/>
              <a:gd name="connsiteX21950" fmla="*/ 3325468 w 4610101"/>
              <a:gd name="connsiteY21950" fmla="*/ 1004870 h 6557032"/>
              <a:gd name="connsiteX21951" fmla="*/ 3324740 w 4610101"/>
              <a:gd name="connsiteY21951" fmla="*/ 1005598 h 6557032"/>
              <a:gd name="connsiteX21952" fmla="*/ 3010232 w 4610101"/>
              <a:gd name="connsiteY21952" fmla="*/ 1004870 h 6557032"/>
              <a:gd name="connsiteX21953" fmla="*/ 2997477 w 4610101"/>
              <a:gd name="connsiteY21953" fmla="*/ 1010337 h 6557032"/>
              <a:gd name="connsiteX21954" fmla="*/ 3015698 w 4610101"/>
              <a:gd name="connsiteY21954" fmla="*/ 1017625 h 6557032"/>
              <a:gd name="connsiteX21955" fmla="*/ 3010232 w 4610101"/>
              <a:gd name="connsiteY21955" fmla="*/ 1004870 h 6557032"/>
              <a:gd name="connsiteX21956" fmla="*/ 1104238 w 4610101"/>
              <a:gd name="connsiteY21956" fmla="*/ 1004870 h 6557032"/>
              <a:gd name="connsiteX21957" fmla="*/ 1098771 w 4610101"/>
              <a:gd name="connsiteY21957" fmla="*/ 1006692 h 6557032"/>
              <a:gd name="connsiteX21958" fmla="*/ 1106060 w 4610101"/>
              <a:gd name="connsiteY21958" fmla="*/ 1012159 h 6557032"/>
              <a:gd name="connsiteX21959" fmla="*/ 1089660 w 4610101"/>
              <a:gd name="connsiteY21959" fmla="*/ 1010337 h 6557032"/>
              <a:gd name="connsiteX21960" fmla="*/ 1086016 w 4610101"/>
              <a:gd name="connsiteY21960" fmla="*/ 1024914 h 6557032"/>
              <a:gd name="connsiteX21961" fmla="*/ 1089660 w 4610101"/>
              <a:gd name="connsiteY21961" fmla="*/ 1024914 h 6557032"/>
              <a:gd name="connsiteX21962" fmla="*/ 1087838 w 4610101"/>
              <a:gd name="connsiteY21962" fmla="*/ 1037669 h 6557032"/>
              <a:gd name="connsiteX21963" fmla="*/ 1096949 w 4610101"/>
              <a:gd name="connsiteY21963" fmla="*/ 1043136 h 6557032"/>
              <a:gd name="connsiteX21964" fmla="*/ 1102416 w 4610101"/>
              <a:gd name="connsiteY21964" fmla="*/ 1037669 h 6557032"/>
              <a:gd name="connsiteX21965" fmla="*/ 1100593 w 4610101"/>
              <a:gd name="connsiteY21965" fmla="*/ 1035847 h 6557032"/>
              <a:gd name="connsiteX21966" fmla="*/ 1104238 w 4610101"/>
              <a:gd name="connsiteY21966" fmla="*/ 1035847 h 6557032"/>
              <a:gd name="connsiteX21967" fmla="*/ 1104238 w 4610101"/>
              <a:gd name="connsiteY21967" fmla="*/ 1034025 h 6557032"/>
              <a:gd name="connsiteX21968" fmla="*/ 1107882 w 4610101"/>
              <a:gd name="connsiteY21968" fmla="*/ 1030381 h 6557032"/>
              <a:gd name="connsiteX21969" fmla="*/ 1104238 w 4610101"/>
              <a:gd name="connsiteY21969" fmla="*/ 1034025 h 6557032"/>
              <a:gd name="connsiteX21970" fmla="*/ 1104238 w 4610101"/>
              <a:gd name="connsiteY21970" fmla="*/ 1028559 h 6557032"/>
              <a:gd name="connsiteX21971" fmla="*/ 1107882 w 4610101"/>
              <a:gd name="connsiteY21971" fmla="*/ 1021270 h 6557032"/>
              <a:gd name="connsiteX21972" fmla="*/ 1111526 w 4610101"/>
              <a:gd name="connsiteY21972" fmla="*/ 1034025 h 6557032"/>
              <a:gd name="connsiteX21973" fmla="*/ 1098771 w 4610101"/>
              <a:gd name="connsiteY21973" fmla="*/ 1043136 h 6557032"/>
              <a:gd name="connsiteX21974" fmla="*/ 1111526 w 4610101"/>
              <a:gd name="connsiteY21974" fmla="*/ 1041314 h 6557032"/>
              <a:gd name="connsiteX21975" fmla="*/ 1111526 w 4610101"/>
              <a:gd name="connsiteY21975" fmla="*/ 1034025 h 6557032"/>
              <a:gd name="connsiteX21976" fmla="*/ 1111526 w 4610101"/>
              <a:gd name="connsiteY21976" fmla="*/ 1030381 h 6557032"/>
              <a:gd name="connsiteX21977" fmla="*/ 1115171 w 4610101"/>
              <a:gd name="connsiteY21977" fmla="*/ 1034025 h 6557032"/>
              <a:gd name="connsiteX21978" fmla="*/ 1116993 w 4610101"/>
              <a:gd name="connsiteY21978" fmla="*/ 1032203 h 6557032"/>
              <a:gd name="connsiteX21979" fmla="*/ 1124282 w 4610101"/>
              <a:gd name="connsiteY21979" fmla="*/ 1037669 h 6557032"/>
              <a:gd name="connsiteX21980" fmla="*/ 1113349 w 4610101"/>
              <a:gd name="connsiteY21980" fmla="*/ 1017625 h 6557032"/>
              <a:gd name="connsiteX21981" fmla="*/ 1106060 w 4610101"/>
              <a:gd name="connsiteY21981" fmla="*/ 1006692 h 6557032"/>
              <a:gd name="connsiteX21982" fmla="*/ 1104238 w 4610101"/>
              <a:gd name="connsiteY21982" fmla="*/ 1004870 h 6557032"/>
              <a:gd name="connsiteX21983" fmla="*/ 1071439 w 4610101"/>
              <a:gd name="connsiteY21983" fmla="*/ 1004870 h 6557032"/>
              <a:gd name="connsiteX21984" fmla="*/ 1069616 w 4610101"/>
              <a:gd name="connsiteY21984" fmla="*/ 1006692 h 6557032"/>
              <a:gd name="connsiteX21985" fmla="*/ 1069616 w 4610101"/>
              <a:gd name="connsiteY21985" fmla="*/ 1012159 h 6557032"/>
              <a:gd name="connsiteX21986" fmla="*/ 1071439 w 4610101"/>
              <a:gd name="connsiteY21986" fmla="*/ 1010337 h 6557032"/>
              <a:gd name="connsiteX21987" fmla="*/ 1069616 w 4610101"/>
              <a:gd name="connsiteY21987" fmla="*/ 1006692 h 6557032"/>
              <a:gd name="connsiteX21988" fmla="*/ 1071439 w 4610101"/>
              <a:gd name="connsiteY21988" fmla="*/ 1008515 h 6557032"/>
              <a:gd name="connsiteX21989" fmla="*/ 1071439 w 4610101"/>
              <a:gd name="connsiteY21989" fmla="*/ 1004870 h 6557032"/>
              <a:gd name="connsiteX21990" fmla="*/ 925666 w 4610101"/>
              <a:gd name="connsiteY21990" fmla="*/ 1004870 h 6557032"/>
              <a:gd name="connsiteX21991" fmla="*/ 923843 w 4610101"/>
              <a:gd name="connsiteY21991" fmla="*/ 1017625 h 6557032"/>
              <a:gd name="connsiteX21992" fmla="*/ 925666 w 4610101"/>
              <a:gd name="connsiteY21992" fmla="*/ 1004870 h 6557032"/>
              <a:gd name="connsiteX21993" fmla="*/ 741626 w 4610101"/>
              <a:gd name="connsiteY21993" fmla="*/ 1004870 h 6557032"/>
              <a:gd name="connsiteX21994" fmla="*/ 747091 w 4610101"/>
              <a:gd name="connsiteY21994" fmla="*/ 1006464 h 6557032"/>
              <a:gd name="connsiteX21995" fmla="*/ 747091 w 4610101"/>
              <a:gd name="connsiteY21995" fmla="*/ 1007213 h 6557032"/>
              <a:gd name="connsiteX21996" fmla="*/ 732515 w 4610101"/>
              <a:gd name="connsiteY21996" fmla="*/ 1004870 h 6557032"/>
              <a:gd name="connsiteX21997" fmla="*/ 743569 w 4610101"/>
              <a:gd name="connsiteY21997" fmla="*/ 1011187 h 6557032"/>
              <a:gd name="connsiteX21998" fmla="*/ 741626 w 4610101"/>
              <a:gd name="connsiteY21998" fmla="*/ 1012159 h 6557032"/>
              <a:gd name="connsiteX21999" fmla="*/ 734115 w 4610101"/>
              <a:gd name="connsiteY21999" fmla="*/ 1008744 h 6557032"/>
              <a:gd name="connsiteX22000" fmla="*/ 521142 w 4610101"/>
              <a:gd name="connsiteY22000" fmla="*/ 1004870 h 6557032"/>
              <a:gd name="connsiteX22001" fmla="*/ 522964 w 4610101"/>
              <a:gd name="connsiteY22001" fmla="*/ 1008515 h 6557032"/>
              <a:gd name="connsiteX22002" fmla="*/ 522594 w 4610101"/>
              <a:gd name="connsiteY22002" fmla="*/ 1014009 h 6557032"/>
              <a:gd name="connsiteX22003" fmla="*/ 523021 w 4610101"/>
              <a:gd name="connsiteY22003" fmla="*/ 1014440 h 6557032"/>
              <a:gd name="connsiteX22004" fmla="*/ 524786 w 4610101"/>
              <a:gd name="connsiteY22004" fmla="*/ 1028559 h 6557032"/>
              <a:gd name="connsiteX22005" fmla="*/ 532075 w 4610101"/>
              <a:gd name="connsiteY22005" fmla="*/ 1030381 h 6557032"/>
              <a:gd name="connsiteX22006" fmla="*/ 532075 w 4610101"/>
              <a:gd name="connsiteY22006" fmla="*/ 1024914 h 6557032"/>
              <a:gd name="connsiteX22007" fmla="*/ 539105 w 4610101"/>
              <a:gd name="connsiteY22007" fmla="*/ 1026671 h 6557032"/>
              <a:gd name="connsiteX22008" fmla="*/ 548475 w 4610101"/>
              <a:gd name="connsiteY22008" fmla="*/ 1032203 h 6557032"/>
              <a:gd name="connsiteX22009" fmla="*/ 552119 w 4610101"/>
              <a:gd name="connsiteY22009" fmla="*/ 1028559 h 6557032"/>
              <a:gd name="connsiteX22010" fmla="*/ 544830 w 4610101"/>
              <a:gd name="connsiteY22010" fmla="*/ 1024914 h 6557032"/>
              <a:gd name="connsiteX22011" fmla="*/ 546653 w 4610101"/>
              <a:gd name="connsiteY22011" fmla="*/ 1024914 h 6557032"/>
              <a:gd name="connsiteX22012" fmla="*/ 521142 w 4610101"/>
              <a:gd name="connsiteY22012" fmla="*/ 1004870 h 6557032"/>
              <a:gd name="connsiteX22013" fmla="*/ 3106807 w 4610101"/>
              <a:gd name="connsiteY22013" fmla="*/ 1003047 h 6557032"/>
              <a:gd name="connsiteX22014" fmla="*/ 3123206 w 4610101"/>
              <a:gd name="connsiteY22014" fmla="*/ 1026736 h 6557032"/>
              <a:gd name="connsiteX22015" fmla="*/ 3145073 w 4610101"/>
              <a:gd name="connsiteY22015" fmla="*/ 1028559 h 6557032"/>
              <a:gd name="connsiteX22016" fmla="*/ 3141428 w 4610101"/>
              <a:gd name="connsiteY22016" fmla="*/ 1012159 h 6557032"/>
              <a:gd name="connsiteX22017" fmla="*/ 3134140 w 4610101"/>
              <a:gd name="connsiteY22017" fmla="*/ 1021270 h 6557032"/>
              <a:gd name="connsiteX22018" fmla="*/ 3134140 w 4610101"/>
              <a:gd name="connsiteY22018" fmla="*/ 1010337 h 6557032"/>
              <a:gd name="connsiteX22019" fmla="*/ 3106807 w 4610101"/>
              <a:gd name="connsiteY22019" fmla="*/ 1003047 h 6557032"/>
              <a:gd name="connsiteX22020" fmla="*/ 1175303 w 4610101"/>
              <a:gd name="connsiteY22020" fmla="*/ 1003047 h 6557032"/>
              <a:gd name="connsiteX22021" fmla="*/ 1180769 w 4610101"/>
              <a:gd name="connsiteY22021" fmla="*/ 1003047 h 6557032"/>
              <a:gd name="connsiteX22022" fmla="*/ 1178947 w 4610101"/>
              <a:gd name="connsiteY22022" fmla="*/ 1006645 h 6557032"/>
              <a:gd name="connsiteX22023" fmla="*/ 1178947 w 4610101"/>
              <a:gd name="connsiteY22023" fmla="*/ 1004870 h 6557032"/>
              <a:gd name="connsiteX22024" fmla="*/ 1175303 w 4610101"/>
              <a:gd name="connsiteY22024" fmla="*/ 1003047 h 6557032"/>
              <a:gd name="connsiteX22025" fmla="*/ 1111526 w 4610101"/>
              <a:gd name="connsiteY22025" fmla="*/ 1003047 h 6557032"/>
              <a:gd name="connsiteX22026" fmla="*/ 1113349 w 4610101"/>
              <a:gd name="connsiteY22026" fmla="*/ 1010337 h 6557032"/>
              <a:gd name="connsiteX22027" fmla="*/ 1107882 w 4610101"/>
              <a:gd name="connsiteY22027" fmla="*/ 1004870 h 6557032"/>
              <a:gd name="connsiteX22028" fmla="*/ 1122459 w 4610101"/>
              <a:gd name="connsiteY22028" fmla="*/ 1026736 h 6557032"/>
              <a:gd name="connsiteX22029" fmla="*/ 1126104 w 4610101"/>
              <a:gd name="connsiteY22029" fmla="*/ 1035847 h 6557032"/>
              <a:gd name="connsiteX22030" fmla="*/ 1126104 w 4610101"/>
              <a:gd name="connsiteY22030" fmla="*/ 1028559 h 6557032"/>
              <a:gd name="connsiteX22031" fmla="*/ 1124282 w 4610101"/>
              <a:gd name="connsiteY22031" fmla="*/ 1019448 h 6557032"/>
              <a:gd name="connsiteX22032" fmla="*/ 1127926 w 4610101"/>
              <a:gd name="connsiteY22032" fmla="*/ 1017625 h 6557032"/>
              <a:gd name="connsiteX22033" fmla="*/ 1126104 w 4610101"/>
              <a:gd name="connsiteY22033" fmla="*/ 1004870 h 6557032"/>
              <a:gd name="connsiteX22034" fmla="*/ 1111526 w 4610101"/>
              <a:gd name="connsiteY22034" fmla="*/ 1003047 h 6557032"/>
              <a:gd name="connsiteX22035" fmla="*/ 1045929 w 4610101"/>
              <a:gd name="connsiteY22035" fmla="*/ 1003047 h 6557032"/>
              <a:gd name="connsiteX22036" fmla="*/ 1034995 w 4610101"/>
              <a:gd name="connsiteY22036" fmla="*/ 1008515 h 6557032"/>
              <a:gd name="connsiteX22037" fmla="*/ 1036818 w 4610101"/>
              <a:gd name="connsiteY22037" fmla="*/ 1012159 h 6557032"/>
              <a:gd name="connsiteX22038" fmla="*/ 1045929 w 4610101"/>
              <a:gd name="connsiteY22038" fmla="*/ 1003047 h 6557032"/>
              <a:gd name="connsiteX22039" fmla="*/ 1018596 w 4610101"/>
              <a:gd name="connsiteY22039" fmla="*/ 1003047 h 6557032"/>
              <a:gd name="connsiteX22040" fmla="*/ 1016774 w 4610101"/>
              <a:gd name="connsiteY22040" fmla="*/ 1006692 h 6557032"/>
              <a:gd name="connsiteX22041" fmla="*/ 1016774 w 4610101"/>
              <a:gd name="connsiteY22041" fmla="*/ 1008515 h 6557032"/>
              <a:gd name="connsiteX22042" fmla="*/ 1018596 w 4610101"/>
              <a:gd name="connsiteY22042" fmla="*/ 1003047 h 6557032"/>
              <a:gd name="connsiteX22043" fmla="*/ 699715 w 4610101"/>
              <a:gd name="connsiteY22043" fmla="*/ 1003047 h 6557032"/>
              <a:gd name="connsiteX22044" fmla="*/ 701537 w 4610101"/>
              <a:gd name="connsiteY22044" fmla="*/ 1006692 h 6557032"/>
              <a:gd name="connsiteX22045" fmla="*/ 699715 w 4610101"/>
              <a:gd name="connsiteY22045" fmla="*/ 1003047 h 6557032"/>
              <a:gd name="connsiteX22046" fmla="*/ 635939 w 4610101"/>
              <a:gd name="connsiteY22046" fmla="*/ 1003047 h 6557032"/>
              <a:gd name="connsiteX22047" fmla="*/ 639583 w 4610101"/>
              <a:gd name="connsiteY22047" fmla="*/ 1008515 h 6557032"/>
              <a:gd name="connsiteX22048" fmla="*/ 635939 w 4610101"/>
              <a:gd name="connsiteY22048" fmla="*/ 1003047 h 6557032"/>
              <a:gd name="connsiteX22049" fmla="*/ 169462 w 4610101"/>
              <a:gd name="connsiteY22049" fmla="*/ 1003047 h 6557032"/>
              <a:gd name="connsiteX22050" fmla="*/ 187684 w 4610101"/>
              <a:gd name="connsiteY22050" fmla="*/ 1013981 h 6557032"/>
              <a:gd name="connsiteX22051" fmla="*/ 169462 w 4610101"/>
              <a:gd name="connsiteY22051" fmla="*/ 1003047 h 6557032"/>
              <a:gd name="connsiteX22052" fmla="*/ 3361911 w 4610101"/>
              <a:gd name="connsiteY22052" fmla="*/ 1001226 h 6557032"/>
              <a:gd name="connsiteX22053" fmla="*/ 3356445 w 4610101"/>
              <a:gd name="connsiteY22053" fmla="*/ 1006692 h 6557032"/>
              <a:gd name="connsiteX22054" fmla="*/ 3361911 w 4610101"/>
              <a:gd name="connsiteY22054" fmla="*/ 1001226 h 6557032"/>
              <a:gd name="connsiteX22055" fmla="*/ 3341867 w 4610101"/>
              <a:gd name="connsiteY22055" fmla="*/ 1001226 h 6557032"/>
              <a:gd name="connsiteX22056" fmla="*/ 3342146 w 4610101"/>
              <a:gd name="connsiteY22056" fmla="*/ 1001756 h 6557032"/>
              <a:gd name="connsiteX22057" fmla="*/ 3341585 w 4610101"/>
              <a:gd name="connsiteY22057" fmla="*/ 1001789 h 6557032"/>
              <a:gd name="connsiteX22058" fmla="*/ 506565 w 4610101"/>
              <a:gd name="connsiteY22058" fmla="*/ 1001226 h 6557032"/>
              <a:gd name="connsiteX22059" fmla="*/ 510209 w 4610101"/>
              <a:gd name="connsiteY22059" fmla="*/ 1010337 h 6557032"/>
              <a:gd name="connsiteX22060" fmla="*/ 506565 w 4610101"/>
              <a:gd name="connsiteY22060" fmla="*/ 1001226 h 6557032"/>
              <a:gd name="connsiteX22061" fmla="*/ 318882 w 4610101"/>
              <a:gd name="connsiteY22061" fmla="*/ 1001226 h 6557032"/>
              <a:gd name="connsiteX22062" fmla="*/ 322525 w 4610101"/>
              <a:gd name="connsiteY22062" fmla="*/ 1004870 h 6557032"/>
              <a:gd name="connsiteX22063" fmla="*/ 318882 w 4610101"/>
              <a:gd name="connsiteY22063" fmla="*/ 1001226 h 6557032"/>
              <a:gd name="connsiteX22064" fmla="*/ 229594 w 4610101"/>
              <a:gd name="connsiteY22064" fmla="*/ 1001226 h 6557032"/>
              <a:gd name="connsiteX22065" fmla="*/ 244172 w 4610101"/>
              <a:gd name="connsiteY22065" fmla="*/ 1010337 h 6557032"/>
              <a:gd name="connsiteX22066" fmla="*/ 240528 w 4610101"/>
              <a:gd name="connsiteY22066" fmla="*/ 1006693 h 6557032"/>
              <a:gd name="connsiteX22067" fmla="*/ 247816 w 4610101"/>
              <a:gd name="connsiteY22067" fmla="*/ 1010337 h 6557032"/>
              <a:gd name="connsiteX22068" fmla="*/ 240527 w 4610101"/>
              <a:gd name="connsiteY22068" fmla="*/ 1006692 h 6557032"/>
              <a:gd name="connsiteX22069" fmla="*/ 240528 w 4610101"/>
              <a:gd name="connsiteY22069" fmla="*/ 1006693 h 6557032"/>
              <a:gd name="connsiteX22070" fmla="*/ 1259469 w 4610101"/>
              <a:gd name="connsiteY22070" fmla="*/ 1000186 h 6557032"/>
              <a:gd name="connsiteX22071" fmla="*/ 1259123 w 4610101"/>
              <a:gd name="connsiteY22071" fmla="*/ 1001226 h 6557032"/>
              <a:gd name="connsiteX22072" fmla="*/ 1259123 w 4610101"/>
              <a:gd name="connsiteY22072" fmla="*/ 1000369 h 6557032"/>
              <a:gd name="connsiteX22073" fmla="*/ 1259123 w 4610101"/>
              <a:gd name="connsiteY22073" fmla="*/ 999847 h 6557032"/>
              <a:gd name="connsiteX22074" fmla="*/ 1259123 w 4610101"/>
              <a:gd name="connsiteY22074" fmla="*/ 1000369 h 6557032"/>
              <a:gd name="connsiteX22075" fmla="*/ 1257324 w 4610101"/>
              <a:gd name="connsiteY22075" fmla="*/ 1001323 h 6557032"/>
              <a:gd name="connsiteX22076" fmla="*/ 1258895 w 4610101"/>
              <a:gd name="connsiteY22076" fmla="*/ 1000086 h 6557032"/>
              <a:gd name="connsiteX22077" fmla="*/ 3454842 w 4610101"/>
              <a:gd name="connsiteY22077" fmla="*/ 999403 h 6557032"/>
              <a:gd name="connsiteX22078" fmla="*/ 3458487 w 4610101"/>
              <a:gd name="connsiteY22078" fmla="*/ 1006692 h 6557032"/>
              <a:gd name="connsiteX22079" fmla="*/ 3454842 w 4610101"/>
              <a:gd name="connsiteY22079" fmla="*/ 999403 h 6557032"/>
              <a:gd name="connsiteX22080" fmla="*/ 1160725 w 4610101"/>
              <a:gd name="connsiteY22080" fmla="*/ 999403 h 6557032"/>
              <a:gd name="connsiteX22081" fmla="*/ 1159604 w 4610101"/>
              <a:gd name="connsiteY22081" fmla="*/ 999964 h 6557032"/>
              <a:gd name="connsiteX22082" fmla="*/ 1159458 w 4610101"/>
              <a:gd name="connsiteY22082" fmla="*/ 999720 h 6557032"/>
              <a:gd name="connsiteX22083" fmla="*/ 1049573 w 4610101"/>
              <a:gd name="connsiteY22083" fmla="*/ 999403 h 6557032"/>
              <a:gd name="connsiteX22084" fmla="*/ 1042284 w 4610101"/>
              <a:gd name="connsiteY22084" fmla="*/ 1008515 h 6557032"/>
              <a:gd name="connsiteX22085" fmla="*/ 1060506 w 4610101"/>
              <a:gd name="connsiteY22085" fmla="*/ 1004870 h 6557032"/>
              <a:gd name="connsiteX22086" fmla="*/ 1049573 w 4610101"/>
              <a:gd name="connsiteY22086" fmla="*/ 999403 h 6557032"/>
              <a:gd name="connsiteX22087" fmla="*/ 952997 w 4610101"/>
              <a:gd name="connsiteY22087" fmla="*/ 999403 h 6557032"/>
              <a:gd name="connsiteX22088" fmla="*/ 962108 w 4610101"/>
              <a:gd name="connsiteY22088" fmla="*/ 1010337 h 6557032"/>
              <a:gd name="connsiteX22089" fmla="*/ 952997 w 4610101"/>
              <a:gd name="connsiteY22089" fmla="*/ 999403 h 6557032"/>
              <a:gd name="connsiteX22090" fmla="*/ 878288 w 4610101"/>
              <a:gd name="connsiteY22090" fmla="*/ 999403 h 6557032"/>
              <a:gd name="connsiteX22091" fmla="*/ 869177 w 4610101"/>
              <a:gd name="connsiteY22091" fmla="*/ 1003047 h 6557032"/>
              <a:gd name="connsiteX22092" fmla="*/ 881933 w 4610101"/>
              <a:gd name="connsiteY22092" fmla="*/ 1010337 h 6557032"/>
              <a:gd name="connsiteX22093" fmla="*/ 883755 w 4610101"/>
              <a:gd name="connsiteY22093" fmla="*/ 1015803 h 6557032"/>
              <a:gd name="connsiteX22094" fmla="*/ 881933 w 4610101"/>
              <a:gd name="connsiteY22094" fmla="*/ 1010337 h 6557032"/>
              <a:gd name="connsiteX22095" fmla="*/ 881933 w 4610101"/>
              <a:gd name="connsiteY22095" fmla="*/ 1010337 h 6557032"/>
              <a:gd name="connsiteX22096" fmla="*/ 526609 w 4610101"/>
              <a:gd name="connsiteY22096" fmla="*/ 999403 h 6557032"/>
              <a:gd name="connsiteX22097" fmla="*/ 531814 w 4610101"/>
              <a:gd name="connsiteY22097" fmla="*/ 1007778 h 6557032"/>
              <a:gd name="connsiteX22098" fmla="*/ 530253 w 4610101"/>
              <a:gd name="connsiteY22098" fmla="*/ 1006692 h 6557032"/>
              <a:gd name="connsiteX22099" fmla="*/ 539364 w 4610101"/>
              <a:gd name="connsiteY22099" fmla="*/ 1013981 h 6557032"/>
              <a:gd name="connsiteX22100" fmla="*/ 535492 w 4610101"/>
              <a:gd name="connsiteY22100" fmla="*/ 1010336 h 6557032"/>
              <a:gd name="connsiteX22101" fmla="*/ 531976 w 4610101"/>
              <a:gd name="connsiteY22101" fmla="*/ 1007891 h 6557032"/>
              <a:gd name="connsiteX22102" fmla="*/ 541186 w 4610101"/>
              <a:gd name="connsiteY22102" fmla="*/ 1012159 h 6557032"/>
              <a:gd name="connsiteX22103" fmla="*/ 526609 w 4610101"/>
              <a:gd name="connsiteY22103" fmla="*/ 999403 h 6557032"/>
              <a:gd name="connsiteX22104" fmla="*/ 491987 w 4610101"/>
              <a:gd name="connsiteY22104" fmla="*/ 999403 h 6557032"/>
              <a:gd name="connsiteX22105" fmla="*/ 512031 w 4610101"/>
              <a:gd name="connsiteY22105" fmla="*/ 1023092 h 6557032"/>
              <a:gd name="connsiteX22106" fmla="*/ 491987 w 4610101"/>
              <a:gd name="connsiteY22106" fmla="*/ 999403 h 6557032"/>
              <a:gd name="connsiteX22107" fmla="*/ 408167 w 4610101"/>
              <a:gd name="connsiteY22107" fmla="*/ 999403 h 6557032"/>
              <a:gd name="connsiteX22108" fmla="*/ 426389 w 4610101"/>
              <a:gd name="connsiteY22108" fmla="*/ 1021270 h 6557032"/>
              <a:gd name="connsiteX22109" fmla="*/ 448256 w 4610101"/>
              <a:gd name="connsiteY22109" fmla="*/ 1044958 h 6557032"/>
              <a:gd name="connsiteX22110" fmla="*/ 439145 w 4610101"/>
              <a:gd name="connsiteY22110" fmla="*/ 1030381 h 6557032"/>
              <a:gd name="connsiteX22111" fmla="*/ 470121 w 4610101"/>
              <a:gd name="connsiteY22111" fmla="*/ 1057713 h 6557032"/>
              <a:gd name="connsiteX22112" fmla="*/ 457367 w 4610101"/>
              <a:gd name="connsiteY22112" fmla="*/ 1048602 h 6557032"/>
              <a:gd name="connsiteX22113" fmla="*/ 470121 w 4610101"/>
              <a:gd name="connsiteY22113" fmla="*/ 1054069 h 6557032"/>
              <a:gd name="connsiteX22114" fmla="*/ 430034 w 4610101"/>
              <a:gd name="connsiteY22114" fmla="*/ 1023092 h 6557032"/>
              <a:gd name="connsiteX22115" fmla="*/ 426389 w 4610101"/>
              <a:gd name="connsiteY22115" fmla="*/ 1021270 h 6557032"/>
              <a:gd name="connsiteX22116" fmla="*/ 408167 w 4610101"/>
              <a:gd name="connsiteY22116" fmla="*/ 999403 h 6557032"/>
              <a:gd name="connsiteX22117" fmla="*/ 306126 w 4610101"/>
              <a:gd name="connsiteY22117" fmla="*/ 999403 h 6557032"/>
              <a:gd name="connsiteX22118" fmla="*/ 309771 w 4610101"/>
              <a:gd name="connsiteY22118" fmla="*/ 1004870 h 6557032"/>
              <a:gd name="connsiteX22119" fmla="*/ 306126 w 4610101"/>
              <a:gd name="connsiteY22119" fmla="*/ 999403 h 6557032"/>
              <a:gd name="connsiteX22120" fmla="*/ 245994 w 4610101"/>
              <a:gd name="connsiteY22120" fmla="*/ 999403 h 6557032"/>
              <a:gd name="connsiteX22121" fmla="*/ 251460 w 4610101"/>
              <a:gd name="connsiteY22121" fmla="*/ 1004870 h 6557032"/>
              <a:gd name="connsiteX22122" fmla="*/ 245994 w 4610101"/>
              <a:gd name="connsiteY22122" fmla="*/ 999403 h 6557032"/>
              <a:gd name="connsiteX22123" fmla="*/ 180396 w 4610101"/>
              <a:gd name="connsiteY22123" fmla="*/ 999403 h 6557032"/>
              <a:gd name="connsiteX22124" fmla="*/ 182218 w 4610101"/>
              <a:gd name="connsiteY22124" fmla="*/ 1001226 h 6557032"/>
              <a:gd name="connsiteX22125" fmla="*/ 181771 w 4610101"/>
              <a:gd name="connsiteY22125" fmla="*/ 1001053 h 6557032"/>
              <a:gd name="connsiteX22126" fmla="*/ 1260074 w 4610101"/>
              <a:gd name="connsiteY22126" fmla="*/ 998849 h 6557032"/>
              <a:gd name="connsiteX22127" fmla="*/ 1260945 w 4610101"/>
              <a:gd name="connsiteY22127" fmla="*/ 999403 h 6557032"/>
              <a:gd name="connsiteX22128" fmla="*/ 1259469 w 4610101"/>
              <a:gd name="connsiteY22128" fmla="*/ 1000186 h 6557032"/>
              <a:gd name="connsiteX22129" fmla="*/ 1259830 w 4610101"/>
              <a:gd name="connsiteY22129" fmla="*/ 999107 h 6557032"/>
              <a:gd name="connsiteX22130" fmla="*/ 1259123 w 4610101"/>
              <a:gd name="connsiteY22130" fmla="*/ 998244 h 6557032"/>
              <a:gd name="connsiteX22131" fmla="*/ 1259943 w 4610101"/>
              <a:gd name="connsiteY22131" fmla="*/ 998766 h 6557032"/>
              <a:gd name="connsiteX22132" fmla="*/ 1259830 w 4610101"/>
              <a:gd name="connsiteY22132" fmla="*/ 999107 h 6557032"/>
              <a:gd name="connsiteX22133" fmla="*/ 1259123 w 4610101"/>
              <a:gd name="connsiteY22133" fmla="*/ 999847 h 6557032"/>
              <a:gd name="connsiteX22134" fmla="*/ 3090407 w 4610101"/>
              <a:gd name="connsiteY22134" fmla="*/ 997582 h 6557032"/>
              <a:gd name="connsiteX22135" fmla="*/ 3090407 w 4610101"/>
              <a:gd name="connsiteY22135" fmla="*/ 999403 h 6557032"/>
              <a:gd name="connsiteX22136" fmla="*/ 3090407 w 4610101"/>
              <a:gd name="connsiteY22136" fmla="*/ 1001226 h 6557032"/>
              <a:gd name="connsiteX22137" fmla="*/ 3097696 w 4610101"/>
              <a:gd name="connsiteY22137" fmla="*/ 1012159 h 6557032"/>
              <a:gd name="connsiteX22138" fmla="*/ 3090407 w 4610101"/>
              <a:gd name="connsiteY22138" fmla="*/ 1004870 h 6557032"/>
              <a:gd name="connsiteX22139" fmla="*/ 3077652 w 4610101"/>
              <a:gd name="connsiteY22139" fmla="*/ 1008515 h 6557032"/>
              <a:gd name="connsiteX22140" fmla="*/ 3090407 w 4610101"/>
              <a:gd name="connsiteY22140" fmla="*/ 1026736 h 6557032"/>
              <a:gd name="connsiteX22141" fmla="*/ 3099518 w 4610101"/>
              <a:gd name="connsiteY22141" fmla="*/ 1019448 h 6557032"/>
              <a:gd name="connsiteX22142" fmla="*/ 3101340 w 4610101"/>
              <a:gd name="connsiteY22142" fmla="*/ 1028559 h 6557032"/>
              <a:gd name="connsiteX22143" fmla="*/ 3097696 w 4610101"/>
              <a:gd name="connsiteY22143" fmla="*/ 997582 h 6557032"/>
              <a:gd name="connsiteX22144" fmla="*/ 3090407 w 4610101"/>
              <a:gd name="connsiteY22144" fmla="*/ 997582 h 6557032"/>
              <a:gd name="connsiteX22145" fmla="*/ 3030276 w 4610101"/>
              <a:gd name="connsiteY22145" fmla="*/ 997582 h 6557032"/>
              <a:gd name="connsiteX22146" fmla="*/ 3026631 w 4610101"/>
              <a:gd name="connsiteY22146" fmla="*/ 1003047 h 6557032"/>
              <a:gd name="connsiteX22147" fmla="*/ 3030276 w 4610101"/>
              <a:gd name="connsiteY22147" fmla="*/ 997582 h 6557032"/>
              <a:gd name="connsiteX22148" fmla="*/ 2886324 w 4610101"/>
              <a:gd name="connsiteY22148" fmla="*/ 997582 h 6557032"/>
              <a:gd name="connsiteX22149" fmla="*/ 2853525 w 4610101"/>
              <a:gd name="connsiteY22149" fmla="*/ 1041314 h 6557032"/>
              <a:gd name="connsiteX22150" fmla="*/ 2855347 w 4610101"/>
              <a:gd name="connsiteY22150" fmla="*/ 1048602 h 6557032"/>
              <a:gd name="connsiteX22151" fmla="*/ 2869924 w 4610101"/>
              <a:gd name="connsiteY22151" fmla="*/ 1039492 h 6557032"/>
              <a:gd name="connsiteX22152" fmla="*/ 2862636 w 4610101"/>
              <a:gd name="connsiteY22152" fmla="*/ 1032203 h 6557032"/>
              <a:gd name="connsiteX22153" fmla="*/ 2868102 w 4610101"/>
              <a:gd name="connsiteY22153" fmla="*/ 1028559 h 6557032"/>
              <a:gd name="connsiteX22154" fmla="*/ 2873569 w 4610101"/>
              <a:gd name="connsiteY22154" fmla="*/ 1032203 h 6557032"/>
              <a:gd name="connsiteX22155" fmla="*/ 2884502 w 4610101"/>
              <a:gd name="connsiteY22155" fmla="*/ 1019448 h 6557032"/>
              <a:gd name="connsiteX22156" fmla="*/ 2877213 w 4610101"/>
              <a:gd name="connsiteY22156" fmla="*/ 1017625 h 6557032"/>
              <a:gd name="connsiteX22157" fmla="*/ 2873569 w 4610101"/>
              <a:gd name="connsiteY22157" fmla="*/ 1008515 h 6557032"/>
              <a:gd name="connsiteX22158" fmla="*/ 2889968 w 4610101"/>
              <a:gd name="connsiteY22158" fmla="*/ 1017625 h 6557032"/>
              <a:gd name="connsiteX22159" fmla="*/ 2884502 w 4610101"/>
              <a:gd name="connsiteY22159" fmla="*/ 1008515 h 6557032"/>
              <a:gd name="connsiteX22160" fmla="*/ 2886324 w 4610101"/>
              <a:gd name="connsiteY22160" fmla="*/ 997582 h 6557032"/>
              <a:gd name="connsiteX22161" fmla="*/ 1258082 w 4610101"/>
              <a:gd name="connsiteY22161" fmla="*/ 997582 h 6557032"/>
              <a:gd name="connsiteX22162" fmla="*/ 1259123 w 4610101"/>
              <a:gd name="connsiteY22162" fmla="*/ 997582 h 6557032"/>
              <a:gd name="connsiteX22163" fmla="*/ 1259123 w 4610101"/>
              <a:gd name="connsiteY22163" fmla="*/ 998244 h 6557032"/>
              <a:gd name="connsiteX22164" fmla="*/ 993085 w 4610101"/>
              <a:gd name="connsiteY22164" fmla="*/ 997582 h 6557032"/>
              <a:gd name="connsiteX22165" fmla="*/ 987619 w 4610101"/>
              <a:gd name="connsiteY22165" fmla="*/ 1008515 h 6557032"/>
              <a:gd name="connsiteX22166" fmla="*/ 991263 w 4610101"/>
              <a:gd name="connsiteY22166" fmla="*/ 1012159 h 6557032"/>
              <a:gd name="connsiteX22167" fmla="*/ 993085 w 4610101"/>
              <a:gd name="connsiteY22167" fmla="*/ 997582 h 6557032"/>
              <a:gd name="connsiteX22168" fmla="*/ 708826 w 4610101"/>
              <a:gd name="connsiteY22168" fmla="*/ 997582 h 6557032"/>
              <a:gd name="connsiteX22169" fmla="*/ 712470 w 4610101"/>
              <a:gd name="connsiteY22169" fmla="*/ 1004870 h 6557032"/>
              <a:gd name="connsiteX22170" fmla="*/ 717937 w 4610101"/>
              <a:gd name="connsiteY22170" fmla="*/ 1012159 h 6557032"/>
              <a:gd name="connsiteX22171" fmla="*/ 716115 w 4610101"/>
              <a:gd name="connsiteY22171" fmla="*/ 1004870 h 6557032"/>
              <a:gd name="connsiteX22172" fmla="*/ 712470 w 4610101"/>
              <a:gd name="connsiteY22172" fmla="*/ 1004870 h 6557032"/>
              <a:gd name="connsiteX22173" fmla="*/ 716115 w 4610101"/>
              <a:gd name="connsiteY22173" fmla="*/ 1001226 h 6557032"/>
              <a:gd name="connsiteX22174" fmla="*/ 708826 w 4610101"/>
              <a:gd name="connsiteY22174" fmla="*/ 997582 h 6557032"/>
              <a:gd name="connsiteX22175" fmla="*/ 548475 w 4610101"/>
              <a:gd name="connsiteY22175" fmla="*/ 997582 h 6557032"/>
              <a:gd name="connsiteX22176" fmla="*/ 566697 w 4610101"/>
              <a:gd name="connsiteY22176" fmla="*/ 1013981 h 6557032"/>
              <a:gd name="connsiteX22177" fmla="*/ 548475 w 4610101"/>
              <a:gd name="connsiteY22177" fmla="*/ 997582 h 6557032"/>
              <a:gd name="connsiteX22178" fmla="*/ 2274985 w 4610101"/>
              <a:gd name="connsiteY22178" fmla="*/ 997581 h 6557032"/>
              <a:gd name="connsiteX22179" fmla="*/ 2274986 w 4610101"/>
              <a:gd name="connsiteY22179" fmla="*/ 997582 h 6557032"/>
              <a:gd name="connsiteX22180" fmla="*/ 2274984 w 4610101"/>
              <a:gd name="connsiteY22180" fmla="*/ 997582 h 6557032"/>
              <a:gd name="connsiteX22181" fmla="*/ 182050 w 4610101"/>
              <a:gd name="connsiteY22181" fmla="*/ 996916 h 6557032"/>
              <a:gd name="connsiteX22182" fmla="*/ 185862 w 4610101"/>
              <a:gd name="connsiteY22182" fmla="*/ 1001681 h 6557032"/>
              <a:gd name="connsiteX22183" fmla="*/ 186364 w 4610101"/>
              <a:gd name="connsiteY22183" fmla="*/ 1002874 h 6557032"/>
              <a:gd name="connsiteX22184" fmla="*/ 1255333 w 4610101"/>
              <a:gd name="connsiteY22184" fmla="*/ 995832 h 6557032"/>
              <a:gd name="connsiteX22185" fmla="*/ 1258082 w 4610101"/>
              <a:gd name="connsiteY22185" fmla="*/ 997582 h 6557032"/>
              <a:gd name="connsiteX22186" fmla="*/ 1251834 w 4610101"/>
              <a:gd name="connsiteY22186" fmla="*/ 997582 h 6557032"/>
              <a:gd name="connsiteX22187" fmla="*/ 787179 w 4610101"/>
              <a:gd name="connsiteY22187" fmla="*/ 995808 h 6557032"/>
              <a:gd name="connsiteX22188" fmla="*/ 787179 w 4610101"/>
              <a:gd name="connsiteY22188" fmla="*/ 1017675 h 6557032"/>
              <a:gd name="connsiteX22189" fmla="*/ 781712 w 4610101"/>
              <a:gd name="connsiteY22189" fmla="*/ 1004919 h 6557032"/>
              <a:gd name="connsiteX22190" fmla="*/ 787179 w 4610101"/>
              <a:gd name="connsiteY22190" fmla="*/ 995808 h 6557032"/>
              <a:gd name="connsiteX22191" fmla="*/ 3241648 w 4610101"/>
              <a:gd name="connsiteY22191" fmla="*/ 995759 h 6557032"/>
              <a:gd name="connsiteX22192" fmla="*/ 3241648 w 4610101"/>
              <a:gd name="connsiteY22192" fmla="*/ 1001226 h 6557032"/>
              <a:gd name="connsiteX22193" fmla="*/ 3241648 w 4610101"/>
              <a:gd name="connsiteY22193" fmla="*/ 995759 h 6557032"/>
              <a:gd name="connsiteX22194" fmla="*/ 3130495 w 4610101"/>
              <a:gd name="connsiteY22194" fmla="*/ 995759 h 6557032"/>
              <a:gd name="connsiteX22195" fmla="*/ 3130495 w 4610101"/>
              <a:gd name="connsiteY22195" fmla="*/ 1004870 h 6557032"/>
              <a:gd name="connsiteX22196" fmla="*/ 3130495 w 4610101"/>
              <a:gd name="connsiteY22196" fmla="*/ 995759 h 6557032"/>
              <a:gd name="connsiteX22197" fmla="*/ 1025884 w 4610101"/>
              <a:gd name="connsiteY22197" fmla="*/ 995759 h 6557032"/>
              <a:gd name="connsiteX22198" fmla="*/ 1024062 w 4610101"/>
              <a:gd name="connsiteY22198" fmla="*/ 1010337 h 6557032"/>
              <a:gd name="connsiteX22199" fmla="*/ 1031351 w 4610101"/>
              <a:gd name="connsiteY22199" fmla="*/ 1006692 h 6557032"/>
              <a:gd name="connsiteX22200" fmla="*/ 1025884 w 4610101"/>
              <a:gd name="connsiteY22200" fmla="*/ 995759 h 6557032"/>
              <a:gd name="connsiteX22201" fmla="*/ 236883 w 4610101"/>
              <a:gd name="connsiteY22201" fmla="*/ 995759 h 6557032"/>
              <a:gd name="connsiteX22202" fmla="*/ 244172 w 4610101"/>
              <a:gd name="connsiteY22202" fmla="*/ 1001226 h 6557032"/>
              <a:gd name="connsiteX22203" fmla="*/ 236883 w 4610101"/>
              <a:gd name="connsiteY22203" fmla="*/ 995759 h 6557032"/>
              <a:gd name="connsiteX22204" fmla="*/ 185862 w 4610101"/>
              <a:gd name="connsiteY22204" fmla="*/ 995759 h 6557032"/>
              <a:gd name="connsiteX22205" fmla="*/ 207728 w 4610101"/>
              <a:gd name="connsiteY22205" fmla="*/ 1010337 h 6557032"/>
              <a:gd name="connsiteX22206" fmla="*/ 207728 w 4610101"/>
              <a:gd name="connsiteY22206" fmla="*/ 1008515 h 6557032"/>
              <a:gd name="connsiteX22207" fmla="*/ 216839 w 4610101"/>
              <a:gd name="connsiteY22207" fmla="*/ 1015803 h 6557032"/>
              <a:gd name="connsiteX22208" fmla="*/ 238705 w 4610101"/>
              <a:gd name="connsiteY22208" fmla="*/ 1028559 h 6557032"/>
              <a:gd name="connsiteX22209" fmla="*/ 224128 w 4610101"/>
              <a:gd name="connsiteY22209" fmla="*/ 1015803 h 6557032"/>
              <a:gd name="connsiteX22210" fmla="*/ 216839 w 4610101"/>
              <a:gd name="connsiteY22210" fmla="*/ 1013981 h 6557032"/>
              <a:gd name="connsiteX22211" fmla="*/ 220483 w 4610101"/>
              <a:gd name="connsiteY22211" fmla="*/ 1013981 h 6557032"/>
              <a:gd name="connsiteX22212" fmla="*/ 215017 w 4610101"/>
              <a:gd name="connsiteY22212" fmla="*/ 1008515 h 6557032"/>
              <a:gd name="connsiteX22213" fmla="*/ 185862 w 4610101"/>
              <a:gd name="connsiteY22213" fmla="*/ 995759 h 6557032"/>
              <a:gd name="connsiteX22214" fmla="*/ 1255071 w 4610101"/>
              <a:gd name="connsiteY22214" fmla="*/ 995665 h 6557032"/>
              <a:gd name="connsiteX22215" fmla="*/ 1255478 w 4610101"/>
              <a:gd name="connsiteY22215" fmla="*/ 995759 h 6557032"/>
              <a:gd name="connsiteX22216" fmla="*/ 1255333 w 4610101"/>
              <a:gd name="connsiteY22216" fmla="*/ 995832 h 6557032"/>
              <a:gd name="connsiteX22217" fmla="*/ 2917301 w 4610101"/>
              <a:gd name="connsiteY22217" fmla="*/ 993937 h 6557032"/>
              <a:gd name="connsiteX22218" fmla="*/ 2920945 w 4610101"/>
              <a:gd name="connsiteY22218" fmla="*/ 1012159 h 6557032"/>
              <a:gd name="connsiteX22219" fmla="*/ 2951922 w 4610101"/>
              <a:gd name="connsiteY22219" fmla="*/ 1001226 h 6557032"/>
              <a:gd name="connsiteX22220" fmla="*/ 2917301 w 4610101"/>
              <a:gd name="connsiteY22220" fmla="*/ 993937 h 6557032"/>
              <a:gd name="connsiteX22221" fmla="*/ 2374293 w 4610101"/>
              <a:gd name="connsiteY22221" fmla="*/ 993937 h 6557032"/>
              <a:gd name="connsiteX22222" fmla="*/ 2357893 w 4610101"/>
              <a:gd name="connsiteY22222" fmla="*/ 1006692 h 6557032"/>
              <a:gd name="connsiteX22223" fmla="*/ 2365182 w 4610101"/>
              <a:gd name="connsiteY22223" fmla="*/ 1004870 h 6557032"/>
              <a:gd name="connsiteX22224" fmla="*/ 2367004 w 4610101"/>
              <a:gd name="connsiteY22224" fmla="*/ 1017625 h 6557032"/>
              <a:gd name="connsiteX22225" fmla="*/ 2361538 w 4610101"/>
              <a:gd name="connsiteY22225" fmla="*/ 1008515 h 6557032"/>
              <a:gd name="connsiteX22226" fmla="*/ 2359716 w 4610101"/>
              <a:gd name="connsiteY22226" fmla="*/ 1008515 h 6557032"/>
              <a:gd name="connsiteX22227" fmla="*/ 2361538 w 4610101"/>
              <a:gd name="connsiteY22227" fmla="*/ 1012159 h 6557032"/>
              <a:gd name="connsiteX22228" fmla="*/ 2348782 w 4610101"/>
              <a:gd name="connsiteY22228" fmla="*/ 1012159 h 6557032"/>
              <a:gd name="connsiteX22229" fmla="*/ 2345138 w 4610101"/>
              <a:gd name="connsiteY22229" fmla="*/ 1013981 h 6557032"/>
              <a:gd name="connsiteX22230" fmla="*/ 2341494 w 4610101"/>
              <a:gd name="connsiteY22230" fmla="*/ 1012159 h 6557032"/>
              <a:gd name="connsiteX22231" fmla="*/ 2336027 w 4610101"/>
              <a:gd name="connsiteY22231" fmla="*/ 1012159 h 6557032"/>
              <a:gd name="connsiteX22232" fmla="*/ 2315983 w 4610101"/>
              <a:gd name="connsiteY22232" fmla="*/ 1013981 h 6557032"/>
              <a:gd name="connsiteX22233" fmla="*/ 2328739 w 4610101"/>
              <a:gd name="connsiteY22233" fmla="*/ 1023092 h 6557032"/>
              <a:gd name="connsiteX22234" fmla="*/ 2323272 w 4610101"/>
              <a:gd name="connsiteY22234" fmla="*/ 1052247 h 6557032"/>
              <a:gd name="connsiteX22235" fmla="*/ 2332383 w 4610101"/>
              <a:gd name="connsiteY22235" fmla="*/ 1043136 h 6557032"/>
              <a:gd name="connsiteX22236" fmla="*/ 2332383 w 4610101"/>
              <a:gd name="connsiteY22236" fmla="*/ 1048602 h 6557032"/>
              <a:gd name="connsiteX22237" fmla="*/ 2356071 w 4610101"/>
              <a:gd name="connsiteY22237" fmla="*/ 1039492 h 6557032"/>
              <a:gd name="connsiteX22238" fmla="*/ 2356071 w 4610101"/>
              <a:gd name="connsiteY22238" fmla="*/ 1034025 h 6557032"/>
              <a:gd name="connsiteX22239" fmla="*/ 2352427 w 4610101"/>
              <a:gd name="connsiteY22239" fmla="*/ 1034025 h 6557032"/>
              <a:gd name="connsiteX22240" fmla="*/ 2357893 w 4610101"/>
              <a:gd name="connsiteY22240" fmla="*/ 1024914 h 6557032"/>
              <a:gd name="connsiteX22241" fmla="*/ 2368827 w 4610101"/>
              <a:gd name="connsiteY22241" fmla="*/ 1032203 h 6557032"/>
              <a:gd name="connsiteX22242" fmla="*/ 2365182 w 4610101"/>
              <a:gd name="connsiteY22242" fmla="*/ 1043136 h 6557032"/>
              <a:gd name="connsiteX22243" fmla="*/ 2367004 w 4610101"/>
              <a:gd name="connsiteY22243" fmla="*/ 1035847 h 6557032"/>
              <a:gd name="connsiteX22244" fmla="*/ 2370649 w 4610101"/>
              <a:gd name="connsiteY22244" fmla="*/ 1043136 h 6557032"/>
              <a:gd name="connsiteX22245" fmla="*/ 2381582 w 4610101"/>
              <a:gd name="connsiteY22245" fmla="*/ 1041314 h 6557032"/>
              <a:gd name="connsiteX22246" fmla="*/ 2381582 w 4610101"/>
              <a:gd name="connsiteY22246" fmla="*/ 1035847 h 6557032"/>
              <a:gd name="connsiteX22247" fmla="*/ 2376115 w 4610101"/>
              <a:gd name="connsiteY22247" fmla="*/ 1032203 h 6557032"/>
              <a:gd name="connsiteX22248" fmla="*/ 2381582 w 4610101"/>
              <a:gd name="connsiteY22248" fmla="*/ 1030381 h 6557032"/>
              <a:gd name="connsiteX22249" fmla="*/ 2381582 w 4610101"/>
              <a:gd name="connsiteY22249" fmla="*/ 1021270 h 6557032"/>
              <a:gd name="connsiteX22250" fmla="*/ 2374293 w 4610101"/>
              <a:gd name="connsiteY22250" fmla="*/ 993937 h 6557032"/>
              <a:gd name="connsiteX22251" fmla="*/ 1080549 w 4610101"/>
              <a:gd name="connsiteY22251" fmla="*/ 993937 h 6557032"/>
              <a:gd name="connsiteX22252" fmla="*/ 1082373 w 4610101"/>
              <a:gd name="connsiteY22252" fmla="*/ 1001226 h 6557032"/>
              <a:gd name="connsiteX22253" fmla="*/ 1086016 w 4610101"/>
              <a:gd name="connsiteY22253" fmla="*/ 1001226 h 6557032"/>
              <a:gd name="connsiteX22254" fmla="*/ 1080549 w 4610101"/>
              <a:gd name="connsiteY22254" fmla="*/ 993937 h 6557032"/>
              <a:gd name="connsiteX22255" fmla="*/ 1067794 w 4610101"/>
              <a:gd name="connsiteY22255" fmla="*/ 993937 h 6557032"/>
              <a:gd name="connsiteX22256" fmla="*/ 1058683 w 4610101"/>
              <a:gd name="connsiteY22256" fmla="*/ 997582 h 6557032"/>
              <a:gd name="connsiteX22257" fmla="*/ 1060506 w 4610101"/>
              <a:gd name="connsiteY22257" fmla="*/ 999403 h 6557032"/>
              <a:gd name="connsiteX22258" fmla="*/ 1055040 w 4610101"/>
              <a:gd name="connsiteY22258" fmla="*/ 1001226 h 6557032"/>
              <a:gd name="connsiteX22259" fmla="*/ 1067794 w 4610101"/>
              <a:gd name="connsiteY22259" fmla="*/ 1003047 h 6557032"/>
              <a:gd name="connsiteX22260" fmla="*/ 1071439 w 4610101"/>
              <a:gd name="connsiteY22260" fmla="*/ 999403 h 6557032"/>
              <a:gd name="connsiteX22261" fmla="*/ 1067794 w 4610101"/>
              <a:gd name="connsiteY22261" fmla="*/ 993937 h 6557032"/>
              <a:gd name="connsiteX22262" fmla="*/ 515676 w 4610101"/>
              <a:gd name="connsiteY22262" fmla="*/ 993937 h 6557032"/>
              <a:gd name="connsiteX22263" fmla="*/ 524786 w 4610101"/>
              <a:gd name="connsiteY22263" fmla="*/ 1001226 h 6557032"/>
              <a:gd name="connsiteX22264" fmla="*/ 515676 w 4610101"/>
              <a:gd name="connsiteY22264" fmla="*/ 993937 h 6557032"/>
              <a:gd name="connsiteX22265" fmla="*/ 435500 w 4610101"/>
              <a:gd name="connsiteY22265" fmla="*/ 993937 h 6557032"/>
              <a:gd name="connsiteX22266" fmla="*/ 464655 w 4610101"/>
              <a:gd name="connsiteY22266" fmla="*/ 1035847 h 6557032"/>
              <a:gd name="connsiteX22267" fmla="*/ 464970 w 4610101"/>
              <a:gd name="connsiteY22267" fmla="*/ 1028120 h 6557032"/>
              <a:gd name="connsiteX22268" fmla="*/ 466250 w 4610101"/>
              <a:gd name="connsiteY22268" fmla="*/ 1037670 h 6557032"/>
              <a:gd name="connsiteX22269" fmla="*/ 479232 w 4610101"/>
              <a:gd name="connsiteY22269" fmla="*/ 1057713 h 6557032"/>
              <a:gd name="connsiteX22270" fmla="*/ 473766 w 4610101"/>
              <a:gd name="connsiteY22270" fmla="*/ 1046780 h 6557032"/>
              <a:gd name="connsiteX22271" fmla="*/ 484700 w 4610101"/>
              <a:gd name="connsiteY22271" fmla="*/ 1057713 h 6557032"/>
              <a:gd name="connsiteX22272" fmla="*/ 486521 w 4610101"/>
              <a:gd name="connsiteY22272" fmla="*/ 1054069 h 6557032"/>
              <a:gd name="connsiteX22273" fmla="*/ 496910 w 4610101"/>
              <a:gd name="connsiteY22273" fmla="*/ 1062933 h 6557032"/>
              <a:gd name="connsiteX22274" fmla="*/ 491987 w 4610101"/>
              <a:gd name="connsiteY22274" fmla="*/ 1059535 h 6557032"/>
              <a:gd name="connsiteX22275" fmla="*/ 498137 w 4610101"/>
              <a:gd name="connsiteY22275" fmla="*/ 1070468 h 6557032"/>
              <a:gd name="connsiteX22276" fmla="*/ 508290 w 4610101"/>
              <a:gd name="connsiteY22276" fmla="*/ 1074000 h 6557032"/>
              <a:gd name="connsiteX22277" fmla="*/ 508387 w 4610101"/>
              <a:gd name="connsiteY22277" fmla="*/ 1074113 h 6557032"/>
              <a:gd name="connsiteX22278" fmla="*/ 508669 w 4610101"/>
              <a:gd name="connsiteY22278" fmla="*/ 1074132 h 6557032"/>
              <a:gd name="connsiteX22279" fmla="*/ 513853 w 4610101"/>
              <a:gd name="connsiteY22279" fmla="*/ 1075935 h 6557032"/>
              <a:gd name="connsiteX22280" fmla="*/ 511804 w 4610101"/>
              <a:gd name="connsiteY22280" fmla="*/ 1074341 h 6557032"/>
              <a:gd name="connsiteX22281" fmla="*/ 508669 w 4610101"/>
              <a:gd name="connsiteY22281" fmla="*/ 1074132 h 6557032"/>
              <a:gd name="connsiteX22282" fmla="*/ 508290 w 4610101"/>
              <a:gd name="connsiteY22282" fmla="*/ 1074000 h 6557032"/>
              <a:gd name="connsiteX22283" fmla="*/ 503758 w 4610101"/>
              <a:gd name="connsiteY22283" fmla="*/ 1068713 h 6557032"/>
              <a:gd name="connsiteX22284" fmla="*/ 524786 w 4610101"/>
              <a:gd name="connsiteY22284" fmla="*/ 1077757 h 6557032"/>
              <a:gd name="connsiteX22285" fmla="*/ 519320 w 4610101"/>
              <a:gd name="connsiteY22285" fmla="*/ 1068646 h 6557032"/>
              <a:gd name="connsiteX22286" fmla="*/ 535719 w 4610101"/>
              <a:gd name="connsiteY22286" fmla="*/ 1079579 h 6557032"/>
              <a:gd name="connsiteX22287" fmla="*/ 512031 w 4610101"/>
              <a:gd name="connsiteY22287" fmla="*/ 1054069 h 6557032"/>
              <a:gd name="connsiteX22288" fmla="*/ 512031 w 4610101"/>
              <a:gd name="connsiteY22288" fmla="*/ 1048602 h 6557032"/>
              <a:gd name="connsiteX22289" fmla="*/ 530253 w 4610101"/>
              <a:gd name="connsiteY22289" fmla="*/ 1061358 h 6557032"/>
              <a:gd name="connsiteX22290" fmla="*/ 510209 w 4610101"/>
              <a:gd name="connsiteY22290" fmla="*/ 1035847 h 6557032"/>
              <a:gd name="connsiteX22291" fmla="*/ 533897 w 4610101"/>
              <a:gd name="connsiteY22291" fmla="*/ 1063180 h 6557032"/>
              <a:gd name="connsiteX22292" fmla="*/ 530253 w 4610101"/>
              <a:gd name="connsiteY22292" fmla="*/ 1057713 h 6557032"/>
              <a:gd name="connsiteX22293" fmla="*/ 533897 w 4610101"/>
              <a:gd name="connsiteY22293" fmla="*/ 1057713 h 6557032"/>
              <a:gd name="connsiteX22294" fmla="*/ 435500 w 4610101"/>
              <a:gd name="connsiteY22294" fmla="*/ 993937 h 6557032"/>
              <a:gd name="connsiteX22295" fmla="*/ 289726 w 4610101"/>
              <a:gd name="connsiteY22295" fmla="*/ 993937 h 6557032"/>
              <a:gd name="connsiteX22296" fmla="*/ 306126 w 4610101"/>
              <a:gd name="connsiteY22296" fmla="*/ 1004870 h 6557032"/>
              <a:gd name="connsiteX22297" fmla="*/ 289726 w 4610101"/>
              <a:gd name="connsiteY22297" fmla="*/ 993937 h 6557032"/>
              <a:gd name="connsiteX22298" fmla="*/ 85642 w 4610101"/>
              <a:gd name="connsiteY22298" fmla="*/ 993937 h 6557032"/>
              <a:gd name="connsiteX22299" fmla="*/ 95368 w 4610101"/>
              <a:gd name="connsiteY22299" fmla="*/ 1002238 h 6557032"/>
              <a:gd name="connsiteX22300" fmla="*/ 102042 w 4610101"/>
              <a:gd name="connsiteY22300" fmla="*/ 1010337 h 6557032"/>
              <a:gd name="connsiteX22301" fmla="*/ 94296 w 4610101"/>
              <a:gd name="connsiteY22301" fmla="*/ 1004250 h 6557032"/>
              <a:gd name="connsiteX22302" fmla="*/ 3247114 w 4610101"/>
              <a:gd name="connsiteY22302" fmla="*/ 992115 h 6557032"/>
              <a:gd name="connsiteX22303" fmla="*/ 3252581 w 4610101"/>
              <a:gd name="connsiteY22303" fmla="*/ 1001226 h 6557032"/>
              <a:gd name="connsiteX22304" fmla="*/ 3247114 w 4610101"/>
              <a:gd name="connsiteY22304" fmla="*/ 992115 h 6557032"/>
              <a:gd name="connsiteX22305" fmla="*/ 3101340 w 4610101"/>
              <a:gd name="connsiteY22305" fmla="*/ 992115 h 6557032"/>
              <a:gd name="connsiteX22306" fmla="*/ 3104985 w 4610101"/>
              <a:gd name="connsiteY22306" fmla="*/ 1001226 h 6557032"/>
              <a:gd name="connsiteX22307" fmla="*/ 3115918 w 4610101"/>
              <a:gd name="connsiteY22307" fmla="*/ 999403 h 6557032"/>
              <a:gd name="connsiteX22308" fmla="*/ 3125029 w 4610101"/>
              <a:gd name="connsiteY22308" fmla="*/ 1004870 h 6557032"/>
              <a:gd name="connsiteX22309" fmla="*/ 3125029 w 4610101"/>
              <a:gd name="connsiteY22309" fmla="*/ 997582 h 6557032"/>
              <a:gd name="connsiteX22310" fmla="*/ 3101340 w 4610101"/>
              <a:gd name="connsiteY22310" fmla="*/ 992115 h 6557032"/>
              <a:gd name="connsiteX22311" fmla="*/ 2591132 w 4610101"/>
              <a:gd name="connsiteY22311" fmla="*/ 992115 h 6557032"/>
              <a:gd name="connsiteX22312" fmla="*/ 2605709 w 4610101"/>
              <a:gd name="connsiteY22312" fmla="*/ 1015803 h 6557032"/>
              <a:gd name="connsiteX22313" fmla="*/ 2605709 w 4610101"/>
              <a:gd name="connsiteY22313" fmla="*/ 1019448 h 6557032"/>
              <a:gd name="connsiteX22314" fmla="*/ 2616642 w 4610101"/>
              <a:gd name="connsiteY22314" fmla="*/ 1010337 h 6557032"/>
              <a:gd name="connsiteX22315" fmla="*/ 2591132 w 4610101"/>
              <a:gd name="connsiteY22315" fmla="*/ 992115 h 6557032"/>
              <a:gd name="connsiteX22316" fmla="*/ 1182592 w 4610101"/>
              <a:gd name="connsiteY22316" fmla="*/ 992115 h 6557032"/>
              <a:gd name="connsiteX22317" fmla="*/ 1189880 w 4610101"/>
              <a:gd name="connsiteY22317" fmla="*/ 1001226 h 6557032"/>
              <a:gd name="connsiteX22318" fmla="*/ 1186236 w 4610101"/>
              <a:gd name="connsiteY22318" fmla="*/ 999403 h 6557032"/>
              <a:gd name="connsiteX22319" fmla="*/ 1182592 w 4610101"/>
              <a:gd name="connsiteY22319" fmla="*/ 1001226 h 6557032"/>
              <a:gd name="connsiteX22320" fmla="*/ 1182592 w 4610101"/>
              <a:gd name="connsiteY22320" fmla="*/ 992115 h 6557032"/>
              <a:gd name="connsiteX22321" fmla="*/ 1089660 w 4610101"/>
              <a:gd name="connsiteY22321" fmla="*/ 992115 h 6557032"/>
              <a:gd name="connsiteX22322" fmla="*/ 1086016 w 4610101"/>
              <a:gd name="connsiteY22322" fmla="*/ 997582 h 6557032"/>
              <a:gd name="connsiteX22323" fmla="*/ 1100593 w 4610101"/>
              <a:gd name="connsiteY22323" fmla="*/ 999403 h 6557032"/>
              <a:gd name="connsiteX22324" fmla="*/ 1089660 w 4610101"/>
              <a:gd name="connsiteY22324" fmla="*/ 992115 h 6557032"/>
              <a:gd name="connsiteX22325" fmla="*/ 1073262 w 4610101"/>
              <a:gd name="connsiteY22325" fmla="*/ 992115 h 6557032"/>
              <a:gd name="connsiteX22326" fmla="*/ 1076905 w 4610101"/>
              <a:gd name="connsiteY22326" fmla="*/ 993937 h 6557032"/>
              <a:gd name="connsiteX22327" fmla="*/ 1075083 w 4610101"/>
              <a:gd name="connsiteY22327" fmla="*/ 997582 h 6557032"/>
              <a:gd name="connsiteX22328" fmla="*/ 1078727 w 4610101"/>
              <a:gd name="connsiteY22328" fmla="*/ 999403 h 6557032"/>
              <a:gd name="connsiteX22329" fmla="*/ 1073262 w 4610101"/>
              <a:gd name="connsiteY22329" fmla="*/ 992115 h 6557032"/>
              <a:gd name="connsiteX22330" fmla="*/ 570341 w 4610101"/>
              <a:gd name="connsiteY22330" fmla="*/ 992115 h 6557032"/>
              <a:gd name="connsiteX22331" fmla="*/ 584919 w 4610101"/>
              <a:gd name="connsiteY22331" fmla="*/ 1006692 h 6557032"/>
              <a:gd name="connsiteX22332" fmla="*/ 570341 w 4610101"/>
              <a:gd name="connsiteY22332" fmla="*/ 992115 h 6557032"/>
              <a:gd name="connsiteX22333" fmla="*/ 318882 w 4610101"/>
              <a:gd name="connsiteY22333" fmla="*/ 992115 h 6557032"/>
              <a:gd name="connsiteX22334" fmla="*/ 327993 w 4610101"/>
              <a:gd name="connsiteY22334" fmla="*/ 999403 h 6557032"/>
              <a:gd name="connsiteX22335" fmla="*/ 318882 w 4610101"/>
              <a:gd name="connsiteY22335" fmla="*/ 992115 h 6557032"/>
              <a:gd name="connsiteX22336" fmla="*/ 302481 w 4610101"/>
              <a:gd name="connsiteY22336" fmla="*/ 992115 h 6557032"/>
              <a:gd name="connsiteX22337" fmla="*/ 302481 w 4610101"/>
              <a:gd name="connsiteY22337" fmla="*/ 993937 h 6557032"/>
              <a:gd name="connsiteX22338" fmla="*/ 311592 w 4610101"/>
              <a:gd name="connsiteY22338" fmla="*/ 1001226 h 6557032"/>
              <a:gd name="connsiteX22339" fmla="*/ 302481 w 4610101"/>
              <a:gd name="connsiteY22339" fmla="*/ 992115 h 6557032"/>
              <a:gd name="connsiteX22340" fmla="*/ 914804 w 4610101"/>
              <a:gd name="connsiteY22340" fmla="*/ 992042 h 6557032"/>
              <a:gd name="connsiteX22341" fmla="*/ 915187 w 4610101"/>
              <a:gd name="connsiteY22341" fmla="*/ 992342 h 6557032"/>
              <a:gd name="connsiteX22342" fmla="*/ 915306 w 4610101"/>
              <a:gd name="connsiteY22342" fmla="*/ 992498 h 6557032"/>
              <a:gd name="connsiteX22343" fmla="*/ 914732 w 4610101"/>
              <a:gd name="connsiteY22343" fmla="*/ 992115 h 6557032"/>
              <a:gd name="connsiteX22344" fmla="*/ 3265331 w 4610101"/>
              <a:gd name="connsiteY22344" fmla="*/ 990349 h 6557032"/>
              <a:gd name="connsiteX22345" fmla="*/ 3268753 w 4610101"/>
              <a:gd name="connsiteY22345" fmla="*/ 992115 h 6557032"/>
              <a:gd name="connsiteX22346" fmla="*/ 3268980 w 4610101"/>
              <a:gd name="connsiteY22346" fmla="*/ 1006692 h 6557032"/>
              <a:gd name="connsiteX22347" fmla="*/ 3264425 w 4610101"/>
              <a:gd name="connsiteY22347" fmla="*/ 1000542 h 6557032"/>
              <a:gd name="connsiteX22348" fmla="*/ 3438443 w 4610101"/>
              <a:gd name="connsiteY22348" fmla="*/ 990293 h 6557032"/>
              <a:gd name="connsiteX22349" fmla="*/ 3434798 w 4610101"/>
              <a:gd name="connsiteY22349" fmla="*/ 993937 h 6557032"/>
              <a:gd name="connsiteX22350" fmla="*/ 3427510 w 4610101"/>
              <a:gd name="connsiteY22350" fmla="*/ 997582 h 6557032"/>
              <a:gd name="connsiteX22351" fmla="*/ 3445731 w 4610101"/>
              <a:gd name="connsiteY22351" fmla="*/ 1004870 h 6557032"/>
              <a:gd name="connsiteX22352" fmla="*/ 3438443 w 4610101"/>
              <a:gd name="connsiteY22352" fmla="*/ 990293 h 6557032"/>
              <a:gd name="connsiteX22353" fmla="*/ 3374666 w 4610101"/>
              <a:gd name="connsiteY22353" fmla="*/ 990293 h 6557032"/>
              <a:gd name="connsiteX22354" fmla="*/ 3367378 w 4610101"/>
              <a:gd name="connsiteY22354" fmla="*/ 1006692 h 6557032"/>
              <a:gd name="connsiteX22355" fmla="*/ 3381955 w 4610101"/>
              <a:gd name="connsiteY22355" fmla="*/ 1001226 h 6557032"/>
              <a:gd name="connsiteX22356" fmla="*/ 3378311 w 4610101"/>
              <a:gd name="connsiteY22356" fmla="*/ 1003047 h 6557032"/>
              <a:gd name="connsiteX22357" fmla="*/ 3374666 w 4610101"/>
              <a:gd name="connsiteY22357" fmla="*/ 990293 h 6557032"/>
              <a:gd name="connsiteX22358" fmla="*/ 3265336 w 4610101"/>
              <a:gd name="connsiteY22358" fmla="*/ 990293 h 6557032"/>
              <a:gd name="connsiteX22359" fmla="*/ 3265331 w 4610101"/>
              <a:gd name="connsiteY22359" fmla="*/ 990349 h 6557032"/>
              <a:gd name="connsiteX22360" fmla="*/ 3265267 w 4610101"/>
              <a:gd name="connsiteY22360" fmla="*/ 990316 h 6557032"/>
              <a:gd name="connsiteX22361" fmla="*/ 2931878 w 4610101"/>
              <a:gd name="connsiteY22361" fmla="*/ 990293 h 6557032"/>
              <a:gd name="connsiteX22362" fmla="*/ 2959211 w 4610101"/>
              <a:gd name="connsiteY22362" fmla="*/ 997582 h 6557032"/>
              <a:gd name="connsiteX22363" fmla="*/ 2931878 w 4610101"/>
              <a:gd name="connsiteY22363" fmla="*/ 990293 h 6557032"/>
              <a:gd name="connsiteX22364" fmla="*/ 854600 w 4610101"/>
              <a:gd name="connsiteY22364" fmla="*/ 990293 h 6557032"/>
              <a:gd name="connsiteX22365" fmla="*/ 855055 w 4610101"/>
              <a:gd name="connsiteY22365" fmla="*/ 994165 h 6557032"/>
              <a:gd name="connsiteX22366" fmla="*/ 858243 w 4610101"/>
              <a:gd name="connsiteY22366" fmla="*/ 999403 h 6557032"/>
              <a:gd name="connsiteX22367" fmla="*/ 854600 w 4610101"/>
              <a:gd name="connsiteY22367" fmla="*/ 995759 h 6557032"/>
              <a:gd name="connsiteX22368" fmla="*/ 850956 w 4610101"/>
              <a:gd name="connsiteY22368" fmla="*/ 1001226 h 6557032"/>
              <a:gd name="connsiteX22369" fmla="*/ 852778 w 4610101"/>
              <a:gd name="connsiteY22369" fmla="*/ 1003047 h 6557032"/>
              <a:gd name="connsiteX22370" fmla="*/ 849133 w 4610101"/>
              <a:gd name="connsiteY22370" fmla="*/ 1006692 h 6557032"/>
              <a:gd name="connsiteX22371" fmla="*/ 854600 w 4610101"/>
              <a:gd name="connsiteY22371" fmla="*/ 1006692 h 6557032"/>
              <a:gd name="connsiteX22372" fmla="*/ 852778 w 4610101"/>
              <a:gd name="connsiteY22372" fmla="*/ 1003048 h 6557032"/>
              <a:gd name="connsiteX22373" fmla="*/ 856422 w 4610101"/>
              <a:gd name="connsiteY22373" fmla="*/ 1006692 h 6557032"/>
              <a:gd name="connsiteX22374" fmla="*/ 860066 w 4610101"/>
              <a:gd name="connsiteY22374" fmla="*/ 1001226 h 6557032"/>
              <a:gd name="connsiteX22375" fmla="*/ 858244 w 4610101"/>
              <a:gd name="connsiteY22375" fmla="*/ 999403 h 6557032"/>
              <a:gd name="connsiteX22376" fmla="*/ 859838 w 4610101"/>
              <a:gd name="connsiteY22376" fmla="*/ 993481 h 6557032"/>
              <a:gd name="connsiteX22377" fmla="*/ 854600 w 4610101"/>
              <a:gd name="connsiteY22377" fmla="*/ 990293 h 6557032"/>
              <a:gd name="connsiteX22378" fmla="*/ 340747 w 4610101"/>
              <a:gd name="connsiteY22378" fmla="*/ 990293 h 6557032"/>
              <a:gd name="connsiteX22379" fmla="*/ 348037 w 4610101"/>
              <a:gd name="connsiteY22379" fmla="*/ 1001226 h 6557032"/>
              <a:gd name="connsiteX22380" fmla="*/ 349858 w 4610101"/>
              <a:gd name="connsiteY22380" fmla="*/ 997582 h 6557032"/>
              <a:gd name="connsiteX22381" fmla="*/ 340747 w 4610101"/>
              <a:gd name="connsiteY22381" fmla="*/ 990293 h 6557032"/>
              <a:gd name="connsiteX22382" fmla="*/ 76532 w 4610101"/>
              <a:gd name="connsiteY22382" fmla="*/ 990293 h 6557032"/>
              <a:gd name="connsiteX22383" fmla="*/ 94296 w 4610101"/>
              <a:gd name="connsiteY22383" fmla="*/ 1004250 h 6557032"/>
              <a:gd name="connsiteX22384" fmla="*/ 102270 w 4610101"/>
              <a:gd name="connsiteY22384" fmla="*/ 1013753 h 6557032"/>
              <a:gd name="connsiteX22385" fmla="*/ 104342 w 4610101"/>
              <a:gd name="connsiteY22385" fmla="*/ 1015878 h 6557032"/>
              <a:gd name="connsiteX22386" fmla="*/ 1392161 w 4610101"/>
              <a:gd name="connsiteY22386" fmla="*/ 990006 h 6557032"/>
              <a:gd name="connsiteX22387" fmla="*/ 1392141 w 4610101"/>
              <a:gd name="connsiteY22387" fmla="*/ 990293 h 6557032"/>
              <a:gd name="connsiteX22388" fmla="*/ 1391796 w 4610101"/>
              <a:gd name="connsiteY22388" fmla="*/ 990687 h 6557032"/>
              <a:gd name="connsiteX22389" fmla="*/ 69248 w 4610101"/>
              <a:gd name="connsiteY22389" fmla="*/ 988520 h 6557032"/>
              <a:gd name="connsiteX22390" fmla="*/ 74709 w 4610101"/>
              <a:gd name="connsiteY22390" fmla="*/ 993982 h 6557032"/>
              <a:gd name="connsiteX22391" fmla="*/ 69254 w 4610101"/>
              <a:gd name="connsiteY22391" fmla="*/ 988527 h 6557032"/>
              <a:gd name="connsiteX22392" fmla="*/ 3041209 w 4610101"/>
              <a:gd name="connsiteY22392" fmla="*/ 988471 h 6557032"/>
              <a:gd name="connsiteX22393" fmla="*/ 3035742 w 4610101"/>
              <a:gd name="connsiteY22393" fmla="*/ 997582 h 6557032"/>
              <a:gd name="connsiteX22394" fmla="*/ 3052142 w 4610101"/>
              <a:gd name="connsiteY22394" fmla="*/ 992115 h 6557032"/>
              <a:gd name="connsiteX22395" fmla="*/ 3041209 w 4610101"/>
              <a:gd name="connsiteY22395" fmla="*/ 988471 h 6557032"/>
              <a:gd name="connsiteX22396" fmla="*/ 2576554 w 4610101"/>
              <a:gd name="connsiteY22396" fmla="*/ 988471 h 6557032"/>
              <a:gd name="connsiteX22397" fmla="*/ 2554688 w 4610101"/>
              <a:gd name="connsiteY22397" fmla="*/ 993937 h 6557032"/>
              <a:gd name="connsiteX22398" fmla="*/ 2558332 w 4610101"/>
              <a:gd name="connsiteY22398" fmla="*/ 1003047 h 6557032"/>
              <a:gd name="connsiteX22399" fmla="*/ 2534644 w 4610101"/>
              <a:gd name="connsiteY22399" fmla="*/ 999403 h 6557032"/>
              <a:gd name="connsiteX22400" fmla="*/ 2532822 w 4610101"/>
              <a:gd name="connsiteY22400" fmla="*/ 1010337 h 6557032"/>
              <a:gd name="connsiteX22401" fmla="*/ 2525534 w 4610101"/>
              <a:gd name="connsiteY22401" fmla="*/ 1003047 h 6557032"/>
              <a:gd name="connsiteX22402" fmla="*/ 2525534 w 4610101"/>
              <a:gd name="connsiteY22402" fmla="*/ 1019448 h 6557032"/>
              <a:gd name="connsiteX22403" fmla="*/ 2516423 w 4610101"/>
              <a:gd name="connsiteY22403" fmla="*/ 1023092 h 6557032"/>
              <a:gd name="connsiteX22404" fmla="*/ 2514600 w 4610101"/>
              <a:gd name="connsiteY22404" fmla="*/ 1013981 h 6557032"/>
              <a:gd name="connsiteX22405" fmla="*/ 2494556 w 4610101"/>
              <a:gd name="connsiteY22405" fmla="*/ 1024914 h 6557032"/>
              <a:gd name="connsiteX22406" fmla="*/ 2498201 w 4610101"/>
              <a:gd name="connsiteY22406" fmla="*/ 1034025 h 6557032"/>
              <a:gd name="connsiteX22407" fmla="*/ 2505490 w 4610101"/>
              <a:gd name="connsiteY22407" fmla="*/ 1023092 h 6557032"/>
              <a:gd name="connsiteX22408" fmla="*/ 2503667 w 4610101"/>
              <a:gd name="connsiteY22408" fmla="*/ 1041314 h 6557032"/>
              <a:gd name="connsiteX22409" fmla="*/ 2534644 w 4610101"/>
              <a:gd name="connsiteY22409" fmla="*/ 1085046 h 6557032"/>
              <a:gd name="connsiteX22410" fmla="*/ 2532822 w 4610101"/>
              <a:gd name="connsiteY22410" fmla="*/ 1090512 h 6557032"/>
              <a:gd name="connsiteX22411" fmla="*/ 2541933 w 4610101"/>
              <a:gd name="connsiteY22411" fmla="*/ 1079579 h 6557032"/>
              <a:gd name="connsiteX22412" fmla="*/ 2549222 w 4610101"/>
              <a:gd name="connsiteY22412" fmla="*/ 1090512 h 6557032"/>
              <a:gd name="connsiteX22413" fmla="*/ 2566781 w 4610101"/>
              <a:gd name="connsiteY22413" fmla="*/ 1085093 h 6557032"/>
              <a:gd name="connsiteX22414" fmla="*/ 2561322 w 4610101"/>
              <a:gd name="connsiteY22414" fmla="*/ 1091252 h 6557032"/>
              <a:gd name="connsiteX22415" fmla="*/ 2543755 w 4610101"/>
              <a:gd name="connsiteY22415" fmla="*/ 1094157 h 6557032"/>
              <a:gd name="connsiteX22416" fmla="*/ 2540111 w 4610101"/>
              <a:gd name="connsiteY22416" fmla="*/ 1101445 h 6557032"/>
              <a:gd name="connsiteX22417" fmla="*/ 2541933 w 4610101"/>
              <a:gd name="connsiteY22417" fmla="*/ 1117845 h 6557032"/>
              <a:gd name="connsiteX22418" fmla="*/ 2545577 w 4610101"/>
              <a:gd name="connsiteY22418" fmla="*/ 1123312 h 6557032"/>
              <a:gd name="connsiteX22419" fmla="*/ 2554688 w 4610101"/>
              <a:gd name="connsiteY22419" fmla="*/ 1117845 h 6557032"/>
              <a:gd name="connsiteX22420" fmla="*/ 2551044 w 4610101"/>
              <a:gd name="connsiteY22420" fmla="*/ 1103268 h 6557032"/>
              <a:gd name="connsiteX22421" fmla="*/ 2558332 w 4610101"/>
              <a:gd name="connsiteY22421" fmla="*/ 1110556 h 6557032"/>
              <a:gd name="connsiteX22422" fmla="*/ 2560155 w 4610101"/>
              <a:gd name="connsiteY22422" fmla="*/ 1106912 h 6557032"/>
              <a:gd name="connsiteX22423" fmla="*/ 2565621 w 4610101"/>
              <a:gd name="connsiteY22423" fmla="*/ 1106912 h 6557032"/>
              <a:gd name="connsiteX22424" fmla="*/ 2585665 w 4610101"/>
              <a:gd name="connsiteY22424" fmla="*/ 1081402 h 6557032"/>
              <a:gd name="connsiteX22425" fmla="*/ 2616642 w 4610101"/>
              <a:gd name="connsiteY22425" fmla="*/ 1055891 h 6557032"/>
              <a:gd name="connsiteX22426" fmla="*/ 2614820 w 4610101"/>
              <a:gd name="connsiteY22426" fmla="*/ 1050425 h 6557032"/>
              <a:gd name="connsiteX22427" fmla="*/ 2605709 w 4610101"/>
              <a:gd name="connsiteY22427" fmla="*/ 1059535 h 6557032"/>
              <a:gd name="connsiteX22428" fmla="*/ 2600243 w 4610101"/>
              <a:gd name="connsiteY22428" fmla="*/ 1052247 h 6557032"/>
              <a:gd name="connsiteX22429" fmla="*/ 2585665 w 4610101"/>
              <a:gd name="connsiteY22429" fmla="*/ 1055891 h 6557032"/>
              <a:gd name="connsiteX22430" fmla="*/ 2570860 w 4610101"/>
              <a:gd name="connsiteY22430" fmla="*/ 1080490 h 6557032"/>
              <a:gd name="connsiteX22431" fmla="*/ 2568485 w 4610101"/>
              <a:gd name="connsiteY22431" fmla="*/ 1083171 h 6557032"/>
              <a:gd name="connsiteX22432" fmla="*/ 2576554 w 4610101"/>
              <a:gd name="connsiteY22432" fmla="*/ 1066824 h 6557032"/>
              <a:gd name="connsiteX22433" fmla="*/ 2567443 w 4610101"/>
              <a:gd name="connsiteY22433" fmla="*/ 1055891 h 6557032"/>
              <a:gd name="connsiteX22434" fmla="*/ 2578377 w 4610101"/>
              <a:gd name="connsiteY22434" fmla="*/ 1057713 h 6557032"/>
              <a:gd name="connsiteX22435" fmla="*/ 2580199 w 4610101"/>
              <a:gd name="connsiteY22435" fmla="*/ 1030381 h 6557032"/>
              <a:gd name="connsiteX22436" fmla="*/ 2574732 w 4610101"/>
              <a:gd name="connsiteY22436" fmla="*/ 1028559 h 6557032"/>
              <a:gd name="connsiteX22437" fmla="*/ 2576554 w 4610101"/>
              <a:gd name="connsiteY22437" fmla="*/ 1013981 h 6557032"/>
              <a:gd name="connsiteX22438" fmla="*/ 2585665 w 4610101"/>
              <a:gd name="connsiteY22438" fmla="*/ 1021270 h 6557032"/>
              <a:gd name="connsiteX22439" fmla="*/ 2587487 w 4610101"/>
              <a:gd name="connsiteY22439" fmla="*/ 990293 h 6557032"/>
              <a:gd name="connsiteX22440" fmla="*/ 2582021 w 4610101"/>
              <a:gd name="connsiteY22440" fmla="*/ 988471 h 6557032"/>
              <a:gd name="connsiteX22441" fmla="*/ 2578377 w 4610101"/>
              <a:gd name="connsiteY22441" fmla="*/ 990293 h 6557032"/>
              <a:gd name="connsiteX22442" fmla="*/ 2578377 w 4610101"/>
              <a:gd name="connsiteY22442" fmla="*/ 997582 h 6557032"/>
              <a:gd name="connsiteX22443" fmla="*/ 2576554 w 4610101"/>
              <a:gd name="connsiteY22443" fmla="*/ 988471 h 6557032"/>
              <a:gd name="connsiteX22444" fmla="*/ 1264589 w 4610101"/>
              <a:gd name="connsiteY22444" fmla="*/ 988471 h 6557032"/>
              <a:gd name="connsiteX22445" fmla="*/ 1268233 w 4610101"/>
              <a:gd name="connsiteY22445" fmla="*/ 990293 h 6557032"/>
              <a:gd name="connsiteX22446" fmla="*/ 1260074 w 4610101"/>
              <a:gd name="connsiteY22446" fmla="*/ 998849 h 6557032"/>
              <a:gd name="connsiteX22447" fmla="*/ 1259943 w 4610101"/>
              <a:gd name="connsiteY22447" fmla="*/ 998766 h 6557032"/>
              <a:gd name="connsiteX22448" fmla="*/ 1260261 w 4610101"/>
              <a:gd name="connsiteY22448" fmla="*/ 997809 h 6557032"/>
              <a:gd name="connsiteX22449" fmla="*/ 1257300 w 4610101"/>
              <a:gd name="connsiteY22449" fmla="*/ 995759 h 6557032"/>
              <a:gd name="connsiteX22450" fmla="*/ 1264589 w 4610101"/>
              <a:gd name="connsiteY22450" fmla="*/ 988471 h 6557032"/>
              <a:gd name="connsiteX22451" fmla="*/ 1058683 w 4610101"/>
              <a:gd name="connsiteY22451" fmla="*/ 988471 h 6557032"/>
              <a:gd name="connsiteX22452" fmla="*/ 1055040 w 4610101"/>
              <a:gd name="connsiteY22452" fmla="*/ 992115 h 6557032"/>
              <a:gd name="connsiteX22453" fmla="*/ 1058683 w 4610101"/>
              <a:gd name="connsiteY22453" fmla="*/ 988471 h 6557032"/>
              <a:gd name="connsiteX22454" fmla="*/ 900154 w 4610101"/>
              <a:gd name="connsiteY22454" fmla="*/ 988471 h 6557032"/>
              <a:gd name="connsiteX22455" fmla="*/ 881933 w 4610101"/>
              <a:gd name="connsiteY22455" fmla="*/ 1001226 h 6557032"/>
              <a:gd name="connsiteX22456" fmla="*/ 887399 w 4610101"/>
              <a:gd name="connsiteY22456" fmla="*/ 1013981 h 6557032"/>
              <a:gd name="connsiteX22457" fmla="*/ 889222 w 4610101"/>
              <a:gd name="connsiteY22457" fmla="*/ 1010337 h 6557032"/>
              <a:gd name="connsiteX22458" fmla="*/ 887399 w 4610101"/>
              <a:gd name="connsiteY22458" fmla="*/ 1019448 h 6557032"/>
              <a:gd name="connsiteX22459" fmla="*/ 898333 w 4610101"/>
              <a:gd name="connsiteY22459" fmla="*/ 1028559 h 6557032"/>
              <a:gd name="connsiteX22460" fmla="*/ 900154 w 4610101"/>
              <a:gd name="connsiteY22460" fmla="*/ 1023092 h 6557032"/>
              <a:gd name="connsiteX22461" fmla="*/ 901976 w 4610101"/>
              <a:gd name="connsiteY22461" fmla="*/ 1026736 h 6557032"/>
              <a:gd name="connsiteX22462" fmla="*/ 905621 w 4610101"/>
              <a:gd name="connsiteY22462" fmla="*/ 1017625 h 6557032"/>
              <a:gd name="connsiteX22463" fmla="*/ 901976 w 4610101"/>
              <a:gd name="connsiteY22463" fmla="*/ 1015803 h 6557032"/>
              <a:gd name="connsiteX22464" fmla="*/ 900154 w 4610101"/>
              <a:gd name="connsiteY22464" fmla="*/ 1010337 h 6557032"/>
              <a:gd name="connsiteX22465" fmla="*/ 903799 w 4610101"/>
              <a:gd name="connsiteY22465" fmla="*/ 1015803 h 6557032"/>
              <a:gd name="connsiteX22466" fmla="*/ 905621 w 4610101"/>
              <a:gd name="connsiteY22466" fmla="*/ 1010337 h 6557032"/>
              <a:gd name="connsiteX22467" fmla="*/ 907444 w 4610101"/>
              <a:gd name="connsiteY22467" fmla="*/ 1015803 h 6557032"/>
              <a:gd name="connsiteX22468" fmla="*/ 911087 w 4610101"/>
              <a:gd name="connsiteY22468" fmla="*/ 1019448 h 6557032"/>
              <a:gd name="connsiteX22469" fmla="*/ 911475 w 4610101"/>
              <a:gd name="connsiteY22469" fmla="*/ 1013827 h 6557032"/>
              <a:gd name="connsiteX22470" fmla="*/ 912909 w 4610101"/>
              <a:gd name="connsiteY22470" fmla="*/ 1026736 h 6557032"/>
              <a:gd name="connsiteX22471" fmla="*/ 918376 w 4610101"/>
              <a:gd name="connsiteY22471" fmla="*/ 1017625 h 6557032"/>
              <a:gd name="connsiteX22472" fmla="*/ 912909 w 4610101"/>
              <a:gd name="connsiteY22472" fmla="*/ 1006692 h 6557032"/>
              <a:gd name="connsiteX22473" fmla="*/ 912909 w 4610101"/>
              <a:gd name="connsiteY22473" fmla="*/ 1012159 h 6557032"/>
              <a:gd name="connsiteX22474" fmla="*/ 911087 w 4610101"/>
              <a:gd name="connsiteY22474" fmla="*/ 1010337 h 6557032"/>
              <a:gd name="connsiteX22475" fmla="*/ 911253 w 4610101"/>
              <a:gd name="connsiteY22475" fmla="*/ 1011825 h 6557032"/>
              <a:gd name="connsiteX22476" fmla="*/ 909720 w 4610101"/>
              <a:gd name="connsiteY22476" fmla="*/ 1006464 h 6557032"/>
              <a:gd name="connsiteX22477" fmla="*/ 912909 w 4610101"/>
              <a:gd name="connsiteY22477" fmla="*/ 1004870 h 6557032"/>
              <a:gd name="connsiteX22478" fmla="*/ 911087 w 4610101"/>
              <a:gd name="connsiteY22478" fmla="*/ 997582 h 6557032"/>
              <a:gd name="connsiteX22479" fmla="*/ 909479 w 4610101"/>
              <a:gd name="connsiteY22479" fmla="*/ 1005620 h 6557032"/>
              <a:gd name="connsiteX22480" fmla="*/ 909265 w 4610101"/>
              <a:gd name="connsiteY22480" fmla="*/ 1004870 h 6557032"/>
              <a:gd name="connsiteX22481" fmla="*/ 905621 w 4610101"/>
              <a:gd name="connsiteY22481" fmla="*/ 1006692 h 6557032"/>
              <a:gd name="connsiteX22482" fmla="*/ 900154 w 4610101"/>
              <a:gd name="connsiteY22482" fmla="*/ 988471 h 6557032"/>
              <a:gd name="connsiteX22483" fmla="*/ 708826 w 4610101"/>
              <a:gd name="connsiteY22483" fmla="*/ 988471 h 6557032"/>
              <a:gd name="connsiteX22484" fmla="*/ 705182 w 4610101"/>
              <a:gd name="connsiteY22484" fmla="*/ 992115 h 6557032"/>
              <a:gd name="connsiteX22485" fmla="*/ 712470 w 4610101"/>
              <a:gd name="connsiteY22485" fmla="*/ 995759 h 6557032"/>
              <a:gd name="connsiteX22486" fmla="*/ 708826 w 4610101"/>
              <a:gd name="connsiteY22486" fmla="*/ 988471 h 6557032"/>
              <a:gd name="connsiteX22487" fmla="*/ 685138 w 4610101"/>
              <a:gd name="connsiteY22487" fmla="*/ 988471 h 6557032"/>
              <a:gd name="connsiteX22488" fmla="*/ 692426 w 4610101"/>
              <a:gd name="connsiteY22488" fmla="*/ 990293 h 6557032"/>
              <a:gd name="connsiteX22489" fmla="*/ 685138 w 4610101"/>
              <a:gd name="connsiteY22489" fmla="*/ 988471 h 6557032"/>
              <a:gd name="connsiteX22490" fmla="*/ 395412 w 4610101"/>
              <a:gd name="connsiteY22490" fmla="*/ 988471 h 6557032"/>
              <a:gd name="connsiteX22491" fmla="*/ 380835 w 4610101"/>
              <a:gd name="connsiteY22491" fmla="*/ 999403 h 6557032"/>
              <a:gd name="connsiteX22492" fmla="*/ 399056 w 4610101"/>
              <a:gd name="connsiteY22492" fmla="*/ 1013981 h 6557032"/>
              <a:gd name="connsiteX22493" fmla="*/ 397234 w 4610101"/>
              <a:gd name="connsiteY22493" fmla="*/ 1010337 h 6557032"/>
              <a:gd name="connsiteX22494" fmla="*/ 426389 w 4610101"/>
              <a:gd name="connsiteY22494" fmla="*/ 1030381 h 6557032"/>
              <a:gd name="connsiteX22495" fmla="*/ 395412 w 4610101"/>
              <a:gd name="connsiteY22495" fmla="*/ 988471 h 6557032"/>
              <a:gd name="connsiteX22496" fmla="*/ 377190 w 4610101"/>
              <a:gd name="connsiteY22496" fmla="*/ 988471 h 6557032"/>
              <a:gd name="connsiteX22497" fmla="*/ 380835 w 4610101"/>
              <a:gd name="connsiteY22497" fmla="*/ 990293 h 6557032"/>
              <a:gd name="connsiteX22498" fmla="*/ 377190 w 4610101"/>
              <a:gd name="connsiteY22498" fmla="*/ 988471 h 6557032"/>
              <a:gd name="connsiteX22499" fmla="*/ 371724 w 4610101"/>
              <a:gd name="connsiteY22499" fmla="*/ 988471 h 6557032"/>
              <a:gd name="connsiteX22500" fmla="*/ 368079 w 4610101"/>
              <a:gd name="connsiteY22500" fmla="*/ 990293 h 6557032"/>
              <a:gd name="connsiteX22501" fmla="*/ 375368 w 4610101"/>
              <a:gd name="connsiteY22501" fmla="*/ 993937 h 6557032"/>
              <a:gd name="connsiteX22502" fmla="*/ 371724 w 4610101"/>
              <a:gd name="connsiteY22502" fmla="*/ 988471 h 6557032"/>
              <a:gd name="connsiteX22503" fmla="*/ 287904 w 4610101"/>
              <a:gd name="connsiteY22503" fmla="*/ 988471 h 6557032"/>
              <a:gd name="connsiteX22504" fmla="*/ 291549 w 4610101"/>
              <a:gd name="connsiteY22504" fmla="*/ 990293 h 6557032"/>
              <a:gd name="connsiteX22505" fmla="*/ 287904 w 4610101"/>
              <a:gd name="connsiteY22505" fmla="*/ 988471 h 6557032"/>
              <a:gd name="connsiteX22506" fmla="*/ 251460 w 4610101"/>
              <a:gd name="connsiteY22506" fmla="*/ 988471 h 6557032"/>
              <a:gd name="connsiteX22507" fmla="*/ 278793 w 4610101"/>
              <a:gd name="connsiteY22507" fmla="*/ 1019448 h 6557032"/>
              <a:gd name="connsiteX22508" fmla="*/ 276971 w 4610101"/>
              <a:gd name="connsiteY22508" fmla="*/ 1013981 h 6557032"/>
              <a:gd name="connsiteX22509" fmla="*/ 273327 w 4610101"/>
              <a:gd name="connsiteY22509" fmla="*/ 1010337 h 6557032"/>
              <a:gd name="connsiteX22510" fmla="*/ 251460 w 4610101"/>
              <a:gd name="connsiteY22510" fmla="*/ 988471 h 6557032"/>
              <a:gd name="connsiteX22511" fmla="*/ 240527 w 4610101"/>
              <a:gd name="connsiteY22511" fmla="*/ 988471 h 6557032"/>
              <a:gd name="connsiteX22512" fmla="*/ 247816 w 4610101"/>
              <a:gd name="connsiteY22512" fmla="*/ 997582 h 6557032"/>
              <a:gd name="connsiteX22513" fmla="*/ 240527 w 4610101"/>
              <a:gd name="connsiteY22513" fmla="*/ 988471 h 6557032"/>
              <a:gd name="connsiteX22514" fmla="*/ 2295682 w 4610101"/>
              <a:gd name="connsiteY22514" fmla="*/ 987133 h 6557032"/>
              <a:gd name="connsiteX22515" fmla="*/ 2288439 w 4610101"/>
              <a:gd name="connsiteY22515" fmla="*/ 994190 h 6557032"/>
              <a:gd name="connsiteX22516" fmla="*/ 2291157 w 4610101"/>
              <a:gd name="connsiteY22516" fmla="*/ 989609 h 6557032"/>
              <a:gd name="connsiteX22517" fmla="*/ 3070363 w 4610101"/>
              <a:gd name="connsiteY22517" fmla="*/ 986649 h 6557032"/>
              <a:gd name="connsiteX22518" fmla="*/ 3075830 w 4610101"/>
              <a:gd name="connsiteY22518" fmla="*/ 990293 h 6557032"/>
              <a:gd name="connsiteX22519" fmla="*/ 3075830 w 4610101"/>
              <a:gd name="connsiteY22519" fmla="*/ 986649 h 6557032"/>
              <a:gd name="connsiteX22520" fmla="*/ 3070363 w 4610101"/>
              <a:gd name="connsiteY22520" fmla="*/ 986649 h 6557032"/>
              <a:gd name="connsiteX22521" fmla="*/ 3052142 w 4610101"/>
              <a:gd name="connsiteY22521" fmla="*/ 986649 h 6557032"/>
              <a:gd name="connsiteX22522" fmla="*/ 3057608 w 4610101"/>
              <a:gd name="connsiteY22522" fmla="*/ 1003047 h 6557032"/>
              <a:gd name="connsiteX22523" fmla="*/ 3066719 w 4610101"/>
              <a:gd name="connsiteY22523" fmla="*/ 1006692 h 6557032"/>
              <a:gd name="connsiteX22524" fmla="*/ 3052142 w 4610101"/>
              <a:gd name="connsiteY22524" fmla="*/ 986649 h 6557032"/>
              <a:gd name="connsiteX22525" fmla="*/ 2592954 w 4610101"/>
              <a:gd name="connsiteY22525" fmla="*/ 986649 h 6557032"/>
              <a:gd name="connsiteX22526" fmla="*/ 2609353 w 4610101"/>
              <a:gd name="connsiteY22526" fmla="*/ 999403 h 6557032"/>
              <a:gd name="connsiteX22527" fmla="*/ 2592954 w 4610101"/>
              <a:gd name="connsiteY22527" fmla="*/ 986649 h 6557032"/>
              <a:gd name="connsiteX22528" fmla="*/ 1393963 w 4610101"/>
              <a:gd name="connsiteY22528" fmla="*/ 986649 h 6557032"/>
              <a:gd name="connsiteX22529" fmla="*/ 1392161 w 4610101"/>
              <a:gd name="connsiteY22529" fmla="*/ 990006 h 6557032"/>
              <a:gd name="connsiteX22530" fmla="*/ 1392369 w 4610101"/>
              <a:gd name="connsiteY22530" fmla="*/ 987104 h 6557032"/>
              <a:gd name="connsiteX22531" fmla="*/ 1393963 w 4610101"/>
              <a:gd name="connsiteY22531" fmla="*/ 986649 h 6557032"/>
              <a:gd name="connsiteX22532" fmla="*/ 1240901 w 4610101"/>
              <a:gd name="connsiteY22532" fmla="*/ 986649 h 6557032"/>
              <a:gd name="connsiteX22533" fmla="*/ 1255071 w 4610101"/>
              <a:gd name="connsiteY22533" fmla="*/ 995665 h 6557032"/>
              <a:gd name="connsiteX22534" fmla="*/ 1247507 w 4610101"/>
              <a:gd name="connsiteY22534" fmla="*/ 993937 h 6557032"/>
              <a:gd name="connsiteX22535" fmla="*/ 1240901 w 4610101"/>
              <a:gd name="connsiteY22535" fmla="*/ 986649 h 6557032"/>
              <a:gd name="connsiteX22536" fmla="*/ 355324 w 4610101"/>
              <a:gd name="connsiteY22536" fmla="*/ 986649 h 6557032"/>
              <a:gd name="connsiteX22537" fmla="*/ 362613 w 4610101"/>
              <a:gd name="connsiteY22537" fmla="*/ 992115 h 6557032"/>
              <a:gd name="connsiteX22538" fmla="*/ 358969 w 4610101"/>
              <a:gd name="connsiteY22538" fmla="*/ 986649 h 6557032"/>
              <a:gd name="connsiteX22539" fmla="*/ 355324 w 4610101"/>
              <a:gd name="connsiteY22539" fmla="*/ 986649 h 6557032"/>
              <a:gd name="connsiteX22540" fmla="*/ 244172 w 4610101"/>
              <a:gd name="connsiteY22540" fmla="*/ 986649 h 6557032"/>
              <a:gd name="connsiteX22541" fmla="*/ 249638 w 4610101"/>
              <a:gd name="connsiteY22541" fmla="*/ 988471 h 6557032"/>
              <a:gd name="connsiteX22542" fmla="*/ 244172 w 4610101"/>
              <a:gd name="connsiteY22542" fmla="*/ 986649 h 6557032"/>
              <a:gd name="connsiteX22543" fmla="*/ 191329 w 4610101"/>
              <a:gd name="connsiteY22543" fmla="*/ 986649 h 6557032"/>
              <a:gd name="connsiteX22544" fmla="*/ 196795 w 4610101"/>
              <a:gd name="connsiteY22544" fmla="*/ 990293 h 6557032"/>
              <a:gd name="connsiteX22545" fmla="*/ 191329 w 4610101"/>
              <a:gd name="connsiteY22545" fmla="*/ 986649 h 6557032"/>
              <a:gd name="connsiteX22546" fmla="*/ 3102252 w 4610101"/>
              <a:gd name="connsiteY22546" fmla="*/ 985965 h 6557032"/>
              <a:gd name="connsiteX22547" fmla="*/ 3095874 w 4610101"/>
              <a:gd name="connsiteY22547" fmla="*/ 988471 h 6557032"/>
              <a:gd name="connsiteX22548" fmla="*/ 3108629 w 4610101"/>
              <a:gd name="connsiteY22548" fmla="*/ 990293 h 6557032"/>
              <a:gd name="connsiteX22549" fmla="*/ 3102252 w 4610101"/>
              <a:gd name="connsiteY22549" fmla="*/ 985965 h 6557032"/>
              <a:gd name="connsiteX22550" fmla="*/ 3150539 w 4610101"/>
              <a:gd name="connsiteY22550" fmla="*/ 984826 h 6557032"/>
              <a:gd name="connsiteX22551" fmla="*/ 3154184 w 4610101"/>
              <a:gd name="connsiteY22551" fmla="*/ 993937 h 6557032"/>
              <a:gd name="connsiteX22552" fmla="*/ 3146895 w 4610101"/>
              <a:gd name="connsiteY22552" fmla="*/ 992115 h 6557032"/>
              <a:gd name="connsiteX22553" fmla="*/ 3150312 w 4610101"/>
              <a:gd name="connsiteY22553" fmla="*/ 997354 h 6557032"/>
              <a:gd name="connsiteX22554" fmla="*/ 3157547 w 4610101"/>
              <a:gd name="connsiteY22554" fmla="*/ 1001081 h 6557032"/>
              <a:gd name="connsiteX22555" fmla="*/ 3157640 w 4610101"/>
              <a:gd name="connsiteY22555" fmla="*/ 1001430 h 6557032"/>
              <a:gd name="connsiteX22556" fmla="*/ 3149628 w 4610101"/>
              <a:gd name="connsiteY22556" fmla="*/ 1010109 h 6557032"/>
              <a:gd name="connsiteX22557" fmla="*/ 3152361 w 4610101"/>
              <a:gd name="connsiteY22557" fmla="*/ 1023092 h 6557032"/>
              <a:gd name="connsiteX22558" fmla="*/ 3154184 w 4610101"/>
              <a:gd name="connsiteY22558" fmla="*/ 1010337 h 6557032"/>
              <a:gd name="connsiteX22559" fmla="*/ 3157828 w 4610101"/>
              <a:gd name="connsiteY22559" fmla="*/ 1019448 h 6557032"/>
              <a:gd name="connsiteX22560" fmla="*/ 3159650 w 4610101"/>
              <a:gd name="connsiteY22560" fmla="*/ 1012159 h 6557032"/>
              <a:gd name="connsiteX22561" fmla="*/ 3161472 w 4610101"/>
              <a:gd name="connsiteY22561" fmla="*/ 1015803 h 6557032"/>
              <a:gd name="connsiteX22562" fmla="*/ 3157640 w 4610101"/>
              <a:gd name="connsiteY22562" fmla="*/ 1001430 h 6557032"/>
              <a:gd name="connsiteX22563" fmla="*/ 3157828 w 4610101"/>
              <a:gd name="connsiteY22563" fmla="*/ 1001226 h 6557032"/>
              <a:gd name="connsiteX22564" fmla="*/ 3157547 w 4610101"/>
              <a:gd name="connsiteY22564" fmla="*/ 1001081 h 6557032"/>
              <a:gd name="connsiteX22565" fmla="*/ 3154184 w 4610101"/>
              <a:gd name="connsiteY22565" fmla="*/ 988471 h 6557032"/>
              <a:gd name="connsiteX22566" fmla="*/ 3157828 w 4610101"/>
              <a:gd name="connsiteY22566" fmla="*/ 986649 h 6557032"/>
              <a:gd name="connsiteX22567" fmla="*/ 3150539 w 4610101"/>
              <a:gd name="connsiteY22567" fmla="*/ 984826 h 6557032"/>
              <a:gd name="connsiteX22568" fmla="*/ 1082373 w 4610101"/>
              <a:gd name="connsiteY22568" fmla="*/ 984826 h 6557032"/>
              <a:gd name="connsiteX22569" fmla="*/ 1076905 w 4610101"/>
              <a:gd name="connsiteY22569" fmla="*/ 988471 h 6557032"/>
              <a:gd name="connsiteX22570" fmla="*/ 1084194 w 4610101"/>
              <a:gd name="connsiteY22570" fmla="*/ 988471 h 6557032"/>
              <a:gd name="connsiteX22571" fmla="*/ 1082373 w 4610101"/>
              <a:gd name="connsiteY22571" fmla="*/ 984826 h 6557032"/>
              <a:gd name="connsiteX22572" fmla="*/ 1076905 w 4610101"/>
              <a:gd name="connsiteY22572" fmla="*/ 984826 h 6557032"/>
              <a:gd name="connsiteX22573" fmla="*/ 1078727 w 4610101"/>
              <a:gd name="connsiteY22573" fmla="*/ 986649 h 6557032"/>
              <a:gd name="connsiteX22574" fmla="*/ 1080549 w 4610101"/>
              <a:gd name="connsiteY22574" fmla="*/ 984826 h 6557032"/>
              <a:gd name="connsiteX22575" fmla="*/ 1018596 w 4610101"/>
              <a:gd name="connsiteY22575" fmla="*/ 984826 h 6557032"/>
              <a:gd name="connsiteX22576" fmla="*/ 1018596 w 4610101"/>
              <a:gd name="connsiteY22576" fmla="*/ 997582 h 6557032"/>
              <a:gd name="connsiteX22577" fmla="*/ 1018596 w 4610101"/>
              <a:gd name="connsiteY22577" fmla="*/ 984826 h 6557032"/>
              <a:gd name="connsiteX22578" fmla="*/ 901976 w 4610101"/>
              <a:gd name="connsiteY22578" fmla="*/ 984826 h 6557032"/>
              <a:gd name="connsiteX22579" fmla="*/ 909265 w 4610101"/>
              <a:gd name="connsiteY22579" fmla="*/ 993937 h 6557032"/>
              <a:gd name="connsiteX22580" fmla="*/ 905621 w 4610101"/>
              <a:gd name="connsiteY22580" fmla="*/ 993937 h 6557032"/>
              <a:gd name="connsiteX22581" fmla="*/ 907444 w 4610101"/>
              <a:gd name="connsiteY22581" fmla="*/ 1001226 h 6557032"/>
              <a:gd name="connsiteX22582" fmla="*/ 909265 w 4610101"/>
              <a:gd name="connsiteY22582" fmla="*/ 995759 h 6557032"/>
              <a:gd name="connsiteX22583" fmla="*/ 922020 w 4610101"/>
              <a:gd name="connsiteY22583" fmla="*/ 1001226 h 6557032"/>
              <a:gd name="connsiteX22584" fmla="*/ 915306 w 4610101"/>
              <a:gd name="connsiteY22584" fmla="*/ 992498 h 6557032"/>
              <a:gd name="connsiteX22585" fmla="*/ 920198 w 4610101"/>
              <a:gd name="connsiteY22585" fmla="*/ 995759 h 6557032"/>
              <a:gd name="connsiteX22586" fmla="*/ 912909 w 4610101"/>
              <a:gd name="connsiteY22586" fmla="*/ 986649 h 6557032"/>
              <a:gd name="connsiteX22587" fmla="*/ 916555 w 4610101"/>
              <a:gd name="connsiteY22587" fmla="*/ 990293 h 6557032"/>
              <a:gd name="connsiteX22588" fmla="*/ 914804 w 4610101"/>
              <a:gd name="connsiteY22588" fmla="*/ 992042 h 6557032"/>
              <a:gd name="connsiteX22589" fmla="*/ 905621 w 4610101"/>
              <a:gd name="connsiteY22589" fmla="*/ 984826 h 6557032"/>
              <a:gd name="connsiteX22590" fmla="*/ 905621 w 4610101"/>
              <a:gd name="connsiteY22590" fmla="*/ 986649 h 6557032"/>
              <a:gd name="connsiteX22591" fmla="*/ 901976 w 4610101"/>
              <a:gd name="connsiteY22591" fmla="*/ 984826 h 6557032"/>
              <a:gd name="connsiteX22592" fmla="*/ 872822 w 4610101"/>
              <a:gd name="connsiteY22592" fmla="*/ 984826 h 6557032"/>
              <a:gd name="connsiteX22593" fmla="*/ 874644 w 4610101"/>
              <a:gd name="connsiteY22593" fmla="*/ 986649 h 6557032"/>
              <a:gd name="connsiteX22594" fmla="*/ 871000 w 4610101"/>
              <a:gd name="connsiteY22594" fmla="*/ 995759 h 6557032"/>
              <a:gd name="connsiteX22595" fmla="*/ 865533 w 4610101"/>
              <a:gd name="connsiteY22595" fmla="*/ 993937 h 6557032"/>
              <a:gd name="connsiteX22596" fmla="*/ 863711 w 4610101"/>
              <a:gd name="connsiteY22596" fmla="*/ 1003047 h 6557032"/>
              <a:gd name="connsiteX22597" fmla="*/ 892866 w 4610101"/>
              <a:gd name="connsiteY22597" fmla="*/ 986649 h 6557032"/>
              <a:gd name="connsiteX22598" fmla="*/ 872822 w 4610101"/>
              <a:gd name="connsiteY22598" fmla="*/ 984826 h 6557032"/>
              <a:gd name="connsiteX22599" fmla="*/ 677849 w 4610101"/>
              <a:gd name="connsiteY22599" fmla="*/ 984826 h 6557032"/>
              <a:gd name="connsiteX22600" fmla="*/ 679671 w 4610101"/>
              <a:gd name="connsiteY22600" fmla="*/ 986649 h 6557032"/>
              <a:gd name="connsiteX22601" fmla="*/ 677849 w 4610101"/>
              <a:gd name="connsiteY22601" fmla="*/ 988471 h 6557032"/>
              <a:gd name="connsiteX22602" fmla="*/ 544830 w 4610101"/>
              <a:gd name="connsiteY22602" fmla="*/ 984826 h 6557032"/>
              <a:gd name="connsiteX22603" fmla="*/ 557586 w 4610101"/>
              <a:gd name="connsiteY22603" fmla="*/ 997582 h 6557032"/>
              <a:gd name="connsiteX22604" fmla="*/ 544830 w 4610101"/>
              <a:gd name="connsiteY22604" fmla="*/ 984826 h 6557032"/>
              <a:gd name="connsiteX22605" fmla="*/ 404523 w 4610101"/>
              <a:gd name="connsiteY22605" fmla="*/ 984826 h 6557032"/>
              <a:gd name="connsiteX22606" fmla="*/ 399056 w 4610101"/>
              <a:gd name="connsiteY22606" fmla="*/ 988471 h 6557032"/>
              <a:gd name="connsiteX22607" fmla="*/ 457367 w 4610101"/>
              <a:gd name="connsiteY22607" fmla="*/ 1037669 h 6557032"/>
              <a:gd name="connsiteX22608" fmla="*/ 426389 w 4610101"/>
              <a:gd name="connsiteY22608" fmla="*/ 1001226 h 6557032"/>
              <a:gd name="connsiteX22609" fmla="*/ 462832 w 4610101"/>
              <a:gd name="connsiteY22609" fmla="*/ 1035847 h 6557032"/>
              <a:gd name="connsiteX22610" fmla="*/ 404523 w 4610101"/>
              <a:gd name="connsiteY22610" fmla="*/ 984826 h 6557032"/>
              <a:gd name="connsiteX22611" fmla="*/ 313414 w 4610101"/>
              <a:gd name="connsiteY22611" fmla="*/ 984826 h 6557032"/>
              <a:gd name="connsiteX22612" fmla="*/ 318882 w 4610101"/>
              <a:gd name="connsiteY22612" fmla="*/ 988471 h 6557032"/>
              <a:gd name="connsiteX22613" fmla="*/ 313414 w 4610101"/>
              <a:gd name="connsiteY22613" fmla="*/ 984826 h 6557032"/>
              <a:gd name="connsiteX22614" fmla="*/ 205906 w 4610101"/>
              <a:gd name="connsiteY22614" fmla="*/ 984826 h 6557032"/>
              <a:gd name="connsiteX22615" fmla="*/ 207512 w 4610101"/>
              <a:gd name="connsiteY22615" fmla="*/ 987050 h 6557032"/>
              <a:gd name="connsiteX22616" fmla="*/ 207728 w 4610101"/>
              <a:gd name="connsiteY22616" fmla="*/ 990293 h 6557032"/>
              <a:gd name="connsiteX22617" fmla="*/ 208868 w 4610101"/>
              <a:gd name="connsiteY22617" fmla="*/ 988926 h 6557032"/>
              <a:gd name="connsiteX22618" fmla="*/ 207512 w 4610101"/>
              <a:gd name="connsiteY22618" fmla="*/ 987050 h 6557032"/>
              <a:gd name="connsiteX22619" fmla="*/ 207500 w 4610101"/>
              <a:gd name="connsiteY22619" fmla="*/ 986876 h 6557032"/>
              <a:gd name="connsiteX22620" fmla="*/ 205906 w 4610101"/>
              <a:gd name="connsiteY22620" fmla="*/ 984826 h 6557032"/>
              <a:gd name="connsiteX22621" fmla="*/ 96576 w 4610101"/>
              <a:gd name="connsiteY22621" fmla="*/ 984826 h 6557032"/>
              <a:gd name="connsiteX22622" fmla="*/ 114797 w 4610101"/>
              <a:gd name="connsiteY22622" fmla="*/ 1008515 h 6557032"/>
              <a:gd name="connsiteX22623" fmla="*/ 96576 w 4610101"/>
              <a:gd name="connsiteY22623" fmla="*/ 984826 h 6557032"/>
              <a:gd name="connsiteX22624" fmla="*/ 867811 w 4610101"/>
              <a:gd name="connsiteY22624" fmla="*/ 983459 h 6557032"/>
              <a:gd name="connsiteX22625" fmla="*/ 863711 w 4610101"/>
              <a:gd name="connsiteY22625" fmla="*/ 992115 h 6557032"/>
              <a:gd name="connsiteX22626" fmla="*/ 869177 w 4610101"/>
              <a:gd name="connsiteY22626" fmla="*/ 993937 h 6557032"/>
              <a:gd name="connsiteX22627" fmla="*/ 867811 w 4610101"/>
              <a:gd name="connsiteY22627" fmla="*/ 983459 h 6557032"/>
              <a:gd name="connsiteX22628" fmla="*/ 3128673 w 4610101"/>
              <a:gd name="connsiteY22628" fmla="*/ 983004 h 6557032"/>
              <a:gd name="connsiteX22629" fmla="*/ 3114096 w 4610101"/>
              <a:gd name="connsiteY22629" fmla="*/ 986649 h 6557032"/>
              <a:gd name="connsiteX22630" fmla="*/ 3128673 w 4610101"/>
              <a:gd name="connsiteY22630" fmla="*/ 983004 h 6557032"/>
              <a:gd name="connsiteX22631" fmla="*/ 2534644 w 4610101"/>
              <a:gd name="connsiteY22631" fmla="*/ 983004 h 6557032"/>
              <a:gd name="connsiteX22632" fmla="*/ 2525534 w 4610101"/>
              <a:gd name="connsiteY22632" fmla="*/ 988471 h 6557032"/>
              <a:gd name="connsiteX22633" fmla="*/ 2534644 w 4610101"/>
              <a:gd name="connsiteY22633" fmla="*/ 983004 h 6557032"/>
              <a:gd name="connsiteX22634" fmla="*/ 555763 w 4610101"/>
              <a:gd name="connsiteY22634" fmla="*/ 983004 h 6557032"/>
              <a:gd name="connsiteX22635" fmla="*/ 548475 w 4610101"/>
              <a:gd name="connsiteY22635" fmla="*/ 984826 h 6557032"/>
              <a:gd name="connsiteX22636" fmla="*/ 564874 w 4610101"/>
              <a:gd name="connsiteY22636" fmla="*/ 999403 h 6557032"/>
              <a:gd name="connsiteX22637" fmla="*/ 555763 w 4610101"/>
              <a:gd name="connsiteY22637" fmla="*/ 983004 h 6557032"/>
              <a:gd name="connsiteX22638" fmla="*/ 497454 w 4610101"/>
              <a:gd name="connsiteY22638" fmla="*/ 983004 h 6557032"/>
              <a:gd name="connsiteX22639" fmla="*/ 510209 w 4610101"/>
              <a:gd name="connsiteY22639" fmla="*/ 1003047 h 6557032"/>
              <a:gd name="connsiteX22640" fmla="*/ 512031 w 4610101"/>
              <a:gd name="connsiteY22640" fmla="*/ 995759 h 6557032"/>
              <a:gd name="connsiteX22641" fmla="*/ 515676 w 4610101"/>
              <a:gd name="connsiteY22641" fmla="*/ 999403 h 6557032"/>
              <a:gd name="connsiteX22642" fmla="*/ 512031 w 4610101"/>
              <a:gd name="connsiteY22642" fmla="*/ 990293 h 6557032"/>
              <a:gd name="connsiteX22643" fmla="*/ 510209 w 4610101"/>
              <a:gd name="connsiteY22643" fmla="*/ 995759 h 6557032"/>
              <a:gd name="connsiteX22644" fmla="*/ 497454 w 4610101"/>
              <a:gd name="connsiteY22644" fmla="*/ 983004 h 6557032"/>
              <a:gd name="connsiteX22645" fmla="*/ 433678 w 4610101"/>
              <a:gd name="connsiteY22645" fmla="*/ 983004 h 6557032"/>
              <a:gd name="connsiteX22646" fmla="*/ 439145 w 4610101"/>
              <a:gd name="connsiteY22646" fmla="*/ 993937 h 6557032"/>
              <a:gd name="connsiteX22647" fmla="*/ 446433 w 4610101"/>
              <a:gd name="connsiteY22647" fmla="*/ 990293 h 6557032"/>
              <a:gd name="connsiteX22648" fmla="*/ 439145 w 4610101"/>
              <a:gd name="connsiteY22648" fmla="*/ 986649 h 6557032"/>
              <a:gd name="connsiteX22649" fmla="*/ 433678 w 4610101"/>
              <a:gd name="connsiteY22649" fmla="*/ 983004 h 6557032"/>
              <a:gd name="connsiteX22650" fmla="*/ 1270967 w 4610101"/>
              <a:gd name="connsiteY22650" fmla="*/ 982595 h 6557032"/>
              <a:gd name="connsiteX22651" fmla="*/ 1273700 w 4610101"/>
              <a:gd name="connsiteY22651" fmla="*/ 983050 h 6557032"/>
              <a:gd name="connsiteX22652" fmla="*/ 1270055 w 4610101"/>
              <a:gd name="connsiteY22652" fmla="*/ 988516 h 6557032"/>
              <a:gd name="connsiteX22653" fmla="*/ 1268233 w 4610101"/>
              <a:gd name="connsiteY22653" fmla="*/ 988516 h 6557032"/>
              <a:gd name="connsiteX22654" fmla="*/ 1268233 w 4610101"/>
              <a:gd name="connsiteY22654" fmla="*/ 984872 h 6557032"/>
              <a:gd name="connsiteX22655" fmla="*/ 1270967 w 4610101"/>
              <a:gd name="connsiteY22655" fmla="*/ 982595 h 6557032"/>
              <a:gd name="connsiteX22656" fmla="*/ 1104238 w 4610101"/>
              <a:gd name="connsiteY22656" fmla="*/ 982320 h 6557032"/>
              <a:gd name="connsiteX22657" fmla="*/ 1098771 w 4610101"/>
              <a:gd name="connsiteY22657" fmla="*/ 983004 h 6557032"/>
              <a:gd name="connsiteX22658" fmla="*/ 1109704 w 4610101"/>
              <a:gd name="connsiteY22658" fmla="*/ 983004 h 6557032"/>
              <a:gd name="connsiteX22659" fmla="*/ 1104238 w 4610101"/>
              <a:gd name="connsiteY22659" fmla="*/ 982320 h 6557032"/>
              <a:gd name="connsiteX22660" fmla="*/ 3250759 w 4610101"/>
              <a:gd name="connsiteY22660" fmla="*/ 981182 h 6557032"/>
              <a:gd name="connsiteX22661" fmla="*/ 3247114 w 4610101"/>
              <a:gd name="connsiteY22661" fmla="*/ 988471 h 6557032"/>
              <a:gd name="connsiteX22662" fmla="*/ 3250759 w 4610101"/>
              <a:gd name="connsiteY22662" fmla="*/ 981182 h 6557032"/>
              <a:gd name="connsiteX22663" fmla="*/ 1313788 w 4610101"/>
              <a:gd name="connsiteY22663" fmla="*/ 981182 h 6557032"/>
              <a:gd name="connsiteX22664" fmla="*/ 1279166 w 4610101"/>
              <a:gd name="connsiteY22664" fmla="*/ 1001226 h 6557032"/>
              <a:gd name="connsiteX22665" fmla="*/ 1301033 w 4610101"/>
              <a:gd name="connsiteY22665" fmla="*/ 990293 h 6557032"/>
              <a:gd name="connsiteX22666" fmla="*/ 1299210 w 4610101"/>
              <a:gd name="connsiteY22666" fmla="*/ 993937 h 6557032"/>
              <a:gd name="connsiteX22667" fmla="*/ 1313788 w 4610101"/>
              <a:gd name="connsiteY22667" fmla="*/ 981182 h 6557032"/>
              <a:gd name="connsiteX22668" fmla="*/ 1093305 w 4610101"/>
              <a:gd name="connsiteY22668" fmla="*/ 981182 h 6557032"/>
              <a:gd name="connsiteX22669" fmla="*/ 1091484 w 4610101"/>
              <a:gd name="connsiteY22669" fmla="*/ 984826 h 6557032"/>
              <a:gd name="connsiteX22670" fmla="*/ 1087838 w 4610101"/>
              <a:gd name="connsiteY22670" fmla="*/ 984826 h 6557032"/>
              <a:gd name="connsiteX22671" fmla="*/ 1091484 w 4610101"/>
              <a:gd name="connsiteY22671" fmla="*/ 988471 h 6557032"/>
              <a:gd name="connsiteX22672" fmla="*/ 1093305 w 4610101"/>
              <a:gd name="connsiteY22672" fmla="*/ 981182 h 6557032"/>
              <a:gd name="connsiteX22673" fmla="*/ 1027707 w 4610101"/>
              <a:gd name="connsiteY22673" fmla="*/ 981182 h 6557032"/>
              <a:gd name="connsiteX22674" fmla="*/ 1022240 w 4610101"/>
              <a:gd name="connsiteY22674" fmla="*/ 986649 h 6557032"/>
              <a:gd name="connsiteX22675" fmla="*/ 1024062 w 4610101"/>
              <a:gd name="connsiteY22675" fmla="*/ 988471 h 6557032"/>
              <a:gd name="connsiteX22676" fmla="*/ 1027707 w 4610101"/>
              <a:gd name="connsiteY22676" fmla="*/ 981182 h 6557032"/>
              <a:gd name="connsiteX22677" fmla="*/ 737981 w 4610101"/>
              <a:gd name="connsiteY22677" fmla="*/ 981182 h 6557032"/>
              <a:gd name="connsiteX22678" fmla="*/ 734336 w 4610101"/>
              <a:gd name="connsiteY22678" fmla="*/ 988471 h 6557032"/>
              <a:gd name="connsiteX22679" fmla="*/ 737981 w 4610101"/>
              <a:gd name="connsiteY22679" fmla="*/ 988471 h 6557032"/>
              <a:gd name="connsiteX22680" fmla="*/ 734336 w 4610101"/>
              <a:gd name="connsiteY22680" fmla="*/ 990293 h 6557032"/>
              <a:gd name="connsiteX22681" fmla="*/ 737981 w 4610101"/>
              <a:gd name="connsiteY22681" fmla="*/ 988471 h 6557032"/>
              <a:gd name="connsiteX22682" fmla="*/ 737981 w 4610101"/>
              <a:gd name="connsiteY22682" fmla="*/ 981182 h 6557032"/>
              <a:gd name="connsiteX22683" fmla="*/ 674205 w 4610101"/>
              <a:gd name="connsiteY22683" fmla="*/ 981182 h 6557032"/>
              <a:gd name="connsiteX22684" fmla="*/ 677849 w 4610101"/>
              <a:gd name="connsiteY22684" fmla="*/ 988471 h 6557032"/>
              <a:gd name="connsiteX22685" fmla="*/ 677849 w 4610101"/>
              <a:gd name="connsiteY22685" fmla="*/ 990293 h 6557032"/>
              <a:gd name="connsiteX22686" fmla="*/ 686960 w 4610101"/>
              <a:gd name="connsiteY22686" fmla="*/ 986649 h 6557032"/>
              <a:gd name="connsiteX22687" fmla="*/ 677849 w 4610101"/>
              <a:gd name="connsiteY22687" fmla="*/ 983004 h 6557032"/>
              <a:gd name="connsiteX22688" fmla="*/ 677849 w 4610101"/>
              <a:gd name="connsiteY22688" fmla="*/ 984826 h 6557032"/>
              <a:gd name="connsiteX22689" fmla="*/ 676939 w 4610101"/>
              <a:gd name="connsiteY22689" fmla="*/ 983915 h 6557032"/>
              <a:gd name="connsiteX22690" fmla="*/ 674205 w 4610101"/>
              <a:gd name="connsiteY22690" fmla="*/ 981182 h 6557032"/>
              <a:gd name="connsiteX22691" fmla="*/ 371724 w 4610101"/>
              <a:gd name="connsiteY22691" fmla="*/ 981182 h 6557032"/>
              <a:gd name="connsiteX22692" fmla="*/ 377190 w 4610101"/>
              <a:gd name="connsiteY22692" fmla="*/ 983004 h 6557032"/>
              <a:gd name="connsiteX22693" fmla="*/ 371724 w 4610101"/>
              <a:gd name="connsiteY22693" fmla="*/ 981182 h 6557032"/>
              <a:gd name="connsiteX22694" fmla="*/ 358969 w 4610101"/>
              <a:gd name="connsiteY22694" fmla="*/ 981182 h 6557032"/>
              <a:gd name="connsiteX22695" fmla="*/ 362613 w 4610101"/>
              <a:gd name="connsiteY22695" fmla="*/ 984826 h 6557032"/>
              <a:gd name="connsiteX22696" fmla="*/ 358969 w 4610101"/>
              <a:gd name="connsiteY22696" fmla="*/ 981182 h 6557032"/>
              <a:gd name="connsiteX22697" fmla="*/ 351680 w 4610101"/>
              <a:gd name="connsiteY22697" fmla="*/ 981182 h 6557032"/>
              <a:gd name="connsiteX22698" fmla="*/ 349858 w 4610101"/>
              <a:gd name="connsiteY22698" fmla="*/ 983004 h 6557032"/>
              <a:gd name="connsiteX22699" fmla="*/ 353502 w 4610101"/>
              <a:gd name="connsiteY22699" fmla="*/ 983004 h 6557032"/>
              <a:gd name="connsiteX22700" fmla="*/ 351680 w 4610101"/>
              <a:gd name="connsiteY22700" fmla="*/ 981182 h 6557032"/>
              <a:gd name="connsiteX22701" fmla="*/ 245994 w 4610101"/>
              <a:gd name="connsiteY22701" fmla="*/ 981182 h 6557032"/>
              <a:gd name="connsiteX22702" fmla="*/ 253282 w 4610101"/>
              <a:gd name="connsiteY22702" fmla="*/ 986649 h 6557032"/>
              <a:gd name="connsiteX22703" fmla="*/ 245994 w 4610101"/>
              <a:gd name="connsiteY22703" fmla="*/ 981182 h 6557032"/>
              <a:gd name="connsiteX22704" fmla="*/ 3459028 w 4610101"/>
              <a:gd name="connsiteY22704" fmla="*/ 979473 h 6557032"/>
              <a:gd name="connsiteX22705" fmla="*/ 3454614 w 4610101"/>
              <a:gd name="connsiteY22705" fmla="*/ 980270 h 6557032"/>
              <a:gd name="connsiteX22706" fmla="*/ 3443909 w 4610101"/>
              <a:gd name="connsiteY22706" fmla="*/ 986649 h 6557032"/>
              <a:gd name="connsiteX22707" fmla="*/ 3445731 w 4610101"/>
              <a:gd name="connsiteY22707" fmla="*/ 992115 h 6557032"/>
              <a:gd name="connsiteX22708" fmla="*/ 3469419 w 4610101"/>
              <a:gd name="connsiteY22708" fmla="*/ 997582 h 6557032"/>
              <a:gd name="connsiteX22709" fmla="*/ 3463953 w 4610101"/>
              <a:gd name="connsiteY22709" fmla="*/ 995759 h 6557032"/>
              <a:gd name="connsiteX22710" fmla="*/ 3485819 w 4610101"/>
              <a:gd name="connsiteY22710" fmla="*/ 1006692 h 6557032"/>
              <a:gd name="connsiteX22711" fmla="*/ 3489463 w 4610101"/>
              <a:gd name="connsiteY22711" fmla="*/ 1010337 h 6557032"/>
              <a:gd name="connsiteX22712" fmla="*/ 3491286 w 4610101"/>
              <a:gd name="connsiteY22712" fmla="*/ 1006692 h 6557032"/>
              <a:gd name="connsiteX22713" fmla="*/ 3485819 w 4610101"/>
              <a:gd name="connsiteY22713" fmla="*/ 1004870 h 6557032"/>
              <a:gd name="connsiteX22714" fmla="*/ 3493108 w 4610101"/>
              <a:gd name="connsiteY22714" fmla="*/ 995759 h 6557032"/>
              <a:gd name="connsiteX22715" fmla="*/ 3485819 w 4610101"/>
              <a:gd name="connsiteY22715" fmla="*/ 995759 h 6557032"/>
              <a:gd name="connsiteX22716" fmla="*/ 3474886 w 4610101"/>
              <a:gd name="connsiteY22716" fmla="*/ 1004870 h 6557032"/>
              <a:gd name="connsiteX22717" fmla="*/ 3473064 w 4610101"/>
              <a:gd name="connsiteY22717" fmla="*/ 988471 h 6557032"/>
              <a:gd name="connsiteX22718" fmla="*/ 3465775 w 4610101"/>
              <a:gd name="connsiteY22718" fmla="*/ 990293 h 6557032"/>
              <a:gd name="connsiteX22719" fmla="*/ 3467597 w 4610101"/>
              <a:gd name="connsiteY22719" fmla="*/ 983004 h 6557032"/>
              <a:gd name="connsiteX22720" fmla="*/ 3463953 w 4610101"/>
              <a:gd name="connsiteY22720" fmla="*/ 984826 h 6557032"/>
              <a:gd name="connsiteX22721" fmla="*/ 3459028 w 4610101"/>
              <a:gd name="connsiteY22721" fmla="*/ 979473 h 6557032"/>
              <a:gd name="connsiteX22722" fmla="*/ 1233612 w 4610101"/>
              <a:gd name="connsiteY22722" fmla="*/ 979360 h 6557032"/>
              <a:gd name="connsiteX22723" fmla="*/ 1235434 w 4610101"/>
              <a:gd name="connsiteY22723" fmla="*/ 981182 h 6557032"/>
              <a:gd name="connsiteX22724" fmla="*/ 1237256 w 4610101"/>
              <a:gd name="connsiteY22724" fmla="*/ 979360 h 6557032"/>
              <a:gd name="connsiteX22725" fmla="*/ 1233612 w 4610101"/>
              <a:gd name="connsiteY22725" fmla="*/ 979360 h 6557032"/>
              <a:gd name="connsiteX22726" fmla="*/ 1186236 w 4610101"/>
              <a:gd name="connsiteY22726" fmla="*/ 979360 h 6557032"/>
              <a:gd name="connsiteX22727" fmla="*/ 1177125 w 4610101"/>
              <a:gd name="connsiteY22727" fmla="*/ 984826 h 6557032"/>
              <a:gd name="connsiteX22728" fmla="*/ 1180769 w 4610101"/>
              <a:gd name="connsiteY22728" fmla="*/ 986649 h 6557032"/>
              <a:gd name="connsiteX22729" fmla="*/ 1157081 w 4610101"/>
              <a:gd name="connsiteY22729" fmla="*/ 995759 h 6557032"/>
              <a:gd name="connsiteX22730" fmla="*/ 1159458 w 4610101"/>
              <a:gd name="connsiteY22730" fmla="*/ 999720 h 6557032"/>
              <a:gd name="connsiteX22731" fmla="*/ 1153436 w 4610101"/>
              <a:gd name="connsiteY22731" fmla="*/ 1001226 h 6557032"/>
              <a:gd name="connsiteX22732" fmla="*/ 1157081 w 4610101"/>
              <a:gd name="connsiteY22732" fmla="*/ 1001226 h 6557032"/>
              <a:gd name="connsiteX22733" fmla="*/ 1155259 w 4610101"/>
              <a:gd name="connsiteY22733" fmla="*/ 1004870 h 6557032"/>
              <a:gd name="connsiteX22734" fmla="*/ 1133393 w 4610101"/>
              <a:gd name="connsiteY22734" fmla="*/ 1010337 h 6557032"/>
              <a:gd name="connsiteX22735" fmla="*/ 1136126 w 4610101"/>
              <a:gd name="connsiteY22735" fmla="*/ 1016714 h 6557032"/>
              <a:gd name="connsiteX22736" fmla="*/ 1138312 w 4610101"/>
              <a:gd name="connsiteY22736" fmla="*/ 1021816 h 6557032"/>
              <a:gd name="connsiteX22737" fmla="*/ 1137037 w 4610101"/>
              <a:gd name="connsiteY22737" fmla="*/ 1023092 h 6557032"/>
              <a:gd name="connsiteX22738" fmla="*/ 1141896 w 4610101"/>
              <a:gd name="connsiteY22738" fmla="*/ 1026331 h 6557032"/>
              <a:gd name="connsiteX22739" fmla="*/ 1142275 w 4610101"/>
              <a:gd name="connsiteY22739" fmla="*/ 1026963 h 6557032"/>
              <a:gd name="connsiteX22740" fmla="*/ 1139542 w 4610101"/>
              <a:gd name="connsiteY22740" fmla="*/ 1029697 h 6557032"/>
              <a:gd name="connsiteX22741" fmla="*/ 1140681 w 4610101"/>
              <a:gd name="connsiteY22741" fmla="*/ 1034025 h 6557032"/>
              <a:gd name="connsiteX22742" fmla="*/ 1144326 w 4610101"/>
              <a:gd name="connsiteY22742" fmla="*/ 1030381 h 6557032"/>
              <a:gd name="connsiteX22743" fmla="*/ 1142275 w 4610101"/>
              <a:gd name="connsiteY22743" fmla="*/ 1026963 h 6557032"/>
              <a:gd name="connsiteX22744" fmla="*/ 1142503 w 4610101"/>
              <a:gd name="connsiteY22744" fmla="*/ 1026736 h 6557032"/>
              <a:gd name="connsiteX22745" fmla="*/ 1141896 w 4610101"/>
              <a:gd name="connsiteY22745" fmla="*/ 1026331 h 6557032"/>
              <a:gd name="connsiteX22746" fmla="*/ 1139310 w 4610101"/>
              <a:gd name="connsiteY22746" fmla="*/ 1022021 h 6557032"/>
              <a:gd name="connsiteX22747" fmla="*/ 1140681 w 4610101"/>
              <a:gd name="connsiteY22747" fmla="*/ 1018764 h 6557032"/>
              <a:gd name="connsiteX22748" fmla="*/ 1142503 w 4610101"/>
              <a:gd name="connsiteY22748" fmla="*/ 1015803 h 6557032"/>
              <a:gd name="connsiteX22749" fmla="*/ 1140681 w 4610101"/>
              <a:gd name="connsiteY22749" fmla="*/ 1023092 h 6557032"/>
              <a:gd name="connsiteX22750" fmla="*/ 1142503 w 4610101"/>
              <a:gd name="connsiteY22750" fmla="*/ 1019448 h 6557032"/>
              <a:gd name="connsiteX22751" fmla="*/ 1149792 w 4610101"/>
              <a:gd name="connsiteY22751" fmla="*/ 1035847 h 6557032"/>
              <a:gd name="connsiteX22752" fmla="*/ 1151614 w 4610101"/>
              <a:gd name="connsiteY22752" fmla="*/ 1035847 h 6557032"/>
              <a:gd name="connsiteX22753" fmla="*/ 1147970 w 4610101"/>
              <a:gd name="connsiteY22753" fmla="*/ 1015803 h 6557032"/>
              <a:gd name="connsiteX22754" fmla="*/ 1155259 w 4610101"/>
              <a:gd name="connsiteY22754" fmla="*/ 1017625 h 6557032"/>
              <a:gd name="connsiteX22755" fmla="*/ 1155779 w 4610101"/>
              <a:gd name="connsiteY22755" fmla="*/ 1021270 h 6557032"/>
              <a:gd name="connsiteX22756" fmla="*/ 1155259 w 4610101"/>
              <a:gd name="connsiteY22756" fmla="*/ 1021270 h 6557032"/>
              <a:gd name="connsiteX22757" fmla="*/ 1157081 w 4610101"/>
              <a:gd name="connsiteY22757" fmla="*/ 1030381 h 6557032"/>
              <a:gd name="connsiteX22758" fmla="*/ 1155779 w 4610101"/>
              <a:gd name="connsiteY22758" fmla="*/ 1021270 h 6557032"/>
              <a:gd name="connsiteX22759" fmla="*/ 1158903 w 4610101"/>
              <a:gd name="connsiteY22759" fmla="*/ 1021270 h 6557032"/>
              <a:gd name="connsiteX22760" fmla="*/ 1157081 w 4610101"/>
              <a:gd name="connsiteY22760" fmla="*/ 1001226 h 6557032"/>
              <a:gd name="connsiteX22761" fmla="*/ 1159604 w 4610101"/>
              <a:gd name="connsiteY22761" fmla="*/ 999964 h 6557032"/>
              <a:gd name="connsiteX22762" fmla="*/ 1162547 w 4610101"/>
              <a:gd name="connsiteY22762" fmla="*/ 1004870 h 6557032"/>
              <a:gd name="connsiteX22763" fmla="*/ 1166192 w 4610101"/>
              <a:gd name="connsiteY22763" fmla="*/ 1003047 h 6557032"/>
              <a:gd name="connsiteX22764" fmla="*/ 1165463 w 4610101"/>
              <a:gd name="connsiteY22764" fmla="*/ 1005963 h 6557032"/>
              <a:gd name="connsiteX22765" fmla="*/ 1164370 w 4610101"/>
              <a:gd name="connsiteY22765" fmla="*/ 1004870 h 6557032"/>
              <a:gd name="connsiteX22766" fmla="*/ 1158903 w 4610101"/>
              <a:gd name="connsiteY22766" fmla="*/ 1030381 h 6557032"/>
              <a:gd name="connsiteX22767" fmla="*/ 1163417 w 4610101"/>
              <a:gd name="connsiteY22767" fmla="*/ 1020942 h 6557032"/>
              <a:gd name="connsiteX22768" fmla="*/ 1164370 w 4610101"/>
              <a:gd name="connsiteY22768" fmla="*/ 1024914 h 6557032"/>
              <a:gd name="connsiteX22769" fmla="*/ 1175303 w 4610101"/>
              <a:gd name="connsiteY22769" fmla="*/ 1006692 h 6557032"/>
              <a:gd name="connsiteX22770" fmla="*/ 1178923 w 4610101"/>
              <a:gd name="connsiteY22770" fmla="*/ 1006692 h 6557032"/>
              <a:gd name="connsiteX22771" fmla="*/ 1171886 w 4610101"/>
              <a:gd name="connsiteY22771" fmla="*/ 1020586 h 6557032"/>
              <a:gd name="connsiteX22772" fmla="*/ 1169836 w 4610101"/>
              <a:gd name="connsiteY22772" fmla="*/ 1039492 h 6557032"/>
              <a:gd name="connsiteX22773" fmla="*/ 1173481 w 4610101"/>
              <a:gd name="connsiteY22773" fmla="*/ 1019448 h 6557032"/>
              <a:gd name="connsiteX22774" fmla="*/ 1178947 w 4610101"/>
              <a:gd name="connsiteY22774" fmla="*/ 1024914 h 6557032"/>
              <a:gd name="connsiteX22775" fmla="*/ 1175303 w 4610101"/>
              <a:gd name="connsiteY22775" fmla="*/ 1035847 h 6557032"/>
              <a:gd name="connsiteX22776" fmla="*/ 1178947 w 4610101"/>
              <a:gd name="connsiteY22776" fmla="*/ 1035847 h 6557032"/>
              <a:gd name="connsiteX22777" fmla="*/ 1175303 w 4610101"/>
              <a:gd name="connsiteY22777" fmla="*/ 1043136 h 6557032"/>
              <a:gd name="connsiteX22778" fmla="*/ 1188058 w 4610101"/>
              <a:gd name="connsiteY22778" fmla="*/ 1006692 h 6557032"/>
              <a:gd name="connsiteX22779" fmla="*/ 1184414 w 4610101"/>
              <a:gd name="connsiteY22779" fmla="*/ 1004870 h 6557032"/>
              <a:gd name="connsiteX22780" fmla="*/ 1189880 w 4610101"/>
              <a:gd name="connsiteY22780" fmla="*/ 1001226 h 6557032"/>
              <a:gd name="connsiteX22781" fmla="*/ 1184414 w 4610101"/>
              <a:gd name="connsiteY22781" fmla="*/ 988471 h 6557032"/>
              <a:gd name="connsiteX22782" fmla="*/ 1186236 w 4610101"/>
              <a:gd name="connsiteY22782" fmla="*/ 979360 h 6557032"/>
              <a:gd name="connsiteX22783" fmla="*/ 1031351 w 4610101"/>
              <a:gd name="connsiteY22783" fmla="*/ 979360 h 6557032"/>
              <a:gd name="connsiteX22784" fmla="*/ 1024062 w 4610101"/>
              <a:gd name="connsiteY22784" fmla="*/ 992115 h 6557032"/>
              <a:gd name="connsiteX22785" fmla="*/ 1033173 w 4610101"/>
              <a:gd name="connsiteY22785" fmla="*/ 1006692 h 6557032"/>
              <a:gd name="connsiteX22786" fmla="*/ 1031351 w 4610101"/>
              <a:gd name="connsiteY22786" fmla="*/ 979360 h 6557032"/>
              <a:gd name="connsiteX22787" fmla="*/ 916555 w 4610101"/>
              <a:gd name="connsiteY22787" fmla="*/ 979360 h 6557032"/>
              <a:gd name="connsiteX22788" fmla="*/ 912909 w 4610101"/>
              <a:gd name="connsiteY22788" fmla="*/ 983004 h 6557032"/>
              <a:gd name="connsiteX22789" fmla="*/ 918376 w 4610101"/>
              <a:gd name="connsiteY22789" fmla="*/ 984826 h 6557032"/>
              <a:gd name="connsiteX22790" fmla="*/ 916555 w 4610101"/>
              <a:gd name="connsiteY22790" fmla="*/ 979360 h 6557032"/>
              <a:gd name="connsiteX22791" fmla="*/ 612251 w 4610101"/>
              <a:gd name="connsiteY22791" fmla="*/ 979360 h 6557032"/>
              <a:gd name="connsiteX22792" fmla="*/ 608606 w 4610101"/>
              <a:gd name="connsiteY22792" fmla="*/ 981182 h 6557032"/>
              <a:gd name="connsiteX22793" fmla="*/ 621362 w 4610101"/>
              <a:gd name="connsiteY22793" fmla="*/ 992115 h 6557032"/>
              <a:gd name="connsiteX22794" fmla="*/ 621362 w 4610101"/>
              <a:gd name="connsiteY22794" fmla="*/ 985434 h 6557032"/>
              <a:gd name="connsiteX22795" fmla="*/ 625917 w 4610101"/>
              <a:gd name="connsiteY22795" fmla="*/ 988471 h 6557032"/>
              <a:gd name="connsiteX22796" fmla="*/ 623185 w 4610101"/>
              <a:gd name="connsiteY22796" fmla="*/ 988471 h 6557032"/>
              <a:gd name="connsiteX22797" fmla="*/ 635939 w 4610101"/>
              <a:gd name="connsiteY22797" fmla="*/ 993937 h 6557032"/>
              <a:gd name="connsiteX22798" fmla="*/ 628650 w 4610101"/>
              <a:gd name="connsiteY22798" fmla="*/ 990293 h 6557032"/>
              <a:gd name="connsiteX22799" fmla="*/ 625917 w 4610101"/>
              <a:gd name="connsiteY22799" fmla="*/ 988471 h 6557032"/>
              <a:gd name="connsiteX22800" fmla="*/ 630472 w 4610101"/>
              <a:gd name="connsiteY22800" fmla="*/ 988471 h 6557032"/>
              <a:gd name="connsiteX22801" fmla="*/ 621362 w 4610101"/>
              <a:gd name="connsiteY22801" fmla="*/ 984826 h 6557032"/>
              <a:gd name="connsiteX22802" fmla="*/ 621362 w 4610101"/>
              <a:gd name="connsiteY22802" fmla="*/ 985434 h 6557032"/>
              <a:gd name="connsiteX22803" fmla="*/ 453722 w 4610101"/>
              <a:gd name="connsiteY22803" fmla="*/ 979360 h 6557032"/>
              <a:gd name="connsiteX22804" fmla="*/ 462832 w 4610101"/>
              <a:gd name="connsiteY22804" fmla="*/ 1003047 h 6557032"/>
              <a:gd name="connsiteX22805" fmla="*/ 473766 w 4610101"/>
              <a:gd name="connsiteY22805" fmla="*/ 1004870 h 6557032"/>
              <a:gd name="connsiteX22806" fmla="*/ 471943 w 4610101"/>
              <a:gd name="connsiteY22806" fmla="*/ 1006692 h 6557032"/>
              <a:gd name="connsiteX22807" fmla="*/ 482876 w 4610101"/>
              <a:gd name="connsiteY22807" fmla="*/ 1013981 h 6557032"/>
              <a:gd name="connsiteX22808" fmla="*/ 475589 w 4610101"/>
              <a:gd name="connsiteY22808" fmla="*/ 1003047 h 6557032"/>
              <a:gd name="connsiteX22809" fmla="*/ 508387 w 4610101"/>
              <a:gd name="connsiteY22809" fmla="*/ 1021270 h 6557032"/>
              <a:gd name="connsiteX22810" fmla="*/ 466478 w 4610101"/>
              <a:gd name="connsiteY22810" fmla="*/ 988471 h 6557032"/>
              <a:gd name="connsiteX22811" fmla="*/ 453722 w 4610101"/>
              <a:gd name="connsiteY22811" fmla="*/ 979360 h 6557032"/>
              <a:gd name="connsiteX22812" fmla="*/ 437322 w 4610101"/>
              <a:gd name="connsiteY22812" fmla="*/ 979360 h 6557032"/>
              <a:gd name="connsiteX22813" fmla="*/ 435500 w 4610101"/>
              <a:gd name="connsiteY22813" fmla="*/ 981182 h 6557032"/>
              <a:gd name="connsiteX22814" fmla="*/ 440966 w 4610101"/>
              <a:gd name="connsiteY22814" fmla="*/ 984826 h 6557032"/>
              <a:gd name="connsiteX22815" fmla="*/ 437322 w 4610101"/>
              <a:gd name="connsiteY22815" fmla="*/ 979360 h 6557032"/>
              <a:gd name="connsiteX22816" fmla="*/ 211372 w 4610101"/>
              <a:gd name="connsiteY22816" fmla="*/ 979360 h 6557032"/>
              <a:gd name="connsiteX22817" fmla="*/ 231416 w 4610101"/>
              <a:gd name="connsiteY22817" fmla="*/ 995759 h 6557032"/>
              <a:gd name="connsiteX22818" fmla="*/ 222306 w 4610101"/>
              <a:gd name="connsiteY22818" fmla="*/ 990293 h 6557032"/>
              <a:gd name="connsiteX22819" fmla="*/ 211372 w 4610101"/>
              <a:gd name="connsiteY22819" fmla="*/ 979360 h 6557032"/>
              <a:gd name="connsiteX22820" fmla="*/ 1044789 w 4610101"/>
              <a:gd name="connsiteY22820" fmla="*/ 979132 h 6557032"/>
              <a:gd name="connsiteX22821" fmla="*/ 1045101 w 4610101"/>
              <a:gd name="connsiteY22821" fmla="*/ 979416 h 6557032"/>
              <a:gd name="connsiteX22822" fmla="*/ 1044678 w 4610101"/>
              <a:gd name="connsiteY22822" fmla="*/ 979134 h 6557032"/>
              <a:gd name="connsiteX22823" fmla="*/ 960286 w 4610101"/>
              <a:gd name="connsiteY22823" fmla="*/ 977538 h 6557032"/>
              <a:gd name="connsiteX22824" fmla="*/ 954819 w 4610101"/>
              <a:gd name="connsiteY22824" fmla="*/ 990293 h 6557032"/>
              <a:gd name="connsiteX22825" fmla="*/ 967575 w 4610101"/>
              <a:gd name="connsiteY22825" fmla="*/ 1008515 h 6557032"/>
              <a:gd name="connsiteX22826" fmla="*/ 965753 w 4610101"/>
              <a:gd name="connsiteY22826" fmla="*/ 993937 h 6557032"/>
              <a:gd name="connsiteX22827" fmla="*/ 960286 w 4610101"/>
              <a:gd name="connsiteY22827" fmla="*/ 977538 h 6557032"/>
              <a:gd name="connsiteX22828" fmla="*/ 484700 w 4610101"/>
              <a:gd name="connsiteY22828" fmla="*/ 977538 h 6557032"/>
              <a:gd name="connsiteX22829" fmla="*/ 491987 w 4610101"/>
              <a:gd name="connsiteY22829" fmla="*/ 984826 h 6557032"/>
              <a:gd name="connsiteX22830" fmla="*/ 490165 w 4610101"/>
              <a:gd name="connsiteY22830" fmla="*/ 979360 h 6557032"/>
              <a:gd name="connsiteX22831" fmla="*/ 495632 w 4610101"/>
              <a:gd name="connsiteY22831" fmla="*/ 984826 h 6557032"/>
              <a:gd name="connsiteX22832" fmla="*/ 484700 w 4610101"/>
              <a:gd name="connsiteY22832" fmla="*/ 977538 h 6557032"/>
              <a:gd name="connsiteX22833" fmla="*/ 317059 w 4610101"/>
              <a:gd name="connsiteY22833" fmla="*/ 977538 h 6557032"/>
              <a:gd name="connsiteX22834" fmla="*/ 322525 w 4610101"/>
              <a:gd name="connsiteY22834" fmla="*/ 983004 h 6557032"/>
              <a:gd name="connsiteX22835" fmla="*/ 317059 w 4610101"/>
              <a:gd name="connsiteY22835" fmla="*/ 977538 h 6557032"/>
              <a:gd name="connsiteX22836" fmla="*/ 275149 w 4610101"/>
              <a:gd name="connsiteY22836" fmla="*/ 977538 h 6557032"/>
              <a:gd name="connsiteX22837" fmla="*/ 282438 w 4610101"/>
              <a:gd name="connsiteY22837" fmla="*/ 983004 h 6557032"/>
              <a:gd name="connsiteX22838" fmla="*/ 275149 w 4610101"/>
              <a:gd name="connsiteY22838" fmla="*/ 977538 h 6557032"/>
              <a:gd name="connsiteX22839" fmla="*/ 256927 w 4610101"/>
              <a:gd name="connsiteY22839" fmla="*/ 977538 h 6557032"/>
              <a:gd name="connsiteX22840" fmla="*/ 275149 w 4610101"/>
              <a:gd name="connsiteY22840" fmla="*/ 986649 h 6557032"/>
              <a:gd name="connsiteX22841" fmla="*/ 256927 w 4610101"/>
              <a:gd name="connsiteY22841" fmla="*/ 977538 h 6557032"/>
              <a:gd name="connsiteX22842" fmla="*/ 755292 w 4610101"/>
              <a:gd name="connsiteY22842" fmla="*/ 977082 h 6557032"/>
              <a:gd name="connsiteX22843" fmla="*/ 756203 w 4610101"/>
              <a:gd name="connsiteY22843" fmla="*/ 977538 h 6557032"/>
              <a:gd name="connsiteX22844" fmla="*/ 755995 w 4610101"/>
              <a:gd name="connsiteY22844" fmla="*/ 977668 h 6557032"/>
              <a:gd name="connsiteX22845" fmla="*/ 865077 w 4610101"/>
              <a:gd name="connsiteY22845" fmla="*/ 976399 h 6557032"/>
              <a:gd name="connsiteX22846" fmla="*/ 865214 w 4610101"/>
              <a:gd name="connsiteY22846" fmla="*/ 977286 h 6557032"/>
              <a:gd name="connsiteX22847" fmla="*/ 864293 w 4610101"/>
              <a:gd name="connsiteY22847" fmla="*/ 976679 h 6557032"/>
              <a:gd name="connsiteX22848" fmla="*/ 2297762 w 4610101"/>
              <a:gd name="connsiteY22848" fmla="*/ 975715 h 6557032"/>
              <a:gd name="connsiteX22849" fmla="*/ 2285007 w 4610101"/>
              <a:gd name="connsiteY22849" fmla="*/ 981182 h 6557032"/>
              <a:gd name="connsiteX22850" fmla="*/ 2286829 w 4610101"/>
              <a:gd name="connsiteY22850" fmla="*/ 995759 h 6557032"/>
              <a:gd name="connsiteX22851" fmla="*/ 2288439 w 4610101"/>
              <a:gd name="connsiteY22851" fmla="*/ 994190 h 6557032"/>
              <a:gd name="connsiteX22852" fmla="*/ 2283184 w 4610101"/>
              <a:gd name="connsiteY22852" fmla="*/ 1003047 h 6557032"/>
              <a:gd name="connsiteX22853" fmla="*/ 2274986 w 4610101"/>
              <a:gd name="connsiteY22853" fmla="*/ 997582 h 6557032"/>
              <a:gd name="connsiteX22854" fmla="*/ 2277718 w 4610101"/>
              <a:gd name="connsiteY22854" fmla="*/ 997582 h 6557032"/>
              <a:gd name="connsiteX22855" fmla="*/ 2270429 w 4610101"/>
              <a:gd name="connsiteY22855" fmla="*/ 990293 h 6557032"/>
              <a:gd name="connsiteX22856" fmla="*/ 2266785 w 4610101"/>
              <a:gd name="connsiteY22856" fmla="*/ 997582 h 6557032"/>
              <a:gd name="connsiteX22857" fmla="*/ 2274984 w 4610101"/>
              <a:gd name="connsiteY22857" fmla="*/ 997582 h 6557032"/>
              <a:gd name="connsiteX22858" fmla="*/ 2266785 w 4610101"/>
              <a:gd name="connsiteY22858" fmla="*/ 1003047 h 6557032"/>
              <a:gd name="connsiteX22859" fmla="*/ 2257674 w 4610101"/>
              <a:gd name="connsiteY22859" fmla="*/ 1004870 h 6557032"/>
              <a:gd name="connsiteX22860" fmla="*/ 2257674 w 4610101"/>
              <a:gd name="connsiteY22860" fmla="*/ 1008515 h 6557032"/>
              <a:gd name="connsiteX22861" fmla="*/ 2277718 w 4610101"/>
              <a:gd name="connsiteY22861" fmla="*/ 1013981 h 6557032"/>
              <a:gd name="connsiteX22862" fmla="*/ 2277718 w 4610101"/>
              <a:gd name="connsiteY22862" fmla="*/ 1043136 h 6557032"/>
              <a:gd name="connsiteX22863" fmla="*/ 2274074 w 4610101"/>
              <a:gd name="connsiteY22863" fmla="*/ 1043136 h 6557032"/>
              <a:gd name="connsiteX22864" fmla="*/ 2281362 w 4610101"/>
              <a:gd name="connsiteY22864" fmla="*/ 1048602 h 6557032"/>
              <a:gd name="connsiteX22865" fmla="*/ 2288651 w 4610101"/>
              <a:gd name="connsiteY22865" fmla="*/ 1037669 h 6557032"/>
              <a:gd name="connsiteX22866" fmla="*/ 2294117 w 4610101"/>
              <a:gd name="connsiteY22866" fmla="*/ 1035847 h 6557032"/>
              <a:gd name="connsiteX22867" fmla="*/ 2295940 w 4610101"/>
              <a:gd name="connsiteY22867" fmla="*/ 1023092 h 6557032"/>
              <a:gd name="connsiteX22868" fmla="*/ 2299584 w 4610101"/>
              <a:gd name="connsiteY22868" fmla="*/ 1024914 h 6557032"/>
              <a:gd name="connsiteX22869" fmla="*/ 2303228 w 4610101"/>
              <a:gd name="connsiteY22869" fmla="*/ 1017625 h 6557032"/>
              <a:gd name="connsiteX22870" fmla="*/ 2305050 w 4610101"/>
              <a:gd name="connsiteY22870" fmla="*/ 1010337 h 6557032"/>
              <a:gd name="connsiteX22871" fmla="*/ 2286829 w 4610101"/>
              <a:gd name="connsiteY22871" fmla="*/ 1008515 h 6557032"/>
              <a:gd name="connsiteX22872" fmla="*/ 2306873 w 4610101"/>
              <a:gd name="connsiteY22872" fmla="*/ 1006692 h 6557032"/>
              <a:gd name="connsiteX22873" fmla="*/ 2306873 w 4610101"/>
              <a:gd name="connsiteY22873" fmla="*/ 1003047 h 6557032"/>
              <a:gd name="connsiteX22874" fmla="*/ 2310517 w 4610101"/>
              <a:gd name="connsiteY22874" fmla="*/ 1004870 h 6557032"/>
              <a:gd name="connsiteX22875" fmla="*/ 2314161 w 4610101"/>
              <a:gd name="connsiteY22875" fmla="*/ 1001226 h 6557032"/>
              <a:gd name="connsiteX22876" fmla="*/ 2336027 w 4610101"/>
              <a:gd name="connsiteY22876" fmla="*/ 999403 h 6557032"/>
              <a:gd name="connsiteX22877" fmla="*/ 2341494 w 4610101"/>
              <a:gd name="connsiteY22877" fmla="*/ 1004870 h 6557032"/>
              <a:gd name="connsiteX22878" fmla="*/ 2343316 w 4610101"/>
              <a:gd name="connsiteY22878" fmla="*/ 1004870 h 6557032"/>
              <a:gd name="connsiteX22879" fmla="*/ 2354249 w 4610101"/>
              <a:gd name="connsiteY22879" fmla="*/ 993937 h 6557032"/>
              <a:gd name="connsiteX22880" fmla="*/ 2357893 w 4610101"/>
              <a:gd name="connsiteY22880" fmla="*/ 1001226 h 6557032"/>
              <a:gd name="connsiteX22881" fmla="*/ 2359716 w 4610101"/>
              <a:gd name="connsiteY22881" fmla="*/ 992115 h 6557032"/>
              <a:gd name="connsiteX22882" fmla="*/ 2343316 w 4610101"/>
              <a:gd name="connsiteY22882" fmla="*/ 981182 h 6557032"/>
              <a:gd name="connsiteX22883" fmla="*/ 2303228 w 4610101"/>
              <a:gd name="connsiteY22883" fmla="*/ 983004 h 6557032"/>
              <a:gd name="connsiteX22884" fmla="*/ 2295682 w 4610101"/>
              <a:gd name="connsiteY22884" fmla="*/ 987133 h 6557032"/>
              <a:gd name="connsiteX22885" fmla="*/ 2295712 w 4610101"/>
              <a:gd name="connsiteY22885" fmla="*/ 987103 h 6557032"/>
              <a:gd name="connsiteX22886" fmla="*/ 2297762 w 4610101"/>
              <a:gd name="connsiteY22886" fmla="*/ 975715 h 6557032"/>
              <a:gd name="connsiteX22887" fmla="*/ 1169836 w 4610101"/>
              <a:gd name="connsiteY22887" fmla="*/ 975715 h 6557032"/>
              <a:gd name="connsiteX22888" fmla="*/ 1167467 w 4610101"/>
              <a:gd name="connsiteY22888" fmla="*/ 984009 h 6557032"/>
              <a:gd name="connsiteX22889" fmla="*/ 1166192 w 4610101"/>
              <a:gd name="connsiteY22889" fmla="*/ 984826 h 6557032"/>
              <a:gd name="connsiteX22890" fmla="*/ 1169836 w 4610101"/>
              <a:gd name="connsiteY22890" fmla="*/ 975715 h 6557032"/>
              <a:gd name="connsiteX22891" fmla="*/ 703359 w 4610101"/>
              <a:gd name="connsiteY22891" fmla="*/ 975715 h 6557032"/>
              <a:gd name="connsiteX22892" fmla="*/ 703359 w 4610101"/>
              <a:gd name="connsiteY22892" fmla="*/ 981182 h 6557032"/>
              <a:gd name="connsiteX22893" fmla="*/ 707004 w 4610101"/>
              <a:gd name="connsiteY22893" fmla="*/ 977538 h 6557032"/>
              <a:gd name="connsiteX22894" fmla="*/ 703359 w 4610101"/>
              <a:gd name="connsiteY22894" fmla="*/ 975715 h 6557032"/>
              <a:gd name="connsiteX22895" fmla="*/ 481054 w 4610101"/>
              <a:gd name="connsiteY22895" fmla="*/ 975715 h 6557032"/>
              <a:gd name="connsiteX22896" fmla="*/ 502920 w 4610101"/>
              <a:gd name="connsiteY22896" fmla="*/ 1001226 h 6557032"/>
              <a:gd name="connsiteX22897" fmla="*/ 481054 w 4610101"/>
              <a:gd name="connsiteY22897" fmla="*/ 975715 h 6557032"/>
              <a:gd name="connsiteX22898" fmla="*/ 278793 w 4610101"/>
              <a:gd name="connsiteY22898" fmla="*/ 975715 h 6557032"/>
              <a:gd name="connsiteX22899" fmla="*/ 291549 w 4610101"/>
              <a:gd name="connsiteY22899" fmla="*/ 984826 h 6557032"/>
              <a:gd name="connsiteX22900" fmla="*/ 278793 w 4610101"/>
              <a:gd name="connsiteY22900" fmla="*/ 975715 h 6557032"/>
              <a:gd name="connsiteX22901" fmla="*/ 3298925 w 4610101"/>
              <a:gd name="connsiteY22901" fmla="*/ 974594 h 6557032"/>
              <a:gd name="connsiteX22902" fmla="*/ 3304715 w 4610101"/>
              <a:gd name="connsiteY22902" fmla="*/ 1006435 h 6557032"/>
              <a:gd name="connsiteX22903" fmla="*/ 3303602 w 4610101"/>
              <a:gd name="connsiteY22903" fmla="*/ 1006692 h 6557032"/>
              <a:gd name="connsiteX22904" fmla="*/ 3300185 w 4610101"/>
              <a:gd name="connsiteY22904" fmla="*/ 987331 h 6557032"/>
              <a:gd name="connsiteX22905" fmla="*/ 1064151 w 4610101"/>
              <a:gd name="connsiteY22905" fmla="*/ 973893 h 6557032"/>
              <a:gd name="connsiteX22906" fmla="*/ 1065972 w 4610101"/>
              <a:gd name="connsiteY22906" fmla="*/ 979360 h 6557032"/>
              <a:gd name="connsiteX22907" fmla="*/ 1067794 w 4610101"/>
              <a:gd name="connsiteY22907" fmla="*/ 979360 h 6557032"/>
              <a:gd name="connsiteX22908" fmla="*/ 1060506 w 4610101"/>
              <a:gd name="connsiteY22908" fmla="*/ 986649 h 6557032"/>
              <a:gd name="connsiteX22909" fmla="*/ 1065972 w 4610101"/>
              <a:gd name="connsiteY22909" fmla="*/ 990293 h 6557032"/>
              <a:gd name="connsiteX22910" fmla="*/ 1060506 w 4610101"/>
              <a:gd name="connsiteY22910" fmla="*/ 988471 h 6557032"/>
              <a:gd name="connsiteX22911" fmla="*/ 1056861 w 4610101"/>
              <a:gd name="connsiteY22911" fmla="*/ 993937 h 6557032"/>
              <a:gd name="connsiteX22912" fmla="*/ 1065972 w 4610101"/>
              <a:gd name="connsiteY22912" fmla="*/ 990293 h 6557032"/>
              <a:gd name="connsiteX22913" fmla="*/ 1075083 w 4610101"/>
              <a:gd name="connsiteY22913" fmla="*/ 986649 h 6557032"/>
              <a:gd name="connsiteX22914" fmla="*/ 1075083 w 4610101"/>
              <a:gd name="connsiteY22914" fmla="*/ 984826 h 6557032"/>
              <a:gd name="connsiteX22915" fmla="*/ 1069616 w 4610101"/>
              <a:gd name="connsiteY22915" fmla="*/ 984826 h 6557032"/>
              <a:gd name="connsiteX22916" fmla="*/ 1067794 w 4610101"/>
              <a:gd name="connsiteY22916" fmla="*/ 973893 h 6557032"/>
              <a:gd name="connsiteX22917" fmla="*/ 1064151 w 4610101"/>
              <a:gd name="connsiteY22917" fmla="*/ 973893 h 6557032"/>
              <a:gd name="connsiteX22918" fmla="*/ 909265 w 4610101"/>
              <a:gd name="connsiteY22918" fmla="*/ 973893 h 6557032"/>
              <a:gd name="connsiteX22919" fmla="*/ 905621 w 4610101"/>
              <a:gd name="connsiteY22919" fmla="*/ 979360 h 6557032"/>
              <a:gd name="connsiteX22920" fmla="*/ 909265 w 4610101"/>
              <a:gd name="connsiteY22920" fmla="*/ 981182 h 6557032"/>
              <a:gd name="connsiteX22921" fmla="*/ 909265 w 4610101"/>
              <a:gd name="connsiteY22921" fmla="*/ 973893 h 6557032"/>
              <a:gd name="connsiteX22922" fmla="*/ 723404 w 4610101"/>
              <a:gd name="connsiteY22922" fmla="*/ 973893 h 6557032"/>
              <a:gd name="connsiteX22923" fmla="*/ 719759 w 4610101"/>
              <a:gd name="connsiteY22923" fmla="*/ 977538 h 6557032"/>
              <a:gd name="connsiteX22924" fmla="*/ 723404 w 4610101"/>
              <a:gd name="connsiteY22924" fmla="*/ 973893 h 6557032"/>
              <a:gd name="connsiteX22925" fmla="*/ 677849 w 4610101"/>
              <a:gd name="connsiteY22925" fmla="*/ 973893 h 6557032"/>
              <a:gd name="connsiteX22926" fmla="*/ 676027 w 4610101"/>
              <a:gd name="connsiteY22926" fmla="*/ 979360 h 6557032"/>
              <a:gd name="connsiteX22927" fmla="*/ 677849 w 4610101"/>
              <a:gd name="connsiteY22927" fmla="*/ 973893 h 6557032"/>
              <a:gd name="connsiteX22928" fmla="*/ 661449 w 4610101"/>
              <a:gd name="connsiteY22928" fmla="*/ 973893 h 6557032"/>
              <a:gd name="connsiteX22929" fmla="*/ 670560 w 4610101"/>
              <a:gd name="connsiteY22929" fmla="*/ 979360 h 6557032"/>
              <a:gd name="connsiteX22930" fmla="*/ 661449 w 4610101"/>
              <a:gd name="connsiteY22930" fmla="*/ 973893 h 6557032"/>
              <a:gd name="connsiteX22931" fmla="*/ 497454 w 4610101"/>
              <a:gd name="connsiteY22931" fmla="*/ 973893 h 6557032"/>
              <a:gd name="connsiteX22932" fmla="*/ 502920 w 4610101"/>
              <a:gd name="connsiteY22932" fmla="*/ 979360 h 6557032"/>
              <a:gd name="connsiteX22933" fmla="*/ 497454 w 4610101"/>
              <a:gd name="connsiteY22933" fmla="*/ 973893 h 6557032"/>
              <a:gd name="connsiteX22934" fmla="*/ 457367 w 4610101"/>
              <a:gd name="connsiteY22934" fmla="*/ 973893 h 6557032"/>
              <a:gd name="connsiteX22935" fmla="*/ 484700 w 4610101"/>
              <a:gd name="connsiteY22935" fmla="*/ 993937 h 6557032"/>
              <a:gd name="connsiteX22936" fmla="*/ 457367 w 4610101"/>
              <a:gd name="connsiteY22936" fmla="*/ 973893 h 6557032"/>
              <a:gd name="connsiteX22937" fmla="*/ 309771 w 4610101"/>
              <a:gd name="connsiteY22937" fmla="*/ 973893 h 6557032"/>
              <a:gd name="connsiteX22938" fmla="*/ 315236 w 4610101"/>
              <a:gd name="connsiteY22938" fmla="*/ 979360 h 6557032"/>
              <a:gd name="connsiteX22939" fmla="*/ 309771 w 4610101"/>
              <a:gd name="connsiteY22939" fmla="*/ 973893 h 6557032"/>
              <a:gd name="connsiteX22940" fmla="*/ 189506 w 4610101"/>
              <a:gd name="connsiteY22940" fmla="*/ 973893 h 6557032"/>
              <a:gd name="connsiteX22941" fmla="*/ 205906 w 4610101"/>
              <a:gd name="connsiteY22941" fmla="*/ 988471 h 6557032"/>
              <a:gd name="connsiteX22942" fmla="*/ 198617 w 4610101"/>
              <a:gd name="connsiteY22942" fmla="*/ 975715 h 6557032"/>
              <a:gd name="connsiteX22943" fmla="*/ 189506 w 4610101"/>
              <a:gd name="connsiteY22943" fmla="*/ 973893 h 6557032"/>
              <a:gd name="connsiteX22944" fmla="*/ 156707 w 4610101"/>
              <a:gd name="connsiteY22944" fmla="*/ 973893 h 6557032"/>
              <a:gd name="connsiteX22945" fmla="*/ 163085 w 4610101"/>
              <a:gd name="connsiteY22945" fmla="*/ 978448 h 6557032"/>
              <a:gd name="connsiteX22946" fmla="*/ 165589 w 4610101"/>
              <a:gd name="connsiteY22946" fmla="*/ 980237 h 6557032"/>
              <a:gd name="connsiteX22947" fmla="*/ 163313 w 4610101"/>
              <a:gd name="connsiteY22947" fmla="*/ 979131 h 6557032"/>
              <a:gd name="connsiteX22948" fmla="*/ 156707 w 4610101"/>
              <a:gd name="connsiteY22948" fmla="*/ 973893 h 6557032"/>
              <a:gd name="connsiteX22949" fmla="*/ 2558332 w 4610101"/>
              <a:gd name="connsiteY22949" fmla="*/ 972071 h 6557032"/>
              <a:gd name="connsiteX22950" fmla="*/ 2541933 w 4610101"/>
              <a:gd name="connsiteY22950" fmla="*/ 983004 h 6557032"/>
              <a:gd name="connsiteX22951" fmla="*/ 2560155 w 4610101"/>
              <a:gd name="connsiteY22951" fmla="*/ 977538 h 6557032"/>
              <a:gd name="connsiteX22952" fmla="*/ 2558332 w 4610101"/>
              <a:gd name="connsiteY22952" fmla="*/ 977538 h 6557032"/>
              <a:gd name="connsiteX22953" fmla="*/ 2558332 w 4610101"/>
              <a:gd name="connsiteY22953" fmla="*/ 972071 h 6557032"/>
              <a:gd name="connsiteX22954" fmla="*/ 1211747 w 4610101"/>
              <a:gd name="connsiteY22954" fmla="*/ 972071 h 6557032"/>
              <a:gd name="connsiteX22955" fmla="*/ 1209925 w 4610101"/>
              <a:gd name="connsiteY22955" fmla="*/ 977538 h 6557032"/>
              <a:gd name="connsiteX22956" fmla="*/ 1208102 w 4610101"/>
              <a:gd name="connsiteY22956" fmla="*/ 973893 h 6557032"/>
              <a:gd name="connsiteX22957" fmla="*/ 1211747 w 4610101"/>
              <a:gd name="connsiteY22957" fmla="*/ 972071 h 6557032"/>
              <a:gd name="connsiteX22958" fmla="*/ 479232 w 4610101"/>
              <a:gd name="connsiteY22958" fmla="*/ 972071 h 6557032"/>
              <a:gd name="connsiteX22959" fmla="*/ 484700 w 4610101"/>
              <a:gd name="connsiteY22959" fmla="*/ 973893 h 6557032"/>
              <a:gd name="connsiteX22960" fmla="*/ 479232 w 4610101"/>
              <a:gd name="connsiteY22960" fmla="*/ 972071 h 6557032"/>
              <a:gd name="connsiteX22961" fmla="*/ 256927 w 4610101"/>
              <a:gd name="connsiteY22961" fmla="*/ 972071 h 6557032"/>
              <a:gd name="connsiteX22962" fmla="*/ 264216 w 4610101"/>
              <a:gd name="connsiteY22962" fmla="*/ 977538 h 6557032"/>
              <a:gd name="connsiteX22963" fmla="*/ 256927 w 4610101"/>
              <a:gd name="connsiteY22963" fmla="*/ 972071 h 6557032"/>
              <a:gd name="connsiteX22964" fmla="*/ 52843 w 4610101"/>
              <a:gd name="connsiteY22964" fmla="*/ 970293 h 6557032"/>
              <a:gd name="connsiteX22965" fmla="*/ 69243 w 4610101"/>
              <a:gd name="connsiteY22965" fmla="*/ 988516 h 6557032"/>
              <a:gd name="connsiteX22966" fmla="*/ 69245 w 4610101"/>
              <a:gd name="connsiteY22966" fmla="*/ 988517 h 6557032"/>
              <a:gd name="connsiteX22967" fmla="*/ 69246 w 4610101"/>
              <a:gd name="connsiteY22967" fmla="*/ 988518 h 6557032"/>
              <a:gd name="connsiteX22968" fmla="*/ 69246 w 4610101"/>
              <a:gd name="connsiteY22968" fmla="*/ 988519 h 6557032"/>
              <a:gd name="connsiteX22969" fmla="*/ 69248 w 4610101"/>
              <a:gd name="connsiteY22969" fmla="*/ 988520 h 6557032"/>
              <a:gd name="connsiteX22970" fmla="*/ 69247 w 4610101"/>
              <a:gd name="connsiteY22970" fmla="*/ 988520 h 6557032"/>
              <a:gd name="connsiteX22971" fmla="*/ 69254 w 4610101"/>
              <a:gd name="connsiteY22971" fmla="*/ 988527 h 6557032"/>
              <a:gd name="connsiteX22972" fmla="*/ 89288 w 4610101"/>
              <a:gd name="connsiteY22972" fmla="*/ 1012205 h 6557032"/>
              <a:gd name="connsiteX22973" fmla="*/ 52843 w 4610101"/>
              <a:gd name="connsiteY22973" fmla="*/ 970293 h 6557032"/>
              <a:gd name="connsiteX22974" fmla="*/ 2498201 w 4610101"/>
              <a:gd name="connsiteY22974" fmla="*/ 970249 h 6557032"/>
              <a:gd name="connsiteX22975" fmla="*/ 2492734 w 4610101"/>
              <a:gd name="connsiteY22975" fmla="*/ 992115 h 6557032"/>
              <a:gd name="connsiteX22976" fmla="*/ 2485446 w 4610101"/>
              <a:gd name="connsiteY22976" fmla="*/ 1006692 h 6557032"/>
              <a:gd name="connsiteX22977" fmla="*/ 2509134 w 4610101"/>
              <a:gd name="connsiteY22977" fmla="*/ 981182 h 6557032"/>
              <a:gd name="connsiteX22978" fmla="*/ 2498201 w 4610101"/>
              <a:gd name="connsiteY22978" fmla="*/ 970249 h 6557032"/>
              <a:gd name="connsiteX22979" fmla="*/ 818156 w 4610101"/>
              <a:gd name="connsiteY22979" fmla="*/ 970249 h 6557032"/>
              <a:gd name="connsiteX22980" fmla="*/ 801757 w 4610101"/>
              <a:gd name="connsiteY22980" fmla="*/ 972071 h 6557032"/>
              <a:gd name="connsiteX22981" fmla="*/ 818156 w 4610101"/>
              <a:gd name="connsiteY22981" fmla="*/ 970249 h 6557032"/>
              <a:gd name="connsiteX22982" fmla="*/ 734336 w 4610101"/>
              <a:gd name="connsiteY22982" fmla="*/ 970249 h 6557032"/>
              <a:gd name="connsiteX22983" fmla="*/ 734336 w 4610101"/>
              <a:gd name="connsiteY22983" fmla="*/ 971463 h 6557032"/>
              <a:gd name="connsiteX22984" fmla="*/ 733832 w 4610101"/>
              <a:gd name="connsiteY22984" fmla="*/ 970624 h 6557032"/>
              <a:gd name="connsiteX22985" fmla="*/ 683316 w 4610101"/>
              <a:gd name="connsiteY22985" fmla="*/ 970249 h 6557032"/>
              <a:gd name="connsiteX22986" fmla="*/ 679671 w 4610101"/>
              <a:gd name="connsiteY22986" fmla="*/ 975715 h 6557032"/>
              <a:gd name="connsiteX22987" fmla="*/ 686960 w 4610101"/>
              <a:gd name="connsiteY22987" fmla="*/ 979360 h 6557032"/>
              <a:gd name="connsiteX22988" fmla="*/ 683316 w 4610101"/>
              <a:gd name="connsiteY22988" fmla="*/ 970249 h 6557032"/>
              <a:gd name="connsiteX22989" fmla="*/ 650516 w 4610101"/>
              <a:gd name="connsiteY22989" fmla="*/ 970249 h 6557032"/>
              <a:gd name="connsiteX22990" fmla="*/ 659627 w 4610101"/>
              <a:gd name="connsiteY22990" fmla="*/ 993937 h 6557032"/>
              <a:gd name="connsiteX22991" fmla="*/ 655983 w 4610101"/>
              <a:gd name="connsiteY22991" fmla="*/ 984826 h 6557032"/>
              <a:gd name="connsiteX22992" fmla="*/ 661449 w 4610101"/>
              <a:gd name="connsiteY22992" fmla="*/ 990293 h 6557032"/>
              <a:gd name="connsiteX22993" fmla="*/ 650516 w 4610101"/>
              <a:gd name="connsiteY22993" fmla="*/ 970249 h 6557032"/>
              <a:gd name="connsiteX22994" fmla="*/ 619539 w 4610101"/>
              <a:gd name="connsiteY22994" fmla="*/ 970249 h 6557032"/>
              <a:gd name="connsiteX22995" fmla="*/ 615895 w 4610101"/>
              <a:gd name="connsiteY22995" fmla="*/ 973893 h 6557032"/>
              <a:gd name="connsiteX22996" fmla="*/ 630472 w 4610101"/>
              <a:gd name="connsiteY22996" fmla="*/ 983004 h 6557032"/>
              <a:gd name="connsiteX22997" fmla="*/ 619539 w 4610101"/>
              <a:gd name="connsiteY22997" fmla="*/ 970249 h 6557032"/>
              <a:gd name="connsiteX22998" fmla="*/ 72887 w 4610101"/>
              <a:gd name="connsiteY22998" fmla="*/ 970249 h 6557032"/>
              <a:gd name="connsiteX22999" fmla="*/ 74123 w 4610101"/>
              <a:gd name="connsiteY22999" fmla="*/ 972273 h 6557032"/>
              <a:gd name="connsiteX23000" fmla="*/ 83592 w 4610101"/>
              <a:gd name="connsiteY23000" fmla="*/ 987787 h 6557032"/>
              <a:gd name="connsiteX23001" fmla="*/ 98398 w 4610101"/>
              <a:gd name="connsiteY23001" fmla="*/ 1001226 h 6557032"/>
              <a:gd name="connsiteX23002" fmla="*/ 87465 w 4610101"/>
              <a:gd name="connsiteY23002" fmla="*/ 988471 h 6557032"/>
              <a:gd name="connsiteX23003" fmla="*/ 140308 w 4610101"/>
              <a:gd name="connsiteY23003" fmla="*/ 1034025 h 6557032"/>
              <a:gd name="connsiteX23004" fmla="*/ 92931 w 4610101"/>
              <a:gd name="connsiteY23004" fmla="*/ 990293 h 6557032"/>
              <a:gd name="connsiteX23005" fmla="*/ 107509 w 4610101"/>
              <a:gd name="connsiteY23005" fmla="*/ 1003047 h 6557032"/>
              <a:gd name="connsiteX23006" fmla="*/ 72887 w 4610101"/>
              <a:gd name="connsiteY23006" fmla="*/ 970249 h 6557032"/>
              <a:gd name="connsiteX23007" fmla="*/ 418645 w 4610101"/>
              <a:gd name="connsiteY23007" fmla="*/ 968882 h 6557032"/>
              <a:gd name="connsiteX23008" fmla="*/ 413634 w 4610101"/>
              <a:gd name="connsiteY23008" fmla="*/ 973893 h 6557032"/>
              <a:gd name="connsiteX23009" fmla="*/ 411812 w 4610101"/>
              <a:gd name="connsiteY23009" fmla="*/ 975715 h 6557032"/>
              <a:gd name="connsiteX23010" fmla="*/ 406345 w 4610101"/>
              <a:gd name="connsiteY23010" fmla="*/ 977538 h 6557032"/>
              <a:gd name="connsiteX23011" fmla="*/ 415456 w 4610101"/>
              <a:gd name="connsiteY23011" fmla="*/ 983004 h 6557032"/>
              <a:gd name="connsiteX23012" fmla="*/ 411812 w 4610101"/>
              <a:gd name="connsiteY23012" fmla="*/ 975715 h 6557032"/>
              <a:gd name="connsiteX23013" fmla="*/ 430034 w 4610101"/>
              <a:gd name="connsiteY23013" fmla="*/ 990293 h 6557032"/>
              <a:gd name="connsiteX23014" fmla="*/ 415456 w 4610101"/>
              <a:gd name="connsiteY23014" fmla="*/ 979360 h 6557032"/>
              <a:gd name="connsiteX23015" fmla="*/ 419100 w 4610101"/>
              <a:gd name="connsiteY23015" fmla="*/ 979360 h 6557032"/>
              <a:gd name="connsiteX23016" fmla="*/ 413634 w 4610101"/>
              <a:gd name="connsiteY23016" fmla="*/ 973893 h 6557032"/>
              <a:gd name="connsiteX23017" fmla="*/ 428211 w 4610101"/>
              <a:gd name="connsiteY23017" fmla="*/ 975715 h 6557032"/>
              <a:gd name="connsiteX23018" fmla="*/ 418645 w 4610101"/>
              <a:gd name="connsiteY23018" fmla="*/ 968882 h 6557032"/>
              <a:gd name="connsiteX23019" fmla="*/ 2285007 w 4610101"/>
              <a:gd name="connsiteY23019" fmla="*/ 968427 h 6557032"/>
              <a:gd name="connsiteX23020" fmla="*/ 2275896 w 4610101"/>
              <a:gd name="connsiteY23020" fmla="*/ 979360 h 6557032"/>
              <a:gd name="connsiteX23021" fmla="*/ 2290473 w 4610101"/>
              <a:gd name="connsiteY23021" fmla="*/ 975715 h 6557032"/>
              <a:gd name="connsiteX23022" fmla="*/ 2285007 w 4610101"/>
              <a:gd name="connsiteY23022" fmla="*/ 968427 h 6557032"/>
              <a:gd name="connsiteX23023" fmla="*/ 1058683 w 4610101"/>
              <a:gd name="connsiteY23023" fmla="*/ 968427 h 6557032"/>
              <a:gd name="connsiteX23024" fmla="*/ 1056861 w 4610101"/>
              <a:gd name="connsiteY23024" fmla="*/ 970249 h 6557032"/>
              <a:gd name="connsiteX23025" fmla="*/ 1042284 w 4610101"/>
              <a:gd name="connsiteY23025" fmla="*/ 977538 h 6557032"/>
              <a:gd name="connsiteX23026" fmla="*/ 1044678 w 4610101"/>
              <a:gd name="connsiteY23026" fmla="*/ 979134 h 6557032"/>
              <a:gd name="connsiteX23027" fmla="*/ 1033173 w 4610101"/>
              <a:gd name="connsiteY23027" fmla="*/ 979360 h 6557032"/>
              <a:gd name="connsiteX23028" fmla="*/ 1036818 w 4610101"/>
              <a:gd name="connsiteY23028" fmla="*/ 1004870 h 6557032"/>
              <a:gd name="connsiteX23029" fmla="*/ 1053217 w 4610101"/>
              <a:gd name="connsiteY23029" fmla="*/ 993937 h 6557032"/>
              <a:gd name="connsiteX23030" fmla="*/ 1047750 w 4610101"/>
              <a:gd name="connsiteY23030" fmla="*/ 990293 h 6557032"/>
              <a:gd name="connsiteX23031" fmla="*/ 1055040 w 4610101"/>
              <a:gd name="connsiteY23031" fmla="*/ 988471 h 6557032"/>
              <a:gd name="connsiteX23032" fmla="*/ 1045101 w 4610101"/>
              <a:gd name="connsiteY23032" fmla="*/ 979416 h 6557032"/>
              <a:gd name="connsiteX23033" fmla="*/ 1053217 w 4610101"/>
              <a:gd name="connsiteY23033" fmla="*/ 984826 h 6557032"/>
              <a:gd name="connsiteX23034" fmla="*/ 1056861 w 4610101"/>
              <a:gd name="connsiteY23034" fmla="*/ 984826 h 6557032"/>
              <a:gd name="connsiteX23035" fmla="*/ 1060506 w 4610101"/>
              <a:gd name="connsiteY23035" fmla="*/ 981182 h 6557032"/>
              <a:gd name="connsiteX23036" fmla="*/ 1056861 w 4610101"/>
              <a:gd name="connsiteY23036" fmla="*/ 970249 h 6557032"/>
              <a:gd name="connsiteX23037" fmla="*/ 1060506 w 4610101"/>
              <a:gd name="connsiteY23037" fmla="*/ 973893 h 6557032"/>
              <a:gd name="connsiteX23038" fmla="*/ 1058683 w 4610101"/>
              <a:gd name="connsiteY23038" fmla="*/ 968427 h 6557032"/>
              <a:gd name="connsiteX23039" fmla="*/ 1049573 w 4610101"/>
              <a:gd name="connsiteY23039" fmla="*/ 968427 h 6557032"/>
              <a:gd name="connsiteX23040" fmla="*/ 1034995 w 4610101"/>
              <a:gd name="connsiteY23040" fmla="*/ 972071 h 6557032"/>
              <a:gd name="connsiteX23041" fmla="*/ 1049573 w 4610101"/>
              <a:gd name="connsiteY23041" fmla="*/ 968427 h 6557032"/>
              <a:gd name="connsiteX23042" fmla="*/ 1031351 w 4610101"/>
              <a:gd name="connsiteY23042" fmla="*/ 968427 h 6557032"/>
              <a:gd name="connsiteX23043" fmla="*/ 1024062 w 4610101"/>
              <a:gd name="connsiteY23043" fmla="*/ 973893 h 6557032"/>
              <a:gd name="connsiteX23044" fmla="*/ 1031351 w 4610101"/>
              <a:gd name="connsiteY23044" fmla="*/ 968427 h 6557032"/>
              <a:gd name="connsiteX23045" fmla="*/ 1005840 w 4610101"/>
              <a:gd name="connsiteY23045" fmla="*/ 968427 h 6557032"/>
              <a:gd name="connsiteX23046" fmla="*/ 998552 w 4610101"/>
              <a:gd name="connsiteY23046" fmla="*/ 975715 h 6557032"/>
              <a:gd name="connsiteX23047" fmla="*/ 1000374 w 4610101"/>
              <a:gd name="connsiteY23047" fmla="*/ 977538 h 6557032"/>
              <a:gd name="connsiteX23048" fmla="*/ 1005840 w 4610101"/>
              <a:gd name="connsiteY23048" fmla="*/ 968427 h 6557032"/>
              <a:gd name="connsiteX23049" fmla="*/ 949353 w 4610101"/>
              <a:gd name="connsiteY23049" fmla="*/ 968427 h 6557032"/>
              <a:gd name="connsiteX23050" fmla="*/ 952997 w 4610101"/>
              <a:gd name="connsiteY23050" fmla="*/ 986649 h 6557032"/>
              <a:gd name="connsiteX23051" fmla="*/ 958464 w 4610101"/>
              <a:gd name="connsiteY23051" fmla="*/ 975715 h 6557032"/>
              <a:gd name="connsiteX23052" fmla="*/ 949353 w 4610101"/>
              <a:gd name="connsiteY23052" fmla="*/ 968427 h 6557032"/>
              <a:gd name="connsiteX23053" fmla="*/ 317059 w 4610101"/>
              <a:gd name="connsiteY23053" fmla="*/ 968427 h 6557032"/>
              <a:gd name="connsiteX23054" fmla="*/ 315236 w 4610101"/>
              <a:gd name="connsiteY23054" fmla="*/ 970249 h 6557032"/>
              <a:gd name="connsiteX23055" fmla="*/ 320703 w 4610101"/>
              <a:gd name="connsiteY23055" fmla="*/ 973893 h 6557032"/>
              <a:gd name="connsiteX23056" fmla="*/ 317059 w 4610101"/>
              <a:gd name="connsiteY23056" fmla="*/ 968427 h 6557032"/>
              <a:gd name="connsiteX23057" fmla="*/ 284259 w 4610101"/>
              <a:gd name="connsiteY23057" fmla="*/ 968427 h 6557032"/>
              <a:gd name="connsiteX23058" fmla="*/ 298837 w 4610101"/>
              <a:gd name="connsiteY23058" fmla="*/ 984826 h 6557032"/>
              <a:gd name="connsiteX23059" fmla="*/ 298837 w 4610101"/>
              <a:gd name="connsiteY23059" fmla="*/ 977538 h 6557032"/>
              <a:gd name="connsiteX23060" fmla="*/ 315236 w 4610101"/>
              <a:gd name="connsiteY23060" fmla="*/ 993937 h 6557032"/>
              <a:gd name="connsiteX23061" fmla="*/ 297015 w 4610101"/>
              <a:gd name="connsiteY23061" fmla="*/ 972071 h 6557032"/>
              <a:gd name="connsiteX23062" fmla="*/ 284259 w 4610101"/>
              <a:gd name="connsiteY23062" fmla="*/ 968427 h 6557032"/>
              <a:gd name="connsiteX23063" fmla="*/ 242349 w 4610101"/>
              <a:gd name="connsiteY23063" fmla="*/ 968427 h 6557032"/>
              <a:gd name="connsiteX23064" fmla="*/ 258749 w 4610101"/>
              <a:gd name="connsiteY23064" fmla="*/ 986649 h 6557032"/>
              <a:gd name="connsiteX23065" fmla="*/ 264216 w 4610101"/>
              <a:gd name="connsiteY23065" fmla="*/ 990293 h 6557032"/>
              <a:gd name="connsiteX23066" fmla="*/ 258749 w 4610101"/>
              <a:gd name="connsiteY23066" fmla="*/ 986649 h 6557032"/>
              <a:gd name="connsiteX23067" fmla="*/ 242349 w 4610101"/>
              <a:gd name="connsiteY23067" fmla="*/ 968427 h 6557032"/>
              <a:gd name="connsiteX23068" fmla="*/ 222306 w 4610101"/>
              <a:gd name="connsiteY23068" fmla="*/ 968427 h 6557032"/>
              <a:gd name="connsiteX23069" fmla="*/ 236883 w 4610101"/>
              <a:gd name="connsiteY23069" fmla="*/ 984826 h 6557032"/>
              <a:gd name="connsiteX23070" fmla="*/ 235061 w 4610101"/>
              <a:gd name="connsiteY23070" fmla="*/ 981182 h 6557032"/>
              <a:gd name="connsiteX23071" fmla="*/ 247816 w 4610101"/>
              <a:gd name="connsiteY23071" fmla="*/ 986649 h 6557032"/>
              <a:gd name="connsiteX23072" fmla="*/ 222306 w 4610101"/>
              <a:gd name="connsiteY23072" fmla="*/ 968427 h 6557032"/>
              <a:gd name="connsiteX23073" fmla="*/ 187684 w 4610101"/>
              <a:gd name="connsiteY23073" fmla="*/ 968427 h 6557032"/>
              <a:gd name="connsiteX23074" fmla="*/ 196795 w 4610101"/>
              <a:gd name="connsiteY23074" fmla="*/ 973893 h 6557032"/>
              <a:gd name="connsiteX23075" fmla="*/ 187684 w 4610101"/>
              <a:gd name="connsiteY23075" fmla="*/ 968427 h 6557032"/>
              <a:gd name="connsiteX23076" fmla="*/ 2339672 w 4610101"/>
              <a:gd name="connsiteY23076" fmla="*/ 968427 h 6557032"/>
              <a:gd name="connsiteX23077" fmla="*/ 2341521 w 4610101"/>
              <a:gd name="connsiteY23077" fmla="*/ 969351 h 6557032"/>
              <a:gd name="connsiteX23078" fmla="*/ 2341494 w 4610101"/>
              <a:gd name="connsiteY23078" fmla="*/ 970249 h 6557032"/>
              <a:gd name="connsiteX23079" fmla="*/ 2339276 w 4610101"/>
              <a:gd name="connsiteY23079" fmla="*/ 968823 h 6557032"/>
              <a:gd name="connsiteX23080" fmla="*/ 1326221 w 4610101"/>
              <a:gd name="connsiteY23080" fmla="*/ 968248 h 6557032"/>
              <a:gd name="connsiteX23081" fmla="*/ 1328365 w 4610101"/>
              <a:gd name="connsiteY23081" fmla="*/ 968427 h 6557032"/>
              <a:gd name="connsiteX23082" fmla="*/ 1327089 w 4610101"/>
              <a:gd name="connsiteY23082" fmla="*/ 969702 h 6557032"/>
              <a:gd name="connsiteX23083" fmla="*/ 1324721 w 4610101"/>
              <a:gd name="connsiteY23083" fmla="*/ 970249 h 6557032"/>
              <a:gd name="connsiteX23084" fmla="*/ 3172405 w 4610101"/>
              <a:gd name="connsiteY23084" fmla="*/ 966604 h 6557032"/>
              <a:gd name="connsiteX23085" fmla="*/ 3154184 w 4610101"/>
              <a:gd name="connsiteY23085" fmla="*/ 981182 h 6557032"/>
              <a:gd name="connsiteX23086" fmla="*/ 3168761 w 4610101"/>
              <a:gd name="connsiteY23086" fmla="*/ 983004 h 6557032"/>
              <a:gd name="connsiteX23087" fmla="*/ 3172405 w 4610101"/>
              <a:gd name="connsiteY23087" fmla="*/ 966604 h 6557032"/>
              <a:gd name="connsiteX23088" fmla="*/ 2425314 w 4610101"/>
              <a:gd name="connsiteY23088" fmla="*/ 966604 h 6557032"/>
              <a:gd name="connsiteX23089" fmla="*/ 2416203 w 4610101"/>
              <a:gd name="connsiteY23089" fmla="*/ 975715 h 6557032"/>
              <a:gd name="connsiteX23090" fmla="*/ 2458113 w 4610101"/>
              <a:gd name="connsiteY23090" fmla="*/ 990293 h 6557032"/>
              <a:gd name="connsiteX23091" fmla="*/ 2463580 w 4610101"/>
              <a:gd name="connsiteY23091" fmla="*/ 1001226 h 6557032"/>
              <a:gd name="connsiteX23092" fmla="*/ 2463580 w 4610101"/>
              <a:gd name="connsiteY23092" fmla="*/ 993937 h 6557032"/>
              <a:gd name="connsiteX23093" fmla="*/ 2469046 w 4610101"/>
              <a:gd name="connsiteY23093" fmla="*/ 1004870 h 6557032"/>
              <a:gd name="connsiteX23094" fmla="*/ 2463580 w 4610101"/>
              <a:gd name="connsiteY23094" fmla="*/ 1006692 h 6557032"/>
              <a:gd name="connsiteX23095" fmla="*/ 2467224 w 4610101"/>
              <a:gd name="connsiteY23095" fmla="*/ 1013981 h 6557032"/>
              <a:gd name="connsiteX23096" fmla="*/ 2479979 w 4610101"/>
              <a:gd name="connsiteY23096" fmla="*/ 975715 h 6557032"/>
              <a:gd name="connsiteX23097" fmla="*/ 2454469 w 4610101"/>
              <a:gd name="connsiteY23097" fmla="*/ 990293 h 6557032"/>
              <a:gd name="connsiteX23098" fmla="*/ 2450824 w 4610101"/>
              <a:gd name="connsiteY23098" fmla="*/ 975715 h 6557032"/>
              <a:gd name="connsiteX23099" fmla="*/ 2445358 w 4610101"/>
              <a:gd name="connsiteY23099" fmla="*/ 975715 h 6557032"/>
              <a:gd name="connsiteX23100" fmla="*/ 2445358 w 4610101"/>
              <a:gd name="connsiteY23100" fmla="*/ 966604 h 6557032"/>
              <a:gd name="connsiteX23101" fmla="*/ 2439891 w 4610101"/>
              <a:gd name="connsiteY23101" fmla="*/ 966604 h 6557032"/>
              <a:gd name="connsiteX23102" fmla="*/ 2441713 w 4610101"/>
              <a:gd name="connsiteY23102" fmla="*/ 975715 h 6557032"/>
              <a:gd name="connsiteX23103" fmla="*/ 2434425 w 4610101"/>
              <a:gd name="connsiteY23103" fmla="*/ 970249 h 6557032"/>
              <a:gd name="connsiteX23104" fmla="*/ 2430780 w 4610101"/>
              <a:gd name="connsiteY23104" fmla="*/ 983004 h 6557032"/>
              <a:gd name="connsiteX23105" fmla="*/ 2425314 w 4610101"/>
              <a:gd name="connsiteY23105" fmla="*/ 966604 h 6557032"/>
              <a:gd name="connsiteX23106" fmla="*/ 236883 w 4610101"/>
              <a:gd name="connsiteY23106" fmla="*/ 966604 h 6557032"/>
              <a:gd name="connsiteX23107" fmla="*/ 245565 w 4610101"/>
              <a:gd name="connsiteY23107" fmla="*/ 976527 h 6557032"/>
              <a:gd name="connsiteX23108" fmla="*/ 245994 w 4610101"/>
              <a:gd name="connsiteY23108" fmla="*/ 977538 h 6557032"/>
              <a:gd name="connsiteX23109" fmla="*/ 249638 w 4610101"/>
              <a:gd name="connsiteY23109" fmla="*/ 981182 h 6557032"/>
              <a:gd name="connsiteX23110" fmla="*/ 245565 w 4610101"/>
              <a:gd name="connsiteY23110" fmla="*/ 976527 h 6557032"/>
              <a:gd name="connsiteX23111" fmla="*/ 242805 w 4610101"/>
              <a:gd name="connsiteY23111" fmla="*/ 970021 h 6557032"/>
              <a:gd name="connsiteX23112" fmla="*/ 236883 w 4610101"/>
              <a:gd name="connsiteY23112" fmla="*/ 966604 h 6557032"/>
              <a:gd name="connsiteX23113" fmla="*/ 982152 w 4610101"/>
              <a:gd name="connsiteY23113" fmla="*/ 965693 h 6557032"/>
              <a:gd name="connsiteX23114" fmla="*/ 983366 w 4610101"/>
              <a:gd name="connsiteY23114" fmla="*/ 965997 h 6557032"/>
              <a:gd name="connsiteX23115" fmla="*/ 983974 w 4610101"/>
              <a:gd name="connsiteY23115" fmla="*/ 966604 h 6557032"/>
              <a:gd name="connsiteX23116" fmla="*/ 2563799 w 4610101"/>
              <a:gd name="connsiteY23116" fmla="*/ 964782 h 6557032"/>
              <a:gd name="connsiteX23117" fmla="*/ 2563799 w 4610101"/>
              <a:gd name="connsiteY23117" fmla="*/ 981182 h 6557032"/>
              <a:gd name="connsiteX23118" fmla="*/ 2578377 w 4610101"/>
              <a:gd name="connsiteY23118" fmla="*/ 979360 h 6557032"/>
              <a:gd name="connsiteX23119" fmla="*/ 2563799 w 4610101"/>
              <a:gd name="connsiteY23119" fmla="*/ 964782 h 6557032"/>
              <a:gd name="connsiteX23120" fmla="*/ 2337850 w 4610101"/>
              <a:gd name="connsiteY23120" fmla="*/ 964782 h 6557032"/>
              <a:gd name="connsiteX23121" fmla="*/ 2338305 w 4610101"/>
              <a:gd name="connsiteY23121" fmla="*/ 968199 h 6557032"/>
              <a:gd name="connsiteX23122" fmla="*/ 2339276 w 4610101"/>
              <a:gd name="connsiteY23122" fmla="*/ 968823 h 6557032"/>
              <a:gd name="connsiteX23123" fmla="*/ 2336640 w 4610101"/>
              <a:gd name="connsiteY23123" fmla="*/ 971459 h 6557032"/>
              <a:gd name="connsiteX23124" fmla="*/ 2336158 w 4610101"/>
              <a:gd name="connsiteY23124" fmla="*/ 971546 h 6557032"/>
              <a:gd name="connsiteX23125" fmla="*/ 1198991 w 4610101"/>
              <a:gd name="connsiteY23125" fmla="*/ 964782 h 6557032"/>
              <a:gd name="connsiteX23126" fmla="*/ 1209925 w 4610101"/>
              <a:gd name="connsiteY23126" fmla="*/ 983004 h 6557032"/>
              <a:gd name="connsiteX23127" fmla="*/ 1211747 w 4610101"/>
              <a:gd name="connsiteY23127" fmla="*/ 981182 h 6557032"/>
              <a:gd name="connsiteX23128" fmla="*/ 1213568 w 4610101"/>
              <a:gd name="connsiteY23128" fmla="*/ 992115 h 6557032"/>
              <a:gd name="connsiteX23129" fmla="*/ 1219036 w 4610101"/>
              <a:gd name="connsiteY23129" fmla="*/ 986649 h 6557032"/>
              <a:gd name="connsiteX23130" fmla="*/ 1213568 w 4610101"/>
              <a:gd name="connsiteY23130" fmla="*/ 993937 h 6557032"/>
              <a:gd name="connsiteX23131" fmla="*/ 1217213 w 4610101"/>
              <a:gd name="connsiteY23131" fmla="*/ 999403 h 6557032"/>
              <a:gd name="connsiteX23132" fmla="*/ 1213568 w 4610101"/>
              <a:gd name="connsiteY23132" fmla="*/ 999403 h 6557032"/>
              <a:gd name="connsiteX23133" fmla="*/ 1211747 w 4610101"/>
              <a:gd name="connsiteY23133" fmla="*/ 995759 h 6557032"/>
              <a:gd name="connsiteX23134" fmla="*/ 1211747 w 4610101"/>
              <a:gd name="connsiteY23134" fmla="*/ 1003047 h 6557032"/>
              <a:gd name="connsiteX23135" fmla="*/ 1213568 w 4610101"/>
              <a:gd name="connsiteY23135" fmla="*/ 1001226 h 6557032"/>
              <a:gd name="connsiteX23136" fmla="*/ 1211747 w 4610101"/>
              <a:gd name="connsiteY23136" fmla="*/ 1012159 h 6557032"/>
              <a:gd name="connsiteX23137" fmla="*/ 1226323 w 4610101"/>
              <a:gd name="connsiteY23137" fmla="*/ 999403 h 6557032"/>
              <a:gd name="connsiteX23138" fmla="*/ 1224501 w 4610101"/>
              <a:gd name="connsiteY23138" fmla="*/ 995759 h 6557032"/>
              <a:gd name="connsiteX23139" fmla="*/ 1229969 w 4610101"/>
              <a:gd name="connsiteY23139" fmla="*/ 995759 h 6557032"/>
              <a:gd name="connsiteX23140" fmla="*/ 1213568 w 4610101"/>
              <a:gd name="connsiteY23140" fmla="*/ 1012159 h 6557032"/>
              <a:gd name="connsiteX23141" fmla="*/ 1217213 w 4610101"/>
              <a:gd name="connsiteY23141" fmla="*/ 1019448 h 6557032"/>
              <a:gd name="connsiteX23142" fmla="*/ 1222679 w 4610101"/>
              <a:gd name="connsiteY23142" fmla="*/ 1012159 h 6557032"/>
              <a:gd name="connsiteX23143" fmla="*/ 1226323 w 4610101"/>
              <a:gd name="connsiteY23143" fmla="*/ 1015803 h 6557032"/>
              <a:gd name="connsiteX23144" fmla="*/ 1239080 w 4610101"/>
              <a:gd name="connsiteY23144" fmla="*/ 986649 h 6557032"/>
              <a:gd name="connsiteX23145" fmla="*/ 1231790 w 4610101"/>
              <a:gd name="connsiteY23145" fmla="*/ 979360 h 6557032"/>
              <a:gd name="connsiteX23146" fmla="*/ 1222679 w 4610101"/>
              <a:gd name="connsiteY23146" fmla="*/ 979360 h 6557032"/>
              <a:gd name="connsiteX23147" fmla="*/ 1211747 w 4610101"/>
              <a:gd name="connsiteY23147" fmla="*/ 972071 h 6557032"/>
              <a:gd name="connsiteX23148" fmla="*/ 1209925 w 4610101"/>
              <a:gd name="connsiteY23148" fmla="*/ 968427 h 6557032"/>
              <a:gd name="connsiteX23149" fmla="*/ 1198991 w 4610101"/>
              <a:gd name="connsiteY23149" fmla="*/ 964782 h 6557032"/>
              <a:gd name="connsiteX23150" fmla="*/ 1197169 w 4610101"/>
              <a:gd name="connsiteY23150" fmla="*/ 964782 h 6557032"/>
              <a:gd name="connsiteX23151" fmla="*/ 1191703 w 4610101"/>
              <a:gd name="connsiteY23151" fmla="*/ 975715 h 6557032"/>
              <a:gd name="connsiteX23152" fmla="*/ 1198991 w 4610101"/>
              <a:gd name="connsiteY23152" fmla="*/ 972071 h 6557032"/>
              <a:gd name="connsiteX23153" fmla="*/ 1188058 w 4610101"/>
              <a:gd name="connsiteY23153" fmla="*/ 977538 h 6557032"/>
              <a:gd name="connsiteX23154" fmla="*/ 1193525 w 4610101"/>
              <a:gd name="connsiteY23154" fmla="*/ 997582 h 6557032"/>
              <a:gd name="connsiteX23155" fmla="*/ 1197169 w 4610101"/>
              <a:gd name="connsiteY23155" fmla="*/ 995759 h 6557032"/>
              <a:gd name="connsiteX23156" fmla="*/ 1189880 w 4610101"/>
              <a:gd name="connsiteY23156" fmla="*/ 1030381 h 6557032"/>
              <a:gd name="connsiteX23157" fmla="*/ 1186236 w 4610101"/>
              <a:gd name="connsiteY23157" fmla="*/ 1032203 h 6557032"/>
              <a:gd name="connsiteX23158" fmla="*/ 1189880 w 4610101"/>
              <a:gd name="connsiteY23158" fmla="*/ 1032203 h 6557032"/>
              <a:gd name="connsiteX23159" fmla="*/ 1191703 w 4610101"/>
              <a:gd name="connsiteY23159" fmla="*/ 1035847 h 6557032"/>
              <a:gd name="connsiteX23160" fmla="*/ 1195346 w 4610101"/>
              <a:gd name="connsiteY23160" fmla="*/ 1032203 h 6557032"/>
              <a:gd name="connsiteX23161" fmla="*/ 1193525 w 4610101"/>
              <a:gd name="connsiteY23161" fmla="*/ 1037669 h 6557032"/>
              <a:gd name="connsiteX23162" fmla="*/ 1204457 w 4610101"/>
              <a:gd name="connsiteY23162" fmla="*/ 1010337 h 6557032"/>
              <a:gd name="connsiteX23163" fmla="*/ 1208102 w 4610101"/>
              <a:gd name="connsiteY23163" fmla="*/ 990293 h 6557032"/>
              <a:gd name="connsiteX23164" fmla="*/ 1198991 w 4610101"/>
              <a:gd name="connsiteY23164" fmla="*/ 979360 h 6557032"/>
              <a:gd name="connsiteX23165" fmla="*/ 1200130 w 4610101"/>
              <a:gd name="connsiteY23165" fmla="*/ 979360 h 6557032"/>
              <a:gd name="connsiteX23166" fmla="*/ 1202635 w 4610101"/>
              <a:gd name="connsiteY23166" fmla="*/ 979360 h 6557032"/>
              <a:gd name="connsiteX23167" fmla="*/ 1202636 w 4610101"/>
              <a:gd name="connsiteY23167" fmla="*/ 979360 h 6557032"/>
              <a:gd name="connsiteX23168" fmla="*/ 1203774 w 4610101"/>
              <a:gd name="connsiteY23168" fmla="*/ 983688 h 6557032"/>
              <a:gd name="connsiteX23169" fmla="*/ 1206279 w 4610101"/>
              <a:gd name="connsiteY23169" fmla="*/ 986649 h 6557032"/>
              <a:gd name="connsiteX23170" fmla="*/ 1202636 w 4610101"/>
              <a:gd name="connsiteY23170" fmla="*/ 979360 h 6557032"/>
              <a:gd name="connsiteX23171" fmla="*/ 1202636 w 4610101"/>
              <a:gd name="connsiteY23171" fmla="*/ 979360 h 6557032"/>
              <a:gd name="connsiteX23172" fmla="*/ 1202635 w 4610101"/>
              <a:gd name="connsiteY23172" fmla="*/ 979360 h 6557032"/>
              <a:gd name="connsiteX23173" fmla="*/ 1198991 w 4610101"/>
              <a:gd name="connsiteY23173" fmla="*/ 972071 h 6557032"/>
              <a:gd name="connsiteX23174" fmla="*/ 1197169 w 4610101"/>
              <a:gd name="connsiteY23174" fmla="*/ 964782 h 6557032"/>
              <a:gd name="connsiteX23175" fmla="*/ 836378 w 4610101"/>
              <a:gd name="connsiteY23175" fmla="*/ 964782 h 6557032"/>
              <a:gd name="connsiteX23176" fmla="*/ 816933 w 4610101"/>
              <a:gd name="connsiteY23176" fmla="*/ 967774 h 6557032"/>
              <a:gd name="connsiteX23177" fmla="*/ 816334 w 4610101"/>
              <a:gd name="connsiteY23177" fmla="*/ 967288 h 6557032"/>
              <a:gd name="connsiteX23178" fmla="*/ 812690 w 4610101"/>
              <a:gd name="connsiteY23178" fmla="*/ 968427 h 6557032"/>
              <a:gd name="connsiteX23179" fmla="*/ 816933 w 4610101"/>
              <a:gd name="connsiteY23179" fmla="*/ 967774 h 6557032"/>
              <a:gd name="connsiteX23180" fmla="*/ 819979 w 4610101"/>
              <a:gd name="connsiteY23180" fmla="*/ 970249 h 6557032"/>
              <a:gd name="connsiteX23181" fmla="*/ 801757 w 4610101"/>
              <a:gd name="connsiteY23181" fmla="*/ 973893 h 6557032"/>
              <a:gd name="connsiteX23182" fmla="*/ 825445 w 4610101"/>
              <a:gd name="connsiteY23182" fmla="*/ 1004870 h 6557032"/>
              <a:gd name="connsiteX23183" fmla="*/ 823623 w 4610101"/>
              <a:gd name="connsiteY23183" fmla="*/ 983004 h 6557032"/>
              <a:gd name="connsiteX23184" fmla="*/ 840022 w 4610101"/>
              <a:gd name="connsiteY23184" fmla="*/ 990293 h 6557032"/>
              <a:gd name="connsiteX23185" fmla="*/ 829089 w 4610101"/>
              <a:gd name="connsiteY23185" fmla="*/ 1010337 h 6557032"/>
              <a:gd name="connsiteX23186" fmla="*/ 823623 w 4610101"/>
              <a:gd name="connsiteY23186" fmla="*/ 1013070 h 6557032"/>
              <a:gd name="connsiteX23187" fmla="*/ 823623 w 4610101"/>
              <a:gd name="connsiteY23187" fmla="*/ 1012159 h 6557032"/>
              <a:gd name="connsiteX23188" fmla="*/ 785357 w 4610101"/>
              <a:gd name="connsiteY23188" fmla="*/ 975715 h 6557032"/>
              <a:gd name="connsiteX23189" fmla="*/ 810868 w 4610101"/>
              <a:gd name="connsiteY23189" fmla="*/ 992115 h 6557032"/>
              <a:gd name="connsiteX23190" fmla="*/ 799935 w 4610101"/>
              <a:gd name="connsiteY23190" fmla="*/ 975715 h 6557032"/>
              <a:gd name="connsiteX23191" fmla="*/ 776246 w 4610101"/>
              <a:gd name="connsiteY23191" fmla="*/ 973893 h 6557032"/>
              <a:gd name="connsiteX23192" fmla="*/ 785357 w 4610101"/>
              <a:gd name="connsiteY23192" fmla="*/ 972071 h 6557032"/>
              <a:gd name="connsiteX23193" fmla="*/ 748914 w 4610101"/>
              <a:gd name="connsiteY23193" fmla="*/ 966604 h 6557032"/>
              <a:gd name="connsiteX23194" fmla="*/ 747092 w 4610101"/>
              <a:gd name="connsiteY23194" fmla="*/ 970249 h 6557032"/>
              <a:gd name="connsiteX23195" fmla="*/ 755292 w 4610101"/>
              <a:gd name="connsiteY23195" fmla="*/ 977082 h 6557032"/>
              <a:gd name="connsiteX23196" fmla="*/ 748914 w 4610101"/>
              <a:gd name="connsiteY23196" fmla="*/ 973893 h 6557032"/>
              <a:gd name="connsiteX23197" fmla="*/ 741626 w 4610101"/>
              <a:gd name="connsiteY23197" fmla="*/ 986649 h 6557032"/>
              <a:gd name="connsiteX23198" fmla="*/ 755995 w 4610101"/>
              <a:gd name="connsiteY23198" fmla="*/ 977668 h 6557032"/>
              <a:gd name="connsiteX23199" fmla="*/ 758025 w 4610101"/>
              <a:gd name="connsiteY23199" fmla="*/ 979360 h 6557032"/>
              <a:gd name="connsiteX23200" fmla="*/ 734336 w 4610101"/>
              <a:gd name="connsiteY23200" fmla="*/ 997582 h 6557032"/>
              <a:gd name="connsiteX23201" fmla="*/ 739803 w 4610101"/>
              <a:gd name="connsiteY23201" fmla="*/ 997582 h 6557032"/>
              <a:gd name="connsiteX23202" fmla="*/ 730692 w 4610101"/>
              <a:gd name="connsiteY23202" fmla="*/ 1001226 h 6557032"/>
              <a:gd name="connsiteX23203" fmla="*/ 734109 w 4610101"/>
              <a:gd name="connsiteY23203" fmla="*/ 1008742 h 6557032"/>
              <a:gd name="connsiteX23204" fmla="*/ 734115 w 4610101"/>
              <a:gd name="connsiteY23204" fmla="*/ 1008744 h 6557032"/>
              <a:gd name="connsiteX23205" fmla="*/ 736842 w 4610101"/>
              <a:gd name="connsiteY23205" fmla="*/ 1015348 h 6557032"/>
              <a:gd name="connsiteX23206" fmla="*/ 745269 w 4610101"/>
              <a:gd name="connsiteY23206" fmla="*/ 1012159 h 6557032"/>
              <a:gd name="connsiteX23207" fmla="*/ 743569 w 4610101"/>
              <a:gd name="connsiteY23207" fmla="*/ 1011187 h 6557032"/>
              <a:gd name="connsiteX23208" fmla="*/ 744358 w 4610101"/>
              <a:gd name="connsiteY23208" fmla="*/ 1010792 h 6557032"/>
              <a:gd name="connsiteX23209" fmla="*/ 747092 w 4610101"/>
              <a:gd name="connsiteY23209" fmla="*/ 1012159 h 6557032"/>
              <a:gd name="connsiteX23210" fmla="*/ 747091 w 4610101"/>
              <a:gd name="connsiteY23210" fmla="*/ 1007213 h 6557032"/>
              <a:gd name="connsiteX23211" fmla="*/ 754380 w 4610101"/>
              <a:gd name="connsiteY23211" fmla="*/ 1010337 h 6557032"/>
              <a:gd name="connsiteX23212" fmla="*/ 747092 w 4610101"/>
              <a:gd name="connsiteY23212" fmla="*/ 1013981 h 6557032"/>
              <a:gd name="connsiteX23213" fmla="*/ 754380 w 4610101"/>
              <a:gd name="connsiteY23213" fmla="*/ 1019448 h 6557032"/>
              <a:gd name="connsiteX23214" fmla="*/ 752558 w 4610101"/>
              <a:gd name="connsiteY23214" fmla="*/ 1015803 h 6557032"/>
              <a:gd name="connsiteX23215" fmla="*/ 758025 w 4610101"/>
              <a:gd name="connsiteY23215" fmla="*/ 1019448 h 6557032"/>
              <a:gd name="connsiteX23216" fmla="*/ 758025 w 4610101"/>
              <a:gd name="connsiteY23216" fmla="*/ 1028559 h 6557032"/>
              <a:gd name="connsiteX23217" fmla="*/ 761670 w 4610101"/>
              <a:gd name="connsiteY23217" fmla="*/ 1026736 h 6557032"/>
              <a:gd name="connsiteX23218" fmla="*/ 767136 w 4610101"/>
              <a:gd name="connsiteY23218" fmla="*/ 1035847 h 6557032"/>
              <a:gd name="connsiteX23219" fmla="*/ 767136 w 4610101"/>
              <a:gd name="connsiteY23219" fmla="*/ 1034025 h 6557032"/>
              <a:gd name="connsiteX23220" fmla="*/ 770781 w 4610101"/>
              <a:gd name="connsiteY23220" fmla="*/ 1037669 h 6557032"/>
              <a:gd name="connsiteX23221" fmla="*/ 768959 w 4610101"/>
              <a:gd name="connsiteY23221" fmla="*/ 1039492 h 6557032"/>
              <a:gd name="connsiteX23222" fmla="*/ 774424 w 4610101"/>
              <a:gd name="connsiteY23222" fmla="*/ 1063180 h 6557032"/>
              <a:gd name="connsiteX23223" fmla="*/ 777842 w 4610101"/>
              <a:gd name="connsiteY23223" fmla="*/ 1049741 h 6557032"/>
              <a:gd name="connsiteX23224" fmla="*/ 775294 w 4610101"/>
              <a:gd name="connsiteY23224" fmla="*/ 1040743 h 6557032"/>
              <a:gd name="connsiteX23225" fmla="*/ 770779 w 4610101"/>
              <a:gd name="connsiteY23225" fmla="*/ 1037732 h 6557032"/>
              <a:gd name="connsiteX23226" fmla="*/ 772601 w 4610101"/>
              <a:gd name="connsiteY23226" fmla="*/ 1037732 h 6557032"/>
              <a:gd name="connsiteX23227" fmla="*/ 775169 w 4610101"/>
              <a:gd name="connsiteY23227" fmla="*/ 1040300 h 6557032"/>
              <a:gd name="connsiteX23228" fmla="*/ 774424 w 4610101"/>
              <a:gd name="connsiteY23228" fmla="*/ 1037669 h 6557032"/>
              <a:gd name="connsiteX23229" fmla="*/ 778070 w 4610101"/>
              <a:gd name="connsiteY23229" fmla="*/ 1037669 h 6557032"/>
              <a:gd name="connsiteX23230" fmla="*/ 772602 w 4610101"/>
              <a:gd name="connsiteY23230" fmla="*/ 1032203 h 6557032"/>
              <a:gd name="connsiteX23231" fmla="*/ 790824 w 4610101"/>
              <a:gd name="connsiteY23231" fmla="*/ 1037669 h 6557032"/>
              <a:gd name="connsiteX23232" fmla="*/ 798112 w 4610101"/>
              <a:gd name="connsiteY23232" fmla="*/ 1037669 h 6557032"/>
              <a:gd name="connsiteX23233" fmla="*/ 799935 w 4610101"/>
              <a:gd name="connsiteY23233" fmla="*/ 1052247 h 6557032"/>
              <a:gd name="connsiteX23234" fmla="*/ 799935 w 4610101"/>
              <a:gd name="connsiteY23234" fmla="*/ 1044958 h 6557032"/>
              <a:gd name="connsiteX23235" fmla="*/ 805401 w 4610101"/>
              <a:gd name="connsiteY23235" fmla="*/ 1048602 h 6557032"/>
              <a:gd name="connsiteX23236" fmla="*/ 803579 w 4610101"/>
              <a:gd name="connsiteY23236" fmla="*/ 1030381 h 6557032"/>
              <a:gd name="connsiteX23237" fmla="*/ 808853 w 4610101"/>
              <a:gd name="connsiteY23237" fmla="*/ 1028623 h 6557032"/>
              <a:gd name="connsiteX23238" fmla="*/ 807223 w 4610101"/>
              <a:gd name="connsiteY23238" fmla="*/ 1028623 h 6557032"/>
              <a:gd name="connsiteX23239" fmla="*/ 805401 w 4610101"/>
              <a:gd name="connsiteY23239" fmla="*/ 1023156 h 6557032"/>
              <a:gd name="connsiteX23240" fmla="*/ 809011 w 4610101"/>
              <a:gd name="connsiteY23240" fmla="*/ 1028570 h 6557032"/>
              <a:gd name="connsiteX23241" fmla="*/ 809046 w 4610101"/>
              <a:gd name="connsiteY23241" fmla="*/ 1028559 h 6557032"/>
              <a:gd name="connsiteX23242" fmla="*/ 810868 w 4610101"/>
              <a:gd name="connsiteY23242" fmla="*/ 1030381 h 6557032"/>
              <a:gd name="connsiteX23243" fmla="*/ 810868 w 4610101"/>
              <a:gd name="connsiteY23243" fmla="*/ 1039492 h 6557032"/>
              <a:gd name="connsiteX23244" fmla="*/ 814512 w 4610101"/>
              <a:gd name="connsiteY23244" fmla="*/ 1034025 h 6557032"/>
              <a:gd name="connsiteX23245" fmla="*/ 810868 w 4610101"/>
              <a:gd name="connsiteY23245" fmla="*/ 1030381 h 6557032"/>
              <a:gd name="connsiteX23246" fmla="*/ 810868 w 4610101"/>
              <a:gd name="connsiteY23246" fmla="*/ 1028559 h 6557032"/>
              <a:gd name="connsiteX23247" fmla="*/ 814512 w 4610101"/>
              <a:gd name="connsiteY23247" fmla="*/ 1026736 h 6557032"/>
              <a:gd name="connsiteX23248" fmla="*/ 818156 w 4610101"/>
              <a:gd name="connsiteY23248" fmla="*/ 1032203 h 6557032"/>
              <a:gd name="connsiteX23249" fmla="*/ 819213 w 4610101"/>
              <a:gd name="connsiteY23249" fmla="*/ 1031147 h 6557032"/>
              <a:gd name="connsiteX23250" fmla="*/ 818273 w 4610101"/>
              <a:gd name="connsiteY23250" fmla="*/ 1034316 h 6557032"/>
              <a:gd name="connsiteX23251" fmla="*/ 818156 w 4610101"/>
              <a:gd name="connsiteY23251" fmla="*/ 1034708 h 6557032"/>
              <a:gd name="connsiteX23252" fmla="*/ 818731 w 4610101"/>
              <a:gd name="connsiteY23252" fmla="*/ 1035462 h 6557032"/>
              <a:gd name="connsiteX23253" fmla="*/ 821801 w 4610101"/>
              <a:gd name="connsiteY23253" fmla="*/ 1039492 h 6557032"/>
              <a:gd name="connsiteX23254" fmla="*/ 823623 w 4610101"/>
              <a:gd name="connsiteY23254" fmla="*/ 1034025 h 6557032"/>
              <a:gd name="connsiteX23255" fmla="*/ 820707 w 4610101"/>
              <a:gd name="connsiteY23255" fmla="*/ 1029651 h 6557032"/>
              <a:gd name="connsiteX23256" fmla="*/ 823050 w 4610101"/>
              <a:gd name="connsiteY23256" fmla="*/ 1027308 h 6557032"/>
              <a:gd name="connsiteX23257" fmla="*/ 823851 w 4610101"/>
              <a:gd name="connsiteY23257" fmla="*/ 1035847 h 6557032"/>
              <a:gd name="connsiteX23258" fmla="*/ 826599 w 4610101"/>
              <a:gd name="connsiteY23258" fmla="*/ 1053435 h 6557032"/>
              <a:gd name="connsiteX23259" fmla="*/ 825217 w 4610101"/>
              <a:gd name="connsiteY23259" fmla="*/ 1055891 h 6557032"/>
              <a:gd name="connsiteX23260" fmla="*/ 827267 w 4610101"/>
              <a:gd name="connsiteY23260" fmla="*/ 1059535 h 6557032"/>
              <a:gd name="connsiteX23261" fmla="*/ 827267 w 4610101"/>
              <a:gd name="connsiteY23261" fmla="*/ 1057713 h 6557032"/>
              <a:gd name="connsiteX23262" fmla="*/ 826599 w 4610101"/>
              <a:gd name="connsiteY23262" fmla="*/ 1053435 h 6557032"/>
              <a:gd name="connsiteX23263" fmla="*/ 827267 w 4610101"/>
              <a:gd name="connsiteY23263" fmla="*/ 1052247 h 6557032"/>
              <a:gd name="connsiteX23264" fmla="*/ 827267 w 4610101"/>
              <a:gd name="connsiteY23264" fmla="*/ 1034025 h 6557032"/>
              <a:gd name="connsiteX23265" fmla="*/ 832506 w 4610101"/>
              <a:gd name="connsiteY23265" fmla="*/ 1045641 h 6557032"/>
              <a:gd name="connsiteX23266" fmla="*/ 841618 w 4610101"/>
              <a:gd name="connsiteY23266" fmla="*/ 1055641 h 6557032"/>
              <a:gd name="connsiteX23267" fmla="*/ 841574 w 4610101"/>
              <a:gd name="connsiteY23267" fmla="*/ 1055674 h 6557032"/>
              <a:gd name="connsiteX23268" fmla="*/ 832734 w 4610101"/>
              <a:gd name="connsiteY23268" fmla="*/ 1048602 h 6557032"/>
              <a:gd name="connsiteX23269" fmla="*/ 829089 w 4610101"/>
              <a:gd name="connsiteY23269" fmla="*/ 1065002 h 6557032"/>
              <a:gd name="connsiteX23270" fmla="*/ 841574 w 4610101"/>
              <a:gd name="connsiteY23270" fmla="*/ 1055674 h 6557032"/>
              <a:gd name="connsiteX23271" fmla="*/ 841845 w 4610101"/>
              <a:gd name="connsiteY23271" fmla="*/ 1055891 h 6557032"/>
              <a:gd name="connsiteX23272" fmla="*/ 841618 w 4610101"/>
              <a:gd name="connsiteY23272" fmla="*/ 1055641 h 6557032"/>
              <a:gd name="connsiteX23273" fmla="*/ 848905 w 4610101"/>
              <a:gd name="connsiteY23273" fmla="*/ 1050197 h 6557032"/>
              <a:gd name="connsiteX23274" fmla="*/ 845489 w 4610101"/>
              <a:gd name="connsiteY23274" fmla="*/ 1028559 h 6557032"/>
              <a:gd name="connsiteX23275" fmla="*/ 852778 w 4610101"/>
              <a:gd name="connsiteY23275" fmla="*/ 1035847 h 6557032"/>
              <a:gd name="connsiteX23276" fmla="*/ 847311 w 4610101"/>
              <a:gd name="connsiteY23276" fmla="*/ 1008515 h 6557032"/>
              <a:gd name="connsiteX23277" fmla="*/ 830912 w 4610101"/>
              <a:gd name="connsiteY23277" fmla="*/ 1010337 h 6557032"/>
              <a:gd name="connsiteX23278" fmla="*/ 841845 w 4610101"/>
              <a:gd name="connsiteY23278" fmla="*/ 972071 h 6557032"/>
              <a:gd name="connsiteX23279" fmla="*/ 836378 w 4610101"/>
              <a:gd name="connsiteY23279" fmla="*/ 972071 h 6557032"/>
              <a:gd name="connsiteX23280" fmla="*/ 836378 w 4610101"/>
              <a:gd name="connsiteY23280" fmla="*/ 964782 h 6557032"/>
              <a:gd name="connsiteX23281" fmla="*/ 737980 w 4610101"/>
              <a:gd name="connsiteY23281" fmla="*/ 964782 h 6557032"/>
              <a:gd name="connsiteX23282" fmla="*/ 727048 w 4610101"/>
              <a:gd name="connsiteY23282" fmla="*/ 966604 h 6557032"/>
              <a:gd name="connsiteX23283" fmla="*/ 732515 w 4610101"/>
              <a:gd name="connsiteY23283" fmla="*/ 968427 h 6557032"/>
              <a:gd name="connsiteX23284" fmla="*/ 733832 w 4610101"/>
              <a:gd name="connsiteY23284" fmla="*/ 970624 h 6557032"/>
              <a:gd name="connsiteX23285" fmla="*/ 723632 w 4610101"/>
              <a:gd name="connsiteY23285" fmla="*/ 978221 h 6557032"/>
              <a:gd name="connsiteX23286" fmla="*/ 725226 w 4610101"/>
              <a:gd name="connsiteY23286" fmla="*/ 990293 h 6557032"/>
              <a:gd name="connsiteX23287" fmla="*/ 727048 w 4610101"/>
              <a:gd name="connsiteY23287" fmla="*/ 981182 h 6557032"/>
              <a:gd name="connsiteX23288" fmla="*/ 730692 w 4610101"/>
              <a:gd name="connsiteY23288" fmla="*/ 988471 h 6557032"/>
              <a:gd name="connsiteX23289" fmla="*/ 730692 w 4610101"/>
              <a:gd name="connsiteY23289" fmla="*/ 983004 h 6557032"/>
              <a:gd name="connsiteX23290" fmla="*/ 734336 w 4610101"/>
              <a:gd name="connsiteY23290" fmla="*/ 984826 h 6557032"/>
              <a:gd name="connsiteX23291" fmla="*/ 734336 w 4610101"/>
              <a:gd name="connsiteY23291" fmla="*/ 971463 h 6557032"/>
              <a:gd name="connsiteX23292" fmla="*/ 737981 w 4610101"/>
              <a:gd name="connsiteY23292" fmla="*/ 977538 h 6557032"/>
              <a:gd name="connsiteX23293" fmla="*/ 737981 w 4610101"/>
              <a:gd name="connsiteY23293" fmla="*/ 970249 h 6557032"/>
              <a:gd name="connsiteX23294" fmla="*/ 743447 w 4610101"/>
              <a:gd name="connsiteY23294" fmla="*/ 973893 h 6557032"/>
              <a:gd name="connsiteX23295" fmla="*/ 737980 w 4610101"/>
              <a:gd name="connsiteY23295" fmla="*/ 964782 h 6557032"/>
              <a:gd name="connsiteX23296" fmla="*/ 561230 w 4610101"/>
              <a:gd name="connsiteY23296" fmla="*/ 964782 h 6557032"/>
              <a:gd name="connsiteX23297" fmla="*/ 566697 w 4610101"/>
              <a:gd name="connsiteY23297" fmla="*/ 970249 h 6557032"/>
              <a:gd name="connsiteX23298" fmla="*/ 561230 w 4610101"/>
              <a:gd name="connsiteY23298" fmla="*/ 964782 h 6557032"/>
              <a:gd name="connsiteX23299" fmla="*/ 251460 w 4610101"/>
              <a:gd name="connsiteY23299" fmla="*/ 964782 h 6557032"/>
              <a:gd name="connsiteX23300" fmla="*/ 254649 w 4610101"/>
              <a:gd name="connsiteY23300" fmla="*/ 966604 h 6557032"/>
              <a:gd name="connsiteX23301" fmla="*/ 254752 w 4610101"/>
              <a:gd name="connsiteY23301" fmla="*/ 967016 h 6557032"/>
              <a:gd name="connsiteX23302" fmla="*/ 251511 w 4610101"/>
              <a:gd name="connsiteY23302" fmla="*/ 965215 h 6557032"/>
              <a:gd name="connsiteX23303" fmla="*/ 2722329 w 4610101"/>
              <a:gd name="connsiteY23303" fmla="*/ 963096 h 6557032"/>
              <a:gd name="connsiteX23304" fmla="*/ 2736906 w 4610101"/>
              <a:gd name="connsiteY23304" fmla="*/ 994077 h 6557032"/>
              <a:gd name="connsiteX23305" fmla="*/ 2736906 w 4610101"/>
              <a:gd name="connsiteY23305" fmla="*/ 1001367 h 6557032"/>
              <a:gd name="connsiteX23306" fmla="*/ 2715040 w 4610101"/>
              <a:gd name="connsiteY23306" fmla="*/ 1015950 h 6557032"/>
              <a:gd name="connsiteX23307" fmla="*/ 2693174 w 4610101"/>
              <a:gd name="connsiteY23307" fmla="*/ 1039638 h 6557032"/>
              <a:gd name="connsiteX23308" fmla="*/ 2687708 w 4610101"/>
              <a:gd name="connsiteY23308" fmla="*/ 1014128 h 6557032"/>
              <a:gd name="connsiteX23309" fmla="*/ 2684063 w 4610101"/>
              <a:gd name="connsiteY23309" fmla="*/ 977680 h 6557032"/>
              <a:gd name="connsiteX23310" fmla="*/ 2722329 w 4610101"/>
              <a:gd name="connsiteY23310" fmla="*/ 963096 h 6557032"/>
              <a:gd name="connsiteX23311" fmla="*/ 2503667 w 4610101"/>
              <a:gd name="connsiteY23311" fmla="*/ 962960 h 6557032"/>
              <a:gd name="connsiteX23312" fmla="*/ 2518245 w 4610101"/>
              <a:gd name="connsiteY23312" fmla="*/ 972071 h 6557032"/>
              <a:gd name="connsiteX23313" fmla="*/ 2518245 w 4610101"/>
              <a:gd name="connsiteY23313" fmla="*/ 962960 h 6557032"/>
              <a:gd name="connsiteX23314" fmla="*/ 2503667 w 4610101"/>
              <a:gd name="connsiteY23314" fmla="*/ 962960 h 6557032"/>
              <a:gd name="connsiteX23315" fmla="*/ 1330188 w 4610101"/>
              <a:gd name="connsiteY23315" fmla="*/ 962960 h 6557032"/>
              <a:gd name="connsiteX23316" fmla="*/ 1326221 w 4610101"/>
              <a:gd name="connsiteY23316" fmla="*/ 968248 h 6557032"/>
              <a:gd name="connsiteX23317" fmla="*/ 1306499 w 4610101"/>
              <a:gd name="connsiteY23317" fmla="*/ 966604 h 6557032"/>
              <a:gd name="connsiteX23318" fmla="*/ 1321077 w 4610101"/>
              <a:gd name="connsiteY23318" fmla="*/ 975715 h 6557032"/>
              <a:gd name="connsiteX23319" fmla="*/ 1327089 w 4610101"/>
              <a:gd name="connsiteY23319" fmla="*/ 969702 h 6557032"/>
              <a:gd name="connsiteX23320" fmla="*/ 1330644 w 4610101"/>
              <a:gd name="connsiteY23320" fmla="*/ 968882 h 6557032"/>
              <a:gd name="connsiteX23321" fmla="*/ 1333832 w 4610101"/>
              <a:gd name="connsiteY23321" fmla="*/ 964782 h 6557032"/>
              <a:gd name="connsiteX23322" fmla="*/ 1330188 w 4610101"/>
              <a:gd name="connsiteY23322" fmla="*/ 962960 h 6557032"/>
              <a:gd name="connsiteX23323" fmla="*/ 717937 w 4610101"/>
              <a:gd name="connsiteY23323" fmla="*/ 962960 h 6557032"/>
              <a:gd name="connsiteX23324" fmla="*/ 714293 w 4610101"/>
              <a:gd name="connsiteY23324" fmla="*/ 970249 h 6557032"/>
              <a:gd name="connsiteX23325" fmla="*/ 717937 w 4610101"/>
              <a:gd name="connsiteY23325" fmla="*/ 962960 h 6557032"/>
              <a:gd name="connsiteX23326" fmla="*/ 610429 w 4610101"/>
              <a:gd name="connsiteY23326" fmla="*/ 962960 h 6557032"/>
              <a:gd name="connsiteX23327" fmla="*/ 614074 w 4610101"/>
              <a:gd name="connsiteY23327" fmla="*/ 966604 h 6557032"/>
              <a:gd name="connsiteX23328" fmla="*/ 610429 w 4610101"/>
              <a:gd name="connsiteY23328" fmla="*/ 962960 h 6557032"/>
              <a:gd name="connsiteX23329" fmla="*/ 524786 w 4610101"/>
              <a:gd name="connsiteY23329" fmla="*/ 962960 h 6557032"/>
              <a:gd name="connsiteX23330" fmla="*/ 557586 w 4610101"/>
              <a:gd name="connsiteY23330" fmla="*/ 983004 h 6557032"/>
              <a:gd name="connsiteX23331" fmla="*/ 550297 w 4610101"/>
              <a:gd name="connsiteY23331" fmla="*/ 977538 h 6557032"/>
              <a:gd name="connsiteX23332" fmla="*/ 555763 w 4610101"/>
              <a:gd name="connsiteY23332" fmla="*/ 979360 h 6557032"/>
              <a:gd name="connsiteX23333" fmla="*/ 524786 w 4610101"/>
              <a:gd name="connsiteY23333" fmla="*/ 962960 h 6557032"/>
              <a:gd name="connsiteX23334" fmla="*/ 431856 w 4610101"/>
              <a:gd name="connsiteY23334" fmla="*/ 962960 h 6557032"/>
              <a:gd name="connsiteX23335" fmla="*/ 440966 w 4610101"/>
              <a:gd name="connsiteY23335" fmla="*/ 970249 h 6557032"/>
              <a:gd name="connsiteX23336" fmla="*/ 441044 w 4610101"/>
              <a:gd name="connsiteY23336" fmla="*/ 970795 h 6557032"/>
              <a:gd name="connsiteX23337" fmla="*/ 333458 w 4610101"/>
              <a:gd name="connsiteY23337" fmla="*/ 962960 h 6557032"/>
              <a:gd name="connsiteX23338" fmla="*/ 338926 w 4610101"/>
              <a:gd name="connsiteY23338" fmla="*/ 968427 h 6557032"/>
              <a:gd name="connsiteX23339" fmla="*/ 337102 w 4610101"/>
              <a:gd name="connsiteY23339" fmla="*/ 962960 h 6557032"/>
              <a:gd name="connsiteX23340" fmla="*/ 333458 w 4610101"/>
              <a:gd name="connsiteY23340" fmla="*/ 962960 h 6557032"/>
              <a:gd name="connsiteX23341" fmla="*/ 291549 w 4610101"/>
              <a:gd name="connsiteY23341" fmla="*/ 962960 h 6557032"/>
              <a:gd name="connsiteX23342" fmla="*/ 304303 w 4610101"/>
              <a:gd name="connsiteY23342" fmla="*/ 972071 h 6557032"/>
              <a:gd name="connsiteX23343" fmla="*/ 291549 w 4610101"/>
              <a:gd name="connsiteY23343" fmla="*/ 962960 h 6557032"/>
              <a:gd name="connsiteX23344" fmla="*/ 275149 w 4610101"/>
              <a:gd name="connsiteY23344" fmla="*/ 962960 h 6557032"/>
              <a:gd name="connsiteX23345" fmla="*/ 286082 w 4610101"/>
              <a:gd name="connsiteY23345" fmla="*/ 975715 h 6557032"/>
              <a:gd name="connsiteX23346" fmla="*/ 278793 w 4610101"/>
              <a:gd name="connsiteY23346" fmla="*/ 964782 h 6557032"/>
              <a:gd name="connsiteX23347" fmla="*/ 293370 w 4610101"/>
              <a:gd name="connsiteY23347" fmla="*/ 970249 h 6557032"/>
              <a:gd name="connsiteX23348" fmla="*/ 275149 w 4610101"/>
              <a:gd name="connsiteY23348" fmla="*/ 962960 h 6557032"/>
              <a:gd name="connsiteX23349" fmla="*/ 267860 w 4610101"/>
              <a:gd name="connsiteY23349" fmla="*/ 962960 h 6557032"/>
              <a:gd name="connsiteX23350" fmla="*/ 278793 w 4610101"/>
              <a:gd name="connsiteY23350" fmla="*/ 973893 h 6557032"/>
              <a:gd name="connsiteX23351" fmla="*/ 267860 w 4610101"/>
              <a:gd name="connsiteY23351" fmla="*/ 962960 h 6557032"/>
              <a:gd name="connsiteX23352" fmla="*/ 2244919 w 4610101"/>
              <a:gd name="connsiteY23352" fmla="*/ 961138 h 6557032"/>
              <a:gd name="connsiteX23353" fmla="*/ 2232163 w 4610101"/>
              <a:gd name="connsiteY23353" fmla="*/ 966604 h 6557032"/>
              <a:gd name="connsiteX23354" fmla="*/ 2230341 w 4610101"/>
              <a:gd name="connsiteY23354" fmla="*/ 984826 h 6557032"/>
              <a:gd name="connsiteX23355" fmla="*/ 2224875 w 4610101"/>
              <a:gd name="connsiteY23355" fmla="*/ 983004 h 6557032"/>
              <a:gd name="connsiteX23356" fmla="*/ 2223053 w 4610101"/>
              <a:gd name="connsiteY23356" fmla="*/ 988471 h 6557032"/>
              <a:gd name="connsiteX23357" fmla="*/ 2224875 w 4610101"/>
              <a:gd name="connsiteY23357" fmla="*/ 997582 h 6557032"/>
              <a:gd name="connsiteX23358" fmla="*/ 2241274 w 4610101"/>
              <a:gd name="connsiteY23358" fmla="*/ 993937 h 6557032"/>
              <a:gd name="connsiteX23359" fmla="*/ 2233986 w 4610101"/>
              <a:gd name="connsiteY23359" fmla="*/ 997582 h 6557032"/>
              <a:gd name="connsiteX23360" fmla="*/ 2239452 w 4610101"/>
              <a:gd name="connsiteY23360" fmla="*/ 1006692 h 6557032"/>
              <a:gd name="connsiteX23361" fmla="*/ 2246741 w 4610101"/>
              <a:gd name="connsiteY23361" fmla="*/ 1008515 h 6557032"/>
              <a:gd name="connsiteX23362" fmla="*/ 2250385 w 4610101"/>
              <a:gd name="connsiteY23362" fmla="*/ 995759 h 6557032"/>
              <a:gd name="connsiteX23363" fmla="*/ 2266785 w 4610101"/>
              <a:gd name="connsiteY23363" fmla="*/ 973893 h 6557032"/>
              <a:gd name="connsiteX23364" fmla="*/ 2250385 w 4610101"/>
              <a:gd name="connsiteY23364" fmla="*/ 988471 h 6557032"/>
              <a:gd name="connsiteX23365" fmla="*/ 2257674 w 4610101"/>
              <a:gd name="connsiteY23365" fmla="*/ 973893 h 6557032"/>
              <a:gd name="connsiteX23366" fmla="*/ 2246741 w 4610101"/>
              <a:gd name="connsiteY23366" fmla="*/ 970249 h 6557032"/>
              <a:gd name="connsiteX23367" fmla="*/ 2248563 w 4610101"/>
              <a:gd name="connsiteY23367" fmla="*/ 962960 h 6557032"/>
              <a:gd name="connsiteX23368" fmla="*/ 2243096 w 4610101"/>
              <a:gd name="connsiteY23368" fmla="*/ 968427 h 6557032"/>
              <a:gd name="connsiteX23369" fmla="*/ 2244919 w 4610101"/>
              <a:gd name="connsiteY23369" fmla="*/ 961138 h 6557032"/>
              <a:gd name="connsiteX23370" fmla="*/ 1311966 w 4610101"/>
              <a:gd name="connsiteY23370" fmla="*/ 961138 h 6557032"/>
              <a:gd name="connsiteX23371" fmla="*/ 1324721 w 4610101"/>
              <a:gd name="connsiteY23371" fmla="*/ 962960 h 6557032"/>
              <a:gd name="connsiteX23372" fmla="*/ 1311966 w 4610101"/>
              <a:gd name="connsiteY23372" fmla="*/ 961138 h 6557032"/>
              <a:gd name="connsiteX23373" fmla="*/ 1208102 w 4610101"/>
              <a:gd name="connsiteY23373" fmla="*/ 961138 h 6557032"/>
              <a:gd name="connsiteX23374" fmla="*/ 1219036 w 4610101"/>
              <a:gd name="connsiteY23374" fmla="*/ 968427 h 6557032"/>
              <a:gd name="connsiteX23375" fmla="*/ 1240901 w 4610101"/>
              <a:gd name="connsiteY23375" fmla="*/ 973893 h 6557032"/>
              <a:gd name="connsiteX23376" fmla="*/ 1237256 w 4610101"/>
              <a:gd name="connsiteY23376" fmla="*/ 973893 h 6557032"/>
              <a:gd name="connsiteX23377" fmla="*/ 1244545 w 4610101"/>
              <a:gd name="connsiteY23377" fmla="*/ 962960 h 6557032"/>
              <a:gd name="connsiteX23378" fmla="*/ 1208102 w 4610101"/>
              <a:gd name="connsiteY23378" fmla="*/ 961138 h 6557032"/>
              <a:gd name="connsiteX23379" fmla="*/ 459188 w 4610101"/>
              <a:gd name="connsiteY23379" fmla="*/ 961138 h 6557032"/>
              <a:gd name="connsiteX23380" fmla="*/ 457367 w 4610101"/>
              <a:gd name="connsiteY23380" fmla="*/ 964782 h 6557032"/>
              <a:gd name="connsiteX23381" fmla="*/ 455544 w 4610101"/>
              <a:gd name="connsiteY23381" fmla="*/ 968427 h 6557032"/>
              <a:gd name="connsiteX23382" fmla="*/ 461010 w 4610101"/>
              <a:gd name="connsiteY23382" fmla="*/ 968427 h 6557032"/>
              <a:gd name="connsiteX23383" fmla="*/ 460554 w 4610101"/>
              <a:gd name="connsiteY23383" fmla="*/ 966604 h 6557032"/>
              <a:gd name="connsiteX23384" fmla="*/ 457367 w 4610101"/>
              <a:gd name="connsiteY23384" fmla="*/ 964782 h 6557032"/>
              <a:gd name="connsiteX23385" fmla="*/ 462832 w 4610101"/>
              <a:gd name="connsiteY23385" fmla="*/ 964782 h 6557032"/>
              <a:gd name="connsiteX23386" fmla="*/ 459188 w 4610101"/>
              <a:gd name="connsiteY23386" fmla="*/ 961138 h 6557032"/>
              <a:gd name="connsiteX23387" fmla="*/ 435500 w 4610101"/>
              <a:gd name="connsiteY23387" fmla="*/ 961138 h 6557032"/>
              <a:gd name="connsiteX23388" fmla="*/ 431856 w 4610101"/>
              <a:gd name="connsiteY23388" fmla="*/ 962960 h 6557032"/>
              <a:gd name="connsiteX23389" fmla="*/ 439145 w 4610101"/>
              <a:gd name="connsiteY23389" fmla="*/ 973893 h 6557032"/>
              <a:gd name="connsiteX23390" fmla="*/ 441422 w 4610101"/>
              <a:gd name="connsiteY23390" fmla="*/ 973437 h 6557032"/>
              <a:gd name="connsiteX23391" fmla="*/ 441044 w 4610101"/>
              <a:gd name="connsiteY23391" fmla="*/ 970795 h 6557032"/>
              <a:gd name="connsiteX23392" fmla="*/ 441137 w 4610101"/>
              <a:gd name="connsiteY23392" fmla="*/ 970875 h 6557032"/>
              <a:gd name="connsiteX23393" fmla="*/ 435500 w 4610101"/>
              <a:gd name="connsiteY23393" fmla="*/ 961138 h 6557032"/>
              <a:gd name="connsiteX23394" fmla="*/ 399844 w 4610101"/>
              <a:gd name="connsiteY23394" fmla="*/ 960940 h 6557032"/>
              <a:gd name="connsiteX23395" fmla="*/ 400136 w 4610101"/>
              <a:gd name="connsiteY23395" fmla="*/ 962218 h 6557032"/>
              <a:gd name="connsiteX23396" fmla="*/ 399056 w 4610101"/>
              <a:gd name="connsiteY23396" fmla="*/ 961138 h 6557032"/>
              <a:gd name="connsiteX23397" fmla="*/ 2172032 w 4610101"/>
              <a:gd name="connsiteY23397" fmla="*/ 959316 h 6557032"/>
              <a:gd name="connsiteX23398" fmla="*/ 2168387 w 4610101"/>
              <a:gd name="connsiteY23398" fmla="*/ 961138 h 6557032"/>
              <a:gd name="connsiteX23399" fmla="*/ 2172032 w 4610101"/>
              <a:gd name="connsiteY23399" fmla="*/ 961138 h 6557032"/>
              <a:gd name="connsiteX23400" fmla="*/ 1198991 w 4610101"/>
              <a:gd name="connsiteY23400" fmla="*/ 959316 h 6557032"/>
              <a:gd name="connsiteX23401" fmla="*/ 1206279 w 4610101"/>
              <a:gd name="connsiteY23401" fmla="*/ 962960 h 6557032"/>
              <a:gd name="connsiteX23402" fmla="*/ 1198991 w 4610101"/>
              <a:gd name="connsiteY23402" fmla="*/ 959316 h 6557032"/>
              <a:gd name="connsiteX23403" fmla="*/ 1191703 w 4610101"/>
              <a:gd name="connsiteY23403" fmla="*/ 959316 h 6557032"/>
              <a:gd name="connsiteX23404" fmla="*/ 1189880 w 4610101"/>
              <a:gd name="connsiteY23404" fmla="*/ 968427 h 6557032"/>
              <a:gd name="connsiteX23405" fmla="*/ 1193525 w 4610101"/>
              <a:gd name="connsiteY23405" fmla="*/ 962960 h 6557032"/>
              <a:gd name="connsiteX23406" fmla="*/ 1191703 w 4610101"/>
              <a:gd name="connsiteY23406" fmla="*/ 961138 h 6557032"/>
              <a:gd name="connsiteX23407" fmla="*/ 1191703 w 4610101"/>
              <a:gd name="connsiteY23407" fmla="*/ 959316 h 6557032"/>
              <a:gd name="connsiteX23408" fmla="*/ 707004 w 4610101"/>
              <a:gd name="connsiteY23408" fmla="*/ 959316 h 6557032"/>
              <a:gd name="connsiteX23409" fmla="*/ 708826 w 4610101"/>
              <a:gd name="connsiteY23409" fmla="*/ 964782 h 6557032"/>
              <a:gd name="connsiteX23410" fmla="*/ 714293 w 4610101"/>
              <a:gd name="connsiteY23410" fmla="*/ 962960 h 6557032"/>
              <a:gd name="connsiteX23411" fmla="*/ 707004 w 4610101"/>
              <a:gd name="connsiteY23411" fmla="*/ 959316 h 6557032"/>
              <a:gd name="connsiteX23412" fmla="*/ 558042 w 4610101"/>
              <a:gd name="connsiteY23412" fmla="*/ 959316 h 6557032"/>
              <a:gd name="connsiteX23413" fmla="*/ 553941 w 4610101"/>
              <a:gd name="connsiteY23413" fmla="*/ 961138 h 6557032"/>
              <a:gd name="connsiteX23414" fmla="*/ 559408 w 4610101"/>
              <a:gd name="connsiteY23414" fmla="*/ 962960 h 6557032"/>
              <a:gd name="connsiteX23415" fmla="*/ 558042 w 4610101"/>
              <a:gd name="connsiteY23415" fmla="*/ 959316 h 6557032"/>
              <a:gd name="connsiteX23416" fmla="*/ 180396 w 4610101"/>
              <a:gd name="connsiteY23416" fmla="*/ 959316 h 6557032"/>
              <a:gd name="connsiteX23417" fmla="*/ 189506 w 4610101"/>
              <a:gd name="connsiteY23417" fmla="*/ 968427 h 6557032"/>
              <a:gd name="connsiteX23418" fmla="*/ 180396 w 4610101"/>
              <a:gd name="connsiteY23418" fmla="*/ 959316 h 6557032"/>
              <a:gd name="connsiteX23419" fmla="*/ 1124992 w 4610101"/>
              <a:gd name="connsiteY23419" fmla="*/ 958250 h 6557032"/>
              <a:gd name="connsiteX23420" fmla="*/ 1125420 w 4610101"/>
              <a:gd name="connsiteY23420" fmla="*/ 960910 h 6557032"/>
              <a:gd name="connsiteX23421" fmla="*/ 1125051 w 4610101"/>
              <a:gd name="connsiteY23421" fmla="*/ 961622 h 6557032"/>
              <a:gd name="connsiteX23422" fmla="*/ 1124281 w 4610101"/>
              <a:gd name="connsiteY23422" fmla="*/ 959315 h 6557032"/>
              <a:gd name="connsiteX23423" fmla="*/ 1322898 w 4610101"/>
              <a:gd name="connsiteY23423" fmla="*/ 957949 h 6557032"/>
              <a:gd name="connsiteX23424" fmla="*/ 1313788 w 4610101"/>
              <a:gd name="connsiteY23424" fmla="*/ 959316 h 6557032"/>
              <a:gd name="connsiteX23425" fmla="*/ 1332009 w 4610101"/>
              <a:gd name="connsiteY23425" fmla="*/ 959316 h 6557032"/>
              <a:gd name="connsiteX23426" fmla="*/ 1322898 w 4610101"/>
              <a:gd name="connsiteY23426" fmla="*/ 957949 h 6557032"/>
              <a:gd name="connsiteX23427" fmla="*/ 3309068 w 4610101"/>
              <a:gd name="connsiteY23427" fmla="*/ 957494 h 6557032"/>
              <a:gd name="connsiteX23428" fmla="*/ 3298135 w 4610101"/>
              <a:gd name="connsiteY23428" fmla="*/ 966604 h 6557032"/>
              <a:gd name="connsiteX23429" fmla="*/ 3298925 w 4610101"/>
              <a:gd name="connsiteY23429" fmla="*/ 974594 h 6557032"/>
              <a:gd name="connsiteX23430" fmla="*/ 3298135 w 4610101"/>
              <a:gd name="connsiteY23430" fmla="*/ 970249 h 6557032"/>
              <a:gd name="connsiteX23431" fmla="*/ 3281736 w 4610101"/>
              <a:gd name="connsiteY23431" fmla="*/ 970249 h 6557032"/>
              <a:gd name="connsiteX23432" fmla="*/ 3281736 w 4610101"/>
              <a:gd name="connsiteY23432" fmla="*/ 981182 h 6557032"/>
              <a:gd name="connsiteX23433" fmla="*/ 3281736 w 4610101"/>
              <a:gd name="connsiteY23433" fmla="*/ 972071 h 6557032"/>
              <a:gd name="connsiteX23434" fmla="*/ 3279913 w 4610101"/>
              <a:gd name="connsiteY23434" fmla="*/ 977538 h 6557032"/>
              <a:gd name="connsiteX23435" fmla="*/ 3276269 w 4610101"/>
              <a:gd name="connsiteY23435" fmla="*/ 979360 h 6557032"/>
              <a:gd name="connsiteX23436" fmla="*/ 3274447 w 4610101"/>
              <a:gd name="connsiteY23436" fmla="*/ 970249 h 6557032"/>
              <a:gd name="connsiteX23437" fmla="*/ 3261692 w 4610101"/>
              <a:gd name="connsiteY23437" fmla="*/ 970249 h 6557032"/>
              <a:gd name="connsiteX23438" fmla="*/ 3261692 w 4610101"/>
              <a:gd name="connsiteY23438" fmla="*/ 988471 h 6557032"/>
              <a:gd name="connsiteX23439" fmla="*/ 3265267 w 4610101"/>
              <a:gd name="connsiteY23439" fmla="*/ 990316 h 6557032"/>
              <a:gd name="connsiteX23440" fmla="*/ 3261236 w 4610101"/>
              <a:gd name="connsiteY23440" fmla="*/ 991659 h 6557032"/>
              <a:gd name="connsiteX23441" fmla="*/ 3259869 w 4610101"/>
              <a:gd name="connsiteY23441" fmla="*/ 995759 h 6557032"/>
              <a:gd name="connsiteX23442" fmla="*/ 3259869 w 4610101"/>
              <a:gd name="connsiteY23442" fmla="*/ 990293 h 6557032"/>
              <a:gd name="connsiteX23443" fmla="*/ 3261692 w 4610101"/>
              <a:gd name="connsiteY23443" fmla="*/ 999403 h 6557032"/>
              <a:gd name="connsiteX23444" fmla="*/ 3258047 w 4610101"/>
              <a:gd name="connsiteY23444" fmla="*/ 1010337 h 6557032"/>
              <a:gd name="connsiteX23445" fmla="*/ 3268980 w 4610101"/>
              <a:gd name="connsiteY23445" fmla="*/ 1008515 h 6557032"/>
              <a:gd name="connsiteX23446" fmla="*/ 3270803 w 4610101"/>
              <a:gd name="connsiteY23446" fmla="*/ 1017625 h 6557032"/>
              <a:gd name="connsiteX23447" fmla="*/ 3305424 w 4610101"/>
              <a:gd name="connsiteY23447" fmla="*/ 1010337 h 6557032"/>
              <a:gd name="connsiteX23448" fmla="*/ 3304715 w 4610101"/>
              <a:gd name="connsiteY23448" fmla="*/ 1006435 h 6557032"/>
              <a:gd name="connsiteX23449" fmla="*/ 3327290 w 4610101"/>
              <a:gd name="connsiteY23449" fmla="*/ 1001226 h 6557032"/>
              <a:gd name="connsiteX23450" fmla="*/ 3325165 w 4610101"/>
              <a:gd name="connsiteY23450" fmla="*/ 1004870 h 6557032"/>
              <a:gd name="connsiteX23451" fmla="*/ 3318635 w 4610101"/>
              <a:gd name="connsiteY23451" fmla="*/ 1004870 h 6557032"/>
              <a:gd name="connsiteX23452" fmla="*/ 3314535 w 4610101"/>
              <a:gd name="connsiteY23452" fmla="*/ 1010337 h 6557032"/>
              <a:gd name="connsiteX23453" fmla="*/ 3321368 w 4610101"/>
              <a:gd name="connsiteY23453" fmla="*/ 1008970 h 6557032"/>
              <a:gd name="connsiteX23454" fmla="*/ 3324740 w 4610101"/>
              <a:gd name="connsiteY23454" fmla="*/ 1005598 h 6557032"/>
              <a:gd name="connsiteX23455" fmla="*/ 3324102 w 4610101"/>
              <a:gd name="connsiteY23455" fmla="*/ 1006692 h 6557032"/>
              <a:gd name="connsiteX23456" fmla="*/ 3323646 w 4610101"/>
              <a:gd name="connsiteY23456" fmla="*/ 1012159 h 6557032"/>
              <a:gd name="connsiteX23457" fmla="*/ 3330934 w 4610101"/>
              <a:gd name="connsiteY23457" fmla="*/ 1012159 h 6557032"/>
              <a:gd name="connsiteX23458" fmla="*/ 3339590 w 4610101"/>
              <a:gd name="connsiteY23458" fmla="*/ 1001909 h 6557032"/>
              <a:gd name="connsiteX23459" fmla="*/ 3341585 w 4610101"/>
              <a:gd name="connsiteY23459" fmla="*/ 1001789 h 6557032"/>
              <a:gd name="connsiteX23460" fmla="*/ 3338223 w 4610101"/>
              <a:gd name="connsiteY23460" fmla="*/ 1008515 h 6557032"/>
              <a:gd name="connsiteX23461" fmla="*/ 3344145 w 4610101"/>
              <a:gd name="connsiteY23461" fmla="*/ 1005553 h 6557032"/>
              <a:gd name="connsiteX23462" fmla="*/ 3342146 w 4610101"/>
              <a:gd name="connsiteY23462" fmla="*/ 1001756 h 6557032"/>
              <a:gd name="connsiteX23463" fmla="*/ 3350978 w 4610101"/>
              <a:gd name="connsiteY23463" fmla="*/ 1001226 h 6557032"/>
              <a:gd name="connsiteX23464" fmla="*/ 3349156 w 4610101"/>
              <a:gd name="connsiteY23464" fmla="*/ 1004870 h 6557032"/>
              <a:gd name="connsiteX23465" fmla="*/ 3369200 w 4610101"/>
              <a:gd name="connsiteY23465" fmla="*/ 993937 h 6557032"/>
              <a:gd name="connsiteX23466" fmla="*/ 3358267 w 4610101"/>
              <a:gd name="connsiteY23466" fmla="*/ 990293 h 6557032"/>
              <a:gd name="connsiteX23467" fmla="*/ 3356445 w 4610101"/>
              <a:gd name="connsiteY23467" fmla="*/ 997582 h 6557032"/>
              <a:gd name="connsiteX23468" fmla="*/ 3350978 w 4610101"/>
              <a:gd name="connsiteY23468" fmla="*/ 997582 h 6557032"/>
              <a:gd name="connsiteX23469" fmla="*/ 3361911 w 4610101"/>
              <a:gd name="connsiteY23469" fmla="*/ 983004 h 6557032"/>
              <a:gd name="connsiteX23470" fmla="*/ 3363734 w 4610101"/>
              <a:gd name="connsiteY23470" fmla="*/ 986649 h 6557032"/>
              <a:gd name="connsiteX23471" fmla="*/ 3369200 w 4610101"/>
              <a:gd name="connsiteY23471" fmla="*/ 981182 h 6557032"/>
              <a:gd name="connsiteX23472" fmla="*/ 3378311 w 4610101"/>
              <a:gd name="connsiteY23472" fmla="*/ 983004 h 6557032"/>
              <a:gd name="connsiteX23473" fmla="*/ 3376489 w 4610101"/>
              <a:gd name="connsiteY23473" fmla="*/ 975715 h 6557032"/>
              <a:gd name="connsiteX23474" fmla="*/ 3387422 w 4610101"/>
              <a:gd name="connsiteY23474" fmla="*/ 973893 h 6557032"/>
              <a:gd name="connsiteX23475" fmla="*/ 3376489 w 4610101"/>
              <a:gd name="connsiteY23475" fmla="*/ 968427 h 6557032"/>
              <a:gd name="connsiteX23476" fmla="*/ 3369200 w 4610101"/>
              <a:gd name="connsiteY23476" fmla="*/ 970249 h 6557032"/>
              <a:gd name="connsiteX23477" fmla="*/ 3365556 w 4610101"/>
              <a:gd name="connsiteY23477" fmla="*/ 968427 h 6557032"/>
              <a:gd name="connsiteX23478" fmla="*/ 3369200 w 4610101"/>
              <a:gd name="connsiteY23478" fmla="*/ 964782 h 6557032"/>
              <a:gd name="connsiteX23479" fmla="*/ 3345512 w 4610101"/>
              <a:gd name="connsiteY23479" fmla="*/ 962960 h 6557032"/>
              <a:gd name="connsiteX23480" fmla="*/ 3343690 w 4610101"/>
              <a:gd name="connsiteY23480" fmla="*/ 977538 h 6557032"/>
              <a:gd name="connsiteX23481" fmla="*/ 3338223 w 4610101"/>
              <a:gd name="connsiteY23481" fmla="*/ 975715 h 6557032"/>
              <a:gd name="connsiteX23482" fmla="*/ 3341867 w 4610101"/>
              <a:gd name="connsiteY23482" fmla="*/ 970249 h 6557032"/>
              <a:gd name="connsiteX23483" fmla="*/ 3334579 w 4610101"/>
              <a:gd name="connsiteY23483" fmla="*/ 983004 h 6557032"/>
              <a:gd name="connsiteX23484" fmla="*/ 3329112 w 4610101"/>
              <a:gd name="connsiteY23484" fmla="*/ 975715 h 6557032"/>
              <a:gd name="connsiteX23485" fmla="*/ 3325468 w 4610101"/>
              <a:gd name="connsiteY23485" fmla="*/ 979360 h 6557032"/>
              <a:gd name="connsiteX23486" fmla="*/ 3323646 w 4610101"/>
              <a:gd name="connsiteY23486" fmla="*/ 972071 h 6557032"/>
              <a:gd name="connsiteX23487" fmla="*/ 3307246 w 4610101"/>
              <a:gd name="connsiteY23487" fmla="*/ 984826 h 6557032"/>
              <a:gd name="connsiteX23488" fmla="*/ 3309068 w 4610101"/>
              <a:gd name="connsiteY23488" fmla="*/ 957494 h 6557032"/>
              <a:gd name="connsiteX23489" fmla="*/ 2419847 w 4610101"/>
              <a:gd name="connsiteY23489" fmla="*/ 957494 h 6557032"/>
              <a:gd name="connsiteX23490" fmla="*/ 2414381 w 4610101"/>
              <a:gd name="connsiteY23490" fmla="*/ 970249 h 6557032"/>
              <a:gd name="connsiteX23491" fmla="*/ 2423492 w 4610101"/>
              <a:gd name="connsiteY23491" fmla="*/ 962960 h 6557032"/>
              <a:gd name="connsiteX23492" fmla="*/ 2419847 w 4610101"/>
              <a:gd name="connsiteY23492" fmla="*/ 957494 h 6557032"/>
              <a:gd name="connsiteX23493" fmla="*/ 2184787 w 4610101"/>
              <a:gd name="connsiteY23493" fmla="*/ 957494 h 6557032"/>
              <a:gd name="connsiteX23494" fmla="*/ 2184787 w 4610101"/>
              <a:gd name="connsiteY23494" fmla="*/ 961138 h 6557032"/>
              <a:gd name="connsiteX23495" fmla="*/ 2175676 w 4610101"/>
              <a:gd name="connsiteY23495" fmla="*/ 992115 h 6557032"/>
              <a:gd name="connsiteX23496" fmla="*/ 2181143 w 4610101"/>
              <a:gd name="connsiteY23496" fmla="*/ 995759 h 6557032"/>
              <a:gd name="connsiteX23497" fmla="*/ 2188431 w 4610101"/>
              <a:gd name="connsiteY23497" fmla="*/ 1001226 h 6557032"/>
              <a:gd name="connsiteX23498" fmla="*/ 2193898 w 4610101"/>
              <a:gd name="connsiteY23498" fmla="*/ 1004870 h 6557032"/>
              <a:gd name="connsiteX23499" fmla="*/ 2192076 w 4610101"/>
              <a:gd name="connsiteY23499" fmla="*/ 1010337 h 6557032"/>
              <a:gd name="connsiteX23500" fmla="*/ 2195720 w 4610101"/>
              <a:gd name="connsiteY23500" fmla="*/ 1012159 h 6557032"/>
              <a:gd name="connsiteX23501" fmla="*/ 2201187 w 4610101"/>
              <a:gd name="connsiteY23501" fmla="*/ 1023092 h 6557032"/>
              <a:gd name="connsiteX23502" fmla="*/ 2203009 w 4610101"/>
              <a:gd name="connsiteY23502" fmla="*/ 1004870 h 6557032"/>
              <a:gd name="connsiteX23503" fmla="*/ 2210297 w 4610101"/>
              <a:gd name="connsiteY23503" fmla="*/ 1010337 h 6557032"/>
              <a:gd name="connsiteX23504" fmla="*/ 2212120 w 4610101"/>
              <a:gd name="connsiteY23504" fmla="*/ 1004870 h 6557032"/>
              <a:gd name="connsiteX23505" fmla="*/ 2210297 w 4610101"/>
              <a:gd name="connsiteY23505" fmla="*/ 1006692 h 6557032"/>
              <a:gd name="connsiteX23506" fmla="*/ 2213942 w 4610101"/>
              <a:gd name="connsiteY23506" fmla="*/ 999403 h 6557032"/>
              <a:gd name="connsiteX23507" fmla="*/ 2217586 w 4610101"/>
              <a:gd name="connsiteY23507" fmla="*/ 1010337 h 6557032"/>
              <a:gd name="connsiteX23508" fmla="*/ 2223053 w 4610101"/>
              <a:gd name="connsiteY23508" fmla="*/ 990293 h 6557032"/>
              <a:gd name="connsiteX23509" fmla="*/ 2217586 w 4610101"/>
              <a:gd name="connsiteY23509" fmla="*/ 988471 h 6557032"/>
              <a:gd name="connsiteX23510" fmla="*/ 2219408 w 4610101"/>
              <a:gd name="connsiteY23510" fmla="*/ 993937 h 6557032"/>
              <a:gd name="connsiteX23511" fmla="*/ 2217586 w 4610101"/>
              <a:gd name="connsiteY23511" fmla="*/ 993937 h 6557032"/>
              <a:gd name="connsiteX23512" fmla="*/ 2217586 w 4610101"/>
              <a:gd name="connsiteY23512" fmla="*/ 999403 h 6557032"/>
              <a:gd name="connsiteX23513" fmla="*/ 2213942 w 4610101"/>
              <a:gd name="connsiteY23513" fmla="*/ 999403 h 6557032"/>
              <a:gd name="connsiteX23514" fmla="*/ 2210297 w 4610101"/>
              <a:gd name="connsiteY23514" fmla="*/ 999403 h 6557032"/>
              <a:gd name="connsiteX23515" fmla="*/ 2201187 w 4610101"/>
              <a:gd name="connsiteY23515" fmla="*/ 999403 h 6557032"/>
              <a:gd name="connsiteX23516" fmla="*/ 2206653 w 4610101"/>
              <a:gd name="connsiteY23516" fmla="*/ 993937 h 6557032"/>
              <a:gd name="connsiteX23517" fmla="*/ 2206653 w 4610101"/>
              <a:gd name="connsiteY23517" fmla="*/ 984826 h 6557032"/>
              <a:gd name="connsiteX23518" fmla="*/ 2213942 w 4610101"/>
              <a:gd name="connsiteY23518" fmla="*/ 984826 h 6557032"/>
              <a:gd name="connsiteX23519" fmla="*/ 2215764 w 4610101"/>
              <a:gd name="connsiteY23519" fmla="*/ 983004 h 6557032"/>
              <a:gd name="connsiteX23520" fmla="*/ 2215764 w 4610101"/>
              <a:gd name="connsiteY23520" fmla="*/ 984826 h 6557032"/>
              <a:gd name="connsiteX23521" fmla="*/ 2221230 w 4610101"/>
              <a:gd name="connsiteY23521" fmla="*/ 977538 h 6557032"/>
              <a:gd name="connsiteX23522" fmla="*/ 2217586 w 4610101"/>
              <a:gd name="connsiteY23522" fmla="*/ 966604 h 6557032"/>
              <a:gd name="connsiteX23523" fmla="*/ 2223053 w 4610101"/>
              <a:gd name="connsiteY23523" fmla="*/ 975715 h 6557032"/>
              <a:gd name="connsiteX23524" fmla="*/ 2228519 w 4610101"/>
              <a:gd name="connsiteY23524" fmla="*/ 973893 h 6557032"/>
              <a:gd name="connsiteX23525" fmla="*/ 2223053 w 4610101"/>
              <a:gd name="connsiteY23525" fmla="*/ 957494 h 6557032"/>
              <a:gd name="connsiteX23526" fmla="*/ 2208475 w 4610101"/>
              <a:gd name="connsiteY23526" fmla="*/ 964782 h 6557032"/>
              <a:gd name="connsiteX23527" fmla="*/ 2212120 w 4610101"/>
              <a:gd name="connsiteY23527" fmla="*/ 959316 h 6557032"/>
              <a:gd name="connsiteX23528" fmla="*/ 2184787 w 4610101"/>
              <a:gd name="connsiteY23528" fmla="*/ 957494 h 6557032"/>
              <a:gd name="connsiteX23529" fmla="*/ 1275522 w 4610101"/>
              <a:gd name="connsiteY23529" fmla="*/ 957494 h 6557032"/>
              <a:gd name="connsiteX23530" fmla="*/ 1268233 w 4610101"/>
              <a:gd name="connsiteY23530" fmla="*/ 964782 h 6557032"/>
              <a:gd name="connsiteX23531" fmla="*/ 1271878 w 4610101"/>
              <a:gd name="connsiteY23531" fmla="*/ 961138 h 6557032"/>
              <a:gd name="connsiteX23532" fmla="*/ 1270056 w 4610101"/>
              <a:gd name="connsiteY23532" fmla="*/ 966604 h 6557032"/>
              <a:gd name="connsiteX23533" fmla="*/ 1253656 w 4610101"/>
              <a:gd name="connsiteY23533" fmla="*/ 962960 h 6557032"/>
              <a:gd name="connsiteX23534" fmla="*/ 1248189 w 4610101"/>
              <a:gd name="connsiteY23534" fmla="*/ 975715 h 6557032"/>
              <a:gd name="connsiteX23535" fmla="*/ 1255478 w 4610101"/>
              <a:gd name="connsiteY23535" fmla="*/ 972071 h 6557032"/>
              <a:gd name="connsiteX23536" fmla="*/ 1240901 w 4610101"/>
              <a:gd name="connsiteY23536" fmla="*/ 983004 h 6557032"/>
              <a:gd name="connsiteX23537" fmla="*/ 1240901 w 4610101"/>
              <a:gd name="connsiteY23537" fmla="*/ 986649 h 6557032"/>
              <a:gd name="connsiteX23538" fmla="*/ 1233612 w 4610101"/>
              <a:gd name="connsiteY23538" fmla="*/ 1010337 h 6557032"/>
              <a:gd name="connsiteX23539" fmla="*/ 1224501 w 4610101"/>
              <a:gd name="connsiteY23539" fmla="*/ 1019448 h 6557032"/>
              <a:gd name="connsiteX23540" fmla="*/ 1242039 w 4610101"/>
              <a:gd name="connsiteY23540" fmla="*/ 1009425 h 6557032"/>
              <a:gd name="connsiteX23541" fmla="*/ 1257324 w 4610101"/>
              <a:gd name="connsiteY23541" fmla="*/ 1001323 h 6557032"/>
              <a:gd name="connsiteX23542" fmla="*/ 1248189 w 4610101"/>
              <a:gd name="connsiteY23542" fmla="*/ 1008515 h 6557032"/>
              <a:gd name="connsiteX23543" fmla="*/ 1264589 w 4610101"/>
              <a:gd name="connsiteY23543" fmla="*/ 999403 h 6557032"/>
              <a:gd name="connsiteX23544" fmla="*/ 1259123 w 4610101"/>
              <a:gd name="connsiteY23544" fmla="*/ 1006692 h 6557032"/>
              <a:gd name="connsiteX23545" fmla="*/ 1301033 w 4610101"/>
              <a:gd name="connsiteY23545" fmla="*/ 981182 h 6557032"/>
              <a:gd name="connsiteX23546" fmla="*/ 1297388 w 4610101"/>
              <a:gd name="connsiteY23546" fmla="*/ 988471 h 6557032"/>
              <a:gd name="connsiteX23547" fmla="*/ 1317432 w 4610101"/>
              <a:gd name="connsiteY23547" fmla="*/ 979360 h 6557032"/>
              <a:gd name="connsiteX23548" fmla="*/ 1306499 w 4610101"/>
              <a:gd name="connsiteY23548" fmla="*/ 972071 h 6557032"/>
              <a:gd name="connsiteX23549" fmla="*/ 1301033 w 4610101"/>
              <a:gd name="connsiteY23549" fmla="*/ 983004 h 6557032"/>
              <a:gd name="connsiteX23550" fmla="*/ 1303995 w 4610101"/>
              <a:gd name="connsiteY23550" fmla="*/ 975032 h 6557032"/>
              <a:gd name="connsiteX23551" fmla="*/ 1303016 w 4610101"/>
              <a:gd name="connsiteY23551" fmla="*/ 969361 h 6557032"/>
              <a:gd name="connsiteX23552" fmla="*/ 1304677 w 4610101"/>
              <a:gd name="connsiteY23552" fmla="*/ 970249 h 6557032"/>
              <a:gd name="connsiteX23553" fmla="*/ 1302855 w 4610101"/>
              <a:gd name="connsiteY23553" fmla="*/ 968427 h 6557032"/>
              <a:gd name="connsiteX23554" fmla="*/ 1303016 w 4610101"/>
              <a:gd name="connsiteY23554" fmla="*/ 969361 h 6557032"/>
              <a:gd name="connsiteX23555" fmla="*/ 1291466 w 4610101"/>
              <a:gd name="connsiteY23555" fmla="*/ 963188 h 6557032"/>
              <a:gd name="connsiteX23556" fmla="*/ 1275522 w 4610101"/>
              <a:gd name="connsiteY23556" fmla="*/ 957494 h 6557032"/>
              <a:gd name="connsiteX23557" fmla="*/ 1100593 w 4610101"/>
              <a:gd name="connsiteY23557" fmla="*/ 957494 h 6557032"/>
              <a:gd name="connsiteX23558" fmla="*/ 1098771 w 4610101"/>
              <a:gd name="connsiteY23558" fmla="*/ 961138 h 6557032"/>
              <a:gd name="connsiteX23559" fmla="*/ 1096949 w 4610101"/>
              <a:gd name="connsiteY23559" fmla="*/ 966604 h 6557032"/>
              <a:gd name="connsiteX23560" fmla="*/ 1095127 w 4610101"/>
              <a:gd name="connsiteY23560" fmla="*/ 972071 h 6557032"/>
              <a:gd name="connsiteX23561" fmla="*/ 1098771 w 4610101"/>
              <a:gd name="connsiteY23561" fmla="*/ 979360 h 6557032"/>
              <a:gd name="connsiteX23562" fmla="*/ 1104238 w 4610101"/>
              <a:gd name="connsiteY23562" fmla="*/ 975715 h 6557032"/>
              <a:gd name="connsiteX23563" fmla="*/ 1104238 w 4610101"/>
              <a:gd name="connsiteY23563" fmla="*/ 981182 h 6557032"/>
              <a:gd name="connsiteX23564" fmla="*/ 1109704 w 4610101"/>
              <a:gd name="connsiteY23564" fmla="*/ 979360 h 6557032"/>
              <a:gd name="connsiteX23565" fmla="*/ 1107882 w 4610101"/>
              <a:gd name="connsiteY23565" fmla="*/ 973893 h 6557032"/>
              <a:gd name="connsiteX23566" fmla="*/ 1111526 w 4610101"/>
              <a:gd name="connsiteY23566" fmla="*/ 972071 h 6557032"/>
              <a:gd name="connsiteX23567" fmla="*/ 1107882 w 4610101"/>
              <a:gd name="connsiteY23567" fmla="*/ 957494 h 6557032"/>
              <a:gd name="connsiteX23568" fmla="*/ 1100593 w 4610101"/>
              <a:gd name="connsiteY23568" fmla="*/ 957494 h 6557032"/>
              <a:gd name="connsiteX23569" fmla="*/ 1064151 w 4610101"/>
              <a:gd name="connsiteY23569" fmla="*/ 957494 h 6557032"/>
              <a:gd name="connsiteX23570" fmla="*/ 1051395 w 4610101"/>
              <a:gd name="connsiteY23570" fmla="*/ 959316 h 6557032"/>
              <a:gd name="connsiteX23571" fmla="*/ 1056861 w 4610101"/>
              <a:gd name="connsiteY23571" fmla="*/ 962960 h 6557032"/>
              <a:gd name="connsiteX23572" fmla="*/ 1056861 w 4610101"/>
              <a:gd name="connsiteY23572" fmla="*/ 959316 h 6557032"/>
              <a:gd name="connsiteX23573" fmla="*/ 1060506 w 4610101"/>
              <a:gd name="connsiteY23573" fmla="*/ 962960 h 6557032"/>
              <a:gd name="connsiteX23574" fmla="*/ 1064151 w 4610101"/>
              <a:gd name="connsiteY23574" fmla="*/ 961138 h 6557032"/>
              <a:gd name="connsiteX23575" fmla="*/ 819979 w 4610101"/>
              <a:gd name="connsiteY23575" fmla="*/ 957494 h 6557032"/>
              <a:gd name="connsiteX23576" fmla="*/ 816334 w 4610101"/>
              <a:gd name="connsiteY23576" fmla="*/ 964782 h 6557032"/>
              <a:gd name="connsiteX23577" fmla="*/ 819979 w 4610101"/>
              <a:gd name="connsiteY23577" fmla="*/ 957494 h 6557032"/>
              <a:gd name="connsiteX23578" fmla="*/ 515676 w 4610101"/>
              <a:gd name="connsiteY23578" fmla="*/ 957494 h 6557032"/>
              <a:gd name="connsiteX23579" fmla="*/ 528431 w 4610101"/>
              <a:gd name="connsiteY23579" fmla="*/ 972071 h 6557032"/>
              <a:gd name="connsiteX23580" fmla="*/ 515676 w 4610101"/>
              <a:gd name="connsiteY23580" fmla="*/ 957494 h 6557032"/>
              <a:gd name="connsiteX23581" fmla="*/ 457367 w 4610101"/>
              <a:gd name="connsiteY23581" fmla="*/ 957494 h 6557032"/>
              <a:gd name="connsiteX23582" fmla="*/ 444611 w 4610101"/>
              <a:gd name="connsiteY23582" fmla="*/ 962960 h 6557032"/>
              <a:gd name="connsiteX23583" fmla="*/ 450077 w 4610101"/>
              <a:gd name="connsiteY23583" fmla="*/ 962960 h 6557032"/>
              <a:gd name="connsiteX23584" fmla="*/ 446433 w 4610101"/>
              <a:gd name="connsiteY23584" fmla="*/ 964782 h 6557032"/>
              <a:gd name="connsiteX23585" fmla="*/ 453722 w 4610101"/>
              <a:gd name="connsiteY23585" fmla="*/ 968427 h 6557032"/>
              <a:gd name="connsiteX23586" fmla="*/ 457367 w 4610101"/>
              <a:gd name="connsiteY23586" fmla="*/ 957494 h 6557032"/>
              <a:gd name="connsiteX23587" fmla="*/ 348037 w 4610101"/>
              <a:gd name="connsiteY23587" fmla="*/ 957494 h 6557032"/>
              <a:gd name="connsiteX23588" fmla="*/ 375368 w 4610101"/>
              <a:gd name="connsiteY23588" fmla="*/ 979360 h 6557032"/>
              <a:gd name="connsiteX23589" fmla="*/ 355324 w 4610101"/>
              <a:gd name="connsiteY23589" fmla="*/ 966604 h 6557032"/>
              <a:gd name="connsiteX23590" fmla="*/ 362426 w 4610101"/>
              <a:gd name="connsiteY23590" fmla="*/ 969268 h 6557032"/>
              <a:gd name="connsiteX23591" fmla="*/ 368079 w 4610101"/>
              <a:gd name="connsiteY23591" fmla="*/ 973893 h 6557032"/>
              <a:gd name="connsiteX23592" fmla="*/ 364738 w 4610101"/>
              <a:gd name="connsiteY23592" fmla="*/ 970134 h 6557032"/>
              <a:gd name="connsiteX23593" fmla="*/ 369902 w 4610101"/>
              <a:gd name="connsiteY23593" fmla="*/ 972071 h 6557032"/>
              <a:gd name="connsiteX23594" fmla="*/ 384479 w 4610101"/>
              <a:gd name="connsiteY23594" fmla="*/ 975715 h 6557032"/>
              <a:gd name="connsiteX23595" fmla="*/ 375368 w 4610101"/>
              <a:gd name="connsiteY23595" fmla="*/ 964782 h 6557032"/>
              <a:gd name="connsiteX23596" fmla="*/ 386301 w 4610101"/>
              <a:gd name="connsiteY23596" fmla="*/ 972071 h 6557032"/>
              <a:gd name="connsiteX23597" fmla="*/ 384479 w 4610101"/>
              <a:gd name="connsiteY23597" fmla="*/ 966604 h 6557032"/>
              <a:gd name="connsiteX23598" fmla="*/ 389946 w 4610101"/>
              <a:gd name="connsiteY23598" fmla="*/ 973893 h 6557032"/>
              <a:gd name="connsiteX23599" fmla="*/ 393590 w 4610101"/>
              <a:gd name="connsiteY23599" fmla="*/ 970249 h 6557032"/>
              <a:gd name="connsiteX23600" fmla="*/ 353502 w 4610101"/>
              <a:gd name="connsiteY23600" fmla="*/ 957494 h 6557032"/>
              <a:gd name="connsiteX23601" fmla="*/ 364738 w 4610101"/>
              <a:gd name="connsiteY23601" fmla="*/ 970134 h 6557032"/>
              <a:gd name="connsiteX23602" fmla="*/ 362426 w 4610101"/>
              <a:gd name="connsiteY23602" fmla="*/ 969268 h 6557032"/>
              <a:gd name="connsiteX23603" fmla="*/ 100220 w 4610101"/>
              <a:gd name="connsiteY23603" fmla="*/ 957494 h 6557032"/>
              <a:gd name="connsiteX23604" fmla="*/ 106930 w 4610101"/>
              <a:gd name="connsiteY23604" fmla="*/ 962352 h 6557032"/>
              <a:gd name="connsiteX23605" fmla="*/ 107509 w 4610101"/>
              <a:gd name="connsiteY23605" fmla="*/ 962960 h 6557032"/>
              <a:gd name="connsiteX23606" fmla="*/ 100220 w 4610101"/>
              <a:gd name="connsiteY23606" fmla="*/ 957494 h 6557032"/>
              <a:gd name="connsiteX23607" fmla="*/ 390173 w 4610101"/>
              <a:gd name="connsiteY23607" fmla="*/ 956810 h 6557032"/>
              <a:gd name="connsiteX23608" fmla="*/ 382657 w 4610101"/>
              <a:gd name="connsiteY23608" fmla="*/ 957494 h 6557032"/>
              <a:gd name="connsiteX23609" fmla="*/ 397234 w 4610101"/>
              <a:gd name="connsiteY23609" fmla="*/ 972071 h 6557032"/>
              <a:gd name="connsiteX23610" fmla="*/ 400878 w 4610101"/>
              <a:gd name="connsiteY23610" fmla="*/ 965465 h 6557032"/>
              <a:gd name="connsiteX23611" fmla="*/ 400136 w 4610101"/>
              <a:gd name="connsiteY23611" fmla="*/ 962218 h 6557032"/>
              <a:gd name="connsiteX23612" fmla="*/ 404523 w 4610101"/>
              <a:gd name="connsiteY23612" fmla="*/ 966604 h 6557032"/>
              <a:gd name="connsiteX23613" fmla="*/ 409989 w 4610101"/>
              <a:gd name="connsiteY23613" fmla="*/ 961138 h 6557032"/>
              <a:gd name="connsiteX23614" fmla="*/ 404523 w 4610101"/>
              <a:gd name="connsiteY23614" fmla="*/ 959771 h 6557032"/>
              <a:gd name="connsiteX23615" fmla="*/ 399844 w 4610101"/>
              <a:gd name="connsiteY23615" fmla="*/ 960940 h 6557032"/>
              <a:gd name="connsiteX23616" fmla="*/ 399056 w 4610101"/>
              <a:gd name="connsiteY23616" fmla="*/ 957494 h 6557032"/>
              <a:gd name="connsiteX23617" fmla="*/ 390173 w 4610101"/>
              <a:gd name="connsiteY23617" fmla="*/ 956810 h 6557032"/>
              <a:gd name="connsiteX23618" fmla="*/ 1178380 w 4610101"/>
              <a:gd name="connsiteY23618" fmla="*/ 956238 h 6557032"/>
              <a:gd name="connsiteX23619" fmla="*/ 1180769 w 4610101"/>
              <a:gd name="connsiteY23619" fmla="*/ 957317 h 6557032"/>
              <a:gd name="connsiteX23620" fmla="*/ 1180769 w 4610101"/>
              <a:gd name="connsiteY23620" fmla="*/ 957494 h 6557032"/>
              <a:gd name="connsiteX23621" fmla="*/ 1181122 w 4610101"/>
              <a:gd name="connsiteY23621" fmla="*/ 957477 h 6557032"/>
              <a:gd name="connsiteX23622" fmla="*/ 1184186 w 4610101"/>
              <a:gd name="connsiteY23622" fmla="*/ 958860 h 6557032"/>
              <a:gd name="connsiteX23623" fmla="*/ 1184208 w 4610101"/>
              <a:gd name="connsiteY23623" fmla="*/ 959418 h 6557032"/>
              <a:gd name="connsiteX23624" fmla="*/ 1180769 w 4610101"/>
              <a:gd name="connsiteY23624" fmla="*/ 961138 h 6557032"/>
              <a:gd name="connsiteX23625" fmla="*/ 1177125 w 4610101"/>
              <a:gd name="connsiteY23625" fmla="*/ 957494 h 6557032"/>
              <a:gd name="connsiteX23626" fmla="*/ 958460 w 4610101"/>
              <a:gd name="connsiteY23626" fmla="*/ 955675 h 6557032"/>
              <a:gd name="connsiteX23627" fmla="*/ 952997 w 4610101"/>
              <a:gd name="connsiteY23627" fmla="*/ 961138 h 6557032"/>
              <a:gd name="connsiteX23628" fmla="*/ 952927 w 4610101"/>
              <a:gd name="connsiteY23628" fmla="*/ 959824 h 6557032"/>
              <a:gd name="connsiteX23629" fmla="*/ 701537 w 4610101"/>
              <a:gd name="connsiteY23629" fmla="*/ 955672 h 6557032"/>
              <a:gd name="connsiteX23630" fmla="*/ 686960 w 4610101"/>
              <a:gd name="connsiteY23630" fmla="*/ 968427 h 6557032"/>
              <a:gd name="connsiteX23631" fmla="*/ 688782 w 4610101"/>
              <a:gd name="connsiteY23631" fmla="*/ 966604 h 6557032"/>
              <a:gd name="connsiteX23632" fmla="*/ 697893 w 4610101"/>
              <a:gd name="connsiteY23632" fmla="*/ 973893 h 6557032"/>
              <a:gd name="connsiteX23633" fmla="*/ 701537 w 4610101"/>
              <a:gd name="connsiteY23633" fmla="*/ 955672 h 6557032"/>
              <a:gd name="connsiteX23634" fmla="*/ 663272 w 4610101"/>
              <a:gd name="connsiteY23634" fmla="*/ 955672 h 6557032"/>
              <a:gd name="connsiteX23635" fmla="*/ 666916 w 4610101"/>
              <a:gd name="connsiteY23635" fmla="*/ 968427 h 6557032"/>
              <a:gd name="connsiteX23636" fmla="*/ 670560 w 4610101"/>
              <a:gd name="connsiteY23636" fmla="*/ 959316 h 6557032"/>
              <a:gd name="connsiteX23637" fmla="*/ 663272 w 4610101"/>
              <a:gd name="connsiteY23637" fmla="*/ 955672 h 6557032"/>
              <a:gd name="connsiteX23638" fmla="*/ 537542 w 4610101"/>
              <a:gd name="connsiteY23638" fmla="*/ 955672 h 6557032"/>
              <a:gd name="connsiteX23639" fmla="*/ 543008 w 4610101"/>
              <a:gd name="connsiteY23639" fmla="*/ 961138 h 6557032"/>
              <a:gd name="connsiteX23640" fmla="*/ 537542 w 4610101"/>
              <a:gd name="connsiteY23640" fmla="*/ 955672 h 6557032"/>
              <a:gd name="connsiteX23641" fmla="*/ 255105 w 4610101"/>
              <a:gd name="connsiteY23641" fmla="*/ 955672 h 6557032"/>
              <a:gd name="connsiteX23642" fmla="*/ 262393 w 4610101"/>
              <a:gd name="connsiteY23642" fmla="*/ 961138 h 6557032"/>
              <a:gd name="connsiteX23643" fmla="*/ 255105 w 4610101"/>
              <a:gd name="connsiteY23643" fmla="*/ 955672 h 6557032"/>
              <a:gd name="connsiteX23644" fmla="*/ 227772 w 4610101"/>
              <a:gd name="connsiteY23644" fmla="*/ 955672 h 6557032"/>
              <a:gd name="connsiteX23645" fmla="*/ 238705 w 4610101"/>
              <a:gd name="connsiteY23645" fmla="*/ 962960 h 6557032"/>
              <a:gd name="connsiteX23646" fmla="*/ 227772 w 4610101"/>
              <a:gd name="connsiteY23646" fmla="*/ 955672 h 6557032"/>
              <a:gd name="connsiteX23647" fmla="*/ 158529 w 4610101"/>
              <a:gd name="connsiteY23647" fmla="*/ 955672 h 6557032"/>
              <a:gd name="connsiteX23648" fmla="*/ 165818 w 4610101"/>
              <a:gd name="connsiteY23648" fmla="*/ 962960 h 6557032"/>
              <a:gd name="connsiteX23649" fmla="*/ 158529 w 4610101"/>
              <a:gd name="connsiteY23649" fmla="*/ 955672 h 6557032"/>
              <a:gd name="connsiteX23650" fmla="*/ 2150166 w 4610101"/>
              <a:gd name="connsiteY23650" fmla="*/ 953848 h 6557032"/>
              <a:gd name="connsiteX23651" fmla="*/ 2142877 w 4610101"/>
              <a:gd name="connsiteY23651" fmla="*/ 955672 h 6557032"/>
              <a:gd name="connsiteX23652" fmla="*/ 2164743 w 4610101"/>
              <a:gd name="connsiteY23652" fmla="*/ 959316 h 6557032"/>
              <a:gd name="connsiteX23653" fmla="*/ 2162921 w 4610101"/>
              <a:gd name="connsiteY23653" fmla="*/ 955672 h 6557032"/>
              <a:gd name="connsiteX23654" fmla="*/ 2150166 w 4610101"/>
              <a:gd name="connsiteY23654" fmla="*/ 953848 h 6557032"/>
              <a:gd name="connsiteX23655" fmla="*/ 2137410 w 4610101"/>
              <a:gd name="connsiteY23655" fmla="*/ 953848 h 6557032"/>
              <a:gd name="connsiteX23656" fmla="*/ 2122833 w 4610101"/>
              <a:gd name="connsiteY23656" fmla="*/ 957494 h 6557032"/>
              <a:gd name="connsiteX23657" fmla="*/ 2126477 w 4610101"/>
              <a:gd name="connsiteY23657" fmla="*/ 961138 h 6557032"/>
              <a:gd name="connsiteX23658" fmla="*/ 2137410 w 4610101"/>
              <a:gd name="connsiteY23658" fmla="*/ 957494 h 6557032"/>
              <a:gd name="connsiteX23659" fmla="*/ 2137410 w 4610101"/>
              <a:gd name="connsiteY23659" fmla="*/ 953848 h 6557032"/>
              <a:gd name="connsiteX23660" fmla="*/ 1124282 w 4610101"/>
              <a:gd name="connsiteY23660" fmla="*/ 953848 h 6557032"/>
              <a:gd name="connsiteX23661" fmla="*/ 1111526 w 4610101"/>
              <a:gd name="connsiteY23661" fmla="*/ 955672 h 6557032"/>
              <a:gd name="connsiteX23662" fmla="*/ 1124282 w 4610101"/>
              <a:gd name="connsiteY23662" fmla="*/ 986649 h 6557032"/>
              <a:gd name="connsiteX23663" fmla="*/ 1122459 w 4610101"/>
              <a:gd name="connsiteY23663" fmla="*/ 966604 h 6557032"/>
              <a:gd name="connsiteX23664" fmla="*/ 1125051 w 4610101"/>
              <a:gd name="connsiteY23664" fmla="*/ 961622 h 6557032"/>
              <a:gd name="connsiteX23665" fmla="*/ 1126104 w 4610101"/>
              <a:gd name="connsiteY23665" fmla="*/ 964782 h 6557032"/>
              <a:gd name="connsiteX23666" fmla="*/ 1126104 w 4610101"/>
              <a:gd name="connsiteY23666" fmla="*/ 997582 h 6557032"/>
              <a:gd name="connsiteX23667" fmla="*/ 1129748 w 4610101"/>
              <a:gd name="connsiteY23667" fmla="*/ 993937 h 6557032"/>
              <a:gd name="connsiteX23668" fmla="*/ 1126104 w 4610101"/>
              <a:gd name="connsiteY23668" fmla="*/ 999403 h 6557032"/>
              <a:gd name="connsiteX23669" fmla="*/ 1122459 w 4610101"/>
              <a:gd name="connsiteY23669" fmla="*/ 990293 h 6557032"/>
              <a:gd name="connsiteX23670" fmla="*/ 1115171 w 4610101"/>
              <a:gd name="connsiteY23670" fmla="*/ 977538 h 6557032"/>
              <a:gd name="connsiteX23671" fmla="*/ 1106060 w 4610101"/>
              <a:gd name="connsiteY23671" fmla="*/ 988471 h 6557032"/>
              <a:gd name="connsiteX23672" fmla="*/ 1113349 w 4610101"/>
              <a:gd name="connsiteY23672" fmla="*/ 992115 h 6557032"/>
              <a:gd name="connsiteX23673" fmla="*/ 1122459 w 4610101"/>
              <a:gd name="connsiteY23673" fmla="*/ 990293 h 6557032"/>
              <a:gd name="connsiteX23674" fmla="*/ 1118815 w 4610101"/>
              <a:gd name="connsiteY23674" fmla="*/ 993937 h 6557032"/>
              <a:gd name="connsiteX23675" fmla="*/ 1106060 w 4610101"/>
              <a:gd name="connsiteY23675" fmla="*/ 993937 h 6557032"/>
              <a:gd name="connsiteX23676" fmla="*/ 1100593 w 4610101"/>
              <a:gd name="connsiteY23676" fmla="*/ 992115 h 6557032"/>
              <a:gd name="connsiteX23677" fmla="*/ 1104238 w 4610101"/>
              <a:gd name="connsiteY23677" fmla="*/ 1001226 h 6557032"/>
              <a:gd name="connsiteX23678" fmla="*/ 1126104 w 4610101"/>
              <a:gd name="connsiteY23678" fmla="*/ 999403 h 6557032"/>
              <a:gd name="connsiteX23679" fmla="*/ 1151614 w 4610101"/>
              <a:gd name="connsiteY23679" fmla="*/ 990293 h 6557032"/>
              <a:gd name="connsiteX23680" fmla="*/ 1158903 w 4610101"/>
              <a:gd name="connsiteY23680" fmla="*/ 990293 h 6557032"/>
              <a:gd name="connsiteX23681" fmla="*/ 1162547 w 4610101"/>
              <a:gd name="connsiteY23681" fmla="*/ 983004 h 6557032"/>
              <a:gd name="connsiteX23682" fmla="*/ 1162547 w 4610101"/>
              <a:gd name="connsiteY23682" fmla="*/ 990293 h 6557032"/>
              <a:gd name="connsiteX23683" fmla="*/ 1166192 w 4610101"/>
              <a:gd name="connsiteY23683" fmla="*/ 988471 h 6557032"/>
              <a:gd name="connsiteX23684" fmla="*/ 1167467 w 4610101"/>
              <a:gd name="connsiteY23684" fmla="*/ 984009 h 6557032"/>
              <a:gd name="connsiteX23685" fmla="*/ 1175075 w 4610101"/>
              <a:gd name="connsiteY23685" fmla="*/ 979132 h 6557032"/>
              <a:gd name="connsiteX23686" fmla="*/ 1182592 w 4610101"/>
              <a:gd name="connsiteY23686" fmla="*/ 972071 h 6557032"/>
              <a:gd name="connsiteX23687" fmla="*/ 1184414 w 4610101"/>
              <a:gd name="connsiteY23687" fmla="*/ 973893 h 6557032"/>
              <a:gd name="connsiteX23688" fmla="*/ 1178947 w 4610101"/>
              <a:gd name="connsiteY23688" fmla="*/ 961138 h 6557032"/>
              <a:gd name="connsiteX23689" fmla="*/ 1184414 w 4610101"/>
              <a:gd name="connsiteY23689" fmla="*/ 964782 h 6557032"/>
              <a:gd name="connsiteX23690" fmla="*/ 1184208 w 4610101"/>
              <a:gd name="connsiteY23690" fmla="*/ 959418 h 6557032"/>
              <a:gd name="connsiteX23691" fmla="*/ 1184414 w 4610101"/>
              <a:gd name="connsiteY23691" fmla="*/ 959316 h 6557032"/>
              <a:gd name="connsiteX23692" fmla="*/ 1186236 w 4610101"/>
              <a:gd name="connsiteY23692" fmla="*/ 961138 h 6557032"/>
              <a:gd name="connsiteX23693" fmla="*/ 1185552 w 4610101"/>
              <a:gd name="connsiteY23693" fmla="*/ 957266 h 6557032"/>
              <a:gd name="connsiteX23694" fmla="*/ 1181122 w 4610101"/>
              <a:gd name="connsiteY23694" fmla="*/ 957477 h 6557032"/>
              <a:gd name="connsiteX23695" fmla="*/ 1180769 w 4610101"/>
              <a:gd name="connsiteY23695" fmla="*/ 957317 h 6557032"/>
              <a:gd name="connsiteX23696" fmla="*/ 1180769 w 4610101"/>
              <a:gd name="connsiteY23696" fmla="*/ 955672 h 6557032"/>
              <a:gd name="connsiteX23697" fmla="*/ 1178947 w 4610101"/>
              <a:gd name="connsiteY23697" fmla="*/ 955672 h 6557032"/>
              <a:gd name="connsiteX23698" fmla="*/ 1178380 w 4610101"/>
              <a:gd name="connsiteY23698" fmla="*/ 956238 h 6557032"/>
              <a:gd name="connsiteX23699" fmla="*/ 1177125 w 4610101"/>
              <a:gd name="connsiteY23699" fmla="*/ 955672 h 6557032"/>
              <a:gd name="connsiteX23700" fmla="*/ 1177125 w 4610101"/>
              <a:gd name="connsiteY23700" fmla="*/ 957494 h 6557032"/>
              <a:gd name="connsiteX23701" fmla="*/ 1177125 w 4610101"/>
              <a:gd name="connsiteY23701" fmla="*/ 959316 h 6557032"/>
              <a:gd name="connsiteX23702" fmla="*/ 1166192 w 4610101"/>
              <a:gd name="connsiteY23702" fmla="*/ 968427 h 6557032"/>
              <a:gd name="connsiteX23703" fmla="*/ 1164370 w 4610101"/>
              <a:gd name="connsiteY23703" fmla="*/ 961138 h 6557032"/>
              <a:gd name="connsiteX23704" fmla="*/ 1166192 w 4610101"/>
              <a:gd name="connsiteY23704" fmla="*/ 964782 h 6557032"/>
              <a:gd name="connsiteX23705" fmla="*/ 1175303 w 4610101"/>
              <a:gd name="connsiteY23705" fmla="*/ 957494 h 6557032"/>
              <a:gd name="connsiteX23706" fmla="*/ 1168014 w 4610101"/>
              <a:gd name="connsiteY23706" fmla="*/ 953848 h 6557032"/>
              <a:gd name="connsiteX23707" fmla="*/ 1149792 w 4610101"/>
              <a:gd name="connsiteY23707" fmla="*/ 957494 h 6557032"/>
              <a:gd name="connsiteX23708" fmla="*/ 1131570 w 4610101"/>
              <a:gd name="connsiteY23708" fmla="*/ 953848 h 6557032"/>
              <a:gd name="connsiteX23709" fmla="*/ 1127926 w 4610101"/>
              <a:gd name="connsiteY23709" fmla="*/ 959316 h 6557032"/>
              <a:gd name="connsiteX23710" fmla="*/ 1127926 w 4610101"/>
              <a:gd name="connsiteY23710" fmla="*/ 953848 h 6557032"/>
              <a:gd name="connsiteX23711" fmla="*/ 1124992 w 4610101"/>
              <a:gd name="connsiteY23711" fmla="*/ 958250 h 6557032"/>
              <a:gd name="connsiteX23712" fmla="*/ 1034995 w 4610101"/>
              <a:gd name="connsiteY23712" fmla="*/ 953848 h 6557032"/>
              <a:gd name="connsiteX23713" fmla="*/ 1033173 w 4610101"/>
              <a:gd name="connsiteY23713" fmla="*/ 959316 h 6557032"/>
              <a:gd name="connsiteX23714" fmla="*/ 1034995 w 4610101"/>
              <a:gd name="connsiteY23714" fmla="*/ 962960 h 6557032"/>
              <a:gd name="connsiteX23715" fmla="*/ 1044106 w 4610101"/>
              <a:gd name="connsiteY23715" fmla="*/ 959316 h 6557032"/>
              <a:gd name="connsiteX23716" fmla="*/ 1042284 w 4610101"/>
              <a:gd name="connsiteY23716" fmla="*/ 955672 h 6557032"/>
              <a:gd name="connsiteX23717" fmla="*/ 1038639 w 4610101"/>
              <a:gd name="connsiteY23717" fmla="*/ 957494 h 6557032"/>
              <a:gd name="connsiteX23718" fmla="*/ 1040462 w 4610101"/>
              <a:gd name="connsiteY23718" fmla="*/ 955672 h 6557032"/>
              <a:gd name="connsiteX23719" fmla="*/ 1034995 w 4610101"/>
              <a:gd name="connsiteY23719" fmla="*/ 953848 h 6557032"/>
              <a:gd name="connsiteX23720" fmla="*/ 967575 w 4610101"/>
              <a:gd name="connsiteY23720" fmla="*/ 953848 h 6557032"/>
              <a:gd name="connsiteX23721" fmla="*/ 965753 w 4610101"/>
              <a:gd name="connsiteY23721" fmla="*/ 957494 h 6557032"/>
              <a:gd name="connsiteX23722" fmla="*/ 962108 w 4610101"/>
              <a:gd name="connsiteY23722" fmla="*/ 955672 h 6557032"/>
              <a:gd name="connsiteX23723" fmla="*/ 967575 w 4610101"/>
              <a:gd name="connsiteY23723" fmla="*/ 953848 h 6557032"/>
              <a:gd name="connsiteX23724" fmla="*/ 872822 w 4610101"/>
              <a:gd name="connsiteY23724" fmla="*/ 953848 h 6557032"/>
              <a:gd name="connsiteX23725" fmla="*/ 871000 w 4610101"/>
              <a:gd name="connsiteY23725" fmla="*/ 958953 h 6557032"/>
              <a:gd name="connsiteX23726" fmla="*/ 870544 w 4610101"/>
              <a:gd name="connsiteY23726" fmla="*/ 960227 h 6557032"/>
              <a:gd name="connsiteX23727" fmla="*/ 871000 w 4610101"/>
              <a:gd name="connsiteY23727" fmla="*/ 966604 h 6557032"/>
              <a:gd name="connsiteX23728" fmla="*/ 860066 w 4610101"/>
              <a:gd name="connsiteY23728" fmla="*/ 973893 h 6557032"/>
              <a:gd name="connsiteX23729" fmla="*/ 864293 w 4610101"/>
              <a:gd name="connsiteY23729" fmla="*/ 976679 h 6557032"/>
              <a:gd name="connsiteX23730" fmla="*/ 861889 w 4610101"/>
              <a:gd name="connsiteY23730" fmla="*/ 977538 h 6557032"/>
              <a:gd name="connsiteX23731" fmla="*/ 865533 w 4610101"/>
              <a:gd name="connsiteY23731" fmla="*/ 979360 h 6557032"/>
              <a:gd name="connsiteX23732" fmla="*/ 865214 w 4610101"/>
              <a:gd name="connsiteY23732" fmla="*/ 977286 h 6557032"/>
              <a:gd name="connsiteX23733" fmla="*/ 870088 w 4610101"/>
              <a:gd name="connsiteY23733" fmla="*/ 980498 h 6557032"/>
              <a:gd name="connsiteX23734" fmla="*/ 874279 w 4610101"/>
              <a:gd name="connsiteY23734" fmla="*/ 981546 h 6557032"/>
              <a:gd name="connsiteX23735" fmla="*/ 880111 w 4610101"/>
              <a:gd name="connsiteY23735" fmla="*/ 983004 h 6557032"/>
              <a:gd name="connsiteX23736" fmla="*/ 876466 w 4610101"/>
              <a:gd name="connsiteY23736" fmla="*/ 973893 h 6557032"/>
              <a:gd name="connsiteX23737" fmla="*/ 894688 w 4610101"/>
              <a:gd name="connsiteY23737" fmla="*/ 981182 h 6557032"/>
              <a:gd name="connsiteX23738" fmla="*/ 892866 w 4610101"/>
              <a:gd name="connsiteY23738" fmla="*/ 972071 h 6557032"/>
              <a:gd name="connsiteX23739" fmla="*/ 872822 w 4610101"/>
              <a:gd name="connsiteY23739" fmla="*/ 953848 h 6557032"/>
              <a:gd name="connsiteX23740" fmla="*/ 484700 w 4610101"/>
              <a:gd name="connsiteY23740" fmla="*/ 953848 h 6557032"/>
              <a:gd name="connsiteX23741" fmla="*/ 546653 w 4610101"/>
              <a:gd name="connsiteY23741" fmla="*/ 992115 h 6557032"/>
              <a:gd name="connsiteX23742" fmla="*/ 535719 w 4610101"/>
              <a:gd name="connsiteY23742" fmla="*/ 981182 h 6557032"/>
              <a:gd name="connsiteX23743" fmla="*/ 499276 w 4610101"/>
              <a:gd name="connsiteY23743" fmla="*/ 957494 h 6557032"/>
              <a:gd name="connsiteX23744" fmla="*/ 501098 w 4610101"/>
              <a:gd name="connsiteY23744" fmla="*/ 957494 h 6557032"/>
              <a:gd name="connsiteX23745" fmla="*/ 484700 w 4610101"/>
              <a:gd name="connsiteY23745" fmla="*/ 953848 h 6557032"/>
              <a:gd name="connsiteX23746" fmla="*/ 267860 w 4610101"/>
              <a:gd name="connsiteY23746" fmla="*/ 953848 h 6557032"/>
              <a:gd name="connsiteX23747" fmla="*/ 276971 w 4610101"/>
              <a:gd name="connsiteY23747" fmla="*/ 961138 h 6557032"/>
              <a:gd name="connsiteX23748" fmla="*/ 267860 w 4610101"/>
              <a:gd name="connsiteY23748" fmla="*/ 953848 h 6557032"/>
              <a:gd name="connsiteX23749" fmla="*/ 233239 w 4610101"/>
              <a:gd name="connsiteY23749" fmla="*/ 953848 h 6557032"/>
              <a:gd name="connsiteX23750" fmla="*/ 251460 w 4610101"/>
              <a:gd name="connsiteY23750" fmla="*/ 966604 h 6557032"/>
              <a:gd name="connsiteX23751" fmla="*/ 244172 w 4610101"/>
              <a:gd name="connsiteY23751" fmla="*/ 961138 h 6557032"/>
              <a:gd name="connsiteX23752" fmla="*/ 251511 w 4610101"/>
              <a:gd name="connsiteY23752" fmla="*/ 965215 h 6557032"/>
              <a:gd name="connsiteX23753" fmla="*/ 251916 w 4610101"/>
              <a:gd name="connsiteY23753" fmla="*/ 968654 h 6557032"/>
              <a:gd name="connsiteX23754" fmla="*/ 255105 w 4610101"/>
              <a:gd name="connsiteY23754" fmla="*/ 968427 h 6557032"/>
              <a:gd name="connsiteX23755" fmla="*/ 254752 w 4610101"/>
              <a:gd name="connsiteY23755" fmla="*/ 967016 h 6557032"/>
              <a:gd name="connsiteX23756" fmla="*/ 260571 w 4610101"/>
              <a:gd name="connsiteY23756" fmla="*/ 970249 h 6557032"/>
              <a:gd name="connsiteX23757" fmla="*/ 249638 w 4610101"/>
              <a:gd name="connsiteY23757" fmla="*/ 961138 h 6557032"/>
              <a:gd name="connsiteX23758" fmla="*/ 247816 w 4610101"/>
              <a:gd name="connsiteY23758" fmla="*/ 957494 h 6557032"/>
              <a:gd name="connsiteX23759" fmla="*/ 236883 w 4610101"/>
              <a:gd name="connsiteY23759" fmla="*/ 953848 h 6557032"/>
              <a:gd name="connsiteX23760" fmla="*/ 238705 w 4610101"/>
              <a:gd name="connsiteY23760" fmla="*/ 959316 h 6557032"/>
              <a:gd name="connsiteX23761" fmla="*/ 233239 w 4610101"/>
              <a:gd name="connsiteY23761" fmla="*/ 953848 h 6557032"/>
              <a:gd name="connsiteX23762" fmla="*/ 198617 w 4610101"/>
              <a:gd name="connsiteY23762" fmla="*/ 953848 h 6557032"/>
              <a:gd name="connsiteX23763" fmla="*/ 216839 w 4610101"/>
              <a:gd name="connsiteY23763" fmla="*/ 970249 h 6557032"/>
              <a:gd name="connsiteX23764" fmla="*/ 198617 w 4610101"/>
              <a:gd name="connsiteY23764" fmla="*/ 953848 h 6557032"/>
              <a:gd name="connsiteX23765" fmla="*/ 193151 w 4610101"/>
              <a:gd name="connsiteY23765" fmla="*/ 953848 h 6557032"/>
              <a:gd name="connsiteX23766" fmla="*/ 224128 w 4610101"/>
              <a:gd name="connsiteY23766" fmla="*/ 983004 h 6557032"/>
              <a:gd name="connsiteX23767" fmla="*/ 193151 w 4610101"/>
              <a:gd name="connsiteY23767" fmla="*/ 953848 h 6557032"/>
              <a:gd name="connsiteX23768" fmla="*/ 2749661 w 4610101"/>
              <a:gd name="connsiteY23768" fmla="*/ 952026 h 6557032"/>
              <a:gd name="connsiteX23769" fmla="*/ 2753305 w 4610101"/>
              <a:gd name="connsiteY23769" fmla="*/ 959316 h 6557032"/>
              <a:gd name="connsiteX23770" fmla="*/ 2749661 w 4610101"/>
              <a:gd name="connsiteY23770" fmla="*/ 952026 h 6557032"/>
              <a:gd name="connsiteX23771" fmla="*/ 1053217 w 4610101"/>
              <a:gd name="connsiteY23771" fmla="*/ 952026 h 6557032"/>
              <a:gd name="connsiteX23772" fmla="*/ 1056861 w 4610101"/>
              <a:gd name="connsiteY23772" fmla="*/ 955672 h 6557032"/>
              <a:gd name="connsiteX23773" fmla="*/ 1053217 w 4610101"/>
              <a:gd name="connsiteY23773" fmla="*/ 952026 h 6557032"/>
              <a:gd name="connsiteX23774" fmla="*/ 834556 w 4610101"/>
              <a:gd name="connsiteY23774" fmla="*/ 952026 h 6557032"/>
              <a:gd name="connsiteX23775" fmla="*/ 832734 w 4610101"/>
              <a:gd name="connsiteY23775" fmla="*/ 957494 h 6557032"/>
              <a:gd name="connsiteX23776" fmla="*/ 838200 w 4610101"/>
              <a:gd name="connsiteY23776" fmla="*/ 955672 h 6557032"/>
              <a:gd name="connsiteX23777" fmla="*/ 834556 w 4610101"/>
              <a:gd name="connsiteY23777" fmla="*/ 952026 h 6557032"/>
              <a:gd name="connsiteX23778" fmla="*/ 830912 w 4610101"/>
              <a:gd name="connsiteY23778" fmla="*/ 952026 h 6557032"/>
              <a:gd name="connsiteX23779" fmla="*/ 827267 w 4610101"/>
              <a:gd name="connsiteY23779" fmla="*/ 959316 h 6557032"/>
              <a:gd name="connsiteX23780" fmla="*/ 832734 w 4610101"/>
              <a:gd name="connsiteY23780" fmla="*/ 961138 h 6557032"/>
              <a:gd name="connsiteX23781" fmla="*/ 830912 w 4610101"/>
              <a:gd name="connsiteY23781" fmla="*/ 952026 h 6557032"/>
              <a:gd name="connsiteX23782" fmla="*/ 681493 w 4610101"/>
              <a:gd name="connsiteY23782" fmla="*/ 952026 h 6557032"/>
              <a:gd name="connsiteX23783" fmla="*/ 679671 w 4610101"/>
              <a:gd name="connsiteY23783" fmla="*/ 959316 h 6557032"/>
              <a:gd name="connsiteX23784" fmla="*/ 681493 w 4610101"/>
              <a:gd name="connsiteY23784" fmla="*/ 952026 h 6557032"/>
              <a:gd name="connsiteX23785" fmla="*/ 544830 w 4610101"/>
              <a:gd name="connsiteY23785" fmla="*/ 952026 h 6557032"/>
              <a:gd name="connsiteX23786" fmla="*/ 550297 w 4610101"/>
              <a:gd name="connsiteY23786" fmla="*/ 953848 h 6557032"/>
              <a:gd name="connsiteX23787" fmla="*/ 544830 w 4610101"/>
              <a:gd name="connsiteY23787" fmla="*/ 952026 h 6557032"/>
              <a:gd name="connsiteX23788" fmla="*/ 524786 w 4610101"/>
              <a:gd name="connsiteY23788" fmla="*/ 952026 h 6557032"/>
              <a:gd name="connsiteX23789" fmla="*/ 533897 w 4610101"/>
              <a:gd name="connsiteY23789" fmla="*/ 957494 h 6557032"/>
              <a:gd name="connsiteX23790" fmla="*/ 524786 w 4610101"/>
              <a:gd name="connsiteY23790" fmla="*/ 952026 h 6557032"/>
              <a:gd name="connsiteX23791" fmla="*/ 477410 w 4610101"/>
              <a:gd name="connsiteY23791" fmla="*/ 952026 h 6557032"/>
              <a:gd name="connsiteX23792" fmla="*/ 484700 w 4610101"/>
              <a:gd name="connsiteY23792" fmla="*/ 955672 h 6557032"/>
              <a:gd name="connsiteX23793" fmla="*/ 477410 w 4610101"/>
              <a:gd name="connsiteY23793" fmla="*/ 952026 h 6557032"/>
              <a:gd name="connsiteX23794" fmla="*/ 335280 w 4610101"/>
              <a:gd name="connsiteY23794" fmla="*/ 952026 h 6557032"/>
              <a:gd name="connsiteX23795" fmla="*/ 331180 w 4610101"/>
              <a:gd name="connsiteY23795" fmla="*/ 952482 h 6557032"/>
              <a:gd name="connsiteX23796" fmla="*/ 332690 w 4610101"/>
              <a:gd name="connsiteY23796" fmla="*/ 953657 h 6557032"/>
              <a:gd name="connsiteX23797" fmla="*/ 335280 w 4610101"/>
              <a:gd name="connsiteY23797" fmla="*/ 955672 h 6557032"/>
              <a:gd name="connsiteX23798" fmla="*/ 335280 w 4610101"/>
              <a:gd name="connsiteY23798" fmla="*/ 952026 h 6557032"/>
              <a:gd name="connsiteX23799" fmla="*/ 278793 w 4610101"/>
              <a:gd name="connsiteY23799" fmla="*/ 952026 h 6557032"/>
              <a:gd name="connsiteX23800" fmla="*/ 286082 w 4610101"/>
              <a:gd name="connsiteY23800" fmla="*/ 957494 h 6557032"/>
              <a:gd name="connsiteX23801" fmla="*/ 278793 w 4610101"/>
              <a:gd name="connsiteY23801" fmla="*/ 952026 h 6557032"/>
              <a:gd name="connsiteX23802" fmla="*/ 151241 w 4610101"/>
              <a:gd name="connsiteY23802" fmla="*/ 952026 h 6557032"/>
              <a:gd name="connsiteX23803" fmla="*/ 163996 w 4610101"/>
              <a:gd name="connsiteY23803" fmla="*/ 964782 h 6557032"/>
              <a:gd name="connsiteX23804" fmla="*/ 151241 w 4610101"/>
              <a:gd name="connsiteY23804" fmla="*/ 952026 h 6557032"/>
              <a:gd name="connsiteX23805" fmla="*/ 1192841 w 4610101"/>
              <a:gd name="connsiteY23805" fmla="*/ 950888 h 6557032"/>
              <a:gd name="connsiteX23806" fmla="*/ 1189880 w 4610101"/>
              <a:gd name="connsiteY23806" fmla="*/ 953848 h 6557032"/>
              <a:gd name="connsiteX23807" fmla="*/ 1197169 w 4610101"/>
              <a:gd name="connsiteY23807" fmla="*/ 952026 h 6557032"/>
              <a:gd name="connsiteX23808" fmla="*/ 1192841 w 4610101"/>
              <a:gd name="connsiteY23808" fmla="*/ 950888 h 6557032"/>
              <a:gd name="connsiteX23809" fmla="*/ 621134 w 4610101"/>
              <a:gd name="connsiteY23809" fmla="*/ 950888 h 6557032"/>
              <a:gd name="connsiteX23810" fmla="*/ 617717 w 4610101"/>
              <a:gd name="connsiteY23810" fmla="*/ 953848 h 6557032"/>
              <a:gd name="connsiteX23811" fmla="*/ 623185 w 4610101"/>
              <a:gd name="connsiteY23811" fmla="*/ 952026 h 6557032"/>
              <a:gd name="connsiteX23812" fmla="*/ 621134 w 4610101"/>
              <a:gd name="connsiteY23812" fmla="*/ 950888 h 6557032"/>
              <a:gd name="connsiteX23813" fmla="*/ 3279913 w 4610101"/>
              <a:gd name="connsiteY23813" fmla="*/ 950204 h 6557032"/>
              <a:gd name="connsiteX23814" fmla="*/ 3265336 w 4610101"/>
              <a:gd name="connsiteY23814" fmla="*/ 964782 h 6557032"/>
              <a:gd name="connsiteX23815" fmla="*/ 3279913 w 4610101"/>
              <a:gd name="connsiteY23815" fmla="*/ 962960 h 6557032"/>
              <a:gd name="connsiteX23816" fmla="*/ 3279913 w 4610101"/>
              <a:gd name="connsiteY23816" fmla="*/ 950204 h 6557032"/>
              <a:gd name="connsiteX23817" fmla="*/ 2527356 w 4610101"/>
              <a:gd name="connsiteY23817" fmla="*/ 950204 h 6557032"/>
              <a:gd name="connsiteX23818" fmla="*/ 2529178 w 4610101"/>
              <a:gd name="connsiteY23818" fmla="*/ 962960 h 6557032"/>
              <a:gd name="connsiteX23819" fmla="*/ 2543755 w 4610101"/>
              <a:gd name="connsiteY23819" fmla="*/ 952026 h 6557032"/>
              <a:gd name="connsiteX23820" fmla="*/ 2527356 w 4610101"/>
              <a:gd name="connsiteY23820" fmla="*/ 950204 h 6557032"/>
              <a:gd name="connsiteX23821" fmla="*/ 2516423 w 4610101"/>
              <a:gd name="connsiteY23821" fmla="*/ 950204 h 6557032"/>
              <a:gd name="connsiteX23822" fmla="*/ 2521889 w 4610101"/>
              <a:gd name="connsiteY23822" fmla="*/ 953848 h 6557032"/>
              <a:gd name="connsiteX23823" fmla="*/ 2516423 w 4610101"/>
              <a:gd name="connsiteY23823" fmla="*/ 950204 h 6557032"/>
              <a:gd name="connsiteX23824" fmla="*/ 1211747 w 4610101"/>
              <a:gd name="connsiteY23824" fmla="*/ 950204 h 6557032"/>
              <a:gd name="connsiteX23825" fmla="*/ 1212266 w 4610101"/>
              <a:gd name="connsiteY23825" fmla="*/ 950204 h 6557032"/>
              <a:gd name="connsiteX23826" fmla="*/ 1216625 w 4610101"/>
              <a:gd name="connsiteY23826" fmla="*/ 953595 h 6557032"/>
              <a:gd name="connsiteX23827" fmla="*/ 1214707 w 4610101"/>
              <a:gd name="connsiteY23827" fmla="*/ 953393 h 6557032"/>
              <a:gd name="connsiteX23828" fmla="*/ 1211747 w 4610101"/>
              <a:gd name="connsiteY23828" fmla="*/ 950204 h 6557032"/>
              <a:gd name="connsiteX23829" fmla="*/ 1056861 w 4610101"/>
              <a:gd name="connsiteY23829" fmla="*/ 950204 h 6557032"/>
              <a:gd name="connsiteX23830" fmla="*/ 1060506 w 4610101"/>
              <a:gd name="connsiteY23830" fmla="*/ 955672 h 6557032"/>
              <a:gd name="connsiteX23831" fmla="*/ 1064151 w 4610101"/>
              <a:gd name="connsiteY23831" fmla="*/ 953848 h 6557032"/>
              <a:gd name="connsiteX23832" fmla="*/ 1067794 w 4610101"/>
              <a:gd name="connsiteY23832" fmla="*/ 952026 h 6557032"/>
              <a:gd name="connsiteX23833" fmla="*/ 1056861 w 4610101"/>
              <a:gd name="connsiteY23833" fmla="*/ 950204 h 6557032"/>
              <a:gd name="connsiteX23834" fmla="*/ 1045929 w 4610101"/>
              <a:gd name="connsiteY23834" fmla="*/ 950204 h 6557032"/>
              <a:gd name="connsiteX23835" fmla="*/ 1040462 w 4610101"/>
              <a:gd name="connsiteY23835" fmla="*/ 952026 h 6557032"/>
              <a:gd name="connsiteX23836" fmla="*/ 1045929 w 4610101"/>
              <a:gd name="connsiteY23836" fmla="*/ 955672 h 6557032"/>
              <a:gd name="connsiteX23837" fmla="*/ 1045929 w 4610101"/>
              <a:gd name="connsiteY23837" fmla="*/ 950204 h 6557032"/>
              <a:gd name="connsiteX23838" fmla="*/ 996729 w 4610101"/>
              <a:gd name="connsiteY23838" fmla="*/ 950204 h 6557032"/>
              <a:gd name="connsiteX23839" fmla="*/ 996729 w 4610101"/>
              <a:gd name="connsiteY23839" fmla="*/ 961138 h 6557032"/>
              <a:gd name="connsiteX23840" fmla="*/ 1004018 w 4610101"/>
              <a:gd name="connsiteY23840" fmla="*/ 957494 h 6557032"/>
              <a:gd name="connsiteX23841" fmla="*/ 996729 w 4610101"/>
              <a:gd name="connsiteY23841" fmla="*/ 950204 h 6557032"/>
              <a:gd name="connsiteX23842" fmla="*/ 694249 w 4610101"/>
              <a:gd name="connsiteY23842" fmla="*/ 950204 h 6557032"/>
              <a:gd name="connsiteX23843" fmla="*/ 688782 w 4610101"/>
              <a:gd name="connsiteY23843" fmla="*/ 955672 h 6557032"/>
              <a:gd name="connsiteX23844" fmla="*/ 694249 w 4610101"/>
              <a:gd name="connsiteY23844" fmla="*/ 950204 h 6557032"/>
              <a:gd name="connsiteX23845" fmla="*/ 3126851 w 4610101"/>
              <a:gd name="connsiteY23845" fmla="*/ 948383 h 6557032"/>
              <a:gd name="connsiteX23846" fmla="*/ 3145073 w 4610101"/>
              <a:gd name="connsiteY23846" fmla="*/ 973893 h 6557032"/>
              <a:gd name="connsiteX23847" fmla="*/ 3143250 w 4610101"/>
              <a:gd name="connsiteY23847" fmla="*/ 968427 h 6557032"/>
              <a:gd name="connsiteX23848" fmla="*/ 3145073 w 4610101"/>
              <a:gd name="connsiteY23848" fmla="*/ 972071 h 6557032"/>
              <a:gd name="connsiteX23849" fmla="*/ 3137784 w 4610101"/>
              <a:gd name="connsiteY23849" fmla="*/ 952026 h 6557032"/>
              <a:gd name="connsiteX23850" fmla="*/ 3132317 w 4610101"/>
              <a:gd name="connsiteY23850" fmla="*/ 953848 h 6557032"/>
              <a:gd name="connsiteX23851" fmla="*/ 3134140 w 4610101"/>
              <a:gd name="connsiteY23851" fmla="*/ 950204 h 6557032"/>
              <a:gd name="connsiteX23852" fmla="*/ 3126851 w 4610101"/>
              <a:gd name="connsiteY23852" fmla="*/ 948383 h 6557032"/>
              <a:gd name="connsiteX23853" fmla="*/ 3108629 w 4610101"/>
              <a:gd name="connsiteY23853" fmla="*/ 948383 h 6557032"/>
              <a:gd name="connsiteX23854" fmla="*/ 3108629 w 4610101"/>
              <a:gd name="connsiteY23854" fmla="*/ 953848 h 6557032"/>
              <a:gd name="connsiteX23855" fmla="*/ 3095874 w 4610101"/>
              <a:gd name="connsiteY23855" fmla="*/ 959316 h 6557032"/>
              <a:gd name="connsiteX23856" fmla="*/ 3094052 w 4610101"/>
              <a:gd name="connsiteY23856" fmla="*/ 975715 h 6557032"/>
              <a:gd name="connsiteX23857" fmla="*/ 3125029 w 4610101"/>
              <a:gd name="connsiteY23857" fmla="*/ 975715 h 6557032"/>
              <a:gd name="connsiteX23858" fmla="*/ 3126851 w 4610101"/>
              <a:gd name="connsiteY23858" fmla="*/ 961138 h 6557032"/>
              <a:gd name="connsiteX23859" fmla="*/ 3117740 w 4610101"/>
              <a:gd name="connsiteY23859" fmla="*/ 959316 h 6557032"/>
              <a:gd name="connsiteX23860" fmla="*/ 3119562 w 4610101"/>
              <a:gd name="connsiteY23860" fmla="*/ 950204 h 6557032"/>
              <a:gd name="connsiteX23861" fmla="*/ 3112274 w 4610101"/>
              <a:gd name="connsiteY23861" fmla="*/ 948383 h 6557032"/>
              <a:gd name="connsiteX23862" fmla="*/ 3108629 w 4610101"/>
              <a:gd name="connsiteY23862" fmla="*/ 948383 h 6557032"/>
              <a:gd name="connsiteX23863" fmla="*/ 1304677 w 4610101"/>
              <a:gd name="connsiteY23863" fmla="*/ 948383 h 6557032"/>
              <a:gd name="connsiteX23864" fmla="*/ 1295566 w 4610101"/>
              <a:gd name="connsiteY23864" fmla="*/ 953848 h 6557032"/>
              <a:gd name="connsiteX23865" fmla="*/ 1308321 w 4610101"/>
              <a:gd name="connsiteY23865" fmla="*/ 953848 h 6557032"/>
              <a:gd name="connsiteX23866" fmla="*/ 1304677 w 4610101"/>
              <a:gd name="connsiteY23866" fmla="*/ 948383 h 6557032"/>
              <a:gd name="connsiteX23867" fmla="*/ 1291922 w 4610101"/>
              <a:gd name="connsiteY23867" fmla="*/ 948383 h 6557032"/>
              <a:gd name="connsiteX23868" fmla="*/ 1275522 w 4610101"/>
              <a:gd name="connsiteY23868" fmla="*/ 950204 h 6557032"/>
              <a:gd name="connsiteX23869" fmla="*/ 1291922 w 4610101"/>
              <a:gd name="connsiteY23869" fmla="*/ 948383 h 6557032"/>
              <a:gd name="connsiteX23870" fmla="*/ 517498 w 4610101"/>
              <a:gd name="connsiteY23870" fmla="*/ 948383 h 6557032"/>
              <a:gd name="connsiteX23871" fmla="*/ 528431 w 4610101"/>
              <a:gd name="connsiteY23871" fmla="*/ 952026 h 6557032"/>
              <a:gd name="connsiteX23872" fmla="*/ 517498 w 4610101"/>
              <a:gd name="connsiteY23872" fmla="*/ 948383 h 6557032"/>
              <a:gd name="connsiteX23873" fmla="*/ 284259 w 4610101"/>
              <a:gd name="connsiteY23873" fmla="*/ 948383 h 6557032"/>
              <a:gd name="connsiteX23874" fmla="*/ 293370 w 4610101"/>
              <a:gd name="connsiteY23874" fmla="*/ 959316 h 6557032"/>
              <a:gd name="connsiteX23875" fmla="*/ 287904 w 4610101"/>
              <a:gd name="connsiteY23875" fmla="*/ 948383 h 6557032"/>
              <a:gd name="connsiteX23876" fmla="*/ 284259 w 4610101"/>
              <a:gd name="connsiteY23876" fmla="*/ 948383 h 6557032"/>
              <a:gd name="connsiteX23877" fmla="*/ 1313104 w 4610101"/>
              <a:gd name="connsiteY23877" fmla="*/ 948155 h 6557032"/>
              <a:gd name="connsiteX23878" fmla="*/ 1308321 w 4610101"/>
              <a:gd name="connsiteY23878" fmla="*/ 952026 h 6557032"/>
              <a:gd name="connsiteX23879" fmla="*/ 1310143 w 4610101"/>
              <a:gd name="connsiteY23879" fmla="*/ 953848 h 6557032"/>
              <a:gd name="connsiteX23880" fmla="*/ 1319254 w 4610101"/>
              <a:gd name="connsiteY23880" fmla="*/ 948383 h 6557032"/>
              <a:gd name="connsiteX23881" fmla="*/ 1313104 w 4610101"/>
              <a:gd name="connsiteY23881" fmla="*/ 948155 h 6557032"/>
              <a:gd name="connsiteX23882" fmla="*/ 1327682 w 4610101"/>
              <a:gd name="connsiteY23882" fmla="*/ 947016 h 6557032"/>
              <a:gd name="connsiteX23883" fmla="*/ 1317432 w 4610101"/>
              <a:gd name="connsiteY23883" fmla="*/ 952026 h 6557032"/>
              <a:gd name="connsiteX23884" fmla="*/ 1324721 w 4610101"/>
              <a:gd name="connsiteY23884" fmla="*/ 950204 h 6557032"/>
              <a:gd name="connsiteX23885" fmla="*/ 1315610 w 4610101"/>
              <a:gd name="connsiteY23885" fmla="*/ 955672 h 6557032"/>
              <a:gd name="connsiteX23886" fmla="*/ 1339299 w 4610101"/>
              <a:gd name="connsiteY23886" fmla="*/ 950204 h 6557032"/>
              <a:gd name="connsiteX23887" fmla="*/ 1327682 w 4610101"/>
              <a:gd name="connsiteY23887" fmla="*/ 947016 h 6557032"/>
              <a:gd name="connsiteX23888" fmla="*/ 3334579 w 4610101"/>
              <a:gd name="connsiteY23888" fmla="*/ 946560 h 6557032"/>
              <a:gd name="connsiteX23889" fmla="*/ 3332730 w 4610101"/>
              <a:gd name="connsiteY23889" fmla="*/ 949126 h 6557032"/>
              <a:gd name="connsiteX23890" fmla="*/ 3331979 w 4610101"/>
              <a:gd name="connsiteY23890" fmla="*/ 947292 h 6557032"/>
              <a:gd name="connsiteX23891" fmla="*/ 3299957 w 4610101"/>
              <a:gd name="connsiteY23891" fmla="*/ 946560 h 6557032"/>
              <a:gd name="connsiteX23892" fmla="*/ 3301780 w 4610101"/>
              <a:gd name="connsiteY23892" fmla="*/ 952026 h 6557032"/>
              <a:gd name="connsiteX23893" fmla="*/ 3299957 w 4610101"/>
              <a:gd name="connsiteY23893" fmla="*/ 946560 h 6557032"/>
              <a:gd name="connsiteX23894" fmla="*/ 2439891 w 4610101"/>
              <a:gd name="connsiteY23894" fmla="*/ 946560 h 6557032"/>
              <a:gd name="connsiteX23895" fmla="*/ 2439891 w 4610101"/>
              <a:gd name="connsiteY23895" fmla="*/ 959316 h 6557032"/>
              <a:gd name="connsiteX23896" fmla="*/ 2441713 w 4610101"/>
              <a:gd name="connsiteY23896" fmla="*/ 953848 h 6557032"/>
              <a:gd name="connsiteX23897" fmla="*/ 2439891 w 4610101"/>
              <a:gd name="connsiteY23897" fmla="*/ 946560 h 6557032"/>
              <a:gd name="connsiteX23898" fmla="*/ 2430780 w 4610101"/>
              <a:gd name="connsiteY23898" fmla="*/ 946560 h 6557032"/>
              <a:gd name="connsiteX23899" fmla="*/ 2427136 w 4610101"/>
              <a:gd name="connsiteY23899" fmla="*/ 950204 h 6557032"/>
              <a:gd name="connsiteX23900" fmla="*/ 2430780 w 4610101"/>
              <a:gd name="connsiteY23900" fmla="*/ 952026 h 6557032"/>
              <a:gd name="connsiteX23901" fmla="*/ 2430780 w 4610101"/>
              <a:gd name="connsiteY23901" fmla="*/ 946560 h 6557032"/>
              <a:gd name="connsiteX23902" fmla="*/ 819979 w 4610101"/>
              <a:gd name="connsiteY23902" fmla="*/ 946560 h 6557032"/>
              <a:gd name="connsiteX23903" fmla="*/ 827267 w 4610101"/>
              <a:gd name="connsiteY23903" fmla="*/ 952026 h 6557032"/>
              <a:gd name="connsiteX23904" fmla="*/ 819979 w 4610101"/>
              <a:gd name="connsiteY23904" fmla="*/ 946560 h 6557032"/>
              <a:gd name="connsiteX23905" fmla="*/ 701537 w 4610101"/>
              <a:gd name="connsiteY23905" fmla="*/ 946560 h 6557032"/>
              <a:gd name="connsiteX23906" fmla="*/ 705182 w 4610101"/>
              <a:gd name="connsiteY23906" fmla="*/ 948383 h 6557032"/>
              <a:gd name="connsiteX23907" fmla="*/ 701537 w 4610101"/>
              <a:gd name="connsiteY23907" fmla="*/ 946560 h 6557032"/>
              <a:gd name="connsiteX23908" fmla="*/ 632296 w 4610101"/>
              <a:gd name="connsiteY23908" fmla="*/ 946560 h 6557032"/>
              <a:gd name="connsiteX23909" fmla="*/ 630472 w 4610101"/>
              <a:gd name="connsiteY23909" fmla="*/ 950204 h 6557032"/>
              <a:gd name="connsiteX23910" fmla="*/ 632296 w 4610101"/>
              <a:gd name="connsiteY23910" fmla="*/ 946560 h 6557032"/>
              <a:gd name="connsiteX23911" fmla="*/ 163996 w 4610101"/>
              <a:gd name="connsiteY23911" fmla="*/ 946560 h 6557032"/>
              <a:gd name="connsiteX23912" fmla="*/ 182218 w 4610101"/>
              <a:gd name="connsiteY23912" fmla="*/ 962960 h 6557032"/>
              <a:gd name="connsiteX23913" fmla="*/ 163996 w 4610101"/>
              <a:gd name="connsiteY23913" fmla="*/ 946560 h 6557032"/>
              <a:gd name="connsiteX23914" fmla="*/ 2113722 w 4610101"/>
              <a:gd name="connsiteY23914" fmla="*/ 944738 h 6557032"/>
              <a:gd name="connsiteX23915" fmla="*/ 2121011 w 4610101"/>
              <a:gd name="connsiteY23915" fmla="*/ 953848 h 6557032"/>
              <a:gd name="connsiteX23916" fmla="*/ 2122833 w 4610101"/>
              <a:gd name="connsiteY23916" fmla="*/ 950204 h 6557032"/>
              <a:gd name="connsiteX23917" fmla="*/ 2113722 w 4610101"/>
              <a:gd name="connsiteY23917" fmla="*/ 944738 h 6557032"/>
              <a:gd name="connsiteX23918" fmla="*/ 1193525 w 4610101"/>
              <a:gd name="connsiteY23918" fmla="*/ 944738 h 6557032"/>
              <a:gd name="connsiteX23919" fmla="*/ 1197169 w 4610101"/>
              <a:gd name="connsiteY23919" fmla="*/ 950204 h 6557032"/>
              <a:gd name="connsiteX23920" fmla="*/ 1193525 w 4610101"/>
              <a:gd name="connsiteY23920" fmla="*/ 944738 h 6557032"/>
              <a:gd name="connsiteX23921" fmla="*/ 1118815 w 4610101"/>
              <a:gd name="connsiteY23921" fmla="*/ 944738 h 6557032"/>
              <a:gd name="connsiteX23922" fmla="*/ 1111526 w 4610101"/>
              <a:gd name="connsiteY23922" fmla="*/ 952026 h 6557032"/>
              <a:gd name="connsiteX23923" fmla="*/ 1122459 w 4610101"/>
              <a:gd name="connsiteY23923" fmla="*/ 952026 h 6557032"/>
              <a:gd name="connsiteX23924" fmla="*/ 1118815 w 4610101"/>
              <a:gd name="connsiteY23924" fmla="*/ 944738 h 6557032"/>
              <a:gd name="connsiteX23925" fmla="*/ 963930 w 4610101"/>
              <a:gd name="connsiteY23925" fmla="*/ 944738 h 6557032"/>
              <a:gd name="connsiteX23926" fmla="*/ 965546 w 4610101"/>
              <a:gd name="connsiteY23926" fmla="*/ 948774 h 6557032"/>
              <a:gd name="connsiteX23927" fmla="*/ 961880 w 4610101"/>
              <a:gd name="connsiteY23927" fmla="*/ 955671 h 6557032"/>
              <a:gd name="connsiteX23928" fmla="*/ 962108 w 4610101"/>
              <a:gd name="connsiteY23928" fmla="*/ 962960 h 6557032"/>
              <a:gd name="connsiteX23929" fmla="*/ 965753 w 4610101"/>
              <a:gd name="connsiteY23929" fmla="*/ 979360 h 6557032"/>
              <a:gd name="connsiteX23930" fmla="*/ 963930 w 4610101"/>
              <a:gd name="connsiteY23930" fmla="*/ 979360 h 6557032"/>
              <a:gd name="connsiteX23931" fmla="*/ 973041 w 4610101"/>
              <a:gd name="connsiteY23931" fmla="*/ 1001226 h 6557032"/>
              <a:gd name="connsiteX23932" fmla="*/ 967575 w 4610101"/>
              <a:gd name="connsiteY23932" fmla="*/ 983004 h 6557032"/>
              <a:gd name="connsiteX23933" fmla="*/ 969397 w 4610101"/>
              <a:gd name="connsiteY23933" fmla="*/ 984826 h 6557032"/>
              <a:gd name="connsiteX23934" fmla="*/ 971219 w 4610101"/>
              <a:gd name="connsiteY23934" fmla="*/ 972071 h 6557032"/>
              <a:gd name="connsiteX23935" fmla="*/ 974863 w 4610101"/>
              <a:gd name="connsiteY23935" fmla="*/ 983004 h 6557032"/>
              <a:gd name="connsiteX23936" fmla="*/ 974863 w 4610101"/>
              <a:gd name="connsiteY23936" fmla="*/ 999403 h 6557032"/>
              <a:gd name="connsiteX23937" fmla="*/ 974863 w 4610101"/>
              <a:gd name="connsiteY23937" fmla="*/ 983004 h 6557032"/>
              <a:gd name="connsiteX23938" fmla="*/ 973041 w 4610101"/>
              <a:gd name="connsiteY23938" fmla="*/ 968427 h 6557032"/>
              <a:gd name="connsiteX23939" fmla="*/ 971219 w 4610101"/>
              <a:gd name="connsiteY23939" fmla="*/ 970249 h 6557032"/>
              <a:gd name="connsiteX23940" fmla="*/ 969397 w 4610101"/>
              <a:gd name="connsiteY23940" fmla="*/ 962960 h 6557032"/>
              <a:gd name="connsiteX23941" fmla="*/ 971219 w 4610101"/>
              <a:gd name="connsiteY23941" fmla="*/ 959316 h 6557032"/>
              <a:gd name="connsiteX23942" fmla="*/ 967575 w 4610101"/>
              <a:gd name="connsiteY23942" fmla="*/ 953848 h 6557032"/>
              <a:gd name="connsiteX23943" fmla="*/ 965546 w 4610101"/>
              <a:gd name="connsiteY23943" fmla="*/ 948774 h 6557032"/>
              <a:gd name="connsiteX23944" fmla="*/ 965753 w 4610101"/>
              <a:gd name="connsiteY23944" fmla="*/ 948383 h 6557032"/>
              <a:gd name="connsiteX23945" fmla="*/ 963930 w 4610101"/>
              <a:gd name="connsiteY23945" fmla="*/ 944738 h 6557032"/>
              <a:gd name="connsiteX23946" fmla="*/ 821801 w 4610101"/>
              <a:gd name="connsiteY23946" fmla="*/ 944738 h 6557032"/>
              <a:gd name="connsiteX23947" fmla="*/ 827267 w 4610101"/>
              <a:gd name="connsiteY23947" fmla="*/ 948383 h 6557032"/>
              <a:gd name="connsiteX23948" fmla="*/ 821801 w 4610101"/>
              <a:gd name="connsiteY23948" fmla="*/ 944738 h 6557032"/>
              <a:gd name="connsiteX23949" fmla="*/ 803579 w 4610101"/>
              <a:gd name="connsiteY23949" fmla="*/ 944738 h 6557032"/>
              <a:gd name="connsiteX23950" fmla="*/ 818156 w 4610101"/>
              <a:gd name="connsiteY23950" fmla="*/ 953848 h 6557032"/>
              <a:gd name="connsiteX23951" fmla="*/ 818156 w 4610101"/>
              <a:gd name="connsiteY23951" fmla="*/ 946560 h 6557032"/>
              <a:gd name="connsiteX23952" fmla="*/ 803579 w 4610101"/>
              <a:gd name="connsiteY23952" fmla="*/ 944738 h 6557032"/>
              <a:gd name="connsiteX23953" fmla="*/ 789003 w 4610101"/>
              <a:gd name="connsiteY23953" fmla="*/ 944738 h 6557032"/>
              <a:gd name="connsiteX23954" fmla="*/ 801757 w 4610101"/>
              <a:gd name="connsiteY23954" fmla="*/ 964782 h 6557032"/>
              <a:gd name="connsiteX23955" fmla="*/ 818156 w 4610101"/>
              <a:gd name="connsiteY23955" fmla="*/ 957494 h 6557032"/>
              <a:gd name="connsiteX23956" fmla="*/ 809046 w 4610101"/>
              <a:gd name="connsiteY23956" fmla="*/ 955672 h 6557032"/>
              <a:gd name="connsiteX23957" fmla="*/ 810868 w 4610101"/>
              <a:gd name="connsiteY23957" fmla="*/ 953848 h 6557032"/>
              <a:gd name="connsiteX23958" fmla="*/ 805401 w 4610101"/>
              <a:gd name="connsiteY23958" fmla="*/ 952026 h 6557032"/>
              <a:gd name="connsiteX23959" fmla="*/ 789003 w 4610101"/>
              <a:gd name="connsiteY23959" fmla="*/ 944738 h 6557032"/>
              <a:gd name="connsiteX23960" fmla="*/ 512031 w 4610101"/>
              <a:gd name="connsiteY23960" fmla="*/ 944738 h 6557032"/>
              <a:gd name="connsiteX23961" fmla="*/ 524786 w 4610101"/>
              <a:gd name="connsiteY23961" fmla="*/ 953848 h 6557032"/>
              <a:gd name="connsiteX23962" fmla="*/ 512031 w 4610101"/>
              <a:gd name="connsiteY23962" fmla="*/ 944738 h 6557032"/>
              <a:gd name="connsiteX23963" fmla="*/ 371724 w 4610101"/>
              <a:gd name="connsiteY23963" fmla="*/ 944738 h 6557032"/>
              <a:gd name="connsiteX23964" fmla="*/ 388123 w 4610101"/>
              <a:gd name="connsiteY23964" fmla="*/ 953848 h 6557032"/>
              <a:gd name="connsiteX23965" fmla="*/ 371724 w 4610101"/>
              <a:gd name="connsiteY23965" fmla="*/ 944738 h 6557032"/>
              <a:gd name="connsiteX23966" fmla="*/ 317059 w 4610101"/>
              <a:gd name="connsiteY23966" fmla="*/ 944738 h 6557032"/>
              <a:gd name="connsiteX23967" fmla="*/ 321842 w 4610101"/>
              <a:gd name="connsiteY23967" fmla="*/ 950204 h 6557032"/>
              <a:gd name="connsiteX23968" fmla="*/ 326169 w 4610101"/>
              <a:gd name="connsiteY23968" fmla="*/ 950204 h 6557032"/>
              <a:gd name="connsiteX23969" fmla="*/ 327993 w 4610101"/>
              <a:gd name="connsiteY23969" fmla="*/ 950204 h 6557032"/>
              <a:gd name="connsiteX23970" fmla="*/ 333458 w 4610101"/>
              <a:gd name="connsiteY23970" fmla="*/ 948383 h 6557032"/>
              <a:gd name="connsiteX23971" fmla="*/ 326169 w 4610101"/>
              <a:gd name="connsiteY23971" fmla="*/ 944738 h 6557032"/>
              <a:gd name="connsiteX23972" fmla="*/ 326169 w 4610101"/>
              <a:gd name="connsiteY23972" fmla="*/ 950204 h 6557032"/>
              <a:gd name="connsiteX23973" fmla="*/ 322525 w 4610101"/>
              <a:gd name="connsiteY23973" fmla="*/ 944738 h 6557032"/>
              <a:gd name="connsiteX23974" fmla="*/ 317059 w 4610101"/>
              <a:gd name="connsiteY23974" fmla="*/ 944738 h 6557032"/>
              <a:gd name="connsiteX23975" fmla="*/ 304303 w 4610101"/>
              <a:gd name="connsiteY23975" fmla="*/ 944738 h 6557032"/>
              <a:gd name="connsiteX23976" fmla="*/ 304970 w 4610101"/>
              <a:gd name="connsiteY23976" fmla="*/ 945627 h 6557032"/>
              <a:gd name="connsiteX23977" fmla="*/ 304366 w 4610101"/>
              <a:gd name="connsiteY23977" fmla="*/ 945139 h 6557032"/>
              <a:gd name="connsiteX23978" fmla="*/ 273327 w 4610101"/>
              <a:gd name="connsiteY23978" fmla="*/ 944738 h 6557032"/>
              <a:gd name="connsiteX23979" fmla="*/ 282438 w 4610101"/>
              <a:gd name="connsiteY23979" fmla="*/ 953848 h 6557032"/>
              <a:gd name="connsiteX23980" fmla="*/ 273327 w 4610101"/>
              <a:gd name="connsiteY23980" fmla="*/ 944738 h 6557032"/>
              <a:gd name="connsiteX23981" fmla="*/ 253282 w 4610101"/>
              <a:gd name="connsiteY23981" fmla="*/ 944738 h 6557032"/>
              <a:gd name="connsiteX23982" fmla="*/ 273327 w 4610101"/>
              <a:gd name="connsiteY23982" fmla="*/ 964782 h 6557032"/>
              <a:gd name="connsiteX23983" fmla="*/ 253282 w 4610101"/>
              <a:gd name="connsiteY23983" fmla="*/ 944738 h 6557032"/>
              <a:gd name="connsiteX23984" fmla="*/ 760705 w 4610101"/>
              <a:gd name="connsiteY23984" fmla="*/ 943988 h 6557032"/>
              <a:gd name="connsiteX23985" fmla="*/ 756203 w 4610101"/>
              <a:gd name="connsiteY23985" fmla="*/ 946560 h 6557032"/>
              <a:gd name="connsiteX23986" fmla="*/ 755291 w 4610101"/>
              <a:gd name="connsiteY23986" fmla="*/ 945405 h 6557032"/>
              <a:gd name="connsiteX23987" fmla="*/ 2656730 w 4610101"/>
              <a:gd name="connsiteY23987" fmla="*/ 942916 h 6557032"/>
              <a:gd name="connsiteX23988" fmla="*/ 2658552 w 4610101"/>
              <a:gd name="connsiteY23988" fmla="*/ 946560 h 6557032"/>
              <a:gd name="connsiteX23989" fmla="*/ 2660374 w 4610101"/>
              <a:gd name="connsiteY23989" fmla="*/ 966604 h 6557032"/>
              <a:gd name="connsiteX23990" fmla="*/ 2656730 w 4610101"/>
              <a:gd name="connsiteY23990" fmla="*/ 968427 h 6557032"/>
              <a:gd name="connsiteX23991" fmla="*/ 2654908 w 4610101"/>
              <a:gd name="connsiteY23991" fmla="*/ 948383 h 6557032"/>
              <a:gd name="connsiteX23992" fmla="*/ 2651263 w 4610101"/>
              <a:gd name="connsiteY23992" fmla="*/ 948383 h 6557032"/>
              <a:gd name="connsiteX23993" fmla="*/ 2649441 w 4610101"/>
              <a:gd name="connsiteY23993" fmla="*/ 959316 h 6557032"/>
              <a:gd name="connsiteX23994" fmla="*/ 2645797 w 4610101"/>
              <a:gd name="connsiteY23994" fmla="*/ 957494 h 6557032"/>
              <a:gd name="connsiteX23995" fmla="*/ 2656730 w 4610101"/>
              <a:gd name="connsiteY23995" fmla="*/ 1017625 h 6557032"/>
              <a:gd name="connsiteX23996" fmla="*/ 2651263 w 4610101"/>
              <a:gd name="connsiteY23996" fmla="*/ 1019448 h 6557032"/>
              <a:gd name="connsiteX23997" fmla="*/ 2671307 w 4610101"/>
              <a:gd name="connsiteY23997" fmla="*/ 1039492 h 6557032"/>
              <a:gd name="connsiteX23998" fmla="*/ 2667663 w 4610101"/>
              <a:gd name="connsiteY23998" fmla="*/ 1030381 h 6557032"/>
              <a:gd name="connsiteX23999" fmla="*/ 2680418 w 4610101"/>
              <a:gd name="connsiteY23999" fmla="*/ 1052247 h 6557032"/>
              <a:gd name="connsiteX24000" fmla="*/ 2680418 w 4610101"/>
              <a:gd name="connsiteY24000" fmla="*/ 1046780 h 6557032"/>
              <a:gd name="connsiteX24001" fmla="*/ 2682240 w 4610101"/>
              <a:gd name="connsiteY24001" fmla="*/ 1055891 h 6557032"/>
              <a:gd name="connsiteX24002" fmla="*/ 2676774 w 4610101"/>
              <a:gd name="connsiteY24002" fmla="*/ 1054069 h 6557032"/>
              <a:gd name="connsiteX24003" fmla="*/ 2674952 w 4610101"/>
              <a:gd name="connsiteY24003" fmla="*/ 1061358 h 6557032"/>
              <a:gd name="connsiteX24004" fmla="*/ 2667663 w 4610101"/>
              <a:gd name="connsiteY24004" fmla="*/ 1046780 h 6557032"/>
              <a:gd name="connsiteX24005" fmla="*/ 2669485 w 4610101"/>
              <a:gd name="connsiteY24005" fmla="*/ 1054069 h 6557032"/>
              <a:gd name="connsiteX24006" fmla="*/ 2662197 w 4610101"/>
              <a:gd name="connsiteY24006" fmla="*/ 1052247 h 6557032"/>
              <a:gd name="connsiteX24007" fmla="*/ 2664019 w 4610101"/>
              <a:gd name="connsiteY24007" fmla="*/ 1063180 h 6557032"/>
              <a:gd name="connsiteX24008" fmla="*/ 2656730 w 4610101"/>
              <a:gd name="connsiteY24008" fmla="*/ 1057713 h 6557032"/>
              <a:gd name="connsiteX24009" fmla="*/ 2658552 w 4610101"/>
              <a:gd name="connsiteY24009" fmla="*/ 1066824 h 6557032"/>
              <a:gd name="connsiteX24010" fmla="*/ 2651263 w 4610101"/>
              <a:gd name="connsiteY24010" fmla="*/ 1061358 h 6557032"/>
              <a:gd name="connsiteX24011" fmla="*/ 2629397 w 4610101"/>
              <a:gd name="connsiteY24011" fmla="*/ 1081402 h 6557032"/>
              <a:gd name="connsiteX24012" fmla="*/ 2625753 w 4610101"/>
              <a:gd name="connsiteY24012" fmla="*/ 1077757 h 6557032"/>
              <a:gd name="connsiteX24013" fmla="*/ 2592954 w 4610101"/>
              <a:gd name="connsiteY24013" fmla="*/ 1106912 h 6557032"/>
              <a:gd name="connsiteX24014" fmla="*/ 2600243 w 4610101"/>
              <a:gd name="connsiteY24014" fmla="*/ 1130600 h 6557032"/>
              <a:gd name="connsiteX24015" fmla="*/ 2607531 w 4610101"/>
              <a:gd name="connsiteY24015" fmla="*/ 1128778 h 6557032"/>
              <a:gd name="connsiteX24016" fmla="*/ 2607531 w 4610101"/>
              <a:gd name="connsiteY24016" fmla="*/ 1136067 h 6557032"/>
              <a:gd name="connsiteX24017" fmla="*/ 2627575 w 4610101"/>
              <a:gd name="connsiteY24017" fmla="*/ 1147000 h 6557032"/>
              <a:gd name="connsiteX24018" fmla="*/ 2654908 w 4610101"/>
              <a:gd name="connsiteY24018" fmla="*/ 1136067 h 6557032"/>
              <a:gd name="connsiteX24019" fmla="*/ 2665841 w 4610101"/>
              <a:gd name="connsiteY24019" fmla="*/ 1137889 h 6557032"/>
              <a:gd name="connsiteX24020" fmla="*/ 2664019 w 4610101"/>
              <a:gd name="connsiteY24020" fmla="*/ 1145178 h 6557032"/>
              <a:gd name="connsiteX24021" fmla="*/ 2671307 w 4610101"/>
              <a:gd name="connsiteY24021" fmla="*/ 1152466 h 6557032"/>
              <a:gd name="connsiteX24022" fmla="*/ 2696818 w 4610101"/>
              <a:gd name="connsiteY24022" fmla="*/ 1154288 h 6557032"/>
              <a:gd name="connsiteX24023" fmla="*/ 2694996 w 4610101"/>
              <a:gd name="connsiteY24023" fmla="*/ 1156111 h 6557032"/>
              <a:gd name="connsiteX24024" fmla="*/ 2705929 w 4610101"/>
              <a:gd name="connsiteY24024" fmla="*/ 1157933 h 6557032"/>
              <a:gd name="connsiteX24025" fmla="*/ 2698640 w 4610101"/>
              <a:gd name="connsiteY24025" fmla="*/ 1143355 h 6557032"/>
              <a:gd name="connsiteX24026" fmla="*/ 2709573 w 4610101"/>
              <a:gd name="connsiteY24026" fmla="*/ 1141533 h 6557032"/>
              <a:gd name="connsiteX24027" fmla="*/ 2720506 w 4610101"/>
              <a:gd name="connsiteY24027" fmla="*/ 1165222 h 6557032"/>
              <a:gd name="connsiteX24028" fmla="*/ 2722328 w 4610101"/>
              <a:gd name="connsiteY24028" fmla="*/ 1159755 h 6557032"/>
              <a:gd name="connsiteX24029" fmla="*/ 2731439 w 4610101"/>
              <a:gd name="connsiteY24029" fmla="*/ 1159755 h 6557032"/>
              <a:gd name="connsiteX24030" fmla="*/ 2733261 w 4610101"/>
              <a:gd name="connsiteY24030" fmla="*/ 1165222 h 6557032"/>
              <a:gd name="connsiteX24031" fmla="*/ 2746016 w 4610101"/>
              <a:gd name="connsiteY24031" fmla="*/ 1157933 h 6557032"/>
              <a:gd name="connsiteX24032" fmla="*/ 2758772 w 4610101"/>
              <a:gd name="connsiteY24032" fmla="*/ 1172510 h 6557032"/>
              <a:gd name="connsiteX24033" fmla="*/ 2756950 w 4610101"/>
              <a:gd name="connsiteY24033" fmla="*/ 1147000 h 6557032"/>
              <a:gd name="connsiteX24034" fmla="*/ 2762416 w 4610101"/>
              <a:gd name="connsiteY24034" fmla="*/ 1145178 h 6557032"/>
              <a:gd name="connsiteX24035" fmla="*/ 2760594 w 4610101"/>
              <a:gd name="connsiteY24035" fmla="*/ 1137889 h 6557032"/>
              <a:gd name="connsiteX24036" fmla="*/ 2773349 w 4610101"/>
              <a:gd name="connsiteY24036" fmla="*/ 1147000 h 6557032"/>
              <a:gd name="connsiteX24037" fmla="*/ 2773349 w 4610101"/>
              <a:gd name="connsiteY24037" fmla="*/ 1132422 h 6557032"/>
              <a:gd name="connsiteX24038" fmla="*/ 2762416 w 4610101"/>
              <a:gd name="connsiteY24038" fmla="*/ 1130600 h 6557032"/>
              <a:gd name="connsiteX24039" fmla="*/ 2786104 w 4610101"/>
              <a:gd name="connsiteY24039" fmla="*/ 1108734 h 6557032"/>
              <a:gd name="connsiteX24040" fmla="*/ 2789749 w 4610101"/>
              <a:gd name="connsiteY24040" fmla="*/ 1116023 h 6557032"/>
              <a:gd name="connsiteX24041" fmla="*/ 2802049 w 4610101"/>
              <a:gd name="connsiteY24041" fmla="*/ 1097801 h 6557032"/>
              <a:gd name="connsiteX24042" fmla="*/ 2810650 w 4610101"/>
              <a:gd name="connsiteY24042" fmla="*/ 1087375 h 6557032"/>
              <a:gd name="connsiteX24043" fmla="*/ 2811615 w 4610101"/>
              <a:gd name="connsiteY24043" fmla="*/ 1090512 h 6557032"/>
              <a:gd name="connsiteX24044" fmla="*/ 2815942 w 4610101"/>
              <a:gd name="connsiteY24044" fmla="*/ 1086640 h 6557032"/>
              <a:gd name="connsiteX24045" fmla="*/ 2814223 w 4610101"/>
              <a:gd name="connsiteY24045" fmla="*/ 1083044 h 6557032"/>
              <a:gd name="connsiteX24046" fmla="*/ 2817081 w 4610101"/>
              <a:gd name="connsiteY24046" fmla="*/ 1079579 h 6557032"/>
              <a:gd name="connsiteX24047" fmla="*/ 2797037 w 4610101"/>
              <a:gd name="connsiteY24047" fmla="*/ 1046780 h 6557032"/>
              <a:gd name="connsiteX24048" fmla="*/ 2806148 w 4610101"/>
              <a:gd name="connsiteY24048" fmla="*/ 1052247 h 6557032"/>
              <a:gd name="connsiteX24049" fmla="*/ 2776993 w 4610101"/>
              <a:gd name="connsiteY24049" fmla="*/ 1035847 h 6557032"/>
              <a:gd name="connsiteX24050" fmla="*/ 2775172 w 4610101"/>
              <a:gd name="connsiteY24050" fmla="*/ 1045869 h 6557032"/>
              <a:gd name="connsiteX24051" fmla="*/ 2774134 w 4610101"/>
              <a:gd name="connsiteY24051" fmla="*/ 1051578 h 6557032"/>
              <a:gd name="connsiteX24052" fmla="*/ 2771755 w 4610101"/>
              <a:gd name="connsiteY24052" fmla="*/ 1045869 h 6557032"/>
              <a:gd name="connsiteX24053" fmla="*/ 2764238 w 4610101"/>
              <a:gd name="connsiteY24053" fmla="*/ 1043136 h 6557032"/>
              <a:gd name="connsiteX24054" fmla="*/ 2756950 w 4610101"/>
              <a:gd name="connsiteY24054" fmla="*/ 1050425 h 6557032"/>
              <a:gd name="connsiteX24055" fmla="*/ 2731439 w 4610101"/>
              <a:gd name="connsiteY24055" fmla="*/ 1055891 h 6557032"/>
              <a:gd name="connsiteX24056" fmla="*/ 2735084 w 4610101"/>
              <a:gd name="connsiteY24056" fmla="*/ 1048602 h 6557032"/>
              <a:gd name="connsiteX24057" fmla="*/ 2778816 w 4610101"/>
              <a:gd name="connsiteY24057" fmla="*/ 1028559 h 6557032"/>
              <a:gd name="connsiteX24058" fmla="*/ 2718684 w 4610101"/>
              <a:gd name="connsiteY24058" fmla="*/ 955672 h 6557032"/>
              <a:gd name="connsiteX24059" fmla="*/ 2716862 w 4610101"/>
              <a:gd name="connsiteY24059" fmla="*/ 964782 h 6557032"/>
              <a:gd name="connsiteX24060" fmla="*/ 2705929 w 4610101"/>
              <a:gd name="connsiteY24060" fmla="*/ 957494 h 6557032"/>
              <a:gd name="connsiteX24061" fmla="*/ 2704106 w 4610101"/>
              <a:gd name="connsiteY24061" fmla="*/ 966604 h 6557032"/>
              <a:gd name="connsiteX24062" fmla="*/ 2693174 w 4610101"/>
              <a:gd name="connsiteY24062" fmla="*/ 942916 h 6557032"/>
              <a:gd name="connsiteX24063" fmla="*/ 2687707 w 4610101"/>
              <a:gd name="connsiteY24063" fmla="*/ 950204 h 6557032"/>
              <a:gd name="connsiteX24064" fmla="*/ 2693174 w 4610101"/>
              <a:gd name="connsiteY24064" fmla="*/ 961138 h 6557032"/>
              <a:gd name="connsiteX24065" fmla="*/ 2678596 w 4610101"/>
              <a:gd name="connsiteY24065" fmla="*/ 961138 h 6557032"/>
              <a:gd name="connsiteX24066" fmla="*/ 2678596 w 4610101"/>
              <a:gd name="connsiteY24066" fmla="*/ 966604 h 6557032"/>
              <a:gd name="connsiteX24067" fmla="*/ 2671307 w 4610101"/>
              <a:gd name="connsiteY24067" fmla="*/ 964782 h 6557032"/>
              <a:gd name="connsiteX24068" fmla="*/ 2656730 w 4610101"/>
              <a:gd name="connsiteY24068" fmla="*/ 942916 h 6557032"/>
              <a:gd name="connsiteX24069" fmla="*/ 1204457 w 4610101"/>
              <a:gd name="connsiteY24069" fmla="*/ 942916 h 6557032"/>
              <a:gd name="connsiteX24070" fmla="*/ 1202636 w 4610101"/>
              <a:gd name="connsiteY24070" fmla="*/ 944738 h 6557032"/>
              <a:gd name="connsiteX24071" fmla="*/ 1200814 w 4610101"/>
              <a:gd name="connsiteY24071" fmla="*/ 944738 h 6557032"/>
              <a:gd name="connsiteX24072" fmla="*/ 1204457 w 4610101"/>
              <a:gd name="connsiteY24072" fmla="*/ 942916 h 6557032"/>
              <a:gd name="connsiteX24073" fmla="*/ 1204457 w 4610101"/>
              <a:gd name="connsiteY24073" fmla="*/ 942916 h 6557032"/>
              <a:gd name="connsiteX24074" fmla="*/ 1197169 w 4610101"/>
              <a:gd name="connsiteY24074" fmla="*/ 944738 h 6557032"/>
              <a:gd name="connsiteX24075" fmla="*/ 1198991 w 4610101"/>
              <a:gd name="connsiteY24075" fmla="*/ 948383 h 6557032"/>
              <a:gd name="connsiteX24076" fmla="*/ 1201724 w 4610101"/>
              <a:gd name="connsiteY24076" fmla="*/ 945649 h 6557032"/>
              <a:gd name="connsiteX24077" fmla="*/ 1202636 w 4610101"/>
              <a:gd name="connsiteY24077" fmla="*/ 944738 h 6557032"/>
              <a:gd name="connsiteX24078" fmla="*/ 1209925 w 4610101"/>
              <a:gd name="connsiteY24078" fmla="*/ 944738 h 6557032"/>
              <a:gd name="connsiteX24079" fmla="*/ 1204457 w 4610101"/>
              <a:gd name="connsiteY24079" fmla="*/ 942916 h 6557032"/>
              <a:gd name="connsiteX24080" fmla="*/ 849133 w 4610101"/>
              <a:gd name="connsiteY24080" fmla="*/ 942916 h 6557032"/>
              <a:gd name="connsiteX24081" fmla="*/ 852778 w 4610101"/>
              <a:gd name="connsiteY24081" fmla="*/ 944738 h 6557032"/>
              <a:gd name="connsiteX24082" fmla="*/ 849133 w 4610101"/>
              <a:gd name="connsiteY24082" fmla="*/ 942916 h 6557032"/>
              <a:gd name="connsiteX24083" fmla="*/ 840022 w 4610101"/>
              <a:gd name="connsiteY24083" fmla="*/ 942916 h 6557032"/>
              <a:gd name="connsiteX24084" fmla="*/ 844351 w 4610101"/>
              <a:gd name="connsiteY24084" fmla="*/ 945649 h 6557032"/>
              <a:gd name="connsiteX24085" fmla="*/ 844944 w 4610101"/>
              <a:gd name="connsiteY24085" fmla="*/ 946197 h 6557032"/>
              <a:gd name="connsiteX24086" fmla="*/ 674205 w 4610101"/>
              <a:gd name="connsiteY24086" fmla="*/ 942916 h 6557032"/>
              <a:gd name="connsiteX24087" fmla="*/ 677849 w 4610101"/>
              <a:gd name="connsiteY24087" fmla="*/ 946560 h 6557032"/>
              <a:gd name="connsiteX24088" fmla="*/ 674205 w 4610101"/>
              <a:gd name="connsiteY24088" fmla="*/ 942916 h 6557032"/>
              <a:gd name="connsiteX24089" fmla="*/ 670560 w 4610101"/>
              <a:gd name="connsiteY24089" fmla="*/ 942916 h 6557032"/>
              <a:gd name="connsiteX24090" fmla="*/ 670560 w 4610101"/>
              <a:gd name="connsiteY24090" fmla="*/ 953848 h 6557032"/>
              <a:gd name="connsiteX24091" fmla="*/ 670560 w 4610101"/>
              <a:gd name="connsiteY24091" fmla="*/ 942916 h 6557032"/>
              <a:gd name="connsiteX24092" fmla="*/ 548475 w 4610101"/>
              <a:gd name="connsiteY24092" fmla="*/ 942916 h 6557032"/>
              <a:gd name="connsiteX24093" fmla="*/ 553941 w 4610101"/>
              <a:gd name="connsiteY24093" fmla="*/ 946560 h 6557032"/>
              <a:gd name="connsiteX24094" fmla="*/ 548475 w 4610101"/>
              <a:gd name="connsiteY24094" fmla="*/ 942916 h 6557032"/>
              <a:gd name="connsiteX24095" fmla="*/ 502920 w 4610101"/>
              <a:gd name="connsiteY24095" fmla="*/ 942916 h 6557032"/>
              <a:gd name="connsiteX24096" fmla="*/ 512031 w 4610101"/>
              <a:gd name="connsiteY24096" fmla="*/ 950204 h 6557032"/>
              <a:gd name="connsiteX24097" fmla="*/ 510209 w 4610101"/>
              <a:gd name="connsiteY24097" fmla="*/ 942916 h 6557032"/>
              <a:gd name="connsiteX24098" fmla="*/ 502920 w 4610101"/>
              <a:gd name="connsiteY24098" fmla="*/ 942916 h 6557032"/>
              <a:gd name="connsiteX24099" fmla="*/ 497454 w 4610101"/>
              <a:gd name="connsiteY24099" fmla="*/ 942916 h 6557032"/>
              <a:gd name="connsiteX24100" fmla="*/ 495632 w 4610101"/>
              <a:gd name="connsiteY24100" fmla="*/ 946560 h 6557032"/>
              <a:gd name="connsiteX24101" fmla="*/ 502920 w 4610101"/>
              <a:gd name="connsiteY24101" fmla="*/ 948383 h 6557032"/>
              <a:gd name="connsiteX24102" fmla="*/ 497454 w 4610101"/>
              <a:gd name="connsiteY24102" fmla="*/ 942916 h 6557032"/>
              <a:gd name="connsiteX24103" fmla="*/ 402701 w 4610101"/>
              <a:gd name="connsiteY24103" fmla="*/ 942916 h 6557032"/>
              <a:gd name="connsiteX24104" fmla="*/ 409989 w 4610101"/>
              <a:gd name="connsiteY24104" fmla="*/ 946560 h 6557032"/>
              <a:gd name="connsiteX24105" fmla="*/ 402701 w 4610101"/>
              <a:gd name="connsiteY24105" fmla="*/ 942916 h 6557032"/>
              <a:gd name="connsiteX24106" fmla="*/ 397234 w 4610101"/>
              <a:gd name="connsiteY24106" fmla="*/ 942916 h 6557032"/>
              <a:gd name="connsiteX24107" fmla="*/ 395412 w 4610101"/>
              <a:gd name="connsiteY24107" fmla="*/ 946560 h 6557032"/>
              <a:gd name="connsiteX24108" fmla="*/ 400879 w 4610101"/>
              <a:gd name="connsiteY24108" fmla="*/ 946560 h 6557032"/>
              <a:gd name="connsiteX24109" fmla="*/ 397234 w 4610101"/>
              <a:gd name="connsiteY24109" fmla="*/ 942916 h 6557032"/>
              <a:gd name="connsiteX24110" fmla="*/ 762756 w 4610101"/>
              <a:gd name="connsiteY24110" fmla="*/ 942816 h 6557032"/>
              <a:gd name="connsiteX24111" fmla="*/ 761754 w 4610101"/>
              <a:gd name="connsiteY24111" fmla="*/ 943713 h 6557032"/>
              <a:gd name="connsiteX24112" fmla="*/ 760705 w 4610101"/>
              <a:gd name="connsiteY24112" fmla="*/ 943988 h 6557032"/>
              <a:gd name="connsiteX24113" fmla="*/ 1216529 w 4610101"/>
              <a:gd name="connsiteY24113" fmla="*/ 942005 h 6557032"/>
              <a:gd name="connsiteX24114" fmla="*/ 1211747 w 4610101"/>
              <a:gd name="connsiteY24114" fmla="*/ 946560 h 6557032"/>
              <a:gd name="connsiteX24115" fmla="*/ 1215390 w 4610101"/>
              <a:gd name="connsiteY24115" fmla="*/ 950204 h 6557032"/>
              <a:gd name="connsiteX24116" fmla="*/ 1212266 w 4610101"/>
              <a:gd name="connsiteY24116" fmla="*/ 950204 h 6557032"/>
              <a:gd name="connsiteX24117" fmla="*/ 1209925 w 4610101"/>
              <a:gd name="connsiteY24117" fmla="*/ 948383 h 6557032"/>
              <a:gd name="connsiteX24118" fmla="*/ 1200814 w 4610101"/>
              <a:gd name="connsiteY24118" fmla="*/ 950204 h 6557032"/>
              <a:gd name="connsiteX24119" fmla="*/ 1219036 w 4610101"/>
              <a:gd name="connsiteY24119" fmla="*/ 961138 h 6557032"/>
              <a:gd name="connsiteX24120" fmla="*/ 1220858 w 4610101"/>
              <a:gd name="connsiteY24120" fmla="*/ 957494 h 6557032"/>
              <a:gd name="connsiteX24121" fmla="*/ 1222679 w 4610101"/>
              <a:gd name="connsiteY24121" fmla="*/ 961138 h 6557032"/>
              <a:gd name="connsiteX24122" fmla="*/ 1244545 w 4610101"/>
              <a:gd name="connsiteY24122" fmla="*/ 957494 h 6557032"/>
              <a:gd name="connsiteX24123" fmla="*/ 1240901 w 4610101"/>
              <a:gd name="connsiteY24123" fmla="*/ 946560 h 6557032"/>
              <a:gd name="connsiteX24124" fmla="*/ 1224501 w 4610101"/>
              <a:gd name="connsiteY24124" fmla="*/ 942916 h 6557032"/>
              <a:gd name="connsiteX24125" fmla="*/ 1220858 w 4610101"/>
              <a:gd name="connsiteY24125" fmla="*/ 950204 h 6557032"/>
              <a:gd name="connsiteX24126" fmla="*/ 1224501 w 4610101"/>
              <a:gd name="connsiteY24126" fmla="*/ 948383 h 6557032"/>
              <a:gd name="connsiteX24127" fmla="*/ 1226323 w 4610101"/>
              <a:gd name="connsiteY24127" fmla="*/ 950204 h 6557032"/>
              <a:gd name="connsiteX24128" fmla="*/ 1218123 w 4610101"/>
              <a:gd name="connsiteY24128" fmla="*/ 954760 h 6557032"/>
              <a:gd name="connsiteX24129" fmla="*/ 1216625 w 4610101"/>
              <a:gd name="connsiteY24129" fmla="*/ 953595 h 6557032"/>
              <a:gd name="connsiteX24130" fmla="*/ 1219036 w 4610101"/>
              <a:gd name="connsiteY24130" fmla="*/ 953848 h 6557032"/>
              <a:gd name="connsiteX24131" fmla="*/ 1219036 w 4610101"/>
              <a:gd name="connsiteY24131" fmla="*/ 950204 h 6557032"/>
              <a:gd name="connsiteX24132" fmla="*/ 1215390 w 4610101"/>
              <a:gd name="connsiteY24132" fmla="*/ 950204 h 6557032"/>
              <a:gd name="connsiteX24133" fmla="*/ 1222679 w 4610101"/>
              <a:gd name="connsiteY24133" fmla="*/ 942916 h 6557032"/>
              <a:gd name="connsiteX24134" fmla="*/ 1216529 w 4610101"/>
              <a:gd name="connsiteY24134" fmla="*/ 942005 h 6557032"/>
              <a:gd name="connsiteX24135" fmla="*/ 2735084 w 4610101"/>
              <a:gd name="connsiteY24135" fmla="*/ 941094 h 6557032"/>
              <a:gd name="connsiteX24136" fmla="*/ 2744194 w 4610101"/>
              <a:gd name="connsiteY24136" fmla="*/ 952026 h 6557032"/>
              <a:gd name="connsiteX24137" fmla="*/ 2744194 w 4610101"/>
              <a:gd name="connsiteY24137" fmla="*/ 942916 h 6557032"/>
              <a:gd name="connsiteX24138" fmla="*/ 2735084 w 4610101"/>
              <a:gd name="connsiteY24138" fmla="*/ 941094 h 6557032"/>
              <a:gd name="connsiteX24139" fmla="*/ 2472690 w 4610101"/>
              <a:gd name="connsiteY24139" fmla="*/ 941094 h 6557032"/>
              <a:gd name="connsiteX24140" fmla="*/ 2467224 w 4610101"/>
              <a:gd name="connsiteY24140" fmla="*/ 948383 h 6557032"/>
              <a:gd name="connsiteX24141" fmla="*/ 2456291 w 4610101"/>
              <a:gd name="connsiteY24141" fmla="*/ 948383 h 6557032"/>
              <a:gd name="connsiteX24142" fmla="*/ 2445358 w 4610101"/>
              <a:gd name="connsiteY24142" fmla="*/ 957494 h 6557032"/>
              <a:gd name="connsiteX24143" fmla="*/ 2452647 w 4610101"/>
              <a:gd name="connsiteY24143" fmla="*/ 972071 h 6557032"/>
              <a:gd name="connsiteX24144" fmla="*/ 2478157 w 4610101"/>
              <a:gd name="connsiteY24144" fmla="*/ 955672 h 6557032"/>
              <a:gd name="connsiteX24145" fmla="*/ 2479979 w 4610101"/>
              <a:gd name="connsiteY24145" fmla="*/ 970249 h 6557032"/>
              <a:gd name="connsiteX24146" fmla="*/ 2483624 w 4610101"/>
              <a:gd name="connsiteY24146" fmla="*/ 955672 h 6557032"/>
              <a:gd name="connsiteX24147" fmla="*/ 2472690 w 4610101"/>
              <a:gd name="connsiteY24147" fmla="*/ 941094 h 6557032"/>
              <a:gd name="connsiteX24148" fmla="*/ 1353876 w 4610101"/>
              <a:gd name="connsiteY24148" fmla="*/ 941094 h 6557032"/>
              <a:gd name="connsiteX24149" fmla="*/ 1342942 w 4610101"/>
              <a:gd name="connsiteY24149" fmla="*/ 950204 h 6557032"/>
              <a:gd name="connsiteX24150" fmla="*/ 1353876 w 4610101"/>
              <a:gd name="connsiteY24150" fmla="*/ 941094 h 6557032"/>
              <a:gd name="connsiteX24151" fmla="*/ 1324721 w 4610101"/>
              <a:gd name="connsiteY24151" fmla="*/ 941094 h 6557032"/>
              <a:gd name="connsiteX24152" fmla="*/ 1315610 w 4610101"/>
              <a:gd name="connsiteY24152" fmla="*/ 942916 h 6557032"/>
              <a:gd name="connsiteX24153" fmla="*/ 1321077 w 4610101"/>
              <a:gd name="connsiteY24153" fmla="*/ 944738 h 6557032"/>
              <a:gd name="connsiteX24154" fmla="*/ 1324721 w 4610101"/>
              <a:gd name="connsiteY24154" fmla="*/ 941094 h 6557032"/>
              <a:gd name="connsiteX24155" fmla="*/ 876466 w 4610101"/>
              <a:gd name="connsiteY24155" fmla="*/ 941094 h 6557032"/>
              <a:gd name="connsiteX24156" fmla="*/ 871000 w 4610101"/>
              <a:gd name="connsiteY24156" fmla="*/ 942916 h 6557032"/>
              <a:gd name="connsiteX24157" fmla="*/ 874644 w 4610101"/>
              <a:gd name="connsiteY24157" fmla="*/ 948383 h 6557032"/>
              <a:gd name="connsiteX24158" fmla="*/ 876466 w 4610101"/>
              <a:gd name="connsiteY24158" fmla="*/ 941094 h 6557032"/>
              <a:gd name="connsiteX24159" fmla="*/ 787179 w 4610101"/>
              <a:gd name="connsiteY24159" fmla="*/ 941094 h 6557032"/>
              <a:gd name="connsiteX24160" fmla="*/ 790824 w 4610101"/>
              <a:gd name="connsiteY24160" fmla="*/ 944738 h 6557032"/>
              <a:gd name="connsiteX24161" fmla="*/ 787179 w 4610101"/>
              <a:gd name="connsiteY24161" fmla="*/ 941094 h 6557032"/>
              <a:gd name="connsiteX24162" fmla="*/ 750737 w 4610101"/>
              <a:gd name="connsiteY24162" fmla="*/ 941094 h 6557032"/>
              <a:gd name="connsiteX24163" fmla="*/ 737981 w 4610101"/>
              <a:gd name="connsiteY24163" fmla="*/ 950204 h 6557032"/>
              <a:gd name="connsiteX24164" fmla="*/ 750737 w 4610101"/>
              <a:gd name="connsiteY24164" fmla="*/ 941094 h 6557032"/>
              <a:gd name="connsiteX24165" fmla="*/ 2310289 w 4610101"/>
              <a:gd name="connsiteY24165" fmla="*/ 940638 h 6557032"/>
              <a:gd name="connsiteX24166" fmla="*/ 2305050 w 4610101"/>
              <a:gd name="connsiteY24166" fmla="*/ 942916 h 6557032"/>
              <a:gd name="connsiteX24167" fmla="*/ 2306873 w 4610101"/>
              <a:gd name="connsiteY24167" fmla="*/ 950204 h 6557032"/>
              <a:gd name="connsiteX24168" fmla="*/ 2314161 w 4610101"/>
              <a:gd name="connsiteY24168" fmla="*/ 941094 h 6557032"/>
              <a:gd name="connsiteX24169" fmla="*/ 2310289 w 4610101"/>
              <a:gd name="connsiteY24169" fmla="*/ 940638 h 6557032"/>
              <a:gd name="connsiteX24170" fmla="*/ 1210379 w 4610101"/>
              <a:gd name="connsiteY24170" fmla="*/ 940638 h 6557032"/>
              <a:gd name="connsiteX24171" fmla="*/ 1204457 w 4610101"/>
              <a:gd name="connsiteY24171" fmla="*/ 941094 h 6557032"/>
              <a:gd name="connsiteX24172" fmla="*/ 1213568 w 4610101"/>
              <a:gd name="connsiteY24172" fmla="*/ 942916 h 6557032"/>
              <a:gd name="connsiteX24173" fmla="*/ 1210379 w 4610101"/>
              <a:gd name="connsiteY24173" fmla="*/ 940638 h 6557032"/>
              <a:gd name="connsiteX24174" fmla="*/ 2213942 w 4610101"/>
              <a:gd name="connsiteY24174" fmla="*/ 939272 h 6557032"/>
              <a:gd name="connsiteX24175" fmla="*/ 2213346 w 4610101"/>
              <a:gd name="connsiteY24175" fmla="*/ 940265 h 6557032"/>
              <a:gd name="connsiteX24176" fmla="*/ 2213243 w 4610101"/>
              <a:gd name="connsiteY24176" fmla="*/ 939495 h 6557032"/>
              <a:gd name="connsiteX24177" fmla="*/ 723404 w 4610101"/>
              <a:gd name="connsiteY24177" fmla="*/ 939272 h 6557032"/>
              <a:gd name="connsiteX24178" fmla="*/ 725226 w 4610101"/>
              <a:gd name="connsiteY24178" fmla="*/ 944738 h 6557032"/>
              <a:gd name="connsiteX24179" fmla="*/ 705182 w 4610101"/>
              <a:gd name="connsiteY24179" fmla="*/ 953848 h 6557032"/>
              <a:gd name="connsiteX24180" fmla="*/ 721581 w 4610101"/>
              <a:gd name="connsiteY24180" fmla="*/ 952026 h 6557032"/>
              <a:gd name="connsiteX24181" fmla="*/ 723404 w 4610101"/>
              <a:gd name="connsiteY24181" fmla="*/ 939272 h 6557032"/>
              <a:gd name="connsiteX24182" fmla="*/ 317059 w 4610101"/>
              <a:gd name="connsiteY24182" fmla="*/ 939272 h 6557032"/>
              <a:gd name="connsiteX24183" fmla="*/ 329814 w 4610101"/>
              <a:gd name="connsiteY24183" fmla="*/ 944738 h 6557032"/>
              <a:gd name="connsiteX24184" fmla="*/ 324347 w 4610101"/>
              <a:gd name="connsiteY24184" fmla="*/ 939272 h 6557032"/>
              <a:gd name="connsiteX24185" fmla="*/ 317059 w 4610101"/>
              <a:gd name="connsiteY24185" fmla="*/ 939272 h 6557032"/>
              <a:gd name="connsiteX24186" fmla="*/ 260571 w 4610101"/>
              <a:gd name="connsiteY24186" fmla="*/ 939272 h 6557032"/>
              <a:gd name="connsiteX24187" fmla="*/ 275149 w 4610101"/>
              <a:gd name="connsiteY24187" fmla="*/ 948383 h 6557032"/>
              <a:gd name="connsiteX24188" fmla="*/ 260571 w 4610101"/>
              <a:gd name="connsiteY24188" fmla="*/ 939272 h 6557032"/>
              <a:gd name="connsiteX24189" fmla="*/ 213195 w 4610101"/>
              <a:gd name="connsiteY24189" fmla="*/ 939272 h 6557032"/>
              <a:gd name="connsiteX24190" fmla="*/ 225950 w 4610101"/>
              <a:gd name="connsiteY24190" fmla="*/ 955672 h 6557032"/>
              <a:gd name="connsiteX24191" fmla="*/ 224128 w 4610101"/>
              <a:gd name="connsiteY24191" fmla="*/ 950204 h 6557032"/>
              <a:gd name="connsiteX24192" fmla="*/ 235061 w 4610101"/>
              <a:gd name="connsiteY24192" fmla="*/ 959316 h 6557032"/>
              <a:gd name="connsiteX24193" fmla="*/ 213195 w 4610101"/>
              <a:gd name="connsiteY24193" fmla="*/ 939272 h 6557032"/>
              <a:gd name="connsiteX24194" fmla="*/ 767503 w 4610101"/>
              <a:gd name="connsiteY24194" fmla="*/ 938563 h 6557032"/>
              <a:gd name="connsiteX24195" fmla="*/ 768959 w 4610101"/>
              <a:gd name="connsiteY24195" fmla="*/ 939272 h 6557032"/>
              <a:gd name="connsiteX24196" fmla="*/ 762756 w 4610101"/>
              <a:gd name="connsiteY24196" fmla="*/ 942816 h 6557032"/>
              <a:gd name="connsiteX24197" fmla="*/ 2516423 w 4610101"/>
              <a:gd name="connsiteY24197" fmla="*/ 937450 h 6557032"/>
              <a:gd name="connsiteX24198" fmla="*/ 2516423 w 4610101"/>
              <a:gd name="connsiteY24198" fmla="*/ 944738 h 6557032"/>
              <a:gd name="connsiteX24199" fmla="*/ 2507312 w 4610101"/>
              <a:gd name="connsiteY24199" fmla="*/ 952026 h 6557032"/>
              <a:gd name="connsiteX24200" fmla="*/ 2516423 w 4610101"/>
              <a:gd name="connsiteY24200" fmla="*/ 944738 h 6557032"/>
              <a:gd name="connsiteX24201" fmla="*/ 2525534 w 4610101"/>
              <a:gd name="connsiteY24201" fmla="*/ 950204 h 6557032"/>
              <a:gd name="connsiteX24202" fmla="*/ 2516423 w 4610101"/>
              <a:gd name="connsiteY24202" fmla="*/ 937450 h 6557032"/>
              <a:gd name="connsiteX24203" fmla="*/ 2461757 w 4610101"/>
              <a:gd name="connsiteY24203" fmla="*/ 937450 h 6557032"/>
              <a:gd name="connsiteX24204" fmla="*/ 2459935 w 4610101"/>
              <a:gd name="connsiteY24204" fmla="*/ 944738 h 6557032"/>
              <a:gd name="connsiteX24205" fmla="*/ 2463580 w 4610101"/>
              <a:gd name="connsiteY24205" fmla="*/ 942916 h 6557032"/>
              <a:gd name="connsiteX24206" fmla="*/ 2461757 w 4610101"/>
              <a:gd name="connsiteY24206" fmla="*/ 937450 h 6557032"/>
              <a:gd name="connsiteX24207" fmla="*/ 2447180 w 4610101"/>
              <a:gd name="connsiteY24207" fmla="*/ 937450 h 6557032"/>
              <a:gd name="connsiteX24208" fmla="*/ 2443536 w 4610101"/>
              <a:gd name="connsiteY24208" fmla="*/ 950204 h 6557032"/>
              <a:gd name="connsiteX24209" fmla="*/ 2449002 w 4610101"/>
              <a:gd name="connsiteY24209" fmla="*/ 952026 h 6557032"/>
              <a:gd name="connsiteX24210" fmla="*/ 2447180 w 4610101"/>
              <a:gd name="connsiteY24210" fmla="*/ 937450 h 6557032"/>
              <a:gd name="connsiteX24211" fmla="*/ 1377564 w 4610101"/>
              <a:gd name="connsiteY24211" fmla="*/ 937450 h 6557032"/>
              <a:gd name="connsiteX24212" fmla="*/ 1375924 w 4610101"/>
              <a:gd name="connsiteY24212" fmla="*/ 939089 h 6557032"/>
              <a:gd name="connsiteX24213" fmla="*/ 1375971 w 4610101"/>
              <a:gd name="connsiteY24213" fmla="*/ 938588 h 6557032"/>
              <a:gd name="connsiteX24214" fmla="*/ 1377564 w 4610101"/>
              <a:gd name="connsiteY24214" fmla="*/ 937450 h 6557032"/>
              <a:gd name="connsiteX24215" fmla="*/ 1270056 w 4610101"/>
              <a:gd name="connsiteY24215" fmla="*/ 937450 h 6557032"/>
              <a:gd name="connsiteX24216" fmla="*/ 1260945 w 4610101"/>
              <a:gd name="connsiteY24216" fmla="*/ 946560 h 6557032"/>
              <a:gd name="connsiteX24217" fmla="*/ 1270056 w 4610101"/>
              <a:gd name="connsiteY24217" fmla="*/ 937450 h 6557032"/>
              <a:gd name="connsiteX24218" fmla="*/ 1193525 w 4610101"/>
              <a:gd name="connsiteY24218" fmla="*/ 937450 h 6557032"/>
              <a:gd name="connsiteX24219" fmla="*/ 1195346 w 4610101"/>
              <a:gd name="connsiteY24219" fmla="*/ 941094 h 6557032"/>
              <a:gd name="connsiteX24220" fmla="*/ 1198991 w 4610101"/>
              <a:gd name="connsiteY24220" fmla="*/ 939272 h 6557032"/>
              <a:gd name="connsiteX24221" fmla="*/ 1193525 w 4610101"/>
              <a:gd name="connsiteY24221" fmla="*/ 937450 h 6557032"/>
              <a:gd name="connsiteX24222" fmla="*/ 355324 w 4610101"/>
              <a:gd name="connsiteY24222" fmla="*/ 937450 h 6557032"/>
              <a:gd name="connsiteX24223" fmla="*/ 351680 w 4610101"/>
              <a:gd name="connsiteY24223" fmla="*/ 939272 h 6557032"/>
              <a:gd name="connsiteX24224" fmla="*/ 358969 w 4610101"/>
              <a:gd name="connsiteY24224" fmla="*/ 941094 h 6557032"/>
              <a:gd name="connsiteX24225" fmla="*/ 355324 w 4610101"/>
              <a:gd name="connsiteY24225" fmla="*/ 937450 h 6557032"/>
              <a:gd name="connsiteX24226" fmla="*/ 184040 w 4610101"/>
              <a:gd name="connsiteY24226" fmla="*/ 937450 h 6557032"/>
              <a:gd name="connsiteX24227" fmla="*/ 200439 w 4610101"/>
              <a:gd name="connsiteY24227" fmla="*/ 953848 h 6557032"/>
              <a:gd name="connsiteX24228" fmla="*/ 184040 w 4610101"/>
              <a:gd name="connsiteY24228" fmla="*/ 937450 h 6557032"/>
              <a:gd name="connsiteX24229" fmla="*/ 180396 w 4610101"/>
              <a:gd name="connsiteY24229" fmla="*/ 937450 h 6557032"/>
              <a:gd name="connsiteX24230" fmla="*/ 184040 w 4610101"/>
              <a:gd name="connsiteY24230" fmla="*/ 942916 h 6557032"/>
              <a:gd name="connsiteX24231" fmla="*/ 180396 w 4610101"/>
              <a:gd name="connsiteY24231" fmla="*/ 937450 h 6557032"/>
              <a:gd name="connsiteX24232" fmla="*/ 541869 w 4610101"/>
              <a:gd name="connsiteY24232" fmla="*/ 936994 h 6557032"/>
              <a:gd name="connsiteX24233" fmla="*/ 537542 w 4610101"/>
              <a:gd name="connsiteY24233" fmla="*/ 937450 h 6557032"/>
              <a:gd name="connsiteX24234" fmla="*/ 540504 w 4610101"/>
              <a:gd name="connsiteY24234" fmla="*/ 939727 h 6557032"/>
              <a:gd name="connsiteX24235" fmla="*/ 542266 w 4610101"/>
              <a:gd name="connsiteY24235" fmla="*/ 939541 h 6557032"/>
              <a:gd name="connsiteX24236" fmla="*/ 544830 w 4610101"/>
              <a:gd name="connsiteY24236" fmla="*/ 939272 h 6557032"/>
              <a:gd name="connsiteX24237" fmla="*/ 541869 w 4610101"/>
              <a:gd name="connsiteY24237" fmla="*/ 936994 h 6557032"/>
              <a:gd name="connsiteX24238" fmla="*/ 1072806 w 4610101"/>
              <a:gd name="connsiteY24238" fmla="*/ 935855 h 6557032"/>
              <a:gd name="connsiteX24239" fmla="*/ 1064151 w 4610101"/>
              <a:gd name="connsiteY24239" fmla="*/ 939272 h 6557032"/>
              <a:gd name="connsiteX24240" fmla="*/ 1078727 w 4610101"/>
              <a:gd name="connsiteY24240" fmla="*/ 944738 h 6557032"/>
              <a:gd name="connsiteX24241" fmla="*/ 1075083 w 4610101"/>
              <a:gd name="connsiteY24241" fmla="*/ 937450 h 6557032"/>
              <a:gd name="connsiteX24242" fmla="*/ 1075704 w 4610101"/>
              <a:gd name="connsiteY24242" fmla="*/ 937528 h 6557032"/>
              <a:gd name="connsiteX24243" fmla="*/ 1078727 w 4610101"/>
              <a:gd name="connsiteY24243" fmla="*/ 939272 h 6557032"/>
              <a:gd name="connsiteX24244" fmla="*/ 1076905 w 4610101"/>
              <a:gd name="connsiteY24244" fmla="*/ 937678 h 6557032"/>
              <a:gd name="connsiteX24245" fmla="*/ 1075704 w 4610101"/>
              <a:gd name="connsiteY24245" fmla="*/ 937528 h 6557032"/>
              <a:gd name="connsiteX24246" fmla="*/ 3426197 w 4610101"/>
              <a:gd name="connsiteY24246" fmla="*/ 935843 h 6557032"/>
              <a:gd name="connsiteX24247" fmla="*/ 3427510 w 4610101"/>
              <a:gd name="connsiteY24247" fmla="*/ 941094 h 6557032"/>
              <a:gd name="connsiteX24248" fmla="*/ 3423856 w 4610101"/>
              <a:gd name="connsiteY24248" fmla="*/ 936805 h 6557032"/>
              <a:gd name="connsiteX24249" fmla="*/ 3425232 w 4610101"/>
              <a:gd name="connsiteY24249" fmla="*/ 936538 h 6557032"/>
              <a:gd name="connsiteX24250" fmla="*/ 2179320 w 4610101"/>
              <a:gd name="connsiteY24250" fmla="*/ 935628 h 6557032"/>
              <a:gd name="connsiteX24251" fmla="*/ 2173854 w 4610101"/>
              <a:gd name="connsiteY24251" fmla="*/ 942916 h 6557032"/>
              <a:gd name="connsiteX24252" fmla="*/ 2192076 w 4610101"/>
              <a:gd name="connsiteY24252" fmla="*/ 948383 h 6557032"/>
              <a:gd name="connsiteX24253" fmla="*/ 2188431 w 4610101"/>
              <a:gd name="connsiteY24253" fmla="*/ 939272 h 6557032"/>
              <a:gd name="connsiteX24254" fmla="*/ 2181143 w 4610101"/>
              <a:gd name="connsiteY24254" fmla="*/ 941094 h 6557032"/>
              <a:gd name="connsiteX24255" fmla="*/ 2179320 w 4610101"/>
              <a:gd name="connsiteY24255" fmla="*/ 935628 h 6557032"/>
              <a:gd name="connsiteX24256" fmla="*/ 1260945 w 4610101"/>
              <a:gd name="connsiteY24256" fmla="*/ 935628 h 6557032"/>
              <a:gd name="connsiteX24257" fmla="*/ 1257300 w 4610101"/>
              <a:gd name="connsiteY24257" fmla="*/ 948383 h 6557032"/>
              <a:gd name="connsiteX24258" fmla="*/ 1260945 w 4610101"/>
              <a:gd name="connsiteY24258" fmla="*/ 935628 h 6557032"/>
              <a:gd name="connsiteX24259" fmla="*/ 1224501 w 4610101"/>
              <a:gd name="connsiteY24259" fmla="*/ 935628 h 6557032"/>
              <a:gd name="connsiteX24260" fmla="*/ 1240901 w 4610101"/>
              <a:gd name="connsiteY24260" fmla="*/ 942916 h 6557032"/>
              <a:gd name="connsiteX24261" fmla="*/ 1224501 w 4610101"/>
              <a:gd name="connsiteY24261" fmla="*/ 935628 h 6557032"/>
              <a:gd name="connsiteX24262" fmla="*/ 920198 w 4610101"/>
              <a:gd name="connsiteY24262" fmla="*/ 935628 h 6557032"/>
              <a:gd name="connsiteX24263" fmla="*/ 925666 w 4610101"/>
              <a:gd name="connsiteY24263" fmla="*/ 950204 h 6557032"/>
              <a:gd name="connsiteX24264" fmla="*/ 927487 w 4610101"/>
              <a:gd name="connsiteY24264" fmla="*/ 942916 h 6557032"/>
              <a:gd name="connsiteX24265" fmla="*/ 920198 w 4610101"/>
              <a:gd name="connsiteY24265" fmla="*/ 935628 h 6557032"/>
              <a:gd name="connsiteX24266" fmla="*/ 885577 w 4610101"/>
              <a:gd name="connsiteY24266" fmla="*/ 935628 h 6557032"/>
              <a:gd name="connsiteX24267" fmla="*/ 880111 w 4610101"/>
              <a:gd name="connsiteY24267" fmla="*/ 950204 h 6557032"/>
              <a:gd name="connsiteX24268" fmla="*/ 901976 w 4610101"/>
              <a:gd name="connsiteY24268" fmla="*/ 979360 h 6557032"/>
              <a:gd name="connsiteX24269" fmla="*/ 905621 w 4610101"/>
              <a:gd name="connsiteY24269" fmla="*/ 972071 h 6557032"/>
              <a:gd name="connsiteX24270" fmla="*/ 901976 w 4610101"/>
              <a:gd name="connsiteY24270" fmla="*/ 968427 h 6557032"/>
              <a:gd name="connsiteX24271" fmla="*/ 905621 w 4610101"/>
              <a:gd name="connsiteY24271" fmla="*/ 968427 h 6557032"/>
              <a:gd name="connsiteX24272" fmla="*/ 903799 w 4610101"/>
              <a:gd name="connsiteY24272" fmla="*/ 961138 h 6557032"/>
              <a:gd name="connsiteX24273" fmla="*/ 892866 w 4610101"/>
              <a:gd name="connsiteY24273" fmla="*/ 953848 h 6557032"/>
              <a:gd name="connsiteX24274" fmla="*/ 894688 w 4610101"/>
              <a:gd name="connsiteY24274" fmla="*/ 952026 h 6557032"/>
              <a:gd name="connsiteX24275" fmla="*/ 905621 w 4610101"/>
              <a:gd name="connsiteY24275" fmla="*/ 957494 h 6557032"/>
              <a:gd name="connsiteX24276" fmla="*/ 885577 w 4610101"/>
              <a:gd name="connsiteY24276" fmla="*/ 935628 h 6557032"/>
              <a:gd name="connsiteX24277" fmla="*/ 838200 w 4610101"/>
              <a:gd name="connsiteY24277" fmla="*/ 935628 h 6557032"/>
              <a:gd name="connsiteX24278" fmla="*/ 850956 w 4610101"/>
              <a:gd name="connsiteY24278" fmla="*/ 942916 h 6557032"/>
              <a:gd name="connsiteX24279" fmla="*/ 852778 w 4610101"/>
              <a:gd name="connsiteY24279" fmla="*/ 939272 h 6557032"/>
              <a:gd name="connsiteX24280" fmla="*/ 854600 w 4610101"/>
              <a:gd name="connsiteY24280" fmla="*/ 944738 h 6557032"/>
              <a:gd name="connsiteX24281" fmla="*/ 860066 w 4610101"/>
              <a:gd name="connsiteY24281" fmla="*/ 941094 h 6557032"/>
              <a:gd name="connsiteX24282" fmla="*/ 852778 w 4610101"/>
              <a:gd name="connsiteY24282" fmla="*/ 939272 h 6557032"/>
              <a:gd name="connsiteX24283" fmla="*/ 297015 w 4610101"/>
              <a:gd name="connsiteY24283" fmla="*/ 935628 h 6557032"/>
              <a:gd name="connsiteX24284" fmla="*/ 300204 w 4610101"/>
              <a:gd name="connsiteY24284" fmla="*/ 941777 h 6557032"/>
              <a:gd name="connsiteX24285" fmla="*/ 304366 w 4610101"/>
              <a:gd name="connsiteY24285" fmla="*/ 945139 h 6557032"/>
              <a:gd name="connsiteX24286" fmla="*/ 304987 w 4610101"/>
              <a:gd name="connsiteY24286" fmla="*/ 949066 h 6557032"/>
              <a:gd name="connsiteX24287" fmla="*/ 309771 w 4610101"/>
              <a:gd name="connsiteY24287" fmla="*/ 952026 h 6557032"/>
              <a:gd name="connsiteX24288" fmla="*/ 304970 w 4610101"/>
              <a:gd name="connsiteY24288" fmla="*/ 945627 h 6557032"/>
              <a:gd name="connsiteX24289" fmla="*/ 306126 w 4610101"/>
              <a:gd name="connsiteY24289" fmla="*/ 946560 h 6557032"/>
              <a:gd name="connsiteX24290" fmla="*/ 297015 w 4610101"/>
              <a:gd name="connsiteY24290" fmla="*/ 935628 h 6557032"/>
              <a:gd name="connsiteX24291" fmla="*/ 501782 w 4610101"/>
              <a:gd name="connsiteY24291" fmla="*/ 935172 h 6557032"/>
              <a:gd name="connsiteX24292" fmla="*/ 495632 w 4610101"/>
              <a:gd name="connsiteY24292" fmla="*/ 935628 h 6557032"/>
              <a:gd name="connsiteX24293" fmla="*/ 506565 w 4610101"/>
              <a:gd name="connsiteY24293" fmla="*/ 937450 h 6557032"/>
              <a:gd name="connsiteX24294" fmla="*/ 501782 w 4610101"/>
              <a:gd name="connsiteY24294" fmla="*/ 935172 h 6557032"/>
              <a:gd name="connsiteX24295" fmla="*/ 760530 w 4610101"/>
              <a:gd name="connsiteY24295" fmla="*/ 935171 h 6557032"/>
              <a:gd name="connsiteX24296" fmla="*/ 750737 w 4610101"/>
              <a:gd name="connsiteY24296" fmla="*/ 939272 h 6557032"/>
              <a:gd name="connsiteX24297" fmla="*/ 752786 w 4610101"/>
              <a:gd name="connsiteY24297" fmla="*/ 942232 h 6557032"/>
              <a:gd name="connsiteX24298" fmla="*/ 755291 w 4610101"/>
              <a:gd name="connsiteY24298" fmla="*/ 945405 h 6557032"/>
              <a:gd name="connsiteX24299" fmla="*/ 749141 w 4610101"/>
              <a:gd name="connsiteY24299" fmla="*/ 947016 h 6557032"/>
              <a:gd name="connsiteX24300" fmla="*/ 734336 w 4610101"/>
              <a:gd name="connsiteY24300" fmla="*/ 961138 h 6557032"/>
              <a:gd name="connsiteX24301" fmla="*/ 750737 w 4610101"/>
              <a:gd name="connsiteY24301" fmla="*/ 962960 h 6557032"/>
              <a:gd name="connsiteX24302" fmla="*/ 754380 w 4610101"/>
              <a:gd name="connsiteY24302" fmla="*/ 959316 h 6557032"/>
              <a:gd name="connsiteX24303" fmla="*/ 790824 w 4610101"/>
              <a:gd name="connsiteY24303" fmla="*/ 968427 h 6557032"/>
              <a:gd name="connsiteX24304" fmla="*/ 781713 w 4610101"/>
              <a:gd name="connsiteY24304" fmla="*/ 946560 h 6557032"/>
              <a:gd name="connsiteX24305" fmla="*/ 783535 w 4610101"/>
              <a:gd name="connsiteY24305" fmla="*/ 948383 h 6557032"/>
              <a:gd name="connsiteX24306" fmla="*/ 770781 w 4610101"/>
              <a:gd name="connsiteY24306" fmla="*/ 935628 h 6557032"/>
              <a:gd name="connsiteX24307" fmla="*/ 767503 w 4610101"/>
              <a:gd name="connsiteY24307" fmla="*/ 938563 h 6557032"/>
              <a:gd name="connsiteX24308" fmla="*/ 2336027 w 4610101"/>
              <a:gd name="connsiteY24308" fmla="*/ 933804 h 6557032"/>
              <a:gd name="connsiteX24309" fmla="*/ 2334205 w 4610101"/>
              <a:gd name="connsiteY24309" fmla="*/ 955672 h 6557032"/>
              <a:gd name="connsiteX24310" fmla="*/ 2339672 w 4610101"/>
              <a:gd name="connsiteY24310" fmla="*/ 959316 h 6557032"/>
              <a:gd name="connsiteX24311" fmla="*/ 2328739 w 4610101"/>
              <a:gd name="connsiteY24311" fmla="*/ 962960 h 6557032"/>
              <a:gd name="connsiteX24312" fmla="*/ 2326916 w 4610101"/>
              <a:gd name="connsiteY24312" fmla="*/ 948383 h 6557032"/>
              <a:gd name="connsiteX24313" fmla="*/ 2321450 w 4610101"/>
              <a:gd name="connsiteY24313" fmla="*/ 948383 h 6557032"/>
              <a:gd name="connsiteX24314" fmla="*/ 2326916 w 4610101"/>
              <a:gd name="connsiteY24314" fmla="*/ 952026 h 6557032"/>
              <a:gd name="connsiteX24315" fmla="*/ 2323272 w 4610101"/>
              <a:gd name="connsiteY24315" fmla="*/ 955672 h 6557032"/>
              <a:gd name="connsiteX24316" fmla="*/ 2319628 w 4610101"/>
              <a:gd name="connsiteY24316" fmla="*/ 950204 h 6557032"/>
              <a:gd name="connsiteX24317" fmla="*/ 2314161 w 4610101"/>
              <a:gd name="connsiteY24317" fmla="*/ 950204 h 6557032"/>
              <a:gd name="connsiteX24318" fmla="*/ 2310517 w 4610101"/>
              <a:gd name="connsiteY24318" fmla="*/ 962960 h 6557032"/>
              <a:gd name="connsiteX24319" fmla="*/ 2314161 w 4610101"/>
              <a:gd name="connsiteY24319" fmla="*/ 959316 h 6557032"/>
              <a:gd name="connsiteX24320" fmla="*/ 2317806 w 4610101"/>
              <a:gd name="connsiteY24320" fmla="*/ 964782 h 6557032"/>
              <a:gd name="connsiteX24321" fmla="*/ 2312339 w 4610101"/>
              <a:gd name="connsiteY24321" fmla="*/ 966604 h 6557032"/>
              <a:gd name="connsiteX24322" fmla="*/ 2321450 w 4610101"/>
              <a:gd name="connsiteY24322" fmla="*/ 973893 h 6557032"/>
              <a:gd name="connsiteX24323" fmla="*/ 2323272 w 4610101"/>
              <a:gd name="connsiteY24323" fmla="*/ 962960 h 6557032"/>
              <a:gd name="connsiteX24324" fmla="*/ 2319628 w 4610101"/>
              <a:gd name="connsiteY24324" fmla="*/ 962960 h 6557032"/>
              <a:gd name="connsiteX24325" fmla="*/ 2323272 w 4610101"/>
              <a:gd name="connsiteY24325" fmla="*/ 955672 h 6557032"/>
              <a:gd name="connsiteX24326" fmla="*/ 2333266 w 4610101"/>
              <a:gd name="connsiteY24326" fmla="*/ 972071 h 6557032"/>
              <a:gd name="connsiteX24327" fmla="*/ 2336158 w 4610101"/>
              <a:gd name="connsiteY24327" fmla="*/ 971546 h 6557032"/>
              <a:gd name="connsiteX24328" fmla="*/ 2336027 w 4610101"/>
              <a:gd name="connsiteY24328" fmla="*/ 972071 h 6557032"/>
              <a:gd name="connsiteX24329" fmla="*/ 2336640 w 4610101"/>
              <a:gd name="connsiteY24329" fmla="*/ 971459 h 6557032"/>
              <a:gd name="connsiteX24330" fmla="*/ 2343316 w 4610101"/>
              <a:gd name="connsiteY24330" fmla="*/ 970249 h 6557032"/>
              <a:gd name="connsiteX24331" fmla="*/ 2341521 w 4610101"/>
              <a:gd name="connsiteY24331" fmla="*/ 969351 h 6557032"/>
              <a:gd name="connsiteX24332" fmla="*/ 2341608 w 4610101"/>
              <a:gd name="connsiteY24332" fmla="*/ 966434 h 6557032"/>
              <a:gd name="connsiteX24333" fmla="*/ 2348782 w 4610101"/>
              <a:gd name="connsiteY24333" fmla="*/ 972071 h 6557032"/>
              <a:gd name="connsiteX24334" fmla="*/ 2336027 w 4610101"/>
              <a:gd name="connsiteY24334" fmla="*/ 933804 h 6557032"/>
              <a:gd name="connsiteX24335" fmla="*/ 2155632 w 4610101"/>
              <a:gd name="connsiteY24335" fmla="*/ 933804 h 6557032"/>
              <a:gd name="connsiteX24336" fmla="*/ 2164743 w 4610101"/>
              <a:gd name="connsiteY24336" fmla="*/ 933804 h 6557032"/>
              <a:gd name="connsiteX24337" fmla="*/ 2155632 w 4610101"/>
              <a:gd name="connsiteY24337" fmla="*/ 933804 h 6557032"/>
              <a:gd name="connsiteX24338" fmla="*/ 750737 w 4610101"/>
              <a:gd name="connsiteY24338" fmla="*/ 933804 h 6557032"/>
              <a:gd name="connsiteX24339" fmla="*/ 748914 w 4610101"/>
              <a:gd name="connsiteY24339" fmla="*/ 935628 h 6557032"/>
              <a:gd name="connsiteX24340" fmla="*/ 754380 w 4610101"/>
              <a:gd name="connsiteY24340" fmla="*/ 935628 h 6557032"/>
              <a:gd name="connsiteX24341" fmla="*/ 750737 w 4610101"/>
              <a:gd name="connsiteY24341" fmla="*/ 933804 h 6557032"/>
              <a:gd name="connsiteX24342" fmla="*/ 462832 w 4610101"/>
              <a:gd name="connsiteY24342" fmla="*/ 933804 h 6557032"/>
              <a:gd name="connsiteX24343" fmla="*/ 457367 w 4610101"/>
              <a:gd name="connsiteY24343" fmla="*/ 935628 h 6557032"/>
              <a:gd name="connsiteX24344" fmla="*/ 462832 w 4610101"/>
              <a:gd name="connsiteY24344" fmla="*/ 933804 h 6557032"/>
              <a:gd name="connsiteX24345" fmla="*/ 171285 w 4610101"/>
              <a:gd name="connsiteY24345" fmla="*/ 933804 h 6557032"/>
              <a:gd name="connsiteX24346" fmla="*/ 178573 w 4610101"/>
              <a:gd name="connsiteY24346" fmla="*/ 939272 h 6557032"/>
              <a:gd name="connsiteX24347" fmla="*/ 189506 w 4610101"/>
              <a:gd name="connsiteY24347" fmla="*/ 955672 h 6557032"/>
              <a:gd name="connsiteX24348" fmla="*/ 178573 w 4610101"/>
              <a:gd name="connsiteY24348" fmla="*/ 939272 h 6557032"/>
              <a:gd name="connsiteX24349" fmla="*/ 176751 w 4610101"/>
              <a:gd name="connsiteY24349" fmla="*/ 935628 h 6557032"/>
              <a:gd name="connsiteX24350" fmla="*/ 171285 w 4610101"/>
              <a:gd name="connsiteY24350" fmla="*/ 933804 h 6557032"/>
              <a:gd name="connsiteX24351" fmla="*/ 486522 w 4610101"/>
              <a:gd name="connsiteY24351" fmla="*/ 933351 h 6557032"/>
              <a:gd name="connsiteX24352" fmla="*/ 488343 w 4610101"/>
              <a:gd name="connsiteY24352" fmla="*/ 935628 h 6557032"/>
              <a:gd name="connsiteX24353" fmla="*/ 487350 w 4610101"/>
              <a:gd name="connsiteY24353" fmla="*/ 935628 h 6557032"/>
              <a:gd name="connsiteX24354" fmla="*/ 333037 w 4610101"/>
              <a:gd name="connsiteY24354" fmla="*/ 932683 h 6557032"/>
              <a:gd name="connsiteX24355" fmla="*/ 335280 w 4610101"/>
              <a:gd name="connsiteY24355" fmla="*/ 933805 h 6557032"/>
              <a:gd name="connsiteX24356" fmla="*/ 334141 w 4610101"/>
              <a:gd name="connsiteY24356" fmla="*/ 934033 h 6557032"/>
              <a:gd name="connsiteX24357" fmla="*/ 1080711 w 4610101"/>
              <a:gd name="connsiteY24357" fmla="*/ 932506 h 6557032"/>
              <a:gd name="connsiteX24358" fmla="*/ 1080549 w 4610101"/>
              <a:gd name="connsiteY24358" fmla="*/ 933804 h 6557032"/>
              <a:gd name="connsiteX24359" fmla="*/ 1079996 w 4610101"/>
              <a:gd name="connsiteY24359" fmla="*/ 933068 h 6557032"/>
              <a:gd name="connsiteX24360" fmla="*/ 1284633 w 4610101"/>
              <a:gd name="connsiteY24360" fmla="*/ 931983 h 6557032"/>
              <a:gd name="connsiteX24361" fmla="*/ 1277344 w 4610101"/>
              <a:gd name="connsiteY24361" fmla="*/ 937450 h 6557032"/>
              <a:gd name="connsiteX24362" fmla="*/ 1284633 w 4610101"/>
              <a:gd name="connsiteY24362" fmla="*/ 931983 h 6557032"/>
              <a:gd name="connsiteX24363" fmla="*/ 368079 w 4610101"/>
              <a:gd name="connsiteY24363" fmla="*/ 931983 h 6557032"/>
              <a:gd name="connsiteX24364" fmla="*/ 388123 w 4610101"/>
              <a:gd name="connsiteY24364" fmla="*/ 941094 h 6557032"/>
              <a:gd name="connsiteX24365" fmla="*/ 368079 w 4610101"/>
              <a:gd name="connsiteY24365" fmla="*/ 931983 h 6557032"/>
              <a:gd name="connsiteX24366" fmla="*/ 313414 w 4610101"/>
              <a:gd name="connsiteY24366" fmla="*/ 931983 h 6557032"/>
              <a:gd name="connsiteX24367" fmla="*/ 320703 w 4610101"/>
              <a:gd name="connsiteY24367" fmla="*/ 937450 h 6557032"/>
              <a:gd name="connsiteX24368" fmla="*/ 313414 w 4610101"/>
              <a:gd name="connsiteY24368" fmla="*/ 931983 h 6557032"/>
              <a:gd name="connsiteX24369" fmla="*/ 287904 w 4610101"/>
              <a:gd name="connsiteY24369" fmla="*/ 931983 h 6557032"/>
              <a:gd name="connsiteX24370" fmla="*/ 295193 w 4610101"/>
              <a:gd name="connsiteY24370" fmla="*/ 941094 h 6557032"/>
              <a:gd name="connsiteX24371" fmla="*/ 287904 w 4610101"/>
              <a:gd name="connsiteY24371" fmla="*/ 931983 h 6557032"/>
              <a:gd name="connsiteX24372" fmla="*/ 3095874 w 4610101"/>
              <a:gd name="connsiteY24372" fmla="*/ 930160 h 6557032"/>
              <a:gd name="connsiteX24373" fmla="*/ 3083119 w 4610101"/>
              <a:gd name="connsiteY24373" fmla="*/ 952026 h 6557032"/>
              <a:gd name="connsiteX24374" fmla="*/ 3094052 w 4610101"/>
              <a:gd name="connsiteY24374" fmla="*/ 942916 h 6557032"/>
              <a:gd name="connsiteX24375" fmla="*/ 3103163 w 4610101"/>
              <a:gd name="connsiteY24375" fmla="*/ 941094 h 6557032"/>
              <a:gd name="connsiteX24376" fmla="*/ 3095874 w 4610101"/>
              <a:gd name="connsiteY24376" fmla="*/ 930160 h 6557032"/>
              <a:gd name="connsiteX24377" fmla="*/ 2461757 w 4610101"/>
              <a:gd name="connsiteY24377" fmla="*/ 930160 h 6557032"/>
              <a:gd name="connsiteX24378" fmla="*/ 2456291 w 4610101"/>
              <a:gd name="connsiteY24378" fmla="*/ 939272 h 6557032"/>
              <a:gd name="connsiteX24379" fmla="*/ 2461757 w 4610101"/>
              <a:gd name="connsiteY24379" fmla="*/ 930160 h 6557032"/>
              <a:gd name="connsiteX24380" fmla="*/ 1326543 w 4610101"/>
              <a:gd name="connsiteY24380" fmla="*/ 930160 h 6557032"/>
              <a:gd name="connsiteX24381" fmla="*/ 1321077 w 4610101"/>
              <a:gd name="connsiteY24381" fmla="*/ 937450 h 6557032"/>
              <a:gd name="connsiteX24382" fmla="*/ 1326543 w 4610101"/>
              <a:gd name="connsiteY24382" fmla="*/ 930160 h 6557032"/>
              <a:gd name="connsiteX24383" fmla="*/ 1240901 w 4610101"/>
              <a:gd name="connsiteY24383" fmla="*/ 930160 h 6557032"/>
              <a:gd name="connsiteX24384" fmla="*/ 1231790 w 4610101"/>
              <a:gd name="connsiteY24384" fmla="*/ 933804 h 6557032"/>
              <a:gd name="connsiteX24385" fmla="*/ 1240901 w 4610101"/>
              <a:gd name="connsiteY24385" fmla="*/ 935628 h 6557032"/>
              <a:gd name="connsiteX24386" fmla="*/ 1240901 w 4610101"/>
              <a:gd name="connsiteY24386" fmla="*/ 930160 h 6557032"/>
              <a:gd name="connsiteX24387" fmla="*/ 880111 w 4610101"/>
              <a:gd name="connsiteY24387" fmla="*/ 930160 h 6557032"/>
              <a:gd name="connsiteX24388" fmla="*/ 880111 w 4610101"/>
              <a:gd name="connsiteY24388" fmla="*/ 935628 h 6557032"/>
              <a:gd name="connsiteX24389" fmla="*/ 883755 w 4610101"/>
              <a:gd name="connsiteY24389" fmla="*/ 933804 h 6557032"/>
              <a:gd name="connsiteX24390" fmla="*/ 880111 w 4610101"/>
              <a:gd name="connsiteY24390" fmla="*/ 930160 h 6557032"/>
              <a:gd name="connsiteX24391" fmla="*/ 663272 w 4610101"/>
              <a:gd name="connsiteY24391" fmla="*/ 930160 h 6557032"/>
              <a:gd name="connsiteX24392" fmla="*/ 650516 w 4610101"/>
              <a:gd name="connsiteY24392" fmla="*/ 939272 h 6557032"/>
              <a:gd name="connsiteX24393" fmla="*/ 663272 w 4610101"/>
              <a:gd name="connsiteY24393" fmla="*/ 930160 h 6557032"/>
              <a:gd name="connsiteX24394" fmla="*/ 313414 w 4610101"/>
              <a:gd name="connsiteY24394" fmla="*/ 930160 h 6557032"/>
              <a:gd name="connsiteX24395" fmla="*/ 329814 w 4610101"/>
              <a:gd name="connsiteY24395" fmla="*/ 937450 h 6557032"/>
              <a:gd name="connsiteX24396" fmla="*/ 313414 w 4610101"/>
              <a:gd name="connsiteY24396" fmla="*/ 930160 h 6557032"/>
              <a:gd name="connsiteX24397" fmla="*/ 163996 w 4610101"/>
              <a:gd name="connsiteY24397" fmla="*/ 930160 h 6557032"/>
              <a:gd name="connsiteX24398" fmla="*/ 182218 w 4610101"/>
              <a:gd name="connsiteY24398" fmla="*/ 955672 h 6557032"/>
              <a:gd name="connsiteX24399" fmla="*/ 163996 w 4610101"/>
              <a:gd name="connsiteY24399" fmla="*/ 930160 h 6557032"/>
              <a:gd name="connsiteX24400" fmla="*/ 1167558 w 4610101"/>
              <a:gd name="connsiteY24400" fmla="*/ 929022 h 6557032"/>
              <a:gd name="connsiteX24401" fmla="*/ 1146148 w 4610101"/>
              <a:gd name="connsiteY24401" fmla="*/ 930160 h 6557032"/>
              <a:gd name="connsiteX24402" fmla="*/ 1147970 w 4610101"/>
              <a:gd name="connsiteY24402" fmla="*/ 933804 h 6557032"/>
              <a:gd name="connsiteX24403" fmla="*/ 1126104 w 4610101"/>
              <a:gd name="connsiteY24403" fmla="*/ 941094 h 6557032"/>
              <a:gd name="connsiteX24404" fmla="*/ 1127926 w 4610101"/>
              <a:gd name="connsiteY24404" fmla="*/ 950204 h 6557032"/>
              <a:gd name="connsiteX24405" fmla="*/ 1168014 w 4610101"/>
              <a:gd name="connsiteY24405" fmla="*/ 950204 h 6557032"/>
              <a:gd name="connsiteX24406" fmla="*/ 1169836 w 4610101"/>
              <a:gd name="connsiteY24406" fmla="*/ 944738 h 6557032"/>
              <a:gd name="connsiteX24407" fmla="*/ 1173481 w 4610101"/>
              <a:gd name="connsiteY24407" fmla="*/ 946560 h 6557032"/>
              <a:gd name="connsiteX24408" fmla="*/ 1177125 w 4610101"/>
              <a:gd name="connsiteY24408" fmla="*/ 942916 h 6557032"/>
              <a:gd name="connsiteX24409" fmla="*/ 1173481 w 4610101"/>
              <a:gd name="connsiteY24409" fmla="*/ 948383 h 6557032"/>
              <a:gd name="connsiteX24410" fmla="*/ 1180769 w 4610101"/>
              <a:gd name="connsiteY24410" fmla="*/ 944738 h 6557032"/>
              <a:gd name="connsiteX24411" fmla="*/ 1186236 w 4610101"/>
              <a:gd name="connsiteY24411" fmla="*/ 942916 h 6557032"/>
              <a:gd name="connsiteX24412" fmla="*/ 1188058 w 4610101"/>
              <a:gd name="connsiteY24412" fmla="*/ 944738 h 6557032"/>
              <a:gd name="connsiteX24413" fmla="*/ 1191703 w 4610101"/>
              <a:gd name="connsiteY24413" fmla="*/ 942916 h 6557032"/>
              <a:gd name="connsiteX24414" fmla="*/ 1186236 w 4610101"/>
              <a:gd name="connsiteY24414" fmla="*/ 937450 h 6557032"/>
              <a:gd name="connsiteX24415" fmla="*/ 1167558 w 4610101"/>
              <a:gd name="connsiteY24415" fmla="*/ 929022 h 6557032"/>
              <a:gd name="connsiteX24416" fmla="*/ 2689529 w 4610101"/>
              <a:gd name="connsiteY24416" fmla="*/ 928339 h 6557032"/>
              <a:gd name="connsiteX24417" fmla="*/ 2694996 w 4610101"/>
              <a:gd name="connsiteY24417" fmla="*/ 937450 h 6557032"/>
              <a:gd name="connsiteX24418" fmla="*/ 2689529 w 4610101"/>
              <a:gd name="connsiteY24418" fmla="*/ 928339 h 6557032"/>
              <a:gd name="connsiteX24419" fmla="*/ 1264589 w 4610101"/>
              <a:gd name="connsiteY24419" fmla="*/ 928339 h 6557032"/>
              <a:gd name="connsiteX24420" fmla="*/ 1264589 w 4610101"/>
              <a:gd name="connsiteY24420" fmla="*/ 935628 h 6557032"/>
              <a:gd name="connsiteX24421" fmla="*/ 1268233 w 4610101"/>
              <a:gd name="connsiteY24421" fmla="*/ 933804 h 6557032"/>
              <a:gd name="connsiteX24422" fmla="*/ 1266411 w 4610101"/>
              <a:gd name="connsiteY24422" fmla="*/ 928339 h 6557032"/>
              <a:gd name="connsiteX24423" fmla="*/ 1264589 w 4610101"/>
              <a:gd name="connsiteY24423" fmla="*/ 928339 h 6557032"/>
              <a:gd name="connsiteX24424" fmla="*/ 1204457 w 4610101"/>
              <a:gd name="connsiteY24424" fmla="*/ 928339 h 6557032"/>
              <a:gd name="connsiteX24425" fmla="*/ 1204779 w 4610101"/>
              <a:gd name="connsiteY24425" fmla="*/ 928339 h 6557032"/>
              <a:gd name="connsiteX24426" fmla="*/ 1204408 w 4610101"/>
              <a:gd name="connsiteY24426" fmla="*/ 928435 h 6557032"/>
              <a:gd name="connsiteX24427" fmla="*/ 956642 w 4610101"/>
              <a:gd name="connsiteY24427" fmla="*/ 928339 h 6557032"/>
              <a:gd name="connsiteX24428" fmla="*/ 952086 w 4610101"/>
              <a:gd name="connsiteY24428" fmla="*/ 944055 h 6557032"/>
              <a:gd name="connsiteX24429" fmla="*/ 952927 w 4610101"/>
              <a:gd name="connsiteY24429" fmla="*/ 959824 h 6557032"/>
              <a:gd name="connsiteX24430" fmla="*/ 951175 w 4610101"/>
              <a:gd name="connsiteY24430" fmla="*/ 961138 h 6557032"/>
              <a:gd name="connsiteX24431" fmla="*/ 958464 w 4610101"/>
              <a:gd name="connsiteY24431" fmla="*/ 970249 h 6557032"/>
              <a:gd name="connsiteX24432" fmla="*/ 958464 w 4610101"/>
              <a:gd name="connsiteY24432" fmla="*/ 955672 h 6557032"/>
              <a:gd name="connsiteX24433" fmla="*/ 958460 w 4610101"/>
              <a:gd name="connsiteY24433" fmla="*/ 955675 h 6557032"/>
              <a:gd name="connsiteX24434" fmla="*/ 960286 w 4610101"/>
              <a:gd name="connsiteY24434" fmla="*/ 953848 h 6557032"/>
              <a:gd name="connsiteX24435" fmla="*/ 956642 w 4610101"/>
              <a:gd name="connsiteY24435" fmla="*/ 928339 h 6557032"/>
              <a:gd name="connsiteX24436" fmla="*/ 747092 w 4610101"/>
              <a:gd name="connsiteY24436" fmla="*/ 928339 h 6557032"/>
              <a:gd name="connsiteX24437" fmla="*/ 737981 w 4610101"/>
              <a:gd name="connsiteY24437" fmla="*/ 930160 h 6557032"/>
              <a:gd name="connsiteX24438" fmla="*/ 739803 w 4610101"/>
              <a:gd name="connsiteY24438" fmla="*/ 931983 h 6557032"/>
              <a:gd name="connsiteX24439" fmla="*/ 727048 w 4610101"/>
              <a:gd name="connsiteY24439" fmla="*/ 939272 h 6557032"/>
              <a:gd name="connsiteX24440" fmla="*/ 730692 w 4610101"/>
              <a:gd name="connsiteY24440" fmla="*/ 952026 h 6557032"/>
              <a:gd name="connsiteX24441" fmla="*/ 736159 w 4610101"/>
              <a:gd name="connsiteY24441" fmla="*/ 942916 h 6557032"/>
              <a:gd name="connsiteX24442" fmla="*/ 745269 w 4610101"/>
              <a:gd name="connsiteY24442" fmla="*/ 935628 h 6557032"/>
              <a:gd name="connsiteX24443" fmla="*/ 741626 w 4610101"/>
              <a:gd name="connsiteY24443" fmla="*/ 930160 h 6557032"/>
              <a:gd name="connsiteX24444" fmla="*/ 747092 w 4610101"/>
              <a:gd name="connsiteY24444" fmla="*/ 928339 h 6557032"/>
              <a:gd name="connsiteX24445" fmla="*/ 428211 w 4610101"/>
              <a:gd name="connsiteY24445" fmla="*/ 928339 h 6557032"/>
              <a:gd name="connsiteX24446" fmla="*/ 442789 w 4610101"/>
              <a:gd name="connsiteY24446" fmla="*/ 937450 h 6557032"/>
              <a:gd name="connsiteX24447" fmla="*/ 428211 w 4610101"/>
              <a:gd name="connsiteY24447" fmla="*/ 928339 h 6557032"/>
              <a:gd name="connsiteX24448" fmla="*/ 355324 w 4610101"/>
              <a:gd name="connsiteY24448" fmla="*/ 928339 h 6557032"/>
              <a:gd name="connsiteX24449" fmla="*/ 360791 w 4610101"/>
              <a:gd name="connsiteY24449" fmla="*/ 933804 h 6557032"/>
              <a:gd name="connsiteX24450" fmla="*/ 364435 w 4610101"/>
              <a:gd name="connsiteY24450" fmla="*/ 931983 h 6557032"/>
              <a:gd name="connsiteX24451" fmla="*/ 360791 w 4610101"/>
              <a:gd name="connsiteY24451" fmla="*/ 931983 h 6557032"/>
              <a:gd name="connsiteX24452" fmla="*/ 355324 w 4610101"/>
              <a:gd name="connsiteY24452" fmla="*/ 928339 h 6557032"/>
              <a:gd name="connsiteX24453" fmla="*/ 1323734 w 4610101"/>
              <a:gd name="connsiteY24453" fmla="*/ 926669 h 6557032"/>
              <a:gd name="connsiteX24454" fmla="*/ 1323289 w 4610101"/>
              <a:gd name="connsiteY24454" fmla="*/ 928377 h 6557032"/>
              <a:gd name="connsiteX24455" fmla="*/ 1322899 w 4610101"/>
              <a:gd name="connsiteY24455" fmla="*/ 928339 h 6557032"/>
              <a:gd name="connsiteX24456" fmla="*/ 2177498 w 4610101"/>
              <a:gd name="connsiteY24456" fmla="*/ 926516 h 6557032"/>
              <a:gd name="connsiteX24457" fmla="*/ 2177498 w 4610101"/>
              <a:gd name="connsiteY24457" fmla="*/ 933804 h 6557032"/>
              <a:gd name="connsiteX24458" fmla="*/ 2181143 w 4610101"/>
              <a:gd name="connsiteY24458" fmla="*/ 931983 h 6557032"/>
              <a:gd name="connsiteX24459" fmla="*/ 2177498 w 4610101"/>
              <a:gd name="connsiteY24459" fmla="*/ 926516 h 6557032"/>
              <a:gd name="connsiteX24460" fmla="*/ 1251834 w 4610101"/>
              <a:gd name="connsiteY24460" fmla="*/ 926516 h 6557032"/>
              <a:gd name="connsiteX24461" fmla="*/ 1246367 w 4610101"/>
              <a:gd name="connsiteY24461" fmla="*/ 939272 h 6557032"/>
              <a:gd name="connsiteX24462" fmla="*/ 1246367 w 4610101"/>
              <a:gd name="connsiteY24462" fmla="*/ 942916 h 6557032"/>
              <a:gd name="connsiteX24463" fmla="*/ 1250012 w 4610101"/>
              <a:gd name="connsiteY24463" fmla="*/ 946560 h 6557032"/>
              <a:gd name="connsiteX24464" fmla="*/ 1253656 w 4610101"/>
              <a:gd name="connsiteY24464" fmla="*/ 935628 h 6557032"/>
              <a:gd name="connsiteX24465" fmla="*/ 1259123 w 4610101"/>
              <a:gd name="connsiteY24465" fmla="*/ 930160 h 6557032"/>
              <a:gd name="connsiteX24466" fmla="*/ 1251834 w 4610101"/>
              <a:gd name="connsiteY24466" fmla="*/ 926516 h 6557032"/>
              <a:gd name="connsiteX24467" fmla="*/ 1248189 w 4610101"/>
              <a:gd name="connsiteY24467" fmla="*/ 926516 h 6557032"/>
              <a:gd name="connsiteX24468" fmla="*/ 1240901 w 4610101"/>
              <a:gd name="connsiteY24468" fmla="*/ 928339 h 6557032"/>
              <a:gd name="connsiteX24469" fmla="*/ 1242723 w 4610101"/>
              <a:gd name="connsiteY24469" fmla="*/ 933804 h 6557032"/>
              <a:gd name="connsiteX24470" fmla="*/ 1248189 w 4610101"/>
              <a:gd name="connsiteY24470" fmla="*/ 926516 h 6557032"/>
              <a:gd name="connsiteX24471" fmla="*/ 1204457 w 4610101"/>
              <a:gd name="connsiteY24471" fmla="*/ 926516 h 6557032"/>
              <a:gd name="connsiteX24472" fmla="*/ 1204457 w 4610101"/>
              <a:gd name="connsiteY24472" fmla="*/ 928339 h 6557032"/>
              <a:gd name="connsiteX24473" fmla="*/ 1203282 w 4610101"/>
              <a:gd name="connsiteY24473" fmla="*/ 928730 h 6557032"/>
              <a:gd name="connsiteX24474" fmla="*/ 1199751 w 4610101"/>
              <a:gd name="connsiteY24474" fmla="*/ 929654 h 6557032"/>
              <a:gd name="connsiteX24475" fmla="*/ 756430 w 4610101"/>
              <a:gd name="connsiteY24475" fmla="*/ 926516 h 6557032"/>
              <a:gd name="connsiteX24476" fmla="*/ 747092 w 4610101"/>
              <a:gd name="connsiteY24476" fmla="*/ 930160 h 6557032"/>
              <a:gd name="connsiteX24477" fmla="*/ 748914 w 4610101"/>
              <a:gd name="connsiteY24477" fmla="*/ 931983 h 6557032"/>
              <a:gd name="connsiteX24478" fmla="*/ 752558 w 4610101"/>
              <a:gd name="connsiteY24478" fmla="*/ 933804 h 6557032"/>
              <a:gd name="connsiteX24479" fmla="*/ 761670 w 4610101"/>
              <a:gd name="connsiteY24479" fmla="*/ 933804 h 6557032"/>
              <a:gd name="connsiteX24480" fmla="*/ 756430 w 4610101"/>
              <a:gd name="connsiteY24480" fmla="*/ 926516 h 6557032"/>
              <a:gd name="connsiteX24481" fmla="*/ 688782 w 4610101"/>
              <a:gd name="connsiteY24481" fmla="*/ 926516 h 6557032"/>
              <a:gd name="connsiteX24482" fmla="*/ 674205 w 4610101"/>
              <a:gd name="connsiteY24482" fmla="*/ 937450 h 6557032"/>
              <a:gd name="connsiteX24483" fmla="*/ 688782 w 4610101"/>
              <a:gd name="connsiteY24483" fmla="*/ 941094 h 6557032"/>
              <a:gd name="connsiteX24484" fmla="*/ 688782 w 4610101"/>
              <a:gd name="connsiteY24484" fmla="*/ 926516 h 6557032"/>
              <a:gd name="connsiteX24485" fmla="*/ 597673 w 4610101"/>
              <a:gd name="connsiteY24485" fmla="*/ 926516 h 6557032"/>
              <a:gd name="connsiteX24486" fmla="*/ 612251 w 4610101"/>
              <a:gd name="connsiteY24486" fmla="*/ 939272 h 6557032"/>
              <a:gd name="connsiteX24487" fmla="*/ 597673 w 4610101"/>
              <a:gd name="connsiteY24487" fmla="*/ 926516 h 6557032"/>
              <a:gd name="connsiteX24488" fmla="*/ 386301 w 4610101"/>
              <a:gd name="connsiteY24488" fmla="*/ 926516 h 6557032"/>
              <a:gd name="connsiteX24489" fmla="*/ 393590 w 4610101"/>
              <a:gd name="connsiteY24489" fmla="*/ 933804 h 6557032"/>
              <a:gd name="connsiteX24490" fmla="*/ 391768 w 4610101"/>
              <a:gd name="connsiteY24490" fmla="*/ 928339 h 6557032"/>
              <a:gd name="connsiteX24491" fmla="*/ 386301 w 4610101"/>
              <a:gd name="connsiteY24491" fmla="*/ 926516 h 6557032"/>
              <a:gd name="connsiteX24492" fmla="*/ 327993 w 4610101"/>
              <a:gd name="connsiteY24492" fmla="*/ 926516 h 6557032"/>
              <a:gd name="connsiteX24493" fmla="*/ 333037 w 4610101"/>
              <a:gd name="connsiteY24493" fmla="*/ 932683 h 6557032"/>
              <a:gd name="connsiteX24494" fmla="*/ 331636 w 4610101"/>
              <a:gd name="connsiteY24494" fmla="*/ 931983 h 6557032"/>
              <a:gd name="connsiteX24495" fmla="*/ 337102 w 4610101"/>
              <a:gd name="connsiteY24495" fmla="*/ 939272 h 6557032"/>
              <a:gd name="connsiteX24496" fmla="*/ 329814 w 4610101"/>
              <a:gd name="connsiteY24496" fmla="*/ 939272 h 6557032"/>
              <a:gd name="connsiteX24497" fmla="*/ 377190 w 4610101"/>
              <a:gd name="connsiteY24497" fmla="*/ 952026 h 6557032"/>
              <a:gd name="connsiteX24498" fmla="*/ 338926 w 4610101"/>
              <a:gd name="connsiteY24498" fmla="*/ 935628 h 6557032"/>
              <a:gd name="connsiteX24499" fmla="*/ 335280 w 4610101"/>
              <a:gd name="connsiteY24499" fmla="*/ 933805 h 6557032"/>
              <a:gd name="connsiteX24500" fmla="*/ 344391 w 4610101"/>
              <a:gd name="connsiteY24500" fmla="*/ 931983 h 6557032"/>
              <a:gd name="connsiteX24501" fmla="*/ 327993 w 4610101"/>
              <a:gd name="connsiteY24501" fmla="*/ 926516 h 6557032"/>
              <a:gd name="connsiteX24502" fmla="*/ 291549 w 4610101"/>
              <a:gd name="connsiteY24502" fmla="*/ 926516 h 6557032"/>
              <a:gd name="connsiteX24503" fmla="*/ 295193 w 4610101"/>
              <a:gd name="connsiteY24503" fmla="*/ 931983 h 6557032"/>
              <a:gd name="connsiteX24504" fmla="*/ 291549 w 4610101"/>
              <a:gd name="connsiteY24504" fmla="*/ 926516 h 6557032"/>
              <a:gd name="connsiteX24505" fmla="*/ 218661 w 4610101"/>
              <a:gd name="connsiteY24505" fmla="*/ 926516 h 6557032"/>
              <a:gd name="connsiteX24506" fmla="*/ 247816 w 4610101"/>
              <a:gd name="connsiteY24506" fmla="*/ 953848 h 6557032"/>
              <a:gd name="connsiteX24507" fmla="*/ 238705 w 4610101"/>
              <a:gd name="connsiteY24507" fmla="*/ 941094 h 6557032"/>
              <a:gd name="connsiteX24508" fmla="*/ 218661 w 4610101"/>
              <a:gd name="connsiteY24508" fmla="*/ 926516 h 6557032"/>
              <a:gd name="connsiteX24509" fmla="*/ 3351684 w 4610101"/>
              <a:gd name="connsiteY24509" fmla="*/ 925517 h 6557032"/>
              <a:gd name="connsiteX24510" fmla="*/ 3350978 w 4610101"/>
              <a:gd name="connsiteY24510" fmla="*/ 928339 h 6557032"/>
              <a:gd name="connsiteX24511" fmla="*/ 3350330 w 4610101"/>
              <a:gd name="connsiteY24511" fmla="*/ 926395 h 6557032"/>
              <a:gd name="connsiteX24512" fmla="*/ 2213914 w 4610101"/>
              <a:gd name="connsiteY24512" fmla="*/ 924922 h 6557032"/>
              <a:gd name="connsiteX24513" fmla="*/ 2203009 w 4610101"/>
              <a:gd name="connsiteY24513" fmla="*/ 928339 h 6557032"/>
              <a:gd name="connsiteX24514" fmla="*/ 2212576 w 4610101"/>
              <a:gd name="connsiteY24514" fmla="*/ 934488 h 6557032"/>
              <a:gd name="connsiteX24515" fmla="*/ 2213243 w 4610101"/>
              <a:gd name="connsiteY24515" fmla="*/ 939495 h 6557032"/>
              <a:gd name="connsiteX24516" fmla="*/ 2208248 w 4610101"/>
              <a:gd name="connsiteY24516" fmla="*/ 941094 h 6557032"/>
              <a:gd name="connsiteX24517" fmla="*/ 2206653 w 4610101"/>
              <a:gd name="connsiteY24517" fmla="*/ 937450 h 6557032"/>
              <a:gd name="connsiteX24518" fmla="*/ 2201187 w 4610101"/>
              <a:gd name="connsiteY24518" fmla="*/ 942916 h 6557032"/>
              <a:gd name="connsiteX24519" fmla="*/ 2195720 w 4610101"/>
              <a:gd name="connsiteY24519" fmla="*/ 935628 h 6557032"/>
              <a:gd name="connsiteX24520" fmla="*/ 2199364 w 4610101"/>
              <a:gd name="connsiteY24520" fmla="*/ 933804 h 6557032"/>
              <a:gd name="connsiteX24521" fmla="*/ 2193898 w 4610101"/>
              <a:gd name="connsiteY24521" fmla="*/ 930160 h 6557032"/>
              <a:gd name="connsiteX24522" fmla="*/ 2192076 w 4610101"/>
              <a:gd name="connsiteY24522" fmla="*/ 944738 h 6557032"/>
              <a:gd name="connsiteX24523" fmla="*/ 2208475 w 4610101"/>
              <a:gd name="connsiteY24523" fmla="*/ 948383 h 6557032"/>
              <a:gd name="connsiteX24524" fmla="*/ 2213346 w 4610101"/>
              <a:gd name="connsiteY24524" fmla="*/ 940265 h 6557032"/>
              <a:gd name="connsiteX24525" fmla="*/ 2213942 w 4610101"/>
              <a:gd name="connsiteY24525" fmla="*/ 944738 h 6557032"/>
              <a:gd name="connsiteX24526" fmla="*/ 2228519 w 4610101"/>
              <a:gd name="connsiteY24526" fmla="*/ 939272 h 6557032"/>
              <a:gd name="connsiteX24527" fmla="*/ 2221914 w 4610101"/>
              <a:gd name="connsiteY24527" fmla="*/ 926972 h 6557032"/>
              <a:gd name="connsiteX24528" fmla="*/ 2213914 w 4610101"/>
              <a:gd name="connsiteY24528" fmla="*/ 924922 h 6557032"/>
              <a:gd name="connsiteX24529" fmla="*/ 2526160 w 4610101"/>
              <a:gd name="connsiteY24529" fmla="*/ 924808 h 6557032"/>
              <a:gd name="connsiteX24530" fmla="*/ 2518245 w 4610101"/>
              <a:gd name="connsiteY24530" fmla="*/ 926516 h 6557032"/>
              <a:gd name="connsiteX24531" fmla="*/ 2565621 w 4610101"/>
              <a:gd name="connsiteY24531" fmla="*/ 946560 h 6557032"/>
              <a:gd name="connsiteX24532" fmla="*/ 2549222 w 4610101"/>
              <a:gd name="connsiteY24532" fmla="*/ 931983 h 6557032"/>
              <a:gd name="connsiteX24533" fmla="*/ 2526160 w 4610101"/>
              <a:gd name="connsiteY24533" fmla="*/ 924808 h 6557032"/>
              <a:gd name="connsiteX24534" fmla="*/ 3219782 w 4610101"/>
              <a:gd name="connsiteY24534" fmla="*/ 924695 h 6557032"/>
              <a:gd name="connsiteX24535" fmla="*/ 3201560 w 4610101"/>
              <a:gd name="connsiteY24535" fmla="*/ 941094 h 6557032"/>
              <a:gd name="connsiteX24536" fmla="*/ 3207027 w 4610101"/>
              <a:gd name="connsiteY24536" fmla="*/ 942916 h 6557032"/>
              <a:gd name="connsiteX24537" fmla="*/ 3192449 w 4610101"/>
              <a:gd name="connsiteY24537" fmla="*/ 950204 h 6557032"/>
              <a:gd name="connsiteX24538" fmla="*/ 3190627 w 4610101"/>
              <a:gd name="connsiteY24538" fmla="*/ 959316 h 6557032"/>
              <a:gd name="connsiteX24539" fmla="*/ 3185160 w 4610101"/>
              <a:gd name="connsiteY24539" fmla="*/ 957494 h 6557032"/>
              <a:gd name="connsiteX24540" fmla="*/ 3174227 w 4610101"/>
              <a:gd name="connsiteY24540" fmla="*/ 992115 h 6557032"/>
              <a:gd name="connsiteX24541" fmla="*/ 3168761 w 4610101"/>
              <a:gd name="connsiteY24541" fmla="*/ 993937 h 6557032"/>
              <a:gd name="connsiteX24542" fmla="*/ 3185160 w 4610101"/>
              <a:gd name="connsiteY24542" fmla="*/ 1004870 h 6557032"/>
              <a:gd name="connsiteX24543" fmla="*/ 3192449 w 4610101"/>
              <a:gd name="connsiteY24543" fmla="*/ 999403 h 6557032"/>
              <a:gd name="connsiteX24544" fmla="*/ 3190627 w 4610101"/>
              <a:gd name="connsiteY24544" fmla="*/ 992115 h 6557032"/>
              <a:gd name="connsiteX24545" fmla="*/ 3228893 w 4610101"/>
              <a:gd name="connsiteY24545" fmla="*/ 942916 h 6557032"/>
              <a:gd name="connsiteX24546" fmla="*/ 3241648 w 4610101"/>
              <a:gd name="connsiteY24546" fmla="*/ 930160 h 6557032"/>
              <a:gd name="connsiteX24547" fmla="*/ 3227071 w 4610101"/>
              <a:gd name="connsiteY24547" fmla="*/ 928339 h 6557032"/>
              <a:gd name="connsiteX24548" fmla="*/ 3227071 w 4610101"/>
              <a:gd name="connsiteY24548" fmla="*/ 935628 h 6557032"/>
              <a:gd name="connsiteX24549" fmla="*/ 3219782 w 4610101"/>
              <a:gd name="connsiteY24549" fmla="*/ 924695 h 6557032"/>
              <a:gd name="connsiteX24550" fmla="*/ 2725973 w 4610101"/>
              <a:gd name="connsiteY24550" fmla="*/ 924695 h 6557032"/>
              <a:gd name="connsiteX24551" fmla="*/ 2725745 w 4610101"/>
              <a:gd name="connsiteY24551" fmla="*/ 928339 h 6557032"/>
              <a:gd name="connsiteX24552" fmla="*/ 2729303 w 4610101"/>
              <a:gd name="connsiteY24552" fmla="*/ 931687 h 6557032"/>
              <a:gd name="connsiteX24553" fmla="*/ 2729389 w 4610101"/>
              <a:gd name="connsiteY24553" fmla="*/ 931983 h 6557032"/>
              <a:gd name="connsiteX24554" fmla="*/ 2729617 w 4610101"/>
              <a:gd name="connsiteY24554" fmla="*/ 931983 h 6557032"/>
              <a:gd name="connsiteX24555" fmla="*/ 2729303 w 4610101"/>
              <a:gd name="connsiteY24555" fmla="*/ 931687 h 6557032"/>
              <a:gd name="connsiteX24556" fmla="*/ 2727795 w 4610101"/>
              <a:gd name="connsiteY24556" fmla="*/ 926516 h 6557032"/>
              <a:gd name="connsiteX24557" fmla="*/ 2725973 w 4610101"/>
              <a:gd name="connsiteY24557" fmla="*/ 924695 h 6557032"/>
              <a:gd name="connsiteX24558" fmla="*/ 2469046 w 4610101"/>
              <a:gd name="connsiteY24558" fmla="*/ 924695 h 6557032"/>
              <a:gd name="connsiteX24559" fmla="*/ 2461757 w 4610101"/>
              <a:gd name="connsiteY24559" fmla="*/ 928339 h 6557032"/>
              <a:gd name="connsiteX24560" fmla="*/ 2470868 w 4610101"/>
              <a:gd name="connsiteY24560" fmla="*/ 939272 h 6557032"/>
              <a:gd name="connsiteX24561" fmla="*/ 2469046 w 4610101"/>
              <a:gd name="connsiteY24561" fmla="*/ 924695 h 6557032"/>
              <a:gd name="connsiteX24562" fmla="*/ 1344765 w 4610101"/>
              <a:gd name="connsiteY24562" fmla="*/ 924695 h 6557032"/>
              <a:gd name="connsiteX24563" fmla="*/ 1339299 w 4610101"/>
              <a:gd name="connsiteY24563" fmla="*/ 926516 h 6557032"/>
              <a:gd name="connsiteX24564" fmla="*/ 1326543 w 4610101"/>
              <a:gd name="connsiteY24564" fmla="*/ 944738 h 6557032"/>
              <a:gd name="connsiteX24565" fmla="*/ 1335654 w 4610101"/>
              <a:gd name="connsiteY24565" fmla="*/ 937450 h 6557032"/>
              <a:gd name="connsiteX24566" fmla="*/ 1332009 w 4610101"/>
              <a:gd name="connsiteY24566" fmla="*/ 942916 h 6557032"/>
              <a:gd name="connsiteX24567" fmla="*/ 1341120 w 4610101"/>
              <a:gd name="connsiteY24567" fmla="*/ 937450 h 6557032"/>
              <a:gd name="connsiteX24568" fmla="*/ 1339299 w 4610101"/>
              <a:gd name="connsiteY24568" fmla="*/ 937450 h 6557032"/>
              <a:gd name="connsiteX24569" fmla="*/ 1341120 w 4610101"/>
              <a:gd name="connsiteY24569" fmla="*/ 935628 h 6557032"/>
              <a:gd name="connsiteX24570" fmla="*/ 1339299 w 4610101"/>
              <a:gd name="connsiteY24570" fmla="*/ 930160 h 6557032"/>
              <a:gd name="connsiteX24571" fmla="*/ 1341120 w 4610101"/>
              <a:gd name="connsiteY24571" fmla="*/ 931983 h 6557032"/>
              <a:gd name="connsiteX24572" fmla="*/ 1344765 w 4610101"/>
              <a:gd name="connsiteY24572" fmla="*/ 924695 h 6557032"/>
              <a:gd name="connsiteX24573" fmla="*/ 1335654 w 4610101"/>
              <a:gd name="connsiteY24573" fmla="*/ 924695 h 6557032"/>
              <a:gd name="connsiteX24574" fmla="*/ 1330188 w 4610101"/>
              <a:gd name="connsiteY24574" fmla="*/ 930160 h 6557032"/>
              <a:gd name="connsiteX24575" fmla="*/ 1335654 w 4610101"/>
              <a:gd name="connsiteY24575" fmla="*/ 924695 h 6557032"/>
              <a:gd name="connsiteX24576" fmla="*/ 1239080 w 4610101"/>
              <a:gd name="connsiteY24576" fmla="*/ 924695 h 6557032"/>
              <a:gd name="connsiteX24577" fmla="*/ 1235434 w 4610101"/>
              <a:gd name="connsiteY24577" fmla="*/ 926516 h 6557032"/>
              <a:gd name="connsiteX24578" fmla="*/ 1239080 w 4610101"/>
              <a:gd name="connsiteY24578" fmla="*/ 924695 h 6557032"/>
              <a:gd name="connsiteX24579" fmla="*/ 867355 w 4610101"/>
              <a:gd name="connsiteY24579" fmla="*/ 924695 h 6557032"/>
              <a:gd name="connsiteX24580" fmla="*/ 863711 w 4610101"/>
              <a:gd name="connsiteY24580" fmla="*/ 930160 h 6557032"/>
              <a:gd name="connsiteX24581" fmla="*/ 869177 w 4610101"/>
              <a:gd name="connsiteY24581" fmla="*/ 935628 h 6557032"/>
              <a:gd name="connsiteX24582" fmla="*/ 867355 w 4610101"/>
              <a:gd name="connsiteY24582" fmla="*/ 931983 h 6557032"/>
              <a:gd name="connsiteX24583" fmla="*/ 872822 w 4610101"/>
              <a:gd name="connsiteY24583" fmla="*/ 933804 h 6557032"/>
              <a:gd name="connsiteX24584" fmla="*/ 874644 w 4610101"/>
              <a:gd name="connsiteY24584" fmla="*/ 941094 h 6557032"/>
              <a:gd name="connsiteX24585" fmla="*/ 878288 w 4610101"/>
              <a:gd name="connsiteY24585" fmla="*/ 939272 h 6557032"/>
              <a:gd name="connsiteX24586" fmla="*/ 876466 w 4610101"/>
              <a:gd name="connsiteY24586" fmla="*/ 930160 h 6557032"/>
              <a:gd name="connsiteX24587" fmla="*/ 867355 w 4610101"/>
              <a:gd name="connsiteY24587" fmla="*/ 924695 h 6557032"/>
              <a:gd name="connsiteX24588" fmla="*/ 665094 w 4610101"/>
              <a:gd name="connsiteY24588" fmla="*/ 924695 h 6557032"/>
              <a:gd name="connsiteX24589" fmla="*/ 654161 w 4610101"/>
              <a:gd name="connsiteY24589" fmla="*/ 930160 h 6557032"/>
              <a:gd name="connsiteX24590" fmla="*/ 665094 w 4610101"/>
              <a:gd name="connsiteY24590" fmla="*/ 924695 h 6557032"/>
              <a:gd name="connsiteX24591" fmla="*/ 373546 w 4610101"/>
              <a:gd name="connsiteY24591" fmla="*/ 924695 h 6557032"/>
              <a:gd name="connsiteX24592" fmla="*/ 388123 w 4610101"/>
              <a:gd name="connsiteY24592" fmla="*/ 937450 h 6557032"/>
              <a:gd name="connsiteX24593" fmla="*/ 373546 w 4610101"/>
              <a:gd name="connsiteY24593" fmla="*/ 924695 h 6557032"/>
              <a:gd name="connsiteX24594" fmla="*/ 2279250 w 4610101"/>
              <a:gd name="connsiteY24594" fmla="*/ 924622 h 6557032"/>
              <a:gd name="connsiteX24595" fmla="*/ 2279540 w 4610101"/>
              <a:gd name="connsiteY24595" fmla="*/ 924695 h 6557032"/>
              <a:gd name="connsiteX24596" fmla="*/ 2279412 w 4610101"/>
              <a:gd name="connsiteY24596" fmla="*/ 925047 h 6557032"/>
              <a:gd name="connsiteX24597" fmla="*/ 1376653 w 4610101"/>
              <a:gd name="connsiteY24597" fmla="*/ 924239 h 6557032"/>
              <a:gd name="connsiteX24598" fmla="*/ 1379386 w 4610101"/>
              <a:gd name="connsiteY24598" fmla="*/ 924695 h 6557032"/>
              <a:gd name="connsiteX24599" fmla="*/ 1375965 w 4610101"/>
              <a:gd name="connsiteY24599" fmla="*/ 924813 h 6557032"/>
              <a:gd name="connsiteX24600" fmla="*/ 651427 w 4610101"/>
              <a:gd name="connsiteY24600" fmla="*/ 923555 h 6557032"/>
              <a:gd name="connsiteX24601" fmla="*/ 646872 w 4610101"/>
              <a:gd name="connsiteY24601" fmla="*/ 926516 h 6557032"/>
              <a:gd name="connsiteX24602" fmla="*/ 655983 w 4610101"/>
              <a:gd name="connsiteY24602" fmla="*/ 924695 h 6557032"/>
              <a:gd name="connsiteX24603" fmla="*/ 651427 w 4610101"/>
              <a:gd name="connsiteY24603" fmla="*/ 923555 h 6557032"/>
              <a:gd name="connsiteX24604" fmla="*/ 3343690 w 4610101"/>
              <a:gd name="connsiteY24604" fmla="*/ 922872 h 6557032"/>
              <a:gd name="connsiteX24605" fmla="*/ 3338223 w 4610101"/>
              <a:gd name="connsiteY24605" fmla="*/ 930160 h 6557032"/>
              <a:gd name="connsiteX24606" fmla="*/ 3341867 w 4610101"/>
              <a:gd name="connsiteY24606" fmla="*/ 931983 h 6557032"/>
              <a:gd name="connsiteX24607" fmla="*/ 3343690 w 4610101"/>
              <a:gd name="connsiteY24607" fmla="*/ 922872 h 6557032"/>
              <a:gd name="connsiteX24608" fmla="*/ 1293744 w 4610101"/>
              <a:gd name="connsiteY24608" fmla="*/ 922872 h 6557032"/>
              <a:gd name="connsiteX24609" fmla="*/ 1270056 w 4610101"/>
              <a:gd name="connsiteY24609" fmla="*/ 933804 h 6557032"/>
              <a:gd name="connsiteX24610" fmla="*/ 1271878 w 4610101"/>
              <a:gd name="connsiteY24610" fmla="*/ 937450 h 6557032"/>
              <a:gd name="connsiteX24611" fmla="*/ 1293744 w 4610101"/>
              <a:gd name="connsiteY24611" fmla="*/ 922872 h 6557032"/>
              <a:gd name="connsiteX24612" fmla="*/ 481054 w 4610101"/>
              <a:gd name="connsiteY24612" fmla="*/ 922872 h 6557032"/>
              <a:gd name="connsiteX24613" fmla="*/ 491987 w 4610101"/>
              <a:gd name="connsiteY24613" fmla="*/ 928339 h 6557032"/>
              <a:gd name="connsiteX24614" fmla="*/ 481054 w 4610101"/>
              <a:gd name="connsiteY24614" fmla="*/ 922872 h 6557032"/>
              <a:gd name="connsiteX24615" fmla="*/ 477410 w 4610101"/>
              <a:gd name="connsiteY24615" fmla="*/ 922872 h 6557032"/>
              <a:gd name="connsiteX24616" fmla="*/ 479232 w 4610101"/>
              <a:gd name="connsiteY24616" fmla="*/ 930160 h 6557032"/>
              <a:gd name="connsiteX24617" fmla="*/ 480371 w 4610101"/>
              <a:gd name="connsiteY24617" fmla="*/ 935627 h 6557032"/>
              <a:gd name="connsiteX24618" fmla="*/ 487350 w 4610101"/>
              <a:gd name="connsiteY24618" fmla="*/ 935628 h 6557032"/>
              <a:gd name="connsiteX24619" fmla="*/ 487433 w 4610101"/>
              <a:gd name="connsiteY24619" fmla="*/ 935855 h 6557032"/>
              <a:gd name="connsiteX24620" fmla="*/ 495632 w 4610101"/>
              <a:gd name="connsiteY24620" fmla="*/ 939272 h 6557032"/>
              <a:gd name="connsiteX24621" fmla="*/ 490165 w 4610101"/>
              <a:gd name="connsiteY24621" fmla="*/ 931983 h 6557032"/>
              <a:gd name="connsiteX24622" fmla="*/ 497454 w 4610101"/>
              <a:gd name="connsiteY24622" fmla="*/ 931983 h 6557032"/>
              <a:gd name="connsiteX24623" fmla="*/ 484700 w 4610101"/>
              <a:gd name="connsiteY24623" fmla="*/ 928339 h 6557032"/>
              <a:gd name="connsiteX24624" fmla="*/ 486522 w 4610101"/>
              <a:gd name="connsiteY24624" fmla="*/ 933351 h 6557032"/>
              <a:gd name="connsiteX24625" fmla="*/ 484699 w 4610101"/>
              <a:gd name="connsiteY24625" fmla="*/ 931072 h 6557032"/>
              <a:gd name="connsiteX24626" fmla="*/ 481054 w 4610101"/>
              <a:gd name="connsiteY24626" fmla="*/ 926516 h 6557032"/>
              <a:gd name="connsiteX24627" fmla="*/ 481054 w 4610101"/>
              <a:gd name="connsiteY24627" fmla="*/ 924695 h 6557032"/>
              <a:gd name="connsiteX24628" fmla="*/ 477410 w 4610101"/>
              <a:gd name="connsiteY24628" fmla="*/ 922872 h 6557032"/>
              <a:gd name="connsiteX24629" fmla="*/ 457367 w 4610101"/>
              <a:gd name="connsiteY24629" fmla="*/ 922872 h 6557032"/>
              <a:gd name="connsiteX24630" fmla="*/ 453722 w 4610101"/>
              <a:gd name="connsiteY24630" fmla="*/ 924695 h 6557032"/>
              <a:gd name="connsiteX24631" fmla="*/ 455544 w 4610101"/>
              <a:gd name="connsiteY24631" fmla="*/ 930160 h 6557032"/>
              <a:gd name="connsiteX24632" fmla="*/ 457367 w 4610101"/>
              <a:gd name="connsiteY24632" fmla="*/ 922872 h 6557032"/>
              <a:gd name="connsiteX24633" fmla="*/ 433678 w 4610101"/>
              <a:gd name="connsiteY24633" fmla="*/ 922872 h 6557032"/>
              <a:gd name="connsiteX24634" fmla="*/ 442789 w 4610101"/>
              <a:gd name="connsiteY24634" fmla="*/ 928339 h 6557032"/>
              <a:gd name="connsiteX24635" fmla="*/ 433678 w 4610101"/>
              <a:gd name="connsiteY24635" fmla="*/ 922872 h 6557032"/>
              <a:gd name="connsiteX24636" fmla="*/ 426389 w 4610101"/>
              <a:gd name="connsiteY24636" fmla="*/ 922872 h 6557032"/>
              <a:gd name="connsiteX24637" fmla="*/ 431856 w 4610101"/>
              <a:gd name="connsiteY24637" fmla="*/ 924695 h 6557032"/>
              <a:gd name="connsiteX24638" fmla="*/ 426389 w 4610101"/>
              <a:gd name="connsiteY24638" fmla="*/ 922872 h 6557032"/>
              <a:gd name="connsiteX24639" fmla="*/ 311592 w 4610101"/>
              <a:gd name="connsiteY24639" fmla="*/ 922872 h 6557032"/>
              <a:gd name="connsiteX24640" fmla="*/ 320703 w 4610101"/>
              <a:gd name="connsiteY24640" fmla="*/ 930160 h 6557032"/>
              <a:gd name="connsiteX24641" fmla="*/ 311592 w 4610101"/>
              <a:gd name="connsiteY24641" fmla="*/ 922872 h 6557032"/>
              <a:gd name="connsiteX24642" fmla="*/ 2213942 w 4610101"/>
              <a:gd name="connsiteY24642" fmla="*/ 921049 h 6557032"/>
              <a:gd name="connsiteX24643" fmla="*/ 2219408 w 4610101"/>
              <a:gd name="connsiteY24643" fmla="*/ 921049 h 6557032"/>
              <a:gd name="connsiteX24644" fmla="*/ 2213942 w 4610101"/>
              <a:gd name="connsiteY24644" fmla="*/ 921049 h 6557032"/>
              <a:gd name="connsiteX24645" fmla="*/ 1051395 w 4610101"/>
              <a:gd name="connsiteY24645" fmla="*/ 921049 h 6557032"/>
              <a:gd name="connsiteX24646" fmla="*/ 1036818 w 4610101"/>
              <a:gd name="connsiteY24646" fmla="*/ 941094 h 6557032"/>
              <a:gd name="connsiteX24647" fmla="*/ 1047750 w 4610101"/>
              <a:gd name="connsiteY24647" fmla="*/ 939272 h 6557032"/>
              <a:gd name="connsiteX24648" fmla="*/ 1051395 w 4610101"/>
              <a:gd name="connsiteY24648" fmla="*/ 921049 h 6557032"/>
              <a:gd name="connsiteX24649" fmla="*/ 878288 w 4610101"/>
              <a:gd name="connsiteY24649" fmla="*/ 921049 h 6557032"/>
              <a:gd name="connsiteX24650" fmla="*/ 874644 w 4610101"/>
              <a:gd name="connsiteY24650" fmla="*/ 922872 h 6557032"/>
              <a:gd name="connsiteX24651" fmla="*/ 883755 w 4610101"/>
              <a:gd name="connsiteY24651" fmla="*/ 930160 h 6557032"/>
              <a:gd name="connsiteX24652" fmla="*/ 878288 w 4610101"/>
              <a:gd name="connsiteY24652" fmla="*/ 921049 h 6557032"/>
              <a:gd name="connsiteX24653" fmla="*/ 635939 w 4610101"/>
              <a:gd name="connsiteY24653" fmla="*/ 921049 h 6557032"/>
              <a:gd name="connsiteX24654" fmla="*/ 635494 w 4610101"/>
              <a:gd name="connsiteY24654" fmla="*/ 924728 h 6557032"/>
              <a:gd name="connsiteX24655" fmla="*/ 623867 w 4610101"/>
              <a:gd name="connsiteY24655" fmla="*/ 925605 h 6557032"/>
              <a:gd name="connsiteX24656" fmla="*/ 615895 w 4610101"/>
              <a:gd name="connsiteY24656" fmla="*/ 931983 h 6557032"/>
              <a:gd name="connsiteX24657" fmla="*/ 619539 w 4610101"/>
              <a:gd name="connsiteY24657" fmla="*/ 931983 h 6557032"/>
              <a:gd name="connsiteX24658" fmla="*/ 617717 w 4610101"/>
              <a:gd name="connsiteY24658" fmla="*/ 937450 h 6557032"/>
              <a:gd name="connsiteX24659" fmla="*/ 623185 w 4610101"/>
              <a:gd name="connsiteY24659" fmla="*/ 935628 h 6557032"/>
              <a:gd name="connsiteX24660" fmla="*/ 619539 w 4610101"/>
              <a:gd name="connsiteY24660" fmla="*/ 931983 h 6557032"/>
              <a:gd name="connsiteX24661" fmla="*/ 629333 w 4610101"/>
              <a:gd name="connsiteY24661" fmla="*/ 931983 h 6557032"/>
              <a:gd name="connsiteX24662" fmla="*/ 635113 w 4610101"/>
              <a:gd name="connsiteY24662" fmla="*/ 927883 h 6557032"/>
              <a:gd name="connsiteX24663" fmla="*/ 635494 w 4610101"/>
              <a:gd name="connsiteY24663" fmla="*/ 924728 h 6557032"/>
              <a:gd name="connsiteX24664" fmla="*/ 635939 w 4610101"/>
              <a:gd name="connsiteY24664" fmla="*/ 924695 h 6557032"/>
              <a:gd name="connsiteX24665" fmla="*/ 635939 w 4610101"/>
              <a:gd name="connsiteY24665" fmla="*/ 921049 h 6557032"/>
              <a:gd name="connsiteX24666" fmla="*/ 3239826 w 4610101"/>
              <a:gd name="connsiteY24666" fmla="*/ 919227 h 6557032"/>
              <a:gd name="connsiteX24667" fmla="*/ 3239826 w 4610101"/>
              <a:gd name="connsiteY24667" fmla="*/ 928339 h 6557032"/>
              <a:gd name="connsiteX24668" fmla="*/ 3239826 w 4610101"/>
              <a:gd name="connsiteY24668" fmla="*/ 919227 h 6557032"/>
              <a:gd name="connsiteX24669" fmla="*/ 2321450 w 4610101"/>
              <a:gd name="connsiteY24669" fmla="*/ 919227 h 6557032"/>
              <a:gd name="connsiteX24670" fmla="*/ 2323272 w 4610101"/>
              <a:gd name="connsiteY24670" fmla="*/ 928339 h 6557032"/>
              <a:gd name="connsiteX24671" fmla="*/ 2319628 w 4610101"/>
              <a:gd name="connsiteY24671" fmla="*/ 928339 h 6557032"/>
              <a:gd name="connsiteX24672" fmla="*/ 2332383 w 4610101"/>
              <a:gd name="connsiteY24672" fmla="*/ 941094 h 6557032"/>
              <a:gd name="connsiteX24673" fmla="*/ 2321450 w 4610101"/>
              <a:gd name="connsiteY24673" fmla="*/ 919227 h 6557032"/>
              <a:gd name="connsiteX24674" fmla="*/ 2168387 w 4610101"/>
              <a:gd name="connsiteY24674" fmla="*/ 919227 h 6557032"/>
              <a:gd name="connsiteX24675" fmla="*/ 2164743 w 4610101"/>
              <a:gd name="connsiteY24675" fmla="*/ 930160 h 6557032"/>
              <a:gd name="connsiteX24676" fmla="*/ 2172032 w 4610101"/>
              <a:gd name="connsiteY24676" fmla="*/ 924695 h 6557032"/>
              <a:gd name="connsiteX24677" fmla="*/ 2170210 w 4610101"/>
              <a:gd name="connsiteY24677" fmla="*/ 926516 h 6557032"/>
              <a:gd name="connsiteX24678" fmla="*/ 2168387 w 4610101"/>
              <a:gd name="connsiteY24678" fmla="*/ 919227 h 6557032"/>
              <a:gd name="connsiteX24679" fmla="*/ 1228146 w 4610101"/>
              <a:gd name="connsiteY24679" fmla="*/ 919227 h 6557032"/>
              <a:gd name="connsiteX24680" fmla="*/ 1217213 w 4610101"/>
              <a:gd name="connsiteY24680" fmla="*/ 930160 h 6557032"/>
              <a:gd name="connsiteX24681" fmla="*/ 1228146 w 4610101"/>
              <a:gd name="connsiteY24681" fmla="*/ 919227 h 6557032"/>
              <a:gd name="connsiteX24682" fmla="*/ 1124282 w 4610101"/>
              <a:gd name="connsiteY24682" fmla="*/ 919227 h 6557032"/>
              <a:gd name="connsiteX24683" fmla="*/ 1122699 w 4610101"/>
              <a:gd name="connsiteY24683" fmla="*/ 927140 h 6557032"/>
              <a:gd name="connsiteX24684" fmla="*/ 1121932 w 4610101"/>
              <a:gd name="connsiteY24684" fmla="*/ 927546 h 6557032"/>
              <a:gd name="connsiteX24685" fmla="*/ 1118815 w 4610101"/>
              <a:gd name="connsiteY24685" fmla="*/ 922872 h 6557032"/>
              <a:gd name="connsiteX24686" fmla="*/ 1120637 w 4610101"/>
              <a:gd name="connsiteY24686" fmla="*/ 921049 h 6557032"/>
              <a:gd name="connsiteX24687" fmla="*/ 1095127 w 4610101"/>
              <a:gd name="connsiteY24687" fmla="*/ 935628 h 6557032"/>
              <a:gd name="connsiteX24688" fmla="*/ 1086016 w 4610101"/>
              <a:gd name="connsiteY24688" fmla="*/ 928339 h 6557032"/>
              <a:gd name="connsiteX24689" fmla="*/ 1080711 w 4610101"/>
              <a:gd name="connsiteY24689" fmla="*/ 932506 h 6557032"/>
              <a:gd name="connsiteX24690" fmla="*/ 1081005 w 4610101"/>
              <a:gd name="connsiteY24690" fmla="*/ 930160 h 6557032"/>
              <a:gd name="connsiteX24691" fmla="*/ 1078727 w 4610101"/>
              <a:gd name="connsiteY24691" fmla="*/ 926516 h 6557032"/>
              <a:gd name="connsiteX24692" fmla="*/ 1080549 w 4610101"/>
              <a:gd name="connsiteY24692" fmla="*/ 924695 h 6557032"/>
              <a:gd name="connsiteX24693" fmla="*/ 1065972 w 4610101"/>
              <a:gd name="connsiteY24693" fmla="*/ 933804 h 6557032"/>
              <a:gd name="connsiteX24694" fmla="*/ 1076905 w 4610101"/>
              <a:gd name="connsiteY24694" fmla="*/ 933804 h 6557032"/>
              <a:gd name="connsiteX24695" fmla="*/ 1075083 w 4610101"/>
              <a:gd name="connsiteY24695" fmla="*/ 928339 h 6557032"/>
              <a:gd name="connsiteX24696" fmla="*/ 1078499 w 4610101"/>
              <a:gd name="connsiteY24696" fmla="*/ 931072 h 6557032"/>
              <a:gd name="connsiteX24697" fmla="*/ 1079996 w 4610101"/>
              <a:gd name="connsiteY24697" fmla="*/ 933068 h 6557032"/>
              <a:gd name="connsiteX24698" fmla="*/ 1079638 w 4610101"/>
              <a:gd name="connsiteY24698" fmla="*/ 933350 h 6557032"/>
              <a:gd name="connsiteX24699" fmla="*/ 1078727 w 4610101"/>
              <a:gd name="connsiteY24699" fmla="*/ 941094 h 6557032"/>
              <a:gd name="connsiteX24700" fmla="*/ 1100593 w 4610101"/>
              <a:gd name="connsiteY24700" fmla="*/ 941094 h 6557032"/>
              <a:gd name="connsiteX24701" fmla="*/ 1116993 w 4610101"/>
              <a:gd name="connsiteY24701" fmla="*/ 930160 h 6557032"/>
              <a:gd name="connsiteX24702" fmla="*/ 1121932 w 4610101"/>
              <a:gd name="connsiteY24702" fmla="*/ 927546 h 6557032"/>
              <a:gd name="connsiteX24703" fmla="*/ 1122459 w 4610101"/>
              <a:gd name="connsiteY24703" fmla="*/ 928339 h 6557032"/>
              <a:gd name="connsiteX24704" fmla="*/ 1122699 w 4610101"/>
              <a:gd name="connsiteY24704" fmla="*/ 927140 h 6557032"/>
              <a:gd name="connsiteX24705" fmla="*/ 1124737 w 4610101"/>
              <a:gd name="connsiteY24705" fmla="*/ 926061 h 6557032"/>
              <a:gd name="connsiteX24706" fmla="*/ 1124282 w 4610101"/>
              <a:gd name="connsiteY24706" fmla="*/ 919227 h 6557032"/>
              <a:gd name="connsiteX24707" fmla="*/ 701537 w 4610101"/>
              <a:gd name="connsiteY24707" fmla="*/ 919227 h 6557032"/>
              <a:gd name="connsiteX24708" fmla="*/ 692426 w 4610101"/>
              <a:gd name="connsiteY24708" fmla="*/ 924695 h 6557032"/>
              <a:gd name="connsiteX24709" fmla="*/ 692426 w 4610101"/>
              <a:gd name="connsiteY24709" fmla="*/ 942916 h 6557032"/>
              <a:gd name="connsiteX24710" fmla="*/ 712470 w 4610101"/>
              <a:gd name="connsiteY24710" fmla="*/ 922872 h 6557032"/>
              <a:gd name="connsiteX24711" fmla="*/ 701537 w 4610101"/>
              <a:gd name="connsiteY24711" fmla="*/ 919227 h 6557032"/>
              <a:gd name="connsiteX24712" fmla="*/ 608606 w 4610101"/>
              <a:gd name="connsiteY24712" fmla="*/ 919227 h 6557032"/>
              <a:gd name="connsiteX24713" fmla="*/ 604963 w 4610101"/>
              <a:gd name="connsiteY24713" fmla="*/ 921049 h 6557032"/>
              <a:gd name="connsiteX24714" fmla="*/ 608606 w 4610101"/>
              <a:gd name="connsiteY24714" fmla="*/ 919227 h 6557032"/>
              <a:gd name="connsiteX24715" fmla="*/ 499276 w 4610101"/>
              <a:gd name="connsiteY24715" fmla="*/ 919227 h 6557032"/>
              <a:gd name="connsiteX24716" fmla="*/ 495632 w 4610101"/>
              <a:gd name="connsiteY24716" fmla="*/ 921049 h 6557032"/>
              <a:gd name="connsiteX24717" fmla="*/ 501098 w 4610101"/>
              <a:gd name="connsiteY24717" fmla="*/ 922872 h 6557032"/>
              <a:gd name="connsiteX24718" fmla="*/ 499276 w 4610101"/>
              <a:gd name="connsiteY24718" fmla="*/ 919227 h 6557032"/>
              <a:gd name="connsiteX24719" fmla="*/ 300660 w 4610101"/>
              <a:gd name="connsiteY24719" fmla="*/ 919227 h 6557032"/>
              <a:gd name="connsiteX24720" fmla="*/ 306126 w 4610101"/>
              <a:gd name="connsiteY24720" fmla="*/ 931983 h 6557032"/>
              <a:gd name="connsiteX24721" fmla="*/ 304303 w 4610101"/>
              <a:gd name="connsiteY24721" fmla="*/ 922872 h 6557032"/>
              <a:gd name="connsiteX24722" fmla="*/ 300660 w 4610101"/>
              <a:gd name="connsiteY24722" fmla="*/ 919227 h 6557032"/>
              <a:gd name="connsiteX24723" fmla="*/ 2618009 w 4610101"/>
              <a:gd name="connsiteY24723" fmla="*/ 918544 h 6557032"/>
              <a:gd name="connsiteX24724" fmla="*/ 2614820 w 4610101"/>
              <a:gd name="connsiteY24724" fmla="*/ 922872 h 6557032"/>
              <a:gd name="connsiteX24725" fmla="*/ 2623931 w 4610101"/>
              <a:gd name="connsiteY24725" fmla="*/ 921049 h 6557032"/>
              <a:gd name="connsiteX24726" fmla="*/ 2618009 w 4610101"/>
              <a:gd name="connsiteY24726" fmla="*/ 918544 h 6557032"/>
              <a:gd name="connsiteX24727" fmla="*/ 3365556 w 4610101"/>
              <a:gd name="connsiteY24727" fmla="*/ 918129 h 6557032"/>
              <a:gd name="connsiteX24728" fmla="*/ 3365556 w 4610101"/>
              <a:gd name="connsiteY24728" fmla="*/ 919227 h 6557032"/>
              <a:gd name="connsiteX24729" fmla="*/ 3365224 w 4610101"/>
              <a:gd name="connsiteY24729" fmla="*/ 918229 h 6557032"/>
              <a:gd name="connsiteX24730" fmla="*/ 414766 w 4610101"/>
              <a:gd name="connsiteY24730" fmla="*/ 918046 h 6557032"/>
              <a:gd name="connsiteX24731" fmla="*/ 419100 w 4610101"/>
              <a:gd name="connsiteY24731" fmla="*/ 919227 h 6557032"/>
              <a:gd name="connsiteX24732" fmla="*/ 415193 w 4610101"/>
              <a:gd name="connsiteY24732" fmla="*/ 918401 h 6557032"/>
              <a:gd name="connsiteX24733" fmla="*/ 1991636 w 4610101"/>
              <a:gd name="connsiteY24733" fmla="*/ 917502 h 6557032"/>
              <a:gd name="connsiteX24734" fmla="*/ 2006214 w 4610101"/>
              <a:gd name="connsiteY24734" fmla="*/ 930258 h 6557032"/>
              <a:gd name="connsiteX24735" fmla="*/ 1997103 w 4610101"/>
              <a:gd name="connsiteY24735" fmla="*/ 937547 h 6557032"/>
              <a:gd name="connsiteX24736" fmla="*/ 1982525 w 4610101"/>
              <a:gd name="connsiteY24736" fmla="*/ 932081 h 6557032"/>
              <a:gd name="connsiteX24737" fmla="*/ 134841 w 4610101"/>
              <a:gd name="connsiteY24737" fmla="*/ 917447 h 6557032"/>
              <a:gd name="connsiteX24738" fmla="*/ 140308 w 4610101"/>
              <a:gd name="connsiteY24738" fmla="*/ 922915 h 6557032"/>
              <a:gd name="connsiteX24739" fmla="*/ 134841 w 4610101"/>
              <a:gd name="connsiteY24739" fmla="*/ 919269 h 6557032"/>
              <a:gd name="connsiteX24740" fmla="*/ 134841 w 4610101"/>
              <a:gd name="connsiteY24740" fmla="*/ 918055 h 6557032"/>
              <a:gd name="connsiteX24741" fmla="*/ 3412932 w 4610101"/>
              <a:gd name="connsiteY24741" fmla="*/ 917405 h 6557032"/>
              <a:gd name="connsiteX24742" fmla="*/ 3409288 w 4610101"/>
              <a:gd name="connsiteY24742" fmla="*/ 928339 h 6557032"/>
              <a:gd name="connsiteX24743" fmla="*/ 3412932 w 4610101"/>
              <a:gd name="connsiteY24743" fmla="*/ 917405 h 6557032"/>
              <a:gd name="connsiteX24744" fmla="*/ 408167 w 4610101"/>
              <a:gd name="connsiteY24744" fmla="*/ 917405 h 6557032"/>
              <a:gd name="connsiteX24745" fmla="*/ 415456 w 4610101"/>
              <a:gd name="connsiteY24745" fmla="*/ 928339 h 6557032"/>
              <a:gd name="connsiteX24746" fmla="*/ 411812 w 4610101"/>
              <a:gd name="connsiteY24746" fmla="*/ 922872 h 6557032"/>
              <a:gd name="connsiteX24747" fmla="*/ 424567 w 4610101"/>
              <a:gd name="connsiteY24747" fmla="*/ 928339 h 6557032"/>
              <a:gd name="connsiteX24748" fmla="*/ 408167 w 4610101"/>
              <a:gd name="connsiteY24748" fmla="*/ 917405 h 6557032"/>
              <a:gd name="connsiteX24749" fmla="*/ 315236 w 4610101"/>
              <a:gd name="connsiteY24749" fmla="*/ 917405 h 6557032"/>
              <a:gd name="connsiteX24750" fmla="*/ 338926 w 4610101"/>
              <a:gd name="connsiteY24750" fmla="*/ 926516 h 6557032"/>
              <a:gd name="connsiteX24751" fmla="*/ 315236 w 4610101"/>
              <a:gd name="connsiteY24751" fmla="*/ 917405 h 6557032"/>
              <a:gd name="connsiteX24752" fmla="*/ 291549 w 4610101"/>
              <a:gd name="connsiteY24752" fmla="*/ 917405 h 6557032"/>
              <a:gd name="connsiteX24753" fmla="*/ 289726 w 4610101"/>
              <a:gd name="connsiteY24753" fmla="*/ 921049 h 6557032"/>
              <a:gd name="connsiteX24754" fmla="*/ 298837 w 4610101"/>
              <a:gd name="connsiteY24754" fmla="*/ 930160 h 6557032"/>
              <a:gd name="connsiteX24755" fmla="*/ 298609 w 4610101"/>
              <a:gd name="connsiteY24755" fmla="*/ 923783 h 6557032"/>
              <a:gd name="connsiteX24756" fmla="*/ 296129 w 4610101"/>
              <a:gd name="connsiteY24756" fmla="*/ 921543 h 6557032"/>
              <a:gd name="connsiteX24757" fmla="*/ 3359449 w 4610101"/>
              <a:gd name="connsiteY24757" fmla="*/ 917307 h 6557032"/>
              <a:gd name="connsiteX24758" fmla="*/ 3360089 w 4610101"/>
              <a:gd name="connsiteY24758" fmla="*/ 919227 h 6557032"/>
              <a:gd name="connsiteX24759" fmla="*/ 3359005 w 4610101"/>
              <a:gd name="connsiteY24759" fmla="*/ 918714 h 6557032"/>
              <a:gd name="connsiteX24760" fmla="*/ 413697 w 4610101"/>
              <a:gd name="connsiteY24760" fmla="*/ 917154 h 6557032"/>
              <a:gd name="connsiteX24761" fmla="*/ 414766 w 4610101"/>
              <a:gd name="connsiteY24761" fmla="*/ 918046 h 6557032"/>
              <a:gd name="connsiteX24762" fmla="*/ 414089 w 4610101"/>
              <a:gd name="connsiteY24762" fmla="*/ 917861 h 6557032"/>
              <a:gd name="connsiteX24763" fmla="*/ 885576 w 4610101"/>
              <a:gd name="connsiteY24763" fmla="*/ 915638 h 6557032"/>
              <a:gd name="connsiteX24764" fmla="*/ 889222 w 4610101"/>
              <a:gd name="connsiteY24764" fmla="*/ 917461 h 6557032"/>
              <a:gd name="connsiteX24765" fmla="*/ 883754 w 4610101"/>
              <a:gd name="connsiteY24765" fmla="*/ 917461 h 6557032"/>
              <a:gd name="connsiteX24766" fmla="*/ 885576 w 4610101"/>
              <a:gd name="connsiteY24766" fmla="*/ 915638 h 6557032"/>
              <a:gd name="connsiteX24767" fmla="*/ 1342942 w 4610101"/>
              <a:gd name="connsiteY24767" fmla="*/ 915583 h 6557032"/>
              <a:gd name="connsiteX24768" fmla="*/ 1333832 w 4610101"/>
              <a:gd name="connsiteY24768" fmla="*/ 921049 h 6557032"/>
              <a:gd name="connsiteX24769" fmla="*/ 1337476 w 4610101"/>
              <a:gd name="connsiteY24769" fmla="*/ 919227 h 6557032"/>
              <a:gd name="connsiteX24770" fmla="*/ 1342942 w 4610101"/>
              <a:gd name="connsiteY24770" fmla="*/ 921049 h 6557032"/>
              <a:gd name="connsiteX24771" fmla="*/ 1342942 w 4610101"/>
              <a:gd name="connsiteY24771" fmla="*/ 915583 h 6557032"/>
              <a:gd name="connsiteX24772" fmla="*/ 1306499 w 4610101"/>
              <a:gd name="connsiteY24772" fmla="*/ 915583 h 6557032"/>
              <a:gd name="connsiteX24773" fmla="*/ 1297388 w 4610101"/>
              <a:gd name="connsiteY24773" fmla="*/ 928339 h 6557032"/>
              <a:gd name="connsiteX24774" fmla="*/ 1297271 w 4610101"/>
              <a:gd name="connsiteY24774" fmla="*/ 925640 h 6557032"/>
              <a:gd name="connsiteX24775" fmla="*/ 736159 w 4610101"/>
              <a:gd name="connsiteY24775" fmla="*/ 915583 h 6557032"/>
              <a:gd name="connsiteX24776" fmla="*/ 716115 w 4610101"/>
              <a:gd name="connsiteY24776" fmla="*/ 921049 h 6557032"/>
              <a:gd name="connsiteX24777" fmla="*/ 723404 w 4610101"/>
              <a:gd name="connsiteY24777" fmla="*/ 921049 h 6557032"/>
              <a:gd name="connsiteX24778" fmla="*/ 699715 w 4610101"/>
              <a:gd name="connsiteY24778" fmla="*/ 944738 h 6557032"/>
              <a:gd name="connsiteX24779" fmla="*/ 721581 w 4610101"/>
              <a:gd name="connsiteY24779" fmla="*/ 939272 h 6557032"/>
              <a:gd name="connsiteX24780" fmla="*/ 710648 w 4610101"/>
              <a:gd name="connsiteY24780" fmla="*/ 935628 h 6557032"/>
              <a:gd name="connsiteX24781" fmla="*/ 716115 w 4610101"/>
              <a:gd name="connsiteY24781" fmla="*/ 933804 h 6557032"/>
              <a:gd name="connsiteX24782" fmla="*/ 716115 w 4610101"/>
              <a:gd name="connsiteY24782" fmla="*/ 931983 h 6557032"/>
              <a:gd name="connsiteX24783" fmla="*/ 736159 w 4610101"/>
              <a:gd name="connsiteY24783" fmla="*/ 930160 h 6557032"/>
              <a:gd name="connsiteX24784" fmla="*/ 736159 w 4610101"/>
              <a:gd name="connsiteY24784" fmla="*/ 917405 h 6557032"/>
              <a:gd name="connsiteX24785" fmla="*/ 723404 w 4610101"/>
              <a:gd name="connsiteY24785" fmla="*/ 922872 h 6557032"/>
              <a:gd name="connsiteX24786" fmla="*/ 736159 w 4610101"/>
              <a:gd name="connsiteY24786" fmla="*/ 915583 h 6557032"/>
              <a:gd name="connsiteX24787" fmla="*/ 705182 w 4610101"/>
              <a:gd name="connsiteY24787" fmla="*/ 915583 h 6557032"/>
              <a:gd name="connsiteX24788" fmla="*/ 703359 w 4610101"/>
              <a:gd name="connsiteY24788" fmla="*/ 919227 h 6557032"/>
              <a:gd name="connsiteX24789" fmla="*/ 710648 w 4610101"/>
              <a:gd name="connsiteY24789" fmla="*/ 917405 h 6557032"/>
              <a:gd name="connsiteX24790" fmla="*/ 705182 w 4610101"/>
              <a:gd name="connsiteY24790" fmla="*/ 915583 h 6557032"/>
              <a:gd name="connsiteX24791" fmla="*/ 701537 w 4610101"/>
              <a:gd name="connsiteY24791" fmla="*/ 915583 h 6557032"/>
              <a:gd name="connsiteX24792" fmla="*/ 694249 w 4610101"/>
              <a:gd name="connsiteY24792" fmla="*/ 921049 h 6557032"/>
              <a:gd name="connsiteX24793" fmla="*/ 701537 w 4610101"/>
              <a:gd name="connsiteY24793" fmla="*/ 915583 h 6557032"/>
              <a:gd name="connsiteX24794" fmla="*/ 628650 w 4610101"/>
              <a:gd name="connsiteY24794" fmla="*/ 915583 h 6557032"/>
              <a:gd name="connsiteX24795" fmla="*/ 625006 w 4610101"/>
              <a:gd name="connsiteY24795" fmla="*/ 919227 h 6557032"/>
              <a:gd name="connsiteX24796" fmla="*/ 634117 w 4610101"/>
              <a:gd name="connsiteY24796" fmla="*/ 919227 h 6557032"/>
              <a:gd name="connsiteX24797" fmla="*/ 628650 w 4610101"/>
              <a:gd name="connsiteY24797" fmla="*/ 915583 h 6557032"/>
              <a:gd name="connsiteX24798" fmla="*/ 515676 w 4610101"/>
              <a:gd name="connsiteY24798" fmla="*/ 915583 h 6557032"/>
              <a:gd name="connsiteX24799" fmla="*/ 519320 w 4610101"/>
              <a:gd name="connsiteY24799" fmla="*/ 917405 h 6557032"/>
              <a:gd name="connsiteX24800" fmla="*/ 515676 w 4610101"/>
              <a:gd name="connsiteY24800" fmla="*/ 915583 h 6557032"/>
              <a:gd name="connsiteX24801" fmla="*/ 491987 w 4610101"/>
              <a:gd name="connsiteY24801" fmla="*/ 915583 h 6557032"/>
              <a:gd name="connsiteX24802" fmla="*/ 488343 w 4610101"/>
              <a:gd name="connsiteY24802" fmla="*/ 917405 h 6557032"/>
              <a:gd name="connsiteX24803" fmla="*/ 502920 w 4610101"/>
              <a:gd name="connsiteY24803" fmla="*/ 917405 h 6557032"/>
              <a:gd name="connsiteX24804" fmla="*/ 501098 w 4610101"/>
              <a:gd name="connsiteY24804" fmla="*/ 915583 h 6557032"/>
              <a:gd name="connsiteX24805" fmla="*/ 491987 w 4610101"/>
              <a:gd name="connsiteY24805" fmla="*/ 915583 h 6557032"/>
              <a:gd name="connsiteX24806" fmla="*/ 411812 w 4610101"/>
              <a:gd name="connsiteY24806" fmla="*/ 915583 h 6557032"/>
              <a:gd name="connsiteX24807" fmla="*/ 412927 w 4610101"/>
              <a:gd name="connsiteY24807" fmla="*/ 915770 h 6557032"/>
              <a:gd name="connsiteX24808" fmla="*/ 413697 w 4610101"/>
              <a:gd name="connsiteY24808" fmla="*/ 917154 h 6557032"/>
              <a:gd name="connsiteX24809" fmla="*/ 275149 w 4610101"/>
              <a:gd name="connsiteY24809" fmla="*/ 915583 h 6557032"/>
              <a:gd name="connsiteX24810" fmla="*/ 280615 w 4610101"/>
              <a:gd name="connsiteY24810" fmla="*/ 921049 h 6557032"/>
              <a:gd name="connsiteX24811" fmla="*/ 275149 w 4610101"/>
              <a:gd name="connsiteY24811" fmla="*/ 915583 h 6557032"/>
              <a:gd name="connsiteX24812" fmla="*/ 200439 w 4610101"/>
              <a:gd name="connsiteY24812" fmla="*/ 915583 h 6557032"/>
              <a:gd name="connsiteX24813" fmla="*/ 218661 w 4610101"/>
              <a:gd name="connsiteY24813" fmla="*/ 939272 h 6557032"/>
              <a:gd name="connsiteX24814" fmla="*/ 216839 w 4610101"/>
              <a:gd name="connsiteY24814" fmla="*/ 935628 h 6557032"/>
              <a:gd name="connsiteX24815" fmla="*/ 229594 w 4610101"/>
              <a:gd name="connsiteY24815" fmla="*/ 942916 h 6557032"/>
              <a:gd name="connsiteX24816" fmla="*/ 200439 w 4610101"/>
              <a:gd name="connsiteY24816" fmla="*/ 915583 h 6557032"/>
              <a:gd name="connsiteX24817" fmla="*/ 2154682 w 4610101"/>
              <a:gd name="connsiteY24817" fmla="*/ 914672 h 6557032"/>
              <a:gd name="connsiteX24818" fmla="*/ 2155632 w 4610101"/>
              <a:gd name="connsiteY24818" fmla="*/ 915355 h 6557032"/>
              <a:gd name="connsiteX24819" fmla="*/ 2157454 w 4610101"/>
              <a:gd name="connsiteY24819" fmla="*/ 924695 h 6557032"/>
              <a:gd name="connsiteX24820" fmla="*/ 2155632 w 4610101"/>
              <a:gd name="connsiteY24820" fmla="*/ 926517 h 6557032"/>
              <a:gd name="connsiteX24821" fmla="*/ 2155632 w 4610101"/>
              <a:gd name="connsiteY24821" fmla="*/ 922872 h 6557032"/>
              <a:gd name="connsiteX24822" fmla="*/ 2153810 w 4610101"/>
              <a:gd name="connsiteY24822" fmla="*/ 924695 h 6557032"/>
              <a:gd name="connsiteX24823" fmla="*/ 3363734 w 4610101"/>
              <a:gd name="connsiteY24823" fmla="*/ 913761 h 6557032"/>
              <a:gd name="connsiteX24824" fmla="*/ 3365224 w 4610101"/>
              <a:gd name="connsiteY24824" fmla="*/ 918229 h 6557032"/>
              <a:gd name="connsiteX24825" fmla="*/ 3361911 w 4610101"/>
              <a:gd name="connsiteY24825" fmla="*/ 919227 h 6557032"/>
              <a:gd name="connsiteX24826" fmla="*/ 3360670 w 4610101"/>
              <a:gd name="connsiteY24826" fmla="*/ 915974 h 6557032"/>
              <a:gd name="connsiteX24827" fmla="*/ 3234359 w 4610101"/>
              <a:gd name="connsiteY24827" fmla="*/ 913761 h 6557032"/>
              <a:gd name="connsiteX24828" fmla="*/ 3230715 w 4610101"/>
              <a:gd name="connsiteY24828" fmla="*/ 919227 h 6557032"/>
              <a:gd name="connsiteX24829" fmla="*/ 3232537 w 4610101"/>
              <a:gd name="connsiteY24829" fmla="*/ 917405 h 6557032"/>
              <a:gd name="connsiteX24830" fmla="*/ 3238003 w 4610101"/>
              <a:gd name="connsiteY24830" fmla="*/ 921049 h 6557032"/>
              <a:gd name="connsiteX24831" fmla="*/ 3234359 w 4610101"/>
              <a:gd name="connsiteY24831" fmla="*/ 913761 h 6557032"/>
              <a:gd name="connsiteX24832" fmla="*/ 1326543 w 4610101"/>
              <a:gd name="connsiteY24832" fmla="*/ 913761 h 6557032"/>
              <a:gd name="connsiteX24833" fmla="*/ 1324721 w 4610101"/>
              <a:gd name="connsiteY24833" fmla="*/ 919227 h 6557032"/>
              <a:gd name="connsiteX24834" fmla="*/ 1332009 w 4610101"/>
              <a:gd name="connsiteY24834" fmla="*/ 922872 h 6557032"/>
              <a:gd name="connsiteX24835" fmla="*/ 1339299 w 4610101"/>
              <a:gd name="connsiteY24835" fmla="*/ 915583 h 6557032"/>
              <a:gd name="connsiteX24836" fmla="*/ 1332009 w 4610101"/>
              <a:gd name="connsiteY24836" fmla="*/ 913761 h 6557032"/>
              <a:gd name="connsiteX24837" fmla="*/ 1330188 w 4610101"/>
              <a:gd name="connsiteY24837" fmla="*/ 919227 h 6557032"/>
              <a:gd name="connsiteX24838" fmla="*/ 1328365 w 4610101"/>
              <a:gd name="connsiteY24838" fmla="*/ 913761 h 6557032"/>
              <a:gd name="connsiteX24839" fmla="*/ 1326543 w 4610101"/>
              <a:gd name="connsiteY24839" fmla="*/ 913761 h 6557032"/>
              <a:gd name="connsiteX24840" fmla="*/ 1237256 w 4610101"/>
              <a:gd name="connsiteY24840" fmla="*/ 913761 h 6557032"/>
              <a:gd name="connsiteX24841" fmla="*/ 1231790 w 4610101"/>
              <a:gd name="connsiteY24841" fmla="*/ 919227 h 6557032"/>
              <a:gd name="connsiteX24842" fmla="*/ 1237256 w 4610101"/>
              <a:gd name="connsiteY24842" fmla="*/ 913761 h 6557032"/>
              <a:gd name="connsiteX24843" fmla="*/ 881933 w 4610101"/>
              <a:gd name="connsiteY24843" fmla="*/ 913761 h 6557032"/>
              <a:gd name="connsiteX24844" fmla="*/ 881933 w 4610101"/>
              <a:gd name="connsiteY24844" fmla="*/ 917405 h 6557032"/>
              <a:gd name="connsiteX24845" fmla="*/ 885577 w 4610101"/>
              <a:gd name="connsiteY24845" fmla="*/ 919227 h 6557032"/>
              <a:gd name="connsiteX24846" fmla="*/ 881933 w 4610101"/>
              <a:gd name="connsiteY24846" fmla="*/ 919227 h 6557032"/>
              <a:gd name="connsiteX24847" fmla="*/ 887399 w 4610101"/>
              <a:gd name="connsiteY24847" fmla="*/ 926516 h 6557032"/>
              <a:gd name="connsiteX24848" fmla="*/ 889222 w 4610101"/>
              <a:gd name="connsiteY24848" fmla="*/ 921049 h 6557032"/>
              <a:gd name="connsiteX24849" fmla="*/ 891043 w 4610101"/>
              <a:gd name="connsiteY24849" fmla="*/ 921049 h 6557032"/>
              <a:gd name="connsiteX24850" fmla="*/ 889222 w 4610101"/>
              <a:gd name="connsiteY24850" fmla="*/ 922872 h 6557032"/>
              <a:gd name="connsiteX24851" fmla="*/ 891043 w 4610101"/>
              <a:gd name="connsiteY24851" fmla="*/ 922872 h 6557032"/>
              <a:gd name="connsiteX24852" fmla="*/ 901976 w 4610101"/>
              <a:gd name="connsiteY24852" fmla="*/ 942916 h 6557032"/>
              <a:gd name="connsiteX24853" fmla="*/ 900154 w 4610101"/>
              <a:gd name="connsiteY24853" fmla="*/ 939272 h 6557032"/>
              <a:gd name="connsiteX24854" fmla="*/ 901976 w 4610101"/>
              <a:gd name="connsiteY24854" fmla="*/ 941094 h 6557032"/>
              <a:gd name="connsiteX24855" fmla="*/ 891043 w 4610101"/>
              <a:gd name="connsiteY24855" fmla="*/ 921049 h 6557032"/>
              <a:gd name="connsiteX24856" fmla="*/ 892866 w 4610101"/>
              <a:gd name="connsiteY24856" fmla="*/ 921049 h 6557032"/>
              <a:gd name="connsiteX24857" fmla="*/ 881933 w 4610101"/>
              <a:gd name="connsiteY24857" fmla="*/ 913761 h 6557032"/>
              <a:gd name="connsiteX24858" fmla="*/ 266038 w 4610101"/>
              <a:gd name="connsiteY24858" fmla="*/ 913761 h 6557032"/>
              <a:gd name="connsiteX24859" fmla="*/ 289726 w 4610101"/>
              <a:gd name="connsiteY24859" fmla="*/ 931983 h 6557032"/>
              <a:gd name="connsiteX24860" fmla="*/ 271504 w 4610101"/>
              <a:gd name="connsiteY24860" fmla="*/ 919227 h 6557032"/>
              <a:gd name="connsiteX24861" fmla="*/ 266038 w 4610101"/>
              <a:gd name="connsiteY24861" fmla="*/ 913761 h 6557032"/>
              <a:gd name="connsiteX24862" fmla="*/ 1319254 w 4610101"/>
              <a:gd name="connsiteY24862" fmla="*/ 911939 h 6557032"/>
              <a:gd name="connsiteX24863" fmla="*/ 1322899 w 4610101"/>
              <a:gd name="connsiteY24863" fmla="*/ 917405 h 6557032"/>
              <a:gd name="connsiteX24864" fmla="*/ 1319254 w 4610101"/>
              <a:gd name="connsiteY24864" fmla="*/ 911939 h 6557032"/>
              <a:gd name="connsiteX24865" fmla="*/ 1217213 w 4610101"/>
              <a:gd name="connsiteY24865" fmla="*/ 911939 h 6557032"/>
              <a:gd name="connsiteX24866" fmla="*/ 1178947 w 4610101"/>
              <a:gd name="connsiteY24866" fmla="*/ 926516 h 6557032"/>
              <a:gd name="connsiteX24867" fmla="*/ 1184414 w 4610101"/>
              <a:gd name="connsiteY24867" fmla="*/ 928339 h 6557032"/>
              <a:gd name="connsiteX24868" fmla="*/ 1186236 w 4610101"/>
              <a:gd name="connsiteY24868" fmla="*/ 924695 h 6557032"/>
              <a:gd name="connsiteX24869" fmla="*/ 1196941 w 4610101"/>
              <a:gd name="connsiteY24869" fmla="*/ 930389 h 6557032"/>
              <a:gd name="connsiteX24870" fmla="*/ 1199751 w 4610101"/>
              <a:gd name="connsiteY24870" fmla="*/ 929654 h 6557032"/>
              <a:gd name="connsiteX24871" fmla="*/ 1198991 w 4610101"/>
              <a:gd name="connsiteY24871" fmla="*/ 930160 h 6557032"/>
              <a:gd name="connsiteX24872" fmla="*/ 1203282 w 4610101"/>
              <a:gd name="connsiteY24872" fmla="*/ 928730 h 6557032"/>
              <a:gd name="connsiteX24873" fmla="*/ 1204408 w 4610101"/>
              <a:gd name="connsiteY24873" fmla="*/ 928435 h 6557032"/>
              <a:gd name="connsiteX24874" fmla="*/ 1202636 w 4610101"/>
              <a:gd name="connsiteY24874" fmla="*/ 931983 h 6557032"/>
              <a:gd name="connsiteX24875" fmla="*/ 1215390 w 4610101"/>
              <a:gd name="connsiteY24875" fmla="*/ 928339 h 6557032"/>
              <a:gd name="connsiteX24876" fmla="*/ 1204779 w 4610101"/>
              <a:gd name="connsiteY24876" fmla="*/ 928339 h 6557032"/>
              <a:gd name="connsiteX24877" fmla="*/ 1211747 w 4610101"/>
              <a:gd name="connsiteY24877" fmla="*/ 926516 h 6557032"/>
              <a:gd name="connsiteX24878" fmla="*/ 1211747 w 4610101"/>
              <a:gd name="connsiteY24878" fmla="*/ 922872 h 6557032"/>
              <a:gd name="connsiteX24879" fmla="*/ 1226323 w 4610101"/>
              <a:gd name="connsiteY24879" fmla="*/ 919227 h 6557032"/>
              <a:gd name="connsiteX24880" fmla="*/ 1217213 w 4610101"/>
              <a:gd name="connsiteY24880" fmla="*/ 911939 h 6557032"/>
              <a:gd name="connsiteX24881" fmla="*/ 506565 w 4610101"/>
              <a:gd name="connsiteY24881" fmla="*/ 911939 h 6557032"/>
              <a:gd name="connsiteX24882" fmla="*/ 512031 w 4610101"/>
              <a:gd name="connsiteY24882" fmla="*/ 915583 h 6557032"/>
              <a:gd name="connsiteX24883" fmla="*/ 506565 w 4610101"/>
              <a:gd name="connsiteY24883" fmla="*/ 911939 h 6557032"/>
              <a:gd name="connsiteX24884" fmla="*/ 258749 w 4610101"/>
              <a:gd name="connsiteY24884" fmla="*/ 911939 h 6557032"/>
              <a:gd name="connsiteX24885" fmla="*/ 287904 w 4610101"/>
              <a:gd name="connsiteY24885" fmla="*/ 941094 h 6557032"/>
              <a:gd name="connsiteX24886" fmla="*/ 273327 w 4610101"/>
              <a:gd name="connsiteY24886" fmla="*/ 930160 h 6557032"/>
              <a:gd name="connsiteX24887" fmla="*/ 258749 w 4610101"/>
              <a:gd name="connsiteY24887" fmla="*/ 911939 h 6557032"/>
              <a:gd name="connsiteX24888" fmla="*/ 3251215 w 4610101"/>
              <a:gd name="connsiteY24888" fmla="*/ 911711 h 6557032"/>
              <a:gd name="connsiteX24889" fmla="*/ 3239826 w 4610101"/>
              <a:gd name="connsiteY24889" fmla="*/ 911939 h 6557032"/>
              <a:gd name="connsiteX24890" fmla="*/ 3254403 w 4610101"/>
              <a:gd name="connsiteY24890" fmla="*/ 921049 h 6557032"/>
              <a:gd name="connsiteX24891" fmla="*/ 3251215 w 4610101"/>
              <a:gd name="connsiteY24891" fmla="*/ 911711 h 6557032"/>
              <a:gd name="connsiteX24892" fmla="*/ 3376261 w 4610101"/>
              <a:gd name="connsiteY24892" fmla="*/ 910572 h 6557032"/>
              <a:gd name="connsiteX24893" fmla="*/ 3380319 w 4610101"/>
              <a:gd name="connsiteY24893" fmla="*/ 911958 h 6557032"/>
              <a:gd name="connsiteX24894" fmla="*/ 3378539 w 4610101"/>
              <a:gd name="connsiteY24894" fmla="*/ 914217 h 6557032"/>
              <a:gd name="connsiteX24895" fmla="*/ 3365556 w 4610101"/>
              <a:gd name="connsiteY24895" fmla="*/ 918129 h 6557032"/>
              <a:gd name="connsiteX24896" fmla="*/ 3365556 w 4610101"/>
              <a:gd name="connsiteY24896" fmla="*/ 915583 h 6557032"/>
              <a:gd name="connsiteX24897" fmla="*/ 3376261 w 4610101"/>
              <a:gd name="connsiteY24897" fmla="*/ 910572 h 6557032"/>
              <a:gd name="connsiteX24898" fmla="*/ 909265 w 4610101"/>
              <a:gd name="connsiteY24898" fmla="*/ 910163 h 6557032"/>
              <a:gd name="connsiteX24899" fmla="*/ 912909 w 4610101"/>
              <a:gd name="connsiteY24899" fmla="*/ 911985 h 6557032"/>
              <a:gd name="connsiteX24900" fmla="*/ 912910 w 4610101"/>
              <a:gd name="connsiteY24900" fmla="*/ 911986 h 6557032"/>
              <a:gd name="connsiteX24901" fmla="*/ 912909 w 4610101"/>
              <a:gd name="connsiteY24901" fmla="*/ 911987 h 6557032"/>
              <a:gd name="connsiteX24902" fmla="*/ 911090 w 4610101"/>
              <a:gd name="connsiteY24902" fmla="*/ 913806 h 6557032"/>
              <a:gd name="connsiteX24903" fmla="*/ 920198 w 4610101"/>
              <a:gd name="connsiteY24903" fmla="*/ 919271 h 6557032"/>
              <a:gd name="connsiteX24904" fmla="*/ 918376 w 4610101"/>
              <a:gd name="connsiteY24904" fmla="*/ 932027 h 6557032"/>
              <a:gd name="connsiteX24905" fmla="*/ 911087 w 4610101"/>
              <a:gd name="connsiteY24905" fmla="*/ 915626 h 6557032"/>
              <a:gd name="connsiteX24906" fmla="*/ 911087 w 4610101"/>
              <a:gd name="connsiteY24906" fmla="*/ 913808 h 6557032"/>
              <a:gd name="connsiteX24907" fmla="*/ 909265 w 4610101"/>
              <a:gd name="connsiteY24907" fmla="*/ 911986 h 6557032"/>
              <a:gd name="connsiteX24908" fmla="*/ 909265 w 4610101"/>
              <a:gd name="connsiteY24908" fmla="*/ 910163 h 6557032"/>
              <a:gd name="connsiteX24909" fmla="*/ 1228146 w 4610101"/>
              <a:gd name="connsiteY24909" fmla="*/ 910117 h 6557032"/>
              <a:gd name="connsiteX24910" fmla="*/ 1229969 w 4610101"/>
              <a:gd name="connsiteY24910" fmla="*/ 911939 h 6557032"/>
              <a:gd name="connsiteX24911" fmla="*/ 1228146 w 4610101"/>
              <a:gd name="connsiteY24911" fmla="*/ 910117 h 6557032"/>
              <a:gd name="connsiteX24912" fmla="*/ 1228146 w 4610101"/>
              <a:gd name="connsiteY24912" fmla="*/ 910117 h 6557032"/>
              <a:gd name="connsiteX24913" fmla="*/ 1220858 w 4610101"/>
              <a:gd name="connsiteY24913" fmla="*/ 911939 h 6557032"/>
              <a:gd name="connsiteX24914" fmla="*/ 1229969 w 4610101"/>
              <a:gd name="connsiteY24914" fmla="*/ 913761 h 6557032"/>
              <a:gd name="connsiteX24915" fmla="*/ 1231790 w 4610101"/>
              <a:gd name="connsiteY24915" fmla="*/ 915583 h 6557032"/>
              <a:gd name="connsiteX24916" fmla="*/ 1237256 w 4610101"/>
              <a:gd name="connsiteY24916" fmla="*/ 911939 h 6557032"/>
              <a:gd name="connsiteX24917" fmla="*/ 1228146 w 4610101"/>
              <a:gd name="connsiteY24917" fmla="*/ 910117 h 6557032"/>
              <a:gd name="connsiteX24918" fmla="*/ 723404 w 4610101"/>
              <a:gd name="connsiteY24918" fmla="*/ 910117 h 6557032"/>
              <a:gd name="connsiteX24919" fmla="*/ 708826 w 4610101"/>
              <a:gd name="connsiteY24919" fmla="*/ 913761 h 6557032"/>
              <a:gd name="connsiteX24920" fmla="*/ 723404 w 4610101"/>
              <a:gd name="connsiteY24920" fmla="*/ 910117 h 6557032"/>
              <a:gd name="connsiteX24921" fmla="*/ 719759 w 4610101"/>
              <a:gd name="connsiteY24921" fmla="*/ 915583 h 6557032"/>
              <a:gd name="connsiteX24922" fmla="*/ 728870 w 4610101"/>
              <a:gd name="connsiteY24922" fmla="*/ 913761 h 6557032"/>
              <a:gd name="connsiteX24923" fmla="*/ 723404 w 4610101"/>
              <a:gd name="connsiteY24923" fmla="*/ 910117 h 6557032"/>
              <a:gd name="connsiteX24924" fmla="*/ 362613 w 4610101"/>
              <a:gd name="connsiteY24924" fmla="*/ 910117 h 6557032"/>
              <a:gd name="connsiteX24925" fmla="*/ 371724 w 4610101"/>
              <a:gd name="connsiteY24925" fmla="*/ 917405 h 6557032"/>
              <a:gd name="connsiteX24926" fmla="*/ 362613 w 4610101"/>
              <a:gd name="connsiteY24926" fmla="*/ 910117 h 6557032"/>
              <a:gd name="connsiteX24927" fmla="*/ 1204457 w 4610101"/>
              <a:gd name="connsiteY24927" fmla="*/ 909206 h 6557032"/>
              <a:gd name="connsiteX24928" fmla="*/ 1195346 w 4610101"/>
              <a:gd name="connsiteY24928" fmla="*/ 913761 h 6557032"/>
              <a:gd name="connsiteX24929" fmla="*/ 1213568 w 4610101"/>
              <a:gd name="connsiteY24929" fmla="*/ 910117 h 6557032"/>
              <a:gd name="connsiteX24930" fmla="*/ 1204457 w 4610101"/>
              <a:gd name="connsiteY24930" fmla="*/ 909206 h 6557032"/>
              <a:gd name="connsiteX24931" fmla="*/ 487432 w 4610101"/>
              <a:gd name="connsiteY24931" fmla="*/ 909206 h 6557032"/>
              <a:gd name="connsiteX24932" fmla="*/ 482876 w 4610101"/>
              <a:gd name="connsiteY24932" fmla="*/ 910117 h 6557032"/>
              <a:gd name="connsiteX24933" fmla="*/ 491987 w 4610101"/>
              <a:gd name="connsiteY24933" fmla="*/ 913761 h 6557032"/>
              <a:gd name="connsiteX24934" fmla="*/ 487432 w 4610101"/>
              <a:gd name="connsiteY24934" fmla="*/ 909206 h 6557032"/>
              <a:gd name="connsiteX24935" fmla="*/ 1304677 w 4610101"/>
              <a:gd name="connsiteY24935" fmla="*/ 908295 h 6557032"/>
              <a:gd name="connsiteX24936" fmla="*/ 1297388 w 4610101"/>
              <a:gd name="connsiteY24936" fmla="*/ 919227 h 6557032"/>
              <a:gd name="connsiteX24937" fmla="*/ 1301033 w 4610101"/>
              <a:gd name="connsiteY24937" fmla="*/ 919227 h 6557032"/>
              <a:gd name="connsiteX24938" fmla="*/ 1297161 w 4610101"/>
              <a:gd name="connsiteY24938" fmla="*/ 923100 h 6557032"/>
              <a:gd name="connsiteX24939" fmla="*/ 1297271 w 4610101"/>
              <a:gd name="connsiteY24939" fmla="*/ 925640 h 6557032"/>
              <a:gd name="connsiteX24940" fmla="*/ 1288733 w 4610101"/>
              <a:gd name="connsiteY24940" fmla="*/ 934944 h 6557032"/>
              <a:gd name="connsiteX24941" fmla="*/ 1262767 w 4610101"/>
              <a:gd name="connsiteY24941" fmla="*/ 950204 h 6557032"/>
              <a:gd name="connsiteX24942" fmla="*/ 1270056 w 4610101"/>
              <a:gd name="connsiteY24942" fmla="*/ 948383 h 6557032"/>
              <a:gd name="connsiteX24943" fmla="*/ 1306499 w 4610101"/>
              <a:gd name="connsiteY24943" fmla="*/ 946560 h 6557032"/>
              <a:gd name="connsiteX24944" fmla="*/ 1311966 w 4610101"/>
              <a:gd name="connsiteY24944" fmla="*/ 935628 h 6557032"/>
              <a:gd name="connsiteX24945" fmla="*/ 1311966 w 4610101"/>
              <a:gd name="connsiteY24945" fmla="*/ 942916 h 6557032"/>
              <a:gd name="connsiteX24946" fmla="*/ 1321761 w 4610101"/>
              <a:gd name="connsiteY24946" fmla="*/ 934260 h 6557032"/>
              <a:gd name="connsiteX24947" fmla="*/ 1323289 w 4610101"/>
              <a:gd name="connsiteY24947" fmla="*/ 928377 h 6557032"/>
              <a:gd name="connsiteX24948" fmla="*/ 1325176 w 4610101"/>
              <a:gd name="connsiteY24948" fmla="*/ 928566 h 6557032"/>
              <a:gd name="connsiteX24949" fmla="*/ 1324721 w 4610101"/>
              <a:gd name="connsiteY24949" fmla="*/ 924695 h 6557032"/>
              <a:gd name="connsiteX24950" fmla="*/ 1323734 w 4610101"/>
              <a:gd name="connsiteY24950" fmla="*/ 926669 h 6557032"/>
              <a:gd name="connsiteX24951" fmla="*/ 1324721 w 4610101"/>
              <a:gd name="connsiteY24951" fmla="*/ 922872 h 6557032"/>
              <a:gd name="connsiteX24952" fmla="*/ 1311966 w 4610101"/>
              <a:gd name="connsiteY24952" fmla="*/ 910117 h 6557032"/>
              <a:gd name="connsiteX24953" fmla="*/ 1304677 w 4610101"/>
              <a:gd name="connsiteY24953" fmla="*/ 908295 h 6557032"/>
              <a:gd name="connsiteX24954" fmla="*/ 1051395 w 4610101"/>
              <a:gd name="connsiteY24954" fmla="*/ 908295 h 6557032"/>
              <a:gd name="connsiteX24955" fmla="*/ 1044106 w 4610101"/>
              <a:gd name="connsiteY24955" fmla="*/ 917405 h 6557032"/>
              <a:gd name="connsiteX24956" fmla="*/ 1049573 w 4610101"/>
              <a:gd name="connsiteY24956" fmla="*/ 919227 h 6557032"/>
              <a:gd name="connsiteX24957" fmla="*/ 1051395 w 4610101"/>
              <a:gd name="connsiteY24957" fmla="*/ 908295 h 6557032"/>
              <a:gd name="connsiteX24958" fmla="*/ 743447 w 4610101"/>
              <a:gd name="connsiteY24958" fmla="*/ 908295 h 6557032"/>
              <a:gd name="connsiteX24959" fmla="*/ 739803 w 4610101"/>
              <a:gd name="connsiteY24959" fmla="*/ 910117 h 6557032"/>
              <a:gd name="connsiteX24960" fmla="*/ 743447 w 4610101"/>
              <a:gd name="connsiteY24960" fmla="*/ 908295 h 6557032"/>
              <a:gd name="connsiteX24961" fmla="*/ 736159 w 4610101"/>
              <a:gd name="connsiteY24961" fmla="*/ 908295 h 6557032"/>
              <a:gd name="connsiteX24962" fmla="*/ 727048 w 4610101"/>
              <a:gd name="connsiteY24962" fmla="*/ 910117 h 6557032"/>
              <a:gd name="connsiteX24963" fmla="*/ 736159 w 4610101"/>
              <a:gd name="connsiteY24963" fmla="*/ 908295 h 6557032"/>
              <a:gd name="connsiteX24964" fmla="*/ 614074 w 4610101"/>
              <a:gd name="connsiteY24964" fmla="*/ 908295 h 6557032"/>
              <a:gd name="connsiteX24965" fmla="*/ 625006 w 4610101"/>
              <a:gd name="connsiteY24965" fmla="*/ 910117 h 6557032"/>
              <a:gd name="connsiteX24966" fmla="*/ 614074 w 4610101"/>
              <a:gd name="connsiteY24966" fmla="*/ 908295 h 6557032"/>
              <a:gd name="connsiteX24967" fmla="*/ 612251 w 4610101"/>
              <a:gd name="connsiteY24967" fmla="*/ 908295 h 6557032"/>
              <a:gd name="connsiteX24968" fmla="*/ 608606 w 4610101"/>
              <a:gd name="connsiteY24968" fmla="*/ 910117 h 6557032"/>
              <a:gd name="connsiteX24969" fmla="*/ 612251 w 4610101"/>
              <a:gd name="connsiteY24969" fmla="*/ 908295 h 6557032"/>
              <a:gd name="connsiteX24970" fmla="*/ 424567 w 4610101"/>
              <a:gd name="connsiteY24970" fmla="*/ 908295 h 6557032"/>
              <a:gd name="connsiteX24971" fmla="*/ 431856 w 4610101"/>
              <a:gd name="connsiteY24971" fmla="*/ 915583 h 6557032"/>
              <a:gd name="connsiteX24972" fmla="*/ 424567 w 4610101"/>
              <a:gd name="connsiteY24972" fmla="*/ 908295 h 6557032"/>
              <a:gd name="connsiteX24973" fmla="*/ 349858 w 4610101"/>
              <a:gd name="connsiteY24973" fmla="*/ 908295 h 6557032"/>
              <a:gd name="connsiteX24974" fmla="*/ 371724 w 4610101"/>
              <a:gd name="connsiteY24974" fmla="*/ 921049 h 6557032"/>
              <a:gd name="connsiteX24975" fmla="*/ 355324 w 4610101"/>
              <a:gd name="connsiteY24975" fmla="*/ 910117 h 6557032"/>
              <a:gd name="connsiteX24976" fmla="*/ 351680 w 4610101"/>
              <a:gd name="connsiteY24976" fmla="*/ 908295 h 6557032"/>
              <a:gd name="connsiteX24977" fmla="*/ 349858 w 4610101"/>
              <a:gd name="connsiteY24977" fmla="*/ 908295 h 6557032"/>
              <a:gd name="connsiteX24978" fmla="*/ 335280 w 4610101"/>
              <a:gd name="connsiteY24978" fmla="*/ 908295 h 6557032"/>
              <a:gd name="connsiteX24979" fmla="*/ 346213 w 4610101"/>
              <a:gd name="connsiteY24979" fmla="*/ 924695 h 6557032"/>
              <a:gd name="connsiteX24980" fmla="*/ 346213 w 4610101"/>
              <a:gd name="connsiteY24980" fmla="*/ 921049 h 6557032"/>
              <a:gd name="connsiteX24981" fmla="*/ 355324 w 4610101"/>
              <a:gd name="connsiteY24981" fmla="*/ 926516 h 6557032"/>
              <a:gd name="connsiteX24982" fmla="*/ 349858 w 4610101"/>
              <a:gd name="connsiteY24982" fmla="*/ 922872 h 6557032"/>
              <a:gd name="connsiteX24983" fmla="*/ 368079 w 4610101"/>
              <a:gd name="connsiteY24983" fmla="*/ 924695 h 6557032"/>
              <a:gd name="connsiteX24984" fmla="*/ 342569 w 4610101"/>
              <a:gd name="connsiteY24984" fmla="*/ 908295 h 6557032"/>
              <a:gd name="connsiteX24985" fmla="*/ 338926 w 4610101"/>
              <a:gd name="connsiteY24985" fmla="*/ 911939 h 6557032"/>
              <a:gd name="connsiteX24986" fmla="*/ 335280 w 4610101"/>
              <a:gd name="connsiteY24986" fmla="*/ 908295 h 6557032"/>
              <a:gd name="connsiteX24987" fmla="*/ 693110 w 4610101"/>
              <a:gd name="connsiteY24987" fmla="*/ 907840 h 6557032"/>
              <a:gd name="connsiteX24988" fmla="*/ 686960 w 4610101"/>
              <a:gd name="connsiteY24988" fmla="*/ 908295 h 6557032"/>
              <a:gd name="connsiteX24989" fmla="*/ 683316 w 4610101"/>
              <a:gd name="connsiteY24989" fmla="*/ 913761 h 6557032"/>
              <a:gd name="connsiteX24990" fmla="*/ 697893 w 4610101"/>
              <a:gd name="connsiteY24990" fmla="*/ 910117 h 6557032"/>
              <a:gd name="connsiteX24991" fmla="*/ 693110 w 4610101"/>
              <a:gd name="connsiteY24991" fmla="*/ 907840 h 6557032"/>
              <a:gd name="connsiteX24992" fmla="*/ 1354951 w 4610101"/>
              <a:gd name="connsiteY24992" fmla="*/ 907650 h 6557032"/>
              <a:gd name="connsiteX24993" fmla="*/ 1353878 w 4610101"/>
              <a:gd name="connsiteY24993" fmla="*/ 908293 h 6557032"/>
              <a:gd name="connsiteX24994" fmla="*/ 1353876 w 4610101"/>
              <a:gd name="connsiteY24994" fmla="*/ 908294 h 6557032"/>
              <a:gd name="connsiteX24995" fmla="*/ 1353930 w 4610101"/>
              <a:gd name="connsiteY24995" fmla="*/ 908173 h 6557032"/>
              <a:gd name="connsiteX24996" fmla="*/ 1322899 w 4610101"/>
              <a:gd name="connsiteY24996" fmla="*/ 906473 h 6557032"/>
              <a:gd name="connsiteX24997" fmla="*/ 1319254 w 4610101"/>
              <a:gd name="connsiteY24997" fmla="*/ 910117 h 6557032"/>
              <a:gd name="connsiteX24998" fmla="*/ 1324721 w 4610101"/>
              <a:gd name="connsiteY24998" fmla="*/ 910117 h 6557032"/>
              <a:gd name="connsiteX24999" fmla="*/ 1322899 w 4610101"/>
              <a:gd name="connsiteY24999" fmla="*/ 906473 h 6557032"/>
              <a:gd name="connsiteX25000" fmla="*/ 1297388 w 4610101"/>
              <a:gd name="connsiteY25000" fmla="*/ 906473 h 6557032"/>
              <a:gd name="connsiteX25001" fmla="*/ 1284633 w 4610101"/>
              <a:gd name="connsiteY25001" fmla="*/ 921049 h 6557032"/>
              <a:gd name="connsiteX25002" fmla="*/ 1297388 w 4610101"/>
              <a:gd name="connsiteY25002" fmla="*/ 906473 h 6557032"/>
              <a:gd name="connsiteX25003" fmla="*/ 1295566 w 4610101"/>
              <a:gd name="connsiteY25003" fmla="*/ 906473 h 6557032"/>
              <a:gd name="connsiteX25004" fmla="*/ 1286455 w 4610101"/>
              <a:gd name="connsiteY25004" fmla="*/ 915583 h 6557032"/>
              <a:gd name="connsiteX25005" fmla="*/ 1295566 w 4610101"/>
              <a:gd name="connsiteY25005" fmla="*/ 906473 h 6557032"/>
              <a:gd name="connsiteX25006" fmla="*/ 1270056 w 4610101"/>
              <a:gd name="connsiteY25006" fmla="*/ 906473 h 6557032"/>
              <a:gd name="connsiteX25007" fmla="*/ 1268233 w 4610101"/>
              <a:gd name="connsiteY25007" fmla="*/ 910117 h 6557032"/>
              <a:gd name="connsiteX25008" fmla="*/ 1271878 w 4610101"/>
              <a:gd name="connsiteY25008" fmla="*/ 921049 h 6557032"/>
              <a:gd name="connsiteX25009" fmla="*/ 1275522 w 4610101"/>
              <a:gd name="connsiteY25009" fmla="*/ 922872 h 6557032"/>
              <a:gd name="connsiteX25010" fmla="*/ 1277344 w 4610101"/>
              <a:gd name="connsiteY25010" fmla="*/ 919227 h 6557032"/>
              <a:gd name="connsiteX25011" fmla="*/ 1282811 w 4610101"/>
              <a:gd name="connsiteY25011" fmla="*/ 917405 h 6557032"/>
              <a:gd name="connsiteX25012" fmla="*/ 1280989 w 4610101"/>
              <a:gd name="connsiteY25012" fmla="*/ 915583 h 6557032"/>
              <a:gd name="connsiteX25013" fmla="*/ 1280989 w 4610101"/>
              <a:gd name="connsiteY25013" fmla="*/ 908295 h 6557032"/>
              <a:gd name="connsiteX25014" fmla="*/ 1270056 w 4610101"/>
              <a:gd name="connsiteY25014" fmla="*/ 906473 h 6557032"/>
              <a:gd name="connsiteX25015" fmla="*/ 1080549 w 4610101"/>
              <a:gd name="connsiteY25015" fmla="*/ 906473 h 6557032"/>
              <a:gd name="connsiteX25016" fmla="*/ 1087838 w 4610101"/>
              <a:gd name="connsiteY25016" fmla="*/ 908295 h 6557032"/>
              <a:gd name="connsiteX25017" fmla="*/ 1080549 w 4610101"/>
              <a:gd name="connsiteY25017" fmla="*/ 906473 h 6557032"/>
              <a:gd name="connsiteX25018" fmla="*/ 1078727 w 4610101"/>
              <a:gd name="connsiteY25018" fmla="*/ 906473 h 6557032"/>
              <a:gd name="connsiteX25019" fmla="*/ 1067794 w 4610101"/>
              <a:gd name="connsiteY25019" fmla="*/ 913761 h 6557032"/>
              <a:gd name="connsiteX25020" fmla="*/ 1069616 w 4610101"/>
              <a:gd name="connsiteY25020" fmla="*/ 915583 h 6557032"/>
              <a:gd name="connsiteX25021" fmla="*/ 1055040 w 4610101"/>
              <a:gd name="connsiteY25021" fmla="*/ 942916 h 6557032"/>
              <a:gd name="connsiteX25022" fmla="*/ 1080549 w 4610101"/>
              <a:gd name="connsiteY25022" fmla="*/ 919227 h 6557032"/>
              <a:gd name="connsiteX25023" fmla="*/ 1082373 w 4610101"/>
              <a:gd name="connsiteY25023" fmla="*/ 915583 h 6557032"/>
              <a:gd name="connsiteX25024" fmla="*/ 1086016 w 4610101"/>
              <a:gd name="connsiteY25024" fmla="*/ 919227 h 6557032"/>
              <a:gd name="connsiteX25025" fmla="*/ 1084194 w 4610101"/>
              <a:gd name="connsiteY25025" fmla="*/ 911939 h 6557032"/>
              <a:gd name="connsiteX25026" fmla="*/ 1082373 w 4610101"/>
              <a:gd name="connsiteY25026" fmla="*/ 910117 h 6557032"/>
              <a:gd name="connsiteX25027" fmla="*/ 1078727 w 4610101"/>
              <a:gd name="connsiteY25027" fmla="*/ 906473 h 6557032"/>
              <a:gd name="connsiteX25028" fmla="*/ 1067794 w 4610101"/>
              <a:gd name="connsiteY25028" fmla="*/ 906473 h 6557032"/>
              <a:gd name="connsiteX25029" fmla="*/ 1065972 w 4610101"/>
              <a:gd name="connsiteY25029" fmla="*/ 910117 h 6557032"/>
              <a:gd name="connsiteX25030" fmla="*/ 1067794 w 4610101"/>
              <a:gd name="connsiteY25030" fmla="*/ 906473 h 6557032"/>
              <a:gd name="connsiteX25031" fmla="*/ 1056861 w 4610101"/>
              <a:gd name="connsiteY25031" fmla="*/ 906473 h 6557032"/>
              <a:gd name="connsiteX25032" fmla="*/ 1055040 w 4610101"/>
              <a:gd name="connsiteY25032" fmla="*/ 917405 h 6557032"/>
              <a:gd name="connsiteX25033" fmla="*/ 1065972 w 4610101"/>
              <a:gd name="connsiteY25033" fmla="*/ 908295 h 6557032"/>
              <a:gd name="connsiteX25034" fmla="*/ 1056861 w 4610101"/>
              <a:gd name="connsiteY25034" fmla="*/ 906473 h 6557032"/>
              <a:gd name="connsiteX25035" fmla="*/ 765313 w 4610101"/>
              <a:gd name="connsiteY25035" fmla="*/ 906473 h 6557032"/>
              <a:gd name="connsiteX25036" fmla="*/ 741626 w 4610101"/>
              <a:gd name="connsiteY25036" fmla="*/ 921049 h 6557032"/>
              <a:gd name="connsiteX25037" fmla="*/ 745269 w 4610101"/>
              <a:gd name="connsiteY25037" fmla="*/ 924695 h 6557032"/>
              <a:gd name="connsiteX25038" fmla="*/ 748914 w 4610101"/>
              <a:gd name="connsiteY25038" fmla="*/ 921049 h 6557032"/>
              <a:gd name="connsiteX25039" fmla="*/ 754380 w 4610101"/>
              <a:gd name="connsiteY25039" fmla="*/ 921049 h 6557032"/>
              <a:gd name="connsiteX25040" fmla="*/ 748914 w 4610101"/>
              <a:gd name="connsiteY25040" fmla="*/ 917405 h 6557032"/>
              <a:gd name="connsiteX25041" fmla="*/ 763491 w 4610101"/>
              <a:gd name="connsiteY25041" fmla="*/ 926516 h 6557032"/>
              <a:gd name="connsiteX25042" fmla="*/ 767136 w 4610101"/>
              <a:gd name="connsiteY25042" fmla="*/ 922872 h 6557032"/>
              <a:gd name="connsiteX25043" fmla="*/ 763491 w 4610101"/>
              <a:gd name="connsiteY25043" fmla="*/ 928339 h 6557032"/>
              <a:gd name="connsiteX25044" fmla="*/ 807223 w 4610101"/>
              <a:gd name="connsiteY25044" fmla="*/ 941094 h 6557032"/>
              <a:gd name="connsiteX25045" fmla="*/ 807223 w 4610101"/>
              <a:gd name="connsiteY25045" fmla="*/ 939272 h 6557032"/>
              <a:gd name="connsiteX25046" fmla="*/ 818156 w 4610101"/>
              <a:gd name="connsiteY25046" fmla="*/ 942916 h 6557032"/>
              <a:gd name="connsiteX25047" fmla="*/ 814512 w 4610101"/>
              <a:gd name="connsiteY25047" fmla="*/ 942916 h 6557032"/>
              <a:gd name="connsiteX25048" fmla="*/ 847311 w 4610101"/>
              <a:gd name="connsiteY25048" fmla="*/ 948383 h 6557032"/>
              <a:gd name="connsiteX25049" fmla="*/ 844944 w 4610101"/>
              <a:gd name="connsiteY25049" fmla="*/ 946197 h 6557032"/>
              <a:gd name="connsiteX25050" fmla="*/ 845489 w 4610101"/>
              <a:gd name="connsiteY25050" fmla="*/ 946560 h 6557032"/>
              <a:gd name="connsiteX25051" fmla="*/ 814512 w 4610101"/>
              <a:gd name="connsiteY25051" fmla="*/ 926516 h 6557032"/>
              <a:gd name="connsiteX25052" fmla="*/ 818156 w 4610101"/>
              <a:gd name="connsiteY25052" fmla="*/ 926516 h 6557032"/>
              <a:gd name="connsiteX25053" fmla="*/ 774424 w 4610101"/>
              <a:gd name="connsiteY25053" fmla="*/ 915583 h 6557032"/>
              <a:gd name="connsiteX25054" fmla="*/ 781713 w 4610101"/>
              <a:gd name="connsiteY25054" fmla="*/ 911939 h 6557032"/>
              <a:gd name="connsiteX25055" fmla="*/ 770781 w 4610101"/>
              <a:gd name="connsiteY25055" fmla="*/ 911939 h 6557032"/>
              <a:gd name="connsiteX25056" fmla="*/ 781713 w 4610101"/>
              <a:gd name="connsiteY25056" fmla="*/ 908295 h 6557032"/>
              <a:gd name="connsiteX25057" fmla="*/ 758025 w 4610101"/>
              <a:gd name="connsiteY25057" fmla="*/ 910117 h 6557032"/>
              <a:gd name="connsiteX25058" fmla="*/ 772602 w 4610101"/>
              <a:gd name="connsiteY25058" fmla="*/ 915583 h 6557032"/>
              <a:gd name="connsiteX25059" fmla="*/ 770781 w 4610101"/>
              <a:gd name="connsiteY25059" fmla="*/ 915583 h 6557032"/>
              <a:gd name="connsiteX25060" fmla="*/ 774424 w 4610101"/>
              <a:gd name="connsiteY25060" fmla="*/ 917405 h 6557032"/>
              <a:gd name="connsiteX25061" fmla="*/ 748914 w 4610101"/>
              <a:gd name="connsiteY25061" fmla="*/ 910117 h 6557032"/>
              <a:gd name="connsiteX25062" fmla="*/ 765313 w 4610101"/>
              <a:gd name="connsiteY25062" fmla="*/ 906473 h 6557032"/>
              <a:gd name="connsiteX25063" fmla="*/ 477410 w 4610101"/>
              <a:gd name="connsiteY25063" fmla="*/ 906473 h 6557032"/>
              <a:gd name="connsiteX25064" fmla="*/ 481054 w 4610101"/>
              <a:gd name="connsiteY25064" fmla="*/ 908295 h 6557032"/>
              <a:gd name="connsiteX25065" fmla="*/ 477410 w 4610101"/>
              <a:gd name="connsiteY25065" fmla="*/ 906473 h 6557032"/>
              <a:gd name="connsiteX25066" fmla="*/ 266038 w 4610101"/>
              <a:gd name="connsiteY25066" fmla="*/ 906473 h 6557032"/>
              <a:gd name="connsiteX25067" fmla="*/ 276971 w 4610101"/>
              <a:gd name="connsiteY25067" fmla="*/ 913761 h 6557032"/>
              <a:gd name="connsiteX25068" fmla="*/ 271504 w 4610101"/>
              <a:gd name="connsiteY25068" fmla="*/ 906473 h 6557032"/>
              <a:gd name="connsiteX25069" fmla="*/ 266038 w 4610101"/>
              <a:gd name="connsiteY25069" fmla="*/ 906473 h 6557032"/>
              <a:gd name="connsiteX25070" fmla="*/ 231416 w 4610101"/>
              <a:gd name="connsiteY25070" fmla="*/ 906473 h 6557032"/>
              <a:gd name="connsiteX25071" fmla="*/ 267860 w 4610101"/>
              <a:gd name="connsiteY25071" fmla="*/ 939272 h 6557032"/>
              <a:gd name="connsiteX25072" fmla="*/ 251460 w 4610101"/>
              <a:gd name="connsiteY25072" fmla="*/ 911939 h 6557032"/>
              <a:gd name="connsiteX25073" fmla="*/ 231416 w 4610101"/>
              <a:gd name="connsiteY25073" fmla="*/ 906473 h 6557032"/>
              <a:gd name="connsiteX25074" fmla="*/ 229594 w 4610101"/>
              <a:gd name="connsiteY25074" fmla="*/ 906473 h 6557032"/>
              <a:gd name="connsiteX25075" fmla="*/ 225950 w 4610101"/>
              <a:gd name="connsiteY25075" fmla="*/ 908295 h 6557032"/>
              <a:gd name="connsiteX25076" fmla="*/ 236883 w 4610101"/>
              <a:gd name="connsiteY25076" fmla="*/ 919227 h 6557032"/>
              <a:gd name="connsiteX25077" fmla="*/ 229594 w 4610101"/>
              <a:gd name="connsiteY25077" fmla="*/ 906473 h 6557032"/>
              <a:gd name="connsiteX25078" fmla="*/ 1263450 w 4610101"/>
              <a:gd name="connsiteY25078" fmla="*/ 906245 h 6557032"/>
              <a:gd name="connsiteX25079" fmla="*/ 1264589 w 4610101"/>
              <a:gd name="connsiteY25079" fmla="*/ 908294 h 6557032"/>
              <a:gd name="connsiteX25080" fmla="*/ 1262949 w 4610101"/>
              <a:gd name="connsiteY25080" fmla="*/ 906654 h 6557032"/>
              <a:gd name="connsiteX25081" fmla="*/ 2454863 w 4610101"/>
              <a:gd name="connsiteY25081" fmla="*/ 905457 h 6557032"/>
              <a:gd name="connsiteX25082" fmla="*/ 2455656 w 4610101"/>
              <a:gd name="connsiteY25082" fmla="*/ 905704 h 6557032"/>
              <a:gd name="connsiteX25083" fmla="*/ 2454469 w 4610101"/>
              <a:gd name="connsiteY25083" fmla="*/ 906473 h 6557032"/>
              <a:gd name="connsiteX25084" fmla="*/ 1299210 w 4610101"/>
              <a:gd name="connsiteY25084" fmla="*/ 904651 h 6557032"/>
              <a:gd name="connsiteX25085" fmla="*/ 1299210 w 4610101"/>
              <a:gd name="connsiteY25085" fmla="*/ 910117 h 6557032"/>
              <a:gd name="connsiteX25086" fmla="*/ 1302855 w 4610101"/>
              <a:gd name="connsiteY25086" fmla="*/ 906473 h 6557032"/>
              <a:gd name="connsiteX25087" fmla="*/ 1299210 w 4610101"/>
              <a:gd name="connsiteY25087" fmla="*/ 904651 h 6557032"/>
              <a:gd name="connsiteX25088" fmla="*/ 1158903 w 4610101"/>
              <a:gd name="connsiteY25088" fmla="*/ 904651 h 6557032"/>
              <a:gd name="connsiteX25089" fmla="*/ 1138859 w 4610101"/>
              <a:gd name="connsiteY25089" fmla="*/ 908295 h 6557032"/>
              <a:gd name="connsiteX25090" fmla="*/ 1135215 w 4610101"/>
              <a:gd name="connsiteY25090" fmla="*/ 913761 h 6557032"/>
              <a:gd name="connsiteX25091" fmla="*/ 1137037 w 4610101"/>
              <a:gd name="connsiteY25091" fmla="*/ 913761 h 6557032"/>
              <a:gd name="connsiteX25092" fmla="*/ 1131570 w 4610101"/>
              <a:gd name="connsiteY25092" fmla="*/ 919227 h 6557032"/>
              <a:gd name="connsiteX25093" fmla="*/ 1131570 w 4610101"/>
              <a:gd name="connsiteY25093" fmla="*/ 922872 h 6557032"/>
              <a:gd name="connsiteX25094" fmla="*/ 1127926 w 4610101"/>
              <a:gd name="connsiteY25094" fmla="*/ 926516 h 6557032"/>
              <a:gd name="connsiteX25095" fmla="*/ 1146148 w 4610101"/>
              <a:gd name="connsiteY25095" fmla="*/ 913761 h 6557032"/>
              <a:gd name="connsiteX25096" fmla="*/ 1146148 w 4610101"/>
              <a:gd name="connsiteY25096" fmla="*/ 915583 h 6557032"/>
              <a:gd name="connsiteX25097" fmla="*/ 1158903 w 4610101"/>
              <a:gd name="connsiteY25097" fmla="*/ 904651 h 6557032"/>
              <a:gd name="connsiteX25098" fmla="*/ 1095127 w 4610101"/>
              <a:gd name="connsiteY25098" fmla="*/ 904651 h 6557032"/>
              <a:gd name="connsiteX25099" fmla="*/ 1089660 w 4610101"/>
              <a:gd name="connsiteY25099" fmla="*/ 917405 h 6557032"/>
              <a:gd name="connsiteX25100" fmla="*/ 1095127 w 4610101"/>
              <a:gd name="connsiteY25100" fmla="*/ 904651 h 6557032"/>
              <a:gd name="connsiteX25101" fmla="*/ 123784 w 4610101"/>
              <a:gd name="connsiteY25101" fmla="*/ 904503 h 6557032"/>
              <a:gd name="connsiteX25102" fmla="*/ 123908 w 4610101"/>
              <a:gd name="connsiteY25102" fmla="*/ 904651 h 6557032"/>
              <a:gd name="connsiteX25103" fmla="*/ 123826 w 4610101"/>
              <a:gd name="connsiteY25103" fmla="*/ 904602 h 6557032"/>
              <a:gd name="connsiteX25104" fmla="*/ 1280988 w 4610101"/>
              <a:gd name="connsiteY25104" fmla="*/ 903967 h 6557032"/>
              <a:gd name="connsiteX25105" fmla="*/ 1277344 w 4610101"/>
              <a:gd name="connsiteY25105" fmla="*/ 904651 h 6557032"/>
              <a:gd name="connsiteX25106" fmla="*/ 1284633 w 4610101"/>
              <a:gd name="connsiteY25106" fmla="*/ 904651 h 6557032"/>
              <a:gd name="connsiteX25107" fmla="*/ 1280988 w 4610101"/>
              <a:gd name="connsiteY25107" fmla="*/ 903967 h 6557032"/>
              <a:gd name="connsiteX25108" fmla="*/ 2422125 w 4610101"/>
              <a:gd name="connsiteY25108" fmla="*/ 903966 h 6557032"/>
              <a:gd name="connsiteX25109" fmla="*/ 2414381 w 4610101"/>
              <a:gd name="connsiteY25109" fmla="*/ 908295 h 6557032"/>
              <a:gd name="connsiteX25110" fmla="*/ 2423492 w 4610101"/>
              <a:gd name="connsiteY25110" fmla="*/ 926516 h 6557032"/>
              <a:gd name="connsiteX25111" fmla="*/ 2427136 w 4610101"/>
              <a:gd name="connsiteY25111" fmla="*/ 911939 h 6557032"/>
              <a:gd name="connsiteX25112" fmla="*/ 2422125 w 4610101"/>
              <a:gd name="connsiteY25112" fmla="*/ 903966 h 6557032"/>
              <a:gd name="connsiteX25113" fmla="*/ 3493014 w 4610101"/>
              <a:gd name="connsiteY25113" fmla="*/ 903015 h 6557032"/>
              <a:gd name="connsiteX25114" fmla="*/ 3493791 w 4610101"/>
              <a:gd name="connsiteY25114" fmla="*/ 903056 h 6557032"/>
              <a:gd name="connsiteX25115" fmla="*/ 3496752 w 4610101"/>
              <a:gd name="connsiteY25115" fmla="*/ 904651 h 6557032"/>
              <a:gd name="connsiteX25116" fmla="*/ 3492124 w 4610101"/>
              <a:gd name="connsiteY25116" fmla="*/ 904795 h 6557032"/>
              <a:gd name="connsiteX25117" fmla="*/ 3429332 w 4610101"/>
              <a:gd name="connsiteY25117" fmla="*/ 902827 h 6557032"/>
              <a:gd name="connsiteX25118" fmla="*/ 3425687 w 4610101"/>
              <a:gd name="connsiteY25118" fmla="*/ 904651 h 6557032"/>
              <a:gd name="connsiteX25119" fmla="*/ 3436621 w 4610101"/>
              <a:gd name="connsiteY25119" fmla="*/ 913761 h 6557032"/>
              <a:gd name="connsiteX25120" fmla="*/ 3429332 w 4610101"/>
              <a:gd name="connsiteY25120" fmla="*/ 902827 h 6557032"/>
              <a:gd name="connsiteX25121" fmla="*/ 3387422 w 4610101"/>
              <a:gd name="connsiteY25121" fmla="*/ 902827 h 6557032"/>
              <a:gd name="connsiteX25122" fmla="*/ 3387422 w 4610101"/>
              <a:gd name="connsiteY25122" fmla="*/ 910117 h 6557032"/>
              <a:gd name="connsiteX25123" fmla="*/ 3387422 w 4610101"/>
              <a:gd name="connsiteY25123" fmla="*/ 902827 h 6557032"/>
              <a:gd name="connsiteX25124" fmla="*/ 3121384 w 4610101"/>
              <a:gd name="connsiteY25124" fmla="*/ 902827 h 6557032"/>
              <a:gd name="connsiteX25125" fmla="*/ 3095874 w 4610101"/>
              <a:gd name="connsiteY25125" fmla="*/ 928339 h 6557032"/>
              <a:gd name="connsiteX25126" fmla="*/ 3117740 w 4610101"/>
              <a:gd name="connsiteY25126" fmla="*/ 941094 h 6557032"/>
              <a:gd name="connsiteX25127" fmla="*/ 3117740 w 4610101"/>
              <a:gd name="connsiteY25127" fmla="*/ 935628 h 6557032"/>
              <a:gd name="connsiteX25128" fmla="*/ 3127534 w 4610101"/>
              <a:gd name="connsiteY25128" fmla="*/ 932211 h 6557032"/>
              <a:gd name="connsiteX25129" fmla="*/ 3128673 w 4610101"/>
              <a:gd name="connsiteY25129" fmla="*/ 937450 h 6557032"/>
              <a:gd name="connsiteX25130" fmla="*/ 3146895 w 4610101"/>
              <a:gd name="connsiteY25130" fmla="*/ 931983 h 6557032"/>
              <a:gd name="connsiteX25131" fmla="*/ 3135962 w 4610101"/>
              <a:gd name="connsiteY25131" fmla="*/ 928339 h 6557032"/>
              <a:gd name="connsiteX25132" fmla="*/ 3127534 w 4610101"/>
              <a:gd name="connsiteY25132" fmla="*/ 932210 h 6557032"/>
              <a:gd name="connsiteX25133" fmla="*/ 3125029 w 4610101"/>
              <a:gd name="connsiteY25133" fmla="*/ 919227 h 6557032"/>
              <a:gd name="connsiteX25134" fmla="*/ 3128673 w 4610101"/>
              <a:gd name="connsiteY25134" fmla="*/ 917405 h 6557032"/>
              <a:gd name="connsiteX25135" fmla="*/ 3121384 w 4610101"/>
              <a:gd name="connsiteY25135" fmla="*/ 902827 h 6557032"/>
              <a:gd name="connsiteX25136" fmla="*/ 2583843 w 4610101"/>
              <a:gd name="connsiteY25136" fmla="*/ 902827 h 6557032"/>
              <a:gd name="connsiteX25137" fmla="*/ 2589310 w 4610101"/>
              <a:gd name="connsiteY25137" fmla="*/ 937450 h 6557032"/>
              <a:gd name="connsiteX25138" fmla="*/ 2592954 w 4610101"/>
              <a:gd name="connsiteY25138" fmla="*/ 933804 h 6557032"/>
              <a:gd name="connsiteX25139" fmla="*/ 2618464 w 4610101"/>
              <a:gd name="connsiteY25139" fmla="*/ 957494 h 6557032"/>
              <a:gd name="connsiteX25140" fmla="*/ 2618464 w 4610101"/>
              <a:gd name="connsiteY25140" fmla="*/ 968427 h 6557032"/>
              <a:gd name="connsiteX25141" fmla="*/ 2614820 w 4610101"/>
              <a:gd name="connsiteY25141" fmla="*/ 970249 h 6557032"/>
              <a:gd name="connsiteX25142" fmla="*/ 2612998 w 4610101"/>
              <a:gd name="connsiteY25142" fmla="*/ 962960 h 6557032"/>
              <a:gd name="connsiteX25143" fmla="*/ 2602065 w 4610101"/>
              <a:gd name="connsiteY25143" fmla="*/ 964782 h 6557032"/>
              <a:gd name="connsiteX25144" fmla="*/ 2605709 w 4610101"/>
              <a:gd name="connsiteY25144" fmla="*/ 977538 h 6557032"/>
              <a:gd name="connsiteX25145" fmla="*/ 2602065 w 4610101"/>
              <a:gd name="connsiteY25145" fmla="*/ 970249 h 6557032"/>
              <a:gd name="connsiteX25146" fmla="*/ 2591132 w 4610101"/>
              <a:gd name="connsiteY25146" fmla="*/ 983004 h 6557032"/>
              <a:gd name="connsiteX25147" fmla="*/ 2607531 w 4610101"/>
              <a:gd name="connsiteY25147" fmla="*/ 983004 h 6557032"/>
              <a:gd name="connsiteX25148" fmla="*/ 2618464 w 4610101"/>
              <a:gd name="connsiteY25148" fmla="*/ 1004870 h 6557032"/>
              <a:gd name="connsiteX25149" fmla="*/ 2633042 w 4610101"/>
              <a:gd name="connsiteY25149" fmla="*/ 1008515 h 6557032"/>
              <a:gd name="connsiteX25150" fmla="*/ 2622109 w 4610101"/>
              <a:gd name="connsiteY25150" fmla="*/ 933804 h 6557032"/>
              <a:gd name="connsiteX25151" fmla="*/ 2616642 w 4610101"/>
              <a:gd name="connsiteY25151" fmla="*/ 948383 h 6557032"/>
              <a:gd name="connsiteX25152" fmla="*/ 2603887 w 4610101"/>
              <a:gd name="connsiteY25152" fmla="*/ 941094 h 6557032"/>
              <a:gd name="connsiteX25153" fmla="*/ 2603887 w 4610101"/>
              <a:gd name="connsiteY25153" fmla="*/ 933804 h 6557032"/>
              <a:gd name="connsiteX25154" fmla="*/ 2607531 w 4610101"/>
              <a:gd name="connsiteY25154" fmla="*/ 933804 h 6557032"/>
              <a:gd name="connsiteX25155" fmla="*/ 2607531 w 4610101"/>
              <a:gd name="connsiteY25155" fmla="*/ 941094 h 6557032"/>
              <a:gd name="connsiteX25156" fmla="*/ 2607531 w 4610101"/>
              <a:gd name="connsiteY25156" fmla="*/ 930160 h 6557032"/>
              <a:gd name="connsiteX25157" fmla="*/ 2605709 w 4610101"/>
              <a:gd name="connsiteY25157" fmla="*/ 931983 h 6557032"/>
              <a:gd name="connsiteX25158" fmla="*/ 2602065 w 4610101"/>
              <a:gd name="connsiteY25158" fmla="*/ 926516 h 6557032"/>
              <a:gd name="connsiteX25159" fmla="*/ 2583843 w 4610101"/>
              <a:gd name="connsiteY25159" fmla="*/ 902827 h 6557032"/>
              <a:gd name="connsiteX25160" fmla="*/ 2303228 w 4610101"/>
              <a:gd name="connsiteY25160" fmla="*/ 902827 h 6557032"/>
              <a:gd name="connsiteX25161" fmla="*/ 2303228 w 4610101"/>
              <a:gd name="connsiteY25161" fmla="*/ 910117 h 6557032"/>
              <a:gd name="connsiteX25162" fmla="*/ 2303228 w 4610101"/>
              <a:gd name="connsiteY25162" fmla="*/ 902827 h 6557032"/>
              <a:gd name="connsiteX25163" fmla="*/ 1362987 w 4610101"/>
              <a:gd name="connsiteY25163" fmla="*/ 902827 h 6557032"/>
              <a:gd name="connsiteX25164" fmla="*/ 1355470 w 4610101"/>
              <a:gd name="connsiteY25164" fmla="*/ 907383 h 6557032"/>
              <a:gd name="connsiteX25165" fmla="*/ 1354951 w 4610101"/>
              <a:gd name="connsiteY25165" fmla="*/ 907650 h 6557032"/>
              <a:gd name="connsiteX25166" fmla="*/ 1286455 w 4610101"/>
              <a:gd name="connsiteY25166" fmla="*/ 902827 h 6557032"/>
              <a:gd name="connsiteX25167" fmla="*/ 1286455 w 4610101"/>
              <a:gd name="connsiteY25167" fmla="*/ 906473 h 6557032"/>
              <a:gd name="connsiteX25168" fmla="*/ 1288277 w 4610101"/>
              <a:gd name="connsiteY25168" fmla="*/ 904651 h 6557032"/>
              <a:gd name="connsiteX25169" fmla="*/ 1286455 w 4610101"/>
              <a:gd name="connsiteY25169" fmla="*/ 902827 h 6557032"/>
              <a:gd name="connsiteX25170" fmla="*/ 1270056 w 4610101"/>
              <a:gd name="connsiteY25170" fmla="*/ 902827 h 6557032"/>
              <a:gd name="connsiteX25171" fmla="*/ 1280989 w 4610101"/>
              <a:gd name="connsiteY25171" fmla="*/ 902827 h 6557032"/>
              <a:gd name="connsiteX25172" fmla="*/ 1270056 w 4610101"/>
              <a:gd name="connsiteY25172" fmla="*/ 902827 h 6557032"/>
              <a:gd name="connsiteX25173" fmla="*/ 1259123 w 4610101"/>
              <a:gd name="connsiteY25173" fmla="*/ 902827 h 6557032"/>
              <a:gd name="connsiteX25174" fmla="*/ 1262949 w 4610101"/>
              <a:gd name="connsiteY25174" fmla="*/ 906654 h 6557032"/>
              <a:gd name="connsiteX25175" fmla="*/ 1260945 w 4610101"/>
              <a:gd name="connsiteY25175" fmla="*/ 908295 h 6557032"/>
              <a:gd name="connsiteX25176" fmla="*/ 1259123 w 4610101"/>
              <a:gd name="connsiteY25176" fmla="*/ 902827 h 6557032"/>
              <a:gd name="connsiteX25177" fmla="*/ 1259123 w 4610101"/>
              <a:gd name="connsiteY25177" fmla="*/ 902827 h 6557032"/>
              <a:gd name="connsiteX25178" fmla="*/ 1240901 w 4610101"/>
              <a:gd name="connsiteY25178" fmla="*/ 911939 h 6557032"/>
              <a:gd name="connsiteX25179" fmla="*/ 1244545 w 4610101"/>
              <a:gd name="connsiteY25179" fmla="*/ 924695 h 6557032"/>
              <a:gd name="connsiteX25180" fmla="*/ 1255478 w 4610101"/>
              <a:gd name="connsiteY25180" fmla="*/ 910117 h 6557032"/>
              <a:gd name="connsiteX25181" fmla="*/ 1255478 w 4610101"/>
              <a:gd name="connsiteY25181" fmla="*/ 922872 h 6557032"/>
              <a:gd name="connsiteX25182" fmla="*/ 1260945 w 4610101"/>
              <a:gd name="connsiteY25182" fmla="*/ 921049 h 6557032"/>
              <a:gd name="connsiteX25183" fmla="*/ 1257300 w 4610101"/>
              <a:gd name="connsiteY25183" fmla="*/ 915583 h 6557032"/>
              <a:gd name="connsiteX25184" fmla="*/ 1264589 w 4610101"/>
              <a:gd name="connsiteY25184" fmla="*/ 919227 h 6557032"/>
              <a:gd name="connsiteX25185" fmla="*/ 1266411 w 4610101"/>
              <a:gd name="connsiteY25185" fmla="*/ 910117 h 6557032"/>
              <a:gd name="connsiteX25186" fmla="*/ 1264589 w 4610101"/>
              <a:gd name="connsiteY25186" fmla="*/ 908294 h 6557032"/>
              <a:gd name="connsiteX25187" fmla="*/ 1263222 w 4610101"/>
              <a:gd name="connsiteY25187" fmla="*/ 904878 h 6557032"/>
              <a:gd name="connsiteX25188" fmla="*/ 1259123 w 4610101"/>
              <a:gd name="connsiteY25188" fmla="*/ 902827 h 6557032"/>
              <a:gd name="connsiteX25189" fmla="*/ 1124282 w 4610101"/>
              <a:gd name="connsiteY25189" fmla="*/ 902827 h 6557032"/>
              <a:gd name="connsiteX25190" fmla="*/ 1120637 w 4610101"/>
              <a:gd name="connsiteY25190" fmla="*/ 917405 h 6557032"/>
              <a:gd name="connsiteX25191" fmla="*/ 1127926 w 4610101"/>
              <a:gd name="connsiteY25191" fmla="*/ 910117 h 6557032"/>
              <a:gd name="connsiteX25192" fmla="*/ 1124282 w 4610101"/>
              <a:gd name="connsiteY25192" fmla="*/ 902827 h 6557032"/>
              <a:gd name="connsiteX25193" fmla="*/ 1113349 w 4610101"/>
              <a:gd name="connsiteY25193" fmla="*/ 902827 h 6557032"/>
              <a:gd name="connsiteX25194" fmla="*/ 1109704 w 4610101"/>
              <a:gd name="connsiteY25194" fmla="*/ 911939 h 6557032"/>
              <a:gd name="connsiteX25195" fmla="*/ 1093305 w 4610101"/>
              <a:gd name="connsiteY25195" fmla="*/ 930160 h 6557032"/>
              <a:gd name="connsiteX25196" fmla="*/ 1109704 w 4610101"/>
              <a:gd name="connsiteY25196" fmla="*/ 919227 h 6557032"/>
              <a:gd name="connsiteX25197" fmla="*/ 1106060 w 4610101"/>
              <a:gd name="connsiteY25197" fmla="*/ 924695 h 6557032"/>
              <a:gd name="connsiteX25198" fmla="*/ 1120637 w 4610101"/>
              <a:gd name="connsiteY25198" fmla="*/ 906473 h 6557032"/>
              <a:gd name="connsiteX25199" fmla="*/ 1113349 w 4610101"/>
              <a:gd name="connsiteY25199" fmla="*/ 902827 h 6557032"/>
              <a:gd name="connsiteX25200" fmla="*/ 1104238 w 4610101"/>
              <a:gd name="connsiteY25200" fmla="*/ 902827 h 6557032"/>
              <a:gd name="connsiteX25201" fmla="*/ 1104238 w 4610101"/>
              <a:gd name="connsiteY25201" fmla="*/ 911939 h 6557032"/>
              <a:gd name="connsiteX25202" fmla="*/ 1104238 w 4610101"/>
              <a:gd name="connsiteY25202" fmla="*/ 902827 h 6557032"/>
              <a:gd name="connsiteX25203" fmla="*/ 1102416 w 4610101"/>
              <a:gd name="connsiteY25203" fmla="*/ 902827 h 6557032"/>
              <a:gd name="connsiteX25204" fmla="*/ 1096949 w 4610101"/>
              <a:gd name="connsiteY25204" fmla="*/ 913761 h 6557032"/>
              <a:gd name="connsiteX25205" fmla="*/ 1102416 w 4610101"/>
              <a:gd name="connsiteY25205" fmla="*/ 902827 h 6557032"/>
              <a:gd name="connsiteX25206" fmla="*/ 422745 w 4610101"/>
              <a:gd name="connsiteY25206" fmla="*/ 902827 h 6557032"/>
              <a:gd name="connsiteX25207" fmla="*/ 439145 w 4610101"/>
              <a:gd name="connsiteY25207" fmla="*/ 915583 h 6557032"/>
              <a:gd name="connsiteX25208" fmla="*/ 437550 w 4610101"/>
              <a:gd name="connsiteY25208" fmla="*/ 913306 h 6557032"/>
              <a:gd name="connsiteX25209" fmla="*/ 439145 w 4610101"/>
              <a:gd name="connsiteY25209" fmla="*/ 910117 h 6557032"/>
              <a:gd name="connsiteX25210" fmla="*/ 442789 w 4610101"/>
              <a:gd name="connsiteY25210" fmla="*/ 911939 h 6557032"/>
              <a:gd name="connsiteX25211" fmla="*/ 439145 w 4610101"/>
              <a:gd name="connsiteY25211" fmla="*/ 908295 h 6557032"/>
              <a:gd name="connsiteX25212" fmla="*/ 437322 w 4610101"/>
              <a:gd name="connsiteY25212" fmla="*/ 910117 h 6557032"/>
              <a:gd name="connsiteX25213" fmla="*/ 422745 w 4610101"/>
              <a:gd name="connsiteY25213" fmla="*/ 902827 h 6557032"/>
              <a:gd name="connsiteX25214" fmla="*/ 304303 w 4610101"/>
              <a:gd name="connsiteY25214" fmla="*/ 902827 h 6557032"/>
              <a:gd name="connsiteX25215" fmla="*/ 313414 w 4610101"/>
              <a:gd name="connsiteY25215" fmla="*/ 906473 h 6557032"/>
              <a:gd name="connsiteX25216" fmla="*/ 309771 w 4610101"/>
              <a:gd name="connsiteY25216" fmla="*/ 902827 h 6557032"/>
              <a:gd name="connsiteX25217" fmla="*/ 304303 w 4610101"/>
              <a:gd name="connsiteY25217" fmla="*/ 902827 h 6557032"/>
              <a:gd name="connsiteX25218" fmla="*/ 147596 w 4610101"/>
              <a:gd name="connsiteY25218" fmla="*/ 902827 h 6557032"/>
              <a:gd name="connsiteX25219" fmla="*/ 167640 w 4610101"/>
              <a:gd name="connsiteY25219" fmla="*/ 921049 h 6557032"/>
              <a:gd name="connsiteX25220" fmla="*/ 147596 w 4610101"/>
              <a:gd name="connsiteY25220" fmla="*/ 902827 h 6557032"/>
              <a:gd name="connsiteX25221" fmla="*/ 3375247 w 4610101"/>
              <a:gd name="connsiteY25221" fmla="*/ 901450 h 6557032"/>
              <a:gd name="connsiteX25222" fmla="*/ 3367378 w 4610101"/>
              <a:gd name="connsiteY25222" fmla="*/ 904651 h 6557032"/>
              <a:gd name="connsiteX25223" fmla="*/ 3375122 w 4610101"/>
              <a:gd name="connsiteY25223" fmla="*/ 901461 h 6557032"/>
              <a:gd name="connsiteX25224" fmla="*/ 1194618 w 4610101"/>
              <a:gd name="connsiteY25224" fmla="*/ 901370 h 6557032"/>
              <a:gd name="connsiteX25225" fmla="*/ 1195346 w 4610101"/>
              <a:gd name="connsiteY25225" fmla="*/ 902827 h 6557032"/>
              <a:gd name="connsiteX25226" fmla="*/ 1194236 w 4610101"/>
              <a:gd name="connsiteY25226" fmla="*/ 904423 h 6557032"/>
              <a:gd name="connsiteX25227" fmla="*/ 3456664 w 4610101"/>
              <a:gd name="connsiteY25227" fmla="*/ 901005 h 6557032"/>
              <a:gd name="connsiteX25228" fmla="*/ 3447553 w 4610101"/>
              <a:gd name="connsiteY25228" fmla="*/ 908295 h 6557032"/>
              <a:gd name="connsiteX25229" fmla="*/ 3456664 w 4610101"/>
              <a:gd name="connsiteY25229" fmla="*/ 901005 h 6557032"/>
              <a:gd name="connsiteX25230" fmla="*/ 2582021 w 4610101"/>
              <a:gd name="connsiteY25230" fmla="*/ 901005 h 6557032"/>
              <a:gd name="connsiteX25231" fmla="*/ 2574732 w 4610101"/>
              <a:gd name="connsiteY25231" fmla="*/ 902827 h 6557032"/>
              <a:gd name="connsiteX25232" fmla="*/ 2580199 w 4610101"/>
              <a:gd name="connsiteY25232" fmla="*/ 919227 h 6557032"/>
              <a:gd name="connsiteX25233" fmla="*/ 2582021 w 4610101"/>
              <a:gd name="connsiteY25233" fmla="*/ 901005 h 6557032"/>
              <a:gd name="connsiteX25234" fmla="*/ 661449 w 4610101"/>
              <a:gd name="connsiteY25234" fmla="*/ 901005 h 6557032"/>
              <a:gd name="connsiteX25235" fmla="*/ 650516 w 4610101"/>
              <a:gd name="connsiteY25235" fmla="*/ 902827 h 6557032"/>
              <a:gd name="connsiteX25236" fmla="*/ 663272 w 4610101"/>
              <a:gd name="connsiteY25236" fmla="*/ 906473 h 6557032"/>
              <a:gd name="connsiteX25237" fmla="*/ 661449 w 4610101"/>
              <a:gd name="connsiteY25237" fmla="*/ 901005 h 6557032"/>
              <a:gd name="connsiteX25238" fmla="*/ 643228 w 4610101"/>
              <a:gd name="connsiteY25238" fmla="*/ 901005 h 6557032"/>
              <a:gd name="connsiteX25239" fmla="*/ 645050 w 4610101"/>
              <a:gd name="connsiteY25239" fmla="*/ 902827 h 6557032"/>
              <a:gd name="connsiteX25240" fmla="*/ 643228 w 4610101"/>
              <a:gd name="connsiteY25240" fmla="*/ 901005 h 6557032"/>
              <a:gd name="connsiteX25241" fmla="*/ 244172 w 4610101"/>
              <a:gd name="connsiteY25241" fmla="*/ 901005 h 6557032"/>
              <a:gd name="connsiteX25242" fmla="*/ 249448 w 4610101"/>
              <a:gd name="connsiteY25242" fmla="*/ 903267 h 6557032"/>
              <a:gd name="connsiteX25243" fmla="*/ 251460 w 4610101"/>
              <a:gd name="connsiteY25243" fmla="*/ 904651 h 6557032"/>
              <a:gd name="connsiteX25244" fmla="*/ 251391 w 4610101"/>
              <a:gd name="connsiteY25244" fmla="*/ 904100 h 6557032"/>
              <a:gd name="connsiteX25245" fmla="*/ 256927 w 4610101"/>
              <a:gd name="connsiteY25245" fmla="*/ 906473 h 6557032"/>
              <a:gd name="connsiteX25246" fmla="*/ 249638 w 4610101"/>
              <a:gd name="connsiteY25246" fmla="*/ 901005 h 6557032"/>
              <a:gd name="connsiteX25247" fmla="*/ 251232 w 4610101"/>
              <a:gd name="connsiteY25247" fmla="*/ 902828 h 6557032"/>
              <a:gd name="connsiteX25248" fmla="*/ 251391 w 4610101"/>
              <a:gd name="connsiteY25248" fmla="*/ 904100 h 6557032"/>
              <a:gd name="connsiteX25249" fmla="*/ 249448 w 4610101"/>
              <a:gd name="connsiteY25249" fmla="*/ 903267 h 6557032"/>
              <a:gd name="connsiteX25250" fmla="*/ 247816 w 4610101"/>
              <a:gd name="connsiteY25250" fmla="*/ 902145 h 6557032"/>
              <a:gd name="connsiteX25251" fmla="*/ 244172 w 4610101"/>
              <a:gd name="connsiteY25251" fmla="*/ 901005 h 6557032"/>
              <a:gd name="connsiteX25252" fmla="*/ 156707 w 4610101"/>
              <a:gd name="connsiteY25252" fmla="*/ 901005 h 6557032"/>
              <a:gd name="connsiteX25253" fmla="*/ 178573 w 4610101"/>
              <a:gd name="connsiteY25253" fmla="*/ 928339 h 6557032"/>
              <a:gd name="connsiteX25254" fmla="*/ 156707 w 4610101"/>
              <a:gd name="connsiteY25254" fmla="*/ 901005 h 6557032"/>
              <a:gd name="connsiteX25255" fmla="*/ 142130 w 4610101"/>
              <a:gd name="connsiteY25255" fmla="*/ 901005 h 6557032"/>
              <a:gd name="connsiteX25256" fmla="*/ 163996 w 4610101"/>
              <a:gd name="connsiteY25256" fmla="*/ 928339 h 6557032"/>
              <a:gd name="connsiteX25257" fmla="*/ 163996 w 4610101"/>
              <a:gd name="connsiteY25257" fmla="*/ 924695 h 6557032"/>
              <a:gd name="connsiteX25258" fmla="*/ 176751 w 4610101"/>
              <a:gd name="connsiteY25258" fmla="*/ 931983 h 6557032"/>
              <a:gd name="connsiteX25259" fmla="*/ 142130 w 4610101"/>
              <a:gd name="connsiteY25259" fmla="*/ 901005 h 6557032"/>
              <a:gd name="connsiteX25260" fmla="*/ 2591132 w 4610101"/>
              <a:gd name="connsiteY25260" fmla="*/ 899183 h 6557032"/>
              <a:gd name="connsiteX25261" fmla="*/ 2603887 w 4610101"/>
              <a:gd name="connsiteY25261" fmla="*/ 921049 h 6557032"/>
              <a:gd name="connsiteX25262" fmla="*/ 2611176 w 4610101"/>
              <a:gd name="connsiteY25262" fmla="*/ 921049 h 6557032"/>
              <a:gd name="connsiteX25263" fmla="*/ 2605709 w 4610101"/>
              <a:gd name="connsiteY25263" fmla="*/ 915583 h 6557032"/>
              <a:gd name="connsiteX25264" fmla="*/ 2607531 w 4610101"/>
              <a:gd name="connsiteY25264" fmla="*/ 913761 h 6557032"/>
              <a:gd name="connsiteX25265" fmla="*/ 2611176 w 4610101"/>
              <a:gd name="connsiteY25265" fmla="*/ 917405 h 6557032"/>
              <a:gd name="connsiteX25266" fmla="*/ 2605709 w 4610101"/>
              <a:gd name="connsiteY25266" fmla="*/ 908295 h 6557032"/>
              <a:gd name="connsiteX25267" fmla="*/ 2607531 w 4610101"/>
              <a:gd name="connsiteY25267" fmla="*/ 904651 h 6557032"/>
              <a:gd name="connsiteX25268" fmla="*/ 2591132 w 4610101"/>
              <a:gd name="connsiteY25268" fmla="*/ 899183 h 6557032"/>
              <a:gd name="connsiteX25269" fmla="*/ 2489090 w 4610101"/>
              <a:gd name="connsiteY25269" fmla="*/ 899183 h 6557032"/>
              <a:gd name="connsiteX25270" fmla="*/ 2478157 w 4610101"/>
              <a:gd name="connsiteY25270" fmla="*/ 919227 h 6557032"/>
              <a:gd name="connsiteX25271" fmla="*/ 2474513 w 4610101"/>
              <a:gd name="connsiteY25271" fmla="*/ 913761 h 6557032"/>
              <a:gd name="connsiteX25272" fmla="*/ 2481801 w 4610101"/>
              <a:gd name="connsiteY25272" fmla="*/ 944738 h 6557032"/>
              <a:gd name="connsiteX25273" fmla="*/ 2489090 w 4610101"/>
              <a:gd name="connsiteY25273" fmla="*/ 899183 h 6557032"/>
              <a:gd name="connsiteX25274" fmla="*/ 2474513 w 4610101"/>
              <a:gd name="connsiteY25274" fmla="*/ 899183 h 6557032"/>
              <a:gd name="connsiteX25275" fmla="*/ 2443536 w 4610101"/>
              <a:gd name="connsiteY25275" fmla="*/ 924695 h 6557032"/>
              <a:gd name="connsiteX25276" fmla="*/ 2445358 w 4610101"/>
              <a:gd name="connsiteY25276" fmla="*/ 931983 h 6557032"/>
              <a:gd name="connsiteX25277" fmla="*/ 2474513 w 4610101"/>
              <a:gd name="connsiteY25277" fmla="*/ 899183 h 6557032"/>
              <a:gd name="connsiteX25278" fmla="*/ 2408914 w 4610101"/>
              <a:gd name="connsiteY25278" fmla="*/ 899183 h 6557032"/>
              <a:gd name="connsiteX25279" fmla="*/ 2405270 w 4610101"/>
              <a:gd name="connsiteY25279" fmla="*/ 902827 h 6557032"/>
              <a:gd name="connsiteX25280" fmla="*/ 2410737 w 4610101"/>
              <a:gd name="connsiteY25280" fmla="*/ 908295 h 6557032"/>
              <a:gd name="connsiteX25281" fmla="*/ 2408914 w 4610101"/>
              <a:gd name="connsiteY25281" fmla="*/ 922872 h 6557032"/>
              <a:gd name="connsiteX25282" fmla="*/ 2403448 w 4610101"/>
              <a:gd name="connsiteY25282" fmla="*/ 910117 h 6557032"/>
              <a:gd name="connsiteX25283" fmla="*/ 2403448 w 4610101"/>
              <a:gd name="connsiteY25283" fmla="*/ 922872 h 6557032"/>
              <a:gd name="connsiteX25284" fmla="*/ 2399803 w 4610101"/>
              <a:gd name="connsiteY25284" fmla="*/ 922872 h 6557032"/>
              <a:gd name="connsiteX25285" fmla="*/ 2403448 w 4610101"/>
              <a:gd name="connsiteY25285" fmla="*/ 944738 h 6557032"/>
              <a:gd name="connsiteX25286" fmla="*/ 2418025 w 4610101"/>
              <a:gd name="connsiteY25286" fmla="*/ 931983 h 6557032"/>
              <a:gd name="connsiteX25287" fmla="*/ 2408914 w 4610101"/>
              <a:gd name="connsiteY25287" fmla="*/ 899183 h 6557032"/>
              <a:gd name="connsiteX25288" fmla="*/ 1344765 w 4610101"/>
              <a:gd name="connsiteY25288" fmla="*/ 899183 h 6557032"/>
              <a:gd name="connsiteX25289" fmla="*/ 1324721 w 4610101"/>
              <a:gd name="connsiteY25289" fmla="*/ 908295 h 6557032"/>
              <a:gd name="connsiteX25290" fmla="*/ 1328365 w 4610101"/>
              <a:gd name="connsiteY25290" fmla="*/ 911939 h 6557032"/>
              <a:gd name="connsiteX25291" fmla="*/ 1341120 w 4610101"/>
              <a:gd name="connsiteY25291" fmla="*/ 911939 h 6557032"/>
              <a:gd name="connsiteX25292" fmla="*/ 1341120 w 4610101"/>
              <a:gd name="connsiteY25292" fmla="*/ 906473 h 6557032"/>
              <a:gd name="connsiteX25293" fmla="*/ 1344765 w 4610101"/>
              <a:gd name="connsiteY25293" fmla="*/ 904651 h 6557032"/>
              <a:gd name="connsiteX25294" fmla="*/ 1344765 w 4610101"/>
              <a:gd name="connsiteY25294" fmla="*/ 908295 h 6557032"/>
              <a:gd name="connsiteX25295" fmla="*/ 1344765 w 4610101"/>
              <a:gd name="connsiteY25295" fmla="*/ 904651 h 6557032"/>
              <a:gd name="connsiteX25296" fmla="*/ 668738 w 4610101"/>
              <a:gd name="connsiteY25296" fmla="*/ 899183 h 6557032"/>
              <a:gd name="connsiteX25297" fmla="*/ 663272 w 4610101"/>
              <a:gd name="connsiteY25297" fmla="*/ 901005 h 6557032"/>
              <a:gd name="connsiteX25298" fmla="*/ 665094 w 4610101"/>
              <a:gd name="connsiteY25298" fmla="*/ 906473 h 6557032"/>
              <a:gd name="connsiteX25299" fmla="*/ 672383 w 4610101"/>
              <a:gd name="connsiteY25299" fmla="*/ 901005 h 6557032"/>
              <a:gd name="connsiteX25300" fmla="*/ 668738 w 4610101"/>
              <a:gd name="connsiteY25300" fmla="*/ 899183 h 6557032"/>
              <a:gd name="connsiteX25301" fmla="*/ 563052 w 4610101"/>
              <a:gd name="connsiteY25301" fmla="*/ 899183 h 6557032"/>
              <a:gd name="connsiteX25302" fmla="*/ 568519 w 4610101"/>
              <a:gd name="connsiteY25302" fmla="*/ 904651 h 6557032"/>
              <a:gd name="connsiteX25303" fmla="*/ 563052 w 4610101"/>
              <a:gd name="connsiteY25303" fmla="*/ 899183 h 6557032"/>
              <a:gd name="connsiteX25304" fmla="*/ 377190 w 4610101"/>
              <a:gd name="connsiteY25304" fmla="*/ 899183 h 6557032"/>
              <a:gd name="connsiteX25305" fmla="*/ 391768 w 4610101"/>
              <a:gd name="connsiteY25305" fmla="*/ 919227 h 6557032"/>
              <a:gd name="connsiteX25306" fmla="*/ 379012 w 4610101"/>
              <a:gd name="connsiteY25306" fmla="*/ 899183 h 6557032"/>
              <a:gd name="connsiteX25307" fmla="*/ 377190 w 4610101"/>
              <a:gd name="connsiteY25307" fmla="*/ 899183 h 6557032"/>
              <a:gd name="connsiteX25308" fmla="*/ 375368 w 4610101"/>
              <a:gd name="connsiteY25308" fmla="*/ 899183 h 6557032"/>
              <a:gd name="connsiteX25309" fmla="*/ 373546 w 4610101"/>
              <a:gd name="connsiteY25309" fmla="*/ 901005 h 6557032"/>
              <a:gd name="connsiteX25310" fmla="*/ 379012 w 4610101"/>
              <a:gd name="connsiteY25310" fmla="*/ 904651 h 6557032"/>
              <a:gd name="connsiteX25311" fmla="*/ 375368 w 4610101"/>
              <a:gd name="connsiteY25311" fmla="*/ 899183 h 6557032"/>
              <a:gd name="connsiteX25312" fmla="*/ 262393 w 4610101"/>
              <a:gd name="connsiteY25312" fmla="*/ 899183 h 6557032"/>
              <a:gd name="connsiteX25313" fmla="*/ 256927 w 4610101"/>
              <a:gd name="connsiteY25313" fmla="*/ 902827 h 6557032"/>
              <a:gd name="connsiteX25314" fmla="*/ 269682 w 4610101"/>
              <a:gd name="connsiteY25314" fmla="*/ 904651 h 6557032"/>
              <a:gd name="connsiteX25315" fmla="*/ 264216 w 4610101"/>
              <a:gd name="connsiteY25315" fmla="*/ 902827 h 6557032"/>
              <a:gd name="connsiteX25316" fmla="*/ 262393 w 4610101"/>
              <a:gd name="connsiteY25316" fmla="*/ 899183 h 6557032"/>
              <a:gd name="connsiteX25317" fmla="*/ 909265 w 4610101"/>
              <a:gd name="connsiteY25317" fmla="*/ 897401 h 6557032"/>
              <a:gd name="connsiteX25318" fmla="*/ 914732 w 4610101"/>
              <a:gd name="connsiteY25318" fmla="*/ 901046 h 6557032"/>
              <a:gd name="connsiteX25319" fmla="*/ 914732 w 4610101"/>
              <a:gd name="connsiteY25319" fmla="*/ 902868 h 6557032"/>
              <a:gd name="connsiteX25320" fmla="*/ 911087 w 4610101"/>
              <a:gd name="connsiteY25320" fmla="*/ 904700 h 6557032"/>
              <a:gd name="connsiteX25321" fmla="*/ 911087 w 4610101"/>
              <a:gd name="connsiteY25321" fmla="*/ 904699 h 6557032"/>
              <a:gd name="connsiteX25322" fmla="*/ 903799 w 4610101"/>
              <a:gd name="connsiteY25322" fmla="*/ 897397 h 6557032"/>
              <a:gd name="connsiteX25323" fmla="*/ 905621 w 4610101"/>
              <a:gd name="connsiteY25323" fmla="*/ 904694 h 6557032"/>
              <a:gd name="connsiteX25324" fmla="*/ 903799 w 4610101"/>
              <a:gd name="connsiteY25324" fmla="*/ 897397 h 6557032"/>
              <a:gd name="connsiteX25325" fmla="*/ 3427510 w 4610101"/>
              <a:gd name="connsiteY25325" fmla="*/ 897361 h 6557032"/>
              <a:gd name="connsiteX25326" fmla="*/ 3416577 w 4610101"/>
              <a:gd name="connsiteY25326" fmla="*/ 899183 h 6557032"/>
              <a:gd name="connsiteX25327" fmla="*/ 3427510 w 4610101"/>
              <a:gd name="connsiteY25327" fmla="*/ 901005 h 6557032"/>
              <a:gd name="connsiteX25328" fmla="*/ 3427510 w 4610101"/>
              <a:gd name="connsiteY25328" fmla="*/ 897361 h 6557032"/>
              <a:gd name="connsiteX25329" fmla="*/ 3135962 w 4610101"/>
              <a:gd name="connsiteY25329" fmla="*/ 897361 h 6557032"/>
              <a:gd name="connsiteX25330" fmla="*/ 3161472 w 4610101"/>
              <a:gd name="connsiteY25330" fmla="*/ 928339 h 6557032"/>
              <a:gd name="connsiteX25331" fmla="*/ 3150539 w 4610101"/>
              <a:gd name="connsiteY25331" fmla="*/ 964782 h 6557032"/>
              <a:gd name="connsiteX25332" fmla="*/ 3159650 w 4610101"/>
              <a:gd name="connsiteY25332" fmla="*/ 957494 h 6557032"/>
              <a:gd name="connsiteX25333" fmla="*/ 3174227 w 4610101"/>
              <a:gd name="connsiteY25333" fmla="*/ 948383 h 6557032"/>
              <a:gd name="connsiteX25334" fmla="*/ 3181516 w 4610101"/>
              <a:gd name="connsiteY25334" fmla="*/ 937450 h 6557032"/>
              <a:gd name="connsiteX25335" fmla="*/ 3183338 w 4610101"/>
              <a:gd name="connsiteY25335" fmla="*/ 942916 h 6557032"/>
              <a:gd name="connsiteX25336" fmla="*/ 3207027 w 4610101"/>
              <a:gd name="connsiteY25336" fmla="*/ 921049 h 6557032"/>
              <a:gd name="connsiteX25337" fmla="*/ 3168761 w 4610101"/>
              <a:gd name="connsiteY25337" fmla="*/ 910117 h 6557032"/>
              <a:gd name="connsiteX25338" fmla="*/ 3168761 w 4610101"/>
              <a:gd name="connsiteY25338" fmla="*/ 913761 h 6557032"/>
              <a:gd name="connsiteX25339" fmla="*/ 3163294 w 4610101"/>
              <a:gd name="connsiteY25339" fmla="*/ 906473 h 6557032"/>
              <a:gd name="connsiteX25340" fmla="*/ 3152361 w 4610101"/>
              <a:gd name="connsiteY25340" fmla="*/ 915583 h 6557032"/>
              <a:gd name="connsiteX25341" fmla="*/ 3150539 w 4610101"/>
              <a:gd name="connsiteY25341" fmla="*/ 904651 h 6557032"/>
              <a:gd name="connsiteX25342" fmla="*/ 3135962 w 4610101"/>
              <a:gd name="connsiteY25342" fmla="*/ 897361 h 6557032"/>
              <a:gd name="connsiteX25343" fmla="*/ 3134140 w 4610101"/>
              <a:gd name="connsiteY25343" fmla="*/ 897361 h 6557032"/>
              <a:gd name="connsiteX25344" fmla="*/ 3135962 w 4610101"/>
              <a:gd name="connsiteY25344" fmla="*/ 902827 h 6557032"/>
              <a:gd name="connsiteX25345" fmla="*/ 3134140 w 4610101"/>
              <a:gd name="connsiteY25345" fmla="*/ 897361 h 6557032"/>
              <a:gd name="connsiteX25346" fmla="*/ 2509134 w 4610101"/>
              <a:gd name="connsiteY25346" fmla="*/ 897361 h 6557032"/>
              <a:gd name="connsiteX25347" fmla="*/ 2503667 w 4610101"/>
              <a:gd name="connsiteY25347" fmla="*/ 910117 h 6557032"/>
              <a:gd name="connsiteX25348" fmla="*/ 2509134 w 4610101"/>
              <a:gd name="connsiteY25348" fmla="*/ 908295 h 6557032"/>
              <a:gd name="connsiteX25349" fmla="*/ 2509134 w 4610101"/>
              <a:gd name="connsiteY25349" fmla="*/ 897361 h 6557032"/>
              <a:gd name="connsiteX25350" fmla="*/ 1326543 w 4610101"/>
              <a:gd name="connsiteY25350" fmla="*/ 897361 h 6557032"/>
              <a:gd name="connsiteX25351" fmla="*/ 1326283 w 4610101"/>
              <a:gd name="connsiteY25351" fmla="*/ 899704 h 6557032"/>
              <a:gd name="connsiteX25352" fmla="*/ 1325983 w 4610101"/>
              <a:gd name="connsiteY25352" fmla="*/ 898202 h 6557032"/>
              <a:gd name="connsiteX25353" fmla="*/ 592207 w 4610101"/>
              <a:gd name="connsiteY25353" fmla="*/ 897361 h 6557032"/>
              <a:gd name="connsiteX25354" fmla="*/ 592207 w 4610101"/>
              <a:gd name="connsiteY25354" fmla="*/ 904651 h 6557032"/>
              <a:gd name="connsiteX25355" fmla="*/ 599496 w 4610101"/>
              <a:gd name="connsiteY25355" fmla="*/ 908295 h 6557032"/>
              <a:gd name="connsiteX25356" fmla="*/ 597673 w 4610101"/>
              <a:gd name="connsiteY25356" fmla="*/ 902827 h 6557032"/>
              <a:gd name="connsiteX25357" fmla="*/ 612251 w 4610101"/>
              <a:gd name="connsiteY25357" fmla="*/ 906473 h 6557032"/>
              <a:gd name="connsiteX25358" fmla="*/ 592207 w 4610101"/>
              <a:gd name="connsiteY25358" fmla="*/ 897361 h 6557032"/>
              <a:gd name="connsiteX25359" fmla="*/ 482876 w 4610101"/>
              <a:gd name="connsiteY25359" fmla="*/ 897361 h 6557032"/>
              <a:gd name="connsiteX25360" fmla="*/ 495632 w 4610101"/>
              <a:gd name="connsiteY25360" fmla="*/ 902827 h 6557032"/>
              <a:gd name="connsiteX25361" fmla="*/ 482876 w 4610101"/>
              <a:gd name="connsiteY25361" fmla="*/ 897361 h 6557032"/>
              <a:gd name="connsiteX25362" fmla="*/ 701537 w 4610101"/>
              <a:gd name="connsiteY25362" fmla="*/ 896906 h 6557032"/>
              <a:gd name="connsiteX25363" fmla="*/ 694249 w 4610101"/>
              <a:gd name="connsiteY25363" fmla="*/ 897361 h 6557032"/>
              <a:gd name="connsiteX25364" fmla="*/ 688782 w 4610101"/>
              <a:gd name="connsiteY25364" fmla="*/ 902827 h 6557032"/>
              <a:gd name="connsiteX25365" fmla="*/ 708826 w 4610101"/>
              <a:gd name="connsiteY25365" fmla="*/ 899183 h 6557032"/>
              <a:gd name="connsiteX25366" fmla="*/ 701537 w 4610101"/>
              <a:gd name="connsiteY25366" fmla="*/ 896906 h 6557032"/>
              <a:gd name="connsiteX25367" fmla="*/ 651428 w 4610101"/>
              <a:gd name="connsiteY25367" fmla="*/ 896906 h 6557032"/>
              <a:gd name="connsiteX25368" fmla="*/ 643228 w 4610101"/>
              <a:gd name="connsiteY25368" fmla="*/ 899183 h 6557032"/>
              <a:gd name="connsiteX25369" fmla="*/ 659627 w 4610101"/>
              <a:gd name="connsiteY25369" fmla="*/ 897361 h 6557032"/>
              <a:gd name="connsiteX25370" fmla="*/ 651428 w 4610101"/>
              <a:gd name="connsiteY25370" fmla="*/ 896906 h 6557032"/>
              <a:gd name="connsiteX25371" fmla="*/ 274465 w 4610101"/>
              <a:gd name="connsiteY25371" fmla="*/ 896223 h 6557032"/>
              <a:gd name="connsiteX25372" fmla="*/ 271504 w 4610101"/>
              <a:gd name="connsiteY25372" fmla="*/ 897361 h 6557032"/>
              <a:gd name="connsiteX25373" fmla="*/ 278793 w 4610101"/>
              <a:gd name="connsiteY25373" fmla="*/ 899183 h 6557032"/>
              <a:gd name="connsiteX25374" fmla="*/ 274465 w 4610101"/>
              <a:gd name="connsiteY25374" fmla="*/ 896223 h 6557032"/>
              <a:gd name="connsiteX25375" fmla="*/ 3196092 w 4610101"/>
              <a:gd name="connsiteY25375" fmla="*/ 895560 h 6557032"/>
              <a:gd name="connsiteX25376" fmla="*/ 3199737 w 4610101"/>
              <a:gd name="connsiteY25376" fmla="*/ 910141 h 6557032"/>
              <a:gd name="connsiteX25377" fmla="*/ 3194270 w 4610101"/>
              <a:gd name="connsiteY25377" fmla="*/ 910141 h 6557032"/>
              <a:gd name="connsiteX25378" fmla="*/ 3196092 w 4610101"/>
              <a:gd name="connsiteY25378" fmla="*/ 895560 h 6557032"/>
              <a:gd name="connsiteX25379" fmla="*/ 3310890 w 4610101"/>
              <a:gd name="connsiteY25379" fmla="*/ 895539 h 6557032"/>
              <a:gd name="connsiteX25380" fmla="*/ 3305424 w 4610101"/>
              <a:gd name="connsiteY25380" fmla="*/ 904651 h 6557032"/>
              <a:gd name="connsiteX25381" fmla="*/ 3314535 w 4610101"/>
              <a:gd name="connsiteY25381" fmla="*/ 899183 h 6557032"/>
              <a:gd name="connsiteX25382" fmla="*/ 3310890 w 4610101"/>
              <a:gd name="connsiteY25382" fmla="*/ 895539 h 6557032"/>
              <a:gd name="connsiteX25383" fmla="*/ 1297388 w 4610101"/>
              <a:gd name="connsiteY25383" fmla="*/ 895539 h 6557032"/>
              <a:gd name="connsiteX25384" fmla="*/ 1291922 w 4610101"/>
              <a:gd name="connsiteY25384" fmla="*/ 899183 h 6557032"/>
              <a:gd name="connsiteX25385" fmla="*/ 1297388 w 4610101"/>
              <a:gd name="connsiteY25385" fmla="*/ 902827 h 6557032"/>
              <a:gd name="connsiteX25386" fmla="*/ 1297388 w 4610101"/>
              <a:gd name="connsiteY25386" fmla="*/ 895539 h 6557032"/>
              <a:gd name="connsiteX25387" fmla="*/ 295193 w 4610101"/>
              <a:gd name="connsiteY25387" fmla="*/ 895539 h 6557032"/>
              <a:gd name="connsiteX25388" fmla="*/ 298837 w 4610101"/>
              <a:gd name="connsiteY25388" fmla="*/ 899183 h 6557032"/>
              <a:gd name="connsiteX25389" fmla="*/ 295193 w 4610101"/>
              <a:gd name="connsiteY25389" fmla="*/ 895539 h 6557032"/>
              <a:gd name="connsiteX25390" fmla="*/ 2698515 w 4610101"/>
              <a:gd name="connsiteY25390" fmla="*/ 894597 h 6557032"/>
              <a:gd name="connsiteX25391" fmla="*/ 2698811 w 4610101"/>
              <a:gd name="connsiteY25391" fmla="*/ 895386 h 6557032"/>
              <a:gd name="connsiteX25392" fmla="*/ 2698640 w 4610101"/>
              <a:gd name="connsiteY25392" fmla="*/ 895539 h 6557032"/>
              <a:gd name="connsiteX25393" fmla="*/ 3186072 w 4610101"/>
              <a:gd name="connsiteY25393" fmla="*/ 894172 h 6557032"/>
              <a:gd name="connsiteX25394" fmla="*/ 3176050 w 4610101"/>
              <a:gd name="connsiteY25394" fmla="*/ 895539 h 6557032"/>
              <a:gd name="connsiteX25395" fmla="*/ 3210671 w 4610101"/>
              <a:gd name="connsiteY25395" fmla="*/ 919227 h 6557032"/>
              <a:gd name="connsiteX25396" fmla="*/ 3196093 w 4610101"/>
              <a:gd name="connsiteY25396" fmla="*/ 895539 h 6557032"/>
              <a:gd name="connsiteX25397" fmla="*/ 3186072 w 4610101"/>
              <a:gd name="connsiteY25397" fmla="*/ 894172 h 6557032"/>
              <a:gd name="connsiteX25398" fmla="*/ 852778 w 4610101"/>
              <a:gd name="connsiteY25398" fmla="*/ 893717 h 6557032"/>
              <a:gd name="connsiteX25399" fmla="*/ 869177 w 4610101"/>
              <a:gd name="connsiteY25399" fmla="*/ 902827 h 6557032"/>
              <a:gd name="connsiteX25400" fmla="*/ 852778 w 4610101"/>
              <a:gd name="connsiteY25400" fmla="*/ 893717 h 6557032"/>
              <a:gd name="connsiteX25401" fmla="*/ 829089 w 4610101"/>
              <a:gd name="connsiteY25401" fmla="*/ 893717 h 6557032"/>
              <a:gd name="connsiteX25402" fmla="*/ 796290 w 4610101"/>
              <a:gd name="connsiteY25402" fmla="*/ 901005 h 6557032"/>
              <a:gd name="connsiteX25403" fmla="*/ 863711 w 4610101"/>
              <a:gd name="connsiteY25403" fmla="*/ 921049 h 6557032"/>
              <a:gd name="connsiteX25404" fmla="*/ 847311 w 4610101"/>
              <a:gd name="connsiteY25404" fmla="*/ 915583 h 6557032"/>
              <a:gd name="connsiteX25405" fmla="*/ 867355 w 4610101"/>
              <a:gd name="connsiteY25405" fmla="*/ 919227 h 6557032"/>
              <a:gd name="connsiteX25406" fmla="*/ 858244 w 4610101"/>
              <a:gd name="connsiteY25406" fmla="*/ 913761 h 6557032"/>
              <a:gd name="connsiteX25407" fmla="*/ 871000 w 4610101"/>
              <a:gd name="connsiteY25407" fmla="*/ 921049 h 6557032"/>
              <a:gd name="connsiteX25408" fmla="*/ 869177 w 4610101"/>
              <a:gd name="connsiteY25408" fmla="*/ 908295 h 6557032"/>
              <a:gd name="connsiteX25409" fmla="*/ 872822 w 4610101"/>
              <a:gd name="connsiteY25409" fmla="*/ 910117 h 6557032"/>
              <a:gd name="connsiteX25410" fmla="*/ 845489 w 4610101"/>
              <a:gd name="connsiteY25410" fmla="*/ 902827 h 6557032"/>
              <a:gd name="connsiteX25411" fmla="*/ 858244 w 4610101"/>
              <a:gd name="connsiteY25411" fmla="*/ 901005 h 6557032"/>
              <a:gd name="connsiteX25412" fmla="*/ 803579 w 4610101"/>
              <a:gd name="connsiteY25412" fmla="*/ 902827 h 6557032"/>
              <a:gd name="connsiteX25413" fmla="*/ 829089 w 4610101"/>
              <a:gd name="connsiteY25413" fmla="*/ 893717 h 6557032"/>
              <a:gd name="connsiteX25414" fmla="*/ 548475 w 4610101"/>
              <a:gd name="connsiteY25414" fmla="*/ 893717 h 6557032"/>
              <a:gd name="connsiteX25415" fmla="*/ 555763 w 4610101"/>
              <a:gd name="connsiteY25415" fmla="*/ 902827 h 6557032"/>
              <a:gd name="connsiteX25416" fmla="*/ 555763 w 4610101"/>
              <a:gd name="connsiteY25416" fmla="*/ 895539 h 6557032"/>
              <a:gd name="connsiteX25417" fmla="*/ 548475 w 4610101"/>
              <a:gd name="connsiteY25417" fmla="*/ 893717 h 6557032"/>
              <a:gd name="connsiteX25418" fmla="*/ 249638 w 4610101"/>
              <a:gd name="connsiteY25418" fmla="*/ 893717 h 6557032"/>
              <a:gd name="connsiteX25419" fmla="*/ 256927 w 4610101"/>
              <a:gd name="connsiteY25419" fmla="*/ 895539 h 6557032"/>
              <a:gd name="connsiteX25420" fmla="*/ 249638 w 4610101"/>
              <a:gd name="connsiteY25420" fmla="*/ 893717 h 6557032"/>
              <a:gd name="connsiteX25421" fmla="*/ 165818 w 4610101"/>
              <a:gd name="connsiteY25421" fmla="*/ 893717 h 6557032"/>
              <a:gd name="connsiteX25422" fmla="*/ 167578 w 4610101"/>
              <a:gd name="connsiteY25422" fmla="*/ 895037 h 6557032"/>
              <a:gd name="connsiteX25423" fmla="*/ 172195 w 4610101"/>
              <a:gd name="connsiteY25423" fmla="*/ 900095 h 6557032"/>
              <a:gd name="connsiteX25424" fmla="*/ 177297 w 4610101"/>
              <a:gd name="connsiteY25424" fmla="*/ 916532 h 6557032"/>
              <a:gd name="connsiteX25425" fmla="*/ 1066883 w 4610101"/>
              <a:gd name="connsiteY25425" fmla="*/ 892807 h 6557032"/>
              <a:gd name="connsiteX25426" fmla="*/ 1066200 w 4610101"/>
              <a:gd name="connsiteY25426" fmla="*/ 894856 h 6557032"/>
              <a:gd name="connsiteX25427" fmla="*/ 1064647 w 4610101"/>
              <a:gd name="connsiteY25427" fmla="*/ 895042 h 6557032"/>
              <a:gd name="connsiteX25428" fmla="*/ 3411110 w 4610101"/>
              <a:gd name="connsiteY25428" fmla="*/ 891894 h 6557032"/>
              <a:gd name="connsiteX25429" fmla="*/ 3409288 w 4610101"/>
              <a:gd name="connsiteY25429" fmla="*/ 897361 h 6557032"/>
              <a:gd name="connsiteX25430" fmla="*/ 3418399 w 4610101"/>
              <a:gd name="connsiteY25430" fmla="*/ 895539 h 6557032"/>
              <a:gd name="connsiteX25431" fmla="*/ 3411110 w 4610101"/>
              <a:gd name="connsiteY25431" fmla="*/ 891894 h 6557032"/>
              <a:gd name="connsiteX25432" fmla="*/ 3156006 w 4610101"/>
              <a:gd name="connsiteY25432" fmla="*/ 891894 h 6557032"/>
              <a:gd name="connsiteX25433" fmla="*/ 3146895 w 4610101"/>
              <a:gd name="connsiteY25433" fmla="*/ 897361 h 6557032"/>
              <a:gd name="connsiteX25434" fmla="*/ 3156006 w 4610101"/>
              <a:gd name="connsiteY25434" fmla="*/ 891894 h 6557032"/>
              <a:gd name="connsiteX25435" fmla="*/ 2421669 w 4610101"/>
              <a:gd name="connsiteY25435" fmla="*/ 891894 h 6557032"/>
              <a:gd name="connsiteX25436" fmla="*/ 2421669 w 4610101"/>
              <a:gd name="connsiteY25436" fmla="*/ 902827 h 6557032"/>
              <a:gd name="connsiteX25437" fmla="*/ 2421669 w 4610101"/>
              <a:gd name="connsiteY25437" fmla="*/ 891894 h 6557032"/>
              <a:gd name="connsiteX25438" fmla="*/ 1264589 w 4610101"/>
              <a:gd name="connsiteY25438" fmla="*/ 891894 h 6557032"/>
              <a:gd name="connsiteX25439" fmla="*/ 1257300 w 4610101"/>
              <a:gd name="connsiteY25439" fmla="*/ 899183 h 6557032"/>
              <a:gd name="connsiteX25440" fmla="*/ 1264589 w 4610101"/>
              <a:gd name="connsiteY25440" fmla="*/ 891894 h 6557032"/>
              <a:gd name="connsiteX25441" fmla="*/ 1160725 w 4610101"/>
              <a:gd name="connsiteY25441" fmla="*/ 891894 h 6557032"/>
              <a:gd name="connsiteX25442" fmla="*/ 1153436 w 4610101"/>
              <a:gd name="connsiteY25442" fmla="*/ 902827 h 6557032"/>
              <a:gd name="connsiteX25443" fmla="*/ 1160725 w 4610101"/>
              <a:gd name="connsiteY25443" fmla="*/ 891894 h 6557032"/>
              <a:gd name="connsiteX25444" fmla="*/ 1118815 w 4610101"/>
              <a:gd name="connsiteY25444" fmla="*/ 891894 h 6557032"/>
              <a:gd name="connsiteX25445" fmla="*/ 1118953 w 4610101"/>
              <a:gd name="connsiteY25445" fmla="*/ 892860 h 6557032"/>
              <a:gd name="connsiteX25446" fmla="*/ 1117676 w 4610101"/>
              <a:gd name="connsiteY25446" fmla="*/ 894400 h 6557032"/>
              <a:gd name="connsiteX25447" fmla="*/ 1115108 w 4610101"/>
              <a:gd name="connsiteY25447" fmla="*/ 896528 h 6557032"/>
              <a:gd name="connsiteX25448" fmla="*/ 650516 w 4610101"/>
              <a:gd name="connsiteY25448" fmla="*/ 891894 h 6557032"/>
              <a:gd name="connsiteX25449" fmla="*/ 646872 w 4610101"/>
              <a:gd name="connsiteY25449" fmla="*/ 895539 h 6557032"/>
              <a:gd name="connsiteX25450" fmla="*/ 657805 w 4610101"/>
              <a:gd name="connsiteY25450" fmla="*/ 895539 h 6557032"/>
              <a:gd name="connsiteX25451" fmla="*/ 650516 w 4610101"/>
              <a:gd name="connsiteY25451" fmla="*/ 891894 h 6557032"/>
              <a:gd name="connsiteX25452" fmla="*/ 625006 w 4610101"/>
              <a:gd name="connsiteY25452" fmla="*/ 891894 h 6557032"/>
              <a:gd name="connsiteX25453" fmla="*/ 637761 w 4610101"/>
              <a:gd name="connsiteY25453" fmla="*/ 897361 h 6557032"/>
              <a:gd name="connsiteX25454" fmla="*/ 625006 w 4610101"/>
              <a:gd name="connsiteY25454" fmla="*/ 891894 h 6557032"/>
              <a:gd name="connsiteX25455" fmla="*/ 404523 w 4610101"/>
              <a:gd name="connsiteY25455" fmla="*/ 891894 h 6557032"/>
              <a:gd name="connsiteX25456" fmla="*/ 417278 w 4610101"/>
              <a:gd name="connsiteY25456" fmla="*/ 902827 h 6557032"/>
              <a:gd name="connsiteX25457" fmla="*/ 382657 w 4610101"/>
              <a:gd name="connsiteY25457" fmla="*/ 895539 h 6557032"/>
              <a:gd name="connsiteX25458" fmla="*/ 397234 w 4610101"/>
              <a:gd name="connsiteY25458" fmla="*/ 910117 h 6557032"/>
              <a:gd name="connsiteX25459" fmla="*/ 395412 w 4610101"/>
              <a:gd name="connsiteY25459" fmla="*/ 910117 h 6557032"/>
              <a:gd name="connsiteX25460" fmla="*/ 400879 w 4610101"/>
              <a:gd name="connsiteY25460" fmla="*/ 919227 h 6557032"/>
              <a:gd name="connsiteX25461" fmla="*/ 397234 w 4610101"/>
              <a:gd name="connsiteY25461" fmla="*/ 911939 h 6557032"/>
              <a:gd name="connsiteX25462" fmla="*/ 395412 w 4610101"/>
              <a:gd name="connsiteY25462" fmla="*/ 910117 h 6557032"/>
              <a:gd name="connsiteX25463" fmla="*/ 398680 w 4610101"/>
              <a:gd name="connsiteY25463" fmla="*/ 911939 h 6557032"/>
              <a:gd name="connsiteX25464" fmla="*/ 407256 w 4610101"/>
              <a:gd name="connsiteY25464" fmla="*/ 916722 h 6557032"/>
              <a:gd name="connsiteX25465" fmla="*/ 415193 w 4610101"/>
              <a:gd name="connsiteY25465" fmla="*/ 918401 h 6557032"/>
              <a:gd name="connsiteX25466" fmla="*/ 422745 w 4610101"/>
              <a:gd name="connsiteY25466" fmla="*/ 924695 h 6557032"/>
              <a:gd name="connsiteX25467" fmla="*/ 422745 w 4610101"/>
              <a:gd name="connsiteY25467" fmla="*/ 917405 h 6557032"/>
              <a:gd name="connsiteX25468" fmla="*/ 412927 w 4610101"/>
              <a:gd name="connsiteY25468" fmla="*/ 915770 h 6557032"/>
              <a:gd name="connsiteX25469" fmla="*/ 411812 w 4610101"/>
              <a:gd name="connsiteY25469" fmla="*/ 913761 h 6557032"/>
              <a:gd name="connsiteX25470" fmla="*/ 409989 w 4610101"/>
              <a:gd name="connsiteY25470" fmla="*/ 915583 h 6557032"/>
              <a:gd name="connsiteX25471" fmla="*/ 404523 w 4610101"/>
              <a:gd name="connsiteY25471" fmla="*/ 902827 h 6557032"/>
              <a:gd name="connsiteX25472" fmla="*/ 422745 w 4610101"/>
              <a:gd name="connsiteY25472" fmla="*/ 915583 h 6557032"/>
              <a:gd name="connsiteX25473" fmla="*/ 417278 w 4610101"/>
              <a:gd name="connsiteY25473" fmla="*/ 904651 h 6557032"/>
              <a:gd name="connsiteX25474" fmla="*/ 419100 w 4610101"/>
              <a:gd name="connsiteY25474" fmla="*/ 897361 h 6557032"/>
              <a:gd name="connsiteX25475" fmla="*/ 404523 w 4610101"/>
              <a:gd name="connsiteY25475" fmla="*/ 891894 h 6557032"/>
              <a:gd name="connsiteX25476" fmla="*/ 338926 w 4610101"/>
              <a:gd name="connsiteY25476" fmla="*/ 891894 h 6557032"/>
              <a:gd name="connsiteX25477" fmla="*/ 348037 w 4610101"/>
              <a:gd name="connsiteY25477" fmla="*/ 895539 h 6557032"/>
              <a:gd name="connsiteX25478" fmla="*/ 338926 w 4610101"/>
              <a:gd name="connsiteY25478" fmla="*/ 891894 h 6557032"/>
              <a:gd name="connsiteX25479" fmla="*/ 118442 w 4610101"/>
              <a:gd name="connsiteY25479" fmla="*/ 891894 h 6557032"/>
              <a:gd name="connsiteX25480" fmla="*/ 123784 w 4610101"/>
              <a:gd name="connsiteY25480" fmla="*/ 904503 h 6557032"/>
              <a:gd name="connsiteX25481" fmla="*/ 119125 w 4610101"/>
              <a:gd name="connsiteY25481" fmla="*/ 898956 h 6557032"/>
              <a:gd name="connsiteX25482" fmla="*/ 118442 w 4610101"/>
              <a:gd name="connsiteY25482" fmla="*/ 891894 h 6557032"/>
              <a:gd name="connsiteX25483" fmla="*/ 3225248 w 4610101"/>
              <a:gd name="connsiteY25483" fmla="*/ 890072 h 6557032"/>
              <a:gd name="connsiteX25484" fmla="*/ 3219782 w 4610101"/>
              <a:gd name="connsiteY25484" fmla="*/ 895539 h 6557032"/>
              <a:gd name="connsiteX25485" fmla="*/ 3227071 w 4610101"/>
              <a:gd name="connsiteY25485" fmla="*/ 897361 h 6557032"/>
              <a:gd name="connsiteX25486" fmla="*/ 3225248 w 4610101"/>
              <a:gd name="connsiteY25486" fmla="*/ 890072 h 6557032"/>
              <a:gd name="connsiteX25487" fmla="*/ 3205204 w 4610101"/>
              <a:gd name="connsiteY25487" fmla="*/ 890072 h 6557032"/>
              <a:gd name="connsiteX25488" fmla="*/ 3210671 w 4610101"/>
              <a:gd name="connsiteY25488" fmla="*/ 897361 h 6557032"/>
              <a:gd name="connsiteX25489" fmla="*/ 3205204 w 4610101"/>
              <a:gd name="connsiteY25489" fmla="*/ 890072 h 6557032"/>
              <a:gd name="connsiteX25490" fmla="*/ 419100 w 4610101"/>
              <a:gd name="connsiteY25490" fmla="*/ 890072 h 6557032"/>
              <a:gd name="connsiteX25491" fmla="*/ 424567 w 4610101"/>
              <a:gd name="connsiteY25491" fmla="*/ 893717 h 6557032"/>
              <a:gd name="connsiteX25492" fmla="*/ 419100 w 4610101"/>
              <a:gd name="connsiteY25492" fmla="*/ 890072 h 6557032"/>
              <a:gd name="connsiteX25493" fmla="*/ 1303267 w 4610101"/>
              <a:gd name="connsiteY25493" fmla="*/ 889969 h 6557032"/>
              <a:gd name="connsiteX25494" fmla="*/ 1302855 w 4610101"/>
              <a:gd name="connsiteY25494" fmla="*/ 891894 h 6557032"/>
              <a:gd name="connsiteX25495" fmla="*/ 1302490 w 4610101"/>
              <a:gd name="connsiteY25495" fmla="*/ 891530 h 6557032"/>
              <a:gd name="connsiteX25496" fmla="*/ 1302855 w 4610101"/>
              <a:gd name="connsiteY25496" fmla="*/ 890072 h 6557032"/>
              <a:gd name="connsiteX25497" fmla="*/ 238846 w 4610101"/>
              <a:gd name="connsiteY25497" fmla="*/ 889477 h 6557032"/>
              <a:gd name="connsiteX25498" fmla="*/ 240251 w 4610101"/>
              <a:gd name="connsiteY25498" fmla="*/ 889784 h 6557032"/>
              <a:gd name="connsiteX25499" fmla="*/ 240527 w 4610101"/>
              <a:gd name="connsiteY25499" fmla="*/ 890072 h 6557032"/>
              <a:gd name="connsiteX25500" fmla="*/ 3161700 w 4610101"/>
              <a:gd name="connsiteY25500" fmla="*/ 889389 h 6557032"/>
              <a:gd name="connsiteX25501" fmla="*/ 3157828 w 4610101"/>
              <a:gd name="connsiteY25501" fmla="*/ 890072 h 6557032"/>
              <a:gd name="connsiteX25502" fmla="*/ 3165116 w 4610101"/>
              <a:gd name="connsiteY25502" fmla="*/ 897361 h 6557032"/>
              <a:gd name="connsiteX25503" fmla="*/ 3159650 w 4610101"/>
              <a:gd name="connsiteY25503" fmla="*/ 899183 h 6557032"/>
              <a:gd name="connsiteX25504" fmla="*/ 3168761 w 4610101"/>
              <a:gd name="connsiteY25504" fmla="*/ 904651 h 6557032"/>
              <a:gd name="connsiteX25505" fmla="*/ 3166939 w 4610101"/>
              <a:gd name="connsiteY25505" fmla="*/ 890072 h 6557032"/>
              <a:gd name="connsiteX25506" fmla="*/ 3161700 w 4610101"/>
              <a:gd name="connsiteY25506" fmla="*/ 889389 h 6557032"/>
              <a:gd name="connsiteX25507" fmla="*/ 1425404 w 4610101"/>
              <a:gd name="connsiteY25507" fmla="*/ 888343 h 6557032"/>
              <a:gd name="connsiteX25508" fmla="*/ 1427217 w 4610101"/>
              <a:gd name="connsiteY25508" fmla="*/ 888706 h 6557032"/>
              <a:gd name="connsiteX25509" fmla="*/ 1434051 w 4610101"/>
              <a:gd name="connsiteY25509" fmla="*/ 895539 h 6557032"/>
              <a:gd name="connsiteX25510" fmla="*/ 1423118 w 4610101"/>
              <a:gd name="connsiteY25510" fmla="*/ 895539 h 6557032"/>
              <a:gd name="connsiteX25511" fmla="*/ 1426763 w 4610101"/>
              <a:gd name="connsiteY25511" fmla="*/ 890072 h 6557032"/>
              <a:gd name="connsiteX25512" fmla="*/ 3429332 w 4610101"/>
              <a:gd name="connsiteY25512" fmla="*/ 888250 h 6557032"/>
              <a:gd name="connsiteX25513" fmla="*/ 3429332 w 4610101"/>
              <a:gd name="connsiteY25513" fmla="*/ 893717 h 6557032"/>
              <a:gd name="connsiteX25514" fmla="*/ 3440265 w 4610101"/>
              <a:gd name="connsiteY25514" fmla="*/ 897361 h 6557032"/>
              <a:gd name="connsiteX25515" fmla="*/ 3429332 w 4610101"/>
              <a:gd name="connsiteY25515" fmla="*/ 893717 h 6557032"/>
              <a:gd name="connsiteX25516" fmla="*/ 3436621 w 4610101"/>
              <a:gd name="connsiteY25516" fmla="*/ 890072 h 6557032"/>
              <a:gd name="connsiteX25517" fmla="*/ 3429332 w 4610101"/>
              <a:gd name="connsiteY25517" fmla="*/ 888250 h 6557032"/>
              <a:gd name="connsiteX25518" fmla="*/ 3254403 w 4610101"/>
              <a:gd name="connsiteY25518" fmla="*/ 888250 h 6557032"/>
              <a:gd name="connsiteX25519" fmla="*/ 3261692 w 4610101"/>
              <a:gd name="connsiteY25519" fmla="*/ 897361 h 6557032"/>
              <a:gd name="connsiteX25520" fmla="*/ 3254403 w 4610101"/>
              <a:gd name="connsiteY25520" fmla="*/ 888250 h 6557032"/>
              <a:gd name="connsiteX25521" fmla="*/ 2297762 w 4610101"/>
              <a:gd name="connsiteY25521" fmla="*/ 888250 h 6557032"/>
              <a:gd name="connsiteX25522" fmla="*/ 2290473 w 4610101"/>
              <a:gd name="connsiteY25522" fmla="*/ 893717 h 6557032"/>
              <a:gd name="connsiteX25523" fmla="*/ 2297762 w 4610101"/>
              <a:gd name="connsiteY25523" fmla="*/ 901005 h 6557032"/>
              <a:gd name="connsiteX25524" fmla="*/ 2292295 w 4610101"/>
              <a:gd name="connsiteY25524" fmla="*/ 901005 h 6557032"/>
              <a:gd name="connsiteX25525" fmla="*/ 2290473 w 4610101"/>
              <a:gd name="connsiteY25525" fmla="*/ 910117 h 6557032"/>
              <a:gd name="connsiteX25526" fmla="*/ 2301406 w 4610101"/>
              <a:gd name="connsiteY25526" fmla="*/ 897361 h 6557032"/>
              <a:gd name="connsiteX25527" fmla="*/ 2297762 w 4610101"/>
              <a:gd name="connsiteY25527" fmla="*/ 888250 h 6557032"/>
              <a:gd name="connsiteX25528" fmla="*/ 572163 w 4610101"/>
              <a:gd name="connsiteY25528" fmla="*/ 888250 h 6557032"/>
              <a:gd name="connsiteX25529" fmla="*/ 573985 w 4610101"/>
              <a:gd name="connsiteY25529" fmla="*/ 901005 h 6557032"/>
              <a:gd name="connsiteX25530" fmla="*/ 572163 w 4610101"/>
              <a:gd name="connsiteY25530" fmla="*/ 888250 h 6557032"/>
              <a:gd name="connsiteX25531" fmla="*/ 484700 w 4610101"/>
              <a:gd name="connsiteY25531" fmla="*/ 888250 h 6557032"/>
              <a:gd name="connsiteX25532" fmla="*/ 493809 w 4610101"/>
              <a:gd name="connsiteY25532" fmla="*/ 897361 h 6557032"/>
              <a:gd name="connsiteX25533" fmla="*/ 484700 w 4610101"/>
              <a:gd name="connsiteY25533" fmla="*/ 888250 h 6557032"/>
              <a:gd name="connsiteX25534" fmla="*/ 1425198 w 4610101"/>
              <a:gd name="connsiteY25534" fmla="*/ 888079 h 6557032"/>
              <a:gd name="connsiteX25535" fmla="*/ 1425404 w 4610101"/>
              <a:gd name="connsiteY25535" fmla="*/ 888343 h 6557032"/>
              <a:gd name="connsiteX25536" fmla="*/ 1424940 w 4610101"/>
              <a:gd name="connsiteY25536" fmla="*/ 888250 h 6557032"/>
              <a:gd name="connsiteX25537" fmla="*/ 596534 w 4610101"/>
              <a:gd name="connsiteY25537" fmla="*/ 887795 h 6557032"/>
              <a:gd name="connsiteX25538" fmla="*/ 595852 w 4610101"/>
              <a:gd name="connsiteY25538" fmla="*/ 893717 h 6557032"/>
              <a:gd name="connsiteX25539" fmla="*/ 630472 w 4610101"/>
              <a:gd name="connsiteY25539" fmla="*/ 904651 h 6557032"/>
              <a:gd name="connsiteX25540" fmla="*/ 608606 w 4610101"/>
              <a:gd name="connsiteY25540" fmla="*/ 901005 h 6557032"/>
              <a:gd name="connsiteX25541" fmla="*/ 623185 w 4610101"/>
              <a:gd name="connsiteY25541" fmla="*/ 901005 h 6557032"/>
              <a:gd name="connsiteX25542" fmla="*/ 604963 w 4610101"/>
              <a:gd name="connsiteY25542" fmla="*/ 891894 h 6557032"/>
              <a:gd name="connsiteX25543" fmla="*/ 606784 w 4610101"/>
              <a:gd name="connsiteY25543" fmla="*/ 890072 h 6557032"/>
              <a:gd name="connsiteX25544" fmla="*/ 596534 w 4610101"/>
              <a:gd name="connsiteY25544" fmla="*/ 887795 h 6557032"/>
              <a:gd name="connsiteX25545" fmla="*/ 2546944 w 4610101"/>
              <a:gd name="connsiteY25545" fmla="*/ 887567 h 6557032"/>
              <a:gd name="connsiteX25546" fmla="*/ 2541933 w 4610101"/>
              <a:gd name="connsiteY25546" fmla="*/ 891894 h 6557032"/>
              <a:gd name="connsiteX25547" fmla="*/ 2512778 w 4610101"/>
              <a:gd name="connsiteY25547" fmla="*/ 897361 h 6557032"/>
              <a:gd name="connsiteX25548" fmla="*/ 2516423 w 4610101"/>
              <a:gd name="connsiteY25548" fmla="*/ 904651 h 6557032"/>
              <a:gd name="connsiteX25549" fmla="*/ 2527356 w 4610101"/>
              <a:gd name="connsiteY25549" fmla="*/ 899183 h 6557032"/>
              <a:gd name="connsiteX25550" fmla="*/ 2516423 w 4610101"/>
              <a:gd name="connsiteY25550" fmla="*/ 908295 h 6557032"/>
              <a:gd name="connsiteX25551" fmla="*/ 2543755 w 4610101"/>
              <a:gd name="connsiteY25551" fmla="*/ 924695 h 6557032"/>
              <a:gd name="connsiteX25552" fmla="*/ 2554688 w 4610101"/>
              <a:gd name="connsiteY25552" fmla="*/ 919227 h 6557032"/>
              <a:gd name="connsiteX25553" fmla="*/ 2552866 w 4610101"/>
              <a:gd name="connsiteY25553" fmla="*/ 928339 h 6557032"/>
              <a:gd name="connsiteX25554" fmla="*/ 2571088 w 4610101"/>
              <a:gd name="connsiteY25554" fmla="*/ 939272 h 6557032"/>
              <a:gd name="connsiteX25555" fmla="*/ 2583843 w 4610101"/>
              <a:gd name="connsiteY25555" fmla="*/ 942916 h 6557032"/>
              <a:gd name="connsiteX25556" fmla="*/ 2580199 w 4610101"/>
              <a:gd name="connsiteY25556" fmla="*/ 922872 h 6557032"/>
              <a:gd name="connsiteX25557" fmla="*/ 2561977 w 4610101"/>
              <a:gd name="connsiteY25557" fmla="*/ 921049 h 6557032"/>
              <a:gd name="connsiteX25558" fmla="*/ 2565621 w 4610101"/>
              <a:gd name="connsiteY25558" fmla="*/ 910117 h 6557032"/>
              <a:gd name="connsiteX25559" fmla="*/ 2558332 w 4610101"/>
              <a:gd name="connsiteY25559" fmla="*/ 911939 h 6557032"/>
              <a:gd name="connsiteX25560" fmla="*/ 2565621 w 4610101"/>
              <a:gd name="connsiteY25560" fmla="*/ 897361 h 6557032"/>
              <a:gd name="connsiteX25561" fmla="*/ 2554688 w 4610101"/>
              <a:gd name="connsiteY25561" fmla="*/ 895539 h 6557032"/>
              <a:gd name="connsiteX25562" fmla="*/ 2558332 w 4610101"/>
              <a:gd name="connsiteY25562" fmla="*/ 906473 h 6557032"/>
              <a:gd name="connsiteX25563" fmla="*/ 2554688 w 4610101"/>
              <a:gd name="connsiteY25563" fmla="*/ 890072 h 6557032"/>
              <a:gd name="connsiteX25564" fmla="*/ 2546944 w 4610101"/>
              <a:gd name="connsiteY25564" fmla="*/ 887567 h 6557032"/>
              <a:gd name="connsiteX25565" fmla="*/ 667600 w 4610101"/>
              <a:gd name="connsiteY25565" fmla="*/ 887112 h 6557032"/>
              <a:gd name="connsiteX25566" fmla="*/ 663272 w 4610101"/>
              <a:gd name="connsiteY25566" fmla="*/ 888250 h 6557032"/>
              <a:gd name="connsiteX25567" fmla="*/ 668738 w 4610101"/>
              <a:gd name="connsiteY25567" fmla="*/ 893717 h 6557032"/>
              <a:gd name="connsiteX25568" fmla="*/ 665094 w 4610101"/>
              <a:gd name="connsiteY25568" fmla="*/ 890072 h 6557032"/>
              <a:gd name="connsiteX25569" fmla="*/ 670560 w 4610101"/>
              <a:gd name="connsiteY25569" fmla="*/ 890072 h 6557032"/>
              <a:gd name="connsiteX25570" fmla="*/ 667600 w 4610101"/>
              <a:gd name="connsiteY25570" fmla="*/ 887112 h 6557032"/>
              <a:gd name="connsiteX25571" fmla="*/ 906077 w 4610101"/>
              <a:gd name="connsiteY25571" fmla="*/ 886770 h 6557032"/>
              <a:gd name="connsiteX25572" fmla="*/ 894232 w 4610101"/>
              <a:gd name="connsiteY25572" fmla="*/ 887795 h 6557032"/>
              <a:gd name="connsiteX25573" fmla="*/ 869177 w 4610101"/>
              <a:gd name="connsiteY25573" fmla="*/ 891894 h 6557032"/>
              <a:gd name="connsiteX25574" fmla="*/ 881933 w 4610101"/>
              <a:gd name="connsiteY25574" fmla="*/ 911939 h 6557032"/>
              <a:gd name="connsiteX25575" fmla="*/ 901976 w 4610101"/>
              <a:gd name="connsiteY25575" fmla="*/ 928339 h 6557032"/>
              <a:gd name="connsiteX25576" fmla="*/ 911087 w 4610101"/>
              <a:gd name="connsiteY25576" fmla="*/ 917405 h 6557032"/>
              <a:gd name="connsiteX25577" fmla="*/ 918376 w 4610101"/>
              <a:gd name="connsiteY25577" fmla="*/ 941094 h 6557032"/>
              <a:gd name="connsiteX25578" fmla="*/ 918376 w 4610101"/>
              <a:gd name="connsiteY25578" fmla="*/ 933804 h 6557032"/>
              <a:gd name="connsiteX25579" fmla="*/ 920198 w 4610101"/>
              <a:gd name="connsiteY25579" fmla="*/ 928339 h 6557032"/>
              <a:gd name="connsiteX25580" fmla="*/ 927487 w 4610101"/>
              <a:gd name="connsiteY25580" fmla="*/ 939272 h 6557032"/>
              <a:gd name="connsiteX25581" fmla="*/ 923843 w 4610101"/>
              <a:gd name="connsiteY25581" fmla="*/ 924695 h 6557032"/>
              <a:gd name="connsiteX25582" fmla="*/ 923843 w 4610101"/>
              <a:gd name="connsiteY25582" fmla="*/ 919227 h 6557032"/>
              <a:gd name="connsiteX25583" fmla="*/ 927487 w 4610101"/>
              <a:gd name="connsiteY25583" fmla="*/ 924695 h 6557032"/>
              <a:gd name="connsiteX25584" fmla="*/ 922020 w 4610101"/>
              <a:gd name="connsiteY25584" fmla="*/ 913761 h 6557032"/>
              <a:gd name="connsiteX25585" fmla="*/ 923843 w 4610101"/>
              <a:gd name="connsiteY25585" fmla="*/ 919227 h 6557032"/>
              <a:gd name="connsiteX25586" fmla="*/ 914732 w 4610101"/>
              <a:gd name="connsiteY25586" fmla="*/ 908295 h 6557032"/>
              <a:gd name="connsiteX25587" fmla="*/ 920198 w 4610101"/>
              <a:gd name="connsiteY25587" fmla="*/ 910117 h 6557032"/>
              <a:gd name="connsiteX25588" fmla="*/ 918376 w 4610101"/>
              <a:gd name="connsiteY25588" fmla="*/ 904651 h 6557032"/>
              <a:gd name="connsiteX25589" fmla="*/ 916555 w 4610101"/>
              <a:gd name="connsiteY25589" fmla="*/ 891894 h 6557032"/>
              <a:gd name="connsiteX25590" fmla="*/ 906077 w 4610101"/>
              <a:gd name="connsiteY25590" fmla="*/ 886770 h 6557032"/>
              <a:gd name="connsiteX25591" fmla="*/ 1427567 w 4610101"/>
              <a:gd name="connsiteY25591" fmla="*/ 886499 h 6557032"/>
              <a:gd name="connsiteX25592" fmla="*/ 1434727 w 4610101"/>
              <a:gd name="connsiteY25592" fmla="*/ 886691 h 6557032"/>
              <a:gd name="connsiteX25593" fmla="*/ 1434051 w 4610101"/>
              <a:gd name="connsiteY25593" fmla="*/ 890072 h 6557032"/>
              <a:gd name="connsiteX25594" fmla="*/ 1427217 w 4610101"/>
              <a:gd name="connsiteY25594" fmla="*/ 888706 h 6557032"/>
              <a:gd name="connsiteX25595" fmla="*/ 1426033 w 4610101"/>
              <a:gd name="connsiteY25595" fmla="*/ 887522 h 6557032"/>
              <a:gd name="connsiteX25596" fmla="*/ 779892 w 4610101"/>
              <a:gd name="connsiteY25596" fmla="*/ 886428 h 6557032"/>
              <a:gd name="connsiteX25597" fmla="*/ 772602 w 4610101"/>
              <a:gd name="connsiteY25597" fmla="*/ 890072 h 6557032"/>
              <a:gd name="connsiteX25598" fmla="*/ 783535 w 4610101"/>
              <a:gd name="connsiteY25598" fmla="*/ 893717 h 6557032"/>
              <a:gd name="connsiteX25599" fmla="*/ 779892 w 4610101"/>
              <a:gd name="connsiteY25599" fmla="*/ 886428 h 6557032"/>
              <a:gd name="connsiteX25600" fmla="*/ 732515 w 4610101"/>
              <a:gd name="connsiteY25600" fmla="*/ 886428 h 6557032"/>
              <a:gd name="connsiteX25601" fmla="*/ 728870 w 4610101"/>
              <a:gd name="connsiteY25601" fmla="*/ 890072 h 6557032"/>
              <a:gd name="connsiteX25602" fmla="*/ 743447 w 4610101"/>
              <a:gd name="connsiteY25602" fmla="*/ 893717 h 6557032"/>
              <a:gd name="connsiteX25603" fmla="*/ 732515 w 4610101"/>
              <a:gd name="connsiteY25603" fmla="*/ 886428 h 6557032"/>
              <a:gd name="connsiteX25604" fmla="*/ 433678 w 4610101"/>
              <a:gd name="connsiteY25604" fmla="*/ 886428 h 6557032"/>
              <a:gd name="connsiteX25605" fmla="*/ 444611 w 4610101"/>
              <a:gd name="connsiteY25605" fmla="*/ 893717 h 6557032"/>
              <a:gd name="connsiteX25606" fmla="*/ 433678 w 4610101"/>
              <a:gd name="connsiteY25606" fmla="*/ 886428 h 6557032"/>
              <a:gd name="connsiteX25607" fmla="*/ 406082 w 4610101"/>
              <a:gd name="connsiteY25607" fmla="*/ 886208 h 6557032"/>
              <a:gd name="connsiteX25608" fmla="*/ 406345 w 4610101"/>
              <a:gd name="connsiteY25608" fmla="*/ 886428 h 6557032"/>
              <a:gd name="connsiteX25609" fmla="*/ 406210 w 4610101"/>
              <a:gd name="connsiteY25609" fmla="*/ 886407 h 6557032"/>
              <a:gd name="connsiteX25610" fmla="*/ 154233 w 4610101"/>
              <a:gd name="connsiteY25610" fmla="*/ 885574 h 6557032"/>
              <a:gd name="connsiteX25611" fmla="*/ 156707 w 4610101"/>
              <a:gd name="connsiteY25611" fmla="*/ 890072 h 6557032"/>
              <a:gd name="connsiteX25612" fmla="*/ 154570 w 4610101"/>
              <a:gd name="connsiteY25612" fmla="*/ 887427 h 6557032"/>
              <a:gd name="connsiteX25613" fmla="*/ 315773 w 4610101"/>
              <a:gd name="connsiteY25613" fmla="*/ 884820 h 6557032"/>
              <a:gd name="connsiteX25614" fmla="*/ 317059 w 4610101"/>
              <a:gd name="connsiteY25614" fmla="*/ 888250 h 6557032"/>
              <a:gd name="connsiteX25615" fmla="*/ 315377 w 4610101"/>
              <a:gd name="connsiteY25615" fmla="*/ 886007 h 6557032"/>
              <a:gd name="connsiteX25616" fmla="*/ 2702284 w 4610101"/>
              <a:gd name="connsiteY25616" fmla="*/ 884606 h 6557032"/>
              <a:gd name="connsiteX25617" fmla="*/ 2697729 w 4610101"/>
              <a:gd name="connsiteY25617" fmla="*/ 888706 h 6557032"/>
              <a:gd name="connsiteX25618" fmla="*/ 2698515 w 4610101"/>
              <a:gd name="connsiteY25618" fmla="*/ 894597 h 6557032"/>
              <a:gd name="connsiteX25619" fmla="*/ 2696818 w 4610101"/>
              <a:gd name="connsiteY25619" fmla="*/ 890072 h 6557032"/>
              <a:gd name="connsiteX25620" fmla="*/ 2693174 w 4610101"/>
              <a:gd name="connsiteY25620" fmla="*/ 901005 h 6557032"/>
              <a:gd name="connsiteX25621" fmla="*/ 2702284 w 4610101"/>
              <a:gd name="connsiteY25621" fmla="*/ 904651 h 6557032"/>
              <a:gd name="connsiteX25622" fmla="*/ 2698811 w 4610101"/>
              <a:gd name="connsiteY25622" fmla="*/ 895386 h 6557032"/>
              <a:gd name="connsiteX25623" fmla="*/ 2703195 w 4610101"/>
              <a:gd name="connsiteY25623" fmla="*/ 891439 h 6557032"/>
              <a:gd name="connsiteX25624" fmla="*/ 2702284 w 4610101"/>
              <a:gd name="connsiteY25624" fmla="*/ 884606 h 6557032"/>
              <a:gd name="connsiteX25625" fmla="*/ 2580199 w 4610101"/>
              <a:gd name="connsiteY25625" fmla="*/ 884606 h 6557032"/>
              <a:gd name="connsiteX25626" fmla="*/ 2578377 w 4610101"/>
              <a:gd name="connsiteY25626" fmla="*/ 891894 h 6557032"/>
              <a:gd name="connsiteX25627" fmla="*/ 2583843 w 4610101"/>
              <a:gd name="connsiteY25627" fmla="*/ 893717 h 6557032"/>
              <a:gd name="connsiteX25628" fmla="*/ 2583843 w 4610101"/>
              <a:gd name="connsiteY25628" fmla="*/ 886428 h 6557032"/>
              <a:gd name="connsiteX25629" fmla="*/ 2580199 w 4610101"/>
              <a:gd name="connsiteY25629" fmla="*/ 884606 h 6557032"/>
              <a:gd name="connsiteX25630" fmla="*/ 2483624 w 4610101"/>
              <a:gd name="connsiteY25630" fmla="*/ 884606 h 6557032"/>
              <a:gd name="connsiteX25631" fmla="*/ 2472690 w 4610101"/>
              <a:gd name="connsiteY25631" fmla="*/ 893717 h 6557032"/>
              <a:gd name="connsiteX25632" fmla="*/ 2479979 w 4610101"/>
              <a:gd name="connsiteY25632" fmla="*/ 893717 h 6557032"/>
              <a:gd name="connsiteX25633" fmla="*/ 2483624 w 4610101"/>
              <a:gd name="connsiteY25633" fmla="*/ 884606 h 6557032"/>
              <a:gd name="connsiteX25634" fmla="*/ 2394337 w 4610101"/>
              <a:gd name="connsiteY25634" fmla="*/ 884606 h 6557032"/>
              <a:gd name="connsiteX25635" fmla="*/ 2390693 w 4610101"/>
              <a:gd name="connsiteY25635" fmla="*/ 904651 h 6557032"/>
              <a:gd name="connsiteX25636" fmla="*/ 2394337 w 4610101"/>
              <a:gd name="connsiteY25636" fmla="*/ 884606 h 6557032"/>
              <a:gd name="connsiteX25637" fmla="*/ 632296 w 4610101"/>
              <a:gd name="connsiteY25637" fmla="*/ 884606 h 6557032"/>
              <a:gd name="connsiteX25638" fmla="*/ 630472 w 4610101"/>
              <a:gd name="connsiteY25638" fmla="*/ 888250 h 6557032"/>
              <a:gd name="connsiteX25639" fmla="*/ 637761 w 4610101"/>
              <a:gd name="connsiteY25639" fmla="*/ 890072 h 6557032"/>
              <a:gd name="connsiteX25640" fmla="*/ 632296 w 4610101"/>
              <a:gd name="connsiteY25640" fmla="*/ 884606 h 6557032"/>
              <a:gd name="connsiteX25641" fmla="*/ 579452 w 4610101"/>
              <a:gd name="connsiteY25641" fmla="*/ 884606 h 6557032"/>
              <a:gd name="connsiteX25642" fmla="*/ 583096 w 4610101"/>
              <a:gd name="connsiteY25642" fmla="*/ 890072 h 6557032"/>
              <a:gd name="connsiteX25643" fmla="*/ 584919 w 4610101"/>
              <a:gd name="connsiteY25643" fmla="*/ 886428 h 6557032"/>
              <a:gd name="connsiteX25644" fmla="*/ 579452 w 4610101"/>
              <a:gd name="connsiteY25644" fmla="*/ 884606 h 6557032"/>
              <a:gd name="connsiteX25645" fmla="*/ 360791 w 4610101"/>
              <a:gd name="connsiteY25645" fmla="*/ 884606 h 6557032"/>
              <a:gd name="connsiteX25646" fmla="*/ 368079 w 4610101"/>
              <a:gd name="connsiteY25646" fmla="*/ 886428 h 6557032"/>
              <a:gd name="connsiteX25647" fmla="*/ 360791 w 4610101"/>
              <a:gd name="connsiteY25647" fmla="*/ 884606 h 6557032"/>
              <a:gd name="connsiteX25648" fmla="*/ 224128 w 4610101"/>
              <a:gd name="connsiteY25648" fmla="*/ 884606 h 6557032"/>
              <a:gd name="connsiteX25649" fmla="*/ 235061 w 4610101"/>
              <a:gd name="connsiteY25649" fmla="*/ 895539 h 6557032"/>
              <a:gd name="connsiteX25650" fmla="*/ 224128 w 4610101"/>
              <a:gd name="connsiteY25650" fmla="*/ 884606 h 6557032"/>
              <a:gd name="connsiteX25651" fmla="*/ 792418 w 4610101"/>
              <a:gd name="connsiteY25651" fmla="*/ 884379 h 6557032"/>
              <a:gd name="connsiteX25652" fmla="*/ 783535 w 4610101"/>
              <a:gd name="connsiteY25652" fmla="*/ 886428 h 6557032"/>
              <a:gd name="connsiteX25653" fmla="*/ 807223 w 4610101"/>
              <a:gd name="connsiteY25653" fmla="*/ 890072 h 6557032"/>
              <a:gd name="connsiteX25654" fmla="*/ 794468 w 4610101"/>
              <a:gd name="connsiteY25654" fmla="*/ 886428 h 6557032"/>
              <a:gd name="connsiteX25655" fmla="*/ 792418 w 4610101"/>
              <a:gd name="connsiteY25655" fmla="*/ 884379 h 6557032"/>
              <a:gd name="connsiteX25656" fmla="*/ 3454842 w 4610101"/>
              <a:gd name="connsiteY25656" fmla="*/ 882784 h 6557032"/>
              <a:gd name="connsiteX25657" fmla="*/ 3443909 w 4610101"/>
              <a:gd name="connsiteY25657" fmla="*/ 891894 h 6557032"/>
              <a:gd name="connsiteX25658" fmla="*/ 3458487 w 4610101"/>
              <a:gd name="connsiteY25658" fmla="*/ 899183 h 6557032"/>
              <a:gd name="connsiteX25659" fmla="*/ 3460309 w 4610101"/>
              <a:gd name="connsiteY25659" fmla="*/ 897361 h 6557032"/>
              <a:gd name="connsiteX25660" fmla="*/ 3454842 w 4610101"/>
              <a:gd name="connsiteY25660" fmla="*/ 882784 h 6557032"/>
              <a:gd name="connsiteX25661" fmla="*/ 1366632 w 4610101"/>
              <a:gd name="connsiteY25661" fmla="*/ 882784 h 6557032"/>
              <a:gd name="connsiteX25662" fmla="*/ 1359570 w 4610101"/>
              <a:gd name="connsiteY25662" fmla="*/ 895539 h 6557032"/>
              <a:gd name="connsiteX25663" fmla="*/ 1353930 w 4610101"/>
              <a:gd name="connsiteY25663" fmla="*/ 908173 h 6557032"/>
              <a:gd name="connsiteX25664" fmla="*/ 1346587 w 4610101"/>
              <a:gd name="connsiteY25664" fmla="*/ 911939 h 6557032"/>
              <a:gd name="connsiteX25665" fmla="*/ 1353876 w 4610101"/>
              <a:gd name="connsiteY25665" fmla="*/ 908294 h 6557032"/>
              <a:gd name="connsiteX25666" fmla="*/ 1353876 w 4610101"/>
              <a:gd name="connsiteY25666" fmla="*/ 908295 h 6557032"/>
              <a:gd name="connsiteX25667" fmla="*/ 1353878 w 4610101"/>
              <a:gd name="connsiteY25667" fmla="*/ 908293 h 6557032"/>
              <a:gd name="connsiteX25668" fmla="*/ 1364809 w 4610101"/>
              <a:gd name="connsiteY25668" fmla="*/ 902828 h 6557032"/>
              <a:gd name="connsiteX25669" fmla="*/ 1366632 w 4610101"/>
              <a:gd name="connsiteY25669" fmla="*/ 882784 h 6557032"/>
              <a:gd name="connsiteX25670" fmla="*/ 796290 w 4610101"/>
              <a:gd name="connsiteY25670" fmla="*/ 882784 h 6557032"/>
              <a:gd name="connsiteX25671" fmla="*/ 809046 w 4610101"/>
              <a:gd name="connsiteY25671" fmla="*/ 888250 h 6557032"/>
              <a:gd name="connsiteX25672" fmla="*/ 796290 w 4610101"/>
              <a:gd name="connsiteY25672" fmla="*/ 882784 h 6557032"/>
              <a:gd name="connsiteX25673" fmla="*/ 657805 w 4610101"/>
              <a:gd name="connsiteY25673" fmla="*/ 882784 h 6557032"/>
              <a:gd name="connsiteX25674" fmla="*/ 666916 w 4610101"/>
              <a:gd name="connsiteY25674" fmla="*/ 886428 h 6557032"/>
              <a:gd name="connsiteX25675" fmla="*/ 661449 w 4610101"/>
              <a:gd name="connsiteY25675" fmla="*/ 882784 h 6557032"/>
              <a:gd name="connsiteX25676" fmla="*/ 657805 w 4610101"/>
              <a:gd name="connsiteY25676" fmla="*/ 882784 h 6557032"/>
              <a:gd name="connsiteX25677" fmla="*/ 461010 w 4610101"/>
              <a:gd name="connsiteY25677" fmla="*/ 882784 h 6557032"/>
              <a:gd name="connsiteX25678" fmla="*/ 475589 w 4610101"/>
              <a:gd name="connsiteY25678" fmla="*/ 897361 h 6557032"/>
              <a:gd name="connsiteX25679" fmla="*/ 473766 w 4610101"/>
              <a:gd name="connsiteY25679" fmla="*/ 897361 h 6557032"/>
              <a:gd name="connsiteX25680" fmla="*/ 477410 w 4610101"/>
              <a:gd name="connsiteY25680" fmla="*/ 901005 h 6557032"/>
              <a:gd name="connsiteX25681" fmla="*/ 461010 w 4610101"/>
              <a:gd name="connsiteY25681" fmla="*/ 890072 h 6557032"/>
              <a:gd name="connsiteX25682" fmla="*/ 473766 w 4610101"/>
              <a:gd name="connsiteY25682" fmla="*/ 904651 h 6557032"/>
              <a:gd name="connsiteX25683" fmla="*/ 481054 w 4610101"/>
              <a:gd name="connsiteY25683" fmla="*/ 897361 h 6557032"/>
              <a:gd name="connsiteX25684" fmla="*/ 475589 w 4610101"/>
              <a:gd name="connsiteY25684" fmla="*/ 897361 h 6557032"/>
              <a:gd name="connsiteX25685" fmla="*/ 461010 w 4610101"/>
              <a:gd name="connsiteY25685" fmla="*/ 882784 h 6557032"/>
              <a:gd name="connsiteX25686" fmla="*/ 129375 w 4610101"/>
              <a:gd name="connsiteY25686" fmla="*/ 882784 h 6557032"/>
              <a:gd name="connsiteX25687" fmla="*/ 151241 w 4610101"/>
              <a:gd name="connsiteY25687" fmla="*/ 901005 h 6557032"/>
              <a:gd name="connsiteX25688" fmla="*/ 129375 w 4610101"/>
              <a:gd name="connsiteY25688" fmla="*/ 882784 h 6557032"/>
              <a:gd name="connsiteX25689" fmla="*/ 1277344 w 4610101"/>
              <a:gd name="connsiteY25689" fmla="*/ 880961 h 6557032"/>
              <a:gd name="connsiteX25690" fmla="*/ 1271878 w 4610101"/>
              <a:gd name="connsiteY25690" fmla="*/ 891894 h 6557032"/>
              <a:gd name="connsiteX25691" fmla="*/ 1277344 w 4610101"/>
              <a:gd name="connsiteY25691" fmla="*/ 880961 h 6557032"/>
              <a:gd name="connsiteX25692" fmla="*/ 799935 w 4610101"/>
              <a:gd name="connsiteY25692" fmla="*/ 880961 h 6557032"/>
              <a:gd name="connsiteX25693" fmla="*/ 823623 w 4610101"/>
              <a:gd name="connsiteY25693" fmla="*/ 890072 h 6557032"/>
              <a:gd name="connsiteX25694" fmla="*/ 809046 w 4610101"/>
              <a:gd name="connsiteY25694" fmla="*/ 884606 h 6557032"/>
              <a:gd name="connsiteX25695" fmla="*/ 840022 w 4610101"/>
              <a:gd name="connsiteY25695" fmla="*/ 888250 h 6557032"/>
              <a:gd name="connsiteX25696" fmla="*/ 799935 w 4610101"/>
              <a:gd name="connsiteY25696" fmla="*/ 880961 h 6557032"/>
              <a:gd name="connsiteX25697" fmla="*/ 311592 w 4610101"/>
              <a:gd name="connsiteY25697" fmla="*/ 880961 h 6557032"/>
              <a:gd name="connsiteX25698" fmla="*/ 315377 w 4610101"/>
              <a:gd name="connsiteY25698" fmla="*/ 886007 h 6557032"/>
              <a:gd name="connsiteX25699" fmla="*/ 315236 w 4610101"/>
              <a:gd name="connsiteY25699" fmla="*/ 886428 h 6557032"/>
              <a:gd name="connsiteX25700" fmla="*/ 311592 w 4610101"/>
              <a:gd name="connsiteY25700" fmla="*/ 882784 h 6557032"/>
              <a:gd name="connsiteX25701" fmla="*/ 312958 w 4610101"/>
              <a:gd name="connsiteY25701" fmla="*/ 884151 h 6557032"/>
              <a:gd name="connsiteX25702" fmla="*/ 315236 w 4610101"/>
              <a:gd name="connsiteY25702" fmla="*/ 886428 h 6557032"/>
              <a:gd name="connsiteX25703" fmla="*/ 317059 w 4610101"/>
              <a:gd name="connsiteY25703" fmla="*/ 888250 h 6557032"/>
              <a:gd name="connsiteX25704" fmla="*/ 317059 w 4610101"/>
              <a:gd name="connsiteY25704" fmla="*/ 886428 h 6557032"/>
              <a:gd name="connsiteX25705" fmla="*/ 318882 w 4610101"/>
              <a:gd name="connsiteY25705" fmla="*/ 888250 h 6557032"/>
              <a:gd name="connsiteX25706" fmla="*/ 324347 w 4610101"/>
              <a:gd name="connsiteY25706" fmla="*/ 886428 h 6557032"/>
              <a:gd name="connsiteX25707" fmla="*/ 322525 w 4610101"/>
              <a:gd name="connsiteY25707" fmla="*/ 882784 h 6557032"/>
              <a:gd name="connsiteX25708" fmla="*/ 317059 w 4610101"/>
              <a:gd name="connsiteY25708" fmla="*/ 880961 h 6557032"/>
              <a:gd name="connsiteX25709" fmla="*/ 315773 w 4610101"/>
              <a:gd name="connsiteY25709" fmla="*/ 884820 h 6557032"/>
              <a:gd name="connsiteX25710" fmla="*/ 315692 w 4610101"/>
              <a:gd name="connsiteY25710" fmla="*/ 884606 h 6557032"/>
              <a:gd name="connsiteX25711" fmla="*/ 311592 w 4610101"/>
              <a:gd name="connsiteY25711" fmla="*/ 880961 h 6557032"/>
              <a:gd name="connsiteX25712" fmla="*/ 230277 w 4610101"/>
              <a:gd name="connsiteY25712" fmla="*/ 879367 h 6557032"/>
              <a:gd name="connsiteX25713" fmla="*/ 218661 w 4610101"/>
              <a:gd name="connsiteY25713" fmla="*/ 880961 h 6557032"/>
              <a:gd name="connsiteX25714" fmla="*/ 229594 w 4610101"/>
              <a:gd name="connsiteY25714" fmla="*/ 886201 h 6557032"/>
              <a:gd name="connsiteX25715" fmla="*/ 238846 w 4610101"/>
              <a:gd name="connsiteY25715" fmla="*/ 889477 h 6557032"/>
              <a:gd name="connsiteX25716" fmla="*/ 233239 w 4610101"/>
              <a:gd name="connsiteY25716" fmla="*/ 888250 h 6557032"/>
              <a:gd name="connsiteX25717" fmla="*/ 247816 w 4610101"/>
              <a:gd name="connsiteY25717" fmla="*/ 895539 h 6557032"/>
              <a:gd name="connsiteX25718" fmla="*/ 240527 w 4610101"/>
              <a:gd name="connsiteY25718" fmla="*/ 889845 h 6557032"/>
              <a:gd name="connsiteX25719" fmla="*/ 240251 w 4610101"/>
              <a:gd name="connsiteY25719" fmla="*/ 889784 h 6557032"/>
              <a:gd name="connsiteX25720" fmla="*/ 2563799 w 4610101"/>
              <a:gd name="connsiteY25720" fmla="*/ 879139 h 6557032"/>
              <a:gd name="connsiteX25721" fmla="*/ 2567443 w 4610101"/>
              <a:gd name="connsiteY25721" fmla="*/ 888250 h 6557032"/>
              <a:gd name="connsiteX25722" fmla="*/ 2563799 w 4610101"/>
              <a:gd name="connsiteY25722" fmla="*/ 879139 h 6557032"/>
              <a:gd name="connsiteX25723" fmla="*/ 2558332 w 4610101"/>
              <a:gd name="connsiteY25723" fmla="*/ 879139 h 6557032"/>
              <a:gd name="connsiteX25724" fmla="*/ 2565621 w 4610101"/>
              <a:gd name="connsiteY25724" fmla="*/ 888250 h 6557032"/>
              <a:gd name="connsiteX25725" fmla="*/ 2558332 w 4610101"/>
              <a:gd name="connsiteY25725" fmla="*/ 879139 h 6557032"/>
              <a:gd name="connsiteX25726" fmla="*/ 2552866 w 4610101"/>
              <a:gd name="connsiteY25726" fmla="*/ 879139 h 6557032"/>
              <a:gd name="connsiteX25727" fmla="*/ 2541933 w 4610101"/>
              <a:gd name="connsiteY25727" fmla="*/ 884606 h 6557032"/>
              <a:gd name="connsiteX25728" fmla="*/ 2554688 w 4610101"/>
              <a:gd name="connsiteY25728" fmla="*/ 884606 h 6557032"/>
              <a:gd name="connsiteX25729" fmla="*/ 2552866 w 4610101"/>
              <a:gd name="connsiteY25729" fmla="*/ 879139 h 6557032"/>
              <a:gd name="connsiteX25730" fmla="*/ 2290473 w 4610101"/>
              <a:gd name="connsiteY25730" fmla="*/ 879139 h 6557032"/>
              <a:gd name="connsiteX25731" fmla="*/ 2285007 w 4610101"/>
              <a:gd name="connsiteY25731" fmla="*/ 886428 h 6557032"/>
              <a:gd name="connsiteX25732" fmla="*/ 2290473 w 4610101"/>
              <a:gd name="connsiteY25732" fmla="*/ 886428 h 6557032"/>
              <a:gd name="connsiteX25733" fmla="*/ 2290473 w 4610101"/>
              <a:gd name="connsiteY25733" fmla="*/ 879139 h 6557032"/>
              <a:gd name="connsiteX25734" fmla="*/ 579452 w 4610101"/>
              <a:gd name="connsiteY25734" fmla="*/ 879139 h 6557032"/>
              <a:gd name="connsiteX25735" fmla="*/ 577630 w 4610101"/>
              <a:gd name="connsiteY25735" fmla="*/ 880961 h 6557032"/>
              <a:gd name="connsiteX25736" fmla="*/ 586741 w 4610101"/>
              <a:gd name="connsiteY25736" fmla="*/ 882784 h 6557032"/>
              <a:gd name="connsiteX25737" fmla="*/ 581274 w 4610101"/>
              <a:gd name="connsiteY25737" fmla="*/ 879139 h 6557032"/>
              <a:gd name="connsiteX25738" fmla="*/ 579452 w 4610101"/>
              <a:gd name="connsiteY25738" fmla="*/ 879139 h 6557032"/>
              <a:gd name="connsiteX25739" fmla="*/ 236883 w 4610101"/>
              <a:gd name="connsiteY25739" fmla="*/ 879139 h 6557032"/>
              <a:gd name="connsiteX25740" fmla="*/ 255105 w 4610101"/>
              <a:gd name="connsiteY25740" fmla="*/ 891894 h 6557032"/>
              <a:gd name="connsiteX25741" fmla="*/ 249638 w 4610101"/>
              <a:gd name="connsiteY25741" fmla="*/ 882784 h 6557032"/>
              <a:gd name="connsiteX25742" fmla="*/ 236883 w 4610101"/>
              <a:gd name="connsiteY25742" fmla="*/ 879139 h 6557032"/>
              <a:gd name="connsiteX25743" fmla="*/ 1264782 w 4610101"/>
              <a:gd name="connsiteY25743" fmla="*/ 879098 h 6557032"/>
              <a:gd name="connsiteX25744" fmla="*/ 1266411 w 4610101"/>
              <a:gd name="connsiteY25744" fmla="*/ 882784 h 6557032"/>
              <a:gd name="connsiteX25745" fmla="*/ 1265830 w 4610101"/>
              <a:gd name="connsiteY25745" fmla="*/ 883808 h 6557032"/>
              <a:gd name="connsiteX25746" fmla="*/ 2720962 w 4610101"/>
              <a:gd name="connsiteY25746" fmla="*/ 878912 h 6557032"/>
              <a:gd name="connsiteX25747" fmla="*/ 2722328 w 4610101"/>
              <a:gd name="connsiteY25747" fmla="*/ 880961 h 6557032"/>
              <a:gd name="connsiteX25748" fmla="*/ 2720791 w 4610101"/>
              <a:gd name="connsiteY25748" fmla="*/ 878997 h 6557032"/>
              <a:gd name="connsiteX25749" fmla="*/ 2515056 w 4610101"/>
              <a:gd name="connsiteY25749" fmla="*/ 878228 h 6557032"/>
              <a:gd name="connsiteX25750" fmla="*/ 2510956 w 4610101"/>
              <a:gd name="connsiteY25750" fmla="*/ 886428 h 6557032"/>
              <a:gd name="connsiteX25751" fmla="*/ 2521889 w 4610101"/>
              <a:gd name="connsiteY25751" fmla="*/ 880961 h 6557032"/>
              <a:gd name="connsiteX25752" fmla="*/ 2515056 w 4610101"/>
              <a:gd name="connsiteY25752" fmla="*/ 878228 h 6557032"/>
              <a:gd name="connsiteX25753" fmla="*/ 3298135 w 4610101"/>
              <a:gd name="connsiteY25753" fmla="*/ 877317 h 6557032"/>
              <a:gd name="connsiteX25754" fmla="*/ 3309068 w 4610101"/>
              <a:gd name="connsiteY25754" fmla="*/ 893717 h 6557032"/>
              <a:gd name="connsiteX25755" fmla="*/ 3298135 w 4610101"/>
              <a:gd name="connsiteY25755" fmla="*/ 877317 h 6557032"/>
              <a:gd name="connsiteX25756" fmla="*/ 2583843 w 4610101"/>
              <a:gd name="connsiteY25756" fmla="*/ 877317 h 6557032"/>
              <a:gd name="connsiteX25757" fmla="*/ 2587487 w 4610101"/>
              <a:gd name="connsiteY25757" fmla="*/ 890072 h 6557032"/>
              <a:gd name="connsiteX25758" fmla="*/ 2591132 w 4610101"/>
              <a:gd name="connsiteY25758" fmla="*/ 888250 h 6557032"/>
              <a:gd name="connsiteX25759" fmla="*/ 2589310 w 4610101"/>
              <a:gd name="connsiteY25759" fmla="*/ 882784 h 6557032"/>
              <a:gd name="connsiteX25760" fmla="*/ 2583843 w 4610101"/>
              <a:gd name="connsiteY25760" fmla="*/ 877317 h 6557032"/>
              <a:gd name="connsiteX25761" fmla="*/ 1313788 w 4610101"/>
              <a:gd name="connsiteY25761" fmla="*/ 877317 h 6557032"/>
              <a:gd name="connsiteX25762" fmla="*/ 1308321 w 4610101"/>
              <a:gd name="connsiteY25762" fmla="*/ 882784 h 6557032"/>
              <a:gd name="connsiteX25763" fmla="*/ 1313788 w 4610101"/>
              <a:gd name="connsiteY25763" fmla="*/ 877317 h 6557032"/>
              <a:gd name="connsiteX25764" fmla="*/ 759848 w 4610101"/>
              <a:gd name="connsiteY25764" fmla="*/ 877317 h 6557032"/>
              <a:gd name="connsiteX25765" fmla="*/ 761670 w 4610101"/>
              <a:gd name="connsiteY25765" fmla="*/ 882784 h 6557032"/>
              <a:gd name="connsiteX25766" fmla="*/ 765313 w 4610101"/>
              <a:gd name="connsiteY25766" fmla="*/ 877317 h 6557032"/>
              <a:gd name="connsiteX25767" fmla="*/ 759848 w 4610101"/>
              <a:gd name="connsiteY25767" fmla="*/ 877317 h 6557032"/>
              <a:gd name="connsiteX25768" fmla="*/ 750737 w 4610101"/>
              <a:gd name="connsiteY25768" fmla="*/ 877317 h 6557032"/>
              <a:gd name="connsiteX25769" fmla="*/ 754380 w 4610101"/>
              <a:gd name="connsiteY25769" fmla="*/ 882784 h 6557032"/>
              <a:gd name="connsiteX25770" fmla="*/ 758025 w 4610101"/>
              <a:gd name="connsiteY25770" fmla="*/ 879139 h 6557032"/>
              <a:gd name="connsiteX25771" fmla="*/ 750737 w 4610101"/>
              <a:gd name="connsiteY25771" fmla="*/ 877317 h 6557032"/>
              <a:gd name="connsiteX25772" fmla="*/ 543008 w 4610101"/>
              <a:gd name="connsiteY25772" fmla="*/ 877317 h 6557032"/>
              <a:gd name="connsiteX25773" fmla="*/ 541186 w 4610101"/>
              <a:gd name="connsiteY25773" fmla="*/ 882784 h 6557032"/>
              <a:gd name="connsiteX25774" fmla="*/ 543008 w 4610101"/>
              <a:gd name="connsiteY25774" fmla="*/ 880961 h 6557032"/>
              <a:gd name="connsiteX25775" fmla="*/ 544830 w 4610101"/>
              <a:gd name="connsiteY25775" fmla="*/ 886428 h 6557032"/>
              <a:gd name="connsiteX25776" fmla="*/ 543008 w 4610101"/>
              <a:gd name="connsiteY25776" fmla="*/ 877317 h 6557032"/>
              <a:gd name="connsiteX25777" fmla="*/ 326169 w 4610101"/>
              <a:gd name="connsiteY25777" fmla="*/ 877317 h 6557032"/>
              <a:gd name="connsiteX25778" fmla="*/ 337102 w 4610101"/>
              <a:gd name="connsiteY25778" fmla="*/ 880961 h 6557032"/>
              <a:gd name="connsiteX25779" fmla="*/ 326169 w 4610101"/>
              <a:gd name="connsiteY25779" fmla="*/ 877317 h 6557032"/>
              <a:gd name="connsiteX25780" fmla="*/ 260571 w 4610101"/>
              <a:gd name="connsiteY25780" fmla="*/ 877317 h 6557032"/>
              <a:gd name="connsiteX25781" fmla="*/ 276971 w 4610101"/>
              <a:gd name="connsiteY25781" fmla="*/ 890072 h 6557032"/>
              <a:gd name="connsiteX25782" fmla="*/ 260571 w 4610101"/>
              <a:gd name="connsiteY25782" fmla="*/ 877317 h 6557032"/>
              <a:gd name="connsiteX25783" fmla="*/ 258749 w 4610101"/>
              <a:gd name="connsiteY25783" fmla="*/ 877317 h 6557032"/>
              <a:gd name="connsiteX25784" fmla="*/ 264216 w 4610101"/>
              <a:gd name="connsiteY25784" fmla="*/ 882784 h 6557032"/>
              <a:gd name="connsiteX25785" fmla="*/ 258749 w 4610101"/>
              <a:gd name="connsiteY25785" fmla="*/ 877317 h 6557032"/>
              <a:gd name="connsiteX25786" fmla="*/ 665321 w 4610101"/>
              <a:gd name="connsiteY25786" fmla="*/ 877090 h 6557032"/>
              <a:gd name="connsiteX25787" fmla="*/ 665094 w 4610101"/>
              <a:gd name="connsiteY25787" fmla="*/ 880961 h 6557032"/>
              <a:gd name="connsiteX25788" fmla="*/ 666916 w 4610101"/>
              <a:gd name="connsiteY25788" fmla="*/ 877317 h 6557032"/>
              <a:gd name="connsiteX25789" fmla="*/ 665321 w 4610101"/>
              <a:gd name="connsiteY25789" fmla="*/ 877090 h 6557032"/>
              <a:gd name="connsiteX25790" fmla="*/ 778752 w 4610101"/>
              <a:gd name="connsiteY25790" fmla="*/ 876406 h 6557032"/>
              <a:gd name="connsiteX25791" fmla="*/ 772602 w 4610101"/>
              <a:gd name="connsiteY25791" fmla="*/ 877317 h 6557032"/>
              <a:gd name="connsiteX25792" fmla="*/ 778070 w 4610101"/>
              <a:gd name="connsiteY25792" fmla="*/ 880961 h 6557032"/>
              <a:gd name="connsiteX25793" fmla="*/ 778752 w 4610101"/>
              <a:gd name="connsiteY25793" fmla="*/ 876406 h 6557032"/>
              <a:gd name="connsiteX25794" fmla="*/ 160989 w 4610101"/>
              <a:gd name="connsiteY25794" fmla="*/ 876339 h 6557032"/>
              <a:gd name="connsiteX25795" fmla="*/ 165818 w 4610101"/>
              <a:gd name="connsiteY25795" fmla="*/ 884606 h 6557032"/>
              <a:gd name="connsiteX25796" fmla="*/ 164021 w 4610101"/>
              <a:gd name="connsiteY25796" fmla="*/ 883730 h 6557032"/>
              <a:gd name="connsiteX25797" fmla="*/ 162829 w 4610101"/>
              <a:gd name="connsiteY25797" fmla="*/ 881702 h 6557032"/>
              <a:gd name="connsiteX25798" fmla="*/ 2478157 w 4610101"/>
              <a:gd name="connsiteY25798" fmla="*/ 875495 h 6557032"/>
              <a:gd name="connsiteX25799" fmla="*/ 2467224 w 4610101"/>
              <a:gd name="connsiteY25799" fmla="*/ 888250 h 6557032"/>
              <a:gd name="connsiteX25800" fmla="*/ 2458797 w 4610101"/>
              <a:gd name="connsiteY25800" fmla="*/ 895311 h 6557032"/>
              <a:gd name="connsiteX25801" fmla="*/ 2454863 w 4610101"/>
              <a:gd name="connsiteY25801" fmla="*/ 905457 h 6557032"/>
              <a:gd name="connsiteX25802" fmla="*/ 2454469 w 4610101"/>
              <a:gd name="connsiteY25802" fmla="*/ 905333 h 6557032"/>
              <a:gd name="connsiteX25803" fmla="*/ 2450824 w 4610101"/>
              <a:gd name="connsiteY25803" fmla="*/ 908295 h 6557032"/>
              <a:gd name="connsiteX25804" fmla="*/ 2450824 w 4610101"/>
              <a:gd name="connsiteY25804" fmla="*/ 904651 h 6557032"/>
              <a:gd name="connsiteX25805" fmla="*/ 2438069 w 4610101"/>
              <a:gd name="connsiteY25805" fmla="*/ 922872 h 6557032"/>
              <a:gd name="connsiteX25806" fmla="*/ 2458113 w 4610101"/>
              <a:gd name="connsiteY25806" fmla="*/ 906473 h 6557032"/>
              <a:gd name="connsiteX25807" fmla="*/ 2455656 w 4610101"/>
              <a:gd name="connsiteY25807" fmla="*/ 905704 h 6557032"/>
              <a:gd name="connsiteX25808" fmla="*/ 2462213 w 4610101"/>
              <a:gd name="connsiteY25808" fmla="*/ 901461 h 6557032"/>
              <a:gd name="connsiteX25809" fmla="*/ 2467224 w 4610101"/>
              <a:gd name="connsiteY25809" fmla="*/ 893717 h 6557032"/>
              <a:gd name="connsiteX25810" fmla="*/ 2461757 w 4610101"/>
              <a:gd name="connsiteY25810" fmla="*/ 895539 h 6557032"/>
              <a:gd name="connsiteX25811" fmla="*/ 2478157 w 4610101"/>
              <a:gd name="connsiteY25811" fmla="*/ 875495 h 6557032"/>
              <a:gd name="connsiteX25812" fmla="*/ 2179320 w 4610101"/>
              <a:gd name="connsiteY25812" fmla="*/ 875495 h 6557032"/>
              <a:gd name="connsiteX25813" fmla="*/ 2175676 w 4610101"/>
              <a:gd name="connsiteY25813" fmla="*/ 897361 h 6557032"/>
              <a:gd name="connsiteX25814" fmla="*/ 2168387 w 4610101"/>
              <a:gd name="connsiteY25814" fmla="*/ 913761 h 6557032"/>
              <a:gd name="connsiteX25815" fmla="*/ 2177498 w 4610101"/>
              <a:gd name="connsiteY25815" fmla="*/ 911939 h 6557032"/>
              <a:gd name="connsiteX25816" fmla="*/ 2177498 w 4610101"/>
              <a:gd name="connsiteY25816" fmla="*/ 915583 h 6557032"/>
              <a:gd name="connsiteX25817" fmla="*/ 2179320 w 4610101"/>
              <a:gd name="connsiteY25817" fmla="*/ 875495 h 6557032"/>
              <a:gd name="connsiteX25818" fmla="*/ 1086016 w 4610101"/>
              <a:gd name="connsiteY25818" fmla="*/ 875495 h 6557032"/>
              <a:gd name="connsiteX25819" fmla="*/ 1084194 w 4610101"/>
              <a:gd name="connsiteY25819" fmla="*/ 879139 h 6557032"/>
              <a:gd name="connsiteX25820" fmla="*/ 1082373 w 4610101"/>
              <a:gd name="connsiteY25820" fmla="*/ 877317 h 6557032"/>
              <a:gd name="connsiteX25821" fmla="*/ 1066883 w 4610101"/>
              <a:gd name="connsiteY25821" fmla="*/ 892807 h 6557032"/>
              <a:gd name="connsiteX25822" fmla="*/ 1067794 w 4610101"/>
              <a:gd name="connsiteY25822" fmla="*/ 890072 h 6557032"/>
              <a:gd name="connsiteX25823" fmla="*/ 1060506 w 4610101"/>
              <a:gd name="connsiteY25823" fmla="*/ 895539 h 6557032"/>
              <a:gd name="connsiteX25824" fmla="*/ 1064647 w 4610101"/>
              <a:gd name="connsiteY25824" fmla="*/ 895042 h 6557032"/>
              <a:gd name="connsiteX25825" fmla="*/ 1055040 w 4610101"/>
              <a:gd name="connsiteY25825" fmla="*/ 904651 h 6557032"/>
              <a:gd name="connsiteX25826" fmla="*/ 1073262 w 4610101"/>
              <a:gd name="connsiteY25826" fmla="*/ 893717 h 6557032"/>
              <a:gd name="connsiteX25827" fmla="*/ 1075083 w 4610101"/>
              <a:gd name="connsiteY25827" fmla="*/ 895539 h 6557032"/>
              <a:gd name="connsiteX25828" fmla="*/ 1080549 w 4610101"/>
              <a:gd name="connsiteY25828" fmla="*/ 888250 h 6557032"/>
              <a:gd name="connsiteX25829" fmla="*/ 1080549 w 4610101"/>
              <a:gd name="connsiteY25829" fmla="*/ 891894 h 6557032"/>
              <a:gd name="connsiteX25830" fmla="*/ 1086016 w 4610101"/>
              <a:gd name="connsiteY25830" fmla="*/ 875495 h 6557032"/>
              <a:gd name="connsiteX25831" fmla="*/ 690604 w 4610101"/>
              <a:gd name="connsiteY25831" fmla="*/ 875495 h 6557032"/>
              <a:gd name="connsiteX25832" fmla="*/ 688782 w 4610101"/>
              <a:gd name="connsiteY25832" fmla="*/ 879139 h 6557032"/>
              <a:gd name="connsiteX25833" fmla="*/ 697893 w 4610101"/>
              <a:gd name="connsiteY25833" fmla="*/ 877317 h 6557032"/>
              <a:gd name="connsiteX25834" fmla="*/ 690604 w 4610101"/>
              <a:gd name="connsiteY25834" fmla="*/ 875495 h 6557032"/>
              <a:gd name="connsiteX25835" fmla="*/ 625006 w 4610101"/>
              <a:gd name="connsiteY25835" fmla="*/ 875495 h 6557032"/>
              <a:gd name="connsiteX25836" fmla="*/ 628650 w 4610101"/>
              <a:gd name="connsiteY25836" fmla="*/ 880961 h 6557032"/>
              <a:gd name="connsiteX25837" fmla="*/ 625006 w 4610101"/>
              <a:gd name="connsiteY25837" fmla="*/ 875495 h 6557032"/>
              <a:gd name="connsiteX25838" fmla="*/ 577630 w 4610101"/>
              <a:gd name="connsiteY25838" fmla="*/ 875495 h 6557032"/>
              <a:gd name="connsiteX25839" fmla="*/ 583096 w 4610101"/>
              <a:gd name="connsiteY25839" fmla="*/ 879139 h 6557032"/>
              <a:gd name="connsiteX25840" fmla="*/ 577630 w 4610101"/>
              <a:gd name="connsiteY25840" fmla="*/ 875495 h 6557032"/>
              <a:gd name="connsiteX25841" fmla="*/ 882142 w 4610101"/>
              <a:gd name="connsiteY25841" fmla="*/ 874389 h 6557032"/>
              <a:gd name="connsiteX25842" fmla="*/ 880794 w 4610101"/>
              <a:gd name="connsiteY25842" fmla="*/ 875040 h 6557032"/>
              <a:gd name="connsiteX25843" fmla="*/ 872822 w 4610101"/>
              <a:gd name="connsiteY25843" fmla="*/ 875495 h 6557032"/>
              <a:gd name="connsiteX25844" fmla="*/ 439143 w 4610101"/>
              <a:gd name="connsiteY25844" fmla="*/ 873799 h 6557032"/>
              <a:gd name="connsiteX25845" fmla="*/ 439373 w 4610101"/>
              <a:gd name="connsiteY25845" fmla="*/ 874129 h 6557032"/>
              <a:gd name="connsiteX25846" fmla="*/ 441405 w 4610101"/>
              <a:gd name="connsiteY25846" fmla="*/ 877012 h 6557032"/>
              <a:gd name="connsiteX25847" fmla="*/ 440511 w 4610101"/>
              <a:gd name="connsiteY25847" fmla="*/ 876634 h 6557032"/>
              <a:gd name="connsiteX25848" fmla="*/ 3367378 w 4610101"/>
              <a:gd name="connsiteY25848" fmla="*/ 873673 h 6557032"/>
              <a:gd name="connsiteX25849" fmla="*/ 3360089 w 4610101"/>
              <a:gd name="connsiteY25849" fmla="*/ 875495 h 6557032"/>
              <a:gd name="connsiteX25850" fmla="*/ 3365556 w 4610101"/>
              <a:gd name="connsiteY25850" fmla="*/ 879139 h 6557032"/>
              <a:gd name="connsiteX25851" fmla="*/ 3367378 w 4610101"/>
              <a:gd name="connsiteY25851" fmla="*/ 873673 h 6557032"/>
              <a:gd name="connsiteX25852" fmla="*/ 3077652 w 4610101"/>
              <a:gd name="connsiteY25852" fmla="*/ 873673 h 6557032"/>
              <a:gd name="connsiteX25853" fmla="*/ 3081297 w 4610101"/>
              <a:gd name="connsiteY25853" fmla="*/ 880961 h 6557032"/>
              <a:gd name="connsiteX25854" fmla="*/ 2999299 w 4610101"/>
              <a:gd name="connsiteY25854" fmla="*/ 891894 h 6557032"/>
              <a:gd name="connsiteX25855" fmla="*/ 3001121 w 4610101"/>
              <a:gd name="connsiteY25855" fmla="*/ 895539 h 6557032"/>
              <a:gd name="connsiteX25856" fmla="*/ 2968322 w 4610101"/>
              <a:gd name="connsiteY25856" fmla="*/ 906473 h 6557032"/>
              <a:gd name="connsiteX25857" fmla="*/ 2979255 w 4610101"/>
              <a:gd name="connsiteY25857" fmla="*/ 921049 h 6557032"/>
              <a:gd name="connsiteX25858" fmla="*/ 2966500 w 4610101"/>
              <a:gd name="connsiteY25858" fmla="*/ 910117 h 6557032"/>
              <a:gd name="connsiteX25859" fmla="*/ 2919123 w 4610101"/>
              <a:gd name="connsiteY25859" fmla="*/ 988471 h 6557032"/>
              <a:gd name="connsiteX25860" fmla="*/ 2935523 w 4610101"/>
              <a:gd name="connsiteY25860" fmla="*/ 984826 h 6557032"/>
              <a:gd name="connsiteX25861" fmla="*/ 2950100 w 4610101"/>
              <a:gd name="connsiteY25861" fmla="*/ 986649 h 6557032"/>
              <a:gd name="connsiteX25862" fmla="*/ 2942811 w 4610101"/>
              <a:gd name="connsiteY25862" fmla="*/ 966604 h 6557032"/>
              <a:gd name="connsiteX25863" fmla="*/ 2953744 w 4610101"/>
              <a:gd name="connsiteY25863" fmla="*/ 970249 h 6557032"/>
              <a:gd name="connsiteX25864" fmla="*/ 2959211 w 4610101"/>
              <a:gd name="connsiteY25864" fmla="*/ 988471 h 6557032"/>
              <a:gd name="connsiteX25865" fmla="*/ 2975610 w 4610101"/>
              <a:gd name="connsiteY25865" fmla="*/ 992115 h 6557032"/>
              <a:gd name="connsiteX25866" fmla="*/ 3004765 w 4610101"/>
              <a:gd name="connsiteY25866" fmla="*/ 979360 h 6557032"/>
              <a:gd name="connsiteX25867" fmla="*/ 3002943 w 4610101"/>
              <a:gd name="connsiteY25867" fmla="*/ 975715 h 6557032"/>
              <a:gd name="connsiteX25868" fmla="*/ 3013876 w 4610101"/>
              <a:gd name="connsiteY25868" fmla="*/ 968427 h 6557032"/>
              <a:gd name="connsiteX25869" fmla="*/ 3012054 w 4610101"/>
              <a:gd name="connsiteY25869" fmla="*/ 981182 h 6557032"/>
              <a:gd name="connsiteX25870" fmla="*/ 3013876 w 4610101"/>
              <a:gd name="connsiteY25870" fmla="*/ 968427 h 6557032"/>
              <a:gd name="connsiteX25871" fmla="*/ 3021165 w 4610101"/>
              <a:gd name="connsiteY25871" fmla="*/ 975715 h 6557032"/>
              <a:gd name="connsiteX25872" fmla="*/ 3032098 w 4610101"/>
              <a:gd name="connsiteY25872" fmla="*/ 975715 h 6557032"/>
              <a:gd name="connsiteX25873" fmla="*/ 3030276 w 4610101"/>
              <a:gd name="connsiteY25873" fmla="*/ 966604 h 6557032"/>
              <a:gd name="connsiteX25874" fmla="*/ 3063075 w 4610101"/>
              <a:gd name="connsiteY25874" fmla="*/ 966604 h 6557032"/>
              <a:gd name="connsiteX25875" fmla="*/ 3052142 w 4610101"/>
              <a:gd name="connsiteY25875" fmla="*/ 953848 h 6557032"/>
              <a:gd name="connsiteX25876" fmla="*/ 3075830 w 4610101"/>
              <a:gd name="connsiteY25876" fmla="*/ 944738 h 6557032"/>
              <a:gd name="connsiteX25877" fmla="*/ 3115918 w 4610101"/>
              <a:gd name="connsiteY25877" fmla="*/ 899183 h 6557032"/>
              <a:gd name="connsiteX25878" fmla="*/ 3108629 w 4610101"/>
              <a:gd name="connsiteY25878" fmla="*/ 891894 h 6557032"/>
              <a:gd name="connsiteX25879" fmla="*/ 3077652 w 4610101"/>
              <a:gd name="connsiteY25879" fmla="*/ 873673 h 6557032"/>
              <a:gd name="connsiteX25880" fmla="*/ 2467224 w 4610101"/>
              <a:gd name="connsiteY25880" fmla="*/ 873673 h 6557032"/>
              <a:gd name="connsiteX25881" fmla="*/ 2458113 w 4610101"/>
              <a:gd name="connsiteY25881" fmla="*/ 886428 h 6557032"/>
              <a:gd name="connsiteX25882" fmla="*/ 2467224 w 4610101"/>
              <a:gd name="connsiteY25882" fmla="*/ 873673 h 6557032"/>
              <a:gd name="connsiteX25883" fmla="*/ 849133 w 4610101"/>
              <a:gd name="connsiteY25883" fmla="*/ 873673 h 6557032"/>
              <a:gd name="connsiteX25884" fmla="*/ 849133 w 4610101"/>
              <a:gd name="connsiteY25884" fmla="*/ 875495 h 6557032"/>
              <a:gd name="connsiteX25885" fmla="*/ 819979 w 4610101"/>
              <a:gd name="connsiteY25885" fmla="*/ 877317 h 6557032"/>
              <a:gd name="connsiteX25886" fmla="*/ 858244 w 4610101"/>
              <a:gd name="connsiteY25886" fmla="*/ 884606 h 6557032"/>
              <a:gd name="connsiteX25887" fmla="*/ 849133 w 4610101"/>
              <a:gd name="connsiteY25887" fmla="*/ 877317 h 6557032"/>
              <a:gd name="connsiteX25888" fmla="*/ 852778 w 4610101"/>
              <a:gd name="connsiteY25888" fmla="*/ 877317 h 6557032"/>
              <a:gd name="connsiteX25889" fmla="*/ 849133 w 4610101"/>
              <a:gd name="connsiteY25889" fmla="*/ 873673 h 6557032"/>
              <a:gd name="connsiteX25890" fmla="*/ 641407 w 4610101"/>
              <a:gd name="connsiteY25890" fmla="*/ 873673 h 6557032"/>
              <a:gd name="connsiteX25891" fmla="*/ 641407 w 4610101"/>
              <a:gd name="connsiteY25891" fmla="*/ 879139 h 6557032"/>
              <a:gd name="connsiteX25892" fmla="*/ 650516 w 4610101"/>
              <a:gd name="connsiteY25892" fmla="*/ 880961 h 6557032"/>
              <a:gd name="connsiteX25893" fmla="*/ 646872 w 4610101"/>
              <a:gd name="connsiteY25893" fmla="*/ 877317 h 6557032"/>
              <a:gd name="connsiteX25894" fmla="*/ 641407 w 4610101"/>
              <a:gd name="connsiteY25894" fmla="*/ 873673 h 6557032"/>
              <a:gd name="connsiteX25895" fmla="*/ 544830 w 4610101"/>
              <a:gd name="connsiteY25895" fmla="*/ 873673 h 6557032"/>
              <a:gd name="connsiteX25896" fmla="*/ 553941 w 4610101"/>
              <a:gd name="connsiteY25896" fmla="*/ 891894 h 6557032"/>
              <a:gd name="connsiteX25897" fmla="*/ 544830 w 4610101"/>
              <a:gd name="connsiteY25897" fmla="*/ 873673 h 6557032"/>
              <a:gd name="connsiteX25898" fmla="*/ 495632 w 4610101"/>
              <a:gd name="connsiteY25898" fmla="*/ 873673 h 6557032"/>
              <a:gd name="connsiteX25899" fmla="*/ 502920 w 4610101"/>
              <a:gd name="connsiteY25899" fmla="*/ 882784 h 6557032"/>
              <a:gd name="connsiteX25900" fmla="*/ 495632 w 4610101"/>
              <a:gd name="connsiteY25900" fmla="*/ 873673 h 6557032"/>
              <a:gd name="connsiteX25901" fmla="*/ 215017 w 4610101"/>
              <a:gd name="connsiteY25901" fmla="*/ 873673 h 6557032"/>
              <a:gd name="connsiteX25902" fmla="*/ 220483 w 4610101"/>
              <a:gd name="connsiteY25902" fmla="*/ 875495 h 6557032"/>
              <a:gd name="connsiteX25903" fmla="*/ 215017 w 4610101"/>
              <a:gd name="connsiteY25903" fmla="*/ 873673 h 6557032"/>
              <a:gd name="connsiteX25904" fmla="*/ 2526445 w 4610101"/>
              <a:gd name="connsiteY25904" fmla="*/ 872078 h 6557032"/>
              <a:gd name="connsiteX25905" fmla="*/ 2521889 w 4610101"/>
              <a:gd name="connsiteY25905" fmla="*/ 877317 h 6557032"/>
              <a:gd name="connsiteX25906" fmla="*/ 2531000 w 4610101"/>
              <a:gd name="connsiteY25906" fmla="*/ 879139 h 6557032"/>
              <a:gd name="connsiteX25907" fmla="*/ 2526445 w 4610101"/>
              <a:gd name="connsiteY25907" fmla="*/ 872078 h 6557032"/>
              <a:gd name="connsiteX25908" fmla="*/ 1084194 w 4610101"/>
              <a:gd name="connsiteY25908" fmla="*/ 871851 h 6557032"/>
              <a:gd name="connsiteX25909" fmla="*/ 1064151 w 4610101"/>
              <a:gd name="connsiteY25909" fmla="*/ 890072 h 6557032"/>
              <a:gd name="connsiteX25910" fmla="*/ 1084194 w 4610101"/>
              <a:gd name="connsiteY25910" fmla="*/ 871851 h 6557032"/>
              <a:gd name="connsiteX25911" fmla="*/ 1056861 w 4610101"/>
              <a:gd name="connsiteY25911" fmla="*/ 871851 h 6557032"/>
              <a:gd name="connsiteX25912" fmla="*/ 1040462 w 4610101"/>
              <a:gd name="connsiteY25912" fmla="*/ 884606 h 6557032"/>
              <a:gd name="connsiteX25913" fmla="*/ 1045929 w 4610101"/>
              <a:gd name="connsiteY25913" fmla="*/ 888250 h 6557032"/>
              <a:gd name="connsiteX25914" fmla="*/ 1056861 w 4610101"/>
              <a:gd name="connsiteY25914" fmla="*/ 871851 h 6557032"/>
              <a:gd name="connsiteX25915" fmla="*/ 792646 w 4610101"/>
              <a:gd name="connsiteY25915" fmla="*/ 871851 h 6557032"/>
              <a:gd name="connsiteX25916" fmla="*/ 787179 w 4610101"/>
              <a:gd name="connsiteY25916" fmla="*/ 873673 h 6557032"/>
              <a:gd name="connsiteX25917" fmla="*/ 794468 w 4610101"/>
              <a:gd name="connsiteY25917" fmla="*/ 873673 h 6557032"/>
              <a:gd name="connsiteX25918" fmla="*/ 792646 w 4610101"/>
              <a:gd name="connsiteY25918" fmla="*/ 871851 h 6557032"/>
              <a:gd name="connsiteX25919" fmla="*/ 650516 w 4610101"/>
              <a:gd name="connsiteY25919" fmla="*/ 871851 h 6557032"/>
              <a:gd name="connsiteX25920" fmla="*/ 654161 w 4610101"/>
              <a:gd name="connsiteY25920" fmla="*/ 877317 h 6557032"/>
              <a:gd name="connsiteX25921" fmla="*/ 661449 w 4610101"/>
              <a:gd name="connsiteY25921" fmla="*/ 873673 h 6557032"/>
              <a:gd name="connsiteX25922" fmla="*/ 650516 w 4610101"/>
              <a:gd name="connsiteY25922" fmla="*/ 871851 h 6557032"/>
              <a:gd name="connsiteX25923" fmla="*/ 597673 w 4610101"/>
              <a:gd name="connsiteY25923" fmla="*/ 871851 h 6557032"/>
              <a:gd name="connsiteX25924" fmla="*/ 595852 w 4610101"/>
              <a:gd name="connsiteY25924" fmla="*/ 875495 h 6557032"/>
              <a:gd name="connsiteX25925" fmla="*/ 597673 w 4610101"/>
              <a:gd name="connsiteY25925" fmla="*/ 871851 h 6557032"/>
              <a:gd name="connsiteX25926" fmla="*/ 557586 w 4610101"/>
              <a:gd name="connsiteY25926" fmla="*/ 871851 h 6557032"/>
              <a:gd name="connsiteX25927" fmla="*/ 555763 w 4610101"/>
              <a:gd name="connsiteY25927" fmla="*/ 875495 h 6557032"/>
              <a:gd name="connsiteX25928" fmla="*/ 564874 w 4610101"/>
              <a:gd name="connsiteY25928" fmla="*/ 882784 h 6557032"/>
              <a:gd name="connsiteX25929" fmla="*/ 557586 w 4610101"/>
              <a:gd name="connsiteY25929" fmla="*/ 871851 h 6557032"/>
              <a:gd name="connsiteX25930" fmla="*/ 475589 w 4610101"/>
              <a:gd name="connsiteY25930" fmla="*/ 871851 h 6557032"/>
              <a:gd name="connsiteX25931" fmla="*/ 477410 w 4610101"/>
              <a:gd name="connsiteY25931" fmla="*/ 879139 h 6557032"/>
              <a:gd name="connsiteX25932" fmla="*/ 479232 w 4610101"/>
              <a:gd name="connsiteY25932" fmla="*/ 877317 h 6557032"/>
              <a:gd name="connsiteX25933" fmla="*/ 506565 w 4610101"/>
              <a:gd name="connsiteY25933" fmla="*/ 897361 h 6557032"/>
              <a:gd name="connsiteX25934" fmla="*/ 475589 w 4610101"/>
              <a:gd name="connsiteY25934" fmla="*/ 871851 h 6557032"/>
              <a:gd name="connsiteX25935" fmla="*/ 411812 w 4610101"/>
              <a:gd name="connsiteY25935" fmla="*/ 871851 h 6557032"/>
              <a:gd name="connsiteX25936" fmla="*/ 437322 w 4610101"/>
              <a:gd name="connsiteY25936" fmla="*/ 886428 h 6557032"/>
              <a:gd name="connsiteX25937" fmla="*/ 411812 w 4610101"/>
              <a:gd name="connsiteY25937" fmla="*/ 871851 h 6557032"/>
              <a:gd name="connsiteX25938" fmla="*/ 467616 w 4610101"/>
              <a:gd name="connsiteY25938" fmla="*/ 871623 h 6557032"/>
              <a:gd name="connsiteX25939" fmla="*/ 455544 w 4610101"/>
              <a:gd name="connsiteY25939" fmla="*/ 873673 h 6557032"/>
              <a:gd name="connsiteX25940" fmla="*/ 455544 w 4610101"/>
              <a:gd name="connsiteY25940" fmla="*/ 877317 h 6557032"/>
              <a:gd name="connsiteX25941" fmla="*/ 473766 w 4610101"/>
              <a:gd name="connsiteY25941" fmla="*/ 888250 h 6557032"/>
              <a:gd name="connsiteX25942" fmla="*/ 455544 w 4610101"/>
              <a:gd name="connsiteY25942" fmla="*/ 873673 h 6557032"/>
              <a:gd name="connsiteX25943" fmla="*/ 481054 w 4610101"/>
              <a:gd name="connsiteY25943" fmla="*/ 891894 h 6557032"/>
              <a:gd name="connsiteX25944" fmla="*/ 470121 w 4610101"/>
              <a:gd name="connsiteY25944" fmla="*/ 875495 h 6557032"/>
              <a:gd name="connsiteX25945" fmla="*/ 475589 w 4610101"/>
              <a:gd name="connsiteY25945" fmla="*/ 879139 h 6557032"/>
              <a:gd name="connsiteX25946" fmla="*/ 467616 w 4610101"/>
              <a:gd name="connsiteY25946" fmla="*/ 871623 h 6557032"/>
              <a:gd name="connsiteX25947" fmla="*/ 1998963 w 4610101"/>
              <a:gd name="connsiteY25947" fmla="*/ 870202 h 6557032"/>
              <a:gd name="connsiteX25948" fmla="*/ 2000064 w 4610101"/>
              <a:gd name="connsiteY25948" fmla="*/ 875267 h 6557032"/>
              <a:gd name="connsiteX25949" fmla="*/ 1997103 w 4610101"/>
              <a:gd name="connsiteY25949" fmla="*/ 879139 h 6557032"/>
              <a:gd name="connsiteX25950" fmla="*/ 1989814 w 4610101"/>
              <a:gd name="connsiteY25950" fmla="*/ 877317 h 6557032"/>
              <a:gd name="connsiteX25951" fmla="*/ 1998925 w 4610101"/>
              <a:gd name="connsiteY25951" fmla="*/ 870028 h 6557032"/>
              <a:gd name="connsiteX25952" fmla="*/ 1998983 w 4610101"/>
              <a:gd name="connsiteY25952" fmla="*/ 870186 h 6557032"/>
              <a:gd name="connsiteX25953" fmla="*/ 1998963 w 4610101"/>
              <a:gd name="connsiteY25953" fmla="*/ 870202 h 6557032"/>
              <a:gd name="connsiteX25954" fmla="*/ 1295566 w 4610101"/>
              <a:gd name="connsiteY25954" fmla="*/ 870028 h 6557032"/>
              <a:gd name="connsiteX25955" fmla="*/ 1301033 w 4610101"/>
              <a:gd name="connsiteY25955" fmla="*/ 873673 h 6557032"/>
              <a:gd name="connsiteX25956" fmla="*/ 1301033 w 4610101"/>
              <a:gd name="connsiteY25956" fmla="*/ 870028 h 6557032"/>
              <a:gd name="connsiteX25957" fmla="*/ 1295566 w 4610101"/>
              <a:gd name="connsiteY25957" fmla="*/ 870028 h 6557032"/>
              <a:gd name="connsiteX25958" fmla="*/ 1279166 w 4610101"/>
              <a:gd name="connsiteY25958" fmla="*/ 870028 h 6557032"/>
              <a:gd name="connsiteX25959" fmla="*/ 1275522 w 4610101"/>
              <a:gd name="connsiteY25959" fmla="*/ 879139 h 6557032"/>
              <a:gd name="connsiteX25960" fmla="*/ 1279166 w 4610101"/>
              <a:gd name="connsiteY25960" fmla="*/ 870028 h 6557032"/>
              <a:gd name="connsiteX25961" fmla="*/ 577630 w 4610101"/>
              <a:gd name="connsiteY25961" fmla="*/ 870028 h 6557032"/>
              <a:gd name="connsiteX25962" fmla="*/ 584919 w 4610101"/>
              <a:gd name="connsiteY25962" fmla="*/ 873673 h 6557032"/>
              <a:gd name="connsiteX25963" fmla="*/ 588562 w 4610101"/>
              <a:gd name="connsiteY25963" fmla="*/ 875495 h 6557032"/>
              <a:gd name="connsiteX25964" fmla="*/ 583096 w 4610101"/>
              <a:gd name="connsiteY25964" fmla="*/ 871851 h 6557032"/>
              <a:gd name="connsiteX25965" fmla="*/ 586741 w 4610101"/>
              <a:gd name="connsiteY25965" fmla="*/ 871851 h 6557032"/>
              <a:gd name="connsiteX25966" fmla="*/ 577630 w 4610101"/>
              <a:gd name="connsiteY25966" fmla="*/ 870028 h 6557032"/>
              <a:gd name="connsiteX25967" fmla="*/ 1257300 w 4610101"/>
              <a:gd name="connsiteY25967" fmla="*/ 868207 h 6557032"/>
              <a:gd name="connsiteX25968" fmla="*/ 1262083 w 4610101"/>
              <a:gd name="connsiteY25968" fmla="*/ 872990 h 6557032"/>
              <a:gd name="connsiteX25969" fmla="*/ 1262631 w 4610101"/>
              <a:gd name="connsiteY25969" fmla="*/ 874230 h 6557032"/>
              <a:gd name="connsiteX25970" fmla="*/ 1262767 w 4610101"/>
              <a:gd name="connsiteY25970" fmla="*/ 875495 h 6557032"/>
              <a:gd name="connsiteX25971" fmla="*/ 1260034 w 4610101"/>
              <a:gd name="connsiteY25971" fmla="*/ 873217 h 6557032"/>
              <a:gd name="connsiteX25972" fmla="*/ 3121384 w 4610101"/>
              <a:gd name="connsiteY25972" fmla="*/ 868206 h 6557032"/>
              <a:gd name="connsiteX25973" fmla="*/ 3123206 w 4610101"/>
              <a:gd name="connsiteY25973" fmla="*/ 888250 h 6557032"/>
              <a:gd name="connsiteX25974" fmla="*/ 3143250 w 4610101"/>
              <a:gd name="connsiteY25974" fmla="*/ 888250 h 6557032"/>
              <a:gd name="connsiteX25975" fmla="*/ 3170583 w 4610101"/>
              <a:gd name="connsiteY25975" fmla="*/ 877317 h 6557032"/>
              <a:gd name="connsiteX25976" fmla="*/ 3121384 w 4610101"/>
              <a:gd name="connsiteY25976" fmla="*/ 871851 h 6557032"/>
              <a:gd name="connsiteX25977" fmla="*/ 3121384 w 4610101"/>
              <a:gd name="connsiteY25977" fmla="*/ 868206 h 6557032"/>
              <a:gd name="connsiteX25978" fmla="*/ 2607531 w 4610101"/>
              <a:gd name="connsiteY25978" fmla="*/ 868206 h 6557032"/>
              <a:gd name="connsiteX25979" fmla="*/ 2614820 w 4610101"/>
              <a:gd name="connsiteY25979" fmla="*/ 897361 h 6557032"/>
              <a:gd name="connsiteX25980" fmla="*/ 2614820 w 4610101"/>
              <a:gd name="connsiteY25980" fmla="*/ 882784 h 6557032"/>
              <a:gd name="connsiteX25981" fmla="*/ 2609353 w 4610101"/>
              <a:gd name="connsiteY25981" fmla="*/ 884606 h 6557032"/>
              <a:gd name="connsiteX25982" fmla="*/ 2612998 w 4610101"/>
              <a:gd name="connsiteY25982" fmla="*/ 868206 h 6557032"/>
              <a:gd name="connsiteX25983" fmla="*/ 2607531 w 4610101"/>
              <a:gd name="connsiteY25983" fmla="*/ 868206 h 6557032"/>
              <a:gd name="connsiteX25984" fmla="*/ 2600243 w 4610101"/>
              <a:gd name="connsiteY25984" fmla="*/ 868206 h 6557032"/>
              <a:gd name="connsiteX25985" fmla="*/ 2592954 w 4610101"/>
              <a:gd name="connsiteY25985" fmla="*/ 870028 h 6557032"/>
              <a:gd name="connsiteX25986" fmla="*/ 2592954 w 4610101"/>
              <a:gd name="connsiteY25986" fmla="*/ 879139 h 6557032"/>
              <a:gd name="connsiteX25987" fmla="*/ 2600243 w 4610101"/>
              <a:gd name="connsiteY25987" fmla="*/ 886428 h 6557032"/>
              <a:gd name="connsiteX25988" fmla="*/ 2600243 w 4610101"/>
              <a:gd name="connsiteY25988" fmla="*/ 868206 h 6557032"/>
              <a:gd name="connsiteX25989" fmla="*/ 863711 w 4610101"/>
              <a:gd name="connsiteY25989" fmla="*/ 868206 h 6557032"/>
              <a:gd name="connsiteX25990" fmla="*/ 858244 w 4610101"/>
              <a:gd name="connsiteY25990" fmla="*/ 870028 h 6557032"/>
              <a:gd name="connsiteX25991" fmla="*/ 862345 w 4610101"/>
              <a:gd name="connsiteY25991" fmla="*/ 872990 h 6557032"/>
              <a:gd name="connsiteX25992" fmla="*/ 862719 w 4610101"/>
              <a:gd name="connsiteY25992" fmla="*/ 872927 h 6557032"/>
              <a:gd name="connsiteX25993" fmla="*/ 870060 w 4610101"/>
              <a:gd name="connsiteY25993" fmla="*/ 882443 h 6557032"/>
              <a:gd name="connsiteX25994" fmla="*/ 909265 w 4610101"/>
              <a:gd name="connsiteY25994" fmla="*/ 877317 h 6557032"/>
              <a:gd name="connsiteX25995" fmla="*/ 898333 w 4610101"/>
              <a:gd name="connsiteY25995" fmla="*/ 868206 h 6557032"/>
              <a:gd name="connsiteX25996" fmla="*/ 886261 w 4610101"/>
              <a:gd name="connsiteY25996" fmla="*/ 873900 h 6557032"/>
              <a:gd name="connsiteX25997" fmla="*/ 882142 w 4610101"/>
              <a:gd name="connsiteY25997" fmla="*/ 874389 h 6557032"/>
              <a:gd name="connsiteX25998" fmla="*/ 887399 w 4610101"/>
              <a:gd name="connsiteY25998" fmla="*/ 871851 h 6557032"/>
              <a:gd name="connsiteX25999" fmla="*/ 874643 w 4610101"/>
              <a:gd name="connsiteY25999" fmla="*/ 871851 h 6557032"/>
              <a:gd name="connsiteX26000" fmla="*/ 869177 w 4610101"/>
              <a:gd name="connsiteY26000" fmla="*/ 871851 h 6557032"/>
              <a:gd name="connsiteX26001" fmla="*/ 862719 w 4610101"/>
              <a:gd name="connsiteY26001" fmla="*/ 872927 h 6557032"/>
              <a:gd name="connsiteX26002" fmla="*/ 861889 w 4610101"/>
              <a:gd name="connsiteY26002" fmla="*/ 871851 h 6557032"/>
              <a:gd name="connsiteX26003" fmla="*/ 869176 w 4610101"/>
              <a:gd name="connsiteY26003" fmla="*/ 871851 h 6557032"/>
              <a:gd name="connsiteX26004" fmla="*/ 814512 w 4610101"/>
              <a:gd name="connsiteY26004" fmla="*/ 868206 h 6557032"/>
              <a:gd name="connsiteX26005" fmla="*/ 810868 w 4610101"/>
              <a:gd name="connsiteY26005" fmla="*/ 870028 h 6557032"/>
              <a:gd name="connsiteX26006" fmla="*/ 821801 w 4610101"/>
              <a:gd name="connsiteY26006" fmla="*/ 868206 h 6557032"/>
              <a:gd name="connsiteX26007" fmla="*/ 814512 w 4610101"/>
              <a:gd name="connsiteY26007" fmla="*/ 868206 h 6557032"/>
              <a:gd name="connsiteX26008" fmla="*/ 643228 w 4610101"/>
              <a:gd name="connsiteY26008" fmla="*/ 868206 h 6557032"/>
              <a:gd name="connsiteX26009" fmla="*/ 652339 w 4610101"/>
              <a:gd name="connsiteY26009" fmla="*/ 875495 h 6557032"/>
              <a:gd name="connsiteX26010" fmla="*/ 643228 w 4610101"/>
              <a:gd name="connsiteY26010" fmla="*/ 868206 h 6557032"/>
              <a:gd name="connsiteX26011" fmla="*/ 626828 w 4610101"/>
              <a:gd name="connsiteY26011" fmla="*/ 868206 h 6557032"/>
              <a:gd name="connsiteX26012" fmla="*/ 632296 w 4610101"/>
              <a:gd name="connsiteY26012" fmla="*/ 875495 h 6557032"/>
              <a:gd name="connsiteX26013" fmla="*/ 626828 w 4610101"/>
              <a:gd name="connsiteY26013" fmla="*/ 868206 h 6557032"/>
              <a:gd name="connsiteX26014" fmla="*/ 267860 w 4610101"/>
              <a:gd name="connsiteY26014" fmla="*/ 868206 h 6557032"/>
              <a:gd name="connsiteX26015" fmla="*/ 276971 w 4610101"/>
              <a:gd name="connsiteY26015" fmla="*/ 880961 h 6557032"/>
              <a:gd name="connsiteX26016" fmla="*/ 273327 w 4610101"/>
              <a:gd name="connsiteY26016" fmla="*/ 873673 h 6557032"/>
              <a:gd name="connsiteX26017" fmla="*/ 267860 w 4610101"/>
              <a:gd name="connsiteY26017" fmla="*/ 868206 h 6557032"/>
              <a:gd name="connsiteX26018" fmla="*/ 225950 w 4610101"/>
              <a:gd name="connsiteY26018" fmla="*/ 868206 h 6557032"/>
              <a:gd name="connsiteX26019" fmla="*/ 238705 w 4610101"/>
              <a:gd name="connsiteY26019" fmla="*/ 877317 h 6557032"/>
              <a:gd name="connsiteX26020" fmla="*/ 225950 w 4610101"/>
              <a:gd name="connsiteY26020" fmla="*/ 868206 h 6557032"/>
              <a:gd name="connsiteX26021" fmla="*/ 120264 w 4610101"/>
              <a:gd name="connsiteY26021" fmla="*/ 868206 h 6557032"/>
              <a:gd name="connsiteX26022" fmla="*/ 127552 w 4610101"/>
              <a:gd name="connsiteY26022" fmla="*/ 879139 h 6557032"/>
              <a:gd name="connsiteX26023" fmla="*/ 127552 w 4610101"/>
              <a:gd name="connsiteY26023" fmla="*/ 873673 h 6557032"/>
              <a:gd name="connsiteX26024" fmla="*/ 153063 w 4610101"/>
              <a:gd name="connsiteY26024" fmla="*/ 897361 h 6557032"/>
              <a:gd name="connsiteX26025" fmla="*/ 120264 w 4610101"/>
              <a:gd name="connsiteY26025" fmla="*/ 868206 h 6557032"/>
              <a:gd name="connsiteX26026" fmla="*/ 1405803 w 4610101"/>
              <a:gd name="connsiteY26026" fmla="*/ 868204 h 6557032"/>
              <a:gd name="connsiteX26027" fmla="*/ 1411730 w 4610101"/>
              <a:gd name="connsiteY26027" fmla="*/ 870940 h 6557032"/>
              <a:gd name="connsiteX26028" fmla="*/ 1412415 w 4610101"/>
              <a:gd name="connsiteY26028" fmla="*/ 871811 h 6557032"/>
              <a:gd name="connsiteX26029" fmla="*/ 2543755 w 4610101"/>
              <a:gd name="connsiteY26029" fmla="*/ 866384 h 6557032"/>
              <a:gd name="connsiteX26030" fmla="*/ 2536466 w 4610101"/>
              <a:gd name="connsiteY26030" fmla="*/ 875495 h 6557032"/>
              <a:gd name="connsiteX26031" fmla="*/ 2545577 w 4610101"/>
              <a:gd name="connsiteY26031" fmla="*/ 873673 h 6557032"/>
              <a:gd name="connsiteX26032" fmla="*/ 2543755 w 4610101"/>
              <a:gd name="connsiteY26032" fmla="*/ 866384 h 6557032"/>
              <a:gd name="connsiteX26033" fmla="*/ 2385226 w 4610101"/>
              <a:gd name="connsiteY26033" fmla="*/ 866384 h 6557032"/>
              <a:gd name="connsiteX26034" fmla="*/ 2381582 w 4610101"/>
              <a:gd name="connsiteY26034" fmla="*/ 890072 h 6557032"/>
              <a:gd name="connsiteX26035" fmla="*/ 2388871 w 4610101"/>
              <a:gd name="connsiteY26035" fmla="*/ 890072 h 6557032"/>
              <a:gd name="connsiteX26036" fmla="*/ 2401626 w 4610101"/>
              <a:gd name="connsiteY26036" fmla="*/ 875495 h 6557032"/>
              <a:gd name="connsiteX26037" fmla="*/ 2396159 w 4610101"/>
              <a:gd name="connsiteY26037" fmla="*/ 875495 h 6557032"/>
              <a:gd name="connsiteX26038" fmla="*/ 2397981 w 4610101"/>
              <a:gd name="connsiteY26038" fmla="*/ 870028 h 6557032"/>
              <a:gd name="connsiteX26039" fmla="*/ 2385226 w 4610101"/>
              <a:gd name="connsiteY26039" fmla="*/ 866384 h 6557032"/>
              <a:gd name="connsiteX26040" fmla="*/ 1319254 w 4610101"/>
              <a:gd name="connsiteY26040" fmla="*/ 866384 h 6557032"/>
              <a:gd name="connsiteX26041" fmla="*/ 1308321 w 4610101"/>
              <a:gd name="connsiteY26041" fmla="*/ 873673 h 6557032"/>
              <a:gd name="connsiteX26042" fmla="*/ 1319254 w 4610101"/>
              <a:gd name="connsiteY26042" fmla="*/ 866384 h 6557032"/>
              <a:gd name="connsiteX26043" fmla="*/ 577630 w 4610101"/>
              <a:gd name="connsiteY26043" fmla="*/ 866384 h 6557032"/>
              <a:gd name="connsiteX26044" fmla="*/ 584919 w 4610101"/>
              <a:gd name="connsiteY26044" fmla="*/ 870028 h 6557032"/>
              <a:gd name="connsiteX26045" fmla="*/ 577630 w 4610101"/>
              <a:gd name="connsiteY26045" fmla="*/ 866384 h 6557032"/>
              <a:gd name="connsiteX26046" fmla="*/ 442789 w 4610101"/>
              <a:gd name="connsiteY26046" fmla="*/ 866384 h 6557032"/>
              <a:gd name="connsiteX26047" fmla="*/ 451899 w 4610101"/>
              <a:gd name="connsiteY26047" fmla="*/ 880961 h 6557032"/>
              <a:gd name="connsiteX26048" fmla="*/ 442789 w 4610101"/>
              <a:gd name="connsiteY26048" fmla="*/ 866384 h 6557032"/>
              <a:gd name="connsiteX26049" fmla="*/ 258749 w 4610101"/>
              <a:gd name="connsiteY26049" fmla="*/ 866384 h 6557032"/>
              <a:gd name="connsiteX26050" fmla="*/ 269682 w 4610101"/>
              <a:gd name="connsiteY26050" fmla="*/ 877317 h 6557032"/>
              <a:gd name="connsiteX26051" fmla="*/ 258749 w 4610101"/>
              <a:gd name="connsiteY26051" fmla="*/ 866384 h 6557032"/>
              <a:gd name="connsiteX26052" fmla="*/ 227772 w 4610101"/>
              <a:gd name="connsiteY26052" fmla="*/ 866384 h 6557032"/>
              <a:gd name="connsiteX26053" fmla="*/ 244172 w 4610101"/>
              <a:gd name="connsiteY26053" fmla="*/ 879139 h 6557032"/>
              <a:gd name="connsiteX26054" fmla="*/ 227772 w 4610101"/>
              <a:gd name="connsiteY26054" fmla="*/ 866384 h 6557032"/>
              <a:gd name="connsiteX26055" fmla="*/ 200439 w 4610101"/>
              <a:gd name="connsiteY26055" fmla="*/ 866384 h 6557032"/>
              <a:gd name="connsiteX26056" fmla="*/ 205906 w 4610101"/>
              <a:gd name="connsiteY26056" fmla="*/ 873673 h 6557032"/>
              <a:gd name="connsiteX26057" fmla="*/ 205906 w 4610101"/>
              <a:gd name="connsiteY26057" fmla="*/ 870028 h 6557032"/>
              <a:gd name="connsiteX26058" fmla="*/ 200439 w 4610101"/>
              <a:gd name="connsiteY26058" fmla="*/ 866384 h 6557032"/>
              <a:gd name="connsiteX26059" fmla="*/ 1334098 w 4610101"/>
              <a:gd name="connsiteY26059" fmla="*/ 866044 h 6557032"/>
              <a:gd name="connsiteX26060" fmla="*/ 1330188 w 4610101"/>
              <a:gd name="connsiteY26060" fmla="*/ 869118 h 6557032"/>
              <a:gd name="connsiteX26061" fmla="*/ 1320342 w 4610101"/>
              <a:gd name="connsiteY26061" fmla="*/ 872634 h 6557032"/>
              <a:gd name="connsiteX26062" fmla="*/ 1322215 w 4610101"/>
              <a:gd name="connsiteY26062" fmla="*/ 870484 h 6557032"/>
              <a:gd name="connsiteX26063" fmla="*/ 1424472 w 4610101"/>
              <a:gd name="connsiteY26063" fmla="*/ 865792 h 6557032"/>
              <a:gd name="connsiteX26064" fmla="*/ 1434348 w 4610101"/>
              <a:gd name="connsiteY26064" fmla="*/ 867884 h 6557032"/>
              <a:gd name="connsiteX26065" fmla="*/ 1432229 w 4610101"/>
              <a:gd name="connsiteY26065" fmla="*/ 868890 h 6557032"/>
              <a:gd name="connsiteX26066" fmla="*/ 1423118 w 4610101"/>
              <a:gd name="connsiteY26066" fmla="*/ 866384 h 6557032"/>
              <a:gd name="connsiteX26067" fmla="*/ 876238 w 4610101"/>
              <a:gd name="connsiteY26067" fmla="*/ 865018 h 6557032"/>
              <a:gd name="connsiteX26068" fmla="*/ 869177 w 4610101"/>
              <a:gd name="connsiteY26068" fmla="*/ 866384 h 6557032"/>
              <a:gd name="connsiteX26069" fmla="*/ 881933 w 4610101"/>
              <a:gd name="connsiteY26069" fmla="*/ 866384 h 6557032"/>
              <a:gd name="connsiteX26070" fmla="*/ 876238 w 4610101"/>
              <a:gd name="connsiteY26070" fmla="*/ 865018 h 6557032"/>
              <a:gd name="connsiteX26071" fmla="*/ 2199364 w 4610101"/>
              <a:gd name="connsiteY26071" fmla="*/ 864562 h 6557032"/>
              <a:gd name="connsiteX26072" fmla="*/ 2195720 w 4610101"/>
              <a:gd name="connsiteY26072" fmla="*/ 877317 h 6557032"/>
              <a:gd name="connsiteX26073" fmla="*/ 2208475 w 4610101"/>
              <a:gd name="connsiteY26073" fmla="*/ 868206 h 6557032"/>
              <a:gd name="connsiteX26074" fmla="*/ 2210297 w 4610101"/>
              <a:gd name="connsiteY26074" fmla="*/ 864562 h 6557032"/>
              <a:gd name="connsiteX26075" fmla="*/ 1441340 w 4610101"/>
              <a:gd name="connsiteY26075" fmla="*/ 864562 h 6557032"/>
              <a:gd name="connsiteX26076" fmla="*/ 1441947 w 4610101"/>
              <a:gd name="connsiteY26076" fmla="*/ 865170 h 6557032"/>
              <a:gd name="connsiteX26077" fmla="*/ 1435873 w 4610101"/>
              <a:gd name="connsiteY26077" fmla="*/ 868206 h 6557032"/>
              <a:gd name="connsiteX26078" fmla="*/ 1434348 w 4610101"/>
              <a:gd name="connsiteY26078" fmla="*/ 867884 h 6557032"/>
              <a:gd name="connsiteX26079" fmla="*/ 1275522 w 4610101"/>
              <a:gd name="connsiteY26079" fmla="*/ 864562 h 6557032"/>
              <a:gd name="connsiteX26080" fmla="*/ 1275522 w 4610101"/>
              <a:gd name="connsiteY26080" fmla="*/ 871851 h 6557032"/>
              <a:gd name="connsiteX26081" fmla="*/ 1279166 w 4610101"/>
              <a:gd name="connsiteY26081" fmla="*/ 866384 h 6557032"/>
              <a:gd name="connsiteX26082" fmla="*/ 1275522 w 4610101"/>
              <a:gd name="connsiteY26082" fmla="*/ 864562 h 6557032"/>
              <a:gd name="connsiteX26083" fmla="*/ 799251 w 4610101"/>
              <a:gd name="connsiteY26083" fmla="*/ 864562 h 6557032"/>
              <a:gd name="connsiteX26084" fmla="*/ 792646 w 4610101"/>
              <a:gd name="connsiteY26084" fmla="*/ 868206 h 6557032"/>
              <a:gd name="connsiteX26085" fmla="*/ 807223 w 4610101"/>
              <a:gd name="connsiteY26085" fmla="*/ 866384 h 6557032"/>
              <a:gd name="connsiteX26086" fmla="*/ 799251 w 4610101"/>
              <a:gd name="connsiteY26086" fmla="*/ 864562 h 6557032"/>
              <a:gd name="connsiteX26087" fmla="*/ 637761 w 4610101"/>
              <a:gd name="connsiteY26087" fmla="*/ 864562 h 6557032"/>
              <a:gd name="connsiteX26088" fmla="*/ 634117 w 4610101"/>
              <a:gd name="connsiteY26088" fmla="*/ 866384 h 6557032"/>
              <a:gd name="connsiteX26089" fmla="*/ 637761 w 4610101"/>
              <a:gd name="connsiteY26089" fmla="*/ 864562 h 6557032"/>
              <a:gd name="connsiteX26090" fmla="*/ 626828 w 4610101"/>
              <a:gd name="connsiteY26090" fmla="*/ 864562 h 6557032"/>
              <a:gd name="connsiteX26091" fmla="*/ 632296 w 4610101"/>
              <a:gd name="connsiteY26091" fmla="*/ 870028 h 6557032"/>
              <a:gd name="connsiteX26092" fmla="*/ 626828 w 4610101"/>
              <a:gd name="connsiteY26092" fmla="*/ 864562 h 6557032"/>
              <a:gd name="connsiteX26093" fmla="*/ 603453 w 4610101"/>
              <a:gd name="connsiteY26093" fmla="*/ 864050 h 6557032"/>
              <a:gd name="connsiteX26094" fmla="*/ 597673 w 4610101"/>
              <a:gd name="connsiteY26094" fmla="*/ 866384 h 6557032"/>
              <a:gd name="connsiteX26095" fmla="*/ 621362 w 4610101"/>
              <a:gd name="connsiteY26095" fmla="*/ 888250 h 6557032"/>
              <a:gd name="connsiteX26096" fmla="*/ 621362 w 4610101"/>
              <a:gd name="connsiteY26096" fmla="*/ 886428 h 6557032"/>
              <a:gd name="connsiteX26097" fmla="*/ 628650 w 4610101"/>
              <a:gd name="connsiteY26097" fmla="*/ 888250 h 6557032"/>
              <a:gd name="connsiteX26098" fmla="*/ 623185 w 4610101"/>
              <a:gd name="connsiteY26098" fmla="*/ 880961 h 6557032"/>
              <a:gd name="connsiteX26099" fmla="*/ 603453 w 4610101"/>
              <a:gd name="connsiteY26099" fmla="*/ 864050 h 6557032"/>
              <a:gd name="connsiteX26100" fmla="*/ 3247114 w 4610101"/>
              <a:gd name="connsiteY26100" fmla="*/ 862740 h 6557032"/>
              <a:gd name="connsiteX26101" fmla="*/ 3254403 w 4610101"/>
              <a:gd name="connsiteY26101" fmla="*/ 862740 h 6557032"/>
              <a:gd name="connsiteX26102" fmla="*/ 3247114 w 4610101"/>
              <a:gd name="connsiteY26102" fmla="*/ 862740 h 6557032"/>
              <a:gd name="connsiteX26103" fmla="*/ 2496379 w 4610101"/>
              <a:gd name="connsiteY26103" fmla="*/ 862740 h 6557032"/>
              <a:gd name="connsiteX26104" fmla="*/ 2490912 w 4610101"/>
              <a:gd name="connsiteY26104" fmla="*/ 864562 h 6557032"/>
              <a:gd name="connsiteX26105" fmla="*/ 2494556 w 4610101"/>
              <a:gd name="connsiteY26105" fmla="*/ 880961 h 6557032"/>
              <a:gd name="connsiteX26106" fmla="*/ 2496379 w 4610101"/>
              <a:gd name="connsiteY26106" fmla="*/ 862740 h 6557032"/>
              <a:gd name="connsiteX26107" fmla="*/ 1270056 w 4610101"/>
              <a:gd name="connsiteY26107" fmla="*/ 862740 h 6557032"/>
              <a:gd name="connsiteX26108" fmla="*/ 1271878 w 4610101"/>
              <a:gd name="connsiteY26108" fmla="*/ 868206 h 6557032"/>
              <a:gd name="connsiteX26109" fmla="*/ 1273700 w 4610101"/>
              <a:gd name="connsiteY26109" fmla="*/ 864562 h 6557032"/>
              <a:gd name="connsiteX26110" fmla="*/ 1270056 w 4610101"/>
              <a:gd name="connsiteY26110" fmla="*/ 862740 h 6557032"/>
              <a:gd name="connsiteX26111" fmla="*/ 978508 w 4610101"/>
              <a:gd name="connsiteY26111" fmla="*/ 862740 h 6557032"/>
              <a:gd name="connsiteX26112" fmla="*/ 974863 w 4610101"/>
              <a:gd name="connsiteY26112" fmla="*/ 864562 h 6557032"/>
              <a:gd name="connsiteX26113" fmla="*/ 978508 w 4610101"/>
              <a:gd name="connsiteY26113" fmla="*/ 864562 h 6557032"/>
              <a:gd name="connsiteX26114" fmla="*/ 978508 w 4610101"/>
              <a:gd name="connsiteY26114" fmla="*/ 862740 h 6557032"/>
              <a:gd name="connsiteX26115" fmla="*/ 947531 w 4610101"/>
              <a:gd name="connsiteY26115" fmla="*/ 862740 h 6557032"/>
              <a:gd name="connsiteX26116" fmla="*/ 940242 w 4610101"/>
              <a:gd name="connsiteY26116" fmla="*/ 871851 h 6557032"/>
              <a:gd name="connsiteX26117" fmla="*/ 949353 w 4610101"/>
              <a:gd name="connsiteY26117" fmla="*/ 873673 h 6557032"/>
              <a:gd name="connsiteX26118" fmla="*/ 943886 w 4610101"/>
              <a:gd name="connsiteY26118" fmla="*/ 868206 h 6557032"/>
              <a:gd name="connsiteX26119" fmla="*/ 951175 w 4610101"/>
              <a:gd name="connsiteY26119" fmla="*/ 870028 h 6557032"/>
              <a:gd name="connsiteX26120" fmla="*/ 947531 w 4610101"/>
              <a:gd name="connsiteY26120" fmla="*/ 862740 h 6557032"/>
              <a:gd name="connsiteX26121" fmla="*/ 646872 w 4610101"/>
              <a:gd name="connsiteY26121" fmla="*/ 862740 h 6557032"/>
              <a:gd name="connsiteX26122" fmla="*/ 652339 w 4610101"/>
              <a:gd name="connsiteY26122" fmla="*/ 870028 h 6557032"/>
              <a:gd name="connsiteX26123" fmla="*/ 646872 w 4610101"/>
              <a:gd name="connsiteY26123" fmla="*/ 862740 h 6557032"/>
              <a:gd name="connsiteX26124" fmla="*/ 548475 w 4610101"/>
              <a:gd name="connsiteY26124" fmla="*/ 862740 h 6557032"/>
              <a:gd name="connsiteX26125" fmla="*/ 553941 w 4610101"/>
              <a:gd name="connsiteY26125" fmla="*/ 868206 h 6557032"/>
              <a:gd name="connsiteX26126" fmla="*/ 548475 w 4610101"/>
              <a:gd name="connsiteY26126" fmla="*/ 862740 h 6557032"/>
              <a:gd name="connsiteX26127" fmla="*/ 532075 w 4610101"/>
              <a:gd name="connsiteY26127" fmla="*/ 862740 h 6557032"/>
              <a:gd name="connsiteX26128" fmla="*/ 533897 w 4610101"/>
              <a:gd name="connsiteY26128" fmla="*/ 871851 h 6557032"/>
              <a:gd name="connsiteX26129" fmla="*/ 535719 w 4610101"/>
              <a:gd name="connsiteY26129" fmla="*/ 864562 h 6557032"/>
              <a:gd name="connsiteX26130" fmla="*/ 532075 w 4610101"/>
              <a:gd name="connsiteY26130" fmla="*/ 862740 h 6557032"/>
              <a:gd name="connsiteX26131" fmla="*/ 433678 w 4610101"/>
              <a:gd name="connsiteY26131" fmla="*/ 862740 h 6557032"/>
              <a:gd name="connsiteX26132" fmla="*/ 442789 w 4610101"/>
              <a:gd name="connsiteY26132" fmla="*/ 873673 h 6557032"/>
              <a:gd name="connsiteX26133" fmla="*/ 439145 w 4610101"/>
              <a:gd name="connsiteY26133" fmla="*/ 864562 h 6557032"/>
              <a:gd name="connsiteX26134" fmla="*/ 433678 w 4610101"/>
              <a:gd name="connsiteY26134" fmla="*/ 862740 h 6557032"/>
              <a:gd name="connsiteX26135" fmla="*/ 235061 w 4610101"/>
              <a:gd name="connsiteY26135" fmla="*/ 862740 h 6557032"/>
              <a:gd name="connsiteX26136" fmla="*/ 231416 w 4610101"/>
              <a:gd name="connsiteY26136" fmla="*/ 864562 h 6557032"/>
              <a:gd name="connsiteX26137" fmla="*/ 242349 w 4610101"/>
              <a:gd name="connsiteY26137" fmla="*/ 871851 h 6557032"/>
              <a:gd name="connsiteX26138" fmla="*/ 235061 w 4610101"/>
              <a:gd name="connsiteY26138" fmla="*/ 862740 h 6557032"/>
              <a:gd name="connsiteX26139" fmla="*/ 140308 w 4610101"/>
              <a:gd name="connsiteY26139" fmla="*/ 862740 h 6557032"/>
              <a:gd name="connsiteX26140" fmla="*/ 149419 w 4610101"/>
              <a:gd name="connsiteY26140" fmla="*/ 873673 h 6557032"/>
              <a:gd name="connsiteX26141" fmla="*/ 151241 w 4610101"/>
              <a:gd name="connsiteY26141" fmla="*/ 870028 h 6557032"/>
              <a:gd name="connsiteX26142" fmla="*/ 156479 w 4610101"/>
              <a:gd name="connsiteY26142" fmla="*/ 880051 h 6557032"/>
              <a:gd name="connsiteX26143" fmla="*/ 164021 w 4610101"/>
              <a:gd name="connsiteY26143" fmla="*/ 883730 h 6557032"/>
              <a:gd name="connsiteX26144" fmla="*/ 173107 w 4610101"/>
              <a:gd name="connsiteY26144" fmla="*/ 899183 h 6557032"/>
              <a:gd name="connsiteX26145" fmla="*/ 167578 w 4610101"/>
              <a:gd name="connsiteY26145" fmla="*/ 895037 h 6557032"/>
              <a:gd name="connsiteX26146" fmla="*/ 153063 w 4610101"/>
              <a:gd name="connsiteY26146" fmla="*/ 879139 h 6557032"/>
              <a:gd name="connsiteX26147" fmla="*/ 154233 w 4610101"/>
              <a:gd name="connsiteY26147" fmla="*/ 885574 h 6557032"/>
              <a:gd name="connsiteX26148" fmla="*/ 149191 w 4610101"/>
              <a:gd name="connsiteY26148" fmla="*/ 876406 h 6557032"/>
              <a:gd name="connsiteX26149" fmla="*/ 140308 w 4610101"/>
              <a:gd name="connsiteY26149" fmla="*/ 862740 h 6557032"/>
              <a:gd name="connsiteX26150" fmla="*/ 1177044 w 4610101"/>
              <a:gd name="connsiteY26150" fmla="*/ 861255 h 6557032"/>
              <a:gd name="connsiteX26151" fmla="*/ 1178947 w 4610101"/>
              <a:gd name="connsiteY26151" fmla="*/ 862740 h 6557032"/>
              <a:gd name="connsiteX26152" fmla="*/ 1175965 w 4610101"/>
              <a:gd name="connsiteY26152" fmla="*/ 865721 h 6557032"/>
              <a:gd name="connsiteX26153" fmla="*/ 3236181 w 4610101"/>
              <a:gd name="connsiteY26153" fmla="*/ 860918 h 6557032"/>
              <a:gd name="connsiteX26154" fmla="*/ 3232537 w 4610101"/>
              <a:gd name="connsiteY26154" fmla="*/ 862740 h 6557032"/>
              <a:gd name="connsiteX26155" fmla="*/ 3238003 w 4610101"/>
              <a:gd name="connsiteY26155" fmla="*/ 866384 h 6557032"/>
              <a:gd name="connsiteX26156" fmla="*/ 3236181 w 4610101"/>
              <a:gd name="connsiteY26156" fmla="*/ 860918 h 6557032"/>
              <a:gd name="connsiteX26157" fmla="*/ 3143250 w 4610101"/>
              <a:gd name="connsiteY26157" fmla="*/ 860918 h 6557032"/>
              <a:gd name="connsiteX26158" fmla="*/ 3152361 w 4610101"/>
              <a:gd name="connsiteY26158" fmla="*/ 864562 h 6557032"/>
              <a:gd name="connsiteX26159" fmla="*/ 3143250 w 4610101"/>
              <a:gd name="connsiteY26159" fmla="*/ 860918 h 6557032"/>
              <a:gd name="connsiteX26160" fmla="*/ 2649441 w 4610101"/>
              <a:gd name="connsiteY26160" fmla="*/ 860918 h 6557032"/>
              <a:gd name="connsiteX26161" fmla="*/ 2638508 w 4610101"/>
              <a:gd name="connsiteY26161" fmla="*/ 880961 h 6557032"/>
              <a:gd name="connsiteX26162" fmla="*/ 2631219 w 4610101"/>
              <a:gd name="connsiteY26162" fmla="*/ 879139 h 6557032"/>
              <a:gd name="connsiteX26163" fmla="*/ 2651263 w 4610101"/>
              <a:gd name="connsiteY26163" fmla="*/ 911939 h 6557032"/>
              <a:gd name="connsiteX26164" fmla="*/ 2658552 w 4610101"/>
              <a:gd name="connsiteY26164" fmla="*/ 931983 h 6557032"/>
              <a:gd name="connsiteX26165" fmla="*/ 2660374 w 4610101"/>
              <a:gd name="connsiteY26165" fmla="*/ 913761 h 6557032"/>
              <a:gd name="connsiteX26166" fmla="*/ 2671307 w 4610101"/>
              <a:gd name="connsiteY26166" fmla="*/ 924695 h 6557032"/>
              <a:gd name="connsiteX26167" fmla="*/ 2671307 w 4610101"/>
              <a:gd name="connsiteY26167" fmla="*/ 922872 h 6557032"/>
              <a:gd name="connsiteX26168" fmla="*/ 2673130 w 4610101"/>
              <a:gd name="connsiteY26168" fmla="*/ 921049 h 6557032"/>
              <a:gd name="connsiteX26169" fmla="*/ 2665841 w 4610101"/>
              <a:gd name="connsiteY26169" fmla="*/ 908295 h 6557032"/>
              <a:gd name="connsiteX26170" fmla="*/ 2667663 w 4610101"/>
              <a:gd name="connsiteY26170" fmla="*/ 906473 h 6557032"/>
              <a:gd name="connsiteX26171" fmla="*/ 2640330 w 4610101"/>
              <a:gd name="connsiteY26171" fmla="*/ 886428 h 6557032"/>
              <a:gd name="connsiteX26172" fmla="*/ 2660374 w 4610101"/>
              <a:gd name="connsiteY26172" fmla="*/ 895539 h 6557032"/>
              <a:gd name="connsiteX26173" fmla="*/ 2649441 w 4610101"/>
              <a:gd name="connsiteY26173" fmla="*/ 860918 h 6557032"/>
              <a:gd name="connsiteX26174" fmla="*/ 2283184 w 4610101"/>
              <a:gd name="connsiteY26174" fmla="*/ 860918 h 6557032"/>
              <a:gd name="connsiteX26175" fmla="*/ 2279540 w 4610101"/>
              <a:gd name="connsiteY26175" fmla="*/ 864562 h 6557032"/>
              <a:gd name="connsiteX26176" fmla="*/ 2281362 w 4610101"/>
              <a:gd name="connsiteY26176" fmla="*/ 873673 h 6557032"/>
              <a:gd name="connsiteX26177" fmla="*/ 2283184 w 4610101"/>
              <a:gd name="connsiteY26177" fmla="*/ 860918 h 6557032"/>
              <a:gd name="connsiteX26178" fmla="*/ 1259123 w 4610101"/>
              <a:gd name="connsiteY26178" fmla="*/ 860918 h 6557032"/>
              <a:gd name="connsiteX26179" fmla="*/ 1260021 w 4610101"/>
              <a:gd name="connsiteY26179" fmla="*/ 861091 h 6557032"/>
              <a:gd name="connsiteX26180" fmla="*/ 1260433 w 4610101"/>
              <a:gd name="connsiteY26180" fmla="*/ 861825 h 6557032"/>
              <a:gd name="connsiteX26181" fmla="*/ 809046 w 4610101"/>
              <a:gd name="connsiteY26181" fmla="*/ 860918 h 6557032"/>
              <a:gd name="connsiteX26182" fmla="*/ 803579 w 4610101"/>
              <a:gd name="connsiteY26182" fmla="*/ 862740 h 6557032"/>
              <a:gd name="connsiteX26183" fmla="*/ 811274 w 4610101"/>
              <a:gd name="connsiteY26183" fmla="*/ 862740 h 6557032"/>
              <a:gd name="connsiteX26184" fmla="*/ 811551 w 4610101"/>
              <a:gd name="connsiteY26184" fmla="*/ 862968 h 6557032"/>
              <a:gd name="connsiteX26185" fmla="*/ 811678 w 4610101"/>
              <a:gd name="connsiteY26185" fmla="*/ 862740 h 6557032"/>
              <a:gd name="connsiteX26186" fmla="*/ 814512 w 4610101"/>
              <a:gd name="connsiteY26186" fmla="*/ 862740 h 6557032"/>
              <a:gd name="connsiteX26187" fmla="*/ 812690 w 4610101"/>
              <a:gd name="connsiteY26187" fmla="*/ 860918 h 6557032"/>
              <a:gd name="connsiteX26188" fmla="*/ 811678 w 4610101"/>
              <a:gd name="connsiteY26188" fmla="*/ 862740 h 6557032"/>
              <a:gd name="connsiteX26189" fmla="*/ 811274 w 4610101"/>
              <a:gd name="connsiteY26189" fmla="*/ 862740 h 6557032"/>
              <a:gd name="connsiteX26190" fmla="*/ 794468 w 4610101"/>
              <a:gd name="connsiteY26190" fmla="*/ 860918 h 6557032"/>
              <a:gd name="connsiteX26191" fmla="*/ 787179 w 4610101"/>
              <a:gd name="connsiteY26191" fmla="*/ 864562 h 6557032"/>
              <a:gd name="connsiteX26192" fmla="*/ 794468 w 4610101"/>
              <a:gd name="connsiteY26192" fmla="*/ 860918 h 6557032"/>
              <a:gd name="connsiteX26193" fmla="*/ 770781 w 4610101"/>
              <a:gd name="connsiteY26193" fmla="*/ 860918 h 6557032"/>
              <a:gd name="connsiteX26194" fmla="*/ 783535 w 4610101"/>
              <a:gd name="connsiteY26194" fmla="*/ 864562 h 6557032"/>
              <a:gd name="connsiteX26195" fmla="*/ 770781 w 4610101"/>
              <a:gd name="connsiteY26195" fmla="*/ 860918 h 6557032"/>
              <a:gd name="connsiteX26196" fmla="*/ 650516 w 4610101"/>
              <a:gd name="connsiteY26196" fmla="*/ 860918 h 6557032"/>
              <a:gd name="connsiteX26197" fmla="*/ 663272 w 4610101"/>
              <a:gd name="connsiteY26197" fmla="*/ 868206 h 6557032"/>
              <a:gd name="connsiteX26198" fmla="*/ 650516 w 4610101"/>
              <a:gd name="connsiteY26198" fmla="*/ 860918 h 6557032"/>
              <a:gd name="connsiteX26199" fmla="*/ 606784 w 4610101"/>
              <a:gd name="connsiteY26199" fmla="*/ 860918 h 6557032"/>
              <a:gd name="connsiteX26200" fmla="*/ 617717 w 4610101"/>
              <a:gd name="connsiteY26200" fmla="*/ 868206 h 6557032"/>
              <a:gd name="connsiteX26201" fmla="*/ 606784 w 4610101"/>
              <a:gd name="connsiteY26201" fmla="*/ 860918 h 6557032"/>
              <a:gd name="connsiteX26202" fmla="*/ 501098 w 4610101"/>
              <a:gd name="connsiteY26202" fmla="*/ 860918 h 6557032"/>
              <a:gd name="connsiteX26203" fmla="*/ 504743 w 4610101"/>
              <a:gd name="connsiteY26203" fmla="*/ 864562 h 6557032"/>
              <a:gd name="connsiteX26204" fmla="*/ 501098 w 4610101"/>
              <a:gd name="connsiteY26204" fmla="*/ 860918 h 6557032"/>
              <a:gd name="connsiteX26205" fmla="*/ 468299 w 4610101"/>
              <a:gd name="connsiteY26205" fmla="*/ 860918 h 6557032"/>
              <a:gd name="connsiteX26206" fmla="*/ 470121 w 4610101"/>
              <a:gd name="connsiteY26206" fmla="*/ 862740 h 6557032"/>
              <a:gd name="connsiteX26207" fmla="*/ 470219 w 4610101"/>
              <a:gd name="connsiteY26207" fmla="*/ 862755 h 6557032"/>
              <a:gd name="connsiteX26208" fmla="*/ 478776 w 4610101"/>
              <a:gd name="connsiteY26208" fmla="*/ 870940 h 6557032"/>
              <a:gd name="connsiteX26209" fmla="*/ 491987 w 4610101"/>
              <a:gd name="connsiteY26209" fmla="*/ 875495 h 6557032"/>
              <a:gd name="connsiteX26210" fmla="*/ 485154 w 4610101"/>
              <a:gd name="connsiteY26210" fmla="*/ 865018 h 6557032"/>
              <a:gd name="connsiteX26211" fmla="*/ 470219 w 4610101"/>
              <a:gd name="connsiteY26211" fmla="*/ 862755 h 6557032"/>
              <a:gd name="connsiteX26212" fmla="*/ 291549 w 4610101"/>
              <a:gd name="connsiteY26212" fmla="*/ 860918 h 6557032"/>
              <a:gd name="connsiteX26213" fmla="*/ 295193 w 4610101"/>
              <a:gd name="connsiteY26213" fmla="*/ 864562 h 6557032"/>
              <a:gd name="connsiteX26214" fmla="*/ 291549 w 4610101"/>
              <a:gd name="connsiteY26214" fmla="*/ 860918 h 6557032"/>
              <a:gd name="connsiteX26215" fmla="*/ 116619 w 4610101"/>
              <a:gd name="connsiteY26215" fmla="*/ 860918 h 6557032"/>
              <a:gd name="connsiteX26216" fmla="*/ 131197 w 4610101"/>
              <a:gd name="connsiteY26216" fmla="*/ 873673 h 6557032"/>
              <a:gd name="connsiteX26217" fmla="*/ 116619 w 4610101"/>
              <a:gd name="connsiteY26217" fmla="*/ 860918 h 6557032"/>
              <a:gd name="connsiteX26218" fmla="*/ 587652 w 4610101"/>
              <a:gd name="connsiteY26218" fmla="*/ 860690 h 6557032"/>
              <a:gd name="connsiteX26219" fmla="*/ 583096 w 4610101"/>
              <a:gd name="connsiteY26219" fmla="*/ 862740 h 6557032"/>
              <a:gd name="connsiteX26220" fmla="*/ 588562 w 4610101"/>
              <a:gd name="connsiteY26220" fmla="*/ 868206 h 6557032"/>
              <a:gd name="connsiteX26221" fmla="*/ 592207 w 4610101"/>
              <a:gd name="connsiteY26221" fmla="*/ 862740 h 6557032"/>
              <a:gd name="connsiteX26222" fmla="*/ 587652 w 4610101"/>
              <a:gd name="connsiteY26222" fmla="*/ 860690 h 6557032"/>
              <a:gd name="connsiteX26223" fmla="*/ 3194271 w 4610101"/>
              <a:gd name="connsiteY26223" fmla="*/ 859095 h 6557032"/>
              <a:gd name="connsiteX26224" fmla="*/ 3192449 w 4610101"/>
              <a:gd name="connsiteY26224" fmla="*/ 860918 h 6557032"/>
              <a:gd name="connsiteX26225" fmla="*/ 3205204 w 4610101"/>
              <a:gd name="connsiteY26225" fmla="*/ 860918 h 6557032"/>
              <a:gd name="connsiteX26226" fmla="*/ 3194271 w 4610101"/>
              <a:gd name="connsiteY26226" fmla="*/ 859095 h 6557032"/>
              <a:gd name="connsiteX26227" fmla="*/ 2554688 w 4610101"/>
              <a:gd name="connsiteY26227" fmla="*/ 859095 h 6557032"/>
              <a:gd name="connsiteX26228" fmla="*/ 2545577 w 4610101"/>
              <a:gd name="connsiteY26228" fmla="*/ 871851 h 6557032"/>
              <a:gd name="connsiteX26229" fmla="*/ 2561977 w 4610101"/>
              <a:gd name="connsiteY26229" fmla="*/ 870028 h 6557032"/>
              <a:gd name="connsiteX26230" fmla="*/ 2561977 w 4610101"/>
              <a:gd name="connsiteY26230" fmla="*/ 864562 h 6557032"/>
              <a:gd name="connsiteX26231" fmla="*/ 2554688 w 4610101"/>
              <a:gd name="connsiteY26231" fmla="*/ 859095 h 6557032"/>
              <a:gd name="connsiteX26232" fmla="*/ 1452273 w 4610101"/>
              <a:gd name="connsiteY26232" fmla="*/ 859095 h 6557032"/>
              <a:gd name="connsiteX26233" fmla="*/ 1443162 w 4610101"/>
              <a:gd name="connsiteY26233" fmla="*/ 866384 h 6557032"/>
              <a:gd name="connsiteX26234" fmla="*/ 1441947 w 4610101"/>
              <a:gd name="connsiteY26234" fmla="*/ 865170 h 6557032"/>
              <a:gd name="connsiteX26235" fmla="*/ 1445895 w 4610101"/>
              <a:gd name="connsiteY26235" fmla="*/ 863196 h 6557032"/>
              <a:gd name="connsiteX26236" fmla="*/ 1448157 w 4610101"/>
              <a:gd name="connsiteY26236" fmla="*/ 859353 h 6557032"/>
              <a:gd name="connsiteX26237" fmla="*/ 1277344 w 4610101"/>
              <a:gd name="connsiteY26237" fmla="*/ 859095 h 6557032"/>
              <a:gd name="connsiteX26238" fmla="*/ 1275522 w 4610101"/>
              <a:gd name="connsiteY26238" fmla="*/ 860918 h 6557032"/>
              <a:gd name="connsiteX26239" fmla="*/ 1280989 w 4610101"/>
              <a:gd name="connsiteY26239" fmla="*/ 864562 h 6557032"/>
              <a:gd name="connsiteX26240" fmla="*/ 1277344 w 4610101"/>
              <a:gd name="connsiteY26240" fmla="*/ 859095 h 6557032"/>
              <a:gd name="connsiteX26241" fmla="*/ 847311 w 4610101"/>
              <a:gd name="connsiteY26241" fmla="*/ 859095 h 6557032"/>
              <a:gd name="connsiteX26242" fmla="*/ 850956 w 4610101"/>
              <a:gd name="connsiteY26242" fmla="*/ 862740 h 6557032"/>
              <a:gd name="connsiteX26243" fmla="*/ 847311 w 4610101"/>
              <a:gd name="connsiteY26243" fmla="*/ 859095 h 6557032"/>
              <a:gd name="connsiteX26244" fmla="*/ 725226 w 4610101"/>
              <a:gd name="connsiteY26244" fmla="*/ 859095 h 6557032"/>
              <a:gd name="connsiteX26245" fmla="*/ 723404 w 4610101"/>
              <a:gd name="connsiteY26245" fmla="*/ 864562 h 6557032"/>
              <a:gd name="connsiteX26246" fmla="*/ 728870 w 4610101"/>
              <a:gd name="connsiteY26246" fmla="*/ 860918 h 6557032"/>
              <a:gd name="connsiteX26247" fmla="*/ 725226 w 4610101"/>
              <a:gd name="connsiteY26247" fmla="*/ 859095 h 6557032"/>
              <a:gd name="connsiteX26248" fmla="*/ 189506 w 4610101"/>
              <a:gd name="connsiteY26248" fmla="*/ 859095 h 6557032"/>
              <a:gd name="connsiteX26249" fmla="*/ 204084 w 4610101"/>
              <a:gd name="connsiteY26249" fmla="*/ 875495 h 6557032"/>
              <a:gd name="connsiteX26250" fmla="*/ 189506 w 4610101"/>
              <a:gd name="connsiteY26250" fmla="*/ 859095 h 6557032"/>
              <a:gd name="connsiteX26251" fmla="*/ 830911 w 4610101"/>
              <a:gd name="connsiteY26251" fmla="*/ 858868 h 6557032"/>
              <a:gd name="connsiteX26252" fmla="*/ 825445 w 4610101"/>
              <a:gd name="connsiteY26252" fmla="*/ 862740 h 6557032"/>
              <a:gd name="connsiteX26253" fmla="*/ 836378 w 4610101"/>
              <a:gd name="connsiteY26253" fmla="*/ 862740 h 6557032"/>
              <a:gd name="connsiteX26254" fmla="*/ 836378 w 4610101"/>
              <a:gd name="connsiteY26254" fmla="*/ 859095 h 6557032"/>
              <a:gd name="connsiteX26255" fmla="*/ 830911 w 4610101"/>
              <a:gd name="connsiteY26255" fmla="*/ 858868 h 6557032"/>
              <a:gd name="connsiteX26256" fmla="*/ 907444 w 4610101"/>
              <a:gd name="connsiteY26256" fmla="*/ 858640 h 6557032"/>
              <a:gd name="connsiteX26257" fmla="*/ 898333 w 4610101"/>
              <a:gd name="connsiteY26257" fmla="*/ 859095 h 6557032"/>
              <a:gd name="connsiteX26258" fmla="*/ 911087 w 4610101"/>
              <a:gd name="connsiteY26258" fmla="*/ 866384 h 6557032"/>
              <a:gd name="connsiteX26259" fmla="*/ 907444 w 4610101"/>
              <a:gd name="connsiteY26259" fmla="*/ 858640 h 6557032"/>
              <a:gd name="connsiteX26260" fmla="*/ 3486732 w 4610101"/>
              <a:gd name="connsiteY26260" fmla="*/ 858531 h 6557032"/>
              <a:gd name="connsiteX26261" fmla="*/ 3488781 w 4610101"/>
              <a:gd name="connsiteY26261" fmla="*/ 860690 h 6557032"/>
              <a:gd name="connsiteX26262" fmla="*/ 3482175 w 4610101"/>
              <a:gd name="connsiteY26262" fmla="*/ 873673 h 6557032"/>
              <a:gd name="connsiteX26263" fmla="*/ 3471998 w 4610101"/>
              <a:gd name="connsiteY26263" fmla="*/ 875935 h 6557032"/>
              <a:gd name="connsiteX26264" fmla="*/ 3469419 w 4610101"/>
              <a:gd name="connsiteY26264" fmla="*/ 875495 h 6557032"/>
              <a:gd name="connsiteX26265" fmla="*/ 3462131 w 4610101"/>
              <a:gd name="connsiteY26265" fmla="*/ 871851 h 6557032"/>
              <a:gd name="connsiteX26266" fmla="*/ 3482175 w 4610101"/>
              <a:gd name="connsiteY26266" fmla="*/ 866384 h 6557032"/>
              <a:gd name="connsiteX26267" fmla="*/ 3486503 w 4610101"/>
              <a:gd name="connsiteY26267" fmla="*/ 859096 h 6557032"/>
              <a:gd name="connsiteX26268" fmla="*/ 1347353 w 4610101"/>
              <a:gd name="connsiteY26268" fmla="*/ 858213 h 6557032"/>
              <a:gd name="connsiteX26269" fmla="*/ 1342942 w 4610101"/>
              <a:gd name="connsiteY26269" fmla="*/ 862740 h 6557032"/>
              <a:gd name="connsiteX26270" fmla="*/ 1334098 w 4610101"/>
              <a:gd name="connsiteY26270" fmla="*/ 866044 h 6557032"/>
              <a:gd name="connsiteX26271" fmla="*/ 1342942 w 4610101"/>
              <a:gd name="connsiteY26271" fmla="*/ 859095 h 6557032"/>
              <a:gd name="connsiteX26272" fmla="*/ 3349840 w 4610101"/>
              <a:gd name="connsiteY26272" fmla="*/ 857957 h 6557032"/>
              <a:gd name="connsiteX26273" fmla="*/ 3345512 w 4610101"/>
              <a:gd name="connsiteY26273" fmla="*/ 859095 h 6557032"/>
              <a:gd name="connsiteX26274" fmla="*/ 3352800 w 4610101"/>
              <a:gd name="connsiteY26274" fmla="*/ 860918 h 6557032"/>
              <a:gd name="connsiteX26275" fmla="*/ 3349840 w 4610101"/>
              <a:gd name="connsiteY26275" fmla="*/ 857957 h 6557032"/>
              <a:gd name="connsiteX26276" fmla="*/ 2476335 w 4610101"/>
              <a:gd name="connsiteY26276" fmla="*/ 857273 h 6557032"/>
              <a:gd name="connsiteX26277" fmla="*/ 2478157 w 4610101"/>
              <a:gd name="connsiteY26277" fmla="*/ 864562 h 6557032"/>
              <a:gd name="connsiteX26278" fmla="*/ 2476335 w 4610101"/>
              <a:gd name="connsiteY26278" fmla="*/ 857273 h 6557032"/>
              <a:gd name="connsiteX26279" fmla="*/ 860066 w 4610101"/>
              <a:gd name="connsiteY26279" fmla="*/ 857273 h 6557032"/>
              <a:gd name="connsiteX26280" fmla="*/ 858244 w 4610101"/>
              <a:gd name="connsiteY26280" fmla="*/ 860918 h 6557032"/>
              <a:gd name="connsiteX26281" fmla="*/ 860066 w 4610101"/>
              <a:gd name="connsiteY26281" fmla="*/ 857273 h 6557032"/>
              <a:gd name="connsiteX26282" fmla="*/ 750737 w 4610101"/>
              <a:gd name="connsiteY26282" fmla="*/ 857273 h 6557032"/>
              <a:gd name="connsiteX26283" fmla="*/ 747092 w 4610101"/>
              <a:gd name="connsiteY26283" fmla="*/ 860918 h 6557032"/>
              <a:gd name="connsiteX26284" fmla="*/ 752558 w 4610101"/>
              <a:gd name="connsiteY26284" fmla="*/ 862740 h 6557032"/>
              <a:gd name="connsiteX26285" fmla="*/ 750737 w 4610101"/>
              <a:gd name="connsiteY26285" fmla="*/ 857273 h 6557032"/>
              <a:gd name="connsiteX26286" fmla="*/ 555763 w 4610101"/>
              <a:gd name="connsiteY26286" fmla="*/ 857273 h 6557032"/>
              <a:gd name="connsiteX26287" fmla="*/ 559408 w 4610101"/>
              <a:gd name="connsiteY26287" fmla="*/ 860918 h 6557032"/>
              <a:gd name="connsiteX26288" fmla="*/ 555763 w 4610101"/>
              <a:gd name="connsiteY26288" fmla="*/ 857273 h 6557032"/>
              <a:gd name="connsiteX26289" fmla="*/ 1348763 w 4610101"/>
              <a:gd name="connsiteY26289" fmla="*/ 856767 h 6557032"/>
              <a:gd name="connsiteX26290" fmla="*/ 1352053 w 4610101"/>
              <a:gd name="connsiteY26290" fmla="*/ 857273 h 6557032"/>
              <a:gd name="connsiteX26291" fmla="*/ 1347353 w 4610101"/>
              <a:gd name="connsiteY26291" fmla="*/ 858213 h 6557032"/>
              <a:gd name="connsiteX26292" fmla="*/ 3411110 w 4610101"/>
              <a:gd name="connsiteY26292" fmla="*/ 855451 h 6557032"/>
              <a:gd name="connsiteX26293" fmla="*/ 3411997 w 4610101"/>
              <a:gd name="connsiteY26293" fmla="*/ 855747 h 6557032"/>
              <a:gd name="connsiteX26294" fmla="*/ 3411054 w 4610101"/>
              <a:gd name="connsiteY26294" fmla="*/ 855808 h 6557032"/>
              <a:gd name="connsiteX26295" fmla="*/ 2257674 w 4610101"/>
              <a:gd name="connsiteY26295" fmla="*/ 855451 h 6557032"/>
              <a:gd name="connsiteX26296" fmla="*/ 2254030 w 4610101"/>
              <a:gd name="connsiteY26296" fmla="*/ 870028 h 6557032"/>
              <a:gd name="connsiteX26297" fmla="*/ 2259496 w 4610101"/>
              <a:gd name="connsiteY26297" fmla="*/ 871851 h 6557032"/>
              <a:gd name="connsiteX26298" fmla="*/ 2259496 w 4610101"/>
              <a:gd name="connsiteY26298" fmla="*/ 868206 h 6557032"/>
              <a:gd name="connsiteX26299" fmla="*/ 2275896 w 4610101"/>
              <a:gd name="connsiteY26299" fmla="*/ 873673 h 6557032"/>
              <a:gd name="connsiteX26300" fmla="*/ 2272251 w 4610101"/>
              <a:gd name="connsiteY26300" fmla="*/ 868206 h 6557032"/>
              <a:gd name="connsiteX26301" fmla="*/ 2270429 w 4610101"/>
              <a:gd name="connsiteY26301" fmla="*/ 866384 h 6557032"/>
              <a:gd name="connsiteX26302" fmla="*/ 2264963 w 4610101"/>
              <a:gd name="connsiteY26302" fmla="*/ 871851 h 6557032"/>
              <a:gd name="connsiteX26303" fmla="*/ 2264963 w 4610101"/>
              <a:gd name="connsiteY26303" fmla="*/ 862740 h 6557032"/>
              <a:gd name="connsiteX26304" fmla="*/ 2264963 w 4610101"/>
              <a:gd name="connsiteY26304" fmla="*/ 857273 h 6557032"/>
              <a:gd name="connsiteX26305" fmla="*/ 2257674 w 4610101"/>
              <a:gd name="connsiteY26305" fmla="*/ 855451 h 6557032"/>
              <a:gd name="connsiteX26306" fmla="*/ 2250385 w 4610101"/>
              <a:gd name="connsiteY26306" fmla="*/ 855451 h 6557032"/>
              <a:gd name="connsiteX26307" fmla="*/ 2204831 w 4610101"/>
              <a:gd name="connsiteY26307" fmla="*/ 880961 h 6557032"/>
              <a:gd name="connsiteX26308" fmla="*/ 2197542 w 4610101"/>
              <a:gd name="connsiteY26308" fmla="*/ 893717 h 6557032"/>
              <a:gd name="connsiteX26309" fmla="*/ 2192076 w 4610101"/>
              <a:gd name="connsiteY26309" fmla="*/ 893717 h 6557032"/>
              <a:gd name="connsiteX26310" fmla="*/ 2186609 w 4610101"/>
              <a:gd name="connsiteY26310" fmla="*/ 926516 h 6557032"/>
              <a:gd name="connsiteX26311" fmla="*/ 2190253 w 4610101"/>
              <a:gd name="connsiteY26311" fmla="*/ 921049 h 6557032"/>
              <a:gd name="connsiteX26312" fmla="*/ 2195720 w 4610101"/>
              <a:gd name="connsiteY26312" fmla="*/ 928339 h 6557032"/>
              <a:gd name="connsiteX26313" fmla="*/ 2210297 w 4610101"/>
              <a:gd name="connsiteY26313" fmla="*/ 913761 h 6557032"/>
              <a:gd name="connsiteX26314" fmla="*/ 2210297 w 4610101"/>
              <a:gd name="connsiteY26314" fmla="*/ 915583 h 6557032"/>
              <a:gd name="connsiteX26315" fmla="*/ 2232163 w 4610101"/>
              <a:gd name="connsiteY26315" fmla="*/ 908295 h 6557032"/>
              <a:gd name="connsiteX26316" fmla="*/ 2232163 w 4610101"/>
              <a:gd name="connsiteY26316" fmla="*/ 897361 h 6557032"/>
              <a:gd name="connsiteX26317" fmla="*/ 2237630 w 4610101"/>
              <a:gd name="connsiteY26317" fmla="*/ 911939 h 6557032"/>
              <a:gd name="connsiteX26318" fmla="*/ 2232163 w 4610101"/>
              <a:gd name="connsiteY26318" fmla="*/ 913761 h 6557032"/>
              <a:gd name="connsiteX26319" fmla="*/ 2233986 w 4610101"/>
              <a:gd name="connsiteY26319" fmla="*/ 924695 h 6557032"/>
              <a:gd name="connsiteX26320" fmla="*/ 2235808 w 4610101"/>
              <a:gd name="connsiteY26320" fmla="*/ 917405 h 6557032"/>
              <a:gd name="connsiteX26321" fmla="*/ 2257674 w 4610101"/>
              <a:gd name="connsiteY26321" fmla="*/ 910117 h 6557032"/>
              <a:gd name="connsiteX26322" fmla="*/ 2254030 w 4610101"/>
              <a:gd name="connsiteY26322" fmla="*/ 910117 h 6557032"/>
              <a:gd name="connsiteX26323" fmla="*/ 2255852 w 4610101"/>
              <a:gd name="connsiteY26323" fmla="*/ 913761 h 6557032"/>
              <a:gd name="connsiteX26324" fmla="*/ 2250385 w 4610101"/>
              <a:gd name="connsiteY26324" fmla="*/ 915583 h 6557032"/>
              <a:gd name="connsiteX26325" fmla="*/ 2250385 w 4610101"/>
              <a:gd name="connsiteY26325" fmla="*/ 913761 h 6557032"/>
              <a:gd name="connsiteX26326" fmla="*/ 2243096 w 4610101"/>
              <a:gd name="connsiteY26326" fmla="*/ 930160 h 6557032"/>
              <a:gd name="connsiteX26327" fmla="*/ 2270429 w 4610101"/>
              <a:gd name="connsiteY26327" fmla="*/ 915583 h 6557032"/>
              <a:gd name="connsiteX26328" fmla="*/ 2268607 w 4610101"/>
              <a:gd name="connsiteY26328" fmla="*/ 935628 h 6557032"/>
              <a:gd name="connsiteX26329" fmla="*/ 2276807 w 4610101"/>
              <a:gd name="connsiteY26329" fmla="*/ 932210 h 6557032"/>
              <a:gd name="connsiteX26330" fmla="*/ 2279412 w 4610101"/>
              <a:gd name="connsiteY26330" fmla="*/ 925047 h 6557032"/>
              <a:gd name="connsiteX26331" fmla="*/ 2281362 w 4610101"/>
              <a:gd name="connsiteY26331" fmla="*/ 930160 h 6557032"/>
              <a:gd name="connsiteX26332" fmla="*/ 2297762 w 4610101"/>
              <a:gd name="connsiteY26332" fmla="*/ 922872 h 6557032"/>
              <a:gd name="connsiteX26333" fmla="*/ 2295940 w 4610101"/>
              <a:gd name="connsiteY26333" fmla="*/ 931983 h 6557032"/>
              <a:gd name="connsiteX26334" fmla="*/ 2279540 w 4610101"/>
              <a:gd name="connsiteY26334" fmla="*/ 933804 h 6557032"/>
              <a:gd name="connsiteX26335" fmla="*/ 2277718 w 4610101"/>
              <a:gd name="connsiteY26335" fmla="*/ 941094 h 6557032"/>
              <a:gd name="connsiteX26336" fmla="*/ 2292295 w 4610101"/>
              <a:gd name="connsiteY26336" fmla="*/ 939272 h 6557032"/>
              <a:gd name="connsiteX26337" fmla="*/ 2286829 w 4610101"/>
              <a:gd name="connsiteY26337" fmla="*/ 941094 h 6557032"/>
              <a:gd name="connsiteX26338" fmla="*/ 2290473 w 4610101"/>
              <a:gd name="connsiteY26338" fmla="*/ 942916 h 6557032"/>
              <a:gd name="connsiteX26339" fmla="*/ 2286829 w 4610101"/>
              <a:gd name="connsiteY26339" fmla="*/ 946560 h 6557032"/>
              <a:gd name="connsiteX26340" fmla="*/ 2292295 w 4610101"/>
              <a:gd name="connsiteY26340" fmla="*/ 952026 h 6557032"/>
              <a:gd name="connsiteX26341" fmla="*/ 2292295 w 4610101"/>
              <a:gd name="connsiteY26341" fmla="*/ 941094 h 6557032"/>
              <a:gd name="connsiteX26342" fmla="*/ 2295940 w 4610101"/>
              <a:gd name="connsiteY26342" fmla="*/ 935628 h 6557032"/>
              <a:gd name="connsiteX26343" fmla="*/ 2308695 w 4610101"/>
              <a:gd name="connsiteY26343" fmla="*/ 937450 h 6557032"/>
              <a:gd name="connsiteX26344" fmla="*/ 2312339 w 4610101"/>
              <a:gd name="connsiteY26344" fmla="*/ 921049 h 6557032"/>
              <a:gd name="connsiteX26345" fmla="*/ 2314161 w 4610101"/>
              <a:gd name="connsiteY26345" fmla="*/ 921049 h 6557032"/>
              <a:gd name="connsiteX26346" fmla="*/ 2297762 w 4610101"/>
              <a:gd name="connsiteY26346" fmla="*/ 910117 h 6557032"/>
              <a:gd name="connsiteX26347" fmla="*/ 2278800 w 4610101"/>
              <a:gd name="connsiteY26347" fmla="*/ 923441 h 6557032"/>
              <a:gd name="connsiteX26348" fmla="*/ 2279250 w 4610101"/>
              <a:gd name="connsiteY26348" fmla="*/ 924622 h 6557032"/>
              <a:gd name="connsiteX26349" fmla="*/ 2272251 w 4610101"/>
              <a:gd name="connsiteY26349" fmla="*/ 922872 h 6557032"/>
              <a:gd name="connsiteX26350" fmla="*/ 2274074 w 4610101"/>
              <a:gd name="connsiteY26350" fmla="*/ 915583 h 6557032"/>
              <a:gd name="connsiteX26351" fmla="*/ 2290473 w 4610101"/>
              <a:gd name="connsiteY26351" fmla="*/ 908295 h 6557032"/>
              <a:gd name="connsiteX26352" fmla="*/ 2288651 w 4610101"/>
              <a:gd name="connsiteY26352" fmla="*/ 899183 h 6557032"/>
              <a:gd name="connsiteX26353" fmla="*/ 2283184 w 4610101"/>
              <a:gd name="connsiteY26353" fmla="*/ 901005 h 6557032"/>
              <a:gd name="connsiteX26354" fmla="*/ 2281362 w 4610101"/>
              <a:gd name="connsiteY26354" fmla="*/ 886428 h 6557032"/>
              <a:gd name="connsiteX26355" fmla="*/ 2274074 w 4610101"/>
              <a:gd name="connsiteY26355" fmla="*/ 893717 h 6557032"/>
              <a:gd name="connsiteX26356" fmla="*/ 2272251 w 4610101"/>
              <a:gd name="connsiteY26356" fmla="*/ 884606 h 6557032"/>
              <a:gd name="connsiteX26357" fmla="*/ 2274074 w 4610101"/>
              <a:gd name="connsiteY26357" fmla="*/ 888250 h 6557032"/>
              <a:gd name="connsiteX26358" fmla="*/ 2275896 w 4610101"/>
              <a:gd name="connsiteY26358" fmla="*/ 880961 h 6557032"/>
              <a:gd name="connsiteX26359" fmla="*/ 2263140 w 4610101"/>
              <a:gd name="connsiteY26359" fmla="*/ 880961 h 6557032"/>
              <a:gd name="connsiteX26360" fmla="*/ 2275896 w 4610101"/>
              <a:gd name="connsiteY26360" fmla="*/ 879139 h 6557032"/>
              <a:gd name="connsiteX26361" fmla="*/ 2241274 w 4610101"/>
              <a:gd name="connsiteY26361" fmla="*/ 890072 h 6557032"/>
              <a:gd name="connsiteX26362" fmla="*/ 2241274 w 4610101"/>
              <a:gd name="connsiteY26362" fmla="*/ 873673 h 6557032"/>
              <a:gd name="connsiteX26363" fmla="*/ 2244919 w 4610101"/>
              <a:gd name="connsiteY26363" fmla="*/ 879139 h 6557032"/>
              <a:gd name="connsiteX26364" fmla="*/ 2250385 w 4610101"/>
              <a:gd name="connsiteY26364" fmla="*/ 855451 h 6557032"/>
              <a:gd name="connsiteX26365" fmla="*/ 1475961 w 4610101"/>
              <a:gd name="connsiteY26365" fmla="*/ 855451 h 6557032"/>
              <a:gd name="connsiteX26366" fmla="*/ 1474139 w 4610101"/>
              <a:gd name="connsiteY26366" fmla="*/ 859095 h 6557032"/>
              <a:gd name="connsiteX26367" fmla="*/ 1483250 w 4610101"/>
              <a:gd name="connsiteY26367" fmla="*/ 855451 h 6557032"/>
              <a:gd name="connsiteX26368" fmla="*/ 1465028 w 4610101"/>
              <a:gd name="connsiteY26368" fmla="*/ 871851 h 6557032"/>
              <a:gd name="connsiteX26369" fmla="*/ 1443162 w 4610101"/>
              <a:gd name="connsiteY26369" fmla="*/ 886428 h 6557032"/>
              <a:gd name="connsiteX26370" fmla="*/ 1450451 w 4610101"/>
              <a:gd name="connsiteY26370" fmla="*/ 886428 h 6557032"/>
              <a:gd name="connsiteX26371" fmla="*/ 1474139 w 4610101"/>
              <a:gd name="connsiteY26371" fmla="*/ 877317 h 6557032"/>
              <a:gd name="connsiteX26372" fmla="*/ 1475961 w 4610101"/>
              <a:gd name="connsiteY26372" fmla="*/ 880961 h 6557032"/>
              <a:gd name="connsiteX26373" fmla="*/ 1450451 w 4610101"/>
              <a:gd name="connsiteY26373" fmla="*/ 887112 h 6557032"/>
              <a:gd name="connsiteX26374" fmla="*/ 1434727 w 4610101"/>
              <a:gd name="connsiteY26374" fmla="*/ 886691 h 6557032"/>
              <a:gd name="connsiteX26375" fmla="*/ 1435873 w 4610101"/>
              <a:gd name="connsiteY26375" fmla="*/ 880961 h 6557032"/>
              <a:gd name="connsiteX26376" fmla="*/ 1427567 w 4610101"/>
              <a:gd name="connsiteY26376" fmla="*/ 886499 h 6557032"/>
              <a:gd name="connsiteX26377" fmla="*/ 1424940 w 4610101"/>
              <a:gd name="connsiteY26377" fmla="*/ 886428 h 6557032"/>
              <a:gd name="connsiteX26378" fmla="*/ 1426033 w 4610101"/>
              <a:gd name="connsiteY26378" fmla="*/ 887522 h 6557032"/>
              <a:gd name="connsiteX26379" fmla="*/ 1425198 w 4610101"/>
              <a:gd name="connsiteY26379" fmla="*/ 888079 h 6557032"/>
              <a:gd name="connsiteX26380" fmla="*/ 1412415 w 4610101"/>
              <a:gd name="connsiteY26380" fmla="*/ 871811 h 6557032"/>
              <a:gd name="connsiteX26381" fmla="*/ 1415829 w 4610101"/>
              <a:gd name="connsiteY26381" fmla="*/ 873673 h 6557032"/>
              <a:gd name="connsiteX26382" fmla="*/ 1423118 w 4610101"/>
              <a:gd name="connsiteY26382" fmla="*/ 882784 h 6557032"/>
              <a:gd name="connsiteX26383" fmla="*/ 1441340 w 4610101"/>
              <a:gd name="connsiteY26383" fmla="*/ 873673 h 6557032"/>
              <a:gd name="connsiteX26384" fmla="*/ 1441340 w 4610101"/>
              <a:gd name="connsiteY26384" fmla="*/ 868206 h 6557032"/>
              <a:gd name="connsiteX26385" fmla="*/ 1443162 w 4610101"/>
              <a:gd name="connsiteY26385" fmla="*/ 873673 h 6557032"/>
              <a:gd name="connsiteX26386" fmla="*/ 1439518 w 4610101"/>
              <a:gd name="connsiteY26386" fmla="*/ 884606 h 6557032"/>
              <a:gd name="connsiteX26387" fmla="*/ 1468673 w 4610101"/>
              <a:gd name="connsiteY26387" fmla="*/ 860918 h 6557032"/>
              <a:gd name="connsiteX26388" fmla="*/ 1475961 w 4610101"/>
              <a:gd name="connsiteY26388" fmla="*/ 855451 h 6557032"/>
              <a:gd name="connsiteX26389" fmla="*/ 1014951 w 4610101"/>
              <a:gd name="connsiteY26389" fmla="*/ 855451 h 6557032"/>
              <a:gd name="connsiteX26390" fmla="*/ 1018596 w 4610101"/>
              <a:gd name="connsiteY26390" fmla="*/ 862740 h 6557032"/>
              <a:gd name="connsiteX26391" fmla="*/ 1014951 w 4610101"/>
              <a:gd name="connsiteY26391" fmla="*/ 855451 h 6557032"/>
              <a:gd name="connsiteX26392" fmla="*/ 1000374 w 4610101"/>
              <a:gd name="connsiteY26392" fmla="*/ 855451 h 6557032"/>
              <a:gd name="connsiteX26393" fmla="*/ 980330 w 4610101"/>
              <a:gd name="connsiteY26393" fmla="*/ 857273 h 6557032"/>
              <a:gd name="connsiteX26394" fmla="*/ 982152 w 4610101"/>
              <a:gd name="connsiteY26394" fmla="*/ 864562 h 6557032"/>
              <a:gd name="connsiteX26395" fmla="*/ 985796 w 4610101"/>
              <a:gd name="connsiteY26395" fmla="*/ 868206 h 6557032"/>
              <a:gd name="connsiteX26396" fmla="*/ 987619 w 4610101"/>
              <a:gd name="connsiteY26396" fmla="*/ 864562 h 6557032"/>
              <a:gd name="connsiteX26397" fmla="*/ 987619 w 4610101"/>
              <a:gd name="connsiteY26397" fmla="*/ 868206 h 6557032"/>
              <a:gd name="connsiteX26398" fmla="*/ 996729 w 4610101"/>
              <a:gd name="connsiteY26398" fmla="*/ 870028 h 6557032"/>
              <a:gd name="connsiteX26399" fmla="*/ 998552 w 4610101"/>
              <a:gd name="connsiteY26399" fmla="*/ 873673 h 6557032"/>
              <a:gd name="connsiteX26400" fmla="*/ 983974 w 4610101"/>
              <a:gd name="connsiteY26400" fmla="*/ 871851 h 6557032"/>
              <a:gd name="connsiteX26401" fmla="*/ 971219 w 4610101"/>
              <a:gd name="connsiteY26401" fmla="*/ 871851 h 6557032"/>
              <a:gd name="connsiteX26402" fmla="*/ 967575 w 4610101"/>
              <a:gd name="connsiteY26402" fmla="*/ 871851 h 6557032"/>
              <a:gd name="connsiteX26403" fmla="*/ 956642 w 4610101"/>
              <a:gd name="connsiteY26403" fmla="*/ 919227 h 6557032"/>
              <a:gd name="connsiteX26404" fmla="*/ 962108 w 4610101"/>
              <a:gd name="connsiteY26404" fmla="*/ 922872 h 6557032"/>
              <a:gd name="connsiteX26405" fmla="*/ 973041 w 4610101"/>
              <a:gd name="connsiteY26405" fmla="*/ 955672 h 6557032"/>
              <a:gd name="connsiteX26406" fmla="*/ 974863 w 4610101"/>
              <a:gd name="connsiteY26406" fmla="*/ 966604 h 6557032"/>
              <a:gd name="connsiteX26407" fmla="*/ 978508 w 4610101"/>
              <a:gd name="connsiteY26407" fmla="*/ 959316 h 6557032"/>
              <a:gd name="connsiteX26408" fmla="*/ 982152 w 4610101"/>
              <a:gd name="connsiteY26408" fmla="*/ 961138 h 6557032"/>
              <a:gd name="connsiteX26409" fmla="*/ 983974 w 4610101"/>
              <a:gd name="connsiteY26409" fmla="*/ 959316 h 6557032"/>
              <a:gd name="connsiteX26410" fmla="*/ 980330 w 4610101"/>
              <a:gd name="connsiteY26410" fmla="*/ 964782 h 6557032"/>
              <a:gd name="connsiteX26411" fmla="*/ 982152 w 4610101"/>
              <a:gd name="connsiteY26411" fmla="*/ 965693 h 6557032"/>
              <a:gd name="connsiteX26412" fmla="*/ 978508 w 4610101"/>
              <a:gd name="connsiteY26412" fmla="*/ 964782 h 6557032"/>
              <a:gd name="connsiteX26413" fmla="*/ 978508 w 4610101"/>
              <a:gd name="connsiteY26413" fmla="*/ 988471 h 6557032"/>
              <a:gd name="connsiteX26414" fmla="*/ 985796 w 4610101"/>
              <a:gd name="connsiteY26414" fmla="*/ 966604 h 6557032"/>
              <a:gd name="connsiteX26415" fmla="*/ 983366 w 4610101"/>
              <a:gd name="connsiteY26415" fmla="*/ 965997 h 6557032"/>
              <a:gd name="connsiteX26416" fmla="*/ 982152 w 4610101"/>
              <a:gd name="connsiteY26416" fmla="*/ 964782 h 6557032"/>
              <a:gd name="connsiteX26417" fmla="*/ 985796 w 4610101"/>
              <a:gd name="connsiteY26417" fmla="*/ 964782 h 6557032"/>
              <a:gd name="connsiteX26418" fmla="*/ 983974 w 4610101"/>
              <a:gd name="connsiteY26418" fmla="*/ 959316 h 6557032"/>
              <a:gd name="connsiteX26419" fmla="*/ 985796 w 4610101"/>
              <a:gd name="connsiteY26419" fmla="*/ 957494 h 6557032"/>
              <a:gd name="connsiteX26420" fmla="*/ 982152 w 4610101"/>
              <a:gd name="connsiteY26420" fmla="*/ 953848 h 6557032"/>
              <a:gd name="connsiteX26421" fmla="*/ 989441 w 4610101"/>
              <a:gd name="connsiteY26421" fmla="*/ 955672 h 6557032"/>
              <a:gd name="connsiteX26422" fmla="*/ 989441 w 4610101"/>
              <a:gd name="connsiteY26422" fmla="*/ 966604 h 6557032"/>
              <a:gd name="connsiteX26423" fmla="*/ 987619 w 4610101"/>
              <a:gd name="connsiteY26423" fmla="*/ 942916 h 6557032"/>
              <a:gd name="connsiteX26424" fmla="*/ 973041 w 4610101"/>
              <a:gd name="connsiteY26424" fmla="*/ 926516 h 6557032"/>
              <a:gd name="connsiteX26425" fmla="*/ 991263 w 4610101"/>
              <a:gd name="connsiteY26425" fmla="*/ 944738 h 6557032"/>
              <a:gd name="connsiteX26426" fmla="*/ 989441 w 4610101"/>
              <a:gd name="connsiteY26426" fmla="*/ 939272 h 6557032"/>
              <a:gd name="connsiteX26427" fmla="*/ 993085 w 4610101"/>
              <a:gd name="connsiteY26427" fmla="*/ 939272 h 6557032"/>
              <a:gd name="connsiteX26428" fmla="*/ 987619 w 4610101"/>
              <a:gd name="connsiteY26428" fmla="*/ 930160 h 6557032"/>
              <a:gd name="connsiteX26429" fmla="*/ 994907 w 4610101"/>
              <a:gd name="connsiteY26429" fmla="*/ 930160 h 6557032"/>
              <a:gd name="connsiteX26430" fmla="*/ 996729 w 4610101"/>
              <a:gd name="connsiteY26430" fmla="*/ 937450 h 6557032"/>
              <a:gd name="connsiteX26431" fmla="*/ 1005840 w 4610101"/>
              <a:gd name="connsiteY26431" fmla="*/ 955672 h 6557032"/>
              <a:gd name="connsiteX26432" fmla="*/ 1016774 w 4610101"/>
              <a:gd name="connsiteY26432" fmla="*/ 935628 h 6557032"/>
              <a:gd name="connsiteX26433" fmla="*/ 1020418 w 4610101"/>
              <a:gd name="connsiteY26433" fmla="*/ 933804 h 6557032"/>
              <a:gd name="connsiteX26434" fmla="*/ 1020418 w 4610101"/>
              <a:gd name="connsiteY26434" fmla="*/ 928339 h 6557032"/>
              <a:gd name="connsiteX26435" fmla="*/ 1022240 w 4610101"/>
              <a:gd name="connsiteY26435" fmla="*/ 906473 h 6557032"/>
              <a:gd name="connsiteX26436" fmla="*/ 1022240 w 4610101"/>
              <a:gd name="connsiteY26436" fmla="*/ 880961 h 6557032"/>
              <a:gd name="connsiteX26437" fmla="*/ 1000374 w 4610101"/>
              <a:gd name="connsiteY26437" fmla="*/ 855451 h 6557032"/>
              <a:gd name="connsiteX26438" fmla="*/ 840022 w 4610101"/>
              <a:gd name="connsiteY26438" fmla="*/ 855451 h 6557032"/>
              <a:gd name="connsiteX26439" fmla="*/ 843387 w 4610101"/>
              <a:gd name="connsiteY26439" fmla="*/ 861058 h 6557032"/>
              <a:gd name="connsiteX26440" fmla="*/ 836378 w 4610101"/>
              <a:gd name="connsiteY26440" fmla="*/ 864562 h 6557032"/>
              <a:gd name="connsiteX26441" fmla="*/ 845489 w 4610101"/>
              <a:gd name="connsiteY26441" fmla="*/ 864562 h 6557032"/>
              <a:gd name="connsiteX26442" fmla="*/ 843387 w 4610101"/>
              <a:gd name="connsiteY26442" fmla="*/ 861058 h 6557032"/>
              <a:gd name="connsiteX26443" fmla="*/ 843667 w 4610101"/>
              <a:gd name="connsiteY26443" fmla="*/ 860918 h 6557032"/>
              <a:gd name="connsiteX26444" fmla="*/ 840022 w 4610101"/>
              <a:gd name="connsiteY26444" fmla="*/ 855451 h 6557032"/>
              <a:gd name="connsiteX26445" fmla="*/ 787179 w 4610101"/>
              <a:gd name="connsiteY26445" fmla="*/ 855451 h 6557032"/>
              <a:gd name="connsiteX26446" fmla="*/ 787179 w 4610101"/>
              <a:gd name="connsiteY26446" fmla="*/ 862740 h 6557032"/>
              <a:gd name="connsiteX26447" fmla="*/ 798112 w 4610101"/>
              <a:gd name="connsiteY26447" fmla="*/ 859095 h 6557032"/>
              <a:gd name="connsiteX26448" fmla="*/ 787179 w 4610101"/>
              <a:gd name="connsiteY26448" fmla="*/ 855451 h 6557032"/>
              <a:gd name="connsiteX26449" fmla="*/ 603140 w 4610101"/>
              <a:gd name="connsiteY26449" fmla="*/ 855451 h 6557032"/>
              <a:gd name="connsiteX26450" fmla="*/ 601318 w 4610101"/>
              <a:gd name="connsiteY26450" fmla="*/ 859095 h 6557032"/>
              <a:gd name="connsiteX26451" fmla="*/ 606784 w 4610101"/>
              <a:gd name="connsiteY26451" fmla="*/ 859095 h 6557032"/>
              <a:gd name="connsiteX26452" fmla="*/ 603140 w 4610101"/>
              <a:gd name="connsiteY26452" fmla="*/ 855451 h 6557032"/>
              <a:gd name="connsiteX26453" fmla="*/ 448256 w 4610101"/>
              <a:gd name="connsiteY26453" fmla="*/ 855451 h 6557032"/>
              <a:gd name="connsiteX26454" fmla="*/ 468299 w 4610101"/>
              <a:gd name="connsiteY26454" fmla="*/ 864562 h 6557032"/>
              <a:gd name="connsiteX26455" fmla="*/ 459188 w 4610101"/>
              <a:gd name="connsiteY26455" fmla="*/ 860918 h 6557032"/>
              <a:gd name="connsiteX26456" fmla="*/ 466478 w 4610101"/>
              <a:gd name="connsiteY26456" fmla="*/ 860918 h 6557032"/>
              <a:gd name="connsiteX26457" fmla="*/ 448256 w 4610101"/>
              <a:gd name="connsiteY26457" fmla="*/ 855451 h 6557032"/>
              <a:gd name="connsiteX26458" fmla="*/ 883754 w 4610101"/>
              <a:gd name="connsiteY26458" fmla="*/ 854768 h 6557032"/>
              <a:gd name="connsiteX26459" fmla="*/ 880111 w 4610101"/>
              <a:gd name="connsiteY26459" fmla="*/ 855451 h 6557032"/>
              <a:gd name="connsiteX26460" fmla="*/ 887399 w 4610101"/>
              <a:gd name="connsiteY26460" fmla="*/ 855451 h 6557032"/>
              <a:gd name="connsiteX26461" fmla="*/ 883754 w 4610101"/>
              <a:gd name="connsiteY26461" fmla="*/ 854768 h 6557032"/>
              <a:gd name="connsiteX26462" fmla="*/ 3228893 w 4610101"/>
              <a:gd name="connsiteY26462" fmla="*/ 853629 h 6557032"/>
              <a:gd name="connsiteX26463" fmla="*/ 3219782 w 4610101"/>
              <a:gd name="connsiteY26463" fmla="*/ 857273 h 6557032"/>
              <a:gd name="connsiteX26464" fmla="*/ 3225248 w 4610101"/>
              <a:gd name="connsiteY26464" fmla="*/ 862740 h 6557032"/>
              <a:gd name="connsiteX26465" fmla="*/ 3228893 w 4610101"/>
              <a:gd name="connsiteY26465" fmla="*/ 853629 h 6557032"/>
              <a:gd name="connsiteX26466" fmla="*/ 2598421 w 4610101"/>
              <a:gd name="connsiteY26466" fmla="*/ 853629 h 6557032"/>
              <a:gd name="connsiteX26467" fmla="*/ 2592954 w 4610101"/>
              <a:gd name="connsiteY26467" fmla="*/ 855451 h 6557032"/>
              <a:gd name="connsiteX26468" fmla="*/ 2598421 w 4610101"/>
              <a:gd name="connsiteY26468" fmla="*/ 860918 h 6557032"/>
              <a:gd name="connsiteX26469" fmla="*/ 2598421 w 4610101"/>
              <a:gd name="connsiteY26469" fmla="*/ 853629 h 6557032"/>
              <a:gd name="connsiteX26470" fmla="*/ 1255478 w 4610101"/>
              <a:gd name="connsiteY26470" fmla="*/ 853629 h 6557032"/>
              <a:gd name="connsiteX26471" fmla="*/ 1259123 w 4610101"/>
              <a:gd name="connsiteY26471" fmla="*/ 857273 h 6557032"/>
              <a:gd name="connsiteX26472" fmla="*/ 1262767 w 4610101"/>
              <a:gd name="connsiteY26472" fmla="*/ 859095 h 6557032"/>
              <a:gd name="connsiteX26473" fmla="*/ 1262767 w 4610101"/>
              <a:gd name="connsiteY26473" fmla="*/ 853629 h 6557032"/>
              <a:gd name="connsiteX26474" fmla="*/ 1255478 w 4610101"/>
              <a:gd name="connsiteY26474" fmla="*/ 853629 h 6557032"/>
              <a:gd name="connsiteX26475" fmla="*/ 891043 w 4610101"/>
              <a:gd name="connsiteY26475" fmla="*/ 853629 h 6557032"/>
              <a:gd name="connsiteX26476" fmla="*/ 887399 w 4610101"/>
              <a:gd name="connsiteY26476" fmla="*/ 857273 h 6557032"/>
              <a:gd name="connsiteX26477" fmla="*/ 892866 w 4610101"/>
              <a:gd name="connsiteY26477" fmla="*/ 857273 h 6557032"/>
              <a:gd name="connsiteX26478" fmla="*/ 891043 w 4610101"/>
              <a:gd name="connsiteY26478" fmla="*/ 853629 h 6557032"/>
              <a:gd name="connsiteX26479" fmla="*/ 663272 w 4610101"/>
              <a:gd name="connsiteY26479" fmla="*/ 853629 h 6557032"/>
              <a:gd name="connsiteX26480" fmla="*/ 661449 w 4610101"/>
              <a:gd name="connsiteY26480" fmla="*/ 859095 h 6557032"/>
              <a:gd name="connsiteX26481" fmla="*/ 666916 w 4610101"/>
              <a:gd name="connsiteY26481" fmla="*/ 857273 h 6557032"/>
              <a:gd name="connsiteX26482" fmla="*/ 663272 w 4610101"/>
              <a:gd name="connsiteY26482" fmla="*/ 853629 h 6557032"/>
              <a:gd name="connsiteX26483" fmla="*/ 289726 w 4610101"/>
              <a:gd name="connsiteY26483" fmla="*/ 853629 h 6557032"/>
              <a:gd name="connsiteX26484" fmla="*/ 297015 w 4610101"/>
              <a:gd name="connsiteY26484" fmla="*/ 862740 h 6557032"/>
              <a:gd name="connsiteX26485" fmla="*/ 289726 w 4610101"/>
              <a:gd name="connsiteY26485" fmla="*/ 853629 h 6557032"/>
              <a:gd name="connsiteX26486" fmla="*/ 1189272 w 4610101"/>
              <a:gd name="connsiteY26486" fmla="*/ 853224 h 6557032"/>
              <a:gd name="connsiteX26487" fmla="*/ 1189880 w 4610101"/>
              <a:gd name="connsiteY26487" fmla="*/ 853629 h 6557032"/>
              <a:gd name="connsiteX26488" fmla="*/ 1186236 w 4610101"/>
              <a:gd name="connsiteY26488" fmla="*/ 855451 h 6557032"/>
              <a:gd name="connsiteX26489" fmla="*/ 1185520 w 4610101"/>
              <a:gd name="connsiteY26489" fmla="*/ 854475 h 6557032"/>
              <a:gd name="connsiteX26490" fmla="*/ 2522572 w 4610101"/>
              <a:gd name="connsiteY26490" fmla="*/ 853174 h 6557032"/>
              <a:gd name="connsiteX26491" fmla="*/ 2514600 w 4610101"/>
              <a:gd name="connsiteY26491" fmla="*/ 859095 h 6557032"/>
              <a:gd name="connsiteX26492" fmla="*/ 2507312 w 4610101"/>
              <a:gd name="connsiteY26492" fmla="*/ 871851 h 6557032"/>
              <a:gd name="connsiteX26493" fmla="*/ 2534644 w 4610101"/>
              <a:gd name="connsiteY26493" fmla="*/ 855451 h 6557032"/>
              <a:gd name="connsiteX26494" fmla="*/ 2522572 w 4610101"/>
              <a:gd name="connsiteY26494" fmla="*/ 853174 h 6557032"/>
              <a:gd name="connsiteX26495" fmla="*/ 3103533 w 4610101"/>
              <a:gd name="connsiteY26495" fmla="*/ 852804 h 6557032"/>
              <a:gd name="connsiteX26496" fmla="*/ 3077652 w 4610101"/>
              <a:gd name="connsiteY26496" fmla="*/ 866384 h 6557032"/>
              <a:gd name="connsiteX26497" fmla="*/ 3106807 w 4610101"/>
              <a:gd name="connsiteY26497" fmla="*/ 877317 h 6557032"/>
              <a:gd name="connsiteX26498" fmla="*/ 3110451 w 4610101"/>
              <a:gd name="connsiteY26498" fmla="*/ 859095 h 6557032"/>
              <a:gd name="connsiteX26499" fmla="*/ 3103533 w 4610101"/>
              <a:gd name="connsiteY26499" fmla="*/ 852804 h 6557032"/>
              <a:gd name="connsiteX26500" fmla="*/ 1404400 w 4610101"/>
              <a:gd name="connsiteY26500" fmla="*/ 852139 h 6557032"/>
              <a:gd name="connsiteX26501" fmla="*/ 1417652 w 4610101"/>
              <a:gd name="connsiteY26501" fmla="*/ 855451 h 6557032"/>
              <a:gd name="connsiteX26502" fmla="*/ 1406946 w 4610101"/>
              <a:gd name="connsiteY26502" fmla="*/ 854313 h 6557032"/>
              <a:gd name="connsiteX26503" fmla="*/ 3183338 w 4610101"/>
              <a:gd name="connsiteY26503" fmla="*/ 851807 h 6557032"/>
              <a:gd name="connsiteX26504" fmla="*/ 3196093 w 4610101"/>
              <a:gd name="connsiteY26504" fmla="*/ 857273 h 6557032"/>
              <a:gd name="connsiteX26505" fmla="*/ 3183338 w 4610101"/>
              <a:gd name="connsiteY26505" fmla="*/ 851807 h 6557032"/>
              <a:gd name="connsiteX26506" fmla="*/ 721581 w 4610101"/>
              <a:gd name="connsiteY26506" fmla="*/ 851807 h 6557032"/>
              <a:gd name="connsiteX26507" fmla="*/ 710648 w 4610101"/>
              <a:gd name="connsiteY26507" fmla="*/ 857273 h 6557032"/>
              <a:gd name="connsiteX26508" fmla="*/ 721581 w 4610101"/>
              <a:gd name="connsiteY26508" fmla="*/ 851807 h 6557032"/>
              <a:gd name="connsiteX26509" fmla="*/ 218661 w 4610101"/>
              <a:gd name="connsiteY26509" fmla="*/ 851807 h 6557032"/>
              <a:gd name="connsiteX26510" fmla="*/ 227772 w 4610101"/>
              <a:gd name="connsiteY26510" fmla="*/ 860918 h 6557032"/>
              <a:gd name="connsiteX26511" fmla="*/ 218661 w 4610101"/>
              <a:gd name="connsiteY26511" fmla="*/ 851807 h 6557032"/>
              <a:gd name="connsiteX26512" fmla="*/ 207728 w 4610101"/>
              <a:gd name="connsiteY26512" fmla="*/ 851807 h 6557032"/>
              <a:gd name="connsiteX26513" fmla="*/ 218661 w 4610101"/>
              <a:gd name="connsiteY26513" fmla="*/ 859095 h 6557032"/>
              <a:gd name="connsiteX26514" fmla="*/ 207728 w 4610101"/>
              <a:gd name="connsiteY26514" fmla="*/ 851807 h 6557032"/>
              <a:gd name="connsiteX26515" fmla="*/ 1403974 w 4610101"/>
              <a:gd name="connsiteY26515" fmla="*/ 851775 h 6557032"/>
              <a:gd name="connsiteX26516" fmla="*/ 1404400 w 4610101"/>
              <a:gd name="connsiteY26516" fmla="*/ 852139 h 6557032"/>
              <a:gd name="connsiteX26517" fmla="*/ 1403074 w 4610101"/>
              <a:gd name="connsiteY26517" fmla="*/ 851807 h 6557032"/>
              <a:gd name="connsiteX26518" fmla="*/ 2155051 w 4610101"/>
              <a:gd name="connsiteY26518" fmla="*/ 851767 h 6557032"/>
              <a:gd name="connsiteX26519" fmla="*/ 2150302 w 4610101"/>
              <a:gd name="connsiteY26519" fmla="*/ 866333 h 6557032"/>
              <a:gd name="connsiteX26520" fmla="*/ 2150166 w 4610101"/>
              <a:gd name="connsiteY26520" fmla="*/ 866384 h 6557032"/>
              <a:gd name="connsiteX26521" fmla="*/ 2150166 w 4610101"/>
              <a:gd name="connsiteY26521" fmla="*/ 859095 h 6557032"/>
              <a:gd name="connsiteX26522" fmla="*/ 3414754 w 4610101"/>
              <a:gd name="connsiteY26522" fmla="*/ 849985 h 6557032"/>
              <a:gd name="connsiteX26523" fmla="*/ 3416577 w 4610101"/>
              <a:gd name="connsiteY26523" fmla="*/ 857273 h 6557032"/>
              <a:gd name="connsiteX26524" fmla="*/ 3411997 w 4610101"/>
              <a:gd name="connsiteY26524" fmla="*/ 855747 h 6557032"/>
              <a:gd name="connsiteX26525" fmla="*/ 3416577 w 4610101"/>
              <a:gd name="connsiteY26525" fmla="*/ 855451 h 6557032"/>
              <a:gd name="connsiteX26526" fmla="*/ 3414754 w 4610101"/>
              <a:gd name="connsiteY26526" fmla="*/ 849985 h 6557032"/>
              <a:gd name="connsiteX26527" fmla="*/ 1457739 w 4610101"/>
              <a:gd name="connsiteY26527" fmla="*/ 849985 h 6557032"/>
              <a:gd name="connsiteX26528" fmla="*/ 1452273 w 4610101"/>
              <a:gd name="connsiteY26528" fmla="*/ 851807 h 6557032"/>
              <a:gd name="connsiteX26529" fmla="*/ 1457739 w 4610101"/>
              <a:gd name="connsiteY26529" fmla="*/ 849985 h 6557032"/>
              <a:gd name="connsiteX26530" fmla="*/ 1182592 w 4610101"/>
              <a:gd name="connsiteY26530" fmla="*/ 849985 h 6557032"/>
              <a:gd name="connsiteX26531" fmla="*/ 1183730 w 4610101"/>
              <a:gd name="connsiteY26531" fmla="*/ 850896 h 6557032"/>
              <a:gd name="connsiteX26532" fmla="*/ 1183189 w 4610101"/>
              <a:gd name="connsiteY26532" fmla="*/ 851063 h 6557032"/>
              <a:gd name="connsiteX26533" fmla="*/ 987619 w 4610101"/>
              <a:gd name="connsiteY26533" fmla="*/ 849985 h 6557032"/>
              <a:gd name="connsiteX26534" fmla="*/ 985796 w 4610101"/>
              <a:gd name="connsiteY26534" fmla="*/ 851807 h 6557032"/>
              <a:gd name="connsiteX26535" fmla="*/ 991263 w 4610101"/>
              <a:gd name="connsiteY26535" fmla="*/ 853629 h 6557032"/>
              <a:gd name="connsiteX26536" fmla="*/ 987619 w 4610101"/>
              <a:gd name="connsiteY26536" fmla="*/ 849985 h 6557032"/>
              <a:gd name="connsiteX26537" fmla="*/ 758025 w 4610101"/>
              <a:gd name="connsiteY26537" fmla="*/ 849985 h 6557032"/>
              <a:gd name="connsiteX26538" fmla="*/ 761670 w 4610101"/>
              <a:gd name="connsiteY26538" fmla="*/ 857273 h 6557032"/>
              <a:gd name="connsiteX26539" fmla="*/ 758025 w 4610101"/>
              <a:gd name="connsiteY26539" fmla="*/ 849985 h 6557032"/>
              <a:gd name="connsiteX26540" fmla="*/ 712470 w 4610101"/>
              <a:gd name="connsiteY26540" fmla="*/ 849985 h 6557032"/>
              <a:gd name="connsiteX26541" fmla="*/ 714293 w 4610101"/>
              <a:gd name="connsiteY26541" fmla="*/ 853629 h 6557032"/>
              <a:gd name="connsiteX26542" fmla="*/ 712470 w 4610101"/>
              <a:gd name="connsiteY26542" fmla="*/ 849985 h 6557032"/>
              <a:gd name="connsiteX26543" fmla="*/ 652339 w 4610101"/>
              <a:gd name="connsiteY26543" fmla="*/ 849985 h 6557032"/>
              <a:gd name="connsiteX26544" fmla="*/ 648694 w 4610101"/>
              <a:gd name="connsiteY26544" fmla="*/ 853629 h 6557032"/>
              <a:gd name="connsiteX26545" fmla="*/ 659627 w 4610101"/>
              <a:gd name="connsiteY26545" fmla="*/ 853629 h 6557032"/>
              <a:gd name="connsiteX26546" fmla="*/ 652339 w 4610101"/>
              <a:gd name="connsiteY26546" fmla="*/ 849985 h 6557032"/>
              <a:gd name="connsiteX26547" fmla="*/ 479232 w 4610101"/>
              <a:gd name="connsiteY26547" fmla="*/ 849985 h 6557032"/>
              <a:gd name="connsiteX26548" fmla="*/ 486521 w 4610101"/>
              <a:gd name="connsiteY26548" fmla="*/ 857273 h 6557032"/>
              <a:gd name="connsiteX26549" fmla="*/ 479232 w 4610101"/>
              <a:gd name="connsiteY26549" fmla="*/ 849985 h 6557032"/>
              <a:gd name="connsiteX26550" fmla="*/ 430034 w 4610101"/>
              <a:gd name="connsiteY26550" fmla="*/ 849985 h 6557032"/>
              <a:gd name="connsiteX26551" fmla="*/ 450077 w 4610101"/>
              <a:gd name="connsiteY26551" fmla="*/ 868206 h 6557032"/>
              <a:gd name="connsiteX26552" fmla="*/ 430034 w 4610101"/>
              <a:gd name="connsiteY26552" fmla="*/ 849985 h 6557032"/>
              <a:gd name="connsiteX26553" fmla="*/ 180396 w 4610101"/>
              <a:gd name="connsiteY26553" fmla="*/ 849985 h 6557032"/>
              <a:gd name="connsiteX26554" fmla="*/ 180497 w 4610101"/>
              <a:gd name="connsiteY26554" fmla="*/ 850013 h 6557032"/>
              <a:gd name="connsiteX26555" fmla="*/ 180605 w 4610101"/>
              <a:gd name="connsiteY26555" fmla="*/ 850146 h 6557032"/>
              <a:gd name="connsiteX26556" fmla="*/ 1174164 w 4610101"/>
              <a:gd name="connsiteY26556" fmla="*/ 849529 h 6557032"/>
              <a:gd name="connsiteX26557" fmla="*/ 1171658 w 4610101"/>
              <a:gd name="connsiteY26557" fmla="*/ 849985 h 6557032"/>
              <a:gd name="connsiteX26558" fmla="*/ 1175303 w 4610101"/>
              <a:gd name="connsiteY26558" fmla="*/ 851807 h 6557032"/>
              <a:gd name="connsiteX26559" fmla="*/ 1174164 w 4610101"/>
              <a:gd name="connsiteY26559" fmla="*/ 849529 h 6557032"/>
              <a:gd name="connsiteX26560" fmla="*/ 1359694 w 4610101"/>
              <a:gd name="connsiteY26560" fmla="*/ 848514 h 6557032"/>
              <a:gd name="connsiteX26561" fmla="*/ 1361164 w 4610101"/>
              <a:gd name="connsiteY26561" fmla="*/ 849985 h 6557032"/>
              <a:gd name="connsiteX26562" fmla="*/ 1355209 w 4610101"/>
              <a:gd name="connsiteY26562" fmla="*/ 851474 h 6557032"/>
              <a:gd name="connsiteX26563" fmla="*/ 3031414 w 4610101"/>
              <a:gd name="connsiteY26563" fmla="*/ 848163 h 6557032"/>
              <a:gd name="connsiteX26564" fmla="*/ 3032645 w 4610101"/>
              <a:gd name="connsiteY26564" fmla="*/ 848681 h 6557032"/>
              <a:gd name="connsiteX26565" fmla="*/ 3030103 w 4610101"/>
              <a:gd name="connsiteY26565" fmla="*/ 849777 h 6557032"/>
              <a:gd name="connsiteX26566" fmla="*/ 3217960 w 4610101"/>
              <a:gd name="connsiteY26566" fmla="*/ 848162 h 6557032"/>
              <a:gd name="connsiteX26567" fmla="*/ 3208849 w 4610101"/>
              <a:gd name="connsiteY26567" fmla="*/ 851807 h 6557032"/>
              <a:gd name="connsiteX26568" fmla="*/ 3217960 w 4610101"/>
              <a:gd name="connsiteY26568" fmla="*/ 848162 h 6557032"/>
              <a:gd name="connsiteX26569" fmla="*/ 2268607 w 4610101"/>
              <a:gd name="connsiteY26569" fmla="*/ 848162 h 6557032"/>
              <a:gd name="connsiteX26570" fmla="*/ 2264963 w 4610101"/>
              <a:gd name="connsiteY26570" fmla="*/ 849985 h 6557032"/>
              <a:gd name="connsiteX26571" fmla="*/ 2266785 w 4610101"/>
              <a:gd name="connsiteY26571" fmla="*/ 853629 h 6557032"/>
              <a:gd name="connsiteX26572" fmla="*/ 2268607 w 4610101"/>
              <a:gd name="connsiteY26572" fmla="*/ 848162 h 6557032"/>
              <a:gd name="connsiteX26573" fmla="*/ 2172032 w 4610101"/>
              <a:gd name="connsiteY26573" fmla="*/ 848162 h 6557032"/>
              <a:gd name="connsiteX26574" fmla="*/ 2170210 w 4610101"/>
              <a:gd name="connsiteY26574" fmla="*/ 868206 h 6557032"/>
              <a:gd name="connsiteX26575" fmla="*/ 2166565 w 4610101"/>
              <a:gd name="connsiteY26575" fmla="*/ 866384 h 6557032"/>
              <a:gd name="connsiteX26576" fmla="*/ 2170210 w 4610101"/>
              <a:gd name="connsiteY26576" fmla="*/ 871851 h 6557032"/>
              <a:gd name="connsiteX26577" fmla="*/ 2170210 w 4610101"/>
              <a:gd name="connsiteY26577" fmla="*/ 868206 h 6557032"/>
              <a:gd name="connsiteX26578" fmla="*/ 2172032 w 4610101"/>
              <a:gd name="connsiteY26578" fmla="*/ 873673 h 6557032"/>
              <a:gd name="connsiteX26579" fmla="*/ 2179320 w 4610101"/>
              <a:gd name="connsiteY26579" fmla="*/ 871851 h 6557032"/>
              <a:gd name="connsiteX26580" fmla="*/ 2179320 w 4610101"/>
              <a:gd name="connsiteY26580" fmla="*/ 870028 h 6557032"/>
              <a:gd name="connsiteX26581" fmla="*/ 2175676 w 4610101"/>
              <a:gd name="connsiteY26581" fmla="*/ 864562 h 6557032"/>
              <a:gd name="connsiteX26582" fmla="*/ 2173854 w 4610101"/>
              <a:gd name="connsiteY26582" fmla="*/ 864562 h 6557032"/>
              <a:gd name="connsiteX26583" fmla="*/ 2173854 w 4610101"/>
              <a:gd name="connsiteY26583" fmla="*/ 860918 h 6557032"/>
              <a:gd name="connsiteX26584" fmla="*/ 2179320 w 4610101"/>
              <a:gd name="connsiteY26584" fmla="*/ 848162 h 6557032"/>
              <a:gd name="connsiteX26585" fmla="*/ 707004 w 4610101"/>
              <a:gd name="connsiteY26585" fmla="*/ 848162 h 6557032"/>
              <a:gd name="connsiteX26586" fmla="*/ 707004 w 4610101"/>
              <a:gd name="connsiteY26586" fmla="*/ 857273 h 6557032"/>
              <a:gd name="connsiteX26587" fmla="*/ 707004 w 4610101"/>
              <a:gd name="connsiteY26587" fmla="*/ 848162 h 6557032"/>
              <a:gd name="connsiteX26588" fmla="*/ 559408 w 4610101"/>
              <a:gd name="connsiteY26588" fmla="*/ 848162 h 6557032"/>
              <a:gd name="connsiteX26589" fmla="*/ 555763 w 4610101"/>
              <a:gd name="connsiteY26589" fmla="*/ 849985 h 6557032"/>
              <a:gd name="connsiteX26590" fmla="*/ 563052 w 4610101"/>
              <a:gd name="connsiteY26590" fmla="*/ 857273 h 6557032"/>
              <a:gd name="connsiteX26591" fmla="*/ 559408 w 4610101"/>
              <a:gd name="connsiteY26591" fmla="*/ 848162 h 6557032"/>
              <a:gd name="connsiteX26592" fmla="*/ 470121 w 4610101"/>
              <a:gd name="connsiteY26592" fmla="*/ 848162 h 6557032"/>
              <a:gd name="connsiteX26593" fmla="*/ 481054 w 4610101"/>
              <a:gd name="connsiteY26593" fmla="*/ 855451 h 6557032"/>
              <a:gd name="connsiteX26594" fmla="*/ 470121 w 4610101"/>
              <a:gd name="connsiteY26594" fmla="*/ 848162 h 6557032"/>
              <a:gd name="connsiteX26595" fmla="*/ 351680 w 4610101"/>
              <a:gd name="connsiteY26595" fmla="*/ 848162 h 6557032"/>
              <a:gd name="connsiteX26596" fmla="*/ 357146 w 4610101"/>
              <a:gd name="connsiteY26596" fmla="*/ 859095 h 6557032"/>
              <a:gd name="connsiteX26597" fmla="*/ 368079 w 4610101"/>
              <a:gd name="connsiteY26597" fmla="*/ 882784 h 6557032"/>
              <a:gd name="connsiteX26598" fmla="*/ 358969 w 4610101"/>
              <a:gd name="connsiteY26598" fmla="*/ 877317 h 6557032"/>
              <a:gd name="connsiteX26599" fmla="*/ 368079 w 4610101"/>
              <a:gd name="connsiteY26599" fmla="*/ 884606 h 6557032"/>
              <a:gd name="connsiteX26600" fmla="*/ 391723 w 4610101"/>
              <a:gd name="connsiteY26600" fmla="*/ 888243 h 6557032"/>
              <a:gd name="connsiteX26601" fmla="*/ 388123 w 4610101"/>
              <a:gd name="connsiteY26601" fmla="*/ 884643 h 6557032"/>
              <a:gd name="connsiteX26602" fmla="*/ 393533 w 4610101"/>
              <a:gd name="connsiteY26602" fmla="*/ 888250 h 6557032"/>
              <a:gd name="connsiteX26603" fmla="*/ 400879 w 4610101"/>
              <a:gd name="connsiteY26603" fmla="*/ 888250 h 6557032"/>
              <a:gd name="connsiteX26604" fmla="*/ 389946 w 4610101"/>
              <a:gd name="connsiteY26604" fmla="*/ 879139 h 6557032"/>
              <a:gd name="connsiteX26605" fmla="*/ 396095 w 4610101"/>
              <a:gd name="connsiteY26605" fmla="*/ 884834 h 6557032"/>
              <a:gd name="connsiteX26606" fmla="*/ 406210 w 4610101"/>
              <a:gd name="connsiteY26606" fmla="*/ 886407 h 6557032"/>
              <a:gd name="connsiteX26607" fmla="*/ 409306 w 4610101"/>
              <a:gd name="connsiteY26607" fmla="*/ 891211 h 6557032"/>
              <a:gd name="connsiteX26608" fmla="*/ 417278 w 4610101"/>
              <a:gd name="connsiteY26608" fmla="*/ 891894 h 6557032"/>
              <a:gd name="connsiteX26609" fmla="*/ 402701 w 4610101"/>
              <a:gd name="connsiteY26609" fmla="*/ 880961 h 6557032"/>
              <a:gd name="connsiteX26610" fmla="*/ 406082 w 4610101"/>
              <a:gd name="connsiteY26610" fmla="*/ 886208 h 6557032"/>
              <a:gd name="connsiteX26611" fmla="*/ 381062 w 4610101"/>
              <a:gd name="connsiteY26611" fmla="*/ 865246 h 6557032"/>
              <a:gd name="connsiteX26612" fmla="*/ 351680 w 4610101"/>
              <a:gd name="connsiteY26612" fmla="*/ 848162 h 6557032"/>
              <a:gd name="connsiteX26613" fmla="*/ 251460 w 4610101"/>
              <a:gd name="connsiteY26613" fmla="*/ 848162 h 6557032"/>
              <a:gd name="connsiteX26614" fmla="*/ 256927 w 4610101"/>
              <a:gd name="connsiteY26614" fmla="*/ 853629 h 6557032"/>
              <a:gd name="connsiteX26615" fmla="*/ 251460 w 4610101"/>
              <a:gd name="connsiteY26615" fmla="*/ 848162 h 6557032"/>
              <a:gd name="connsiteX26616" fmla="*/ 2584526 w 4610101"/>
              <a:gd name="connsiteY26616" fmla="*/ 847480 h 6557032"/>
              <a:gd name="connsiteX26617" fmla="*/ 2580199 w 4610101"/>
              <a:gd name="connsiteY26617" fmla="*/ 848162 h 6557032"/>
              <a:gd name="connsiteX26618" fmla="*/ 2585665 w 4610101"/>
              <a:gd name="connsiteY26618" fmla="*/ 853629 h 6557032"/>
              <a:gd name="connsiteX26619" fmla="*/ 2587487 w 4610101"/>
              <a:gd name="connsiteY26619" fmla="*/ 860918 h 6557032"/>
              <a:gd name="connsiteX26620" fmla="*/ 2571088 w 4610101"/>
              <a:gd name="connsiteY26620" fmla="*/ 857273 h 6557032"/>
              <a:gd name="connsiteX26621" fmla="*/ 2567443 w 4610101"/>
              <a:gd name="connsiteY26621" fmla="*/ 866384 h 6557032"/>
              <a:gd name="connsiteX26622" fmla="*/ 2589310 w 4610101"/>
              <a:gd name="connsiteY26622" fmla="*/ 862740 h 6557032"/>
              <a:gd name="connsiteX26623" fmla="*/ 2587487 w 4610101"/>
              <a:gd name="connsiteY26623" fmla="*/ 848162 h 6557032"/>
              <a:gd name="connsiteX26624" fmla="*/ 2584526 w 4610101"/>
              <a:gd name="connsiteY26624" fmla="*/ 847480 h 6557032"/>
              <a:gd name="connsiteX26625" fmla="*/ 1349320 w 4610101"/>
              <a:gd name="connsiteY26625" fmla="*/ 847480 h 6557032"/>
              <a:gd name="connsiteX26626" fmla="*/ 1342942 w 4610101"/>
              <a:gd name="connsiteY26626" fmla="*/ 853629 h 6557032"/>
              <a:gd name="connsiteX26627" fmla="*/ 1355698 w 4610101"/>
              <a:gd name="connsiteY26627" fmla="*/ 848162 h 6557032"/>
              <a:gd name="connsiteX26628" fmla="*/ 1349320 w 4610101"/>
              <a:gd name="connsiteY26628" fmla="*/ 847480 h 6557032"/>
              <a:gd name="connsiteX26629" fmla="*/ 1362987 w 4610101"/>
              <a:gd name="connsiteY26629" fmla="*/ 846340 h 6557032"/>
              <a:gd name="connsiteX26630" fmla="*/ 1365207 w 4610101"/>
              <a:gd name="connsiteY26630" fmla="*/ 847365 h 6557032"/>
              <a:gd name="connsiteX26631" fmla="*/ 1364809 w 4610101"/>
              <a:gd name="connsiteY26631" fmla="*/ 848162 h 6557032"/>
              <a:gd name="connsiteX26632" fmla="*/ 1362529 w 4610101"/>
              <a:gd name="connsiteY26632" fmla="*/ 846643 h 6557032"/>
              <a:gd name="connsiteX26633" fmla="*/ 1193525 w 4610101"/>
              <a:gd name="connsiteY26633" fmla="*/ 846340 h 6557032"/>
              <a:gd name="connsiteX26634" fmla="*/ 1200814 w 4610101"/>
              <a:gd name="connsiteY26634" fmla="*/ 851807 h 6557032"/>
              <a:gd name="connsiteX26635" fmla="*/ 1222679 w 4610101"/>
              <a:gd name="connsiteY26635" fmla="*/ 855451 h 6557032"/>
              <a:gd name="connsiteX26636" fmla="*/ 1220858 w 4610101"/>
              <a:gd name="connsiteY26636" fmla="*/ 853629 h 6557032"/>
              <a:gd name="connsiteX26637" fmla="*/ 1229969 w 4610101"/>
              <a:gd name="connsiteY26637" fmla="*/ 853629 h 6557032"/>
              <a:gd name="connsiteX26638" fmla="*/ 1222679 w 4610101"/>
              <a:gd name="connsiteY26638" fmla="*/ 848162 h 6557032"/>
              <a:gd name="connsiteX26639" fmla="*/ 1220858 w 4610101"/>
              <a:gd name="connsiteY26639" fmla="*/ 853629 h 6557032"/>
              <a:gd name="connsiteX26640" fmla="*/ 1193525 w 4610101"/>
              <a:gd name="connsiteY26640" fmla="*/ 846340 h 6557032"/>
              <a:gd name="connsiteX26641" fmla="*/ 1002196 w 4610101"/>
              <a:gd name="connsiteY26641" fmla="*/ 846340 h 6557032"/>
              <a:gd name="connsiteX26642" fmla="*/ 1011307 w 4610101"/>
              <a:gd name="connsiteY26642" fmla="*/ 853629 h 6557032"/>
              <a:gd name="connsiteX26643" fmla="*/ 1011307 w 4610101"/>
              <a:gd name="connsiteY26643" fmla="*/ 849985 h 6557032"/>
              <a:gd name="connsiteX26644" fmla="*/ 1013129 w 4610101"/>
              <a:gd name="connsiteY26644" fmla="*/ 853629 h 6557032"/>
              <a:gd name="connsiteX26645" fmla="*/ 1016774 w 4610101"/>
              <a:gd name="connsiteY26645" fmla="*/ 853629 h 6557032"/>
              <a:gd name="connsiteX26646" fmla="*/ 1002196 w 4610101"/>
              <a:gd name="connsiteY26646" fmla="*/ 846340 h 6557032"/>
              <a:gd name="connsiteX26647" fmla="*/ 971219 w 4610101"/>
              <a:gd name="connsiteY26647" fmla="*/ 846340 h 6557032"/>
              <a:gd name="connsiteX26648" fmla="*/ 967575 w 4610101"/>
              <a:gd name="connsiteY26648" fmla="*/ 849985 h 6557032"/>
              <a:gd name="connsiteX26649" fmla="*/ 973041 w 4610101"/>
              <a:gd name="connsiteY26649" fmla="*/ 851807 h 6557032"/>
              <a:gd name="connsiteX26650" fmla="*/ 971219 w 4610101"/>
              <a:gd name="connsiteY26650" fmla="*/ 846340 h 6557032"/>
              <a:gd name="connsiteX26651" fmla="*/ 834556 w 4610101"/>
              <a:gd name="connsiteY26651" fmla="*/ 846340 h 6557032"/>
              <a:gd name="connsiteX26652" fmla="*/ 825445 w 4610101"/>
              <a:gd name="connsiteY26652" fmla="*/ 848162 h 6557032"/>
              <a:gd name="connsiteX26653" fmla="*/ 834556 w 4610101"/>
              <a:gd name="connsiteY26653" fmla="*/ 846340 h 6557032"/>
              <a:gd name="connsiteX26654" fmla="*/ 772602 w 4610101"/>
              <a:gd name="connsiteY26654" fmla="*/ 846340 h 6557032"/>
              <a:gd name="connsiteX26655" fmla="*/ 779892 w 4610101"/>
              <a:gd name="connsiteY26655" fmla="*/ 853629 h 6557032"/>
              <a:gd name="connsiteX26656" fmla="*/ 779892 w 4610101"/>
              <a:gd name="connsiteY26656" fmla="*/ 848162 h 6557032"/>
              <a:gd name="connsiteX26657" fmla="*/ 772602 w 4610101"/>
              <a:gd name="connsiteY26657" fmla="*/ 846340 h 6557032"/>
              <a:gd name="connsiteX26658" fmla="*/ 768959 w 4610101"/>
              <a:gd name="connsiteY26658" fmla="*/ 846340 h 6557032"/>
              <a:gd name="connsiteX26659" fmla="*/ 768959 w 4610101"/>
              <a:gd name="connsiteY26659" fmla="*/ 855451 h 6557032"/>
              <a:gd name="connsiteX26660" fmla="*/ 774424 w 4610101"/>
              <a:gd name="connsiteY26660" fmla="*/ 855451 h 6557032"/>
              <a:gd name="connsiteX26661" fmla="*/ 768959 w 4610101"/>
              <a:gd name="connsiteY26661" fmla="*/ 846340 h 6557032"/>
              <a:gd name="connsiteX26662" fmla="*/ 761670 w 4610101"/>
              <a:gd name="connsiteY26662" fmla="*/ 846340 h 6557032"/>
              <a:gd name="connsiteX26663" fmla="*/ 765313 w 4610101"/>
              <a:gd name="connsiteY26663" fmla="*/ 848162 h 6557032"/>
              <a:gd name="connsiteX26664" fmla="*/ 761670 w 4610101"/>
              <a:gd name="connsiteY26664" fmla="*/ 846340 h 6557032"/>
              <a:gd name="connsiteX26665" fmla="*/ 373546 w 4610101"/>
              <a:gd name="connsiteY26665" fmla="*/ 846340 h 6557032"/>
              <a:gd name="connsiteX26666" fmla="*/ 408167 w 4610101"/>
              <a:gd name="connsiteY26666" fmla="*/ 871851 h 6557032"/>
              <a:gd name="connsiteX26667" fmla="*/ 373546 w 4610101"/>
              <a:gd name="connsiteY26667" fmla="*/ 846340 h 6557032"/>
              <a:gd name="connsiteX26668" fmla="*/ 194973 w 4610101"/>
              <a:gd name="connsiteY26668" fmla="*/ 846340 h 6557032"/>
              <a:gd name="connsiteX26669" fmla="*/ 202262 w 4610101"/>
              <a:gd name="connsiteY26669" fmla="*/ 851807 h 6557032"/>
              <a:gd name="connsiteX26670" fmla="*/ 203173 w 4610101"/>
              <a:gd name="connsiteY26670" fmla="*/ 850896 h 6557032"/>
              <a:gd name="connsiteX26671" fmla="*/ 204084 w 4610101"/>
              <a:gd name="connsiteY26671" fmla="*/ 849985 h 6557032"/>
              <a:gd name="connsiteX26672" fmla="*/ 194973 w 4610101"/>
              <a:gd name="connsiteY26672" fmla="*/ 846340 h 6557032"/>
              <a:gd name="connsiteX26673" fmla="*/ 150048 w 4610101"/>
              <a:gd name="connsiteY26673" fmla="*/ 846063 h 6557032"/>
              <a:gd name="connsiteX26674" fmla="*/ 154658 w 4610101"/>
              <a:gd name="connsiteY26674" fmla="*/ 852491 h 6557032"/>
              <a:gd name="connsiteX26675" fmla="*/ 163996 w 4610101"/>
              <a:gd name="connsiteY26675" fmla="*/ 879139 h 6557032"/>
              <a:gd name="connsiteX26676" fmla="*/ 158788 w 4610101"/>
              <a:gd name="connsiteY26676" fmla="*/ 869926 h 6557032"/>
              <a:gd name="connsiteX26677" fmla="*/ 156479 w 4610101"/>
              <a:gd name="connsiteY26677" fmla="*/ 863196 h 6557032"/>
              <a:gd name="connsiteX26678" fmla="*/ 2153810 w 4610101"/>
              <a:gd name="connsiteY26678" fmla="*/ 844671 h 6557032"/>
              <a:gd name="connsiteX26679" fmla="*/ 2155061 w 4610101"/>
              <a:gd name="connsiteY26679" fmla="*/ 848318 h 6557032"/>
              <a:gd name="connsiteX26680" fmla="*/ 2153810 w 4610101"/>
              <a:gd name="connsiteY26680" fmla="*/ 849985 h 6557032"/>
              <a:gd name="connsiteX26681" fmla="*/ 2638508 w 4610101"/>
              <a:gd name="connsiteY26681" fmla="*/ 844518 h 6557032"/>
              <a:gd name="connsiteX26682" fmla="*/ 2633042 w 4610101"/>
              <a:gd name="connsiteY26682" fmla="*/ 855451 h 6557032"/>
              <a:gd name="connsiteX26683" fmla="*/ 2645797 w 4610101"/>
              <a:gd name="connsiteY26683" fmla="*/ 853629 h 6557032"/>
              <a:gd name="connsiteX26684" fmla="*/ 2643975 w 4610101"/>
              <a:gd name="connsiteY26684" fmla="*/ 844518 h 6557032"/>
              <a:gd name="connsiteX26685" fmla="*/ 2640330 w 4610101"/>
              <a:gd name="connsiteY26685" fmla="*/ 851807 h 6557032"/>
              <a:gd name="connsiteX26686" fmla="*/ 2638508 w 4610101"/>
              <a:gd name="connsiteY26686" fmla="*/ 844518 h 6557032"/>
              <a:gd name="connsiteX26687" fmla="*/ 2418025 w 4610101"/>
              <a:gd name="connsiteY26687" fmla="*/ 844518 h 6557032"/>
              <a:gd name="connsiteX26688" fmla="*/ 2412559 w 4610101"/>
              <a:gd name="connsiteY26688" fmla="*/ 849985 h 6557032"/>
              <a:gd name="connsiteX26689" fmla="*/ 2419847 w 4610101"/>
              <a:gd name="connsiteY26689" fmla="*/ 849985 h 6557032"/>
              <a:gd name="connsiteX26690" fmla="*/ 2153810 w 4610101"/>
              <a:gd name="connsiteY26690" fmla="*/ 844518 h 6557032"/>
              <a:gd name="connsiteX26691" fmla="*/ 2155860 w 4610101"/>
              <a:gd name="connsiteY26691" fmla="*/ 847252 h 6557032"/>
              <a:gd name="connsiteX26692" fmla="*/ 2155450 w 4610101"/>
              <a:gd name="connsiteY26692" fmla="*/ 847798 h 6557032"/>
              <a:gd name="connsiteX26693" fmla="*/ 1220858 w 4610101"/>
              <a:gd name="connsiteY26693" fmla="*/ 844518 h 6557032"/>
              <a:gd name="connsiteX26694" fmla="*/ 1211747 w 4610101"/>
              <a:gd name="connsiteY26694" fmla="*/ 846340 h 6557032"/>
              <a:gd name="connsiteX26695" fmla="*/ 1220858 w 4610101"/>
              <a:gd name="connsiteY26695" fmla="*/ 844518 h 6557032"/>
              <a:gd name="connsiteX26696" fmla="*/ 1155259 w 4610101"/>
              <a:gd name="connsiteY26696" fmla="*/ 844518 h 6557032"/>
              <a:gd name="connsiteX26697" fmla="*/ 1171658 w 4610101"/>
              <a:gd name="connsiteY26697" fmla="*/ 853629 h 6557032"/>
              <a:gd name="connsiteX26698" fmla="*/ 1175303 w 4610101"/>
              <a:gd name="connsiteY26698" fmla="*/ 859095 h 6557032"/>
              <a:gd name="connsiteX26699" fmla="*/ 1171658 w 4610101"/>
              <a:gd name="connsiteY26699" fmla="*/ 853629 h 6557032"/>
              <a:gd name="connsiteX26700" fmla="*/ 1160725 w 4610101"/>
              <a:gd name="connsiteY26700" fmla="*/ 844518 h 6557032"/>
              <a:gd name="connsiteX26701" fmla="*/ 688782 w 4610101"/>
              <a:gd name="connsiteY26701" fmla="*/ 844518 h 6557032"/>
              <a:gd name="connsiteX26702" fmla="*/ 683316 w 4610101"/>
              <a:gd name="connsiteY26702" fmla="*/ 849985 h 6557032"/>
              <a:gd name="connsiteX26703" fmla="*/ 688782 w 4610101"/>
              <a:gd name="connsiteY26703" fmla="*/ 844518 h 6557032"/>
              <a:gd name="connsiteX26704" fmla="*/ 632296 w 4610101"/>
              <a:gd name="connsiteY26704" fmla="*/ 844518 h 6557032"/>
              <a:gd name="connsiteX26705" fmla="*/ 637761 w 4610101"/>
              <a:gd name="connsiteY26705" fmla="*/ 851807 h 6557032"/>
              <a:gd name="connsiteX26706" fmla="*/ 632296 w 4610101"/>
              <a:gd name="connsiteY26706" fmla="*/ 844518 h 6557032"/>
              <a:gd name="connsiteX26707" fmla="*/ 610429 w 4610101"/>
              <a:gd name="connsiteY26707" fmla="*/ 844518 h 6557032"/>
              <a:gd name="connsiteX26708" fmla="*/ 630472 w 4610101"/>
              <a:gd name="connsiteY26708" fmla="*/ 862740 h 6557032"/>
              <a:gd name="connsiteX26709" fmla="*/ 623185 w 4610101"/>
              <a:gd name="connsiteY26709" fmla="*/ 853629 h 6557032"/>
              <a:gd name="connsiteX26710" fmla="*/ 625006 w 4610101"/>
              <a:gd name="connsiteY26710" fmla="*/ 849985 h 6557032"/>
              <a:gd name="connsiteX26711" fmla="*/ 610429 w 4610101"/>
              <a:gd name="connsiteY26711" fmla="*/ 844518 h 6557032"/>
              <a:gd name="connsiteX26712" fmla="*/ 608606 w 4610101"/>
              <a:gd name="connsiteY26712" fmla="*/ 844518 h 6557032"/>
              <a:gd name="connsiteX26713" fmla="*/ 612251 w 4610101"/>
              <a:gd name="connsiteY26713" fmla="*/ 859095 h 6557032"/>
              <a:gd name="connsiteX26714" fmla="*/ 612251 w 4610101"/>
              <a:gd name="connsiteY26714" fmla="*/ 855451 h 6557032"/>
              <a:gd name="connsiteX26715" fmla="*/ 615895 w 4610101"/>
              <a:gd name="connsiteY26715" fmla="*/ 857273 h 6557032"/>
              <a:gd name="connsiteX26716" fmla="*/ 614074 w 4610101"/>
              <a:gd name="connsiteY26716" fmla="*/ 859095 h 6557032"/>
              <a:gd name="connsiteX26717" fmla="*/ 617717 w 4610101"/>
              <a:gd name="connsiteY26717" fmla="*/ 862740 h 6557032"/>
              <a:gd name="connsiteX26718" fmla="*/ 608606 w 4610101"/>
              <a:gd name="connsiteY26718" fmla="*/ 844518 h 6557032"/>
              <a:gd name="connsiteX26719" fmla="*/ 504743 w 4610101"/>
              <a:gd name="connsiteY26719" fmla="*/ 844518 h 6557032"/>
              <a:gd name="connsiteX26720" fmla="*/ 510209 w 4610101"/>
              <a:gd name="connsiteY26720" fmla="*/ 846340 h 6557032"/>
              <a:gd name="connsiteX26721" fmla="*/ 504743 w 4610101"/>
              <a:gd name="connsiteY26721" fmla="*/ 844518 h 6557032"/>
              <a:gd name="connsiteX26722" fmla="*/ 703587 w 4610101"/>
              <a:gd name="connsiteY26722" fmla="*/ 844291 h 6557032"/>
              <a:gd name="connsiteX26723" fmla="*/ 701537 w 4610101"/>
              <a:gd name="connsiteY26723" fmla="*/ 848162 h 6557032"/>
              <a:gd name="connsiteX26724" fmla="*/ 707004 w 4610101"/>
              <a:gd name="connsiteY26724" fmla="*/ 844518 h 6557032"/>
              <a:gd name="connsiteX26725" fmla="*/ 703587 w 4610101"/>
              <a:gd name="connsiteY26725" fmla="*/ 844291 h 6557032"/>
              <a:gd name="connsiteX26726" fmla="*/ 1314441 w 4610101"/>
              <a:gd name="connsiteY26726" fmla="*/ 844224 h 6557032"/>
              <a:gd name="connsiteX26727" fmla="*/ 1317660 w 4610101"/>
              <a:gd name="connsiteY26727" fmla="*/ 846341 h 6557032"/>
              <a:gd name="connsiteX26728" fmla="*/ 1335654 w 4610101"/>
              <a:gd name="connsiteY26728" fmla="*/ 851807 h 6557032"/>
              <a:gd name="connsiteX26729" fmla="*/ 1332010 w 4610101"/>
              <a:gd name="connsiteY26729" fmla="*/ 853629 h 6557032"/>
              <a:gd name="connsiteX26730" fmla="*/ 1317432 w 4610101"/>
              <a:gd name="connsiteY26730" fmla="*/ 849985 h 6557032"/>
              <a:gd name="connsiteX26731" fmla="*/ 1313788 w 4610101"/>
              <a:gd name="connsiteY26731" fmla="*/ 844518 h 6557032"/>
              <a:gd name="connsiteX26732" fmla="*/ 499418 w 4610101"/>
              <a:gd name="connsiteY26732" fmla="*/ 843209 h 6557032"/>
              <a:gd name="connsiteX26733" fmla="*/ 508387 w 4610101"/>
              <a:gd name="connsiteY26733" fmla="*/ 859095 h 6557032"/>
              <a:gd name="connsiteX26734" fmla="*/ 501098 w 4610101"/>
              <a:gd name="connsiteY26734" fmla="*/ 846340 h 6557032"/>
              <a:gd name="connsiteX26735" fmla="*/ 499418 w 4610101"/>
              <a:gd name="connsiteY26735" fmla="*/ 843209 h 6557032"/>
              <a:gd name="connsiteX26736" fmla="*/ 2452647 w 4610101"/>
              <a:gd name="connsiteY26736" fmla="*/ 842696 h 6557032"/>
              <a:gd name="connsiteX26737" fmla="*/ 2430780 w 4610101"/>
              <a:gd name="connsiteY26737" fmla="*/ 855451 h 6557032"/>
              <a:gd name="connsiteX26738" fmla="*/ 2428958 w 4610101"/>
              <a:gd name="connsiteY26738" fmla="*/ 849985 h 6557032"/>
              <a:gd name="connsiteX26739" fmla="*/ 2425314 w 4610101"/>
              <a:gd name="connsiteY26739" fmla="*/ 853629 h 6557032"/>
              <a:gd name="connsiteX26740" fmla="*/ 2428958 w 4610101"/>
              <a:gd name="connsiteY26740" fmla="*/ 857273 h 6557032"/>
              <a:gd name="connsiteX26741" fmla="*/ 2428958 w 4610101"/>
              <a:gd name="connsiteY26741" fmla="*/ 915583 h 6557032"/>
              <a:gd name="connsiteX26742" fmla="*/ 2449002 w 4610101"/>
              <a:gd name="connsiteY26742" fmla="*/ 884606 h 6557032"/>
              <a:gd name="connsiteX26743" fmla="*/ 2445358 w 4610101"/>
              <a:gd name="connsiteY26743" fmla="*/ 888250 h 6557032"/>
              <a:gd name="connsiteX26744" fmla="*/ 2447180 w 4610101"/>
              <a:gd name="connsiteY26744" fmla="*/ 873673 h 6557032"/>
              <a:gd name="connsiteX26745" fmla="*/ 2458113 w 4610101"/>
              <a:gd name="connsiteY26745" fmla="*/ 857273 h 6557032"/>
              <a:gd name="connsiteX26746" fmla="*/ 2458113 w 4610101"/>
              <a:gd name="connsiteY26746" fmla="*/ 870028 h 6557032"/>
              <a:gd name="connsiteX26747" fmla="*/ 2463580 w 4610101"/>
              <a:gd name="connsiteY26747" fmla="*/ 870028 h 6557032"/>
              <a:gd name="connsiteX26748" fmla="*/ 2452647 w 4610101"/>
              <a:gd name="connsiteY26748" fmla="*/ 842696 h 6557032"/>
              <a:gd name="connsiteX26749" fmla="*/ 2377937 w 4610101"/>
              <a:gd name="connsiteY26749" fmla="*/ 842696 h 6557032"/>
              <a:gd name="connsiteX26750" fmla="*/ 2379760 w 4610101"/>
              <a:gd name="connsiteY26750" fmla="*/ 848162 h 6557032"/>
              <a:gd name="connsiteX26751" fmla="*/ 2376115 w 4610101"/>
              <a:gd name="connsiteY26751" fmla="*/ 848162 h 6557032"/>
              <a:gd name="connsiteX26752" fmla="*/ 2376115 w 4610101"/>
              <a:gd name="connsiteY26752" fmla="*/ 859095 h 6557032"/>
              <a:gd name="connsiteX26753" fmla="*/ 2377937 w 4610101"/>
              <a:gd name="connsiteY26753" fmla="*/ 842696 h 6557032"/>
              <a:gd name="connsiteX26754" fmla="*/ 969397 w 4610101"/>
              <a:gd name="connsiteY26754" fmla="*/ 842696 h 6557032"/>
              <a:gd name="connsiteX26755" fmla="*/ 960286 w 4610101"/>
              <a:gd name="connsiteY26755" fmla="*/ 844518 h 6557032"/>
              <a:gd name="connsiteX26756" fmla="*/ 969397 w 4610101"/>
              <a:gd name="connsiteY26756" fmla="*/ 842696 h 6557032"/>
              <a:gd name="connsiteX26757" fmla="*/ 655983 w 4610101"/>
              <a:gd name="connsiteY26757" fmla="*/ 842696 h 6557032"/>
              <a:gd name="connsiteX26758" fmla="*/ 652339 w 4610101"/>
              <a:gd name="connsiteY26758" fmla="*/ 846340 h 6557032"/>
              <a:gd name="connsiteX26759" fmla="*/ 661449 w 4610101"/>
              <a:gd name="connsiteY26759" fmla="*/ 849985 h 6557032"/>
              <a:gd name="connsiteX26760" fmla="*/ 655983 w 4610101"/>
              <a:gd name="connsiteY26760" fmla="*/ 842696 h 6557032"/>
              <a:gd name="connsiteX26761" fmla="*/ 586741 w 4610101"/>
              <a:gd name="connsiteY26761" fmla="*/ 842696 h 6557032"/>
              <a:gd name="connsiteX26762" fmla="*/ 588562 w 4610101"/>
              <a:gd name="connsiteY26762" fmla="*/ 848162 h 6557032"/>
              <a:gd name="connsiteX26763" fmla="*/ 586741 w 4610101"/>
              <a:gd name="connsiteY26763" fmla="*/ 842696 h 6557032"/>
              <a:gd name="connsiteX26764" fmla="*/ 564874 w 4610101"/>
              <a:gd name="connsiteY26764" fmla="*/ 842696 h 6557032"/>
              <a:gd name="connsiteX26765" fmla="*/ 561230 w 4610101"/>
              <a:gd name="connsiteY26765" fmla="*/ 844518 h 6557032"/>
              <a:gd name="connsiteX26766" fmla="*/ 564874 w 4610101"/>
              <a:gd name="connsiteY26766" fmla="*/ 848162 h 6557032"/>
              <a:gd name="connsiteX26767" fmla="*/ 564874 w 4610101"/>
              <a:gd name="connsiteY26767" fmla="*/ 842696 h 6557032"/>
              <a:gd name="connsiteX26768" fmla="*/ 464655 w 4610101"/>
              <a:gd name="connsiteY26768" fmla="*/ 842696 h 6557032"/>
              <a:gd name="connsiteX26769" fmla="*/ 470121 w 4610101"/>
              <a:gd name="connsiteY26769" fmla="*/ 846340 h 6557032"/>
              <a:gd name="connsiteX26770" fmla="*/ 464655 w 4610101"/>
              <a:gd name="connsiteY26770" fmla="*/ 842696 h 6557032"/>
              <a:gd name="connsiteX26771" fmla="*/ 1141364 w 4610101"/>
              <a:gd name="connsiteY26771" fmla="*/ 841558 h 6557032"/>
              <a:gd name="connsiteX26772" fmla="*/ 1116993 w 4610101"/>
              <a:gd name="connsiteY26772" fmla="*/ 849985 h 6557032"/>
              <a:gd name="connsiteX26773" fmla="*/ 1095127 w 4610101"/>
              <a:gd name="connsiteY26773" fmla="*/ 860918 h 6557032"/>
              <a:gd name="connsiteX26774" fmla="*/ 1091484 w 4610101"/>
              <a:gd name="connsiteY26774" fmla="*/ 860918 h 6557032"/>
              <a:gd name="connsiteX26775" fmla="*/ 1102416 w 4610101"/>
              <a:gd name="connsiteY26775" fmla="*/ 864562 h 6557032"/>
              <a:gd name="connsiteX26776" fmla="*/ 1095127 w 4610101"/>
              <a:gd name="connsiteY26776" fmla="*/ 862740 h 6557032"/>
              <a:gd name="connsiteX26777" fmla="*/ 1093305 w 4610101"/>
              <a:gd name="connsiteY26777" fmla="*/ 868206 h 6557032"/>
              <a:gd name="connsiteX26778" fmla="*/ 1098771 w 4610101"/>
              <a:gd name="connsiteY26778" fmla="*/ 868206 h 6557032"/>
              <a:gd name="connsiteX26779" fmla="*/ 1091484 w 4610101"/>
              <a:gd name="connsiteY26779" fmla="*/ 871851 h 6557032"/>
              <a:gd name="connsiteX26780" fmla="*/ 1091484 w 4610101"/>
              <a:gd name="connsiteY26780" fmla="*/ 886428 h 6557032"/>
              <a:gd name="connsiteX26781" fmla="*/ 1093305 w 4610101"/>
              <a:gd name="connsiteY26781" fmla="*/ 882784 h 6557032"/>
              <a:gd name="connsiteX26782" fmla="*/ 1086016 w 4610101"/>
              <a:gd name="connsiteY26782" fmla="*/ 897361 h 6557032"/>
              <a:gd name="connsiteX26783" fmla="*/ 1082373 w 4610101"/>
              <a:gd name="connsiteY26783" fmla="*/ 897361 h 6557032"/>
              <a:gd name="connsiteX26784" fmla="*/ 1078727 w 4610101"/>
              <a:gd name="connsiteY26784" fmla="*/ 902827 h 6557032"/>
              <a:gd name="connsiteX26785" fmla="*/ 1087838 w 4610101"/>
              <a:gd name="connsiteY26785" fmla="*/ 902827 h 6557032"/>
              <a:gd name="connsiteX26786" fmla="*/ 1098771 w 4610101"/>
              <a:gd name="connsiteY26786" fmla="*/ 901005 h 6557032"/>
              <a:gd name="connsiteX26787" fmla="*/ 1100593 w 4610101"/>
              <a:gd name="connsiteY26787" fmla="*/ 902827 h 6557032"/>
              <a:gd name="connsiteX26788" fmla="*/ 1106060 w 4610101"/>
              <a:gd name="connsiteY26788" fmla="*/ 901005 h 6557032"/>
              <a:gd name="connsiteX26789" fmla="*/ 1100593 w 4610101"/>
              <a:gd name="connsiteY26789" fmla="*/ 864562 h 6557032"/>
              <a:gd name="connsiteX26790" fmla="*/ 1106060 w 4610101"/>
              <a:gd name="connsiteY26790" fmla="*/ 870028 h 6557032"/>
              <a:gd name="connsiteX26791" fmla="*/ 1106060 w 4610101"/>
              <a:gd name="connsiteY26791" fmla="*/ 860918 h 6557032"/>
              <a:gd name="connsiteX26792" fmla="*/ 1111526 w 4610101"/>
              <a:gd name="connsiteY26792" fmla="*/ 891894 h 6557032"/>
              <a:gd name="connsiteX26793" fmla="*/ 1115171 w 4610101"/>
              <a:gd name="connsiteY26793" fmla="*/ 888250 h 6557032"/>
              <a:gd name="connsiteX26794" fmla="*/ 1109704 w 4610101"/>
              <a:gd name="connsiteY26794" fmla="*/ 901005 h 6557032"/>
              <a:gd name="connsiteX26795" fmla="*/ 1115108 w 4610101"/>
              <a:gd name="connsiteY26795" fmla="*/ 896528 h 6557032"/>
              <a:gd name="connsiteX26796" fmla="*/ 1111526 w 4610101"/>
              <a:gd name="connsiteY26796" fmla="*/ 901005 h 6557032"/>
              <a:gd name="connsiteX26797" fmla="*/ 1120637 w 4610101"/>
              <a:gd name="connsiteY26797" fmla="*/ 904651 h 6557032"/>
              <a:gd name="connsiteX26798" fmla="*/ 1118953 w 4610101"/>
              <a:gd name="connsiteY26798" fmla="*/ 892860 h 6557032"/>
              <a:gd name="connsiteX26799" fmla="*/ 1124282 w 4610101"/>
              <a:gd name="connsiteY26799" fmla="*/ 886428 h 6557032"/>
              <a:gd name="connsiteX26800" fmla="*/ 1124282 w 4610101"/>
              <a:gd name="connsiteY26800" fmla="*/ 891894 h 6557032"/>
              <a:gd name="connsiteX26801" fmla="*/ 1127926 w 4610101"/>
              <a:gd name="connsiteY26801" fmla="*/ 891894 h 6557032"/>
              <a:gd name="connsiteX26802" fmla="*/ 1131570 w 4610101"/>
              <a:gd name="connsiteY26802" fmla="*/ 911939 h 6557032"/>
              <a:gd name="connsiteX26803" fmla="*/ 1146148 w 4610101"/>
              <a:gd name="connsiteY26803" fmla="*/ 893717 h 6557032"/>
              <a:gd name="connsiteX26804" fmla="*/ 1155259 w 4610101"/>
              <a:gd name="connsiteY26804" fmla="*/ 884606 h 6557032"/>
              <a:gd name="connsiteX26805" fmla="*/ 1144326 w 4610101"/>
              <a:gd name="connsiteY26805" fmla="*/ 906473 h 6557032"/>
              <a:gd name="connsiteX26806" fmla="*/ 1160725 w 4610101"/>
              <a:gd name="connsiteY26806" fmla="*/ 871851 h 6557032"/>
              <a:gd name="connsiteX26807" fmla="*/ 1164370 w 4610101"/>
              <a:gd name="connsiteY26807" fmla="*/ 873673 h 6557032"/>
              <a:gd name="connsiteX26808" fmla="*/ 1166192 w 4610101"/>
              <a:gd name="connsiteY26808" fmla="*/ 870028 h 6557032"/>
              <a:gd name="connsiteX26809" fmla="*/ 1162547 w 4610101"/>
              <a:gd name="connsiteY26809" fmla="*/ 899183 h 6557032"/>
              <a:gd name="connsiteX26810" fmla="*/ 1173481 w 4610101"/>
              <a:gd name="connsiteY26810" fmla="*/ 868206 h 6557032"/>
              <a:gd name="connsiteX26811" fmla="*/ 1175530 w 4610101"/>
              <a:gd name="connsiteY26811" fmla="*/ 866157 h 6557032"/>
              <a:gd name="connsiteX26812" fmla="*/ 1175965 w 4610101"/>
              <a:gd name="connsiteY26812" fmla="*/ 865721 h 6557032"/>
              <a:gd name="connsiteX26813" fmla="*/ 1172342 w 4610101"/>
              <a:gd name="connsiteY26813" fmla="*/ 880734 h 6557032"/>
              <a:gd name="connsiteX26814" fmla="*/ 1166192 w 4610101"/>
              <a:gd name="connsiteY26814" fmla="*/ 899183 h 6557032"/>
              <a:gd name="connsiteX26815" fmla="*/ 1182592 w 4610101"/>
              <a:gd name="connsiteY26815" fmla="*/ 893717 h 6557032"/>
              <a:gd name="connsiteX26816" fmla="*/ 1180769 w 4610101"/>
              <a:gd name="connsiteY26816" fmla="*/ 888250 h 6557032"/>
              <a:gd name="connsiteX26817" fmla="*/ 1184414 w 4610101"/>
              <a:gd name="connsiteY26817" fmla="*/ 891894 h 6557032"/>
              <a:gd name="connsiteX26818" fmla="*/ 1189880 w 4610101"/>
              <a:gd name="connsiteY26818" fmla="*/ 882784 h 6557032"/>
              <a:gd name="connsiteX26819" fmla="*/ 1191703 w 4610101"/>
              <a:gd name="connsiteY26819" fmla="*/ 886428 h 6557032"/>
              <a:gd name="connsiteX26820" fmla="*/ 1195346 w 4610101"/>
              <a:gd name="connsiteY26820" fmla="*/ 882784 h 6557032"/>
              <a:gd name="connsiteX26821" fmla="*/ 1195346 w 4610101"/>
              <a:gd name="connsiteY26821" fmla="*/ 890072 h 6557032"/>
              <a:gd name="connsiteX26822" fmla="*/ 1193525 w 4610101"/>
              <a:gd name="connsiteY26822" fmla="*/ 888250 h 6557032"/>
              <a:gd name="connsiteX26823" fmla="*/ 1194891 w 4610101"/>
              <a:gd name="connsiteY26823" fmla="*/ 899183 h 6557032"/>
              <a:gd name="connsiteX26824" fmla="*/ 1194618 w 4610101"/>
              <a:gd name="connsiteY26824" fmla="*/ 901370 h 6557032"/>
              <a:gd name="connsiteX26825" fmla="*/ 1189880 w 4610101"/>
              <a:gd name="connsiteY26825" fmla="*/ 891894 h 6557032"/>
              <a:gd name="connsiteX26826" fmla="*/ 1188058 w 4610101"/>
              <a:gd name="connsiteY26826" fmla="*/ 897361 h 6557032"/>
              <a:gd name="connsiteX26827" fmla="*/ 1162547 w 4610101"/>
              <a:gd name="connsiteY26827" fmla="*/ 902827 h 6557032"/>
              <a:gd name="connsiteX26828" fmla="*/ 1146148 w 4610101"/>
              <a:gd name="connsiteY26828" fmla="*/ 922872 h 6557032"/>
              <a:gd name="connsiteX26829" fmla="*/ 1180769 w 4610101"/>
              <a:gd name="connsiteY26829" fmla="*/ 915583 h 6557032"/>
              <a:gd name="connsiteX26830" fmla="*/ 1188058 w 4610101"/>
              <a:gd name="connsiteY26830" fmla="*/ 913305 h 6557032"/>
              <a:gd name="connsiteX26831" fmla="*/ 1194236 w 4610101"/>
              <a:gd name="connsiteY26831" fmla="*/ 904423 h 6557032"/>
              <a:gd name="connsiteX26832" fmla="*/ 1193525 w 4610101"/>
              <a:gd name="connsiteY26832" fmla="*/ 910117 h 6557032"/>
              <a:gd name="connsiteX26833" fmla="*/ 1206279 w 4610101"/>
              <a:gd name="connsiteY26833" fmla="*/ 902827 h 6557032"/>
              <a:gd name="connsiteX26834" fmla="*/ 1200814 w 4610101"/>
              <a:gd name="connsiteY26834" fmla="*/ 897361 h 6557032"/>
              <a:gd name="connsiteX26835" fmla="*/ 1206279 w 4610101"/>
              <a:gd name="connsiteY26835" fmla="*/ 901005 h 6557032"/>
              <a:gd name="connsiteX26836" fmla="*/ 1204457 w 4610101"/>
              <a:gd name="connsiteY26836" fmla="*/ 897361 h 6557032"/>
              <a:gd name="connsiteX26837" fmla="*/ 1211747 w 4610101"/>
              <a:gd name="connsiteY26837" fmla="*/ 904651 h 6557032"/>
              <a:gd name="connsiteX26838" fmla="*/ 1217213 w 4610101"/>
              <a:gd name="connsiteY26838" fmla="*/ 895539 h 6557032"/>
              <a:gd name="connsiteX26839" fmla="*/ 1211747 w 4610101"/>
              <a:gd name="connsiteY26839" fmla="*/ 890072 h 6557032"/>
              <a:gd name="connsiteX26840" fmla="*/ 1217213 w 4610101"/>
              <a:gd name="connsiteY26840" fmla="*/ 893717 h 6557032"/>
              <a:gd name="connsiteX26841" fmla="*/ 1224501 w 4610101"/>
              <a:gd name="connsiteY26841" fmla="*/ 890072 h 6557032"/>
              <a:gd name="connsiteX26842" fmla="*/ 1213568 w 4610101"/>
              <a:gd name="connsiteY26842" fmla="*/ 906473 h 6557032"/>
              <a:gd name="connsiteX26843" fmla="*/ 1229969 w 4610101"/>
              <a:gd name="connsiteY26843" fmla="*/ 904651 h 6557032"/>
              <a:gd name="connsiteX26844" fmla="*/ 1228146 w 4610101"/>
              <a:gd name="connsiteY26844" fmla="*/ 901005 h 6557032"/>
              <a:gd name="connsiteX26845" fmla="*/ 1231790 w 4610101"/>
              <a:gd name="connsiteY26845" fmla="*/ 904651 h 6557032"/>
              <a:gd name="connsiteX26846" fmla="*/ 1239080 w 4610101"/>
              <a:gd name="connsiteY26846" fmla="*/ 902827 h 6557032"/>
              <a:gd name="connsiteX26847" fmla="*/ 1239080 w 4610101"/>
              <a:gd name="connsiteY26847" fmla="*/ 897361 h 6557032"/>
              <a:gd name="connsiteX26848" fmla="*/ 1242723 w 4610101"/>
              <a:gd name="connsiteY26848" fmla="*/ 897361 h 6557032"/>
              <a:gd name="connsiteX26849" fmla="*/ 1240901 w 4610101"/>
              <a:gd name="connsiteY26849" fmla="*/ 901005 h 6557032"/>
              <a:gd name="connsiteX26850" fmla="*/ 1248189 w 4610101"/>
              <a:gd name="connsiteY26850" fmla="*/ 899183 h 6557032"/>
              <a:gd name="connsiteX26851" fmla="*/ 1250012 w 4610101"/>
              <a:gd name="connsiteY26851" fmla="*/ 893717 h 6557032"/>
              <a:gd name="connsiteX26852" fmla="*/ 1251834 w 4610101"/>
              <a:gd name="connsiteY26852" fmla="*/ 899183 h 6557032"/>
              <a:gd name="connsiteX26853" fmla="*/ 1259806 w 4610101"/>
              <a:gd name="connsiteY26853" fmla="*/ 894400 h 6557032"/>
              <a:gd name="connsiteX26854" fmla="*/ 1265830 w 4610101"/>
              <a:gd name="connsiteY26854" fmla="*/ 883808 h 6557032"/>
              <a:gd name="connsiteX26855" fmla="*/ 1266411 w 4610101"/>
              <a:gd name="connsiteY26855" fmla="*/ 886428 h 6557032"/>
              <a:gd name="connsiteX26856" fmla="*/ 1270056 w 4610101"/>
              <a:gd name="connsiteY26856" fmla="*/ 873673 h 6557032"/>
              <a:gd name="connsiteX26857" fmla="*/ 1262767 w 4610101"/>
              <a:gd name="connsiteY26857" fmla="*/ 870028 h 6557032"/>
              <a:gd name="connsiteX26858" fmla="*/ 1264782 w 4610101"/>
              <a:gd name="connsiteY26858" fmla="*/ 879098 h 6557032"/>
              <a:gd name="connsiteX26859" fmla="*/ 1262631 w 4610101"/>
              <a:gd name="connsiteY26859" fmla="*/ 874230 h 6557032"/>
              <a:gd name="connsiteX26860" fmla="*/ 1262083 w 4610101"/>
              <a:gd name="connsiteY26860" fmla="*/ 869118 h 6557032"/>
              <a:gd name="connsiteX26861" fmla="*/ 1257300 w 4610101"/>
              <a:gd name="connsiteY26861" fmla="*/ 868207 h 6557032"/>
              <a:gd name="connsiteX26862" fmla="*/ 1255478 w 4610101"/>
              <a:gd name="connsiteY26862" fmla="*/ 866384 h 6557032"/>
              <a:gd name="connsiteX26863" fmla="*/ 1259123 w 4610101"/>
              <a:gd name="connsiteY26863" fmla="*/ 868206 h 6557032"/>
              <a:gd name="connsiteX26864" fmla="*/ 1257300 w 4610101"/>
              <a:gd name="connsiteY26864" fmla="*/ 864562 h 6557032"/>
              <a:gd name="connsiteX26865" fmla="*/ 1255478 w 4610101"/>
              <a:gd name="connsiteY26865" fmla="*/ 866384 h 6557032"/>
              <a:gd name="connsiteX26866" fmla="*/ 1253656 w 4610101"/>
              <a:gd name="connsiteY26866" fmla="*/ 864562 h 6557032"/>
              <a:gd name="connsiteX26867" fmla="*/ 1255478 w 4610101"/>
              <a:gd name="connsiteY26867" fmla="*/ 862740 h 6557032"/>
              <a:gd name="connsiteX26868" fmla="*/ 1250012 w 4610101"/>
              <a:gd name="connsiteY26868" fmla="*/ 859095 h 6557032"/>
              <a:gd name="connsiteX26869" fmla="*/ 1246367 w 4610101"/>
              <a:gd name="connsiteY26869" fmla="*/ 864562 h 6557032"/>
              <a:gd name="connsiteX26870" fmla="*/ 1248189 w 4610101"/>
              <a:gd name="connsiteY26870" fmla="*/ 857273 h 6557032"/>
              <a:gd name="connsiteX26871" fmla="*/ 1251834 w 4610101"/>
              <a:gd name="connsiteY26871" fmla="*/ 857273 h 6557032"/>
              <a:gd name="connsiteX26872" fmla="*/ 1251834 w 4610101"/>
              <a:gd name="connsiteY26872" fmla="*/ 855451 h 6557032"/>
              <a:gd name="connsiteX26873" fmla="*/ 1260945 w 4610101"/>
              <a:gd name="connsiteY26873" fmla="*/ 862740 h 6557032"/>
              <a:gd name="connsiteX26874" fmla="*/ 1260433 w 4610101"/>
              <a:gd name="connsiteY26874" fmla="*/ 861825 h 6557032"/>
              <a:gd name="connsiteX26875" fmla="*/ 1262084 w 4610101"/>
              <a:gd name="connsiteY26875" fmla="*/ 862968 h 6557032"/>
              <a:gd name="connsiteX26876" fmla="*/ 1260945 w 4610101"/>
              <a:gd name="connsiteY26876" fmla="*/ 866384 h 6557032"/>
              <a:gd name="connsiteX26877" fmla="*/ 1268233 w 4610101"/>
              <a:gd name="connsiteY26877" fmla="*/ 870028 h 6557032"/>
              <a:gd name="connsiteX26878" fmla="*/ 1265045 w 4610101"/>
              <a:gd name="connsiteY26878" fmla="*/ 862057 h 6557032"/>
              <a:gd name="connsiteX26879" fmla="*/ 1260021 w 4610101"/>
              <a:gd name="connsiteY26879" fmla="*/ 861091 h 6557032"/>
              <a:gd name="connsiteX26880" fmla="*/ 1257756 w 4610101"/>
              <a:gd name="connsiteY26880" fmla="*/ 857046 h 6557032"/>
              <a:gd name="connsiteX26881" fmla="*/ 1251834 w 4610101"/>
              <a:gd name="connsiteY26881" fmla="*/ 855451 h 6557032"/>
              <a:gd name="connsiteX26882" fmla="*/ 1251834 w 4610101"/>
              <a:gd name="connsiteY26882" fmla="*/ 853629 h 6557032"/>
              <a:gd name="connsiteX26883" fmla="*/ 1215390 w 4610101"/>
              <a:gd name="connsiteY26883" fmla="*/ 860918 h 6557032"/>
              <a:gd name="connsiteX26884" fmla="*/ 1224501 w 4610101"/>
              <a:gd name="connsiteY26884" fmla="*/ 860918 h 6557032"/>
              <a:gd name="connsiteX26885" fmla="*/ 1215390 w 4610101"/>
              <a:gd name="connsiteY26885" fmla="*/ 866384 h 6557032"/>
              <a:gd name="connsiteX26886" fmla="*/ 1217213 w 4610101"/>
              <a:gd name="connsiteY26886" fmla="*/ 868206 h 6557032"/>
              <a:gd name="connsiteX26887" fmla="*/ 1193525 w 4610101"/>
              <a:gd name="connsiteY26887" fmla="*/ 851807 h 6557032"/>
              <a:gd name="connsiteX26888" fmla="*/ 1189272 w 4610101"/>
              <a:gd name="connsiteY26888" fmla="*/ 853224 h 6557032"/>
              <a:gd name="connsiteX26889" fmla="*/ 1184414 w 4610101"/>
              <a:gd name="connsiteY26889" fmla="*/ 849985 h 6557032"/>
              <a:gd name="connsiteX26890" fmla="*/ 1173481 w 4610101"/>
              <a:gd name="connsiteY26890" fmla="*/ 842696 h 6557032"/>
              <a:gd name="connsiteX26891" fmla="*/ 1173481 w 4610101"/>
              <a:gd name="connsiteY26891" fmla="*/ 848162 h 6557032"/>
              <a:gd name="connsiteX26892" fmla="*/ 1177125 w 4610101"/>
              <a:gd name="connsiteY26892" fmla="*/ 849985 h 6557032"/>
              <a:gd name="connsiteX26893" fmla="*/ 1178947 w 4610101"/>
              <a:gd name="connsiteY26893" fmla="*/ 848162 h 6557032"/>
              <a:gd name="connsiteX26894" fmla="*/ 1180769 w 4610101"/>
              <a:gd name="connsiteY26894" fmla="*/ 851807 h 6557032"/>
              <a:gd name="connsiteX26895" fmla="*/ 1183189 w 4610101"/>
              <a:gd name="connsiteY26895" fmla="*/ 851063 h 6557032"/>
              <a:gd name="connsiteX26896" fmla="*/ 1183730 w 4610101"/>
              <a:gd name="connsiteY26896" fmla="*/ 852035 h 6557032"/>
              <a:gd name="connsiteX26897" fmla="*/ 1185520 w 4610101"/>
              <a:gd name="connsiteY26897" fmla="*/ 854475 h 6557032"/>
              <a:gd name="connsiteX26898" fmla="*/ 1182592 w 4610101"/>
              <a:gd name="connsiteY26898" fmla="*/ 855451 h 6557032"/>
              <a:gd name="connsiteX26899" fmla="*/ 1177125 w 4610101"/>
              <a:gd name="connsiteY26899" fmla="*/ 860918 h 6557032"/>
              <a:gd name="connsiteX26900" fmla="*/ 1177044 w 4610101"/>
              <a:gd name="connsiteY26900" fmla="*/ 861255 h 6557032"/>
              <a:gd name="connsiteX26901" fmla="*/ 1169608 w 4610101"/>
              <a:gd name="connsiteY26901" fmla="*/ 855452 h 6557032"/>
              <a:gd name="connsiteX26902" fmla="*/ 1158903 w 4610101"/>
              <a:gd name="connsiteY26902" fmla="*/ 853629 h 6557032"/>
              <a:gd name="connsiteX26903" fmla="*/ 1157081 w 4610101"/>
              <a:gd name="connsiteY26903" fmla="*/ 879139 h 6557032"/>
              <a:gd name="connsiteX26904" fmla="*/ 1158903 w 4610101"/>
              <a:gd name="connsiteY26904" fmla="*/ 870028 h 6557032"/>
              <a:gd name="connsiteX26905" fmla="*/ 1162547 w 4610101"/>
              <a:gd name="connsiteY26905" fmla="*/ 868206 h 6557032"/>
              <a:gd name="connsiteX26906" fmla="*/ 1157081 w 4610101"/>
              <a:gd name="connsiteY26906" fmla="*/ 855451 h 6557032"/>
              <a:gd name="connsiteX26907" fmla="*/ 1153436 w 4610101"/>
              <a:gd name="connsiteY26907" fmla="*/ 857273 h 6557032"/>
              <a:gd name="connsiteX26908" fmla="*/ 1151614 w 4610101"/>
              <a:gd name="connsiteY26908" fmla="*/ 853629 h 6557032"/>
              <a:gd name="connsiteX26909" fmla="*/ 1153436 w 4610101"/>
              <a:gd name="connsiteY26909" fmla="*/ 853629 h 6557032"/>
              <a:gd name="connsiteX26910" fmla="*/ 1141364 w 4610101"/>
              <a:gd name="connsiteY26910" fmla="*/ 841558 h 6557032"/>
              <a:gd name="connsiteX26911" fmla="*/ 1246367 w 4610101"/>
              <a:gd name="connsiteY26911" fmla="*/ 840874 h 6557032"/>
              <a:gd name="connsiteX26912" fmla="*/ 1250012 w 4610101"/>
              <a:gd name="connsiteY26912" fmla="*/ 842696 h 6557032"/>
              <a:gd name="connsiteX26913" fmla="*/ 1246783 w 4610101"/>
              <a:gd name="connsiteY26913" fmla="*/ 844310 h 6557032"/>
              <a:gd name="connsiteX26914" fmla="*/ 825445 w 4610101"/>
              <a:gd name="connsiteY26914" fmla="*/ 840874 h 6557032"/>
              <a:gd name="connsiteX26915" fmla="*/ 821801 w 4610101"/>
              <a:gd name="connsiteY26915" fmla="*/ 844518 h 6557032"/>
              <a:gd name="connsiteX26916" fmla="*/ 830912 w 4610101"/>
              <a:gd name="connsiteY26916" fmla="*/ 842696 h 6557032"/>
              <a:gd name="connsiteX26917" fmla="*/ 825445 w 4610101"/>
              <a:gd name="connsiteY26917" fmla="*/ 840874 h 6557032"/>
              <a:gd name="connsiteX26918" fmla="*/ 457367 w 4610101"/>
              <a:gd name="connsiteY26918" fmla="*/ 840874 h 6557032"/>
              <a:gd name="connsiteX26919" fmla="*/ 455544 w 4610101"/>
              <a:gd name="connsiteY26919" fmla="*/ 842696 h 6557032"/>
              <a:gd name="connsiteX26920" fmla="*/ 466478 w 4610101"/>
              <a:gd name="connsiteY26920" fmla="*/ 849985 h 6557032"/>
              <a:gd name="connsiteX26921" fmla="*/ 457367 w 4610101"/>
              <a:gd name="connsiteY26921" fmla="*/ 840874 h 6557032"/>
              <a:gd name="connsiteX26922" fmla="*/ 422745 w 4610101"/>
              <a:gd name="connsiteY26922" fmla="*/ 840874 h 6557032"/>
              <a:gd name="connsiteX26923" fmla="*/ 428211 w 4610101"/>
              <a:gd name="connsiteY26923" fmla="*/ 844518 h 6557032"/>
              <a:gd name="connsiteX26924" fmla="*/ 422745 w 4610101"/>
              <a:gd name="connsiteY26924" fmla="*/ 840874 h 6557032"/>
              <a:gd name="connsiteX26925" fmla="*/ 340747 w 4610101"/>
              <a:gd name="connsiteY26925" fmla="*/ 840874 h 6557032"/>
              <a:gd name="connsiteX26926" fmla="*/ 353502 w 4610101"/>
              <a:gd name="connsiteY26926" fmla="*/ 877317 h 6557032"/>
              <a:gd name="connsiteX26927" fmla="*/ 340747 w 4610101"/>
              <a:gd name="connsiteY26927" fmla="*/ 840874 h 6557032"/>
              <a:gd name="connsiteX26928" fmla="*/ 1478695 w 4610101"/>
              <a:gd name="connsiteY26928" fmla="*/ 840874 h 6557032"/>
              <a:gd name="connsiteX26929" fmla="*/ 1475961 w 4610101"/>
              <a:gd name="connsiteY26929" fmla="*/ 844518 h 6557032"/>
              <a:gd name="connsiteX26930" fmla="*/ 1477784 w 4610101"/>
              <a:gd name="connsiteY26930" fmla="*/ 842696 h 6557032"/>
              <a:gd name="connsiteX26931" fmla="*/ 1481428 w 4610101"/>
              <a:gd name="connsiteY26931" fmla="*/ 842696 h 6557032"/>
              <a:gd name="connsiteX26932" fmla="*/ 1478695 w 4610101"/>
              <a:gd name="connsiteY26932" fmla="*/ 840874 h 6557032"/>
              <a:gd name="connsiteX26933" fmla="*/ 268999 w 4610101"/>
              <a:gd name="connsiteY26933" fmla="*/ 840874 h 6557032"/>
              <a:gd name="connsiteX26934" fmla="*/ 267860 w 4610101"/>
              <a:gd name="connsiteY26934" fmla="*/ 840874 h 6557032"/>
              <a:gd name="connsiteX26935" fmla="*/ 275149 w 4610101"/>
              <a:gd name="connsiteY26935" fmla="*/ 846340 h 6557032"/>
              <a:gd name="connsiteX26936" fmla="*/ 271504 w 4610101"/>
              <a:gd name="connsiteY26936" fmla="*/ 840874 h 6557032"/>
              <a:gd name="connsiteX26937" fmla="*/ 268999 w 4610101"/>
              <a:gd name="connsiteY26937" fmla="*/ 840874 h 6557032"/>
              <a:gd name="connsiteX26938" fmla="*/ 1270388 w 4610101"/>
              <a:gd name="connsiteY26938" fmla="*/ 840044 h 6557032"/>
              <a:gd name="connsiteX26939" fmla="*/ 1270056 w 4610101"/>
              <a:gd name="connsiteY26939" fmla="*/ 840874 h 6557032"/>
              <a:gd name="connsiteX26940" fmla="*/ 1270056 w 4610101"/>
              <a:gd name="connsiteY26940" fmla="*/ 840509 h 6557032"/>
              <a:gd name="connsiteX26941" fmla="*/ 1169153 w 4610101"/>
              <a:gd name="connsiteY26941" fmla="*/ 839508 h 6557032"/>
              <a:gd name="connsiteX26942" fmla="*/ 1162547 w 4610101"/>
              <a:gd name="connsiteY26942" fmla="*/ 840874 h 6557032"/>
              <a:gd name="connsiteX26943" fmla="*/ 1171658 w 4610101"/>
              <a:gd name="connsiteY26943" fmla="*/ 846340 h 6557032"/>
              <a:gd name="connsiteX26944" fmla="*/ 1169153 w 4610101"/>
              <a:gd name="connsiteY26944" fmla="*/ 839508 h 6557032"/>
              <a:gd name="connsiteX26945" fmla="*/ 3245292 w 4610101"/>
              <a:gd name="connsiteY26945" fmla="*/ 839051 h 6557032"/>
              <a:gd name="connsiteX26946" fmla="*/ 3243470 w 4610101"/>
              <a:gd name="connsiteY26946" fmla="*/ 842696 h 6557032"/>
              <a:gd name="connsiteX26947" fmla="*/ 3250759 w 4610101"/>
              <a:gd name="connsiteY26947" fmla="*/ 842696 h 6557032"/>
              <a:gd name="connsiteX26948" fmla="*/ 3245292 w 4610101"/>
              <a:gd name="connsiteY26948" fmla="*/ 839051 h 6557032"/>
              <a:gd name="connsiteX26949" fmla="*/ 1257300 w 4610101"/>
              <a:gd name="connsiteY26949" fmla="*/ 839051 h 6557032"/>
              <a:gd name="connsiteX26950" fmla="*/ 1251834 w 4610101"/>
              <a:gd name="connsiteY26950" fmla="*/ 846340 h 6557032"/>
              <a:gd name="connsiteX26951" fmla="*/ 1257300 w 4610101"/>
              <a:gd name="connsiteY26951" fmla="*/ 839051 h 6557032"/>
              <a:gd name="connsiteX26952" fmla="*/ 1209925 w 4610101"/>
              <a:gd name="connsiteY26952" fmla="*/ 839051 h 6557032"/>
              <a:gd name="connsiteX26953" fmla="*/ 1219036 w 4610101"/>
              <a:gd name="connsiteY26953" fmla="*/ 844518 h 6557032"/>
              <a:gd name="connsiteX26954" fmla="*/ 1229969 w 4610101"/>
              <a:gd name="connsiteY26954" fmla="*/ 842696 h 6557032"/>
              <a:gd name="connsiteX26955" fmla="*/ 1228146 w 4610101"/>
              <a:gd name="connsiteY26955" fmla="*/ 846340 h 6557032"/>
              <a:gd name="connsiteX26956" fmla="*/ 1239080 w 4610101"/>
              <a:gd name="connsiteY26956" fmla="*/ 848162 h 6557032"/>
              <a:gd name="connsiteX26957" fmla="*/ 1229969 w 4610101"/>
              <a:gd name="connsiteY26957" fmla="*/ 842696 h 6557032"/>
              <a:gd name="connsiteX26958" fmla="*/ 1209925 w 4610101"/>
              <a:gd name="connsiteY26958" fmla="*/ 839051 h 6557032"/>
              <a:gd name="connsiteX26959" fmla="*/ 1200814 w 4610101"/>
              <a:gd name="connsiteY26959" fmla="*/ 839051 h 6557032"/>
              <a:gd name="connsiteX26960" fmla="*/ 1215390 w 4610101"/>
              <a:gd name="connsiteY26960" fmla="*/ 842696 h 6557032"/>
              <a:gd name="connsiteX26961" fmla="*/ 1200814 w 4610101"/>
              <a:gd name="connsiteY26961" fmla="*/ 839051 h 6557032"/>
              <a:gd name="connsiteX26962" fmla="*/ 1013129 w 4610101"/>
              <a:gd name="connsiteY26962" fmla="*/ 839051 h 6557032"/>
              <a:gd name="connsiteX26963" fmla="*/ 1007663 w 4610101"/>
              <a:gd name="connsiteY26963" fmla="*/ 840874 h 6557032"/>
              <a:gd name="connsiteX26964" fmla="*/ 1014951 w 4610101"/>
              <a:gd name="connsiteY26964" fmla="*/ 846340 h 6557032"/>
              <a:gd name="connsiteX26965" fmla="*/ 1013129 w 4610101"/>
              <a:gd name="connsiteY26965" fmla="*/ 839051 h 6557032"/>
              <a:gd name="connsiteX26966" fmla="*/ 971219 w 4610101"/>
              <a:gd name="connsiteY26966" fmla="*/ 839051 h 6557032"/>
              <a:gd name="connsiteX26967" fmla="*/ 976686 w 4610101"/>
              <a:gd name="connsiteY26967" fmla="*/ 848162 h 6557032"/>
              <a:gd name="connsiteX26968" fmla="*/ 978508 w 4610101"/>
              <a:gd name="connsiteY26968" fmla="*/ 844518 h 6557032"/>
              <a:gd name="connsiteX26969" fmla="*/ 976686 w 4610101"/>
              <a:gd name="connsiteY26969" fmla="*/ 840874 h 6557032"/>
              <a:gd name="connsiteX26970" fmla="*/ 982152 w 4610101"/>
              <a:gd name="connsiteY26970" fmla="*/ 842696 h 6557032"/>
              <a:gd name="connsiteX26971" fmla="*/ 971219 w 4610101"/>
              <a:gd name="connsiteY26971" fmla="*/ 839051 h 6557032"/>
              <a:gd name="connsiteX26972" fmla="*/ 894688 w 4610101"/>
              <a:gd name="connsiteY26972" fmla="*/ 839051 h 6557032"/>
              <a:gd name="connsiteX26973" fmla="*/ 889222 w 4610101"/>
              <a:gd name="connsiteY26973" fmla="*/ 842696 h 6557032"/>
              <a:gd name="connsiteX26974" fmla="*/ 900154 w 4610101"/>
              <a:gd name="connsiteY26974" fmla="*/ 846340 h 6557032"/>
              <a:gd name="connsiteX26975" fmla="*/ 894688 w 4610101"/>
              <a:gd name="connsiteY26975" fmla="*/ 839051 h 6557032"/>
              <a:gd name="connsiteX26976" fmla="*/ 889222 w 4610101"/>
              <a:gd name="connsiteY26976" fmla="*/ 839051 h 6557032"/>
              <a:gd name="connsiteX26977" fmla="*/ 883755 w 4610101"/>
              <a:gd name="connsiteY26977" fmla="*/ 842696 h 6557032"/>
              <a:gd name="connsiteX26978" fmla="*/ 889222 w 4610101"/>
              <a:gd name="connsiteY26978" fmla="*/ 839051 h 6557032"/>
              <a:gd name="connsiteX26979" fmla="*/ 204084 w 4610101"/>
              <a:gd name="connsiteY26979" fmla="*/ 839051 h 6557032"/>
              <a:gd name="connsiteX26980" fmla="*/ 215017 w 4610101"/>
              <a:gd name="connsiteY26980" fmla="*/ 846340 h 6557032"/>
              <a:gd name="connsiteX26981" fmla="*/ 204084 w 4610101"/>
              <a:gd name="connsiteY26981" fmla="*/ 839051 h 6557032"/>
              <a:gd name="connsiteX26982" fmla="*/ 173107 w 4610101"/>
              <a:gd name="connsiteY26982" fmla="*/ 839051 h 6557032"/>
              <a:gd name="connsiteX26983" fmla="*/ 185862 w 4610101"/>
              <a:gd name="connsiteY26983" fmla="*/ 848162 h 6557032"/>
              <a:gd name="connsiteX26984" fmla="*/ 173107 w 4610101"/>
              <a:gd name="connsiteY26984" fmla="*/ 839051 h 6557032"/>
              <a:gd name="connsiteX26985" fmla="*/ 1298032 w 4610101"/>
              <a:gd name="connsiteY26985" fmla="*/ 838409 h 6557032"/>
              <a:gd name="connsiteX26986" fmla="*/ 1299210 w 4610101"/>
              <a:gd name="connsiteY26986" fmla="*/ 839051 h 6557032"/>
              <a:gd name="connsiteX26987" fmla="*/ 1291923 w 4610101"/>
              <a:gd name="connsiteY26987" fmla="*/ 844518 h 6557032"/>
              <a:gd name="connsiteX26988" fmla="*/ 1353876 w 4610101"/>
              <a:gd name="connsiteY26988" fmla="*/ 837229 h 6557032"/>
              <a:gd name="connsiteX26989" fmla="*/ 1357521 w 4610101"/>
              <a:gd name="connsiteY26989" fmla="*/ 839051 h 6557032"/>
              <a:gd name="connsiteX26990" fmla="*/ 1353876 w 4610101"/>
              <a:gd name="connsiteY26990" fmla="*/ 837229 h 6557032"/>
              <a:gd name="connsiteX26991" fmla="*/ 1198991 w 4610101"/>
              <a:gd name="connsiteY26991" fmla="*/ 837229 h 6557032"/>
              <a:gd name="connsiteX26992" fmla="*/ 1197169 w 4610101"/>
              <a:gd name="connsiteY26992" fmla="*/ 840874 h 6557032"/>
              <a:gd name="connsiteX26993" fmla="*/ 1206279 w 4610101"/>
              <a:gd name="connsiteY26993" fmla="*/ 842696 h 6557032"/>
              <a:gd name="connsiteX26994" fmla="*/ 1198991 w 4610101"/>
              <a:gd name="connsiteY26994" fmla="*/ 837229 h 6557032"/>
              <a:gd name="connsiteX26995" fmla="*/ 1175303 w 4610101"/>
              <a:gd name="connsiteY26995" fmla="*/ 837229 h 6557032"/>
              <a:gd name="connsiteX26996" fmla="*/ 1191703 w 4610101"/>
              <a:gd name="connsiteY26996" fmla="*/ 844518 h 6557032"/>
              <a:gd name="connsiteX26997" fmla="*/ 1195346 w 4610101"/>
              <a:gd name="connsiteY26997" fmla="*/ 839051 h 6557032"/>
              <a:gd name="connsiteX26998" fmla="*/ 1175303 w 4610101"/>
              <a:gd name="connsiteY26998" fmla="*/ 837229 h 6557032"/>
              <a:gd name="connsiteX26999" fmla="*/ 1014951 w 4610101"/>
              <a:gd name="connsiteY26999" fmla="*/ 837229 h 6557032"/>
              <a:gd name="connsiteX27000" fmla="*/ 1016774 w 4610101"/>
              <a:gd name="connsiteY27000" fmla="*/ 846340 h 6557032"/>
              <a:gd name="connsiteX27001" fmla="*/ 1014951 w 4610101"/>
              <a:gd name="connsiteY27001" fmla="*/ 837229 h 6557032"/>
              <a:gd name="connsiteX27002" fmla="*/ 876466 w 4610101"/>
              <a:gd name="connsiteY27002" fmla="*/ 837229 h 6557032"/>
              <a:gd name="connsiteX27003" fmla="*/ 878288 w 4610101"/>
              <a:gd name="connsiteY27003" fmla="*/ 839051 h 6557032"/>
              <a:gd name="connsiteX27004" fmla="*/ 876466 w 4610101"/>
              <a:gd name="connsiteY27004" fmla="*/ 837229 h 6557032"/>
              <a:gd name="connsiteX27005" fmla="*/ 581274 w 4610101"/>
              <a:gd name="connsiteY27005" fmla="*/ 837229 h 6557032"/>
              <a:gd name="connsiteX27006" fmla="*/ 583096 w 4610101"/>
              <a:gd name="connsiteY27006" fmla="*/ 842696 h 6557032"/>
              <a:gd name="connsiteX27007" fmla="*/ 581274 w 4610101"/>
              <a:gd name="connsiteY27007" fmla="*/ 837229 h 6557032"/>
              <a:gd name="connsiteX27008" fmla="*/ 553941 w 4610101"/>
              <a:gd name="connsiteY27008" fmla="*/ 837229 h 6557032"/>
              <a:gd name="connsiteX27009" fmla="*/ 544830 w 4610101"/>
              <a:gd name="connsiteY27009" fmla="*/ 842696 h 6557032"/>
              <a:gd name="connsiteX27010" fmla="*/ 557586 w 4610101"/>
              <a:gd name="connsiteY27010" fmla="*/ 844518 h 6557032"/>
              <a:gd name="connsiteX27011" fmla="*/ 553941 w 4610101"/>
              <a:gd name="connsiteY27011" fmla="*/ 837229 h 6557032"/>
              <a:gd name="connsiteX27012" fmla="*/ 486521 w 4610101"/>
              <a:gd name="connsiteY27012" fmla="*/ 837229 h 6557032"/>
              <a:gd name="connsiteX27013" fmla="*/ 493809 w 4610101"/>
              <a:gd name="connsiteY27013" fmla="*/ 848162 h 6557032"/>
              <a:gd name="connsiteX27014" fmla="*/ 495632 w 4610101"/>
              <a:gd name="connsiteY27014" fmla="*/ 842696 h 6557032"/>
              <a:gd name="connsiteX27015" fmla="*/ 486521 w 4610101"/>
              <a:gd name="connsiteY27015" fmla="*/ 837229 h 6557032"/>
              <a:gd name="connsiteX27016" fmla="*/ 238705 w 4610101"/>
              <a:gd name="connsiteY27016" fmla="*/ 837229 h 6557032"/>
              <a:gd name="connsiteX27017" fmla="*/ 245994 w 4610101"/>
              <a:gd name="connsiteY27017" fmla="*/ 844518 h 6557032"/>
              <a:gd name="connsiteX27018" fmla="*/ 238705 w 4610101"/>
              <a:gd name="connsiteY27018" fmla="*/ 837229 h 6557032"/>
              <a:gd name="connsiteX27019" fmla="*/ 140308 w 4610101"/>
              <a:gd name="connsiteY27019" fmla="*/ 837229 h 6557032"/>
              <a:gd name="connsiteX27020" fmla="*/ 158788 w 4610101"/>
              <a:gd name="connsiteY27020" fmla="*/ 869926 h 6557032"/>
              <a:gd name="connsiteX27021" fmla="*/ 160989 w 4610101"/>
              <a:gd name="connsiteY27021" fmla="*/ 876339 h 6557032"/>
              <a:gd name="connsiteX27022" fmla="*/ 152380 w 4610101"/>
              <a:gd name="connsiteY27022" fmla="*/ 861601 h 6557032"/>
              <a:gd name="connsiteX27023" fmla="*/ 140308 w 4610101"/>
              <a:gd name="connsiteY27023" fmla="*/ 837229 h 6557032"/>
              <a:gd name="connsiteX27024" fmla="*/ 1303231 w 4610101"/>
              <a:gd name="connsiteY27024" fmla="*/ 836853 h 6557032"/>
              <a:gd name="connsiteX27025" fmla="*/ 1306818 w 4610101"/>
              <a:gd name="connsiteY27025" fmla="*/ 839212 h 6557032"/>
              <a:gd name="connsiteX27026" fmla="*/ 1302855 w 4610101"/>
              <a:gd name="connsiteY27026" fmla="*/ 837229 h 6557032"/>
              <a:gd name="connsiteX27027" fmla="*/ 750737 w 4610101"/>
              <a:gd name="connsiteY27027" fmla="*/ 836546 h 6557032"/>
              <a:gd name="connsiteX27028" fmla="*/ 743447 w 4610101"/>
              <a:gd name="connsiteY27028" fmla="*/ 839051 h 6557032"/>
              <a:gd name="connsiteX27029" fmla="*/ 752558 w 4610101"/>
              <a:gd name="connsiteY27029" fmla="*/ 840874 h 6557032"/>
              <a:gd name="connsiteX27030" fmla="*/ 750737 w 4610101"/>
              <a:gd name="connsiteY27030" fmla="*/ 836546 h 6557032"/>
              <a:gd name="connsiteX27031" fmla="*/ 787230 w 4610101"/>
              <a:gd name="connsiteY27031" fmla="*/ 835986 h 6557032"/>
              <a:gd name="connsiteX27032" fmla="*/ 791257 w 4610101"/>
              <a:gd name="connsiteY27032" fmla="*/ 837229 h 6557032"/>
              <a:gd name="connsiteX27033" fmla="*/ 788319 w 4610101"/>
              <a:gd name="connsiteY27033" fmla="*/ 837229 h 6557032"/>
              <a:gd name="connsiteX27034" fmla="*/ 3203382 w 4610101"/>
              <a:gd name="connsiteY27034" fmla="*/ 835407 h 6557032"/>
              <a:gd name="connsiteX27035" fmla="*/ 3207027 w 4610101"/>
              <a:gd name="connsiteY27035" fmla="*/ 846340 h 6557032"/>
              <a:gd name="connsiteX27036" fmla="*/ 3207027 w 4610101"/>
              <a:gd name="connsiteY27036" fmla="*/ 837229 h 6557032"/>
              <a:gd name="connsiteX27037" fmla="*/ 3203382 w 4610101"/>
              <a:gd name="connsiteY27037" fmla="*/ 835407 h 6557032"/>
              <a:gd name="connsiteX27038" fmla="*/ 1301033 w 4610101"/>
              <a:gd name="connsiteY27038" fmla="*/ 835407 h 6557032"/>
              <a:gd name="connsiteX27039" fmla="*/ 1301877 w 4610101"/>
              <a:gd name="connsiteY27039" fmla="*/ 835963 h 6557032"/>
              <a:gd name="connsiteX27040" fmla="*/ 1301033 w 4610101"/>
              <a:gd name="connsiteY27040" fmla="*/ 837229 h 6557032"/>
              <a:gd name="connsiteX27041" fmla="*/ 1299940 w 4610101"/>
              <a:gd name="connsiteY27041" fmla="*/ 836501 h 6557032"/>
              <a:gd name="connsiteX27042" fmla="*/ 1022240 w 4610101"/>
              <a:gd name="connsiteY27042" fmla="*/ 835407 h 6557032"/>
              <a:gd name="connsiteX27043" fmla="*/ 1022240 w 4610101"/>
              <a:gd name="connsiteY27043" fmla="*/ 839051 h 6557032"/>
              <a:gd name="connsiteX27044" fmla="*/ 1025884 w 4610101"/>
              <a:gd name="connsiteY27044" fmla="*/ 846340 h 6557032"/>
              <a:gd name="connsiteX27045" fmla="*/ 1022240 w 4610101"/>
              <a:gd name="connsiteY27045" fmla="*/ 835407 h 6557032"/>
              <a:gd name="connsiteX27046" fmla="*/ 973041 w 4610101"/>
              <a:gd name="connsiteY27046" fmla="*/ 835407 h 6557032"/>
              <a:gd name="connsiteX27047" fmla="*/ 973041 w 4610101"/>
              <a:gd name="connsiteY27047" fmla="*/ 839051 h 6557032"/>
              <a:gd name="connsiteX27048" fmla="*/ 978508 w 4610101"/>
              <a:gd name="connsiteY27048" fmla="*/ 835407 h 6557032"/>
              <a:gd name="connsiteX27049" fmla="*/ 973041 w 4610101"/>
              <a:gd name="connsiteY27049" fmla="*/ 835407 h 6557032"/>
              <a:gd name="connsiteX27050" fmla="*/ 685138 w 4610101"/>
              <a:gd name="connsiteY27050" fmla="*/ 835407 h 6557032"/>
              <a:gd name="connsiteX27051" fmla="*/ 685138 w 4610101"/>
              <a:gd name="connsiteY27051" fmla="*/ 842696 h 6557032"/>
              <a:gd name="connsiteX27052" fmla="*/ 688782 w 4610101"/>
              <a:gd name="connsiteY27052" fmla="*/ 839051 h 6557032"/>
              <a:gd name="connsiteX27053" fmla="*/ 685138 w 4610101"/>
              <a:gd name="connsiteY27053" fmla="*/ 835407 h 6557032"/>
              <a:gd name="connsiteX27054" fmla="*/ 532075 w 4610101"/>
              <a:gd name="connsiteY27054" fmla="*/ 835407 h 6557032"/>
              <a:gd name="connsiteX27055" fmla="*/ 535719 w 4610101"/>
              <a:gd name="connsiteY27055" fmla="*/ 840874 h 6557032"/>
              <a:gd name="connsiteX27056" fmla="*/ 532075 w 4610101"/>
              <a:gd name="connsiteY27056" fmla="*/ 835407 h 6557032"/>
              <a:gd name="connsiteX27057" fmla="*/ 322525 w 4610101"/>
              <a:gd name="connsiteY27057" fmla="*/ 835407 h 6557032"/>
              <a:gd name="connsiteX27058" fmla="*/ 333458 w 4610101"/>
              <a:gd name="connsiteY27058" fmla="*/ 849985 h 6557032"/>
              <a:gd name="connsiteX27059" fmla="*/ 326169 w 4610101"/>
              <a:gd name="connsiteY27059" fmla="*/ 837229 h 6557032"/>
              <a:gd name="connsiteX27060" fmla="*/ 333458 w 4610101"/>
              <a:gd name="connsiteY27060" fmla="*/ 842696 h 6557032"/>
              <a:gd name="connsiteX27061" fmla="*/ 322525 w 4610101"/>
              <a:gd name="connsiteY27061" fmla="*/ 835407 h 6557032"/>
              <a:gd name="connsiteX27062" fmla="*/ 961197 w 4610101"/>
              <a:gd name="connsiteY27062" fmla="*/ 835180 h 6557032"/>
              <a:gd name="connsiteX27063" fmla="*/ 956642 w 4610101"/>
              <a:gd name="connsiteY27063" fmla="*/ 837229 h 6557032"/>
              <a:gd name="connsiteX27064" fmla="*/ 958464 w 4610101"/>
              <a:gd name="connsiteY27064" fmla="*/ 839051 h 6557032"/>
              <a:gd name="connsiteX27065" fmla="*/ 965753 w 4610101"/>
              <a:gd name="connsiteY27065" fmla="*/ 837229 h 6557032"/>
              <a:gd name="connsiteX27066" fmla="*/ 961197 w 4610101"/>
              <a:gd name="connsiteY27066" fmla="*/ 835180 h 6557032"/>
              <a:gd name="connsiteX27067" fmla="*/ 3161472 w 4610101"/>
              <a:gd name="connsiteY27067" fmla="*/ 833585 h 6557032"/>
              <a:gd name="connsiteX27068" fmla="*/ 3156006 w 4610101"/>
              <a:gd name="connsiteY27068" fmla="*/ 846340 h 6557032"/>
              <a:gd name="connsiteX27069" fmla="*/ 3159650 w 4610101"/>
              <a:gd name="connsiteY27069" fmla="*/ 839051 h 6557032"/>
              <a:gd name="connsiteX27070" fmla="*/ 3168761 w 4610101"/>
              <a:gd name="connsiteY27070" fmla="*/ 840874 h 6557032"/>
              <a:gd name="connsiteX27071" fmla="*/ 3157828 w 4610101"/>
              <a:gd name="connsiteY27071" fmla="*/ 848162 h 6557032"/>
              <a:gd name="connsiteX27072" fmla="*/ 3177872 w 4610101"/>
              <a:gd name="connsiteY27072" fmla="*/ 857273 h 6557032"/>
              <a:gd name="connsiteX27073" fmla="*/ 3170583 w 4610101"/>
              <a:gd name="connsiteY27073" fmla="*/ 853629 h 6557032"/>
              <a:gd name="connsiteX27074" fmla="*/ 3176050 w 4610101"/>
              <a:gd name="connsiteY27074" fmla="*/ 846340 h 6557032"/>
              <a:gd name="connsiteX27075" fmla="*/ 3168761 w 4610101"/>
              <a:gd name="connsiteY27075" fmla="*/ 846340 h 6557032"/>
              <a:gd name="connsiteX27076" fmla="*/ 3161472 w 4610101"/>
              <a:gd name="connsiteY27076" fmla="*/ 833585 h 6557032"/>
              <a:gd name="connsiteX27077" fmla="*/ 3150539 w 4610101"/>
              <a:gd name="connsiteY27077" fmla="*/ 833585 h 6557032"/>
              <a:gd name="connsiteX27078" fmla="*/ 3130495 w 4610101"/>
              <a:gd name="connsiteY27078" fmla="*/ 844518 h 6557032"/>
              <a:gd name="connsiteX27079" fmla="*/ 3146895 w 4610101"/>
              <a:gd name="connsiteY27079" fmla="*/ 846340 h 6557032"/>
              <a:gd name="connsiteX27080" fmla="*/ 3150539 w 4610101"/>
              <a:gd name="connsiteY27080" fmla="*/ 837229 h 6557032"/>
              <a:gd name="connsiteX27081" fmla="*/ 3146895 w 4610101"/>
              <a:gd name="connsiteY27081" fmla="*/ 835407 h 6557032"/>
              <a:gd name="connsiteX27082" fmla="*/ 3150539 w 4610101"/>
              <a:gd name="connsiteY27082" fmla="*/ 833585 h 6557032"/>
              <a:gd name="connsiteX27083" fmla="*/ 2509134 w 4610101"/>
              <a:gd name="connsiteY27083" fmla="*/ 833585 h 6557032"/>
              <a:gd name="connsiteX27084" fmla="*/ 2505490 w 4610101"/>
              <a:gd name="connsiteY27084" fmla="*/ 849985 h 6557032"/>
              <a:gd name="connsiteX27085" fmla="*/ 2514600 w 4610101"/>
              <a:gd name="connsiteY27085" fmla="*/ 848162 h 6557032"/>
              <a:gd name="connsiteX27086" fmla="*/ 2509134 w 4610101"/>
              <a:gd name="connsiteY27086" fmla="*/ 833585 h 6557032"/>
              <a:gd name="connsiteX27087" fmla="*/ 1430407 w 4610101"/>
              <a:gd name="connsiteY27087" fmla="*/ 833585 h 6557032"/>
              <a:gd name="connsiteX27088" fmla="*/ 1415829 w 4610101"/>
              <a:gd name="connsiteY27088" fmla="*/ 847024 h 6557032"/>
              <a:gd name="connsiteX27089" fmla="*/ 1415235 w 4610101"/>
              <a:gd name="connsiteY27089" fmla="*/ 847070 h 6557032"/>
              <a:gd name="connsiteX27090" fmla="*/ 1335654 w 4610101"/>
              <a:gd name="connsiteY27090" fmla="*/ 833585 h 6557032"/>
              <a:gd name="connsiteX27091" fmla="*/ 1330188 w 4610101"/>
              <a:gd name="connsiteY27091" fmla="*/ 837229 h 6557032"/>
              <a:gd name="connsiteX27092" fmla="*/ 1344765 w 4610101"/>
              <a:gd name="connsiteY27092" fmla="*/ 840874 h 6557032"/>
              <a:gd name="connsiteX27093" fmla="*/ 1335654 w 4610101"/>
              <a:gd name="connsiteY27093" fmla="*/ 833585 h 6557032"/>
              <a:gd name="connsiteX27094" fmla="*/ 983974 w 4610101"/>
              <a:gd name="connsiteY27094" fmla="*/ 833585 h 6557032"/>
              <a:gd name="connsiteX27095" fmla="*/ 978508 w 4610101"/>
              <a:gd name="connsiteY27095" fmla="*/ 837229 h 6557032"/>
              <a:gd name="connsiteX27096" fmla="*/ 983974 w 4610101"/>
              <a:gd name="connsiteY27096" fmla="*/ 833585 h 6557032"/>
              <a:gd name="connsiteX27097" fmla="*/ 555763 w 4610101"/>
              <a:gd name="connsiteY27097" fmla="*/ 833585 h 6557032"/>
              <a:gd name="connsiteX27098" fmla="*/ 561230 w 4610101"/>
              <a:gd name="connsiteY27098" fmla="*/ 833585 h 6557032"/>
              <a:gd name="connsiteX27099" fmla="*/ 555763 w 4610101"/>
              <a:gd name="connsiteY27099" fmla="*/ 833585 h 6557032"/>
              <a:gd name="connsiteX27100" fmla="*/ 433678 w 4610101"/>
              <a:gd name="connsiteY27100" fmla="*/ 833585 h 6557032"/>
              <a:gd name="connsiteX27101" fmla="*/ 453722 w 4610101"/>
              <a:gd name="connsiteY27101" fmla="*/ 851807 h 6557032"/>
              <a:gd name="connsiteX27102" fmla="*/ 451899 w 4610101"/>
              <a:gd name="connsiteY27102" fmla="*/ 848162 h 6557032"/>
              <a:gd name="connsiteX27103" fmla="*/ 475589 w 4610101"/>
              <a:gd name="connsiteY27103" fmla="*/ 859095 h 6557032"/>
              <a:gd name="connsiteX27104" fmla="*/ 461010 w 4610101"/>
              <a:gd name="connsiteY27104" fmla="*/ 853629 h 6557032"/>
              <a:gd name="connsiteX27105" fmla="*/ 462832 w 4610101"/>
              <a:gd name="connsiteY27105" fmla="*/ 853629 h 6557032"/>
              <a:gd name="connsiteX27106" fmla="*/ 433678 w 4610101"/>
              <a:gd name="connsiteY27106" fmla="*/ 833585 h 6557032"/>
              <a:gd name="connsiteX27107" fmla="*/ 616806 w 4610101"/>
              <a:gd name="connsiteY27107" fmla="*/ 832446 h 6557032"/>
              <a:gd name="connsiteX27108" fmla="*/ 608606 w 4610101"/>
              <a:gd name="connsiteY27108" fmla="*/ 833585 h 6557032"/>
              <a:gd name="connsiteX27109" fmla="*/ 619539 w 4610101"/>
              <a:gd name="connsiteY27109" fmla="*/ 840874 h 6557032"/>
              <a:gd name="connsiteX27110" fmla="*/ 616806 w 4610101"/>
              <a:gd name="connsiteY27110" fmla="*/ 832446 h 6557032"/>
              <a:gd name="connsiteX27111" fmla="*/ 3217960 w 4610101"/>
              <a:gd name="connsiteY27111" fmla="*/ 831763 h 6557032"/>
              <a:gd name="connsiteX27112" fmla="*/ 3216137 w 4610101"/>
              <a:gd name="connsiteY27112" fmla="*/ 835407 h 6557032"/>
              <a:gd name="connsiteX27113" fmla="*/ 3207027 w 4610101"/>
              <a:gd name="connsiteY27113" fmla="*/ 835407 h 6557032"/>
              <a:gd name="connsiteX27114" fmla="*/ 3210671 w 4610101"/>
              <a:gd name="connsiteY27114" fmla="*/ 844518 h 6557032"/>
              <a:gd name="connsiteX27115" fmla="*/ 3217960 w 4610101"/>
              <a:gd name="connsiteY27115" fmla="*/ 831763 h 6557032"/>
              <a:gd name="connsiteX27116" fmla="*/ 1064151 w 4610101"/>
              <a:gd name="connsiteY27116" fmla="*/ 831763 h 6557032"/>
              <a:gd name="connsiteX27117" fmla="*/ 1056861 w 4610101"/>
              <a:gd name="connsiteY27117" fmla="*/ 837229 h 6557032"/>
              <a:gd name="connsiteX27118" fmla="*/ 1064151 w 4610101"/>
              <a:gd name="connsiteY27118" fmla="*/ 844518 h 6557032"/>
              <a:gd name="connsiteX27119" fmla="*/ 1055040 w 4610101"/>
              <a:gd name="connsiteY27119" fmla="*/ 835407 h 6557032"/>
              <a:gd name="connsiteX27120" fmla="*/ 1045929 w 4610101"/>
              <a:gd name="connsiteY27120" fmla="*/ 840874 h 6557032"/>
              <a:gd name="connsiteX27121" fmla="*/ 1049573 w 4610101"/>
              <a:gd name="connsiteY27121" fmla="*/ 842696 h 6557032"/>
              <a:gd name="connsiteX27122" fmla="*/ 1040462 w 4610101"/>
              <a:gd name="connsiteY27122" fmla="*/ 849985 h 6557032"/>
              <a:gd name="connsiteX27123" fmla="*/ 1044106 w 4610101"/>
              <a:gd name="connsiteY27123" fmla="*/ 849985 h 6557032"/>
              <a:gd name="connsiteX27124" fmla="*/ 1040462 w 4610101"/>
              <a:gd name="connsiteY27124" fmla="*/ 862740 h 6557032"/>
              <a:gd name="connsiteX27125" fmla="*/ 1044106 w 4610101"/>
              <a:gd name="connsiteY27125" fmla="*/ 859095 h 6557032"/>
              <a:gd name="connsiteX27126" fmla="*/ 1042284 w 4610101"/>
              <a:gd name="connsiteY27126" fmla="*/ 877317 h 6557032"/>
              <a:gd name="connsiteX27127" fmla="*/ 1060506 w 4610101"/>
              <a:gd name="connsiteY27127" fmla="*/ 866384 h 6557032"/>
              <a:gd name="connsiteX27128" fmla="*/ 1060506 w 4610101"/>
              <a:gd name="connsiteY27128" fmla="*/ 860918 h 6557032"/>
              <a:gd name="connsiteX27129" fmla="*/ 1064151 w 4610101"/>
              <a:gd name="connsiteY27129" fmla="*/ 844518 h 6557032"/>
              <a:gd name="connsiteX27130" fmla="*/ 1069616 w 4610101"/>
              <a:gd name="connsiteY27130" fmla="*/ 831763 h 6557032"/>
              <a:gd name="connsiteX27131" fmla="*/ 1064151 w 4610101"/>
              <a:gd name="connsiteY27131" fmla="*/ 831763 h 6557032"/>
              <a:gd name="connsiteX27132" fmla="*/ 736159 w 4610101"/>
              <a:gd name="connsiteY27132" fmla="*/ 831763 h 6557032"/>
              <a:gd name="connsiteX27133" fmla="*/ 734336 w 4610101"/>
              <a:gd name="connsiteY27133" fmla="*/ 839051 h 6557032"/>
              <a:gd name="connsiteX27134" fmla="*/ 741626 w 4610101"/>
              <a:gd name="connsiteY27134" fmla="*/ 835407 h 6557032"/>
              <a:gd name="connsiteX27135" fmla="*/ 736159 w 4610101"/>
              <a:gd name="connsiteY27135" fmla="*/ 831763 h 6557032"/>
              <a:gd name="connsiteX27136" fmla="*/ 717937 w 4610101"/>
              <a:gd name="connsiteY27136" fmla="*/ 831763 h 6557032"/>
              <a:gd name="connsiteX27137" fmla="*/ 716115 w 4610101"/>
              <a:gd name="connsiteY27137" fmla="*/ 837229 h 6557032"/>
              <a:gd name="connsiteX27138" fmla="*/ 717937 w 4610101"/>
              <a:gd name="connsiteY27138" fmla="*/ 831763 h 6557032"/>
              <a:gd name="connsiteX27139" fmla="*/ 382657 w 4610101"/>
              <a:gd name="connsiteY27139" fmla="*/ 831763 h 6557032"/>
              <a:gd name="connsiteX27140" fmla="*/ 409989 w 4610101"/>
              <a:gd name="connsiteY27140" fmla="*/ 868206 h 6557032"/>
              <a:gd name="connsiteX27141" fmla="*/ 408167 w 4610101"/>
              <a:gd name="connsiteY27141" fmla="*/ 864562 h 6557032"/>
              <a:gd name="connsiteX27142" fmla="*/ 419100 w 4610101"/>
              <a:gd name="connsiteY27142" fmla="*/ 868206 h 6557032"/>
              <a:gd name="connsiteX27143" fmla="*/ 409989 w 4610101"/>
              <a:gd name="connsiteY27143" fmla="*/ 857273 h 6557032"/>
              <a:gd name="connsiteX27144" fmla="*/ 440966 w 4610101"/>
              <a:gd name="connsiteY27144" fmla="*/ 884606 h 6557032"/>
              <a:gd name="connsiteX27145" fmla="*/ 439145 w 4610101"/>
              <a:gd name="connsiteY27145" fmla="*/ 879139 h 6557032"/>
              <a:gd name="connsiteX27146" fmla="*/ 451899 w 4610101"/>
              <a:gd name="connsiteY27146" fmla="*/ 891894 h 6557032"/>
              <a:gd name="connsiteX27147" fmla="*/ 441405 w 4610101"/>
              <a:gd name="connsiteY27147" fmla="*/ 877012 h 6557032"/>
              <a:gd name="connsiteX27148" fmla="*/ 446433 w 4610101"/>
              <a:gd name="connsiteY27148" fmla="*/ 879139 h 6557032"/>
              <a:gd name="connsiteX27149" fmla="*/ 437322 w 4610101"/>
              <a:gd name="connsiteY27149" fmla="*/ 870028 h 6557032"/>
              <a:gd name="connsiteX27150" fmla="*/ 439143 w 4610101"/>
              <a:gd name="connsiteY27150" fmla="*/ 873799 h 6557032"/>
              <a:gd name="connsiteX27151" fmla="*/ 433193 w 4610101"/>
              <a:gd name="connsiteY27151" fmla="*/ 865246 h 6557032"/>
              <a:gd name="connsiteX27152" fmla="*/ 422745 w 4610101"/>
              <a:gd name="connsiteY27152" fmla="*/ 859095 h 6557032"/>
              <a:gd name="connsiteX27153" fmla="*/ 428211 w 4610101"/>
              <a:gd name="connsiteY27153" fmla="*/ 859095 h 6557032"/>
              <a:gd name="connsiteX27154" fmla="*/ 411812 w 4610101"/>
              <a:gd name="connsiteY27154" fmla="*/ 844518 h 6557032"/>
              <a:gd name="connsiteX27155" fmla="*/ 417278 w 4610101"/>
              <a:gd name="connsiteY27155" fmla="*/ 846340 h 6557032"/>
              <a:gd name="connsiteX27156" fmla="*/ 400879 w 4610101"/>
              <a:gd name="connsiteY27156" fmla="*/ 844518 h 6557032"/>
              <a:gd name="connsiteX27157" fmla="*/ 411812 w 4610101"/>
              <a:gd name="connsiteY27157" fmla="*/ 840874 h 6557032"/>
              <a:gd name="connsiteX27158" fmla="*/ 382657 w 4610101"/>
              <a:gd name="connsiteY27158" fmla="*/ 831763 h 6557032"/>
              <a:gd name="connsiteX27159" fmla="*/ 338926 w 4610101"/>
              <a:gd name="connsiteY27159" fmla="*/ 831763 h 6557032"/>
              <a:gd name="connsiteX27160" fmla="*/ 344391 w 4610101"/>
              <a:gd name="connsiteY27160" fmla="*/ 839051 h 6557032"/>
              <a:gd name="connsiteX27161" fmla="*/ 338926 w 4610101"/>
              <a:gd name="connsiteY27161" fmla="*/ 831763 h 6557032"/>
              <a:gd name="connsiteX27162" fmla="*/ 3199738 w 4610101"/>
              <a:gd name="connsiteY27162" fmla="*/ 829941 h 6557032"/>
              <a:gd name="connsiteX27163" fmla="*/ 3199738 w 4610101"/>
              <a:gd name="connsiteY27163" fmla="*/ 835407 h 6557032"/>
              <a:gd name="connsiteX27164" fmla="*/ 3199738 w 4610101"/>
              <a:gd name="connsiteY27164" fmla="*/ 833585 h 6557032"/>
              <a:gd name="connsiteX27165" fmla="*/ 3208849 w 4610101"/>
              <a:gd name="connsiteY27165" fmla="*/ 833585 h 6557032"/>
              <a:gd name="connsiteX27166" fmla="*/ 3199738 w 4610101"/>
              <a:gd name="connsiteY27166" fmla="*/ 829941 h 6557032"/>
              <a:gd name="connsiteX27167" fmla="*/ 2337850 w 4610101"/>
              <a:gd name="connsiteY27167" fmla="*/ 829941 h 6557032"/>
              <a:gd name="connsiteX27168" fmla="*/ 2334205 w 4610101"/>
              <a:gd name="connsiteY27168" fmla="*/ 831763 h 6557032"/>
              <a:gd name="connsiteX27169" fmla="*/ 2337850 w 4610101"/>
              <a:gd name="connsiteY27169" fmla="*/ 835407 h 6557032"/>
              <a:gd name="connsiteX27170" fmla="*/ 2337850 w 4610101"/>
              <a:gd name="connsiteY27170" fmla="*/ 829941 h 6557032"/>
              <a:gd name="connsiteX27171" fmla="*/ 1109704 w 4610101"/>
              <a:gd name="connsiteY27171" fmla="*/ 829941 h 6557032"/>
              <a:gd name="connsiteX27172" fmla="*/ 1089660 w 4610101"/>
              <a:gd name="connsiteY27172" fmla="*/ 833585 h 6557032"/>
              <a:gd name="connsiteX27173" fmla="*/ 1076905 w 4610101"/>
              <a:gd name="connsiteY27173" fmla="*/ 835407 h 6557032"/>
              <a:gd name="connsiteX27174" fmla="*/ 1073262 w 4610101"/>
              <a:gd name="connsiteY27174" fmla="*/ 835407 h 6557032"/>
              <a:gd name="connsiteX27175" fmla="*/ 1067794 w 4610101"/>
              <a:gd name="connsiteY27175" fmla="*/ 846340 h 6557032"/>
              <a:gd name="connsiteX27176" fmla="*/ 1078727 w 4610101"/>
              <a:gd name="connsiteY27176" fmla="*/ 835407 h 6557032"/>
              <a:gd name="connsiteX27177" fmla="*/ 1076905 w 4610101"/>
              <a:gd name="connsiteY27177" fmla="*/ 840874 h 6557032"/>
              <a:gd name="connsiteX27178" fmla="*/ 1080549 w 4610101"/>
              <a:gd name="connsiteY27178" fmla="*/ 840874 h 6557032"/>
              <a:gd name="connsiteX27179" fmla="*/ 1065972 w 4610101"/>
              <a:gd name="connsiteY27179" fmla="*/ 848162 h 6557032"/>
              <a:gd name="connsiteX27180" fmla="*/ 1064151 w 4610101"/>
              <a:gd name="connsiteY27180" fmla="*/ 864562 h 6557032"/>
              <a:gd name="connsiteX27181" fmla="*/ 1082373 w 4610101"/>
              <a:gd name="connsiteY27181" fmla="*/ 849985 h 6557032"/>
              <a:gd name="connsiteX27182" fmla="*/ 1089660 w 4610101"/>
              <a:gd name="connsiteY27182" fmla="*/ 844518 h 6557032"/>
              <a:gd name="connsiteX27183" fmla="*/ 1109704 w 4610101"/>
              <a:gd name="connsiteY27183" fmla="*/ 829941 h 6557032"/>
              <a:gd name="connsiteX27184" fmla="*/ 1051395 w 4610101"/>
              <a:gd name="connsiteY27184" fmla="*/ 829941 h 6557032"/>
              <a:gd name="connsiteX27185" fmla="*/ 1047750 w 4610101"/>
              <a:gd name="connsiteY27185" fmla="*/ 835407 h 6557032"/>
              <a:gd name="connsiteX27186" fmla="*/ 1053217 w 4610101"/>
              <a:gd name="connsiteY27186" fmla="*/ 833585 h 6557032"/>
              <a:gd name="connsiteX27187" fmla="*/ 1051395 w 4610101"/>
              <a:gd name="connsiteY27187" fmla="*/ 829941 h 6557032"/>
              <a:gd name="connsiteX27188" fmla="*/ 1024062 w 4610101"/>
              <a:gd name="connsiteY27188" fmla="*/ 829941 h 6557032"/>
              <a:gd name="connsiteX27189" fmla="*/ 1016774 w 4610101"/>
              <a:gd name="connsiteY27189" fmla="*/ 833585 h 6557032"/>
              <a:gd name="connsiteX27190" fmla="*/ 1024062 w 4610101"/>
              <a:gd name="connsiteY27190" fmla="*/ 829941 h 6557032"/>
              <a:gd name="connsiteX27191" fmla="*/ 949353 w 4610101"/>
              <a:gd name="connsiteY27191" fmla="*/ 829941 h 6557032"/>
              <a:gd name="connsiteX27192" fmla="*/ 943886 w 4610101"/>
              <a:gd name="connsiteY27192" fmla="*/ 835407 h 6557032"/>
              <a:gd name="connsiteX27193" fmla="*/ 949353 w 4610101"/>
              <a:gd name="connsiteY27193" fmla="*/ 829941 h 6557032"/>
              <a:gd name="connsiteX27194" fmla="*/ 878288 w 4610101"/>
              <a:gd name="connsiteY27194" fmla="*/ 829941 h 6557032"/>
              <a:gd name="connsiteX27195" fmla="*/ 876466 w 4610101"/>
              <a:gd name="connsiteY27195" fmla="*/ 833585 h 6557032"/>
              <a:gd name="connsiteX27196" fmla="*/ 881933 w 4610101"/>
              <a:gd name="connsiteY27196" fmla="*/ 829941 h 6557032"/>
              <a:gd name="connsiteX27197" fmla="*/ 878288 w 4610101"/>
              <a:gd name="connsiteY27197" fmla="*/ 829941 h 6557032"/>
              <a:gd name="connsiteX27198" fmla="*/ 685138 w 4610101"/>
              <a:gd name="connsiteY27198" fmla="*/ 829941 h 6557032"/>
              <a:gd name="connsiteX27199" fmla="*/ 690604 w 4610101"/>
              <a:gd name="connsiteY27199" fmla="*/ 835407 h 6557032"/>
              <a:gd name="connsiteX27200" fmla="*/ 685138 w 4610101"/>
              <a:gd name="connsiteY27200" fmla="*/ 829941 h 6557032"/>
              <a:gd name="connsiteX27201" fmla="*/ 482876 w 4610101"/>
              <a:gd name="connsiteY27201" fmla="*/ 829941 h 6557032"/>
              <a:gd name="connsiteX27202" fmla="*/ 495632 w 4610101"/>
              <a:gd name="connsiteY27202" fmla="*/ 840874 h 6557032"/>
              <a:gd name="connsiteX27203" fmla="*/ 482876 w 4610101"/>
              <a:gd name="connsiteY27203" fmla="*/ 829941 h 6557032"/>
              <a:gd name="connsiteX27204" fmla="*/ 371724 w 4610101"/>
              <a:gd name="connsiteY27204" fmla="*/ 829941 h 6557032"/>
              <a:gd name="connsiteX27205" fmla="*/ 391768 w 4610101"/>
              <a:gd name="connsiteY27205" fmla="*/ 851807 h 6557032"/>
              <a:gd name="connsiteX27206" fmla="*/ 380835 w 4610101"/>
              <a:gd name="connsiteY27206" fmla="*/ 831763 h 6557032"/>
              <a:gd name="connsiteX27207" fmla="*/ 371724 w 4610101"/>
              <a:gd name="connsiteY27207" fmla="*/ 829941 h 6557032"/>
              <a:gd name="connsiteX27208" fmla="*/ 298837 w 4610101"/>
              <a:gd name="connsiteY27208" fmla="*/ 829941 h 6557032"/>
              <a:gd name="connsiteX27209" fmla="*/ 298837 w 4610101"/>
              <a:gd name="connsiteY27209" fmla="*/ 846340 h 6557032"/>
              <a:gd name="connsiteX27210" fmla="*/ 297015 w 4610101"/>
              <a:gd name="connsiteY27210" fmla="*/ 844518 h 6557032"/>
              <a:gd name="connsiteX27211" fmla="*/ 300660 w 4610101"/>
              <a:gd name="connsiteY27211" fmla="*/ 851807 h 6557032"/>
              <a:gd name="connsiteX27212" fmla="*/ 297015 w 4610101"/>
              <a:gd name="connsiteY27212" fmla="*/ 849985 h 6557032"/>
              <a:gd name="connsiteX27213" fmla="*/ 306126 w 4610101"/>
              <a:gd name="connsiteY27213" fmla="*/ 857273 h 6557032"/>
              <a:gd name="connsiteX27214" fmla="*/ 302481 w 4610101"/>
              <a:gd name="connsiteY27214" fmla="*/ 851807 h 6557032"/>
              <a:gd name="connsiteX27215" fmla="*/ 309771 w 4610101"/>
              <a:gd name="connsiteY27215" fmla="*/ 857273 h 6557032"/>
              <a:gd name="connsiteX27216" fmla="*/ 307948 w 4610101"/>
              <a:gd name="connsiteY27216" fmla="*/ 853629 h 6557032"/>
              <a:gd name="connsiteX27217" fmla="*/ 311592 w 4610101"/>
              <a:gd name="connsiteY27217" fmla="*/ 857273 h 6557032"/>
              <a:gd name="connsiteX27218" fmla="*/ 311592 w 4610101"/>
              <a:gd name="connsiteY27218" fmla="*/ 855451 h 6557032"/>
              <a:gd name="connsiteX27219" fmla="*/ 335280 w 4610101"/>
              <a:gd name="connsiteY27219" fmla="*/ 873673 h 6557032"/>
              <a:gd name="connsiteX27220" fmla="*/ 298837 w 4610101"/>
              <a:gd name="connsiteY27220" fmla="*/ 829941 h 6557032"/>
              <a:gd name="connsiteX27221" fmla="*/ 138486 w 4610101"/>
              <a:gd name="connsiteY27221" fmla="*/ 829941 h 6557032"/>
              <a:gd name="connsiteX27222" fmla="*/ 149789 w 4610101"/>
              <a:gd name="connsiteY27222" fmla="*/ 845373 h 6557032"/>
              <a:gd name="connsiteX27223" fmla="*/ 150048 w 4610101"/>
              <a:gd name="connsiteY27223" fmla="*/ 846063 h 6557032"/>
              <a:gd name="connsiteX27224" fmla="*/ 729782 w 4610101"/>
              <a:gd name="connsiteY27224" fmla="*/ 829941 h 6557032"/>
              <a:gd name="connsiteX27225" fmla="*/ 727048 w 4610101"/>
              <a:gd name="connsiteY27225" fmla="*/ 829941 h 6557032"/>
              <a:gd name="connsiteX27226" fmla="*/ 730692 w 4610101"/>
              <a:gd name="connsiteY27226" fmla="*/ 833585 h 6557032"/>
              <a:gd name="connsiteX27227" fmla="*/ 732515 w 4610101"/>
              <a:gd name="connsiteY27227" fmla="*/ 829941 h 6557032"/>
              <a:gd name="connsiteX27228" fmla="*/ 729782 w 4610101"/>
              <a:gd name="connsiteY27228" fmla="*/ 829941 h 6557032"/>
              <a:gd name="connsiteX27229" fmla="*/ 1279166 w 4610101"/>
              <a:gd name="connsiteY27229" fmla="*/ 828118 h 6557032"/>
              <a:gd name="connsiteX27230" fmla="*/ 1280989 w 4610101"/>
              <a:gd name="connsiteY27230" fmla="*/ 849985 h 6557032"/>
              <a:gd name="connsiteX27231" fmla="*/ 1290099 w 4610101"/>
              <a:gd name="connsiteY27231" fmla="*/ 845885 h 6557032"/>
              <a:gd name="connsiteX27232" fmla="*/ 1291923 w 4610101"/>
              <a:gd name="connsiteY27232" fmla="*/ 844518 h 6557032"/>
              <a:gd name="connsiteX27233" fmla="*/ 1280989 w 4610101"/>
              <a:gd name="connsiteY27233" fmla="*/ 855451 h 6557032"/>
              <a:gd name="connsiteX27234" fmla="*/ 1290100 w 4610101"/>
              <a:gd name="connsiteY27234" fmla="*/ 862740 h 6557032"/>
              <a:gd name="connsiteX27235" fmla="*/ 1291922 w 4610101"/>
              <a:gd name="connsiteY27235" fmla="*/ 860918 h 6557032"/>
              <a:gd name="connsiteX27236" fmla="*/ 1304677 w 4610101"/>
              <a:gd name="connsiteY27236" fmla="*/ 866384 h 6557032"/>
              <a:gd name="connsiteX27237" fmla="*/ 1302855 w 4610101"/>
              <a:gd name="connsiteY27237" fmla="*/ 859095 h 6557032"/>
              <a:gd name="connsiteX27238" fmla="*/ 1308321 w 4610101"/>
              <a:gd name="connsiteY27238" fmla="*/ 853629 h 6557032"/>
              <a:gd name="connsiteX27239" fmla="*/ 1310143 w 4610101"/>
              <a:gd name="connsiteY27239" fmla="*/ 862740 h 6557032"/>
              <a:gd name="connsiteX27240" fmla="*/ 1311966 w 4610101"/>
              <a:gd name="connsiteY27240" fmla="*/ 862740 h 6557032"/>
              <a:gd name="connsiteX27241" fmla="*/ 1313788 w 4610101"/>
              <a:gd name="connsiteY27241" fmla="*/ 859095 h 6557032"/>
              <a:gd name="connsiteX27242" fmla="*/ 1313788 w 4610101"/>
              <a:gd name="connsiteY27242" fmla="*/ 862740 h 6557032"/>
              <a:gd name="connsiteX27243" fmla="*/ 1332010 w 4610101"/>
              <a:gd name="connsiteY27243" fmla="*/ 853629 h 6557032"/>
              <a:gd name="connsiteX27244" fmla="*/ 1339299 w 4610101"/>
              <a:gd name="connsiteY27244" fmla="*/ 855451 h 6557032"/>
              <a:gd name="connsiteX27245" fmla="*/ 1350231 w 4610101"/>
              <a:gd name="connsiteY27245" fmla="*/ 842696 h 6557032"/>
              <a:gd name="connsiteX27246" fmla="*/ 1341120 w 4610101"/>
              <a:gd name="connsiteY27246" fmla="*/ 844518 h 6557032"/>
              <a:gd name="connsiteX27247" fmla="*/ 1327454 w 4610101"/>
              <a:gd name="connsiteY27247" fmla="*/ 838369 h 6557032"/>
              <a:gd name="connsiteX27248" fmla="*/ 1314441 w 4610101"/>
              <a:gd name="connsiteY27248" fmla="*/ 844224 h 6557032"/>
              <a:gd name="connsiteX27249" fmla="*/ 1306818 w 4610101"/>
              <a:gd name="connsiteY27249" fmla="*/ 839212 h 6557032"/>
              <a:gd name="connsiteX27250" fmla="*/ 1310143 w 4610101"/>
              <a:gd name="connsiteY27250" fmla="*/ 840874 h 6557032"/>
              <a:gd name="connsiteX27251" fmla="*/ 1319254 w 4610101"/>
              <a:gd name="connsiteY27251" fmla="*/ 835407 h 6557032"/>
              <a:gd name="connsiteX27252" fmla="*/ 1308321 w 4610101"/>
              <a:gd name="connsiteY27252" fmla="*/ 831763 h 6557032"/>
              <a:gd name="connsiteX27253" fmla="*/ 1303231 w 4610101"/>
              <a:gd name="connsiteY27253" fmla="*/ 836853 h 6557032"/>
              <a:gd name="connsiteX27254" fmla="*/ 1301877 w 4610101"/>
              <a:gd name="connsiteY27254" fmla="*/ 835963 h 6557032"/>
              <a:gd name="connsiteX27255" fmla="*/ 1304677 w 4610101"/>
              <a:gd name="connsiteY27255" fmla="*/ 831763 h 6557032"/>
              <a:gd name="connsiteX27256" fmla="*/ 1290100 w 4610101"/>
              <a:gd name="connsiteY27256" fmla="*/ 829941 h 6557032"/>
              <a:gd name="connsiteX27257" fmla="*/ 1299940 w 4610101"/>
              <a:gd name="connsiteY27257" fmla="*/ 836501 h 6557032"/>
              <a:gd name="connsiteX27258" fmla="*/ 1298032 w 4610101"/>
              <a:gd name="connsiteY27258" fmla="*/ 838409 h 6557032"/>
              <a:gd name="connsiteX27259" fmla="*/ 681493 w 4610101"/>
              <a:gd name="connsiteY27259" fmla="*/ 828118 h 6557032"/>
              <a:gd name="connsiteX27260" fmla="*/ 679671 w 4610101"/>
              <a:gd name="connsiteY27260" fmla="*/ 831763 h 6557032"/>
              <a:gd name="connsiteX27261" fmla="*/ 681493 w 4610101"/>
              <a:gd name="connsiteY27261" fmla="*/ 828118 h 6557032"/>
              <a:gd name="connsiteX27262" fmla="*/ 663272 w 4610101"/>
              <a:gd name="connsiteY27262" fmla="*/ 828118 h 6557032"/>
              <a:gd name="connsiteX27263" fmla="*/ 665094 w 4610101"/>
              <a:gd name="connsiteY27263" fmla="*/ 833585 h 6557032"/>
              <a:gd name="connsiteX27264" fmla="*/ 666916 w 4610101"/>
              <a:gd name="connsiteY27264" fmla="*/ 829941 h 6557032"/>
              <a:gd name="connsiteX27265" fmla="*/ 670560 w 4610101"/>
              <a:gd name="connsiteY27265" fmla="*/ 833585 h 6557032"/>
              <a:gd name="connsiteX27266" fmla="*/ 663272 w 4610101"/>
              <a:gd name="connsiteY27266" fmla="*/ 828118 h 6557032"/>
              <a:gd name="connsiteX27267" fmla="*/ 501098 w 4610101"/>
              <a:gd name="connsiteY27267" fmla="*/ 828118 h 6557032"/>
              <a:gd name="connsiteX27268" fmla="*/ 504743 w 4610101"/>
              <a:gd name="connsiteY27268" fmla="*/ 833585 h 6557032"/>
              <a:gd name="connsiteX27269" fmla="*/ 502920 w 4610101"/>
              <a:gd name="connsiteY27269" fmla="*/ 828118 h 6557032"/>
              <a:gd name="connsiteX27270" fmla="*/ 501098 w 4610101"/>
              <a:gd name="connsiteY27270" fmla="*/ 828118 h 6557032"/>
              <a:gd name="connsiteX27271" fmla="*/ 462832 w 4610101"/>
              <a:gd name="connsiteY27271" fmla="*/ 828118 h 6557032"/>
              <a:gd name="connsiteX27272" fmla="*/ 473766 w 4610101"/>
              <a:gd name="connsiteY27272" fmla="*/ 835407 h 6557032"/>
              <a:gd name="connsiteX27273" fmla="*/ 462832 w 4610101"/>
              <a:gd name="connsiteY27273" fmla="*/ 828118 h 6557032"/>
              <a:gd name="connsiteX27274" fmla="*/ 455544 w 4610101"/>
              <a:gd name="connsiteY27274" fmla="*/ 828118 h 6557032"/>
              <a:gd name="connsiteX27275" fmla="*/ 464655 w 4610101"/>
              <a:gd name="connsiteY27275" fmla="*/ 837229 h 6557032"/>
              <a:gd name="connsiteX27276" fmla="*/ 455544 w 4610101"/>
              <a:gd name="connsiteY27276" fmla="*/ 828118 h 6557032"/>
              <a:gd name="connsiteX27277" fmla="*/ 348037 w 4610101"/>
              <a:gd name="connsiteY27277" fmla="*/ 828118 h 6557032"/>
              <a:gd name="connsiteX27278" fmla="*/ 362157 w 4610101"/>
              <a:gd name="connsiteY27278" fmla="*/ 843151 h 6557032"/>
              <a:gd name="connsiteX27279" fmla="*/ 366372 w 4610101"/>
              <a:gd name="connsiteY27279" fmla="*/ 846226 h 6557032"/>
              <a:gd name="connsiteX27280" fmla="*/ 366257 w 4610101"/>
              <a:gd name="connsiteY27280" fmla="*/ 846340 h 6557032"/>
              <a:gd name="connsiteX27281" fmla="*/ 366876 w 4610101"/>
              <a:gd name="connsiteY27281" fmla="*/ 846596 h 6557032"/>
              <a:gd name="connsiteX27282" fmla="*/ 379012 w 4610101"/>
              <a:gd name="connsiteY27282" fmla="*/ 855451 h 6557032"/>
              <a:gd name="connsiteX27283" fmla="*/ 374002 w 4610101"/>
              <a:gd name="connsiteY27283" fmla="*/ 849529 h 6557032"/>
              <a:gd name="connsiteX27284" fmla="*/ 366876 w 4610101"/>
              <a:gd name="connsiteY27284" fmla="*/ 846596 h 6557032"/>
              <a:gd name="connsiteX27285" fmla="*/ 366372 w 4610101"/>
              <a:gd name="connsiteY27285" fmla="*/ 846226 h 6557032"/>
              <a:gd name="connsiteX27286" fmla="*/ 368079 w 4610101"/>
              <a:gd name="connsiteY27286" fmla="*/ 844518 h 6557032"/>
              <a:gd name="connsiteX27287" fmla="*/ 348037 w 4610101"/>
              <a:gd name="connsiteY27287" fmla="*/ 828118 h 6557032"/>
              <a:gd name="connsiteX27288" fmla="*/ 3449376 w 4610101"/>
              <a:gd name="connsiteY27288" fmla="*/ 826296 h 6557032"/>
              <a:gd name="connsiteX27289" fmla="*/ 3456664 w 4610101"/>
              <a:gd name="connsiteY27289" fmla="*/ 833585 h 6557032"/>
              <a:gd name="connsiteX27290" fmla="*/ 3449376 w 4610101"/>
              <a:gd name="connsiteY27290" fmla="*/ 826296 h 6557032"/>
              <a:gd name="connsiteX27291" fmla="*/ 3110451 w 4610101"/>
              <a:gd name="connsiteY27291" fmla="*/ 826296 h 6557032"/>
              <a:gd name="connsiteX27292" fmla="*/ 3114096 w 4610101"/>
              <a:gd name="connsiteY27292" fmla="*/ 835407 h 6557032"/>
              <a:gd name="connsiteX27293" fmla="*/ 3110451 w 4610101"/>
              <a:gd name="connsiteY27293" fmla="*/ 826296 h 6557032"/>
              <a:gd name="connsiteX27294" fmla="*/ 3068541 w 4610101"/>
              <a:gd name="connsiteY27294" fmla="*/ 826296 h 6557032"/>
              <a:gd name="connsiteX27295" fmla="*/ 3064897 w 4610101"/>
              <a:gd name="connsiteY27295" fmla="*/ 840874 h 6557032"/>
              <a:gd name="connsiteX27296" fmla="*/ 3068541 w 4610101"/>
              <a:gd name="connsiteY27296" fmla="*/ 826296 h 6557032"/>
              <a:gd name="connsiteX27297" fmla="*/ 2461757 w 4610101"/>
              <a:gd name="connsiteY27297" fmla="*/ 826296 h 6557032"/>
              <a:gd name="connsiteX27298" fmla="*/ 2463580 w 4610101"/>
              <a:gd name="connsiteY27298" fmla="*/ 842696 h 6557032"/>
              <a:gd name="connsiteX27299" fmla="*/ 2469046 w 4610101"/>
              <a:gd name="connsiteY27299" fmla="*/ 840874 h 6557032"/>
              <a:gd name="connsiteX27300" fmla="*/ 2469046 w 4610101"/>
              <a:gd name="connsiteY27300" fmla="*/ 853629 h 6557032"/>
              <a:gd name="connsiteX27301" fmla="*/ 2481801 w 4610101"/>
              <a:gd name="connsiteY27301" fmla="*/ 842696 h 6557032"/>
              <a:gd name="connsiteX27302" fmla="*/ 2479979 w 4610101"/>
              <a:gd name="connsiteY27302" fmla="*/ 853629 h 6557032"/>
              <a:gd name="connsiteX27303" fmla="*/ 2483624 w 4610101"/>
              <a:gd name="connsiteY27303" fmla="*/ 848162 h 6557032"/>
              <a:gd name="connsiteX27304" fmla="*/ 2483624 w 4610101"/>
              <a:gd name="connsiteY27304" fmla="*/ 857273 h 6557032"/>
              <a:gd name="connsiteX27305" fmla="*/ 2496379 w 4610101"/>
              <a:gd name="connsiteY27305" fmla="*/ 851807 h 6557032"/>
              <a:gd name="connsiteX27306" fmla="*/ 2496379 w 4610101"/>
              <a:gd name="connsiteY27306" fmla="*/ 837229 h 6557032"/>
              <a:gd name="connsiteX27307" fmla="*/ 2485446 w 4610101"/>
              <a:gd name="connsiteY27307" fmla="*/ 828118 h 6557032"/>
              <a:gd name="connsiteX27308" fmla="*/ 2463580 w 4610101"/>
              <a:gd name="connsiteY27308" fmla="*/ 826296 h 6557032"/>
              <a:gd name="connsiteX27309" fmla="*/ 2397981 w 4610101"/>
              <a:gd name="connsiteY27309" fmla="*/ 826296 h 6557032"/>
              <a:gd name="connsiteX27310" fmla="*/ 2401626 w 4610101"/>
              <a:gd name="connsiteY27310" fmla="*/ 840874 h 6557032"/>
              <a:gd name="connsiteX27311" fmla="*/ 2414381 w 4610101"/>
              <a:gd name="connsiteY27311" fmla="*/ 833585 h 6557032"/>
              <a:gd name="connsiteX27312" fmla="*/ 2412559 w 4610101"/>
              <a:gd name="connsiteY27312" fmla="*/ 829941 h 6557032"/>
              <a:gd name="connsiteX27313" fmla="*/ 2410737 w 4610101"/>
              <a:gd name="connsiteY27313" fmla="*/ 831763 h 6557032"/>
              <a:gd name="connsiteX27314" fmla="*/ 2410737 w 4610101"/>
              <a:gd name="connsiteY27314" fmla="*/ 826296 h 6557032"/>
              <a:gd name="connsiteX27315" fmla="*/ 2407092 w 4610101"/>
              <a:gd name="connsiteY27315" fmla="*/ 826296 h 6557032"/>
              <a:gd name="connsiteX27316" fmla="*/ 2397981 w 4610101"/>
              <a:gd name="connsiteY27316" fmla="*/ 826296 h 6557032"/>
              <a:gd name="connsiteX27317" fmla="*/ 1310143 w 4610101"/>
              <a:gd name="connsiteY27317" fmla="*/ 826296 h 6557032"/>
              <a:gd name="connsiteX27318" fmla="*/ 1302855 w 4610101"/>
              <a:gd name="connsiteY27318" fmla="*/ 828118 h 6557032"/>
              <a:gd name="connsiteX27319" fmla="*/ 1308321 w 4610101"/>
              <a:gd name="connsiteY27319" fmla="*/ 829941 h 6557032"/>
              <a:gd name="connsiteX27320" fmla="*/ 1310143 w 4610101"/>
              <a:gd name="connsiteY27320" fmla="*/ 826296 h 6557032"/>
              <a:gd name="connsiteX27321" fmla="*/ 1270056 w 4610101"/>
              <a:gd name="connsiteY27321" fmla="*/ 826296 h 6557032"/>
              <a:gd name="connsiteX27322" fmla="*/ 1262767 w 4610101"/>
              <a:gd name="connsiteY27322" fmla="*/ 835407 h 6557032"/>
              <a:gd name="connsiteX27323" fmla="*/ 1262767 w 4610101"/>
              <a:gd name="connsiteY27323" fmla="*/ 844518 h 6557032"/>
              <a:gd name="connsiteX27324" fmla="*/ 1270056 w 4610101"/>
              <a:gd name="connsiteY27324" fmla="*/ 835407 h 6557032"/>
              <a:gd name="connsiteX27325" fmla="*/ 1270055 w 4610101"/>
              <a:gd name="connsiteY27325" fmla="*/ 838141 h 6557032"/>
              <a:gd name="connsiteX27326" fmla="*/ 1270056 w 4610101"/>
              <a:gd name="connsiteY27326" fmla="*/ 840509 h 6557032"/>
              <a:gd name="connsiteX27327" fmla="*/ 1264589 w 4610101"/>
              <a:gd name="connsiteY27327" fmla="*/ 848162 h 6557032"/>
              <a:gd name="connsiteX27328" fmla="*/ 1279166 w 4610101"/>
              <a:gd name="connsiteY27328" fmla="*/ 848162 h 6557032"/>
              <a:gd name="connsiteX27329" fmla="*/ 1273700 w 4610101"/>
              <a:gd name="connsiteY27329" fmla="*/ 835407 h 6557032"/>
              <a:gd name="connsiteX27330" fmla="*/ 1270388 w 4610101"/>
              <a:gd name="connsiteY27330" fmla="*/ 840044 h 6557032"/>
              <a:gd name="connsiteX27331" fmla="*/ 1273700 w 4610101"/>
              <a:gd name="connsiteY27331" fmla="*/ 831763 h 6557032"/>
              <a:gd name="connsiteX27332" fmla="*/ 1270056 w 4610101"/>
              <a:gd name="connsiteY27332" fmla="*/ 826296 h 6557032"/>
              <a:gd name="connsiteX27333" fmla="*/ 832734 w 4610101"/>
              <a:gd name="connsiteY27333" fmla="*/ 826296 h 6557032"/>
              <a:gd name="connsiteX27334" fmla="*/ 836378 w 4610101"/>
              <a:gd name="connsiteY27334" fmla="*/ 827207 h 6557032"/>
              <a:gd name="connsiteX27335" fmla="*/ 836378 w 4610101"/>
              <a:gd name="connsiteY27335" fmla="*/ 828118 h 6557032"/>
              <a:gd name="connsiteX27336" fmla="*/ 832603 w 4610101"/>
              <a:gd name="connsiteY27336" fmla="*/ 826825 h 6557032"/>
              <a:gd name="connsiteX27337" fmla="*/ 781713 w 4610101"/>
              <a:gd name="connsiteY27337" fmla="*/ 826296 h 6557032"/>
              <a:gd name="connsiteX27338" fmla="*/ 779892 w 4610101"/>
              <a:gd name="connsiteY27338" fmla="*/ 829941 h 6557032"/>
              <a:gd name="connsiteX27339" fmla="*/ 783535 w 4610101"/>
              <a:gd name="connsiteY27339" fmla="*/ 829941 h 6557032"/>
              <a:gd name="connsiteX27340" fmla="*/ 783535 w 4610101"/>
              <a:gd name="connsiteY27340" fmla="*/ 831763 h 6557032"/>
              <a:gd name="connsiteX27341" fmla="*/ 787230 w 4610101"/>
              <a:gd name="connsiteY27341" fmla="*/ 835986 h 6557032"/>
              <a:gd name="connsiteX27342" fmla="*/ 785357 w 4610101"/>
              <a:gd name="connsiteY27342" fmla="*/ 835407 h 6557032"/>
              <a:gd name="connsiteX27343" fmla="*/ 810868 w 4610101"/>
              <a:gd name="connsiteY27343" fmla="*/ 846340 h 6557032"/>
              <a:gd name="connsiteX27344" fmla="*/ 800846 w 4610101"/>
              <a:gd name="connsiteY27344" fmla="*/ 840191 h 6557032"/>
              <a:gd name="connsiteX27345" fmla="*/ 791257 w 4610101"/>
              <a:gd name="connsiteY27345" fmla="*/ 837229 h 6557032"/>
              <a:gd name="connsiteX27346" fmla="*/ 799935 w 4610101"/>
              <a:gd name="connsiteY27346" fmla="*/ 837229 h 6557032"/>
              <a:gd name="connsiteX27347" fmla="*/ 799935 w 4610101"/>
              <a:gd name="connsiteY27347" fmla="*/ 833585 h 6557032"/>
              <a:gd name="connsiteX27348" fmla="*/ 785357 w 4610101"/>
              <a:gd name="connsiteY27348" fmla="*/ 829941 h 6557032"/>
              <a:gd name="connsiteX27349" fmla="*/ 787179 w 4610101"/>
              <a:gd name="connsiteY27349" fmla="*/ 829941 h 6557032"/>
              <a:gd name="connsiteX27350" fmla="*/ 781713 w 4610101"/>
              <a:gd name="connsiteY27350" fmla="*/ 826296 h 6557032"/>
              <a:gd name="connsiteX27351" fmla="*/ 584919 w 4610101"/>
              <a:gd name="connsiteY27351" fmla="*/ 826296 h 6557032"/>
              <a:gd name="connsiteX27352" fmla="*/ 579452 w 4610101"/>
              <a:gd name="connsiteY27352" fmla="*/ 831763 h 6557032"/>
              <a:gd name="connsiteX27353" fmla="*/ 592207 w 4610101"/>
              <a:gd name="connsiteY27353" fmla="*/ 839051 h 6557032"/>
              <a:gd name="connsiteX27354" fmla="*/ 584919 w 4610101"/>
              <a:gd name="connsiteY27354" fmla="*/ 826296 h 6557032"/>
              <a:gd name="connsiteX27355" fmla="*/ 552119 w 4610101"/>
              <a:gd name="connsiteY27355" fmla="*/ 826296 h 6557032"/>
              <a:gd name="connsiteX27356" fmla="*/ 550297 w 4610101"/>
              <a:gd name="connsiteY27356" fmla="*/ 828118 h 6557032"/>
              <a:gd name="connsiteX27357" fmla="*/ 559408 w 4610101"/>
              <a:gd name="connsiteY27357" fmla="*/ 829941 h 6557032"/>
              <a:gd name="connsiteX27358" fmla="*/ 552119 w 4610101"/>
              <a:gd name="connsiteY27358" fmla="*/ 826296 h 6557032"/>
              <a:gd name="connsiteX27359" fmla="*/ 417278 w 4610101"/>
              <a:gd name="connsiteY27359" fmla="*/ 826296 h 6557032"/>
              <a:gd name="connsiteX27360" fmla="*/ 424567 w 4610101"/>
              <a:gd name="connsiteY27360" fmla="*/ 839051 h 6557032"/>
              <a:gd name="connsiteX27361" fmla="*/ 422745 w 4610101"/>
              <a:gd name="connsiteY27361" fmla="*/ 831763 h 6557032"/>
              <a:gd name="connsiteX27362" fmla="*/ 442789 w 4610101"/>
              <a:gd name="connsiteY27362" fmla="*/ 849985 h 6557032"/>
              <a:gd name="connsiteX27363" fmla="*/ 417278 w 4610101"/>
              <a:gd name="connsiteY27363" fmla="*/ 826296 h 6557032"/>
              <a:gd name="connsiteX27364" fmla="*/ 393590 w 4610101"/>
              <a:gd name="connsiteY27364" fmla="*/ 826296 h 6557032"/>
              <a:gd name="connsiteX27365" fmla="*/ 389946 w 4610101"/>
              <a:gd name="connsiteY27365" fmla="*/ 829941 h 6557032"/>
              <a:gd name="connsiteX27366" fmla="*/ 402701 w 4610101"/>
              <a:gd name="connsiteY27366" fmla="*/ 835407 h 6557032"/>
              <a:gd name="connsiteX27367" fmla="*/ 393590 w 4610101"/>
              <a:gd name="connsiteY27367" fmla="*/ 826296 h 6557032"/>
              <a:gd name="connsiteX27368" fmla="*/ 3235271 w 4610101"/>
              <a:gd name="connsiteY27368" fmla="*/ 825841 h 6557032"/>
              <a:gd name="connsiteX27369" fmla="*/ 3221604 w 4610101"/>
              <a:gd name="connsiteY27369" fmla="*/ 826296 h 6557032"/>
              <a:gd name="connsiteX27370" fmla="*/ 3238003 w 4610101"/>
              <a:gd name="connsiteY27370" fmla="*/ 833585 h 6557032"/>
              <a:gd name="connsiteX27371" fmla="*/ 3235271 w 4610101"/>
              <a:gd name="connsiteY27371" fmla="*/ 825841 h 6557032"/>
              <a:gd name="connsiteX27372" fmla="*/ 3212266 w 4610101"/>
              <a:gd name="connsiteY27372" fmla="*/ 825613 h 6557032"/>
              <a:gd name="connsiteX27373" fmla="*/ 3205204 w 4610101"/>
              <a:gd name="connsiteY27373" fmla="*/ 826296 h 6557032"/>
              <a:gd name="connsiteX27374" fmla="*/ 3217960 w 4610101"/>
              <a:gd name="connsiteY27374" fmla="*/ 826296 h 6557032"/>
              <a:gd name="connsiteX27375" fmla="*/ 3212266 w 4610101"/>
              <a:gd name="connsiteY27375" fmla="*/ 825613 h 6557032"/>
              <a:gd name="connsiteX27376" fmla="*/ 3184477 w 4610101"/>
              <a:gd name="connsiteY27376" fmla="*/ 825613 h 6557032"/>
              <a:gd name="connsiteX27377" fmla="*/ 3174227 w 4610101"/>
              <a:gd name="connsiteY27377" fmla="*/ 826296 h 6557032"/>
              <a:gd name="connsiteX27378" fmla="*/ 3190627 w 4610101"/>
              <a:gd name="connsiteY27378" fmla="*/ 826296 h 6557032"/>
              <a:gd name="connsiteX27379" fmla="*/ 3184477 w 4610101"/>
              <a:gd name="connsiteY27379" fmla="*/ 825613 h 6557032"/>
              <a:gd name="connsiteX27380" fmla="*/ 968486 w 4610101"/>
              <a:gd name="connsiteY27380" fmla="*/ 824475 h 6557032"/>
              <a:gd name="connsiteX27381" fmla="*/ 960286 w 4610101"/>
              <a:gd name="connsiteY27381" fmla="*/ 831763 h 6557032"/>
              <a:gd name="connsiteX27382" fmla="*/ 982152 w 4610101"/>
              <a:gd name="connsiteY27382" fmla="*/ 828118 h 6557032"/>
              <a:gd name="connsiteX27383" fmla="*/ 968486 w 4610101"/>
              <a:gd name="connsiteY27383" fmla="*/ 824475 h 6557032"/>
              <a:gd name="connsiteX27384" fmla="*/ 3338223 w 4610101"/>
              <a:gd name="connsiteY27384" fmla="*/ 824474 h 6557032"/>
              <a:gd name="connsiteX27385" fmla="*/ 3340045 w 4610101"/>
              <a:gd name="connsiteY27385" fmla="*/ 831763 h 6557032"/>
              <a:gd name="connsiteX27386" fmla="*/ 3329112 w 4610101"/>
              <a:gd name="connsiteY27386" fmla="*/ 831763 h 6557032"/>
              <a:gd name="connsiteX27387" fmla="*/ 3321824 w 4610101"/>
              <a:gd name="connsiteY27387" fmla="*/ 839051 h 6557032"/>
              <a:gd name="connsiteX27388" fmla="*/ 3325468 w 4610101"/>
              <a:gd name="connsiteY27388" fmla="*/ 846340 h 6557032"/>
              <a:gd name="connsiteX27389" fmla="*/ 3336401 w 4610101"/>
              <a:gd name="connsiteY27389" fmla="*/ 860918 h 6557032"/>
              <a:gd name="connsiteX27390" fmla="*/ 3349156 w 4610101"/>
              <a:gd name="connsiteY27390" fmla="*/ 844518 h 6557032"/>
              <a:gd name="connsiteX27391" fmla="*/ 3350978 w 4610101"/>
              <a:gd name="connsiteY27391" fmla="*/ 855451 h 6557032"/>
              <a:gd name="connsiteX27392" fmla="*/ 3380133 w 4610101"/>
              <a:gd name="connsiteY27392" fmla="*/ 844518 h 6557032"/>
              <a:gd name="connsiteX27393" fmla="*/ 3369200 w 4610101"/>
              <a:gd name="connsiteY27393" fmla="*/ 828118 h 6557032"/>
              <a:gd name="connsiteX27394" fmla="*/ 3338223 w 4610101"/>
              <a:gd name="connsiteY27394" fmla="*/ 824474 h 6557032"/>
              <a:gd name="connsiteX27395" fmla="*/ 1373920 w 4610101"/>
              <a:gd name="connsiteY27395" fmla="*/ 824474 h 6557032"/>
              <a:gd name="connsiteX27396" fmla="*/ 1368453 w 4610101"/>
              <a:gd name="connsiteY27396" fmla="*/ 831763 h 6557032"/>
              <a:gd name="connsiteX27397" fmla="*/ 1372097 w 4610101"/>
              <a:gd name="connsiteY27397" fmla="*/ 826296 h 6557032"/>
              <a:gd name="connsiteX27398" fmla="*/ 1359342 w 4610101"/>
              <a:gd name="connsiteY27398" fmla="*/ 833585 h 6557032"/>
              <a:gd name="connsiteX27399" fmla="*/ 1366632 w 4610101"/>
              <a:gd name="connsiteY27399" fmla="*/ 837229 h 6557032"/>
              <a:gd name="connsiteX27400" fmla="*/ 1370275 w 4610101"/>
              <a:gd name="connsiteY27400" fmla="*/ 831763 h 6557032"/>
              <a:gd name="connsiteX27401" fmla="*/ 1368453 w 4610101"/>
              <a:gd name="connsiteY27401" fmla="*/ 837229 h 6557032"/>
              <a:gd name="connsiteX27402" fmla="*/ 1392141 w 4610101"/>
              <a:gd name="connsiteY27402" fmla="*/ 842696 h 6557032"/>
              <a:gd name="connsiteX27403" fmla="*/ 1396469 w 4610101"/>
              <a:gd name="connsiteY27403" fmla="*/ 834724 h 6557032"/>
              <a:gd name="connsiteX27404" fmla="*/ 1399280 w 4610101"/>
              <a:gd name="connsiteY27404" fmla="*/ 828453 h 6557032"/>
              <a:gd name="connsiteX27405" fmla="*/ 1399313 w 4610101"/>
              <a:gd name="connsiteY27405" fmla="*/ 828460 h 6557032"/>
              <a:gd name="connsiteX27406" fmla="*/ 1396697 w 4610101"/>
              <a:gd name="connsiteY27406" fmla="*/ 836091 h 6557032"/>
              <a:gd name="connsiteX27407" fmla="*/ 1393963 w 4610101"/>
              <a:gd name="connsiteY27407" fmla="*/ 842696 h 6557032"/>
              <a:gd name="connsiteX27408" fmla="*/ 1415829 w 4610101"/>
              <a:gd name="connsiteY27408" fmla="*/ 826296 h 6557032"/>
              <a:gd name="connsiteX27409" fmla="*/ 1406719 w 4610101"/>
              <a:gd name="connsiteY27409" fmla="*/ 829941 h 6557032"/>
              <a:gd name="connsiteX27410" fmla="*/ 1399313 w 4610101"/>
              <a:gd name="connsiteY27410" fmla="*/ 828460 h 6557032"/>
              <a:gd name="connsiteX27411" fmla="*/ 1399430 w 4610101"/>
              <a:gd name="connsiteY27411" fmla="*/ 828118 h 6557032"/>
              <a:gd name="connsiteX27412" fmla="*/ 1399280 w 4610101"/>
              <a:gd name="connsiteY27412" fmla="*/ 828453 h 6557032"/>
              <a:gd name="connsiteX27413" fmla="*/ 1397608 w 4610101"/>
              <a:gd name="connsiteY27413" fmla="*/ 828118 h 6557032"/>
              <a:gd name="connsiteX27414" fmla="*/ 1373920 w 4610101"/>
              <a:gd name="connsiteY27414" fmla="*/ 824474 h 6557032"/>
              <a:gd name="connsiteX27415" fmla="*/ 1313788 w 4610101"/>
              <a:gd name="connsiteY27415" fmla="*/ 824474 h 6557032"/>
              <a:gd name="connsiteX27416" fmla="*/ 1310143 w 4610101"/>
              <a:gd name="connsiteY27416" fmla="*/ 828118 h 6557032"/>
              <a:gd name="connsiteX27417" fmla="*/ 1315610 w 4610101"/>
              <a:gd name="connsiteY27417" fmla="*/ 826296 h 6557032"/>
              <a:gd name="connsiteX27418" fmla="*/ 1315610 w 4610101"/>
              <a:gd name="connsiteY27418" fmla="*/ 829941 h 6557032"/>
              <a:gd name="connsiteX27419" fmla="*/ 1326543 w 4610101"/>
              <a:gd name="connsiteY27419" fmla="*/ 829941 h 6557032"/>
              <a:gd name="connsiteX27420" fmla="*/ 1321077 w 4610101"/>
              <a:gd name="connsiteY27420" fmla="*/ 831763 h 6557032"/>
              <a:gd name="connsiteX27421" fmla="*/ 1326543 w 4610101"/>
              <a:gd name="connsiteY27421" fmla="*/ 833585 h 6557032"/>
              <a:gd name="connsiteX27422" fmla="*/ 1328365 w 4610101"/>
              <a:gd name="connsiteY27422" fmla="*/ 829941 h 6557032"/>
              <a:gd name="connsiteX27423" fmla="*/ 1313788 w 4610101"/>
              <a:gd name="connsiteY27423" fmla="*/ 824474 h 6557032"/>
              <a:gd name="connsiteX27424" fmla="*/ 1126104 w 4610101"/>
              <a:gd name="connsiteY27424" fmla="*/ 824474 h 6557032"/>
              <a:gd name="connsiteX27425" fmla="*/ 1122459 w 4610101"/>
              <a:gd name="connsiteY27425" fmla="*/ 829941 h 6557032"/>
              <a:gd name="connsiteX27426" fmla="*/ 1126104 w 4610101"/>
              <a:gd name="connsiteY27426" fmla="*/ 835407 h 6557032"/>
              <a:gd name="connsiteX27427" fmla="*/ 1137037 w 4610101"/>
              <a:gd name="connsiteY27427" fmla="*/ 831763 h 6557032"/>
              <a:gd name="connsiteX27428" fmla="*/ 1126104 w 4610101"/>
              <a:gd name="connsiteY27428" fmla="*/ 824474 h 6557032"/>
              <a:gd name="connsiteX27429" fmla="*/ 1031351 w 4610101"/>
              <a:gd name="connsiteY27429" fmla="*/ 824474 h 6557032"/>
              <a:gd name="connsiteX27430" fmla="*/ 1031351 w 4610101"/>
              <a:gd name="connsiteY27430" fmla="*/ 829941 h 6557032"/>
              <a:gd name="connsiteX27431" fmla="*/ 1034995 w 4610101"/>
              <a:gd name="connsiteY27431" fmla="*/ 829941 h 6557032"/>
              <a:gd name="connsiteX27432" fmla="*/ 1031351 w 4610101"/>
              <a:gd name="connsiteY27432" fmla="*/ 824474 h 6557032"/>
              <a:gd name="connsiteX27433" fmla="*/ 1014951 w 4610101"/>
              <a:gd name="connsiteY27433" fmla="*/ 824474 h 6557032"/>
              <a:gd name="connsiteX27434" fmla="*/ 1013129 w 4610101"/>
              <a:gd name="connsiteY27434" fmla="*/ 828118 h 6557032"/>
              <a:gd name="connsiteX27435" fmla="*/ 1014951 w 4610101"/>
              <a:gd name="connsiteY27435" fmla="*/ 824474 h 6557032"/>
              <a:gd name="connsiteX27436" fmla="*/ 1009485 w 4610101"/>
              <a:gd name="connsiteY27436" fmla="*/ 824474 h 6557032"/>
              <a:gd name="connsiteX27437" fmla="*/ 996729 w 4610101"/>
              <a:gd name="connsiteY27437" fmla="*/ 833585 h 6557032"/>
              <a:gd name="connsiteX27438" fmla="*/ 1009485 w 4610101"/>
              <a:gd name="connsiteY27438" fmla="*/ 824474 h 6557032"/>
              <a:gd name="connsiteX27439" fmla="*/ 994907 w 4610101"/>
              <a:gd name="connsiteY27439" fmla="*/ 824474 h 6557032"/>
              <a:gd name="connsiteX27440" fmla="*/ 994907 w 4610101"/>
              <a:gd name="connsiteY27440" fmla="*/ 829941 h 6557032"/>
              <a:gd name="connsiteX27441" fmla="*/ 996729 w 4610101"/>
              <a:gd name="connsiteY27441" fmla="*/ 826296 h 6557032"/>
              <a:gd name="connsiteX27442" fmla="*/ 994907 w 4610101"/>
              <a:gd name="connsiteY27442" fmla="*/ 824474 h 6557032"/>
              <a:gd name="connsiteX27443" fmla="*/ 836378 w 4610101"/>
              <a:gd name="connsiteY27443" fmla="*/ 824474 h 6557032"/>
              <a:gd name="connsiteX27444" fmla="*/ 830228 w 4610101"/>
              <a:gd name="connsiteY27444" fmla="*/ 826012 h 6557032"/>
              <a:gd name="connsiteX27445" fmla="*/ 832603 w 4610101"/>
              <a:gd name="connsiteY27445" fmla="*/ 826825 h 6557032"/>
              <a:gd name="connsiteX27446" fmla="*/ 830912 w 4610101"/>
              <a:gd name="connsiteY27446" fmla="*/ 833585 h 6557032"/>
              <a:gd name="connsiteX27447" fmla="*/ 840022 w 4610101"/>
              <a:gd name="connsiteY27447" fmla="*/ 828118 h 6557032"/>
              <a:gd name="connsiteX27448" fmla="*/ 836378 w 4610101"/>
              <a:gd name="connsiteY27448" fmla="*/ 827207 h 6557032"/>
              <a:gd name="connsiteX27449" fmla="*/ 829089 w 4610101"/>
              <a:gd name="connsiteY27449" fmla="*/ 824474 h 6557032"/>
              <a:gd name="connsiteX27450" fmla="*/ 821801 w 4610101"/>
              <a:gd name="connsiteY27450" fmla="*/ 826296 h 6557032"/>
              <a:gd name="connsiteX27451" fmla="*/ 821801 w 4610101"/>
              <a:gd name="connsiteY27451" fmla="*/ 829941 h 6557032"/>
              <a:gd name="connsiteX27452" fmla="*/ 829089 w 4610101"/>
              <a:gd name="connsiteY27452" fmla="*/ 824474 h 6557032"/>
              <a:gd name="connsiteX27453" fmla="*/ 758025 w 4610101"/>
              <a:gd name="connsiteY27453" fmla="*/ 824474 h 6557032"/>
              <a:gd name="connsiteX27454" fmla="*/ 756203 w 4610101"/>
              <a:gd name="connsiteY27454" fmla="*/ 828118 h 6557032"/>
              <a:gd name="connsiteX27455" fmla="*/ 758025 w 4610101"/>
              <a:gd name="connsiteY27455" fmla="*/ 824474 h 6557032"/>
              <a:gd name="connsiteX27456" fmla="*/ 752558 w 4610101"/>
              <a:gd name="connsiteY27456" fmla="*/ 824474 h 6557032"/>
              <a:gd name="connsiteX27457" fmla="*/ 748914 w 4610101"/>
              <a:gd name="connsiteY27457" fmla="*/ 828118 h 6557032"/>
              <a:gd name="connsiteX27458" fmla="*/ 756203 w 4610101"/>
              <a:gd name="connsiteY27458" fmla="*/ 829941 h 6557032"/>
              <a:gd name="connsiteX27459" fmla="*/ 752558 w 4610101"/>
              <a:gd name="connsiteY27459" fmla="*/ 824474 h 6557032"/>
              <a:gd name="connsiteX27460" fmla="*/ 699715 w 4610101"/>
              <a:gd name="connsiteY27460" fmla="*/ 824474 h 6557032"/>
              <a:gd name="connsiteX27461" fmla="*/ 701537 w 4610101"/>
              <a:gd name="connsiteY27461" fmla="*/ 831763 h 6557032"/>
              <a:gd name="connsiteX27462" fmla="*/ 705182 w 4610101"/>
              <a:gd name="connsiteY27462" fmla="*/ 826296 h 6557032"/>
              <a:gd name="connsiteX27463" fmla="*/ 699715 w 4610101"/>
              <a:gd name="connsiteY27463" fmla="*/ 824474 h 6557032"/>
              <a:gd name="connsiteX27464" fmla="*/ 586741 w 4610101"/>
              <a:gd name="connsiteY27464" fmla="*/ 824474 h 6557032"/>
              <a:gd name="connsiteX27465" fmla="*/ 595852 w 4610101"/>
              <a:gd name="connsiteY27465" fmla="*/ 835407 h 6557032"/>
              <a:gd name="connsiteX27466" fmla="*/ 586741 w 4610101"/>
              <a:gd name="connsiteY27466" fmla="*/ 824474 h 6557032"/>
              <a:gd name="connsiteX27467" fmla="*/ 266038 w 4610101"/>
              <a:gd name="connsiteY27467" fmla="*/ 824474 h 6557032"/>
              <a:gd name="connsiteX27468" fmla="*/ 269682 w 4610101"/>
              <a:gd name="connsiteY27468" fmla="*/ 828118 h 6557032"/>
              <a:gd name="connsiteX27469" fmla="*/ 266038 w 4610101"/>
              <a:gd name="connsiteY27469" fmla="*/ 824474 h 6557032"/>
              <a:gd name="connsiteX27470" fmla="*/ 3046675 w 4610101"/>
              <a:gd name="connsiteY27470" fmla="*/ 822652 h 6557032"/>
              <a:gd name="connsiteX27471" fmla="*/ 3044853 w 4610101"/>
              <a:gd name="connsiteY27471" fmla="*/ 839051 h 6557032"/>
              <a:gd name="connsiteX27472" fmla="*/ 3046675 w 4610101"/>
              <a:gd name="connsiteY27472" fmla="*/ 822652 h 6557032"/>
              <a:gd name="connsiteX27473" fmla="*/ 954819 w 4610101"/>
              <a:gd name="connsiteY27473" fmla="*/ 822652 h 6557032"/>
              <a:gd name="connsiteX27474" fmla="*/ 951175 w 4610101"/>
              <a:gd name="connsiteY27474" fmla="*/ 826296 h 6557032"/>
              <a:gd name="connsiteX27475" fmla="*/ 952997 w 4610101"/>
              <a:gd name="connsiteY27475" fmla="*/ 828118 h 6557032"/>
              <a:gd name="connsiteX27476" fmla="*/ 954819 w 4610101"/>
              <a:gd name="connsiteY27476" fmla="*/ 822652 h 6557032"/>
              <a:gd name="connsiteX27477" fmla="*/ 767136 w 4610101"/>
              <a:gd name="connsiteY27477" fmla="*/ 822652 h 6557032"/>
              <a:gd name="connsiteX27478" fmla="*/ 759848 w 4610101"/>
              <a:gd name="connsiteY27478" fmla="*/ 839051 h 6557032"/>
              <a:gd name="connsiteX27479" fmla="*/ 779892 w 4610101"/>
              <a:gd name="connsiteY27479" fmla="*/ 842696 h 6557032"/>
              <a:gd name="connsiteX27480" fmla="*/ 767136 w 4610101"/>
              <a:gd name="connsiteY27480" fmla="*/ 822652 h 6557032"/>
              <a:gd name="connsiteX27481" fmla="*/ 594030 w 4610101"/>
              <a:gd name="connsiteY27481" fmla="*/ 822652 h 6557032"/>
              <a:gd name="connsiteX27482" fmla="*/ 597673 w 4610101"/>
              <a:gd name="connsiteY27482" fmla="*/ 826296 h 6557032"/>
              <a:gd name="connsiteX27483" fmla="*/ 594030 w 4610101"/>
              <a:gd name="connsiteY27483" fmla="*/ 822652 h 6557032"/>
              <a:gd name="connsiteX27484" fmla="*/ 273327 w 4610101"/>
              <a:gd name="connsiteY27484" fmla="*/ 822652 h 6557032"/>
              <a:gd name="connsiteX27485" fmla="*/ 278810 w 4610101"/>
              <a:gd name="connsiteY27485" fmla="*/ 829416 h 6557032"/>
              <a:gd name="connsiteX27486" fmla="*/ 278793 w 4610101"/>
              <a:gd name="connsiteY27486" fmla="*/ 829941 h 6557032"/>
              <a:gd name="connsiteX27487" fmla="*/ 273327 w 4610101"/>
              <a:gd name="connsiteY27487" fmla="*/ 822652 h 6557032"/>
              <a:gd name="connsiteX27488" fmla="*/ 231416 w 4610101"/>
              <a:gd name="connsiteY27488" fmla="*/ 822652 h 6557032"/>
              <a:gd name="connsiteX27489" fmla="*/ 238705 w 4610101"/>
              <a:gd name="connsiteY27489" fmla="*/ 829941 h 6557032"/>
              <a:gd name="connsiteX27490" fmla="*/ 231416 w 4610101"/>
              <a:gd name="connsiteY27490" fmla="*/ 822652 h 6557032"/>
              <a:gd name="connsiteX27491" fmla="*/ 1429193 w 4610101"/>
              <a:gd name="connsiteY27491" fmla="*/ 822456 h 6557032"/>
              <a:gd name="connsiteX27492" fmla="*/ 1435241 w 4610101"/>
              <a:gd name="connsiteY27492" fmla="*/ 823701 h 6557032"/>
              <a:gd name="connsiteX27493" fmla="*/ 1433596 w 4610101"/>
              <a:gd name="connsiteY27493" fmla="*/ 824474 h 6557032"/>
              <a:gd name="connsiteX27494" fmla="*/ 1428585 w 4610101"/>
              <a:gd name="connsiteY27494" fmla="*/ 822652 h 6557032"/>
              <a:gd name="connsiteX27495" fmla="*/ 1214231 w 4610101"/>
              <a:gd name="connsiteY27495" fmla="*/ 821658 h 6557032"/>
              <a:gd name="connsiteX27496" fmla="*/ 1213568 w 4610101"/>
              <a:gd name="connsiteY27496" fmla="*/ 822652 h 6557032"/>
              <a:gd name="connsiteX27497" fmla="*/ 1213462 w 4610101"/>
              <a:gd name="connsiteY27497" fmla="*/ 822177 h 6557032"/>
              <a:gd name="connsiteX27498" fmla="*/ 536533 w 4610101"/>
              <a:gd name="connsiteY27498" fmla="*/ 821112 h 6557032"/>
              <a:gd name="connsiteX27499" fmla="*/ 536630 w 4610101"/>
              <a:gd name="connsiteY27499" fmla="*/ 821285 h 6557032"/>
              <a:gd name="connsiteX27500" fmla="*/ 536643 w 4610101"/>
              <a:gd name="connsiteY27500" fmla="*/ 821477 h 6557032"/>
              <a:gd name="connsiteX27501" fmla="*/ 3587118 w 4610101"/>
              <a:gd name="connsiteY27501" fmla="*/ 820856 h 6557032"/>
              <a:gd name="connsiteX27502" fmla="*/ 3589228 w 4610101"/>
              <a:gd name="connsiteY27502" fmla="*/ 821058 h 6557032"/>
              <a:gd name="connsiteX27503" fmla="*/ 3589609 w 4610101"/>
              <a:gd name="connsiteY27503" fmla="*/ 821239 h 6557032"/>
              <a:gd name="connsiteX27504" fmla="*/ 2379760 w 4610101"/>
              <a:gd name="connsiteY27504" fmla="*/ 820830 h 6557032"/>
              <a:gd name="connsiteX27505" fmla="*/ 2394337 w 4610101"/>
              <a:gd name="connsiteY27505" fmla="*/ 839051 h 6557032"/>
              <a:gd name="connsiteX27506" fmla="*/ 2390693 w 4610101"/>
              <a:gd name="connsiteY27506" fmla="*/ 824474 h 6557032"/>
              <a:gd name="connsiteX27507" fmla="*/ 2388871 w 4610101"/>
              <a:gd name="connsiteY27507" fmla="*/ 824474 h 6557032"/>
              <a:gd name="connsiteX27508" fmla="*/ 2387048 w 4610101"/>
              <a:gd name="connsiteY27508" fmla="*/ 828118 h 6557032"/>
              <a:gd name="connsiteX27509" fmla="*/ 2379760 w 4610101"/>
              <a:gd name="connsiteY27509" fmla="*/ 820830 h 6557032"/>
              <a:gd name="connsiteX27510" fmla="*/ 2370649 w 4610101"/>
              <a:gd name="connsiteY27510" fmla="*/ 820830 h 6557032"/>
              <a:gd name="connsiteX27511" fmla="*/ 2371965 w 4610101"/>
              <a:gd name="connsiteY27511" fmla="*/ 830042 h 6557032"/>
              <a:gd name="connsiteX27512" fmla="*/ 2370649 w 4610101"/>
              <a:gd name="connsiteY27512" fmla="*/ 831763 h 6557032"/>
              <a:gd name="connsiteX27513" fmla="*/ 2372232 w 4610101"/>
              <a:gd name="connsiteY27513" fmla="*/ 831907 h 6557032"/>
              <a:gd name="connsiteX27514" fmla="*/ 2372471 w 4610101"/>
              <a:gd name="connsiteY27514" fmla="*/ 833585 h 6557032"/>
              <a:gd name="connsiteX27515" fmla="*/ 2365182 w 4610101"/>
              <a:gd name="connsiteY27515" fmla="*/ 831763 h 6557032"/>
              <a:gd name="connsiteX27516" fmla="*/ 2367004 w 4610101"/>
              <a:gd name="connsiteY27516" fmla="*/ 846340 h 6557032"/>
              <a:gd name="connsiteX27517" fmla="*/ 2368827 w 4610101"/>
              <a:gd name="connsiteY27517" fmla="*/ 840874 h 6557032"/>
              <a:gd name="connsiteX27518" fmla="*/ 2370649 w 4610101"/>
              <a:gd name="connsiteY27518" fmla="*/ 841785 h 6557032"/>
              <a:gd name="connsiteX27519" fmla="*/ 2372289 w 4610101"/>
              <a:gd name="connsiteY27519" fmla="*/ 842605 h 6557032"/>
              <a:gd name="connsiteX27520" fmla="*/ 2370649 w 4610101"/>
              <a:gd name="connsiteY27520" fmla="*/ 849985 h 6557032"/>
              <a:gd name="connsiteX27521" fmla="*/ 2372471 w 4610101"/>
              <a:gd name="connsiteY27521" fmla="*/ 842696 h 6557032"/>
              <a:gd name="connsiteX27522" fmla="*/ 2372289 w 4610101"/>
              <a:gd name="connsiteY27522" fmla="*/ 842605 h 6557032"/>
              <a:gd name="connsiteX27523" fmla="*/ 2374293 w 4610101"/>
              <a:gd name="connsiteY27523" fmla="*/ 833585 h 6557032"/>
              <a:gd name="connsiteX27524" fmla="*/ 2373154 w 4610101"/>
              <a:gd name="connsiteY27524" fmla="*/ 831991 h 6557032"/>
              <a:gd name="connsiteX27525" fmla="*/ 2372232 w 4610101"/>
              <a:gd name="connsiteY27525" fmla="*/ 831907 h 6557032"/>
              <a:gd name="connsiteX27526" fmla="*/ 2371965 w 4610101"/>
              <a:gd name="connsiteY27526" fmla="*/ 830042 h 6557032"/>
              <a:gd name="connsiteX27527" fmla="*/ 2373610 w 4610101"/>
              <a:gd name="connsiteY27527" fmla="*/ 827891 h 6557032"/>
              <a:gd name="connsiteX27528" fmla="*/ 2377937 w 4610101"/>
              <a:gd name="connsiteY27528" fmla="*/ 828118 h 6557032"/>
              <a:gd name="connsiteX27529" fmla="*/ 2370649 w 4610101"/>
              <a:gd name="connsiteY27529" fmla="*/ 820830 h 6557032"/>
              <a:gd name="connsiteX27530" fmla="*/ 2146521 w 4610101"/>
              <a:gd name="connsiteY27530" fmla="*/ 820830 h 6557032"/>
              <a:gd name="connsiteX27531" fmla="*/ 2146521 w 4610101"/>
              <a:gd name="connsiteY27531" fmla="*/ 826296 h 6557032"/>
              <a:gd name="connsiteX27532" fmla="*/ 2150166 w 4610101"/>
              <a:gd name="connsiteY27532" fmla="*/ 826296 h 6557032"/>
              <a:gd name="connsiteX27533" fmla="*/ 2151988 w 4610101"/>
              <a:gd name="connsiteY27533" fmla="*/ 824474 h 6557032"/>
              <a:gd name="connsiteX27534" fmla="*/ 1333832 w 4610101"/>
              <a:gd name="connsiteY27534" fmla="*/ 820830 h 6557032"/>
              <a:gd name="connsiteX27535" fmla="*/ 1330188 w 4610101"/>
              <a:gd name="connsiteY27535" fmla="*/ 824474 h 6557032"/>
              <a:gd name="connsiteX27536" fmla="*/ 1333832 w 4610101"/>
              <a:gd name="connsiteY27536" fmla="*/ 826296 h 6557032"/>
              <a:gd name="connsiteX27537" fmla="*/ 1333832 w 4610101"/>
              <a:gd name="connsiteY27537" fmla="*/ 820830 h 6557032"/>
              <a:gd name="connsiteX27538" fmla="*/ 1262767 w 4610101"/>
              <a:gd name="connsiteY27538" fmla="*/ 820830 h 6557032"/>
              <a:gd name="connsiteX27539" fmla="*/ 1260945 w 4610101"/>
              <a:gd name="connsiteY27539" fmla="*/ 828118 h 6557032"/>
              <a:gd name="connsiteX27540" fmla="*/ 1262767 w 4610101"/>
              <a:gd name="connsiteY27540" fmla="*/ 829941 h 6557032"/>
              <a:gd name="connsiteX27541" fmla="*/ 1260945 w 4610101"/>
              <a:gd name="connsiteY27541" fmla="*/ 831763 h 6557032"/>
              <a:gd name="connsiteX27542" fmla="*/ 1262767 w 4610101"/>
              <a:gd name="connsiteY27542" fmla="*/ 820830 h 6557032"/>
              <a:gd name="connsiteX27543" fmla="*/ 1211747 w 4610101"/>
              <a:gd name="connsiteY27543" fmla="*/ 820830 h 6557032"/>
              <a:gd name="connsiteX27544" fmla="*/ 1164370 w 4610101"/>
              <a:gd name="connsiteY27544" fmla="*/ 833585 h 6557032"/>
              <a:gd name="connsiteX27545" fmla="*/ 1200814 w 4610101"/>
              <a:gd name="connsiteY27545" fmla="*/ 833585 h 6557032"/>
              <a:gd name="connsiteX27546" fmla="*/ 1211747 w 4610101"/>
              <a:gd name="connsiteY27546" fmla="*/ 820830 h 6557032"/>
              <a:gd name="connsiteX27547" fmla="*/ 1106060 w 4610101"/>
              <a:gd name="connsiteY27547" fmla="*/ 820830 h 6557032"/>
              <a:gd name="connsiteX27548" fmla="*/ 1102416 w 4610101"/>
              <a:gd name="connsiteY27548" fmla="*/ 822652 h 6557032"/>
              <a:gd name="connsiteX27549" fmla="*/ 1104238 w 4610101"/>
              <a:gd name="connsiteY27549" fmla="*/ 822652 h 6557032"/>
              <a:gd name="connsiteX27550" fmla="*/ 1098771 w 4610101"/>
              <a:gd name="connsiteY27550" fmla="*/ 824474 h 6557032"/>
              <a:gd name="connsiteX27551" fmla="*/ 1095127 w 4610101"/>
              <a:gd name="connsiteY27551" fmla="*/ 829941 h 6557032"/>
              <a:gd name="connsiteX27552" fmla="*/ 1115171 w 4610101"/>
              <a:gd name="connsiteY27552" fmla="*/ 820830 h 6557032"/>
              <a:gd name="connsiteX27553" fmla="*/ 1106060 w 4610101"/>
              <a:gd name="connsiteY27553" fmla="*/ 820830 h 6557032"/>
              <a:gd name="connsiteX27554" fmla="*/ 1040462 w 4610101"/>
              <a:gd name="connsiteY27554" fmla="*/ 820830 h 6557032"/>
              <a:gd name="connsiteX27555" fmla="*/ 1033173 w 4610101"/>
              <a:gd name="connsiteY27555" fmla="*/ 822652 h 6557032"/>
              <a:gd name="connsiteX27556" fmla="*/ 1036818 w 4610101"/>
              <a:gd name="connsiteY27556" fmla="*/ 826296 h 6557032"/>
              <a:gd name="connsiteX27557" fmla="*/ 1040462 w 4610101"/>
              <a:gd name="connsiteY27557" fmla="*/ 820830 h 6557032"/>
              <a:gd name="connsiteX27558" fmla="*/ 871000 w 4610101"/>
              <a:gd name="connsiteY27558" fmla="*/ 820830 h 6557032"/>
              <a:gd name="connsiteX27559" fmla="*/ 876466 w 4610101"/>
              <a:gd name="connsiteY27559" fmla="*/ 826296 h 6557032"/>
              <a:gd name="connsiteX27560" fmla="*/ 876466 w 4610101"/>
              <a:gd name="connsiteY27560" fmla="*/ 822652 h 6557032"/>
              <a:gd name="connsiteX27561" fmla="*/ 871000 w 4610101"/>
              <a:gd name="connsiteY27561" fmla="*/ 820830 h 6557032"/>
              <a:gd name="connsiteX27562" fmla="*/ 856422 w 4610101"/>
              <a:gd name="connsiteY27562" fmla="*/ 820830 h 6557032"/>
              <a:gd name="connsiteX27563" fmla="*/ 860066 w 4610101"/>
              <a:gd name="connsiteY27563" fmla="*/ 826296 h 6557032"/>
              <a:gd name="connsiteX27564" fmla="*/ 860066 w 4610101"/>
              <a:gd name="connsiteY27564" fmla="*/ 820830 h 6557032"/>
              <a:gd name="connsiteX27565" fmla="*/ 856422 w 4610101"/>
              <a:gd name="connsiteY27565" fmla="*/ 820830 h 6557032"/>
              <a:gd name="connsiteX27566" fmla="*/ 849133 w 4610101"/>
              <a:gd name="connsiteY27566" fmla="*/ 820830 h 6557032"/>
              <a:gd name="connsiteX27567" fmla="*/ 845489 w 4610101"/>
              <a:gd name="connsiteY27567" fmla="*/ 824474 h 6557032"/>
              <a:gd name="connsiteX27568" fmla="*/ 849133 w 4610101"/>
              <a:gd name="connsiteY27568" fmla="*/ 820830 h 6557032"/>
              <a:gd name="connsiteX27569" fmla="*/ 313414 w 4610101"/>
              <a:gd name="connsiteY27569" fmla="*/ 820830 h 6557032"/>
              <a:gd name="connsiteX27570" fmla="*/ 324347 w 4610101"/>
              <a:gd name="connsiteY27570" fmla="*/ 828118 h 6557032"/>
              <a:gd name="connsiteX27571" fmla="*/ 313414 w 4610101"/>
              <a:gd name="connsiteY27571" fmla="*/ 820830 h 6557032"/>
              <a:gd name="connsiteX27572" fmla="*/ 1435646 w 4610101"/>
              <a:gd name="connsiteY27572" fmla="*/ 820375 h 6557032"/>
              <a:gd name="connsiteX27573" fmla="*/ 1429193 w 4610101"/>
              <a:gd name="connsiteY27573" fmla="*/ 822456 h 6557032"/>
              <a:gd name="connsiteX27574" fmla="*/ 1421296 w 4610101"/>
              <a:gd name="connsiteY27574" fmla="*/ 820830 h 6557032"/>
              <a:gd name="connsiteX27575" fmla="*/ 1404896 w 4610101"/>
              <a:gd name="connsiteY27575" fmla="*/ 840874 h 6557032"/>
              <a:gd name="connsiteX27576" fmla="*/ 1404896 w 4610101"/>
              <a:gd name="connsiteY27576" fmla="*/ 844518 h 6557032"/>
              <a:gd name="connsiteX27577" fmla="*/ 1403074 w 4610101"/>
              <a:gd name="connsiteY27577" fmla="*/ 842696 h 6557032"/>
              <a:gd name="connsiteX27578" fmla="*/ 1399430 w 4610101"/>
              <a:gd name="connsiteY27578" fmla="*/ 844518 h 6557032"/>
              <a:gd name="connsiteX27579" fmla="*/ 1403074 w 4610101"/>
              <a:gd name="connsiteY27579" fmla="*/ 846340 h 6557032"/>
              <a:gd name="connsiteX27580" fmla="*/ 1401252 w 4610101"/>
              <a:gd name="connsiteY27580" fmla="*/ 848162 h 6557032"/>
              <a:gd name="connsiteX27581" fmla="*/ 1415235 w 4610101"/>
              <a:gd name="connsiteY27581" fmla="*/ 847070 h 6557032"/>
              <a:gd name="connsiteX27582" fmla="*/ 1414007 w 4610101"/>
              <a:gd name="connsiteY27582" fmla="*/ 848162 h 6557032"/>
              <a:gd name="connsiteX27583" fmla="*/ 1415829 w 4610101"/>
              <a:gd name="connsiteY27583" fmla="*/ 849985 h 6557032"/>
              <a:gd name="connsiteX27584" fmla="*/ 1409452 w 4610101"/>
              <a:gd name="connsiteY27584" fmla="*/ 851580 h 6557032"/>
              <a:gd name="connsiteX27585" fmla="*/ 1403974 w 4610101"/>
              <a:gd name="connsiteY27585" fmla="*/ 851775 h 6557032"/>
              <a:gd name="connsiteX27586" fmla="*/ 1397608 w 4610101"/>
              <a:gd name="connsiteY27586" fmla="*/ 846340 h 6557032"/>
              <a:gd name="connsiteX27587" fmla="*/ 1372097 w 4610101"/>
              <a:gd name="connsiteY27587" fmla="*/ 840874 h 6557032"/>
              <a:gd name="connsiteX27588" fmla="*/ 1368453 w 4610101"/>
              <a:gd name="connsiteY27588" fmla="*/ 844518 h 6557032"/>
              <a:gd name="connsiteX27589" fmla="*/ 1390319 w 4610101"/>
              <a:gd name="connsiteY27589" fmla="*/ 859095 h 6557032"/>
              <a:gd name="connsiteX27590" fmla="*/ 1419474 w 4610101"/>
              <a:gd name="connsiteY27590" fmla="*/ 860918 h 6557032"/>
              <a:gd name="connsiteX27591" fmla="*/ 1443162 w 4610101"/>
              <a:gd name="connsiteY27591" fmla="*/ 849985 h 6557032"/>
              <a:gd name="connsiteX27592" fmla="*/ 1446806 w 4610101"/>
              <a:gd name="connsiteY27592" fmla="*/ 849985 h 6557032"/>
              <a:gd name="connsiteX27593" fmla="*/ 1450451 w 4610101"/>
              <a:gd name="connsiteY27593" fmla="*/ 844518 h 6557032"/>
              <a:gd name="connsiteX27594" fmla="*/ 1452273 w 4610101"/>
              <a:gd name="connsiteY27594" fmla="*/ 848162 h 6557032"/>
              <a:gd name="connsiteX27595" fmla="*/ 1446806 w 4610101"/>
              <a:gd name="connsiteY27595" fmla="*/ 831763 h 6557032"/>
              <a:gd name="connsiteX27596" fmla="*/ 1454095 w 4610101"/>
              <a:gd name="connsiteY27596" fmla="*/ 846340 h 6557032"/>
              <a:gd name="connsiteX27597" fmla="*/ 1470495 w 4610101"/>
              <a:gd name="connsiteY27597" fmla="*/ 820830 h 6557032"/>
              <a:gd name="connsiteX27598" fmla="*/ 1444528 w 4610101"/>
              <a:gd name="connsiteY27598" fmla="*/ 825613 h 6557032"/>
              <a:gd name="connsiteX27599" fmla="*/ 1435241 w 4610101"/>
              <a:gd name="connsiteY27599" fmla="*/ 823701 h 6557032"/>
              <a:gd name="connsiteX27600" fmla="*/ 1441340 w 4610101"/>
              <a:gd name="connsiteY27600" fmla="*/ 820830 h 6557032"/>
              <a:gd name="connsiteX27601" fmla="*/ 1435646 w 4610101"/>
              <a:gd name="connsiteY27601" fmla="*/ 820375 h 6557032"/>
              <a:gd name="connsiteX27602" fmla="*/ 3529551 w 4610101"/>
              <a:gd name="connsiteY27602" fmla="*/ 819528 h 6557032"/>
              <a:gd name="connsiteX27603" fmla="*/ 3534115 w 4610101"/>
              <a:gd name="connsiteY27603" fmla="*/ 819746 h 6557032"/>
              <a:gd name="connsiteX27604" fmla="*/ 3533652 w 4610101"/>
              <a:gd name="connsiteY27604" fmla="*/ 821058 h 6557032"/>
              <a:gd name="connsiteX27605" fmla="*/ 3529551 w 4610101"/>
              <a:gd name="connsiteY27605" fmla="*/ 820830 h 6557032"/>
              <a:gd name="connsiteX27606" fmla="*/ 1144326 w 4610101"/>
              <a:gd name="connsiteY27606" fmla="*/ 819008 h 6557032"/>
              <a:gd name="connsiteX27607" fmla="*/ 1144326 w 4610101"/>
              <a:gd name="connsiteY27607" fmla="*/ 822652 h 6557032"/>
              <a:gd name="connsiteX27608" fmla="*/ 1147970 w 4610101"/>
              <a:gd name="connsiteY27608" fmla="*/ 820830 h 6557032"/>
              <a:gd name="connsiteX27609" fmla="*/ 1144326 w 4610101"/>
              <a:gd name="connsiteY27609" fmla="*/ 819008 h 6557032"/>
              <a:gd name="connsiteX27610" fmla="*/ 515676 w 4610101"/>
              <a:gd name="connsiteY27610" fmla="*/ 819008 h 6557032"/>
              <a:gd name="connsiteX27611" fmla="*/ 515676 w 4610101"/>
              <a:gd name="connsiteY27611" fmla="*/ 822652 h 6557032"/>
              <a:gd name="connsiteX27612" fmla="*/ 515676 w 4610101"/>
              <a:gd name="connsiteY27612" fmla="*/ 819008 h 6557032"/>
              <a:gd name="connsiteX27613" fmla="*/ 1293744 w 4610101"/>
              <a:gd name="connsiteY27613" fmla="*/ 818780 h 6557032"/>
              <a:gd name="connsiteX27614" fmla="*/ 1280989 w 4610101"/>
              <a:gd name="connsiteY27614" fmla="*/ 819008 h 6557032"/>
              <a:gd name="connsiteX27615" fmla="*/ 1306499 w 4610101"/>
              <a:gd name="connsiteY27615" fmla="*/ 822652 h 6557032"/>
              <a:gd name="connsiteX27616" fmla="*/ 1293744 w 4610101"/>
              <a:gd name="connsiteY27616" fmla="*/ 818780 h 6557032"/>
              <a:gd name="connsiteX27617" fmla="*/ 1217213 w 4610101"/>
              <a:gd name="connsiteY27617" fmla="*/ 817185 h 6557032"/>
              <a:gd name="connsiteX27618" fmla="*/ 1212657 w 4610101"/>
              <a:gd name="connsiteY27618" fmla="*/ 818552 h 6557032"/>
              <a:gd name="connsiteX27619" fmla="*/ 1213462 w 4610101"/>
              <a:gd name="connsiteY27619" fmla="*/ 822177 h 6557032"/>
              <a:gd name="connsiteX27620" fmla="*/ 1211747 w 4610101"/>
              <a:gd name="connsiteY27620" fmla="*/ 823335 h 6557032"/>
              <a:gd name="connsiteX27621" fmla="*/ 1202636 w 4610101"/>
              <a:gd name="connsiteY27621" fmla="*/ 833585 h 6557032"/>
              <a:gd name="connsiteX27622" fmla="*/ 1226323 w 4610101"/>
              <a:gd name="connsiteY27622" fmla="*/ 837229 h 6557032"/>
              <a:gd name="connsiteX27623" fmla="*/ 1231790 w 4610101"/>
              <a:gd name="connsiteY27623" fmla="*/ 833585 h 6557032"/>
              <a:gd name="connsiteX27624" fmla="*/ 1228146 w 4610101"/>
              <a:gd name="connsiteY27624" fmla="*/ 826296 h 6557032"/>
              <a:gd name="connsiteX27625" fmla="*/ 1231790 w 4610101"/>
              <a:gd name="connsiteY27625" fmla="*/ 826296 h 6557032"/>
              <a:gd name="connsiteX27626" fmla="*/ 1235434 w 4610101"/>
              <a:gd name="connsiteY27626" fmla="*/ 833585 h 6557032"/>
              <a:gd name="connsiteX27627" fmla="*/ 1240901 w 4610101"/>
              <a:gd name="connsiteY27627" fmla="*/ 828118 h 6557032"/>
              <a:gd name="connsiteX27628" fmla="*/ 1239080 w 4610101"/>
              <a:gd name="connsiteY27628" fmla="*/ 833585 h 6557032"/>
              <a:gd name="connsiteX27629" fmla="*/ 1233612 w 4610101"/>
              <a:gd name="connsiteY27629" fmla="*/ 835407 h 6557032"/>
              <a:gd name="connsiteX27630" fmla="*/ 1231790 w 4610101"/>
              <a:gd name="connsiteY27630" fmla="*/ 837229 h 6557032"/>
              <a:gd name="connsiteX27631" fmla="*/ 1235434 w 4610101"/>
              <a:gd name="connsiteY27631" fmla="*/ 837229 h 6557032"/>
              <a:gd name="connsiteX27632" fmla="*/ 1233612 w 4610101"/>
              <a:gd name="connsiteY27632" fmla="*/ 835407 h 6557032"/>
              <a:gd name="connsiteX27633" fmla="*/ 1242723 w 4610101"/>
              <a:gd name="connsiteY27633" fmla="*/ 839051 h 6557032"/>
              <a:gd name="connsiteX27634" fmla="*/ 1239080 w 4610101"/>
              <a:gd name="connsiteY27634" fmla="*/ 840874 h 6557032"/>
              <a:gd name="connsiteX27635" fmla="*/ 1242723 w 4610101"/>
              <a:gd name="connsiteY27635" fmla="*/ 846340 h 6557032"/>
              <a:gd name="connsiteX27636" fmla="*/ 1246783 w 4610101"/>
              <a:gd name="connsiteY27636" fmla="*/ 844310 h 6557032"/>
              <a:gd name="connsiteX27637" fmla="*/ 1247233 w 4610101"/>
              <a:gd name="connsiteY27637" fmla="*/ 848024 h 6557032"/>
              <a:gd name="connsiteX27638" fmla="*/ 1242723 w 4610101"/>
              <a:gd name="connsiteY27638" fmla="*/ 851807 h 6557032"/>
              <a:gd name="connsiteX27639" fmla="*/ 1247279 w 4610101"/>
              <a:gd name="connsiteY27639" fmla="*/ 848391 h 6557032"/>
              <a:gd name="connsiteX27640" fmla="*/ 1247233 w 4610101"/>
              <a:gd name="connsiteY27640" fmla="*/ 848024 h 6557032"/>
              <a:gd name="connsiteX27641" fmla="*/ 1249784 w 4610101"/>
              <a:gd name="connsiteY27641" fmla="*/ 845885 h 6557032"/>
              <a:gd name="connsiteX27642" fmla="*/ 1250012 w 4610101"/>
              <a:gd name="connsiteY27642" fmla="*/ 842696 h 6557032"/>
              <a:gd name="connsiteX27643" fmla="*/ 1253200 w 4610101"/>
              <a:gd name="connsiteY27643" fmla="*/ 831991 h 6557032"/>
              <a:gd name="connsiteX27644" fmla="*/ 1248941 w 4610101"/>
              <a:gd name="connsiteY27644" fmla="*/ 824054 h 6557032"/>
              <a:gd name="connsiteX27645" fmla="*/ 1250012 w 4610101"/>
              <a:gd name="connsiteY27645" fmla="*/ 824474 h 6557032"/>
              <a:gd name="connsiteX27646" fmla="*/ 1248793 w 4610101"/>
              <a:gd name="connsiteY27646" fmla="*/ 823778 h 6557032"/>
              <a:gd name="connsiteX27647" fmla="*/ 1248189 w 4610101"/>
              <a:gd name="connsiteY27647" fmla="*/ 822652 h 6557032"/>
              <a:gd name="connsiteX27648" fmla="*/ 1248417 w 4610101"/>
              <a:gd name="connsiteY27648" fmla="*/ 823563 h 6557032"/>
              <a:gd name="connsiteX27649" fmla="*/ 1248793 w 4610101"/>
              <a:gd name="connsiteY27649" fmla="*/ 823778 h 6557032"/>
              <a:gd name="connsiteX27650" fmla="*/ 1248941 w 4610101"/>
              <a:gd name="connsiteY27650" fmla="*/ 824054 h 6557032"/>
              <a:gd name="connsiteX27651" fmla="*/ 1237256 w 4610101"/>
              <a:gd name="connsiteY27651" fmla="*/ 819463 h 6557032"/>
              <a:gd name="connsiteX27652" fmla="*/ 1224501 w 4610101"/>
              <a:gd name="connsiteY27652" fmla="*/ 817185 h 6557032"/>
              <a:gd name="connsiteX27653" fmla="*/ 1220858 w 4610101"/>
              <a:gd name="connsiteY27653" fmla="*/ 817185 h 6557032"/>
              <a:gd name="connsiteX27654" fmla="*/ 1214231 w 4610101"/>
              <a:gd name="connsiteY27654" fmla="*/ 821658 h 6557032"/>
              <a:gd name="connsiteX27655" fmla="*/ 996729 w 4610101"/>
              <a:gd name="connsiteY27655" fmla="*/ 817185 h 6557032"/>
              <a:gd name="connsiteX27656" fmla="*/ 994907 w 4610101"/>
              <a:gd name="connsiteY27656" fmla="*/ 822652 h 6557032"/>
              <a:gd name="connsiteX27657" fmla="*/ 1000374 w 4610101"/>
              <a:gd name="connsiteY27657" fmla="*/ 824474 h 6557032"/>
              <a:gd name="connsiteX27658" fmla="*/ 996729 w 4610101"/>
              <a:gd name="connsiteY27658" fmla="*/ 817185 h 6557032"/>
              <a:gd name="connsiteX27659" fmla="*/ 843667 w 4610101"/>
              <a:gd name="connsiteY27659" fmla="*/ 817185 h 6557032"/>
              <a:gd name="connsiteX27660" fmla="*/ 840022 w 4610101"/>
              <a:gd name="connsiteY27660" fmla="*/ 820830 h 6557032"/>
              <a:gd name="connsiteX27661" fmla="*/ 843667 w 4610101"/>
              <a:gd name="connsiteY27661" fmla="*/ 817185 h 6557032"/>
              <a:gd name="connsiteX27662" fmla="*/ 657805 w 4610101"/>
              <a:gd name="connsiteY27662" fmla="*/ 817185 h 6557032"/>
              <a:gd name="connsiteX27663" fmla="*/ 654161 w 4610101"/>
              <a:gd name="connsiteY27663" fmla="*/ 819008 h 6557032"/>
              <a:gd name="connsiteX27664" fmla="*/ 661449 w 4610101"/>
              <a:gd name="connsiteY27664" fmla="*/ 819008 h 6557032"/>
              <a:gd name="connsiteX27665" fmla="*/ 657805 w 4610101"/>
              <a:gd name="connsiteY27665" fmla="*/ 817185 h 6557032"/>
              <a:gd name="connsiteX27666" fmla="*/ 448256 w 4610101"/>
              <a:gd name="connsiteY27666" fmla="*/ 817185 h 6557032"/>
              <a:gd name="connsiteX27667" fmla="*/ 468299 w 4610101"/>
              <a:gd name="connsiteY27667" fmla="*/ 826296 h 6557032"/>
              <a:gd name="connsiteX27668" fmla="*/ 448256 w 4610101"/>
              <a:gd name="connsiteY27668" fmla="*/ 817185 h 6557032"/>
              <a:gd name="connsiteX27669" fmla="*/ 431856 w 4610101"/>
              <a:gd name="connsiteY27669" fmla="*/ 817185 h 6557032"/>
              <a:gd name="connsiteX27670" fmla="*/ 442789 w 4610101"/>
              <a:gd name="connsiteY27670" fmla="*/ 828118 h 6557032"/>
              <a:gd name="connsiteX27671" fmla="*/ 431856 w 4610101"/>
              <a:gd name="connsiteY27671" fmla="*/ 817185 h 6557032"/>
              <a:gd name="connsiteX27672" fmla="*/ 298837 w 4610101"/>
              <a:gd name="connsiteY27672" fmla="*/ 817185 h 6557032"/>
              <a:gd name="connsiteX27673" fmla="*/ 315236 w 4610101"/>
              <a:gd name="connsiteY27673" fmla="*/ 835407 h 6557032"/>
              <a:gd name="connsiteX27674" fmla="*/ 298837 w 4610101"/>
              <a:gd name="connsiteY27674" fmla="*/ 817185 h 6557032"/>
              <a:gd name="connsiteX27675" fmla="*/ 275149 w 4610101"/>
              <a:gd name="connsiteY27675" fmla="*/ 817185 h 6557032"/>
              <a:gd name="connsiteX27676" fmla="*/ 266038 w 4610101"/>
              <a:gd name="connsiteY27676" fmla="*/ 819008 h 6557032"/>
              <a:gd name="connsiteX27677" fmla="*/ 284259 w 4610101"/>
              <a:gd name="connsiteY27677" fmla="*/ 840874 h 6557032"/>
              <a:gd name="connsiteX27678" fmla="*/ 280159 w 4610101"/>
              <a:gd name="connsiteY27678" fmla="*/ 831080 h 6557032"/>
              <a:gd name="connsiteX27679" fmla="*/ 278810 w 4610101"/>
              <a:gd name="connsiteY27679" fmla="*/ 829416 h 6557032"/>
              <a:gd name="connsiteX27680" fmla="*/ 279021 w 4610101"/>
              <a:gd name="connsiteY27680" fmla="*/ 822880 h 6557032"/>
              <a:gd name="connsiteX27681" fmla="*/ 275149 w 4610101"/>
              <a:gd name="connsiteY27681" fmla="*/ 817185 h 6557032"/>
              <a:gd name="connsiteX27682" fmla="*/ 671321 w 4610101"/>
              <a:gd name="connsiteY27682" fmla="*/ 816814 h 6557032"/>
              <a:gd name="connsiteX27683" fmla="*/ 672383 w 4610101"/>
              <a:gd name="connsiteY27683" fmla="*/ 817185 h 6557032"/>
              <a:gd name="connsiteX27684" fmla="*/ 671644 w 4610101"/>
              <a:gd name="connsiteY27684" fmla="*/ 817924 h 6557032"/>
              <a:gd name="connsiteX27685" fmla="*/ 671244 w 4610101"/>
              <a:gd name="connsiteY27685" fmla="*/ 817186 h 6557032"/>
              <a:gd name="connsiteX27686" fmla="*/ 3489463 w 4610101"/>
              <a:gd name="connsiteY27686" fmla="*/ 815363 h 6557032"/>
              <a:gd name="connsiteX27687" fmla="*/ 3493108 w 4610101"/>
              <a:gd name="connsiteY27687" fmla="*/ 819008 h 6557032"/>
              <a:gd name="connsiteX27688" fmla="*/ 3488601 w 4610101"/>
              <a:gd name="connsiteY27688" fmla="*/ 819204 h 6557032"/>
              <a:gd name="connsiteX27689" fmla="*/ 3488330 w 4610101"/>
              <a:gd name="connsiteY27689" fmla="*/ 818118 h 6557032"/>
              <a:gd name="connsiteX27690" fmla="*/ 3418399 w 4610101"/>
              <a:gd name="connsiteY27690" fmla="*/ 815363 h 6557032"/>
              <a:gd name="connsiteX27691" fmla="*/ 3422043 w 4610101"/>
              <a:gd name="connsiteY27691" fmla="*/ 822652 h 6557032"/>
              <a:gd name="connsiteX27692" fmla="*/ 3423865 w 4610101"/>
              <a:gd name="connsiteY27692" fmla="*/ 815363 h 6557032"/>
              <a:gd name="connsiteX27693" fmla="*/ 3418399 w 4610101"/>
              <a:gd name="connsiteY27693" fmla="*/ 815363 h 6557032"/>
              <a:gd name="connsiteX27694" fmla="*/ 3394710 w 4610101"/>
              <a:gd name="connsiteY27694" fmla="*/ 815363 h 6557032"/>
              <a:gd name="connsiteX27695" fmla="*/ 3411110 w 4610101"/>
              <a:gd name="connsiteY27695" fmla="*/ 820830 h 6557032"/>
              <a:gd name="connsiteX27696" fmla="*/ 3394710 w 4610101"/>
              <a:gd name="connsiteY27696" fmla="*/ 815363 h 6557032"/>
              <a:gd name="connsiteX27697" fmla="*/ 1330188 w 4610101"/>
              <a:gd name="connsiteY27697" fmla="*/ 815363 h 6557032"/>
              <a:gd name="connsiteX27698" fmla="*/ 1319254 w 4610101"/>
              <a:gd name="connsiteY27698" fmla="*/ 819008 h 6557032"/>
              <a:gd name="connsiteX27699" fmla="*/ 1328365 w 4610101"/>
              <a:gd name="connsiteY27699" fmla="*/ 824474 h 6557032"/>
              <a:gd name="connsiteX27700" fmla="*/ 1330188 w 4610101"/>
              <a:gd name="connsiteY27700" fmla="*/ 815363 h 6557032"/>
              <a:gd name="connsiteX27701" fmla="*/ 1262767 w 4610101"/>
              <a:gd name="connsiteY27701" fmla="*/ 815363 h 6557032"/>
              <a:gd name="connsiteX27702" fmla="*/ 1260945 w 4610101"/>
              <a:gd name="connsiteY27702" fmla="*/ 817185 h 6557032"/>
              <a:gd name="connsiteX27703" fmla="*/ 1268233 w 4610101"/>
              <a:gd name="connsiteY27703" fmla="*/ 820830 h 6557032"/>
              <a:gd name="connsiteX27704" fmla="*/ 1262767 w 4610101"/>
              <a:gd name="connsiteY27704" fmla="*/ 815363 h 6557032"/>
              <a:gd name="connsiteX27705" fmla="*/ 1014951 w 4610101"/>
              <a:gd name="connsiteY27705" fmla="*/ 815363 h 6557032"/>
              <a:gd name="connsiteX27706" fmla="*/ 1014951 w 4610101"/>
              <a:gd name="connsiteY27706" fmla="*/ 820830 h 6557032"/>
              <a:gd name="connsiteX27707" fmla="*/ 1020418 w 4610101"/>
              <a:gd name="connsiteY27707" fmla="*/ 822652 h 6557032"/>
              <a:gd name="connsiteX27708" fmla="*/ 1024062 w 4610101"/>
              <a:gd name="connsiteY27708" fmla="*/ 819008 h 6557032"/>
              <a:gd name="connsiteX27709" fmla="*/ 1014951 w 4610101"/>
              <a:gd name="connsiteY27709" fmla="*/ 820830 h 6557032"/>
              <a:gd name="connsiteX27710" fmla="*/ 1016774 w 4610101"/>
              <a:gd name="connsiteY27710" fmla="*/ 819008 h 6557032"/>
              <a:gd name="connsiteX27711" fmla="*/ 1014951 w 4610101"/>
              <a:gd name="connsiteY27711" fmla="*/ 815363 h 6557032"/>
              <a:gd name="connsiteX27712" fmla="*/ 781713 w 4610101"/>
              <a:gd name="connsiteY27712" fmla="*/ 815363 h 6557032"/>
              <a:gd name="connsiteX27713" fmla="*/ 790824 w 4610101"/>
              <a:gd name="connsiteY27713" fmla="*/ 828118 h 6557032"/>
              <a:gd name="connsiteX27714" fmla="*/ 790824 w 4610101"/>
              <a:gd name="connsiteY27714" fmla="*/ 826296 h 6557032"/>
              <a:gd name="connsiteX27715" fmla="*/ 796290 w 4610101"/>
              <a:gd name="connsiteY27715" fmla="*/ 829941 h 6557032"/>
              <a:gd name="connsiteX27716" fmla="*/ 799935 w 4610101"/>
              <a:gd name="connsiteY27716" fmla="*/ 829941 h 6557032"/>
              <a:gd name="connsiteX27717" fmla="*/ 803579 w 4610101"/>
              <a:gd name="connsiteY27717" fmla="*/ 828118 h 6557032"/>
              <a:gd name="connsiteX27718" fmla="*/ 781713 w 4610101"/>
              <a:gd name="connsiteY27718" fmla="*/ 815363 h 6557032"/>
              <a:gd name="connsiteX27719" fmla="*/ 750737 w 4610101"/>
              <a:gd name="connsiteY27719" fmla="*/ 815363 h 6557032"/>
              <a:gd name="connsiteX27720" fmla="*/ 741626 w 4610101"/>
              <a:gd name="connsiteY27720" fmla="*/ 822652 h 6557032"/>
              <a:gd name="connsiteX27721" fmla="*/ 747092 w 4610101"/>
              <a:gd name="connsiteY27721" fmla="*/ 826296 h 6557032"/>
              <a:gd name="connsiteX27722" fmla="*/ 750737 w 4610101"/>
              <a:gd name="connsiteY27722" fmla="*/ 819008 h 6557032"/>
              <a:gd name="connsiteX27723" fmla="*/ 750737 w 4610101"/>
              <a:gd name="connsiteY27723" fmla="*/ 815363 h 6557032"/>
              <a:gd name="connsiteX27724" fmla="*/ 564874 w 4610101"/>
              <a:gd name="connsiteY27724" fmla="*/ 815363 h 6557032"/>
              <a:gd name="connsiteX27725" fmla="*/ 568519 w 4610101"/>
              <a:gd name="connsiteY27725" fmla="*/ 824474 h 6557032"/>
              <a:gd name="connsiteX27726" fmla="*/ 566697 w 4610101"/>
              <a:gd name="connsiteY27726" fmla="*/ 815363 h 6557032"/>
              <a:gd name="connsiteX27727" fmla="*/ 564874 w 4610101"/>
              <a:gd name="connsiteY27727" fmla="*/ 815363 h 6557032"/>
              <a:gd name="connsiteX27728" fmla="*/ 333458 w 4610101"/>
              <a:gd name="connsiteY27728" fmla="*/ 815363 h 6557032"/>
              <a:gd name="connsiteX27729" fmla="*/ 335280 w 4610101"/>
              <a:gd name="connsiteY27729" fmla="*/ 820830 h 6557032"/>
              <a:gd name="connsiteX27730" fmla="*/ 333458 w 4610101"/>
              <a:gd name="connsiteY27730" fmla="*/ 815363 h 6557032"/>
              <a:gd name="connsiteX27731" fmla="*/ 3329568 w 4610101"/>
              <a:gd name="connsiteY27731" fmla="*/ 814680 h 6557032"/>
              <a:gd name="connsiteX27732" fmla="*/ 3323646 w 4610101"/>
              <a:gd name="connsiteY27732" fmla="*/ 815363 h 6557032"/>
              <a:gd name="connsiteX27733" fmla="*/ 3332756 w 4610101"/>
              <a:gd name="connsiteY27733" fmla="*/ 815363 h 6557032"/>
              <a:gd name="connsiteX27734" fmla="*/ 3329568 w 4610101"/>
              <a:gd name="connsiteY27734" fmla="*/ 814680 h 6557032"/>
              <a:gd name="connsiteX27735" fmla="*/ 1246823 w 4610101"/>
              <a:gd name="connsiteY27735" fmla="*/ 814453 h 6557032"/>
              <a:gd name="connsiteX27736" fmla="*/ 1237256 w 4610101"/>
              <a:gd name="connsiteY27736" fmla="*/ 815363 h 6557032"/>
              <a:gd name="connsiteX27737" fmla="*/ 1253656 w 4610101"/>
              <a:gd name="connsiteY27737" fmla="*/ 819008 h 6557032"/>
              <a:gd name="connsiteX27738" fmla="*/ 1246823 w 4610101"/>
              <a:gd name="connsiteY27738" fmla="*/ 814453 h 6557032"/>
              <a:gd name="connsiteX27739" fmla="*/ 2614820 w 4610101"/>
              <a:gd name="connsiteY27739" fmla="*/ 813541 h 6557032"/>
              <a:gd name="connsiteX27740" fmla="*/ 2614820 w 4610101"/>
              <a:gd name="connsiteY27740" fmla="*/ 824474 h 6557032"/>
              <a:gd name="connsiteX27741" fmla="*/ 2614820 w 4610101"/>
              <a:gd name="connsiteY27741" fmla="*/ 813541 h 6557032"/>
              <a:gd name="connsiteX27742" fmla="*/ 1133393 w 4610101"/>
              <a:gd name="connsiteY27742" fmla="*/ 813541 h 6557032"/>
              <a:gd name="connsiteX27743" fmla="*/ 1127926 w 4610101"/>
              <a:gd name="connsiteY27743" fmla="*/ 817185 h 6557032"/>
              <a:gd name="connsiteX27744" fmla="*/ 1126104 w 4610101"/>
              <a:gd name="connsiteY27744" fmla="*/ 819008 h 6557032"/>
              <a:gd name="connsiteX27745" fmla="*/ 1131570 w 4610101"/>
              <a:gd name="connsiteY27745" fmla="*/ 820830 h 6557032"/>
              <a:gd name="connsiteX27746" fmla="*/ 1140681 w 4610101"/>
              <a:gd name="connsiteY27746" fmla="*/ 826296 h 6557032"/>
              <a:gd name="connsiteX27747" fmla="*/ 1138859 w 4610101"/>
              <a:gd name="connsiteY27747" fmla="*/ 819008 h 6557032"/>
              <a:gd name="connsiteX27748" fmla="*/ 1135215 w 4610101"/>
              <a:gd name="connsiteY27748" fmla="*/ 820830 h 6557032"/>
              <a:gd name="connsiteX27749" fmla="*/ 1131570 w 4610101"/>
              <a:gd name="connsiteY27749" fmla="*/ 817185 h 6557032"/>
              <a:gd name="connsiteX27750" fmla="*/ 1133393 w 4610101"/>
              <a:gd name="connsiteY27750" fmla="*/ 813541 h 6557032"/>
              <a:gd name="connsiteX27751" fmla="*/ 767136 w 4610101"/>
              <a:gd name="connsiteY27751" fmla="*/ 813541 h 6557032"/>
              <a:gd name="connsiteX27752" fmla="*/ 765313 w 4610101"/>
              <a:gd name="connsiteY27752" fmla="*/ 819008 h 6557032"/>
              <a:gd name="connsiteX27753" fmla="*/ 778070 w 4610101"/>
              <a:gd name="connsiteY27753" fmla="*/ 828118 h 6557032"/>
              <a:gd name="connsiteX27754" fmla="*/ 776246 w 4610101"/>
              <a:gd name="connsiteY27754" fmla="*/ 815363 h 6557032"/>
              <a:gd name="connsiteX27755" fmla="*/ 767136 w 4610101"/>
              <a:gd name="connsiteY27755" fmla="*/ 813541 h 6557032"/>
              <a:gd name="connsiteX27756" fmla="*/ 754380 w 4610101"/>
              <a:gd name="connsiteY27756" fmla="*/ 813541 h 6557032"/>
              <a:gd name="connsiteX27757" fmla="*/ 759848 w 4610101"/>
              <a:gd name="connsiteY27757" fmla="*/ 824474 h 6557032"/>
              <a:gd name="connsiteX27758" fmla="*/ 763491 w 4610101"/>
              <a:gd name="connsiteY27758" fmla="*/ 819008 h 6557032"/>
              <a:gd name="connsiteX27759" fmla="*/ 754380 w 4610101"/>
              <a:gd name="connsiteY27759" fmla="*/ 813541 h 6557032"/>
              <a:gd name="connsiteX27760" fmla="*/ 568519 w 4610101"/>
              <a:gd name="connsiteY27760" fmla="*/ 813541 h 6557032"/>
              <a:gd name="connsiteX27761" fmla="*/ 572163 w 4610101"/>
              <a:gd name="connsiteY27761" fmla="*/ 824474 h 6557032"/>
              <a:gd name="connsiteX27762" fmla="*/ 573985 w 4610101"/>
              <a:gd name="connsiteY27762" fmla="*/ 817185 h 6557032"/>
              <a:gd name="connsiteX27763" fmla="*/ 568519 w 4610101"/>
              <a:gd name="connsiteY27763" fmla="*/ 813541 h 6557032"/>
              <a:gd name="connsiteX27764" fmla="*/ 335280 w 4610101"/>
              <a:gd name="connsiteY27764" fmla="*/ 813541 h 6557032"/>
              <a:gd name="connsiteX27765" fmla="*/ 338926 w 4610101"/>
              <a:gd name="connsiteY27765" fmla="*/ 820830 h 6557032"/>
              <a:gd name="connsiteX27766" fmla="*/ 337102 w 4610101"/>
              <a:gd name="connsiteY27766" fmla="*/ 813541 h 6557032"/>
              <a:gd name="connsiteX27767" fmla="*/ 335280 w 4610101"/>
              <a:gd name="connsiteY27767" fmla="*/ 813541 h 6557032"/>
              <a:gd name="connsiteX27768" fmla="*/ 409960 w 4610101"/>
              <a:gd name="connsiteY27768" fmla="*/ 813534 h 6557032"/>
              <a:gd name="connsiteX27769" fmla="*/ 409989 w 4610101"/>
              <a:gd name="connsiteY27769" fmla="*/ 813541 h 6557032"/>
              <a:gd name="connsiteX27770" fmla="*/ 409962 w 4610101"/>
              <a:gd name="connsiteY27770" fmla="*/ 813536 h 6557032"/>
              <a:gd name="connsiteX27771" fmla="*/ 409939 w 4610101"/>
              <a:gd name="connsiteY27771" fmla="*/ 813490 h 6557032"/>
              <a:gd name="connsiteX27772" fmla="*/ 409989 w 4610101"/>
              <a:gd name="connsiteY27772" fmla="*/ 813541 h 6557032"/>
              <a:gd name="connsiteX27773" fmla="*/ 409948 w 4610101"/>
              <a:gd name="connsiteY27773" fmla="*/ 813508 h 6557032"/>
              <a:gd name="connsiteX27774" fmla="*/ 2585665 w 4610101"/>
              <a:gd name="connsiteY27774" fmla="*/ 811719 h 6557032"/>
              <a:gd name="connsiteX27775" fmla="*/ 2587487 w 4610101"/>
              <a:gd name="connsiteY27775" fmla="*/ 819008 h 6557032"/>
              <a:gd name="connsiteX27776" fmla="*/ 2585665 w 4610101"/>
              <a:gd name="connsiteY27776" fmla="*/ 811719 h 6557032"/>
              <a:gd name="connsiteX27777" fmla="*/ 2582021 w 4610101"/>
              <a:gd name="connsiteY27777" fmla="*/ 811719 h 6557032"/>
              <a:gd name="connsiteX27778" fmla="*/ 2574732 w 4610101"/>
              <a:gd name="connsiteY27778" fmla="*/ 817185 h 6557032"/>
              <a:gd name="connsiteX27779" fmla="*/ 2583843 w 4610101"/>
              <a:gd name="connsiteY27779" fmla="*/ 829941 h 6557032"/>
              <a:gd name="connsiteX27780" fmla="*/ 2582021 w 4610101"/>
              <a:gd name="connsiteY27780" fmla="*/ 811719 h 6557032"/>
              <a:gd name="connsiteX27781" fmla="*/ 699715 w 4610101"/>
              <a:gd name="connsiteY27781" fmla="*/ 811719 h 6557032"/>
              <a:gd name="connsiteX27782" fmla="*/ 703359 w 4610101"/>
              <a:gd name="connsiteY27782" fmla="*/ 815363 h 6557032"/>
              <a:gd name="connsiteX27783" fmla="*/ 703359 w 4610101"/>
              <a:gd name="connsiteY27783" fmla="*/ 811719 h 6557032"/>
              <a:gd name="connsiteX27784" fmla="*/ 699715 w 4610101"/>
              <a:gd name="connsiteY27784" fmla="*/ 811719 h 6557032"/>
              <a:gd name="connsiteX27785" fmla="*/ 672383 w 4610101"/>
              <a:gd name="connsiteY27785" fmla="*/ 811719 h 6557032"/>
              <a:gd name="connsiteX27786" fmla="*/ 671321 w 4610101"/>
              <a:gd name="connsiteY27786" fmla="*/ 816814 h 6557032"/>
              <a:gd name="connsiteX27787" fmla="*/ 666688 w 4610101"/>
              <a:gd name="connsiteY27787" fmla="*/ 815193 h 6557032"/>
              <a:gd name="connsiteX27788" fmla="*/ 668738 w 4610101"/>
              <a:gd name="connsiteY27788" fmla="*/ 820830 h 6557032"/>
              <a:gd name="connsiteX27789" fmla="*/ 670560 w 4610101"/>
              <a:gd name="connsiteY27789" fmla="*/ 819008 h 6557032"/>
              <a:gd name="connsiteX27790" fmla="*/ 671644 w 4610101"/>
              <a:gd name="connsiteY27790" fmla="*/ 817924 h 6557032"/>
              <a:gd name="connsiteX27791" fmla="*/ 674205 w 4610101"/>
              <a:gd name="connsiteY27791" fmla="*/ 822652 h 6557032"/>
              <a:gd name="connsiteX27792" fmla="*/ 672383 w 4610101"/>
              <a:gd name="connsiteY27792" fmla="*/ 811719 h 6557032"/>
              <a:gd name="connsiteX27793" fmla="*/ 594030 w 4610101"/>
              <a:gd name="connsiteY27793" fmla="*/ 811719 h 6557032"/>
              <a:gd name="connsiteX27794" fmla="*/ 592207 w 4610101"/>
              <a:gd name="connsiteY27794" fmla="*/ 815363 h 6557032"/>
              <a:gd name="connsiteX27795" fmla="*/ 595852 w 4610101"/>
              <a:gd name="connsiteY27795" fmla="*/ 815363 h 6557032"/>
              <a:gd name="connsiteX27796" fmla="*/ 594030 w 4610101"/>
              <a:gd name="connsiteY27796" fmla="*/ 811719 h 6557032"/>
              <a:gd name="connsiteX27797" fmla="*/ 3078791 w 4610101"/>
              <a:gd name="connsiteY27797" fmla="*/ 811264 h 6557032"/>
              <a:gd name="connsiteX27798" fmla="*/ 3070363 w 4610101"/>
              <a:gd name="connsiteY27798" fmla="*/ 815363 h 6557032"/>
              <a:gd name="connsiteX27799" fmla="*/ 3074008 w 4610101"/>
              <a:gd name="connsiteY27799" fmla="*/ 829941 h 6557032"/>
              <a:gd name="connsiteX27800" fmla="*/ 3068541 w 4610101"/>
              <a:gd name="connsiteY27800" fmla="*/ 824474 h 6557032"/>
              <a:gd name="connsiteX27801" fmla="*/ 3072186 w 4610101"/>
              <a:gd name="connsiteY27801" fmla="*/ 837229 h 6557032"/>
              <a:gd name="connsiteX27802" fmla="*/ 3081297 w 4610101"/>
              <a:gd name="connsiteY27802" fmla="*/ 826296 h 6557032"/>
              <a:gd name="connsiteX27803" fmla="*/ 3084941 w 4610101"/>
              <a:gd name="connsiteY27803" fmla="*/ 828118 h 6557032"/>
              <a:gd name="connsiteX27804" fmla="*/ 3084941 w 4610101"/>
              <a:gd name="connsiteY27804" fmla="*/ 817185 h 6557032"/>
              <a:gd name="connsiteX27805" fmla="*/ 3083119 w 4610101"/>
              <a:gd name="connsiteY27805" fmla="*/ 820830 h 6557032"/>
              <a:gd name="connsiteX27806" fmla="*/ 3078791 w 4610101"/>
              <a:gd name="connsiteY27806" fmla="*/ 811264 h 6557032"/>
              <a:gd name="connsiteX27807" fmla="*/ 2609353 w 4610101"/>
              <a:gd name="connsiteY27807" fmla="*/ 809897 h 6557032"/>
              <a:gd name="connsiteX27808" fmla="*/ 2607531 w 4610101"/>
              <a:gd name="connsiteY27808" fmla="*/ 822652 h 6557032"/>
              <a:gd name="connsiteX27809" fmla="*/ 2609353 w 4610101"/>
              <a:gd name="connsiteY27809" fmla="*/ 809897 h 6557032"/>
              <a:gd name="connsiteX27810" fmla="*/ 2596598 w 4610101"/>
              <a:gd name="connsiteY27810" fmla="*/ 809897 h 6557032"/>
              <a:gd name="connsiteX27811" fmla="*/ 2592954 w 4610101"/>
              <a:gd name="connsiteY27811" fmla="*/ 822652 h 6557032"/>
              <a:gd name="connsiteX27812" fmla="*/ 2600243 w 4610101"/>
              <a:gd name="connsiteY27812" fmla="*/ 819008 h 6557032"/>
              <a:gd name="connsiteX27813" fmla="*/ 2596598 w 4610101"/>
              <a:gd name="connsiteY27813" fmla="*/ 809897 h 6557032"/>
              <a:gd name="connsiteX27814" fmla="*/ 1488716 w 4610101"/>
              <a:gd name="connsiteY27814" fmla="*/ 809897 h 6557032"/>
              <a:gd name="connsiteX27815" fmla="*/ 1468673 w 4610101"/>
              <a:gd name="connsiteY27815" fmla="*/ 824474 h 6557032"/>
              <a:gd name="connsiteX27816" fmla="*/ 1468673 w 4610101"/>
              <a:gd name="connsiteY27816" fmla="*/ 826296 h 6557032"/>
              <a:gd name="connsiteX27817" fmla="*/ 1468673 w 4610101"/>
              <a:gd name="connsiteY27817" fmla="*/ 826297 h 6557032"/>
              <a:gd name="connsiteX27818" fmla="*/ 1455917 w 4610101"/>
              <a:gd name="connsiteY27818" fmla="*/ 846340 h 6557032"/>
              <a:gd name="connsiteX27819" fmla="*/ 1465711 w 4610101"/>
              <a:gd name="connsiteY27819" fmla="*/ 839052 h 6557032"/>
              <a:gd name="connsiteX27820" fmla="*/ 1468673 w 4610101"/>
              <a:gd name="connsiteY27820" fmla="*/ 826297 h 6557032"/>
              <a:gd name="connsiteX27821" fmla="*/ 1468673 w 4610101"/>
              <a:gd name="connsiteY27821" fmla="*/ 835407 h 6557032"/>
              <a:gd name="connsiteX27822" fmla="*/ 1463206 w 4610101"/>
              <a:gd name="connsiteY27822" fmla="*/ 846340 h 6557032"/>
              <a:gd name="connsiteX27823" fmla="*/ 1488716 w 4610101"/>
              <a:gd name="connsiteY27823" fmla="*/ 809897 h 6557032"/>
              <a:gd name="connsiteX27824" fmla="*/ 1137037 w 4610101"/>
              <a:gd name="connsiteY27824" fmla="*/ 809897 h 6557032"/>
              <a:gd name="connsiteX27825" fmla="*/ 1133393 w 4610101"/>
              <a:gd name="connsiteY27825" fmla="*/ 811719 h 6557032"/>
              <a:gd name="connsiteX27826" fmla="*/ 1137037 w 4610101"/>
              <a:gd name="connsiteY27826" fmla="*/ 809897 h 6557032"/>
              <a:gd name="connsiteX27827" fmla="*/ 996729 w 4610101"/>
              <a:gd name="connsiteY27827" fmla="*/ 809897 h 6557032"/>
              <a:gd name="connsiteX27828" fmla="*/ 996836 w 4610101"/>
              <a:gd name="connsiteY27828" fmla="*/ 810112 h 6557032"/>
              <a:gd name="connsiteX27829" fmla="*/ 996547 w 4610101"/>
              <a:gd name="connsiteY27829" fmla="*/ 810080 h 6557032"/>
              <a:gd name="connsiteX27830" fmla="*/ 856422 w 4610101"/>
              <a:gd name="connsiteY27830" fmla="*/ 809897 h 6557032"/>
              <a:gd name="connsiteX27831" fmla="*/ 850956 w 4610101"/>
              <a:gd name="connsiteY27831" fmla="*/ 811719 h 6557032"/>
              <a:gd name="connsiteX27832" fmla="*/ 863711 w 4610101"/>
              <a:gd name="connsiteY27832" fmla="*/ 817185 h 6557032"/>
              <a:gd name="connsiteX27833" fmla="*/ 856422 w 4610101"/>
              <a:gd name="connsiteY27833" fmla="*/ 809897 h 6557032"/>
              <a:gd name="connsiteX27834" fmla="*/ 829089 w 4610101"/>
              <a:gd name="connsiteY27834" fmla="*/ 809897 h 6557032"/>
              <a:gd name="connsiteX27835" fmla="*/ 830912 w 4610101"/>
              <a:gd name="connsiteY27835" fmla="*/ 822652 h 6557032"/>
              <a:gd name="connsiteX27836" fmla="*/ 829089 w 4610101"/>
              <a:gd name="connsiteY27836" fmla="*/ 809897 h 6557032"/>
              <a:gd name="connsiteX27837" fmla="*/ 767136 w 4610101"/>
              <a:gd name="connsiteY27837" fmla="*/ 809897 h 6557032"/>
              <a:gd name="connsiteX27838" fmla="*/ 774424 w 4610101"/>
              <a:gd name="connsiteY27838" fmla="*/ 813541 h 6557032"/>
              <a:gd name="connsiteX27839" fmla="*/ 767136 w 4610101"/>
              <a:gd name="connsiteY27839" fmla="*/ 809897 h 6557032"/>
              <a:gd name="connsiteX27840" fmla="*/ 723404 w 4610101"/>
              <a:gd name="connsiteY27840" fmla="*/ 809897 h 6557032"/>
              <a:gd name="connsiteX27841" fmla="*/ 725226 w 4610101"/>
              <a:gd name="connsiteY27841" fmla="*/ 813541 h 6557032"/>
              <a:gd name="connsiteX27842" fmla="*/ 723404 w 4610101"/>
              <a:gd name="connsiteY27842" fmla="*/ 809897 h 6557032"/>
              <a:gd name="connsiteX27843" fmla="*/ 690604 w 4610101"/>
              <a:gd name="connsiteY27843" fmla="*/ 809897 h 6557032"/>
              <a:gd name="connsiteX27844" fmla="*/ 685138 w 4610101"/>
              <a:gd name="connsiteY27844" fmla="*/ 817185 h 6557032"/>
              <a:gd name="connsiteX27845" fmla="*/ 688782 w 4610101"/>
              <a:gd name="connsiteY27845" fmla="*/ 819008 h 6557032"/>
              <a:gd name="connsiteX27846" fmla="*/ 690604 w 4610101"/>
              <a:gd name="connsiteY27846" fmla="*/ 809897 h 6557032"/>
              <a:gd name="connsiteX27847" fmla="*/ 606784 w 4610101"/>
              <a:gd name="connsiteY27847" fmla="*/ 809897 h 6557032"/>
              <a:gd name="connsiteX27848" fmla="*/ 604963 w 4610101"/>
              <a:gd name="connsiteY27848" fmla="*/ 817185 h 6557032"/>
              <a:gd name="connsiteX27849" fmla="*/ 606784 w 4610101"/>
              <a:gd name="connsiteY27849" fmla="*/ 809897 h 6557032"/>
              <a:gd name="connsiteX27850" fmla="*/ 1029164 w 4610101"/>
              <a:gd name="connsiteY27850" fmla="*/ 809532 h 6557032"/>
              <a:gd name="connsiteX27851" fmla="*/ 1027707 w 4610101"/>
              <a:gd name="connsiteY27851" fmla="*/ 811719 h 6557032"/>
              <a:gd name="connsiteX27852" fmla="*/ 1027707 w 4610101"/>
              <a:gd name="connsiteY27852" fmla="*/ 810505 h 6557032"/>
              <a:gd name="connsiteX27853" fmla="*/ 1175804 w 4610101"/>
              <a:gd name="connsiteY27853" fmla="*/ 809122 h 6557032"/>
              <a:gd name="connsiteX27854" fmla="*/ 1175523 w 4610101"/>
              <a:gd name="connsiteY27854" fmla="*/ 809557 h 6557032"/>
              <a:gd name="connsiteX27855" fmla="*/ 1173481 w 4610101"/>
              <a:gd name="connsiteY27855" fmla="*/ 809897 h 6557032"/>
              <a:gd name="connsiteX27856" fmla="*/ 443564 w 4610101"/>
              <a:gd name="connsiteY27856" fmla="*/ 808278 h 6557032"/>
              <a:gd name="connsiteX27857" fmla="*/ 447116 w 4610101"/>
              <a:gd name="connsiteY27857" fmla="*/ 809214 h 6557032"/>
              <a:gd name="connsiteX27858" fmla="*/ 447708 w 4610101"/>
              <a:gd name="connsiteY27858" fmla="*/ 809714 h 6557032"/>
              <a:gd name="connsiteX27859" fmla="*/ 443843 w 4610101"/>
              <a:gd name="connsiteY27859" fmla="*/ 808426 h 6557032"/>
              <a:gd name="connsiteX27860" fmla="*/ 3437568 w 4610101"/>
              <a:gd name="connsiteY27860" fmla="*/ 808074 h 6557032"/>
              <a:gd name="connsiteX27861" fmla="*/ 3440265 w 4610101"/>
              <a:gd name="connsiteY27861" fmla="*/ 808074 h 6557032"/>
              <a:gd name="connsiteX27862" fmla="*/ 3438058 w 4610101"/>
              <a:gd name="connsiteY27862" fmla="*/ 810113 h 6557032"/>
              <a:gd name="connsiteX27863" fmla="*/ 732515 w 4610101"/>
              <a:gd name="connsiteY27863" fmla="*/ 808074 h 6557032"/>
              <a:gd name="connsiteX27864" fmla="*/ 732515 w 4610101"/>
              <a:gd name="connsiteY27864" fmla="*/ 815363 h 6557032"/>
              <a:gd name="connsiteX27865" fmla="*/ 736159 w 4610101"/>
              <a:gd name="connsiteY27865" fmla="*/ 811719 h 6557032"/>
              <a:gd name="connsiteX27866" fmla="*/ 732515 w 4610101"/>
              <a:gd name="connsiteY27866" fmla="*/ 808074 h 6557032"/>
              <a:gd name="connsiteX27867" fmla="*/ 610429 w 4610101"/>
              <a:gd name="connsiteY27867" fmla="*/ 808074 h 6557032"/>
              <a:gd name="connsiteX27868" fmla="*/ 619539 w 4610101"/>
              <a:gd name="connsiteY27868" fmla="*/ 826296 h 6557032"/>
              <a:gd name="connsiteX27869" fmla="*/ 610429 w 4610101"/>
              <a:gd name="connsiteY27869" fmla="*/ 808074 h 6557032"/>
              <a:gd name="connsiteX27870" fmla="*/ 3205204 w 4610101"/>
              <a:gd name="connsiteY27870" fmla="*/ 806252 h 6557032"/>
              <a:gd name="connsiteX27871" fmla="*/ 3207027 w 4610101"/>
              <a:gd name="connsiteY27871" fmla="*/ 813541 h 6557032"/>
              <a:gd name="connsiteX27872" fmla="*/ 3205204 w 4610101"/>
              <a:gd name="connsiteY27872" fmla="*/ 806252 h 6557032"/>
              <a:gd name="connsiteX27873" fmla="*/ 2106433 w 4610101"/>
              <a:gd name="connsiteY27873" fmla="*/ 806252 h 6557032"/>
              <a:gd name="connsiteX27874" fmla="*/ 2093679 w 4610101"/>
              <a:gd name="connsiteY27874" fmla="*/ 824474 h 6557032"/>
              <a:gd name="connsiteX27875" fmla="*/ 2106433 w 4610101"/>
              <a:gd name="connsiteY27875" fmla="*/ 819008 h 6557032"/>
              <a:gd name="connsiteX27876" fmla="*/ 2106433 w 4610101"/>
              <a:gd name="connsiteY27876" fmla="*/ 806252 h 6557032"/>
              <a:gd name="connsiteX27877" fmla="*/ 1295566 w 4610101"/>
              <a:gd name="connsiteY27877" fmla="*/ 806252 h 6557032"/>
              <a:gd name="connsiteX27878" fmla="*/ 1286455 w 4610101"/>
              <a:gd name="connsiteY27878" fmla="*/ 809897 h 6557032"/>
              <a:gd name="connsiteX27879" fmla="*/ 1290100 w 4610101"/>
              <a:gd name="connsiteY27879" fmla="*/ 811719 h 6557032"/>
              <a:gd name="connsiteX27880" fmla="*/ 1295566 w 4610101"/>
              <a:gd name="connsiteY27880" fmla="*/ 806252 h 6557032"/>
              <a:gd name="connsiteX27881" fmla="*/ 1217213 w 4610101"/>
              <a:gd name="connsiteY27881" fmla="*/ 806252 h 6557032"/>
              <a:gd name="connsiteX27882" fmla="*/ 1219036 w 4610101"/>
              <a:gd name="connsiteY27882" fmla="*/ 808074 h 6557032"/>
              <a:gd name="connsiteX27883" fmla="*/ 1219034 w 4610101"/>
              <a:gd name="connsiteY27883" fmla="*/ 808074 h 6557032"/>
              <a:gd name="connsiteX27884" fmla="*/ 845489 w 4610101"/>
              <a:gd name="connsiteY27884" fmla="*/ 806252 h 6557032"/>
              <a:gd name="connsiteX27885" fmla="*/ 840022 w 4610101"/>
              <a:gd name="connsiteY27885" fmla="*/ 813541 h 6557032"/>
              <a:gd name="connsiteX27886" fmla="*/ 836378 w 4610101"/>
              <a:gd name="connsiteY27886" fmla="*/ 815363 h 6557032"/>
              <a:gd name="connsiteX27887" fmla="*/ 840022 w 4610101"/>
              <a:gd name="connsiteY27887" fmla="*/ 813541 h 6557032"/>
              <a:gd name="connsiteX27888" fmla="*/ 845489 w 4610101"/>
              <a:gd name="connsiteY27888" fmla="*/ 815363 h 6557032"/>
              <a:gd name="connsiteX27889" fmla="*/ 845489 w 4610101"/>
              <a:gd name="connsiteY27889" fmla="*/ 806252 h 6557032"/>
              <a:gd name="connsiteX27890" fmla="*/ 758025 w 4610101"/>
              <a:gd name="connsiteY27890" fmla="*/ 806252 h 6557032"/>
              <a:gd name="connsiteX27891" fmla="*/ 754380 w 4610101"/>
              <a:gd name="connsiteY27891" fmla="*/ 809897 h 6557032"/>
              <a:gd name="connsiteX27892" fmla="*/ 761670 w 4610101"/>
              <a:gd name="connsiteY27892" fmla="*/ 811719 h 6557032"/>
              <a:gd name="connsiteX27893" fmla="*/ 761670 w 4610101"/>
              <a:gd name="connsiteY27893" fmla="*/ 808074 h 6557032"/>
              <a:gd name="connsiteX27894" fmla="*/ 758025 w 4610101"/>
              <a:gd name="connsiteY27894" fmla="*/ 806252 h 6557032"/>
              <a:gd name="connsiteX27895" fmla="*/ 712470 w 4610101"/>
              <a:gd name="connsiteY27895" fmla="*/ 806252 h 6557032"/>
              <a:gd name="connsiteX27896" fmla="*/ 714293 w 4610101"/>
              <a:gd name="connsiteY27896" fmla="*/ 811719 h 6557032"/>
              <a:gd name="connsiteX27897" fmla="*/ 719759 w 4610101"/>
              <a:gd name="connsiteY27897" fmla="*/ 806252 h 6557032"/>
              <a:gd name="connsiteX27898" fmla="*/ 712470 w 4610101"/>
              <a:gd name="connsiteY27898" fmla="*/ 806252 h 6557032"/>
              <a:gd name="connsiteX27899" fmla="*/ 612251 w 4610101"/>
              <a:gd name="connsiteY27899" fmla="*/ 806252 h 6557032"/>
              <a:gd name="connsiteX27900" fmla="*/ 618840 w 4610101"/>
              <a:gd name="connsiteY27900" fmla="*/ 816961 h 6557032"/>
              <a:gd name="connsiteX27901" fmla="*/ 617717 w 4610101"/>
              <a:gd name="connsiteY27901" fmla="*/ 817185 h 6557032"/>
              <a:gd name="connsiteX27902" fmla="*/ 619123 w 4610101"/>
              <a:gd name="connsiteY27902" fmla="*/ 817420 h 6557032"/>
              <a:gd name="connsiteX27903" fmla="*/ 625706 w 4610101"/>
              <a:gd name="connsiteY27903" fmla="*/ 828118 h 6557032"/>
              <a:gd name="connsiteX27904" fmla="*/ 625006 w 4610101"/>
              <a:gd name="connsiteY27904" fmla="*/ 828118 h 6557032"/>
              <a:gd name="connsiteX27905" fmla="*/ 626828 w 4610101"/>
              <a:gd name="connsiteY27905" fmla="*/ 829941 h 6557032"/>
              <a:gd name="connsiteX27906" fmla="*/ 625706 w 4610101"/>
              <a:gd name="connsiteY27906" fmla="*/ 828118 h 6557032"/>
              <a:gd name="connsiteX27907" fmla="*/ 634117 w 4610101"/>
              <a:gd name="connsiteY27907" fmla="*/ 828118 h 6557032"/>
              <a:gd name="connsiteX27908" fmla="*/ 630472 w 4610101"/>
              <a:gd name="connsiteY27908" fmla="*/ 829941 h 6557032"/>
              <a:gd name="connsiteX27909" fmla="*/ 635939 w 4610101"/>
              <a:gd name="connsiteY27909" fmla="*/ 833585 h 6557032"/>
              <a:gd name="connsiteX27910" fmla="*/ 635939 w 4610101"/>
              <a:gd name="connsiteY27910" fmla="*/ 831763 h 6557032"/>
              <a:gd name="connsiteX27911" fmla="*/ 640802 w 4610101"/>
              <a:gd name="connsiteY27911" fmla="*/ 833564 h 6557032"/>
              <a:gd name="connsiteX27912" fmla="*/ 641695 w 4610101"/>
              <a:gd name="connsiteY27912" fmla="*/ 836927 h 6557032"/>
              <a:gd name="connsiteX27913" fmla="*/ 641407 w 4610101"/>
              <a:gd name="connsiteY27913" fmla="*/ 839051 h 6557032"/>
              <a:gd name="connsiteX27914" fmla="*/ 625006 w 4610101"/>
              <a:gd name="connsiteY27914" fmla="*/ 829941 h 6557032"/>
              <a:gd name="connsiteX27915" fmla="*/ 643228 w 4610101"/>
              <a:gd name="connsiteY27915" fmla="*/ 842696 h 6557032"/>
              <a:gd name="connsiteX27916" fmla="*/ 641695 w 4610101"/>
              <a:gd name="connsiteY27916" fmla="*/ 836927 h 6557032"/>
              <a:gd name="connsiteX27917" fmla="*/ 642089 w 4610101"/>
              <a:gd name="connsiteY27917" fmla="*/ 834041 h 6557032"/>
              <a:gd name="connsiteX27918" fmla="*/ 640802 w 4610101"/>
              <a:gd name="connsiteY27918" fmla="*/ 833564 h 6557032"/>
              <a:gd name="connsiteX27919" fmla="*/ 639355 w 4610101"/>
              <a:gd name="connsiteY27919" fmla="*/ 828119 h 6557032"/>
              <a:gd name="connsiteX27920" fmla="*/ 628650 w 4610101"/>
              <a:gd name="connsiteY27920" fmla="*/ 819008 h 6557032"/>
              <a:gd name="connsiteX27921" fmla="*/ 619123 w 4610101"/>
              <a:gd name="connsiteY27921" fmla="*/ 817420 h 6557032"/>
              <a:gd name="connsiteX27922" fmla="*/ 618840 w 4610101"/>
              <a:gd name="connsiteY27922" fmla="*/ 816961 h 6557032"/>
              <a:gd name="connsiteX27923" fmla="*/ 626828 w 4610101"/>
              <a:gd name="connsiteY27923" fmla="*/ 815363 h 6557032"/>
              <a:gd name="connsiteX27924" fmla="*/ 612251 w 4610101"/>
              <a:gd name="connsiteY27924" fmla="*/ 806252 h 6557032"/>
              <a:gd name="connsiteX27925" fmla="*/ 400879 w 4610101"/>
              <a:gd name="connsiteY27925" fmla="*/ 806252 h 6557032"/>
              <a:gd name="connsiteX27926" fmla="*/ 409948 w 4610101"/>
              <a:gd name="connsiteY27926" fmla="*/ 813508 h 6557032"/>
              <a:gd name="connsiteX27927" fmla="*/ 409960 w 4610101"/>
              <a:gd name="connsiteY27927" fmla="*/ 813534 h 6557032"/>
              <a:gd name="connsiteX27928" fmla="*/ 402701 w 4610101"/>
              <a:gd name="connsiteY27928" fmla="*/ 811719 h 6557032"/>
              <a:gd name="connsiteX27929" fmla="*/ 400879 w 4610101"/>
              <a:gd name="connsiteY27929" fmla="*/ 806252 h 6557032"/>
              <a:gd name="connsiteX27930" fmla="*/ 255105 w 4610101"/>
              <a:gd name="connsiteY27930" fmla="*/ 806252 h 6557032"/>
              <a:gd name="connsiteX27931" fmla="*/ 269682 w 4610101"/>
              <a:gd name="connsiteY27931" fmla="*/ 813541 h 6557032"/>
              <a:gd name="connsiteX27932" fmla="*/ 262393 w 4610101"/>
              <a:gd name="connsiteY27932" fmla="*/ 809897 h 6557032"/>
              <a:gd name="connsiteX27933" fmla="*/ 255105 w 4610101"/>
              <a:gd name="connsiteY27933" fmla="*/ 806252 h 6557032"/>
              <a:gd name="connsiteX27934" fmla="*/ 356008 w 4610101"/>
              <a:gd name="connsiteY27934" fmla="*/ 805114 h 6557032"/>
              <a:gd name="connsiteX27935" fmla="*/ 340747 w 4610101"/>
              <a:gd name="connsiteY27935" fmla="*/ 815363 h 6557032"/>
              <a:gd name="connsiteX27936" fmla="*/ 355324 w 4610101"/>
              <a:gd name="connsiteY27936" fmla="*/ 829941 h 6557032"/>
              <a:gd name="connsiteX27937" fmla="*/ 346213 w 4610101"/>
              <a:gd name="connsiteY27937" fmla="*/ 813541 h 6557032"/>
              <a:gd name="connsiteX27938" fmla="*/ 349858 w 4610101"/>
              <a:gd name="connsiteY27938" fmla="*/ 811719 h 6557032"/>
              <a:gd name="connsiteX27939" fmla="*/ 377190 w 4610101"/>
              <a:gd name="connsiteY27939" fmla="*/ 844518 h 6557032"/>
              <a:gd name="connsiteX27940" fmla="*/ 364435 w 4610101"/>
              <a:gd name="connsiteY27940" fmla="*/ 831763 h 6557032"/>
              <a:gd name="connsiteX27941" fmla="*/ 368079 w 4610101"/>
              <a:gd name="connsiteY27941" fmla="*/ 831763 h 6557032"/>
              <a:gd name="connsiteX27942" fmla="*/ 362613 w 4610101"/>
              <a:gd name="connsiteY27942" fmla="*/ 826296 h 6557032"/>
              <a:gd name="connsiteX27943" fmla="*/ 371724 w 4610101"/>
              <a:gd name="connsiteY27943" fmla="*/ 828118 h 6557032"/>
              <a:gd name="connsiteX27944" fmla="*/ 360791 w 4610101"/>
              <a:gd name="connsiteY27944" fmla="*/ 817185 h 6557032"/>
              <a:gd name="connsiteX27945" fmla="*/ 368079 w 4610101"/>
              <a:gd name="connsiteY27945" fmla="*/ 817185 h 6557032"/>
              <a:gd name="connsiteX27946" fmla="*/ 364435 w 4610101"/>
              <a:gd name="connsiteY27946" fmla="*/ 815363 h 6557032"/>
              <a:gd name="connsiteX27947" fmla="*/ 369902 w 4610101"/>
              <a:gd name="connsiteY27947" fmla="*/ 809897 h 6557032"/>
              <a:gd name="connsiteX27948" fmla="*/ 371941 w 4610101"/>
              <a:gd name="connsiteY27948" fmla="*/ 815037 h 6557032"/>
              <a:gd name="connsiteX27949" fmla="*/ 371724 w 4610101"/>
              <a:gd name="connsiteY27949" fmla="*/ 815363 h 6557032"/>
              <a:gd name="connsiteX27950" fmla="*/ 372069 w 4610101"/>
              <a:gd name="connsiteY27950" fmla="*/ 815359 h 6557032"/>
              <a:gd name="connsiteX27951" fmla="*/ 375596 w 4610101"/>
              <a:gd name="connsiteY27951" fmla="*/ 824247 h 6557032"/>
              <a:gd name="connsiteX27952" fmla="*/ 388123 w 4610101"/>
              <a:gd name="connsiteY27952" fmla="*/ 831763 h 6557032"/>
              <a:gd name="connsiteX27953" fmla="*/ 402701 w 4610101"/>
              <a:gd name="connsiteY27953" fmla="*/ 824474 h 6557032"/>
              <a:gd name="connsiteX27954" fmla="*/ 389945 w 4610101"/>
              <a:gd name="connsiteY27954" fmla="*/ 815136 h 6557032"/>
              <a:gd name="connsiteX27955" fmla="*/ 372069 w 4610101"/>
              <a:gd name="connsiteY27955" fmla="*/ 815359 h 6557032"/>
              <a:gd name="connsiteX27956" fmla="*/ 371941 w 4610101"/>
              <a:gd name="connsiteY27956" fmla="*/ 815037 h 6557032"/>
              <a:gd name="connsiteX27957" fmla="*/ 375368 w 4610101"/>
              <a:gd name="connsiteY27957" fmla="*/ 809897 h 6557032"/>
              <a:gd name="connsiteX27958" fmla="*/ 356008 w 4610101"/>
              <a:gd name="connsiteY27958" fmla="*/ 805114 h 6557032"/>
              <a:gd name="connsiteX27959" fmla="*/ 1204457 w 4610101"/>
              <a:gd name="connsiteY27959" fmla="*/ 804472 h 6557032"/>
              <a:gd name="connsiteX27960" fmla="*/ 1186235 w 4610101"/>
              <a:gd name="connsiteY27960" fmla="*/ 813584 h 6557032"/>
              <a:gd name="connsiteX27961" fmla="*/ 1204457 w 4610101"/>
              <a:gd name="connsiteY27961" fmla="*/ 804472 h 6557032"/>
              <a:gd name="connsiteX27962" fmla="*/ 3210671 w 4610101"/>
              <a:gd name="connsiteY27962" fmla="*/ 804430 h 6557032"/>
              <a:gd name="connsiteX27963" fmla="*/ 3212493 w 4610101"/>
              <a:gd name="connsiteY27963" fmla="*/ 809897 h 6557032"/>
              <a:gd name="connsiteX27964" fmla="*/ 3216137 w 4610101"/>
              <a:gd name="connsiteY27964" fmla="*/ 804430 h 6557032"/>
              <a:gd name="connsiteX27965" fmla="*/ 3210671 w 4610101"/>
              <a:gd name="connsiteY27965" fmla="*/ 804430 h 6557032"/>
              <a:gd name="connsiteX27966" fmla="*/ 1315610 w 4610101"/>
              <a:gd name="connsiteY27966" fmla="*/ 804430 h 6557032"/>
              <a:gd name="connsiteX27967" fmla="*/ 1293744 w 4610101"/>
              <a:gd name="connsiteY27967" fmla="*/ 811719 h 6557032"/>
              <a:gd name="connsiteX27968" fmla="*/ 1310143 w 4610101"/>
              <a:gd name="connsiteY27968" fmla="*/ 817185 h 6557032"/>
              <a:gd name="connsiteX27969" fmla="*/ 1315610 w 4610101"/>
              <a:gd name="connsiteY27969" fmla="*/ 804430 h 6557032"/>
              <a:gd name="connsiteX27970" fmla="*/ 727048 w 4610101"/>
              <a:gd name="connsiteY27970" fmla="*/ 804430 h 6557032"/>
              <a:gd name="connsiteX27971" fmla="*/ 727048 w 4610101"/>
              <a:gd name="connsiteY27971" fmla="*/ 811719 h 6557032"/>
              <a:gd name="connsiteX27972" fmla="*/ 730692 w 4610101"/>
              <a:gd name="connsiteY27972" fmla="*/ 806252 h 6557032"/>
              <a:gd name="connsiteX27973" fmla="*/ 727048 w 4610101"/>
              <a:gd name="connsiteY27973" fmla="*/ 804430 h 6557032"/>
              <a:gd name="connsiteX27974" fmla="*/ 654161 w 4610101"/>
              <a:gd name="connsiteY27974" fmla="*/ 804430 h 6557032"/>
              <a:gd name="connsiteX27975" fmla="*/ 650516 w 4610101"/>
              <a:gd name="connsiteY27975" fmla="*/ 809897 h 6557032"/>
              <a:gd name="connsiteX27976" fmla="*/ 661449 w 4610101"/>
              <a:gd name="connsiteY27976" fmla="*/ 817185 h 6557032"/>
              <a:gd name="connsiteX27977" fmla="*/ 654161 w 4610101"/>
              <a:gd name="connsiteY27977" fmla="*/ 804430 h 6557032"/>
              <a:gd name="connsiteX27978" fmla="*/ 641407 w 4610101"/>
              <a:gd name="connsiteY27978" fmla="*/ 804430 h 6557032"/>
              <a:gd name="connsiteX27979" fmla="*/ 650516 w 4610101"/>
              <a:gd name="connsiteY27979" fmla="*/ 817185 h 6557032"/>
              <a:gd name="connsiteX27980" fmla="*/ 645050 w 4610101"/>
              <a:gd name="connsiteY27980" fmla="*/ 804430 h 6557032"/>
              <a:gd name="connsiteX27981" fmla="*/ 346213 w 4610101"/>
              <a:gd name="connsiteY27981" fmla="*/ 804203 h 6557032"/>
              <a:gd name="connsiteX27982" fmla="*/ 340747 w 4610101"/>
              <a:gd name="connsiteY27982" fmla="*/ 808074 h 6557032"/>
              <a:gd name="connsiteX27983" fmla="*/ 351680 w 4610101"/>
              <a:gd name="connsiteY27983" fmla="*/ 804430 h 6557032"/>
              <a:gd name="connsiteX27984" fmla="*/ 346213 w 4610101"/>
              <a:gd name="connsiteY27984" fmla="*/ 804203 h 6557032"/>
              <a:gd name="connsiteX27985" fmla="*/ 2596598 w 4610101"/>
              <a:gd name="connsiteY27985" fmla="*/ 802608 h 6557032"/>
              <a:gd name="connsiteX27986" fmla="*/ 2598421 w 4610101"/>
              <a:gd name="connsiteY27986" fmla="*/ 808074 h 6557032"/>
              <a:gd name="connsiteX27987" fmla="*/ 2602065 w 4610101"/>
              <a:gd name="connsiteY27987" fmla="*/ 806252 h 6557032"/>
              <a:gd name="connsiteX27988" fmla="*/ 2596598 w 4610101"/>
              <a:gd name="connsiteY27988" fmla="*/ 802608 h 6557032"/>
              <a:gd name="connsiteX27989" fmla="*/ 2343316 w 4610101"/>
              <a:gd name="connsiteY27989" fmla="*/ 802608 h 6557032"/>
              <a:gd name="connsiteX27990" fmla="*/ 2336027 w 4610101"/>
              <a:gd name="connsiteY27990" fmla="*/ 826296 h 6557032"/>
              <a:gd name="connsiteX27991" fmla="*/ 2343316 w 4610101"/>
              <a:gd name="connsiteY27991" fmla="*/ 802608 h 6557032"/>
              <a:gd name="connsiteX27992" fmla="*/ 1486895 w 4610101"/>
              <a:gd name="connsiteY27992" fmla="*/ 802608 h 6557032"/>
              <a:gd name="connsiteX27993" fmla="*/ 1446806 w 4610101"/>
              <a:gd name="connsiteY27993" fmla="*/ 820830 h 6557032"/>
              <a:gd name="connsiteX27994" fmla="*/ 1444984 w 4610101"/>
              <a:gd name="connsiteY27994" fmla="*/ 819008 h 6557032"/>
              <a:gd name="connsiteX27995" fmla="*/ 1439518 w 4610101"/>
              <a:gd name="connsiteY27995" fmla="*/ 822652 h 6557032"/>
              <a:gd name="connsiteX27996" fmla="*/ 1454095 w 4610101"/>
              <a:gd name="connsiteY27996" fmla="*/ 819008 h 6557032"/>
              <a:gd name="connsiteX27997" fmla="*/ 1455917 w 4610101"/>
              <a:gd name="connsiteY27997" fmla="*/ 822652 h 6557032"/>
              <a:gd name="connsiteX27998" fmla="*/ 1466850 w 4610101"/>
              <a:gd name="connsiteY27998" fmla="*/ 815363 h 6557032"/>
              <a:gd name="connsiteX27999" fmla="*/ 1461384 w 4610101"/>
              <a:gd name="connsiteY27999" fmla="*/ 820830 h 6557032"/>
              <a:gd name="connsiteX28000" fmla="*/ 1472317 w 4610101"/>
              <a:gd name="connsiteY28000" fmla="*/ 817185 h 6557032"/>
              <a:gd name="connsiteX28001" fmla="*/ 1470495 w 4610101"/>
              <a:gd name="connsiteY28001" fmla="*/ 815363 h 6557032"/>
              <a:gd name="connsiteX28002" fmla="*/ 1474139 w 4610101"/>
              <a:gd name="connsiteY28002" fmla="*/ 811719 h 6557032"/>
              <a:gd name="connsiteX28003" fmla="*/ 1474139 w 4610101"/>
              <a:gd name="connsiteY28003" fmla="*/ 817185 h 6557032"/>
              <a:gd name="connsiteX28004" fmla="*/ 1490539 w 4610101"/>
              <a:gd name="connsiteY28004" fmla="*/ 806252 h 6557032"/>
              <a:gd name="connsiteX28005" fmla="*/ 1486895 w 4610101"/>
              <a:gd name="connsiteY28005" fmla="*/ 802608 h 6557032"/>
              <a:gd name="connsiteX28006" fmla="*/ 1339299 w 4610101"/>
              <a:gd name="connsiteY28006" fmla="*/ 802608 h 6557032"/>
              <a:gd name="connsiteX28007" fmla="*/ 1333832 w 4610101"/>
              <a:gd name="connsiteY28007" fmla="*/ 808074 h 6557032"/>
              <a:gd name="connsiteX28008" fmla="*/ 1339299 w 4610101"/>
              <a:gd name="connsiteY28008" fmla="*/ 802608 h 6557032"/>
              <a:gd name="connsiteX28009" fmla="*/ 1333832 w 4610101"/>
              <a:gd name="connsiteY28009" fmla="*/ 802608 h 6557032"/>
              <a:gd name="connsiteX28010" fmla="*/ 1332009 w 4610101"/>
              <a:gd name="connsiteY28010" fmla="*/ 806252 h 6557032"/>
              <a:gd name="connsiteX28011" fmla="*/ 1315610 w 4610101"/>
              <a:gd name="connsiteY28011" fmla="*/ 819008 h 6557032"/>
              <a:gd name="connsiteX28012" fmla="*/ 1319254 w 4610101"/>
              <a:gd name="connsiteY28012" fmla="*/ 813541 h 6557032"/>
              <a:gd name="connsiteX28013" fmla="*/ 1317432 w 4610101"/>
              <a:gd name="connsiteY28013" fmla="*/ 817185 h 6557032"/>
              <a:gd name="connsiteX28014" fmla="*/ 1333832 w 4610101"/>
              <a:gd name="connsiteY28014" fmla="*/ 802608 h 6557032"/>
              <a:gd name="connsiteX28015" fmla="*/ 557586 w 4610101"/>
              <a:gd name="connsiteY28015" fmla="*/ 802608 h 6557032"/>
              <a:gd name="connsiteX28016" fmla="*/ 566697 w 4610101"/>
              <a:gd name="connsiteY28016" fmla="*/ 813541 h 6557032"/>
              <a:gd name="connsiteX28017" fmla="*/ 563052 w 4610101"/>
              <a:gd name="connsiteY28017" fmla="*/ 809897 h 6557032"/>
              <a:gd name="connsiteX28018" fmla="*/ 557586 w 4610101"/>
              <a:gd name="connsiteY28018" fmla="*/ 802608 h 6557032"/>
              <a:gd name="connsiteX28019" fmla="*/ 532075 w 4610101"/>
              <a:gd name="connsiteY28019" fmla="*/ 802608 h 6557032"/>
              <a:gd name="connsiteX28020" fmla="*/ 537542 w 4610101"/>
              <a:gd name="connsiteY28020" fmla="*/ 809897 h 6557032"/>
              <a:gd name="connsiteX28021" fmla="*/ 532075 w 4610101"/>
              <a:gd name="connsiteY28021" fmla="*/ 806252 h 6557032"/>
              <a:gd name="connsiteX28022" fmla="*/ 536533 w 4610101"/>
              <a:gd name="connsiteY28022" fmla="*/ 821112 h 6557032"/>
              <a:gd name="connsiteX28023" fmla="*/ 530253 w 4610101"/>
              <a:gd name="connsiteY28023" fmla="*/ 809897 h 6557032"/>
              <a:gd name="connsiteX28024" fmla="*/ 528431 w 4610101"/>
              <a:gd name="connsiteY28024" fmla="*/ 804430 h 6557032"/>
              <a:gd name="connsiteX28025" fmla="*/ 537542 w 4610101"/>
              <a:gd name="connsiteY28025" fmla="*/ 835407 h 6557032"/>
              <a:gd name="connsiteX28026" fmla="*/ 536643 w 4610101"/>
              <a:gd name="connsiteY28026" fmla="*/ 821477 h 6557032"/>
              <a:gd name="connsiteX28027" fmla="*/ 537542 w 4610101"/>
              <a:gd name="connsiteY28027" fmla="*/ 824474 h 6557032"/>
              <a:gd name="connsiteX28028" fmla="*/ 532075 w 4610101"/>
              <a:gd name="connsiteY28028" fmla="*/ 802608 h 6557032"/>
              <a:gd name="connsiteX28029" fmla="*/ 499276 w 4610101"/>
              <a:gd name="connsiteY28029" fmla="*/ 802608 h 6557032"/>
              <a:gd name="connsiteX28030" fmla="*/ 493809 w 4610101"/>
              <a:gd name="connsiteY28030" fmla="*/ 806252 h 6557032"/>
              <a:gd name="connsiteX28031" fmla="*/ 499276 w 4610101"/>
              <a:gd name="connsiteY28031" fmla="*/ 808074 h 6557032"/>
              <a:gd name="connsiteX28032" fmla="*/ 499276 w 4610101"/>
              <a:gd name="connsiteY28032" fmla="*/ 802608 h 6557032"/>
              <a:gd name="connsiteX28033" fmla="*/ 191329 w 4610101"/>
              <a:gd name="connsiteY28033" fmla="*/ 802608 h 6557032"/>
              <a:gd name="connsiteX28034" fmla="*/ 202262 w 4610101"/>
              <a:gd name="connsiteY28034" fmla="*/ 809897 h 6557032"/>
              <a:gd name="connsiteX28035" fmla="*/ 191329 w 4610101"/>
              <a:gd name="connsiteY28035" fmla="*/ 802608 h 6557032"/>
              <a:gd name="connsiteX28036" fmla="*/ 399056 w 4610101"/>
              <a:gd name="connsiteY28036" fmla="*/ 802380 h 6557032"/>
              <a:gd name="connsiteX28037" fmla="*/ 382657 w 4610101"/>
              <a:gd name="connsiteY28037" fmla="*/ 806252 h 6557032"/>
              <a:gd name="connsiteX28038" fmla="*/ 409989 w 4610101"/>
              <a:gd name="connsiteY28038" fmla="*/ 820830 h 6557032"/>
              <a:gd name="connsiteX28039" fmla="*/ 391768 w 4610101"/>
              <a:gd name="connsiteY28039" fmla="*/ 808074 h 6557032"/>
              <a:gd name="connsiteX28040" fmla="*/ 400195 w 4610101"/>
              <a:gd name="connsiteY28040" fmla="*/ 811491 h 6557032"/>
              <a:gd name="connsiteX28041" fmla="*/ 409962 w 4610101"/>
              <a:gd name="connsiteY28041" fmla="*/ 813536 h 6557032"/>
              <a:gd name="connsiteX28042" fmla="*/ 411243 w 4610101"/>
              <a:gd name="connsiteY28042" fmla="*/ 816133 h 6557032"/>
              <a:gd name="connsiteX28043" fmla="*/ 424567 w 4610101"/>
              <a:gd name="connsiteY28043" fmla="*/ 815363 h 6557032"/>
              <a:gd name="connsiteX28044" fmla="*/ 406345 w 4610101"/>
              <a:gd name="connsiteY28044" fmla="*/ 802608 h 6557032"/>
              <a:gd name="connsiteX28045" fmla="*/ 408167 w 4610101"/>
              <a:gd name="connsiteY28045" fmla="*/ 809897 h 6557032"/>
              <a:gd name="connsiteX28046" fmla="*/ 409939 w 4610101"/>
              <a:gd name="connsiteY28046" fmla="*/ 813490 h 6557032"/>
              <a:gd name="connsiteX28047" fmla="*/ 1108663 w 4610101"/>
              <a:gd name="connsiteY28047" fmla="*/ 802088 h 6557032"/>
              <a:gd name="connsiteX28048" fmla="*/ 1107882 w 4610101"/>
              <a:gd name="connsiteY28048" fmla="*/ 802608 h 6557032"/>
              <a:gd name="connsiteX28049" fmla="*/ 1107882 w 4610101"/>
              <a:gd name="connsiteY28049" fmla="*/ 802244 h 6557032"/>
              <a:gd name="connsiteX28050" fmla="*/ 3634916 w 4610101"/>
              <a:gd name="connsiteY28050" fmla="*/ 800786 h 6557032"/>
              <a:gd name="connsiteX28051" fmla="*/ 3635456 w 4610101"/>
              <a:gd name="connsiteY28051" fmla="*/ 800786 h 6557032"/>
              <a:gd name="connsiteX28052" fmla="*/ 3636600 w 4610101"/>
              <a:gd name="connsiteY28052" fmla="*/ 801977 h 6557032"/>
              <a:gd name="connsiteX28053" fmla="*/ 3633643 w 4610101"/>
              <a:gd name="connsiteY28053" fmla="*/ 803519 h 6557032"/>
              <a:gd name="connsiteX28054" fmla="*/ 3632348 w 4610101"/>
              <a:gd name="connsiteY28054" fmla="*/ 802605 h 6557032"/>
              <a:gd name="connsiteX28055" fmla="*/ 2363360 w 4610101"/>
              <a:gd name="connsiteY28055" fmla="*/ 800786 h 6557032"/>
              <a:gd name="connsiteX28056" fmla="*/ 2367004 w 4610101"/>
              <a:gd name="connsiteY28056" fmla="*/ 811719 h 6557032"/>
              <a:gd name="connsiteX28057" fmla="*/ 2368827 w 4610101"/>
              <a:gd name="connsiteY28057" fmla="*/ 802608 h 6557032"/>
              <a:gd name="connsiteX28058" fmla="*/ 2363360 w 4610101"/>
              <a:gd name="connsiteY28058" fmla="*/ 800786 h 6557032"/>
              <a:gd name="connsiteX28059" fmla="*/ 1390319 w 4610101"/>
              <a:gd name="connsiteY28059" fmla="*/ 800786 h 6557032"/>
              <a:gd name="connsiteX28060" fmla="*/ 1377564 w 4610101"/>
              <a:gd name="connsiteY28060" fmla="*/ 802608 h 6557032"/>
              <a:gd name="connsiteX28061" fmla="*/ 1381208 w 4610101"/>
              <a:gd name="connsiteY28061" fmla="*/ 804430 h 6557032"/>
              <a:gd name="connsiteX28062" fmla="*/ 1390319 w 4610101"/>
              <a:gd name="connsiteY28062" fmla="*/ 800786 h 6557032"/>
              <a:gd name="connsiteX28063" fmla="*/ 1138859 w 4610101"/>
              <a:gd name="connsiteY28063" fmla="*/ 800786 h 6557032"/>
              <a:gd name="connsiteX28064" fmla="*/ 1131570 w 4610101"/>
              <a:gd name="connsiteY28064" fmla="*/ 809897 h 6557032"/>
              <a:gd name="connsiteX28065" fmla="*/ 1140602 w 4610101"/>
              <a:gd name="connsiteY28065" fmla="*/ 806886 h 6557032"/>
              <a:gd name="connsiteX28066" fmla="*/ 1140884 w 4610101"/>
              <a:gd name="connsiteY28066" fmla="*/ 807872 h 6557032"/>
              <a:gd name="connsiteX28067" fmla="*/ 1138859 w 4610101"/>
              <a:gd name="connsiteY28067" fmla="*/ 809897 h 6557032"/>
              <a:gd name="connsiteX28068" fmla="*/ 1142503 w 4610101"/>
              <a:gd name="connsiteY28068" fmla="*/ 813541 h 6557032"/>
              <a:gd name="connsiteX28069" fmla="*/ 1140884 w 4610101"/>
              <a:gd name="connsiteY28069" fmla="*/ 807872 h 6557032"/>
              <a:gd name="connsiteX28070" fmla="*/ 1142503 w 4610101"/>
              <a:gd name="connsiteY28070" fmla="*/ 806252 h 6557032"/>
              <a:gd name="connsiteX28071" fmla="*/ 1140602 w 4610101"/>
              <a:gd name="connsiteY28071" fmla="*/ 806886 h 6557032"/>
              <a:gd name="connsiteX28072" fmla="*/ 1027707 w 4610101"/>
              <a:gd name="connsiteY28072" fmla="*/ 800786 h 6557032"/>
              <a:gd name="connsiteX28073" fmla="*/ 1027707 w 4610101"/>
              <a:gd name="connsiteY28073" fmla="*/ 810505 h 6557032"/>
              <a:gd name="connsiteX28074" fmla="*/ 1025884 w 4610101"/>
              <a:gd name="connsiteY28074" fmla="*/ 811719 h 6557032"/>
              <a:gd name="connsiteX28075" fmla="*/ 1031351 w 4610101"/>
              <a:gd name="connsiteY28075" fmla="*/ 808074 h 6557032"/>
              <a:gd name="connsiteX28076" fmla="*/ 1029164 w 4610101"/>
              <a:gd name="connsiteY28076" fmla="*/ 809532 h 6557032"/>
              <a:gd name="connsiteX28077" fmla="*/ 1031351 w 4610101"/>
              <a:gd name="connsiteY28077" fmla="*/ 806252 h 6557032"/>
              <a:gd name="connsiteX28078" fmla="*/ 1027707 w 4610101"/>
              <a:gd name="connsiteY28078" fmla="*/ 800786 h 6557032"/>
              <a:gd name="connsiteX28079" fmla="*/ 982152 w 4610101"/>
              <a:gd name="connsiteY28079" fmla="*/ 800786 h 6557032"/>
              <a:gd name="connsiteX28080" fmla="*/ 962108 w 4610101"/>
              <a:gd name="connsiteY28080" fmla="*/ 815363 h 6557032"/>
              <a:gd name="connsiteX28081" fmla="*/ 989441 w 4610101"/>
              <a:gd name="connsiteY28081" fmla="*/ 809897 h 6557032"/>
              <a:gd name="connsiteX28082" fmla="*/ 982152 w 4610101"/>
              <a:gd name="connsiteY28082" fmla="*/ 800786 h 6557032"/>
              <a:gd name="connsiteX28083" fmla="*/ 889222 w 4610101"/>
              <a:gd name="connsiteY28083" fmla="*/ 800786 h 6557032"/>
              <a:gd name="connsiteX28084" fmla="*/ 881933 w 4610101"/>
              <a:gd name="connsiteY28084" fmla="*/ 802608 h 6557032"/>
              <a:gd name="connsiteX28085" fmla="*/ 883755 w 4610101"/>
              <a:gd name="connsiteY28085" fmla="*/ 806252 h 6557032"/>
              <a:gd name="connsiteX28086" fmla="*/ 889222 w 4610101"/>
              <a:gd name="connsiteY28086" fmla="*/ 800786 h 6557032"/>
              <a:gd name="connsiteX28087" fmla="*/ 832734 w 4610101"/>
              <a:gd name="connsiteY28087" fmla="*/ 800786 h 6557032"/>
              <a:gd name="connsiteX28088" fmla="*/ 838200 w 4610101"/>
              <a:gd name="connsiteY28088" fmla="*/ 811719 h 6557032"/>
              <a:gd name="connsiteX28089" fmla="*/ 841845 w 4610101"/>
              <a:gd name="connsiteY28089" fmla="*/ 802608 h 6557032"/>
              <a:gd name="connsiteX28090" fmla="*/ 832734 w 4610101"/>
              <a:gd name="connsiteY28090" fmla="*/ 800786 h 6557032"/>
              <a:gd name="connsiteX28091" fmla="*/ 728870 w 4610101"/>
              <a:gd name="connsiteY28091" fmla="*/ 800786 h 6557032"/>
              <a:gd name="connsiteX28092" fmla="*/ 732515 w 4610101"/>
              <a:gd name="connsiteY28092" fmla="*/ 804430 h 6557032"/>
              <a:gd name="connsiteX28093" fmla="*/ 734336 w 4610101"/>
              <a:gd name="connsiteY28093" fmla="*/ 800786 h 6557032"/>
              <a:gd name="connsiteX28094" fmla="*/ 728870 w 4610101"/>
              <a:gd name="connsiteY28094" fmla="*/ 800786 h 6557032"/>
              <a:gd name="connsiteX28095" fmla="*/ 701537 w 4610101"/>
              <a:gd name="connsiteY28095" fmla="*/ 800786 h 6557032"/>
              <a:gd name="connsiteX28096" fmla="*/ 694249 w 4610101"/>
              <a:gd name="connsiteY28096" fmla="*/ 806252 h 6557032"/>
              <a:gd name="connsiteX28097" fmla="*/ 701537 w 4610101"/>
              <a:gd name="connsiteY28097" fmla="*/ 809897 h 6557032"/>
              <a:gd name="connsiteX28098" fmla="*/ 701537 w 4610101"/>
              <a:gd name="connsiteY28098" fmla="*/ 800786 h 6557032"/>
              <a:gd name="connsiteX28099" fmla="*/ 3389472 w 4610101"/>
              <a:gd name="connsiteY28099" fmla="*/ 799420 h 6557032"/>
              <a:gd name="connsiteX28100" fmla="*/ 3372844 w 4610101"/>
              <a:gd name="connsiteY28100" fmla="*/ 800786 h 6557032"/>
              <a:gd name="connsiteX28101" fmla="*/ 3371022 w 4610101"/>
              <a:gd name="connsiteY28101" fmla="*/ 804430 h 6557032"/>
              <a:gd name="connsiteX28102" fmla="*/ 3407466 w 4610101"/>
              <a:gd name="connsiteY28102" fmla="*/ 800786 h 6557032"/>
              <a:gd name="connsiteX28103" fmla="*/ 3389472 w 4610101"/>
              <a:gd name="connsiteY28103" fmla="*/ 799420 h 6557032"/>
              <a:gd name="connsiteX28104" fmla="*/ 3241648 w 4610101"/>
              <a:gd name="connsiteY28104" fmla="*/ 798964 h 6557032"/>
              <a:gd name="connsiteX28105" fmla="*/ 3243470 w 4610101"/>
              <a:gd name="connsiteY28105" fmla="*/ 806252 h 6557032"/>
              <a:gd name="connsiteX28106" fmla="*/ 3241648 w 4610101"/>
              <a:gd name="connsiteY28106" fmla="*/ 798964 h 6557032"/>
              <a:gd name="connsiteX28107" fmla="*/ 2552866 w 4610101"/>
              <a:gd name="connsiteY28107" fmla="*/ 798964 h 6557032"/>
              <a:gd name="connsiteX28108" fmla="*/ 2554688 w 4610101"/>
              <a:gd name="connsiteY28108" fmla="*/ 833585 h 6557032"/>
              <a:gd name="connsiteX28109" fmla="*/ 2561977 w 4610101"/>
              <a:gd name="connsiteY28109" fmla="*/ 831763 h 6557032"/>
              <a:gd name="connsiteX28110" fmla="*/ 2563799 w 4610101"/>
              <a:gd name="connsiteY28110" fmla="*/ 835407 h 6557032"/>
              <a:gd name="connsiteX28111" fmla="*/ 2567443 w 4610101"/>
              <a:gd name="connsiteY28111" fmla="*/ 833585 h 6557032"/>
              <a:gd name="connsiteX28112" fmla="*/ 2569266 w 4610101"/>
              <a:gd name="connsiteY28112" fmla="*/ 817185 h 6557032"/>
              <a:gd name="connsiteX28113" fmla="*/ 2563799 w 4610101"/>
              <a:gd name="connsiteY28113" fmla="*/ 808074 h 6557032"/>
              <a:gd name="connsiteX28114" fmla="*/ 2556510 w 4610101"/>
              <a:gd name="connsiteY28114" fmla="*/ 813541 h 6557032"/>
              <a:gd name="connsiteX28115" fmla="*/ 2552866 w 4610101"/>
              <a:gd name="connsiteY28115" fmla="*/ 798964 h 6557032"/>
              <a:gd name="connsiteX28116" fmla="*/ 1446806 w 4610101"/>
              <a:gd name="connsiteY28116" fmla="*/ 798964 h 6557032"/>
              <a:gd name="connsiteX28117" fmla="*/ 1446707 w 4610101"/>
              <a:gd name="connsiteY28117" fmla="*/ 799561 h 6557032"/>
              <a:gd name="connsiteX28118" fmla="*/ 1443855 w 4610101"/>
              <a:gd name="connsiteY28118" fmla="*/ 801369 h 6557032"/>
              <a:gd name="connsiteX28119" fmla="*/ 1025884 w 4610101"/>
              <a:gd name="connsiteY28119" fmla="*/ 798964 h 6557032"/>
              <a:gd name="connsiteX28120" fmla="*/ 1020418 w 4610101"/>
              <a:gd name="connsiteY28120" fmla="*/ 806252 h 6557032"/>
              <a:gd name="connsiteX28121" fmla="*/ 1020429 w 4610101"/>
              <a:gd name="connsiteY28121" fmla="*/ 806274 h 6557032"/>
              <a:gd name="connsiteX28122" fmla="*/ 1022239 w 4610101"/>
              <a:gd name="connsiteY28122" fmla="*/ 802653 h 6557032"/>
              <a:gd name="connsiteX28123" fmla="*/ 1022239 w 4610101"/>
              <a:gd name="connsiteY28123" fmla="*/ 806298 h 6557032"/>
              <a:gd name="connsiteX28124" fmla="*/ 1020442 w 4610101"/>
              <a:gd name="connsiteY28124" fmla="*/ 806298 h 6557032"/>
              <a:gd name="connsiteX28125" fmla="*/ 1022240 w 4610101"/>
              <a:gd name="connsiteY28125" fmla="*/ 809897 h 6557032"/>
              <a:gd name="connsiteX28126" fmla="*/ 1022240 w 4610101"/>
              <a:gd name="connsiteY28126" fmla="*/ 808074 h 6557032"/>
              <a:gd name="connsiteX28127" fmla="*/ 1022240 w 4610101"/>
              <a:gd name="connsiteY28127" fmla="*/ 802608 h 6557032"/>
              <a:gd name="connsiteX28128" fmla="*/ 1025884 w 4610101"/>
              <a:gd name="connsiteY28128" fmla="*/ 798964 h 6557032"/>
              <a:gd name="connsiteX28129" fmla="*/ 912909 w 4610101"/>
              <a:gd name="connsiteY28129" fmla="*/ 798964 h 6557032"/>
              <a:gd name="connsiteX28130" fmla="*/ 912909 w 4610101"/>
              <a:gd name="connsiteY28130" fmla="*/ 802608 h 6557032"/>
              <a:gd name="connsiteX28131" fmla="*/ 912909 w 4610101"/>
              <a:gd name="connsiteY28131" fmla="*/ 798964 h 6557032"/>
              <a:gd name="connsiteX28132" fmla="*/ 670560 w 4610101"/>
              <a:gd name="connsiteY28132" fmla="*/ 798964 h 6557032"/>
              <a:gd name="connsiteX28133" fmla="*/ 666916 w 4610101"/>
              <a:gd name="connsiteY28133" fmla="*/ 802608 h 6557032"/>
              <a:gd name="connsiteX28134" fmla="*/ 677849 w 4610101"/>
              <a:gd name="connsiteY28134" fmla="*/ 813541 h 6557032"/>
              <a:gd name="connsiteX28135" fmla="*/ 672383 w 4610101"/>
              <a:gd name="connsiteY28135" fmla="*/ 806252 h 6557032"/>
              <a:gd name="connsiteX28136" fmla="*/ 677849 w 4610101"/>
              <a:gd name="connsiteY28136" fmla="*/ 804430 h 6557032"/>
              <a:gd name="connsiteX28137" fmla="*/ 670560 w 4610101"/>
              <a:gd name="connsiteY28137" fmla="*/ 798964 h 6557032"/>
              <a:gd name="connsiteX28138" fmla="*/ 557586 w 4610101"/>
              <a:gd name="connsiteY28138" fmla="*/ 798964 h 6557032"/>
              <a:gd name="connsiteX28139" fmla="*/ 564874 w 4610101"/>
              <a:gd name="connsiteY28139" fmla="*/ 804430 h 6557032"/>
              <a:gd name="connsiteX28140" fmla="*/ 557586 w 4610101"/>
              <a:gd name="connsiteY28140" fmla="*/ 798964 h 6557032"/>
              <a:gd name="connsiteX28141" fmla="*/ 276971 w 4610101"/>
              <a:gd name="connsiteY28141" fmla="*/ 798964 h 6557032"/>
              <a:gd name="connsiteX28142" fmla="*/ 282438 w 4610101"/>
              <a:gd name="connsiteY28142" fmla="*/ 802608 h 6557032"/>
              <a:gd name="connsiteX28143" fmla="*/ 276971 w 4610101"/>
              <a:gd name="connsiteY28143" fmla="*/ 798964 h 6557032"/>
              <a:gd name="connsiteX28144" fmla="*/ 225950 w 4610101"/>
              <a:gd name="connsiteY28144" fmla="*/ 798964 h 6557032"/>
              <a:gd name="connsiteX28145" fmla="*/ 242349 w 4610101"/>
              <a:gd name="connsiteY28145" fmla="*/ 811719 h 6557032"/>
              <a:gd name="connsiteX28146" fmla="*/ 236883 w 4610101"/>
              <a:gd name="connsiteY28146" fmla="*/ 804430 h 6557032"/>
              <a:gd name="connsiteX28147" fmla="*/ 225950 w 4610101"/>
              <a:gd name="connsiteY28147" fmla="*/ 798964 h 6557032"/>
              <a:gd name="connsiteX28148" fmla="*/ 216839 w 4610101"/>
              <a:gd name="connsiteY28148" fmla="*/ 798964 h 6557032"/>
              <a:gd name="connsiteX28149" fmla="*/ 233239 w 4610101"/>
              <a:gd name="connsiteY28149" fmla="*/ 815363 h 6557032"/>
              <a:gd name="connsiteX28150" fmla="*/ 225950 w 4610101"/>
              <a:gd name="connsiteY28150" fmla="*/ 808074 h 6557032"/>
              <a:gd name="connsiteX28151" fmla="*/ 216839 w 4610101"/>
              <a:gd name="connsiteY28151" fmla="*/ 798964 h 6557032"/>
              <a:gd name="connsiteX28152" fmla="*/ 1448168 w 4610101"/>
              <a:gd name="connsiteY28152" fmla="*/ 798634 h 6557032"/>
              <a:gd name="connsiteX28153" fmla="*/ 1448629 w 4610101"/>
              <a:gd name="connsiteY28153" fmla="*/ 804430 h 6557032"/>
              <a:gd name="connsiteX28154" fmla="*/ 1444984 w 4610101"/>
              <a:gd name="connsiteY28154" fmla="*/ 809897 h 6557032"/>
              <a:gd name="connsiteX28155" fmla="*/ 1446707 w 4610101"/>
              <a:gd name="connsiteY28155" fmla="*/ 799561 h 6557032"/>
              <a:gd name="connsiteX28156" fmla="*/ 691288 w 4610101"/>
              <a:gd name="connsiteY28156" fmla="*/ 798280 h 6557032"/>
              <a:gd name="connsiteX28157" fmla="*/ 688782 w 4610101"/>
              <a:gd name="connsiteY28157" fmla="*/ 804430 h 6557032"/>
              <a:gd name="connsiteX28158" fmla="*/ 692426 w 4610101"/>
              <a:gd name="connsiteY28158" fmla="*/ 806252 h 6557032"/>
              <a:gd name="connsiteX28159" fmla="*/ 697893 w 4610101"/>
              <a:gd name="connsiteY28159" fmla="*/ 798964 h 6557032"/>
              <a:gd name="connsiteX28160" fmla="*/ 691288 w 4610101"/>
              <a:gd name="connsiteY28160" fmla="*/ 798280 h 6557032"/>
              <a:gd name="connsiteX28161" fmla="*/ 954990 w 4610101"/>
              <a:gd name="connsiteY28161" fmla="*/ 797882 h 6557032"/>
              <a:gd name="connsiteX28162" fmla="*/ 947986 w 4610101"/>
              <a:gd name="connsiteY28162" fmla="*/ 798964 h 6557032"/>
              <a:gd name="connsiteX28163" fmla="*/ 932953 w 4610101"/>
              <a:gd name="connsiteY28163" fmla="*/ 811719 h 6557032"/>
              <a:gd name="connsiteX28164" fmla="*/ 932953 w 4610101"/>
              <a:gd name="connsiteY28164" fmla="*/ 813541 h 6557032"/>
              <a:gd name="connsiteX28165" fmla="*/ 931131 w 4610101"/>
              <a:gd name="connsiteY28165" fmla="*/ 811719 h 6557032"/>
              <a:gd name="connsiteX28166" fmla="*/ 927487 w 4610101"/>
              <a:gd name="connsiteY28166" fmla="*/ 815363 h 6557032"/>
              <a:gd name="connsiteX28167" fmla="*/ 929309 w 4610101"/>
              <a:gd name="connsiteY28167" fmla="*/ 817185 h 6557032"/>
              <a:gd name="connsiteX28168" fmla="*/ 927487 w 4610101"/>
              <a:gd name="connsiteY28168" fmla="*/ 819008 h 6557032"/>
              <a:gd name="connsiteX28169" fmla="*/ 932953 w 4610101"/>
              <a:gd name="connsiteY28169" fmla="*/ 817185 h 6557032"/>
              <a:gd name="connsiteX28170" fmla="*/ 929309 w 4610101"/>
              <a:gd name="connsiteY28170" fmla="*/ 815363 h 6557032"/>
              <a:gd name="connsiteX28171" fmla="*/ 932953 w 4610101"/>
              <a:gd name="connsiteY28171" fmla="*/ 813541 h 6557032"/>
              <a:gd name="connsiteX28172" fmla="*/ 942064 w 4610101"/>
              <a:gd name="connsiteY28172" fmla="*/ 817185 h 6557032"/>
              <a:gd name="connsiteX28173" fmla="*/ 945709 w 4610101"/>
              <a:gd name="connsiteY28173" fmla="*/ 809897 h 6557032"/>
              <a:gd name="connsiteX28174" fmla="*/ 947531 w 4610101"/>
              <a:gd name="connsiteY28174" fmla="*/ 813541 h 6557032"/>
              <a:gd name="connsiteX28175" fmla="*/ 958464 w 4610101"/>
              <a:gd name="connsiteY28175" fmla="*/ 808074 h 6557032"/>
              <a:gd name="connsiteX28176" fmla="*/ 951175 w 4610101"/>
              <a:gd name="connsiteY28176" fmla="*/ 802608 h 6557032"/>
              <a:gd name="connsiteX28177" fmla="*/ 960286 w 4610101"/>
              <a:gd name="connsiteY28177" fmla="*/ 802608 h 6557032"/>
              <a:gd name="connsiteX28178" fmla="*/ 954990 w 4610101"/>
              <a:gd name="connsiteY28178" fmla="*/ 797882 h 6557032"/>
              <a:gd name="connsiteX28179" fmla="*/ 1322215 w 4610101"/>
              <a:gd name="connsiteY28179" fmla="*/ 797825 h 6557032"/>
              <a:gd name="connsiteX28180" fmla="*/ 1317432 w 4610101"/>
              <a:gd name="connsiteY28180" fmla="*/ 800786 h 6557032"/>
              <a:gd name="connsiteX28181" fmla="*/ 1328365 w 4610101"/>
              <a:gd name="connsiteY28181" fmla="*/ 798964 h 6557032"/>
              <a:gd name="connsiteX28182" fmla="*/ 1322215 w 4610101"/>
              <a:gd name="connsiteY28182" fmla="*/ 797825 h 6557032"/>
              <a:gd name="connsiteX28183" fmla="*/ 341202 w 4610101"/>
              <a:gd name="connsiteY28183" fmla="*/ 797825 h 6557032"/>
              <a:gd name="connsiteX28184" fmla="*/ 338926 w 4610101"/>
              <a:gd name="connsiteY28184" fmla="*/ 798964 h 6557032"/>
              <a:gd name="connsiteX28185" fmla="*/ 344470 w 4610101"/>
              <a:gd name="connsiteY28185" fmla="*/ 799757 h 6557032"/>
              <a:gd name="connsiteX28186" fmla="*/ 346213 w 4610101"/>
              <a:gd name="connsiteY28186" fmla="*/ 800786 h 6557032"/>
              <a:gd name="connsiteX28187" fmla="*/ 351680 w 4610101"/>
              <a:gd name="connsiteY28187" fmla="*/ 800786 h 6557032"/>
              <a:gd name="connsiteX28188" fmla="*/ 344470 w 4610101"/>
              <a:gd name="connsiteY28188" fmla="*/ 799757 h 6557032"/>
              <a:gd name="connsiteX28189" fmla="*/ 3645375 w 4610101"/>
              <a:gd name="connsiteY28189" fmla="*/ 797761 h 6557032"/>
              <a:gd name="connsiteX28190" fmla="*/ 3646171 w 4610101"/>
              <a:gd name="connsiteY28190" fmla="*/ 800786 h 6557032"/>
              <a:gd name="connsiteX28191" fmla="*/ 3643158 w 4610101"/>
              <a:gd name="connsiteY28191" fmla="*/ 801791 h 6557032"/>
              <a:gd name="connsiteX28192" fmla="*/ 1292068 w 4610101"/>
              <a:gd name="connsiteY28192" fmla="*/ 797734 h 6557032"/>
              <a:gd name="connsiteX28193" fmla="*/ 1297388 w 4610101"/>
              <a:gd name="connsiteY28193" fmla="*/ 800786 h 6557032"/>
              <a:gd name="connsiteX28194" fmla="*/ 1292149 w 4610101"/>
              <a:gd name="connsiteY28194" fmla="*/ 797825 h 6557032"/>
              <a:gd name="connsiteX28195" fmla="*/ 1217210 w 4610101"/>
              <a:gd name="connsiteY28195" fmla="*/ 797142 h 6557032"/>
              <a:gd name="connsiteX28196" fmla="*/ 1217212 w 4610101"/>
              <a:gd name="connsiteY28196" fmla="*/ 797142 h 6557032"/>
              <a:gd name="connsiteX28197" fmla="*/ 1209012 w 4610101"/>
              <a:gd name="connsiteY28197" fmla="*/ 801242 h 6557032"/>
              <a:gd name="connsiteX28198" fmla="*/ 1200814 w 4610101"/>
              <a:gd name="connsiteY28198" fmla="*/ 802608 h 6557032"/>
              <a:gd name="connsiteX28199" fmla="*/ 3540484 w 4610101"/>
              <a:gd name="connsiteY28199" fmla="*/ 797141 h 6557032"/>
              <a:gd name="connsiteX28200" fmla="*/ 3542306 w 4610101"/>
              <a:gd name="connsiteY28200" fmla="*/ 806252 h 6557032"/>
              <a:gd name="connsiteX28201" fmla="*/ 3540484 w 4610101"/>
              <a:gd name="connsiteY28201" fmla="*/ 804430 h 6557032"/>
              <a:gd name="connsiteX28202" fmla="*/ 3525907 w 4610101"/>
              <a:gd name="connsiteY28202" fmla="*/ 808074 h 6557032"/>
              <a:gd name="connsiteX28203" fmla="*/ 3549595 w 4610101"/>
              <a:gd name="connsiteY28203" fmla="*/ 815363 h 6557032"/>
              <a:gd name="connsiteX28204" fmla="*/ 3549595 w 4610101"/>
              <a:gd name="connsiteY28204" fmla="*/ 797141 h 6557032"/>
              <a:gd name="connsiteX28205" fmla="*/ 3540484 w 4610101"/>
              <a:gd name="connsiteY28205" fmla="*/ 797141 h 6557032"/>
              <a:gd name="connsiteX28206" fmla="*/ 3371022 w 4610101"/>
              <a:gd name="connsiteY28206" fmla="*/ 797141 h 6557032"/>
              <a:gd name="connsiteX28207" fmla="*/ 3356445 w 4610101"/>
              <a:gd name="connsiteY28207" fmla="*/ 800786 h 6557032"/>
              <a:gd name="connsiteX28208" fmla="*/ 3371022 w 4610101"/>
              <a:gd name="connsiteY28208" fmla="*/ 797141 h 6557032"/>
              <a:gd name="connsiteX28209" fmla="*/ 2786104 w 4610101"/>
              <a:gd name="connsiteY28209" fmla="*/ 797141 h 6557032"/>
              <a:gd name="connsiteX28210" fmla="*/ 2793393 w 4610101"/>
              <a:gd name="connsiteY28210" fmla="*/ 809897 h 6557032"/>
              <a:gd name="connsiteX28211" fmla="*/ 2786104 w 4610101"/>
              <a:gd name="connsiteY28211" fmla="*/ 797141 h 6557032"/>
              <a:gd name="connsiteX28212" fmla="*/ 2669485 w 4610101"/>
              <a:gd name="connsiteY28212" fmla="*/ 797141 h 6557032"/>
              <a:gd name="connsiteX28213" fmla="*/ 2662197 w 4610101"/>
              <a:gd name="connsiteY28213" fmla="*/ 800786 h 6557032"/>
              <a:gd name="connsiteX28214" fmla="*/ 2669485 w 4610101"/>
              <a:gd name="connsiteY28214" fmla="*/ 797141 h 6557032"/>
              <a:gd name="connsiteX28215" fmla="*/ 2638508 w 4610101"/>
              <a:gd name="connsiteY28215" fmla="*/ 797141 h 6557032"/>
              <a:gd name="connsiteX28216" fmla="*/ 2636686 w 4610101"/>
              <a:gd name="connsiteY28216" fmla="*/ 811719 h 6557032"/>
              <a:gd name="connsiteX28217" fmla="*/ 2627575 w 4610101"/>
              <a:gd name="connsiteY28217" fmla="*/ 822652 h 6557032"/>
              <a:gd name="connsiteX28218" fmla="*/ 2642153 w 4610101"/>
              <a:gd name="connsiteY28218" fmla="*/ 828118 h 6557032"/>
              <a:gd name="connsiteX28219" fmla="*/ 2638508 w 4610101"/>
              <a:gd name="connsiteY28219" fmla="*/ 797141 h 6557032"/>
              <a:gd name="connsiteX28220" fmla="*/ 2527356 w 4610101"/>
              <a:gd name="connsiteY28220" fmla="*/ 797141 h 6557032"/>
              <a:gd name="connsiteX28221" fmla="*/ 2534644 w 4610101"/>
              <a:gd name="connsiteY28221" fmla="*/ 808074 h 6557032"/>
              <a:gd name="connsiteX28222" fmla="*/ 2532822 w 4610101"/>
              <a:gd name="connsiteY28222" fmla="*/ 797141 h 6557032"/>
              <a:gd name="connsiteX28223" fmla="*/ 2527356 w 4610101"/>
              <a:gd name="connsiteY28223" fmla="*/ 797141 h 6557032"/>
              <a:gd name="connsiteX28224" fmla="*/ 2275896 w 4610101"/>
              <a:gd name="connsiteY28224" fmla="*/ 797141 h 6557032"/>
              <a:gd name="connsiteX28225" fmla="*/ 2279540 w 4610101"/>
              <a:gd name="connsiteY28225" fmla="*/ 806252 h 6557032"/>
              <a:gd name="connsiteX28226" fmla="*/ 2283184 w 4610101"/>
              <a:gd name="connsiteY28226" fmla="*/ 802608 h 6557032"/>
              <a:gd name="connsiteX28227" fmla="*/ 2275896 w 4610101"/>
              <a:gd name="connsiteY28227" fmla="*/ 797141 h 6557032"/>
              <a:gd name="connsiteX28228" fmla="*/ 1508760 w 4610101"/>
              <a:gd name="connsiteY28228" fmla="*/ 797141 h 6557032"/>
              <a:gd name="connsiteX28229" fmla="*/ 1501472 w 4610101"/>
              <a:gd name="connsiteY28229" fmla="*/ 801469 h 6557032"/>
              <a:gd name="connsiteX28230" fmla="*/ 1499606 w 4610101"/>
              <a:gd name="connsiteY28230" fmla="*/ 802227 h 6557032"/>
              <a:gd name="connsiteX28231" fmla="*/ 1341120 w 4610101"/>
              <a:gd name="connsiteY28231" fmla="*/ 797141 h 6557032"/>
              <a:gd name="connsiteX28232" fmla="*/ 1332009 w 4610101"/>
              <a:gd name="connsiteY28232" fmla="*/ 800786 h 6557032"/>
              <a:gd name="connsiteX28233" fmla="*/ 1341120 w 4610101"/>
              <a:gd name="connsiteY28233" fmla="*/ 797141 h 6557032"/>
              <a:gd name="connsiteX28234" fmla="*/ 707004 w 4610101"/>
              <a:gd name="connsiteY28234" fmla="*/ 797141 h 6557032"/>
              <a:gd name="connsiteX28235" fmla="*/ 701537 w 4610101"/>
              <a:gd name="connsiteY28235" fmla="*/ 798964 h 6557032"/>
              <a:gd name="connsiteX28236" fmla="*/ 708826 w 4610101"/>
              <a:gd name="connsiteY28236" fmla="*/ 808074 h 6557032"/>
              <a:gd name="connsiteX28237" fmla="*/ 707004 w 4610101"/>
              <a:gd name="connsiteY28237" fmla="*/ 797141 h 6557032"/>
              <a:gd name="connsiteX28238" fmla="*/ 635939 w 4610101"/>
              <a:gd name="connsiteY28238" fmla="*/ 797141 h 6557032"/>
              <a:gd name="connsiteX28239" fmla="*/ 639583 w 4610101"/>
              <a:gd name="connsiteY28239" fmla="*/ 804430 h 6557032"/>
              <a:gd name="connsiteX28240" fmla="*/ 643228 w 4610101"/>
              <a:gd name="connsiteY28240" fmla="*/ 800786 h 6557032"/>
              <a:gd name="connsiteX28241" fmla="*/ 635939 w 4610101"/>
              <a:gd name="connsiteY28241" fmla="*/ 797141 h 6557032"/>
              <a:gd name="connsiteX28242" fmla="*/ 402701 w 4610101"/>
              <a:gd name="connsiteY28242" fmla="*/ 797141 h 6557032"/>
              <a:gd name="connsiteX28243" fmla="*/ 406345 w 4610101"/>
              <a:gd name="connsiteY28243" fmla="*/ 800786 h 6557032"/>
              <a:gd name="connsiteX28244" fmla="*/ 402701 w 4610101"/>
              <a:gd name="connsiteY28244" fmla="*/ 797141 h 6557032"/>
              <a:gd name="connsiteX28245" fmla="*/ 311592 w 4610101"/>
              <a:gd name="connsiteY28245" fmla="*/ 797141 h 6557032"/>
              <a:gd name="connsiteX28246" fmla="*/ 320703 w 4610101"/>
              <a:gd name="connsiteY28246" fmla="*/ 806252 h 6557032"/>
              <a:gd name="connsiteX28247" fmla="*/ 317059 w 4610101"/>
              <a:gd name="connsiteY28247" fmla="*/ 802608 h 6557032"/>
              <a:gd name="connsiteX28248" fmla="*/ 318882 w 4610101"/>
              <a:gd name="connsiteY28248" fmla="*/ 802608 h 6557032"/>
              <a:gd name="connsiteX28249" fmla="*/ 311592 w 4610101"/>
              <a:gd name="connsiteY28249" fmla="*/ 797141 h 6557032"/>
              <a:gd name="connsiteX28250" fmla="*/ 200439 w 4610101"/>
              <a:gd name="connsiteY28250" fmla="*/ 797141 h 6557032"/>
              <a:gd name="connsiteX28251" fmla="*/ 215017 w 4610101"/>
              <a:gd name="connsiteY28251" fmla="*/ 815363 h 6557032"/>
              <a:gd name="connsiteX28252" fmla="*/ 215017 w 4610101"/>
              <a:gd name="connsiteY28252" fmla="*/ 811719 h 6557032"/>
              <a:gd name="connsiteX28253" fmla="*/ 224128 w 4610101"/>
              <a:gd name="connsiteY28253" fmla="*/ 819008 h 6557032"/>
              <a:gd name="connsiteX28254" fmla="*/ 200439 w 4610101"/>
              <a:gd name="connsiteY28254" fmla="*/ 797141 h 6557032"/>
              <a:gd name="connsiteX28255" fmla="*/ 1449855 w 4610101"/>
              <a:gd name="connsiteY28255" fmla="*/ 796779 h 6557032"/>
              <a:gd name="connsiteX28256" fmla="*/ 1449085 w 4610101"/>
              <a:gd name="connsiteY28256" fmla="*/ 798053 h 6557032"/>
              <a:gd name="connsiteX28257" fmla="*/ 1448168 w 4610101"/>
              <a:gd name="connsiteY28257" fmla="*/ 798634 h 6557032"/>
              <a:gd name="connsiteX28258" fmla="*/ 1448145 w 4610101"/>
              <a:gd name="connsiteY28258" fmla="*/ 798338 h 6557032"/>
              <a:gd name="connsiteX28259" fmla="*/ 2337850 w 4610101"/>
              <a:gd name="connsiteY28259" fmla="*/ 795319 h 6557032"/>
              <a:gd name="connsiteX28260" fmla="*/ 2332383 w 4610101"/>
              <a:gd name="connsiteY28260" fmla="*/ 797141 h 6557032"/>
              <a:gd name="connsiteX28261" fmla="*/ 2328739 w 4610101"/>
              <a:gd name="connsiteY28261" fmla="*/ 815363 h 6557032"/>
              <a:gd name="connsiteX28262" fmla="*/ 2337850 w 4610101"/>
              <a:gd name="connsiteY28262" fmla="*/ 795319 h 6557032"/>
              <a:gd name="connsiteX28263" fmla="*/ 1107882 w 4610101"/>
              <a:gd name="connsiteY28263" fmla="*/ 795319 h 6557032"/>
              <a:gd name="connsiteX28264" fmla="*/ 1107882 w 4610101"/>
              <a:gd name="connsiteY28264" fmla="*/ 802244 h 6557032"/>
              <a:gd name="connsiteX28265" fmla="*/ 1106060 w 4610101"/>
              <a:gd name="connsiteY28265" fmla="*/ 802608 h 6557032"/>
              <a:gd name="connsiteX28266" fmla="*/ 1106060 w 4610101"/>
              <a:gd name="connsiteY28266" fmla="*/ 809897 h 6557032"/>
              <a:gd name="connsiteX28267" fmla="*/ 1107882 w 4610101"/>
              <a:gd name="connsiteY28267" fmla="*/ 815363 h 6557032"/>
              <a:gd name="connsiteX28268" fmla="*/ 1115171 w 4610101"/>
              <a:gd name="connsiteY28268" fmla="*/ 813541 h 6557032"/>
              <a:gd name="connsiteX28269" fmla="*/ 1111526 w 4610101"/>
              <a:gd name="connsiteY28269" fmla="*/ 811719 h 6557032"/>
              <a:gd name="connsiteX28270" fmla="*/ 1115171 w 4610101"/>
              <a:gd name="connsiteY28270" fmla="*/ 811719 h 6557032"/>
              <a:gd name="connsiteX28271" fmla="*/ 1109704 w 4610101"/>
              <a:gd name="connsiteY28271" fmla="*/ 804430 h 6557032"/>
              <a:gd name="connsiteX28272" fmla="*/ 1115171 w 4610101"/>
              <a:gd name="connsiteY28272" fmla="*/ 808074 h 6557032"/>
              <a:gd name="connsiteX28273" fmla="*/ 1115171 w 4610101"/>
              <a:gd name="connsiteY28273" fmla="*/ 800786 h 6557032"/>
              <a:gd name="connsiteX28274" fmla="*/ 1108663 w 4610101"/>
              <a:gd name="connsiteY28274" fmla="*/ 802088 h 6557032"/>
              <a:gd name="connsiteX28275" fmla="*/ 1113349 w 4610101"/>
              <a:gd name="connsiteY28275" fmla="*/ 798964 h 6557032"/>
              <a:gd name="connsiteX28276" fmla="*/ 1107882 w 4610101"/>
              <a:gd name="connsiteY28276" fmla="*/ 795319 h 6557032"/>
              <a:gd name="connsiteX28277" fmla="*/ 1102416 w 4610101"/>
              <a:gd name="connsiteY28277" fmla="*/ 795319 h 6557032"/>
              <a:gd name="connsiteX28278" fmla="*/ 1102416 w 4610101"/>
              <a:gd name="connsiteY28278" fmla="*/ 800786 h 6557032"/>
              <a:gd name="connsiteX28279" fmla="*/ 1104238 w 4610101"/>
              <a:gd name="connsiteY28279" fmla="*/ 795319 h 6557032"/>
              <a:gd name="connsiteX28280" fmla="*/ 1102416 w 4610101"/>
              <a:gd name="connsiteY28280" fmla="*/ 795319 h 6557032"/>
              <a:gd name="connsiteX28281" fmla="*/ 719759 w 4610101"/>
              <a:gd name="connsiteY28281" fmla="*/ 795319 h 6557032"/>
              <a:gd name="connsiteX28282" fmla="*/ 717937 w 4610101"/>
              <a:gd name="connsiteY28282" fmla="*/ 804430 h 6557032"/>
              <a:gd name="connsiteX28283" fmla="*/ 725226 w 4610101"/>
              <a:gd name="connsiteY28283" fmla="*/ 798964 h 6557032"/>
              <a:gd name="connsiteX28284" fmla="*/ 719759 w 4610101"/>
              <a:gd name="connsiteY28284" fmla="*/ 795319 h 6557032"/>
              <a:gd name="connsiteX28285" fmla="*/ 666916 w 4610101"/>
              <a:gd name="connsiteY28285" fmla="*/ 795319 h 6557032"/>
              <a:gd name="connsiteX28286" fmla="*/ 666916 w 4610101"/>
              <a:gd name="connsiteY28286" fmla="*/ 798964 h 6557032"/>
              <a:gd name="connsiteX28287" fmla="*/ 670560 w 4610101"/>
              <a:gd name="connsiteY28287" fmla="*/ 797141 h 6557032"/>
              <a:gd name="connsiteX28288" fmla="*/ 666916 w 4610101"/>
              <a:gd name="connsiteY28288" fmla="*/ 795319 h 6557032"/>
              <a:gd name="connsiteX28289" fmla="*/ 648694 w 4610101"/>
              <a:gd name="connsiteY28289" fmla="*/ 795319 h 6557032"/>
              <a:gd name="connsiteX28290" fmla="*/ 650104 w 4610101"/>
              <a:gd name="connsiteY28290" fmla="*/ 799552 h 6557032"/>
              <a:gd name="connsiteX28291" fmla="*/ 648694 w 4610101"/>
              <a:gd name="connsiteY28291" fmla="*/ 798964 h 6557032"/>
              <a:gd name="connsiteX28292" fmla="*/ 650516 w 4610101"/>
              <a:gd name="connsiteY28292" fmla="*/ 800786 h 6557032"/>
              <a:gd name="connsiteX28293" fmla="*/ 650104 w 4610101"/>
              <a:gd name="connsiteY28293" fmla="*/ 799552 h 6557032"/>
              <a:gd name="connsiteX28294" fmla="*/ 651427 w 4610101"/>
              <a:gd name="connsiteY28294" fmla="*/ 800103 h 6557032"/>
              <a:gd name="connsiteX28295" fmla="*/ 654161 w 4610101"/>
              <a:gd name="connsiteY28295" fmla="*/ 802608 h 6557032"/>
              <a:gd name="connsiteX28296" fmla="*/ 655983 w 4610101"/>
              <a:gd name="connsiteY28296" fmla="*/ 795319 h 6557032"/>
              <a:gd name="connsiteX28297" fmla="*/ 648694 w 4610101"/>
              <a:gd name="connsiteY28297" fmla="*/ 795319 h 6557032"/>
              <a:gd name="connsiteX28298" fmla="*/ 532075 w 4610101"/>
              <a:gd name="connsiteY28298" fmla="*/ 795319 h 6557032"/>
              <a:gd name="connsiteX28299" fmla="*/ 543008 w 4610101"/>
              <a:gd name="connsiteY28299" fmla="*/ 808074 h 6557032"/>
              <a:gd name="connsiteX28300" fmla="*/ 532075 w 4610101"/>
              <a:gd name="connsiteY28300" fmla="*/ 795319 h 6557032"/>
              <a:gd name="connsiteX28301" fmla="*/ 3119428 w 4610101"/>
              <a:gd name="connsiteY28301" fmla="*/ 794617 h 6557032"/>
              <a:gd name="connsiteX28302" fmla="*/ 3119562 w 4610101"/>
              <a:gd name="connsiteY28302" fmla="*/ 795319 h 6557032"/>
              <a:gd name="connsiteX28303" fmla="*/ 3118119 w 4610101"/>
              <a:gd name="connsiteY28303" fmla="*/ 795079 h 6557032"/>
              <a:gd name="connsiteX28304" fmla="*/ 1022240 w 4610101"/>
              <a:gd name="connsiteY28304" fmla="*/ 793497 h 6557032"/>
              <a:gd name="connsiteX28305" fmla="*/ 1020418 w 4610101"/>
              <a:gd name="connsiteY28305" fmla="*/ 800786 h 6557032"/>
              <a:gd name="connsiteX28306" fmla="*/ 1024062 w 4610101"/>
              <a:gd name="connsiteY28306" fmla="*/ 795319 h 6557032"/>
              <a:gd name="connsiteX28307" fmla="*/ 1022240 w 4610101"/>
              <a:gd name="connsiteY28307" fmla="*/ 793497 h 6557032"/>
              <a:gd name="connsiteX28308" fmla="*/ 962108 w 4610101"/>
              <a:gd name="connsiteY28308" fmla="*/ 793497 h 6557032"/>
              <a:gd name="connsiteX28309" fmla="*/ 956642 w 4610101"/>
              <a:gd name="connsiteY28309" fmla="*/ 795319 h 6557032"/>
              <a:gd name="connsiteX28310" fmla="*/ 962108 w 4610101"/>
              <a:gd name="connsiteY28310" fmla="*/ 793497 h 6557032"/>
              <a:gd name="connsiteX28311" fmla="*/ 759848 w 4610101"/>
              <a:gd name="connsiteY28311" fmla="*/ 793497 h 6557032"/>
              <a:gd name="connsiteX28312" fmla="*/ 763491 w 4610101"/>
              <a:gd name="connsiteY28312" fmla="*/ 793497 h 6557032"/>
              <a:gd name="connsiteX28313" fmla="*/ 759848 w 4610101"/>
              <a:gd name="connsiteY28313" fmla="*/ 793497 h 6557032"/>
              <a:gd name="connsiteX28314" fmla="*/ 430034 w 4610101"/>
              <a:gd name="connsiteY28314" fmla="*/ 793497 h 6557032"/>
              <a:gd name="connsiteX28315" fmla="*/ 438005 w 4610101"/>
              <a:gd name="connsiteY28315" fmla="*/ 805342 h 6557032"/>
              <a:gd name="connsiteX28316" fmla="*/ 443564 w 4610101"/>
              <a:gd name="connsiteY28316" fmla="*/ 808278 h 6557032"/>
              <a:gd name="connsiteX28317" fmla="*/ 442789 w 4610101"/>
              <a:gd name="connsiteY28317" fmla="*/ 808074 h 6557032"/>
              <a:gd name="connsiteX28318" fmla="*/ 443843 w 4610101"/>
              <a:gd name="connsiteY28318" fmla="*/ 808426 h 6557032"/>
              <a:gd name="connsiteX28319" fmla="*/ 450077 w 4610101"/>
              <a:gd name="connsiteY28319" fmla="*/ 811719 h 6557032"/>
              <a:gd name="connsiteX28320" fmla="*/ 447708 w 4610101"/>
              <a:gd name="connsiteY28320" fmla="*/ 809714 h 6557032"/>
              <a:gd name="connsiteX28321" fmla="*/ 453722 w 4610101"/>
              <a:gd name="connsiteY28321" fmla="*/ 811719 h 6557032"/>
              <a:gd name="connsiteX28322" fmla="*/ 442789 w 4610101"/>
              <a:gd name="connsiteY28322" fmla="*/ 802608 h 6557032"/>
              <a:gd name="connsiteX28323" fmla="*/ 455544 w 4610101"/>
              <a:gd name="connsiteY28323" fmla="*/ 808074 h 6557032"/>
              <a:gd name="connsiteX28324" fmla="*/ 430034 w 4610101"/>
              <a:gd name="connsiteY28324" fmla="*/ 793497 h 6557032"/>
              <a:gd name="connsiteX28325" fmla="*/ 3324329 w 4610101"/>
              <a:gd name="connsiteY28325" fmla="*/ 792586 h 6557032"/>
              <a:gd name="connsiteX28326" fmla="*/ 3320001 w 4610101"/>
              <a:gd name="connsiteY28326" fmla="*/ 795319 h 6557032"/>
              <a:gd name="connsiteX28327" fmla="*/ 3327290 w 4610101"/>
              <a:gd name="connsiteY28327" fmla="*/ 795319 h 6557032"/>
              <a:gd name="connsiteX28328" fmla="*/ 3324329 w 4610101"/>
              <a:gd name="connsiteY28328" fmla="*/ 792586 h 6557032"/>
              <a:gd name="connsiteX28329" fmla="*/ 3460309 w 4610101"/>
              <a:gd name="connsiteY28329" fmla="*/ 791675 h 6557032"/>
              <a:gd name="connsiteX28330" fmla="*/ 3460309 w 4610101"/>
              <a:gd name="connsiteY28330" fmla="*/ 802608 h 6557032"/>
              <a:gd name="connsiteX28331" fmla="*/ 3467597 w 4610101"/>
              <a:gd name="connsiteY28331" fmla="*/ 798964 h 6557032"/>
              <a:gd name="connsiteX28332" fmla="*/ 3460309 w 4610101"/>
              <a:gd name="connsiteY28332" fmla="*/ 791675 h 6557032"/>
              <a:gd name="connsiteX28333" fmla="*/ 1131570 w 4610101"/>
              <a:gd name="connsiteY28333" fmla="*/ 791675 h 6557032"/>
              <a:gd name="connsiteX28334" fmla="*/ 1116993 w 4610101"/>
              <a:gd name="connsiteY28334" fmla="*/ 793497 h 6557032"/>
              <a:gd name="connsiteX28335" fmla="*/ 1122459 w 4610101"/>
              <a:gd name="connsiteY28335" fmla="*/ 800786 h 6557032"/>
              <a:gd name="connsiteX28336" fmla="*/ 1131570 w 4610101"/>
              <a:gd name="connsiteY28336" fmla="*/ 791675 h 6557032"/>
              <a:gd name="connsiteX28337" fmla="*/ 768959 w 4610101"/>
              <a:gd name="connsiteY28337" fmla="*/ 791675 h 6557032"/>
              <a:gd name="connsiteX28338" fmla="*/ 772602 w 4610101"/>
              <a:gd name="connsiteY28338" fmla="*/ 806252 h 6557032"/>
              <a:gd name="connsiteX28339" fmla="*/ 768959 w 4610101"/>
              <a:gd name="connsiteY28339" fmla="*/ 791675 h 6557032"/>
              <a:gd name="connsiteX28340" fmla="*/ 594030 w 4610101"/>
              <a:gd name="connsiteY28340" fmla="*/ 791675 h 6557032"/>
              <a:gd name="connsiteX28341" fmla="*/ 595852 w 4610101"/>
              <a:gd name="connsiteY28341" fmla="*/ 797141 h 6557032"/>
              <a:gd name="connsiteX28342" fmla="*/ 597673 w 4610101"/>
              <a:gd name="connsiteY28342" fmla="*/ 795319 h 6557032"/>
              <a:gd name="connsiteX28343" fmla="*/ 594030 w 4610101"/>
              <a:gd name="connsiteY28343" fmla="*/ 791675 h 6557032"/>
              <a:gd name="connsiteX28344" fmla="*/ 471943 w 4610101"/>
              <a:gd name="connsiteY28344" fmla="*/ 791675 h 6557032"/>
              <a:gd name="connsiteX28345" fmla="*/ 468299 w 4610101"/>
              <a:gd name="connsiteY28345" fmla="*/ 798964 h 6557032"/>
              <a:gd name="connsiteX28346" fmla="*/ 473766 w 4610101"/>
              <a:gd name="connsiteY28346" fmla="*/ 798964 h 6557032"/>
              <a:gd name="connsiteX28347" fmla="*/ 477410 w 4610101"/>
              <a:gd name="connsiteY28347" fmla="*/ 804430 h 6557032"/>
              <a:gd name="connsiteX28348" fmla="*/ 475589 w 4610101"/>
              <a:gd name="connsiteY28348" fmla="*/ 795319 h 6557032"/>
              <a:gd name="connsiteX28349" fmla="*/ 471943 w 4610101"/>
              <a:gd name="connsiteY28349" fmla="*/ 795319 h 6557032"/>
              <a:gd name="connsiteX28350" fmla="*/ 471943 w 4610101"/>
              <a:gd name="connsiteY28350" fmla="*/ 791675 h 6557032"/>
              <a:gd name="connsiteX28351" fmla="*/ 340747 w 4610101"/>
              <a:gd name="connsiteY28351" fmla="*/ 791675 h 6557032"/>
              <a:gd name="connsiteX28352" fmla="*/ 351680 w 4610101"/>
              <a:gd name="connsiteY28352" fmla="*/ 797141 h 6557032"/>
              <a:gd name="connsiteX28353" fmla="*/ 340747 w 4610101"/>
              <a:gd name="connsiteY28353" fmla="*/ 791675 h 6557032"/>
              <a:gd name="connsiteX28354" fmla="*/ 271504 w 4610101"/>
              <a:gd name="connsiteY28354" fmla="*/ 791675 h 6557032"/>
              <a:gd name="connsiteX28355" fmla="*/ 276971 w 4610101"/>
              <a:gd name="connsiteY28355" fmla="*/ 797141 h 6557032"/>
              <a:gd name="connsiteX28356" fmla="*/ 271504 w 4610101"/>
              <a:gd name="connsiteY28356" fmla="*/ 791675 h 6557032"/>
              <a:gd name="connsiteX28357" fmla="*/ 2682924 w 4610101"/>
              <a:gd name="connsiteY28357" fmla="*/ 791220 h 6557032"/>
              <a:gd name="connsiteX28358" fmla="*/ 2678596 w 4610101"/>
              <a:gd name="connsiteY28358" fmla="*/ 791675 h 6557032"/>
              <a:gd name="connsiteX28359" fmla="*/ 2685885 w 4610101"/>
              <a:gd name="connsiteY28359" fmla="*/ 793497 h 6557032"/>
              <a:gd name="connsiteX28360" fmla="*/ 2682924 w 4610101"/>
              <a:gd name="connsiteY28360" fmla="*/ 791220 h 6557032"/>
              <a:gd name="connsiteX28361" fmla="*/ 3247114 w 4610101"/>
              <a:gd name="connsiteY28361" fmla="*/ 789853 h 6557032"/>
              <a:gd name="connsiteX28362" fmla="*/ 3241648 w 4610101"/>
              <a:gd name="connsiteY28362" fmla="*/ 793497 h 6557032"/>
              <a:gd name="connsiteX28363" fmla="*/ 3248937 w 4610101"/>
              <a:gd name="connsiteY28363" fmla="*/ 795319 h 6557032"/>
              <a:gd name="connsiteX28364" fmla="*/ 3247114 w 4610101"/>
              <a:gd name="connsiteY28364" fmla="*/ 789853 h 6557032"/>
              <a:gd name="connsiteX28365" fmla="*/ 2645797 w 4610101"/>
              <a:gd name="connsiteY28365" fmla="*/ 789853 h 6557032"/>
              <a:gd name="connsiteX28366" fmla="*/ 2647619 w 4610101"/>
              <a:gd name="connsiteY28366" fmla="*/ 797141 h 6557032"/>
              <a:gd name="connsiteX28367" fmla="*/ 2645797 w 4610101"/>
              <a:gd name="connsiteY28367" fmla="*/ 789853 h 6557032"/>
              <a:gd name="connsiteX28368" fmla="*/ 2574732 w 4610101"/>
              <a:gd name="connsiteY28368" fmla="*/ 789853 h 6557032"/>
              <a:gd name="connsiteX28369" fmla="*/ 2576554 w 4610101"/>
              <a:gd name="connsiteY28369" fmla="*/ 802608 h 6557032"/>
              <a:gd name="connsiteX28370" fmla="*/ 2582021 w 4610101"/>
              <a:gd name="connsiteY28370" fmla="*/ 795319 h 6557032"/>
              <a:gd name="connsiteX28371" fmla="*/ 2574732 w 4610101"/>
              <a:gd name="connsiteY28371" fmla="*/ 789853 h 6557032"/>
              <a:gd name="connsiteX28372" fmla="*/ 1496006 w 4610101"/>
              <a:gd name="connsiteY28372" fmla="*/ 789853 h 6557032"/>
              <a:gd name="connsiteX28373" fmla="*/ 1465028 w 4610101"/>
              <a:gd name="connsiteY28373" fmla="*/ 809897 h 6557032"/>
              <a:gd name="connsiteX28374" fmla="*/ 1496006 w 4610101"/>
              <a:gd name="connsiteY28374" fmla="*/ 789853 h 6557032"/>
              <a:gd name="connsiteX28375" fmla="*/ 1204457 w 4610101"/>
              <a:gd name="connsiteY28375" fmla="*/ 789853 h 6557032"/>
              <a:gd name="connsiteX28376" fmla="*/ 1204254 w 4610101"/>
              <a:gd name="connsiteY28376" fmla="*/ 790461 h 6557032"/>
              <a:gd name="connsiteX28377" fmla="*/ 1203960 w 4610101"/>
              <a:gd name="connsiteY28377" fmla="*/ 790350 h 6557032"/>
              <a:gd name="connsiteX28378" fmla="*/ 854600 w 4610101"/>
              <a:gd name="connsiteY28378" fmla="*/ 789853 h 6557032"/>
              <a:gd name="connsiteX28379" fmla="*/ 860066 w 4610101"/>
              <a:gd name="connsiteY28379" fmla="*/ 802608 h 6557032"/>
              <a:gd name="connsiteX28380" fmla="*/ 865533 w 4610101"/>
              <a:gd name="connsiteY28380" fmla="*/ 804430 h 6557032"/>
              <a:gd name="connsiteX28381" fmla="*/ 863711 w 4610101"/>
              <a:gd name="connsiteY28381" fmla="*/ 798964 h 6557032"/>
              <a:gd name="connsiteX28382" fmla="*/ 860066 w 4610101"/>
              <a:gd name="connsiteY28382" fmla="*/ 802608 h 6557032"/>
              <a:gd name="connsiteX28383" fmla="*/ 863711 w 4610101"/>
              <a:gd name="connsiteY28383" fmla="*/ 793497 h 6557032"/>
              <a:gd name="connsiteX28384" fmla="*/ 854600 w 4610101"/>
              <a:gd name="connsiteY28384" fmla="*/ 789853 h 6557032"/>
              <a:gd name="connsiteX28385" fmla="*/ 634117 w 4610101"/>
              <a:gd name="connsiteY28385" fmla="*/ 789853 h 6557032"/>
              <a:gd name="connsiteX28386" fmla="*/ 645050 w 4610101"/>
              <a:gd name="connsiteY28386" fmla="*/ 798964 h 6557032"/>
              <a:gd name="connsiteX28387" fmla="*/ 634117 w 4610101"/>
              <a:gd name="connsiteY28387" fmla="*/ 789853 h 6557032"/>
              <a:gd name="connsiteX28388" fmla="*/ 235061 w 4610101"/>
              <a:gd name="connsiteY28388" fmla="*/ 789853 h 6557032"/>
              <a:gd name="connsiteX28389" fmla="*/ 238705 w 4610101"/>
              <a:gd name="connsiteY28389" fmla="*/ 795319 h 6557032"/>
              <a:gd name="connsiteX28390" fmla="*/ 235061 w 4610101"/>
              <a:gd name="connsiteY28390" fmla="*/ 789853 h 6557032"/>
              <a:gd name="connsiteX28391" fmla="*/ 2605709 w 4610101"/>
              <a:gd name="connsiteY28391" fmla="*/ 788031 h 6557032"/>
              <a:gd name="connsiteX28392" fmla="*/ 2607531 w 4610101"/>
              <a:gd name="connsiteY28392" fmla="*/ 797141 h 6557032"/>
              <a:gd name="connsiteX28393" fmla="*/ 2605709 w 4610101"/>
              <a:gd name="connsiteY28393" fmla="*/ 788031 h 6557032"/>
              <a:gd name="connsiteX28394" fmla="*/ 1339299 w 4610101"/>
              <a:gd name="connsiteY28394" fmla="*/ 788031 h 6557032"/>
              <a:gd name="connsiteX28395" fmla="*/ 1333832 w 4610101"/>
              <a:gd name="connsiteY28395" fmla="*/ 793497 h 6557032"/>
              <a:gd name="connsiteX28396" fmla="*/ 1342942 w 4610101"/>
              <a:gd name="connsiteY28396" fmla="*/ 791675 h 6557032"/>
              <a:gd name="connsiteX28397" fmla="*/ 1339299 w 4610101"/>
              <a:gd name="connsiteY28397" fmla="*/ 788031 h 6557032"/>
              <a:gd name="connsiteX28398" fmla="*/ 1332009 w 4610101"/>
              <a:gd name="connsiteY28398" fmla="*/ 788031 h 6557032"/>
              <a:gd name="connsiteX28399" fmla="*/ 1313788 w 4610101"/>
              <a:gd name="connsiteY28399" fmla="*/ 791675 h 6557032"/>
              <a:gd name="connsiteX28400" fmla="*/ 1328365 w 4610101"/>
              <a:gd name="connsiteY28400" fmla="*/ 795319 h 6557032"/>
              <a:gd name="connsiteX28401" fmla="*/ 1332009 w 4610101"/>
              <a:gd name="connsiteY28401" fmla="*/ 788031 h 6557032"/>
              <a:gd name="connsiteX28402" fmla="*/ 1164370 w 4610101"/>
              <a:gd name="connsiteY28402" fmla="*/ 788031 h 6557032"/>
              <a:gd name="connsiteX28403" fmla="*/ 1158903 w 4610101"/>
              <a:gd name="connsiteY28403" fmla="*/ 791675 h 6557032"/>
              <a:gd name="connsiteX28404" fmla="*/ 1164370 w 4610101"/>
              <a:gd name="connsiteY28404" fmla="*/ 788031 h 6557032"/>
              <a:gd name="connsiteX28405" fmla="*/ 1024062 w 4610101"/>
              <a:gd name="connsiteY28405" fmla="*/ 788031 h 6557032"/>
              <a:gd name="connsiteX28406" fmla="*/ 1024349 w 4610101"/>
              <a:gd name="connsiteY28406" fmla="*/ 788383 h 6557032"/>
              <a:gd name="connsiteX28407" fmla="*/ 1023843 w 4610101"/>
              <a:gd name="connsiteY28407" fmla="*/ 788299 h 6557032"/>
              <a:gd name="connsiteX28408" fmla="*/ 758025 w 4610101"/>
              <a:gd name="connsiteY28408" fmla="*/ 788031 h 6557032"/>
              <a:gd name="connsiteX28409" fmla="*/ 758025 w 4610101"/>
              <a:gd name="connsiteY28409" fmla="*/ 791675 h 6557032"/>
              <a:gd name="connsiteX28410" fmla="*/ 758025 w 4610101"/>
              <a:gd name="connsiteY28410" fmla="*/ 788031 h 6557032"/>
              <a:gd name="connsiteX28411" fmla="*/ 697893 w 4610101"/>
              <a:gd name="connsiteY28411" fmla="*/ 788031 h 6557032"/>
              <a:gd name="connsiteX28412" fmla="*/ 686960 w 4610101"/>
              <a:gd name="connsiteY28412" fmla="*/ 789853 h 6557032"/>
              <a:gd name="connsiteX28413" fmla="*/ 699715 w 4610101"/>
              <a:gd name="connsiteY28413" fmla="*/ 795319 h 6557032"/>
              <a:gd name="connsiteX28414" fmla="*/ 697893 w 4610101"/>
              <a:gd name="connsiteY28414" fmla="*/ 788031 h 6557032"/>
              <a:gd name="connsiteX28415" fmla="*/ 703359 w 4610101"/>
              <a:gd name="connsiteY28415" fmla="*/ 795319 h 6557032"/>
              <a:gd name="connsiteX28416" fmla="*/ 708826 w 4610101"/>
              <a:gd name="connsiteY28416" fmla="*/ 788031 h 6557032"/>
              <a:gd name="connsiteX28417" fmla="*/ 697893 w 4610101"/>
              <a:gd name="connsiteY28417" fmla="*/ 788031 h 6557032"/>
              <a:gd name="connsiteX28418" fmla="*/ 650516 w 4610101"/>
              <a:gd name="connsiteY28418" fmla="*/ 788031 h 6557032"/>
              <a:gd name="connsiteX28419" fmla="*/ 648694 w 4610101"/>
              <a:gd name="connsiteY28419" fmla="*/ 789853 h 6557032"/>
              <a:gd name="connsiteX28420" fmla="*/ 654161 w 4610101"/>
              <a:gd name="connsiteY28420" fmla="*/ 791675 h 6557032"/>
              <a:gd name="connsiteX28421" fmla="*/ 650516 w 4610101"/>
              <a:gd name="connsiteY28421" fmla="*/ 788031 h 6557032"/>
              <a:gd name="connsiteX28422" fmla="*/ 606784 w 4610101"/>
              <a:gd name="connsiteY28422" fmla="*/ 788031 h 6557032"/>
              <a:gd name="connsiteX28423" fmla="*/ 605825 w 4610101"/>
              <a:gd name="connsiteY28423" fmla="*/ 791867 h 6557032"/>
              <a:gd name="connsiteX28424" fmla="*/ 603140 w 4610101"/>
              <a:gd name="connsiteY28424" fmla="*/ 791675 h 6557032"/>
              <a:gd name="connsiteX28425" fmla="*/ 604963 w 4610101"/>
              <a:gd name="connsiteY28425" fmla="*/ 793497 h 6557032"/>
              <a:gd name="connsiteX28426" fmla="*/ 604963 w 4610101"/>
              <a:gd name="connsiteY28426" fmla="*/ 795319 h 6557032"/>
              <a:gd name="connsiteX28427" fmla="*/ 605825 w 4610101"/>
              <a:gd name="connsiteY28427" fmla="*/ 791867 h 6557032"/>
              <a:gd name="connsiteX28428" fmla="*/ 606328 w 4610101"/>
              <a:gd name="connsiteY28428" fmla="*/ 791903 h 6557032"/>
              <a:gd name="connsiteX28429" fmla="*/ 606784 w 4610101"/>
              <a:gd name="connsiteY28429" fmla="*/ 788031 h 6557032"/>
              <a:gd name="connsiteX28430" fmla="*/ 528431 w 4610101"/>
              <a:gd name="connsiteY28430" fmla="*/ 788031 h 6557032"/>
              <a:gd name="connsiteX28431" fmla="*/ 528939 w 4610101"/>
              <a:gd name="connsiteY28431" fmla="*/ 791421 h 6557032"/>
              <a:gd name="connsiteX28432" fmla="*/ 528431 w 4610101"/>
              <a:gd name="connsiteY28432" fmla="*/ 791675 h 6557032"/>
              <a:gd name="connsiteX28433" fmla="*/ 528978 w 4610101"/>
              <a:gd name="connsiteY28433" fmla="*/ 791675 h 6557032"/>
              <a:gd name="connsiteX28434" fmla="*/ 529114 w 4610101"/>
              <a:gd name="connsiteY28434" fmla="*/ 792586 h 6557032"/>
              <a:gd name="connsiteX28435" fmla="*/ 533897 w 4610101"/>
              <a:gd name="connsiteY28435" fmla="*/ 791675 h 6557032"/>
              <a:gd name="connsiteX28436" fmla="*/ 528978 w 4610101"/>
              <a:gd name="connsiteY28436" fmla="*/ 791675 h 6557032"/>
              <a:gd name="connsiteX28437" fmla="*/ 528939 w 4610101"/>
              <a:gd name="connsiteY28437" fmla="*/ 791421 h 6557032"/>
              <a:gd name="connsiteX28438" fmla="*/ 532075 w 4610101"/>
              <a:gd name="connsiteY28438" fmla="*/ 789853 h 6557032"/>
              <a:gd name="connsiteX28439" fmla="*/ 528431 w 4610101"/>
              <a:gd name="connsiteY28439" fmla="*/ 788031 h 6557032"/>
              <a:gd name="connsiteX28440" fmla="*/ 298837 w 4610101"/>
              <a:gd name="connsiteY28440" fmla="*/ 788031 h 6557032"/>
              <a:gd name="connsiteX28441" fmla="*/ 313414 w 4610101"/>
              <a:gd name="connsiteY28441" fmla="*/ 804430 h 6557032"/>
              <a:gd name="connsiteX28442" fmla="*/ 298837 w 4610101"/>
              <a:gd name="connsiteY28442" fmla="*/ 788031 h 6557032"/>
              <a:gd name="connsiteX28443" fmla="*/ 245994 w 4610101"/>
              <a:gd name="connsiteY28443" fmla="*/ 788031 h 6557032"/>
              <a:gd name="connsiteX28444" fmla="*/ 249638 w 4610101"/>
              <a:gd name="connsiteY28444" fmla="*/ 795319 h 6557032"/>
              <a:gd name="connsiteX28445" fmla="*/ 251460 w 4610101"/>
              <a:gd name="connsiteY28445" fmla="*/ 793497 h 6557032"/>
              <a:gd name="connsiteX28446" fmla="*/ 245994 w 4610101"/>
              <a:gd name="connsiteY28446" fmla="*/ 788031 h 6557032"/>
              <a:gd name="connsiteX28447" fmla="*/ 833190 w 4610101"/>
              <a:gd name="connsiteY28447" fmla="*/ 787576 h 6557032"/>
              <a:gd name="connsiteX28448" fmla="*/ 832734 w 4610101"/>
              <a:gd name="connsiteY28448" fmla="*/ 793497 h 6557032"/>
              <a:gd name="connsiteX28449" fmla="*/ 836378 w 4610101"/>
              <a:gd name="connsiteY28449" fmla="*/ 789853 h 6557032"/>
              <a:gd name="connsiteX28450" fmla="*/ 833190 w 4610101"/>
              <a:gd name="connsiteY28450" fmla="*/ 787576 h 6557032"/>
              <a:gd name="connsiteX28451" fmla="*/ 3119562 w 4610101"/>
              <a:gd name="connsiteY28451" fmla="*/ 786208 h 6557032"/>
              <a:gd name="connsiteX28452" fmla="*/ 3120018 w 4610101"/>
              <a:gd name="connsiteY28452" fmla="*/ 794409 h 6557032"/>
              <a:gd name="connsiteX28453" fmla="*/ 3119428 w 4610101"/>
              <a:gd name="connsiteY28453" fmla="*/ 794617 h 6557032"/>
              <a:gd name="connsiteX28454" fmla="*/ 3118651 w 4610101"/>
              <a:gd name="connsiteY28454" fmla="*/ 790537 h 6557032"/>
              <a:gd name="connsiteX28455" fmla="*/ 3112274 w 4610101"/>
              <a:gd name="connsiteY28455" fmla="*/ 789853 h 6557032"/>
              <a:gd name="connsiteX28456" fmla="*/ 3119562 w 4610101"/>
              <a:gd name="connsiteY28456" fmla="*/ 786208 h 6557032"/>
              <a:gd name="connsiteX28457" fmla="*/ 1361164 w 4610101"/>
              <a:gd name="connsiteY28457" fmla="*/ 786208 h 6557032"/>
              <a:gd name="connsiteX28458" fmla="*/ 1346587 w 4610101"/>
              <a:gd name="connsiteY28458" fmla="*/ 791675 h 6557032"/>
              <a:gd name="connsiteX28459" fmla="*/ 1350231 w 4610101"/>
              <a:gd name="connsiteY28459" fmla="*/ 791675 h 6557032"/>
              <a:gd name="connsiteX28460" fmla="*/ 1350231 w 4610101"/>
              <a:gd name="connsiteY28460" fmla="*/ 795319 h 6557032"/>
              <a:gd name="connsiteX28461" fmla="*/ 1361164 w 4610101"/>
              <a:gd name="connsiteY28461" fmla="*/ 786208 h 6557032"/>
              <a:gd name="connsiteX28462" fmla="*/ 1268233 w 4610101"/>
              <a:gd name="connsiteY28462" fmla="*/ 786208 h 6557032"/>
              <a:gd name="connsiteX28463" fmla="*/ 1271878 w 4610101"/>
              <a:gd name="connsiteY28463" fmla="*/ 806252 h 6557032"/>
              <a:gd name="connsiteX28464" fmla="*/ 1297388 w 4610101"/>
              <a:gd name="connsiteY28464" fmla="*/ 802608 h 6557032"/>
              <a:gd name="connsiteX28465" fmla="*/ 1304677 w 4610101"/>
              <a:gd name="connsiteY28465" fmla="*/ 800786 h 6557032"/>
              <a:gd name="connsiteX28466" fmla="*/ 1310143 w 4610101"/>
              <a:gd name="connsiteY28466" fmla="*/ 797141 h 6557032"/>
              <a:gd name="connsiteX28467" fmla="*/ 1317432 w 4610101"/>
              <a:gd name="connsiteY28467" fmla="*/ 795319 h 6557032"/>
              <a:gd name="connsiteX28468" fmla="*/ 1288277 w 4610101"/>
              <a:gd name="connsiteY28468" fmla="*/ 793497 h 6557032"/>
              <a:gd name="connsiteX28469" fmla="*/ 1292068 w 4610101"/>
              <a:gd name="connsiteY28469" fmla="*/ 797734 h 6557032"/>
              <a:gd name="connsiteX28470" fmla="*/ 1283495 w 4610101"/>
              <a:gd name="connsiteY28470" fmla="*/ 792814 h 6557032"/>
              <a:gd name="connsiteX28471" fmla="*/ 1268233 w 4610101"/>
              <a:gd name="connsiteY28471" fmla="*/ 786208 h 6557032"/>
              <a:gd name="connsiteX28472" fmla="*/ 849133 w 4610101"/>
              <a:gd name="connsiteY28472" fmla="*/ 786208 h 6557032"/>
              <a:gd name="connsiteX28473" fmla="*/ 847311 w 4610101"/>
              <a:gd name="connsiteY28473" fmla="*/ 789853 h 6557032"/>
              <a:gd name="connsiteX28474" fmla="*/ 849133 w 4610101"/>
              <a:gd name="connsiteY28474" fmla="*/ 791675 h 6557032"/>
              <a:gd name="connsiteX28475" fmla="*/ 851868 w 4610101"/>
              <a:gd name="connsiteY28475" fmla="*/ 788259 h 6557032"/>
              <a:gd name="connsiteX28476" fmla="*/ 849133 w 4610101"/>
              <a:gd name="connsiteY28476" fmla="*/ 786208 h 6557032"/>
              <a:gd name="connsiteX28477" fmla="*/ 781713 w 4610101"/>
              <a:gd name="connsiteY28477" fmla="*/ 786208 h 6557032"/>
              <a:gd name="connsiteX28478" fmla="*/ 778070 w 4610101"/>
              <a:gd name="connsiteY28478" fmla="*/ 800786 h 6557032"/>
              <a:gd name="connsiteX28479" fmla="*/ 785357 w 4610101"/>
              <a:gd name="connsiteY28479" fmla="*/ 788031 h 6557032"/>
              <a:gd name="connsiteX28480" fmla="*/ 781713 w 4610101"/>
              <a:gd name="connsiteY28480" fmla="*/ 786208 h 6557032"/>
              <a:gd name="connsiteX28481" fmla="*/ 501098 w 4610101"/>
              <a:gd name="connsiteY28481" fmla="*/ 786208 h 6557032"/>
              <a:gd name="connsiteX28482" fmla="*/ 507346 w 4610101"/>
              <a:gd name="connsiteY28482" fmla="*/ 803389 h 6557032"/>
              <a:gd name="connsiteX28483" fmla="*/ 506565 w 4610101"/>
              <a:gd name="connsiteY28483" fmla="*/ 802608 h 6557032"/>
              <a:gd name="connsiteX28484" fmla="*/ 508387 w 4610101"/>
              <a:gd name="connsiteY28484" fmla="*/ 806252 h 6557032"/>
              <a:gd name="connsiteX28485" fmla="*/ 507346 w 4610101"/>
              <a:gd name="connsiteY28485" fmla="*/ 803389 h 6557032"/>
              <a:gd name="connsiteX28486" fmla="*/ 510209 w 4610101"/>
              <a:gd name="connsiteY28486" fmla="*/ 806252 h 6557032"/>
              <a:gd name="connsiteX28487" fmla="*/ 510209 w 4610101"/>
              <a:gd name="connsiteY28487" fmla="*/ 793497 h 6557032"/>
              <a:gd name="connsiteX28488" fmla="*/ 501098 w 4610101"/>
              <a:gd name="connsiteY28488" fmla="*/ 786208 h 6557032"/>
              <a:gd name="connsiteX28489" fmla="*/ 3449376 w 4610101"/>
              <a:gd name="connsiteY28489" fmla="*/ 784386 h 6557032"/>
              <a:gd name="connsiteX28490" fmla="*/ 3447553 w 4610101"/>
              <a:gd name="connsiteY28490" fmla="*/ 789853 h 6557032"/>
              <a:gd name="connsiteX28491" fmla="*/ 3447751 w 4610101"/>
              <a:gd name="connsiteY28491" fmla="*/ 790073 h 6557032"/>
              <a:gd name="connsiteX28492" fmla="*/ 3445731 w 4610101"/>
              <a:gd name="connsiteY28492" fmla="*/ 797141 h 6557032"/>
              <a:gd name="connsiteX28493" fmla="*/ 3453020 w 4610101"/>
              <a:gd name="connsiteY28493" fmla="*/ 798964 h 6557032"/>
              <a:gd name="connsiteX28494" fmla="*/ 3451653 w 4610101"/>
              <a:gd name="connsiteY28494" fmla="*/ 794408 h 6557032"/>
              <a:gd name="connsiteX28495" fmla="*/ 3447751 w 4610101"/>
              <a:gd name="connsiteY28495" fmla="*/ 790073 h 6557032"/>
              <a:gd name="connsiteX28496" fmla="*/ 2540111 w 4610101"/>
              <a:gd name="connsiteY28496" fmla="*/ 784386 h 6557032"/>
              <a:gd name="connsiteX28497" fmla="*/ 2540111 w 4610101"/>
              <a:gd name="connsiteY28497" fmla="*/ 791675 h 6557032"/>
              <a:gd name="connsiteX28498" fmla="*/ 2536466 w 4610101"/>
              <a:gd name="connsiteY28498" fmla="*/ 788031 h 6557032"/>
              <a:gd name="connsiteX28499" fmla="*/ 2529178 w 4610101"/>
              <a:gd name="connsiteY28499" fmla="*/ 795319 h 6557032"/>
              <a:gd name="connsiteX28500" fmla="*/ 2540111 w 4610101"/>
              <a:gd name="connsiteY28500" fmla="*/ 804430 h 6557032"/>
              <a:gd name="connsiteX28501" fmla="*/ 2541933 w 4610101"/>
              <a:gd name="connsiteY28501" fmla="*/ 802608 h 6557032"/>
              <a:gd name="connsiteX28502" fmla="*/ 2536466 w 4610101"/>
              <a:gd name="connsiteY28502" fmla="*/ 811719 h 6557032"/>
              <a:gd name="connsiteX28503" fmla="*/ 2523711 w 4610101"/>
              <a:gd name="connsiteY28503" fmla="*/ 813541 h 6557032"/>
              <a:gd name="connsiteX28504" fmla="*/ 2518245 w 4610101"/>
              <a:gd name="connsiteY28504" fmla="*/ 804430 h 6557032"/>
              <a:gd name="connsiteX28505" fmla="*/ 2510956 w 4610101"/>
              <a:gd name="connsiteY28505" fmla="*/ 817185 h 6557032"/>
              <a:gd name="connsiteX28506" fmla="*/ 2514600 w 4610101"/>
              <a:gd name="connsiteY28506" fmla="*/ 835407 h 6557032"/>
              <a:gd name="connsiteX28507" fmla="*/ 2521889 w 4610101"/>
              <a:gd name="connsiteY28507" fmla="*/ 842696 h 6557032"/>
              <a:gd name="connsiteX28508" fmla="*/ 2538289 w 4610101"/>
              <a:gd name="connsiteY28508" fmla="*/ 819008 h 6557032"/>
              <a:gd name="connsiteX28509" fmla="*/ 2549222 w 4610101"/>
              <a:gd name="connsiteY28509" fmla="*/ 831763 h 6557032"/>
              <a:gd name="connsiteX28510" fmla="*/ 2543755 w 4610101"/>
              <a:gd name="connsiteY28510" fmla="*/ 813541 h 6557032"/>
              <a:gd name="connsiteX28511" fmla="*/ 2551044 w 4610101"/>
              <a:gd name="connsiteY28511" fmla="*/ 833585 h 6557032"/>
              <a:gd name="connsiteX28512" fmla="*/ 2547400 w 4610101"/>
              <a:gd name="connsiteY28512" fmla="*/ 811719 h 6557032"/>
              <a:gd name="connsiteX28513" fmla="*/ 2549222 w 4610101"/>
              <a:gd name="connsiteY28513" fmla="*/ 795319 h 6557032"/>
              <a:gd name="connsiteX28514" fmla="*/ 2552866 w 4610101"/>
              <a:gd name="connsiteY28514" fmla="*/ 797141 h 6557032"/>
              <a:gd name="connsiteX28515" fmla="*/ 2540111 w 4610101"/>
              <a:gd name="connsiteY28515" fmla="*/ 784386 h 6557032"/>
              <a:gd name="connsiteX28516" fmla="*/ 1423118 w 4610101"/>
              <a:gd name="connsiteY28516" fmla="*/ 784386 h 6557032"/>
              <a:gd name="connsiteX28517" fmla="*/ 1408541 w 4610101"/>
              <a:gd name="connsiteY28517" fmla="*/ 789853 h 6557032"/>
              <a:gd name="connsiteX28518" fmla="*/ 1423118 w 4610101"/>
              <a:gd name="connsiteY28518" fmla="*/ 784386 h 6557032"/>
              <a:gd name="connsiteX28519" fmla="*/ 836378 w 4610101"/>
              <a:gd name="connsiteY28519" fmla="*/ 784386 h 6557032"/>
              <a:gd name="connsiteX28520" fmla="*/ 838200 w 4610101"/>
              <a:gd name="connsiteY28520" fmla="*/ 795319 h 6557032"/>
              <a:gd name="connsiteX28521" fmla="*/ 832734 w 4610101"/>
              <a:gd name="connsiteY28521" fmla="*/ 797141 h 6557032"/>
              <a:gd name="connsiteX28522" fmla="*/ 841845 w 4610101"/>
              <a:gd name="connsiteY28522" fmla="*/ 797141 h 6557032"/>
              <a:gd name="connsiteX28523" fmla="*/ 838200 w 4610101"/>
              <a:gd name="connsiteY28523" fmla="*/ 793497 h 6557032"/>
              <a:gd name="connsiteX28524" fmla="*/ 847311 w 4610101"/>
              <a:gd name="connsiteY28524" fmla="*/ 793497 h 6557032"/>
              <a:gd name="connsiteX28525" fmla="*/ 845885 w 4610101"/>
              <a:gd name="connsiteY28525" fmla="*/ 789220 h 6557032"/>
              <a:gd name="connsiteX28526" fmla="*/ 847311 w 4610101"/>
              <a:gd name="connsiteY28526" fmla="*/ 791675 h 6557032"/>
              <a:gd name="connsiteX28527" fmla="*/ 845489 w 4610101"/>
              <a:gd name="connsiteY28527" fmla="*/ 788031 h 6557032"/>
              <a:gd name="connsiteX28528" fmla="*/ 845885 w 4610101"/>
              <a:gd name="connsiteY28528" fmla="*/ 789220 h 6557032"/>
              <a:gd name="connsiteX28529" fmla="*/ 843211 w 4610101"/>
              <a:gd name="connsiteY28529" fmla="*/ 784615 h 6557032"/>
              <a:gd name="connsiteX28530" fmla="*/ 836378 w 4610101"/>
              <a:gd name="connsiteY28530" fmla="*/ 784386 h 6557032"/>
              <a:gd name="connsiteX28531" fmla="*/ 581274 w 4610101"/>
              <a:gd name="connsiteY28531" fmla="*/ 784386 h 6557032"/>
              <a:gd name="connsiteX28532" fmla="*/ 588562 w 4610101"/>
              <a:gd name="connsiteY28532" fmla="*/ 793497 h 6557032"/>
              <a:gd name="connsiteX28533" fmla="*/ 588562 w 4610101"/>
              <a:gd name="connsiteY28533" fmla="*/ 786208 h 6557032"/>
              <a:gd name="connsiteX28534" fmla="*/ 581274 w 4610101"/>
              <a:gd name="connsiteY28534" fmla="*/ 784386 h 6557032"/>
              <a:gd name="connsiteX28535" fmla="*/ 1341803 w 4610101"/>
              <a:gd name="connsiteY28535" fmla="*/ 784159 h 6557032"/>
              <a:gd name="connsiteX28536" fmla="*/ 1342942 w 4610101"/>
              <a:gd name="connsiteY28536" fmla="*/ 788031 h 6557032"/>
              <a:gd name="connsiteX28537" fmla="*/ 1344765 w 4610101"/>
              <a:gd name="connsiteY28537" fmla="*/ 784386 h 6557032"/>
              <a:gd name="connsiteX28538" fmla="*/ 1341803 w 4610101"/>
              <a:gd name="connsiteY28538" fmla="*/ 784159 h 6557032"/>
              <a:gd name="connsiteX28539" fmla="*/ 1173481 w 4610101"/>
              <a:gd name="connsiteY28539" fmla="*/ 782564 h 6557032"/>
              <a:gd name="connsiteX28540" fmla="*/ 1164370 w 4610101"/>
              <a:gd name="connsiteY28540" fmla="*/ 791675 h 6557032"/>
              <a:gd name="connsiteX28541" fmla="*/ 1175303 w 4610101"/>
              <a:gd name="connsiteY28541" fmla="*/ 793497 h 6557032"/>
              <a:gd name="connsiteX28542" fmla="*/ 1175303 w 4610101"/>
              <a:gd name="connsiteY28542" fmla="*/ 788031 h 6557032"/>
              <a:gd name="connsiteX28543" fmla="*/ 1178947 w 4610101"/>
              <a:gd name="connsiteY28543" fmla="*/ 786208 h 6557032"/>
              <a:gd name="connsiteX28544" fmla="*/ 1173481 w 4610101"/>
              <a:gd name="connsiteY28544" fmla="*/ 782564 h 6557032"/>
              <a:gd name="connsiteX28545" fmla="*/ 810868 w 4610101"/>
              <a:gd name="connsiteY28545" fmla="*/ 782564 h 6557032"/>
              <a:gd name="connsiteX28546" fmla="*/ 819979 w 4610101"/>
              <a:gd name="connsiteY28546" fmla="*/ 793497 h 6557032"/>
              <a:gd name="connsiteX28547" fmla="*/ 823623 w 4610101"/>
              <a:gd name="connsiteY28547" fmla="*/ 782564 h 6557032"/>
              <a:gd name="connsiteX28548" fmla="*/ 810868 w 4610101"/>
              <a:gd name="connsiteY28548" fmla="*/ 782564 h 6557032"/>
              <a:gd name="connsiteX28549" fmla="*/ 796290 w 4610101"/>
              <a:gd name="connsiteY28549" fmla="*/ 782564 h 6557032"/>
              <a:gd name="connsiteX28550" fmla="*/ 783535 w 4610101"/>
              <a:gd name="connsiteY28550" fmla="*/ 806252 h 6557032"/>
              <a:gd name="connsiteX28551" fmla="*/ 789003 w 4610101"/>
              <a:gd name="connsiteY28551" fmla="*/ 811719 h 6557032"/>
              <a:gd name="connsiteX28552" fmla="*/ 801757 w 4610101"/>
              <a:gd name="connsiteY28552" fmla="*/ 820830 h 6557032"/>
              <a:gd name="connsiteX28553" fmla="*/ 794468 w 4610101"/>
              <a:gd name="connsiteY28553" fmla="*/ 815363 h 6557032"/>
              <a:gd name="connsiteX28554" fmla="*/ 816334 w 4610101"/>
              <a:gd name="connsiteY28554" fmla="*/ 826296 h 6557032"/>
              <a:gd name="connsiteX28555" fmla="*/ 816334 w 4610101"/>
              <a:gd name="connsiteY28555" fmla="*/ 819008 h 6557032"/>
              <a:gd name="connsiteX28556" fmla="*/ 825445 w 4610101"/>
              <a:gd name="connsiteY28556" fmla="*/ 811719 h 6557032"/>
              <a:gd name="connsiteX28557" fmla="*/ 821801 w 4610101"/>
              <a:gd name="connsiteY28557" fmla="*/ 800786 h 6557032"/>
              <a:gd name="connsiteX28558" fmla="*/ 812690 w 4610101"/>
              <a:gd name="connsiteY28558" fmla="*/ 798964 h 6557032"/>
              <a:gd name="connsiteX28559" fmla="*/ 816334 w 4610101"/>
              <a:gd name="connsiteY28559" fmla="*/ 797141 h 6557032"/>
              <a:gd name="connsiteX28560" fmla="*/ 799935 w 4610101"/>
              <a:gd name="connsiteY28560" fmla="*/ 789853 h 6557032"/>
              <a:gd name="connsiteX28561" fmla="*/ 809046 w 4610101"/>
              <a:gd name="connsiteY28561" fmla="*/ 791675 h 6557032"/>
              <a:gd name="connsiteX28562" fmla="*/ 796290 w 4610101"/>
              <a:gd name="connsiteY28562" fmla="*/ 782564 h 6557032"/>
              <a:gd name="connsiteX28563" fmla="*/ 490165 w 4610101"/>
              <a:gd name="connsiteY28563" fmla="*/ 782564 h 6557032"/>
              <a:gd name="connsiteX28564" fmla="*/ 493809 w 4610101"/>
              <a:gd name="connsiteY28564" fmla="*/ 788031 h 6557032"/>
              <a:gd name="connsiteX28565" fmla="*/ 495632 w 4610101"/>
              <a:gd name="connsiteY28565" fmla="*/ 784386 h 6557032"/>
              <a:gd name="connsiteX28566" fmla="*/ 490165 w 4610101"/>
              <a:gd name="connsiteY28566" fmla="*/ 782564 h 6557032"/>
              <a:gd name="connsiteX28567" fmla="*/ 461010 w 4610101"/>
              <a:gd name="connsiteY28567" fmla="*/ 782564 h 6557032"/>
              <a:gd name="connsiteX28568" fmla="*/ 462832 w 4610101"/>
              <a:gd name="connsiteY28568" fmla="*/ 789853 h 6557032"/>
              <a:gd name="connsiteX28569" fmla="*/ 464655 w 4610101"/>
              <a:gd name="connsiteY28569" fmla="*/ 786208 h 6557032"/>
              <a:gd name="connsiteX28570" fmla="*/ 461010 w 4610101"/>
              <a:gd name="connsiteY28570" fmla="*/ 782564 h 6557032"/>
              <a:gd name="connsiteX28571" fmla="*/ 424567 w 4610101"/>
              <a:gd name="connsiteY28571" fmla="*/ 782564 h 6557032"/>
              <a:gd name="connsiteX28572" fmla="*/ 426389 w 4610101"/>
              <a:gd name="connsiteY28572" fmla="*/ 789853 h 6557032"/>
              <a:gd name="connsiteX28573" fmla="*/ 437322 w 4610101"/>
              <a:gd name="connsiteY28573" fmla="*/ 791675 h 6557032"/>
              <a:gd name="connsiteX28574" fmla="*/ 424567 w 4610101"/>
              <a:gd name="connsiteY28574" fmla="*/ 782564 h 6557032"/>
              <a:gd name="connsiteX28575" fmla="*/ 337102 w 4610101"/>
              <a:gd name="connsiteY28575" fmla="*/ 782564 h 6557032"/>
              <a:gd name="connsiteX28576" fmla="*/ 337102 w 4610101"/>
              <a:gd name="connsiteY28576" fmla="*/ 788031 h 6557032"/>
              <a:gd name="connsiteX28577" fmla="*/ 340747 w 4610101"/>
              <a:gd name="connsiteY28577" fmla="*/ 788031 h 6557032"/>
              <a:gd name="connsiteX28578" fmla="*/ 337102 w 4610101"/>
              <a:gd name="connsiteY28578" fmla="*/ 782564 h 6557032"/>
              <a:gd name="connsiteX28579" fmla="*/ 309771 w 4610101"/>
              <a:gd name="connsiteY28579" fmla="*/ 782564 h 6557032"/>
              <a:gd name="connsiteX28580" fmla="*/ 320703 w 4610101"/>
              <a:gd name="connsiteY28580" fmla="*/ 795319 h 6557032"/>
              <a:gd name="connsiteX28581" fmla="*/ 320703 w 4610101"/>
              <a:gd name="connsiteY28581" fmla="*/ 791675 h 6557032"/>
              <a:gd name="connsiteX28582" fmla="*/ 309771 w 4610101"/>
              <a:gd name="connsiteY28582" fmla="*/ 782564 h 6557032"/>
              <a:gd name="connsiteX28583" fmla="*/ 255105 w 4610101"/>
              <a:gd name="connsiteY28583" fmla="*/ 782564 h 6557032"/>
              <a:gd name="connsiteX28584" fmla="*/ 260571 w 4610101"/>
              <a:gd name="connsiteY28584" fmla="*/ 788031 h 6557032"/>
              <a:gd name="connsiteX28585" fmla="*/ 260571 w 4610101"/>
              <a:gd name="connsiteY28585" fmla="*/ 782564 h 6557032"/>
              <a:gd name="connsiteX28586" fmla="*/ 255105 w 4610101"/>
              <a:gd name="connsiteY28586" fmla="*/ 782564 h 6557032"/>
              <a:gd name="connsiteX28587" fmla="*/ 235061 w 4610101"/>
              <a:gd name="connsiteY28587" fmla="*/ 782564 h 6557032"/>
              <a:gd name="connsiteX28588" fmla="*/ 242349 w 4610101"/>
              <a:gd name="connsiteY28588" fmla="*/ 786208 h 6557032"/>
              <a:gd name="connsiteX28589" fmla="*/ 235061 w 4610101"/>
              <a:gd name="connsiteY28589" fmla="*/ 782564 h 6557032"/>
              <a:gd name="connsiteX28590" fmla="*/ 1497827 w 4610101"/>
              <a:gd name="connsiteY28590" fmla="*/ 780742 h 6557032"/>
              <a:gd name="connsiteX28591" fmla="*/ 1492361 w 4610101"/>
              <a:gd name="connsiteY28591" fmla="*/ 786208 h 6557032"/>
              <a:gd name="connsiteX28592" fmla="*/ 1497827 w 4610101"/>
              <a:gd name="connsiteY28592" fmla="*/ 784386 h 6557032"/>
              <a:gd name="connsiteX28593" fmla="*/ 1497827 w 4610101"/>
              <a:gd name="connsiteY28593" fmla="*/ 789853 h 6557032"/>
              <a:gd name="connsiteX28594" fmla="*/ 1503294 w 4610101"/>
              <a:gd name="connsiteY28594" fmla="*/ 782564 h 6557032"/>
              <a:gd name="connsiteX28595" fmla="*/ 1497827 w 4610101"/>
              <a:gd name="connsiteY28595" fmla="*/ 780742 h 6557032"/>
              <a:gd name="connsiteX28596" fmla="*/ 1171658 w 4610101"/>
              <a:gd name="connsiteY28596" fmla="*/ 780742 h 6557032"/>
              <a:gd name="connsiteX28597" fmla="*/ 1153436 w 4610101"/>
              <a:gd name="connsiteY28597" fmla="*/ 789853 h 6557032"/>
              <a:gd name="connsiteX28598" fmla="*/ 1171658 w 4610101"/>
              <a:gd name="connsiteY28598" fmla="*/ 780742 h 6557032"/>
              <a:gd name="connsiteX28599" fmla="*/ 482876 w 4610101"/>
              <a:gd name="connsiteY28599" fmla="*/ 780742 h 6557032"/>
              <a:gd name="connsiteX28600" fmla="*/ 486521 w 4610101"/>
              <a:gd name="connsiteY28600" fmla="*/ 784386 h 6557032"/>
              <a:gd name="connsiteX28601" fmla="*/ 482876 w 4610101"/>
              <a:gd name="connsiteY28601" fmla="*/ 780742 h 6557032"/>
              <a:gd name="connsiteX28602" fmla="*/ 439145 w 4610101"/>
              <a:gd name="connsiteY28602" fmla="*/ 780742 h 6557032"/>
              <a:gd name="connsiteX28603" fmla="*/ 448256 w 4610101"/>
              <a:gd name="connsiteY28603" fmla="*/ 789853 h 6557032"/>
              <a:gd name="connsiteX28604" fmla="*/ 439145 w 4610101"/>
              <a:gd name="connsiteY28604" fmla="*/ 780742 h 6557032"/>
              <a:gd name="connsiteX28605" fmla="*/ 406345 w 4610101"/>
              <a:gd name="connsiteY28605" fmla="*/ 780742 h 6557032"/>
              <a:gd name="connsiteX28606" fmla="*/ 420923 w 4610101"/>
              <a:gd name="connsiteY28606" fmla="*/ 797141 h 6557032"/>
              <a:gd name="connsiteX28607" fmla="*/ 406345 w 4610101"/>
              <a:gd name="connsiteY28607" fmla="*/ 780742 h 6557032"/>
              <a:gd name="connsiteX28608" fmla="*/ 302481 w 4610101"/>
              <a:gd name="connsiteY28608" fmla="*/ 780742 h 6557032"/>
              <a:gd name="connsiteX28609" fmla="*/ 315236 w 4610101"/>
              <a:gd name="connsiteY28609" fmla="*/ 795319 h 6557032"/>
              <a:gd name="connsiteX28610" fmla="*/ 302481 w 4610101"/>
              <a:gd name="connsiteY28610" fmla="*/ 780742 h 6557032"/>
              <a:gd name="connsiteX28611" fmla="*/ 242349 w 4610101"/>
              <a:gd name="connsiteY28611" fmla="*/ 780742 h 6557032"/>
              <a:gd name="connsiteX28612" fmla="*/ 258749 w 4610101"/>
              <a:gd name="connsiteY28612" fmla="*/ 793497 h 6557032"/>
              <a:gd name="connsiteX28613" fmla="*/ 242349 w 4610101"/>
              <a:gd name="connsiteY28613" fmla="*/ 780742 h 6557032"/>
              <a:gd name="connsiteX28614" fmla="*/ 185862 w 4610101"/>
              <a:gd name="connsiteY28614" fmla="*/ 780742 h 6557032"/>
              <a:gd name="connsiteX28615" fmla="*/ 218661 w 4610101"/>
              <a:gd name="connsiteY28615" fmla="*/ 808074 h 6557032"/>
              <a:gd name="connsiteX28616" fmla="*/ 185862 w 4610101"/>
              <a:gd name="connsiteY28616" fmla="*/ 780742 h 6557032"/>
              <a:gd name="connsiteX28617" fmla="*/ 3639591 w 4610101"/>
              <a:gd name="connsiteY28617" fmla="*/ 780683 h 6557032"/>
              <a:gd name="connsiteX28618" fmla="*/ 3639565 w 4610101"/>
              <a:gd name="connsiteY28618" fmla="*/ 780742 h 6557032"/>
              <a:gd name="connsiteX28619" fmla="*/ 3638883 w 4610101"/>
              <a:gd name="connsiteY28619" fmla="*/ 780742 h 6557032"/>
              <a:gd name="connsiteX28620" fmla="*/ 1488455 w 4610101"/>
              <a:gd name="connsiteY28620" fmla="*/ 778922 h 6557032"/>
              <a:gd name="connsiteX28621" fmla="*/ 1486895 w 4610101"/>
              <a:gd name="connsiteY28621" fmla="*/ 782564 h 6557032"/>
              <a:gd name="connsiteX28622" fmla="*/ 1486752 w 4610101"/>
              <a:gd name="connsiteY28622" fmla="*/ 781902 h 6557032"/>
              <a:gd name="connsiteX28623" fmla="*/ 3205204 w 4610101"/>
              <a:gd name="connsiteY28623" fmla="*/ 778920 h 6557032"/>
              <a:gd name="connsiteX28624" fmla="*/ 3188805 w 4610101"/>
              <a:gd name="connsiteY28624" fmla="*/ 786208 h 6557032"/>
              <a:gd name="connsiteX28625" fmla="*/ 3188805 w 4610101"/>
              <a:gd name="connsiteY28625" fmla="*/ 808074 h 6557032"/>
              <a:gd name="connsiteX28626" fmla="*/ 3185160 w 4610101"/>
              <a:gd name="connsiteY28626" fmla="*/ 795319 h 6557032"/>
              <a:gd name="connsiteX28627" fmla="*/ 3170583 w 4610101"/>
              <a:gd name="connsiteY28627" fmla="*/ 804430 h 6557032"/>
              <a:gd name="connsiteX28628" fmla="*/ 3170583 w 4610101"/>
              <a:gd name="connsiteY28628" fmla="*/ 813541 h 6557032"/>
              <a:gd name="connsiteX28629" fmla="*/ 3197916 w 4610101"/>
              <a:gd name="connsiteY28629" fmla="*/ 809897 h 6557032"/>
              <a:gd name="connsiteX28630" fmla="*/ 3205204 w 4610101"/>
              <a:gd name="connsiteY28630" fmla="*/ 778920 h 6557032"/>
              <a:gd name="connsiteX28631" fmla="*/ 1149792 w 4610101"/>
              <a:gd name="connsiteY28631" fmla="*/ 778920 h 6557032"/>
              <a:gd name="connsiteX28632" fmla="*/ 1129748 w 4610101"/>
              <a:gd name="connsiteY28632" fmla="*/ 784386 h 6557032"/>
              <a:gd name="connsiteX28633" fmla="*/ 1149792 w 4610101"/>
              <a:gd name="connsiteY28633" fmla="*/ 778920 h 6557032"/>
              <a:gd name="connsiteX28634" fmla="*/ 794468 w 4610101"/>
              <a:gd name="connsiteY28634" fmla="*/ 778920 h 6557032"/>
              <a:gd name="connsiteX28635" fmla="*/ 783535 w 4610101"/>
              <a:gd name="connsiteY28635" fmla="*/ 782564 h 6557032"/>
              <a:gd name="connsiteX28636" fmla="*/ 794468 w 4610101"/>
              <a:gd name="connsiteY28636" fmla="*/ 778920 h 6557032"/>
              <a:gd name="connsiteX28637" fmla="*/ 714293 w 4610101"/>
              <a:gd name="connsiteY28637" fmla="*/ 778920 h 6557032"/>
              <a:gd name="connsiteX28638" fmla="*/ 717937 w 4610101"/>
              <a:gd name="connsiteY28638" fmla="*/ 782564 h 6557032"/>
              <a:gd name="connsiteX28639" fmla="*/ 714293 w 4610101"/>
              <a:gd name="connsiteY28639" fmla="*/ 778920 h 6557032"/>
              <a:gd name="connsiteX28640" fmla="*/ 522964 w 4610101"/>
              <a:gd name="connsiteY28640" fmla="*/ 778920 h 6557032"/>
              <a:gd name="connsiteX28641" fmla="*/ 522964 w 4610101"/>
              <a:gd name="connsiteY28641" fmla="*/ 782564 h 6557032"/>
              <a:gd name="connsiteX28642" fmla="*/ 537542 w 4610101"/>
              <a:gd name="connsiteY28642" fmla="*/ 789853 h 6557032"/>
              <a:gd name="connsiteX28643" fmla="*/ 522964 w 4610101"/>
              <a:gd name="connsiteY28643" fmla="*/ 778920 h 6557032"/>
              <a:gd name="connsiteX28644" fmla="*/ 473766 w 4610101"/>
              <a:gd name="connsiteY28644" fmla="*/ 778920 h 6557032"/>
              <a:gd name="connsiteX28645" fmla="*/ 479232 w 4610101"/>
              <a:gd name="connsiteY28645" fmla="*/ 786208 h 6557032"/>
              <a:gd name="connsiteX28646" fmla="*/ 473766 w 4610101"/>
              <a:gd name="connsiteY28646" fmla="*/ 778920 h 6557032"/>
              <a:gd name="connsiteX28647" fmla="*/ 249638 w 4610101"/>
              <a:gd name="connsiteY28647" fmla="*/ 778920 h 6557032"/>
              <a:gd name="connsiteX28648" fmla="*/ 256927 w 4610101"/>
              <a:gd name="connsiteY28648" fmla="*/ 786208 h 6557032"/>
              <a:gd name="connsiteX28649" fmla="*/ 249638 w 4610101"/>
              <a:gd name="connsiteY28649" fmla="*/ 778920 h 6557032"/>
              <a:gd name="connsiteX28650" fmla="*/ 1299379 w 4610101"/>
              <a:gd name="connsiteY28650" fmla="*/ 778902 h 6557032"/>
              <a:gd name="connsiteX28651" fmla="*/ 1299250 w 4610101"/>
              <a:gd name="connsiteY28651" fmla="*/ 779042 h 6557032"/>
              <a:gd name="connsiteX28652" fmla="*/ 1299210 w 4610101"/>
              <a:gd name="connsiteY28652" fmla="*/ 778920 h 6557032"/>
              <a:gd name="connsiteX28653" fmla="*/ 3238003 w 4610101"/>
              <a:gd name="connsiteY28653" fmla="*/ 777098 h 6557032"/>
              <a:gd name="connsiteX28654" fmla="*/ 3212493 w 4610101"/>
              <a:gd name="connsiteY28654" fmla="*/ 795319 h 6557032"/>
              <a:gd name="connsiteX28655" fmla="*/ 3208849 w 4610101"/>
              <a:gd name="connsiteY28655" fmla="*/ 784386 h 6557032"/>
              <a:gd name="connsiteX28656" fmla="*/ 3203382 w 4610101"/>
              <a:gd name="connsiteY28656" fmla="*/ 788031 h 6557032"/>
              <a:gd name="connsiteX28657" fmla="*/ 3217960 w 4610101"/>
              <a:gd name="connsiteY28657" fmla="*/ 797141 h 6557032"/>
              <a:gd name="connsiteX28658" fmla="*/ 3216137 w 4610101"/>
              <a:gd name="connsiteY28658" fmla="*/ 802608 h 6557032"/>
              <a:gd name="connsiteX28659" fmla="*/ 3238003 w 4610101"/>
              <a:gd name="connsiteY28659" fmla="*/ 813541 h 6557032"/>
              <a:gd name="connsiteX28660" fmla="*/ 3221604 w 4610101"/>
              <a:gd name="connsiteY28660" fmla="*/ 793497 h 6557032"/>
              <a:gd name="connsiteX28661" fmla="*/ 3245292 w 4610101"/>
              <a:gd name="connsiteY28661" fmla="*/ 784386 h 6557032"/>
              <a:gd name="connsiteX28662" fmla="*/ 3238003 w 4610101"/>
              <a:gd name="connsiteY28662" fmla="*/ 777098 h 6557032"/>
              <a:gd name="connsiteX28663" fmla="*/ 2596598 w 4610101"/>
              <a:gd name="connsiteY28663" fmla="*/ 777098 h 6557032"/>
              <a:gd name="connsiteX28664" fmla="*/ 2592954 w 4610101"/>
              <a:gd name="connsiteY28664" fmla="*/ 778920 h 6557032"/>
              <a:gd name="connsiteX28665" fmla="*/ 2592954 w 4610101"/>
              <a:gd name="connsiteY28665" fmla="*/ 782564 h 6557032"/>
              <a:gd name="connsiteX28666" fmla="*/ 2589310 w 4610101"/>
              <a:gd name="connsiteY28666" fmla="*/ 780742 h 6557032"/>
              <a:gd name="connsiteX28667" fmla="*/ 2583843 w 4610101"/>
              <a:gd name="connsiteY28667" fmla="*/ 778920 h 6557032"/>
              <a:gd name="connsiteX28668" fmla="*/ 2591132 w 4610101"/>
              <a:gd name="connsiteY28668" fmla="*/ 793497 h 6557032"/>
              <a:gd name="connsiteX28669" fmla="*/ 2583843 w 4610101"/>
              <a:gd name="connsiteY28669" fmla="*/ 789853 h 6557032"/>
              <a:gd name="connsiteX28670" fmla="*/ 2582021 w 4610101"/>
              <a:gd name="connsiteY28670" fmla="*/ 800786 h 6557032"/>
              <a:gd name="connsiteX28671" fmla="*/ 2602065 w 4610101"/>
              <a:gd name="connsiteY28671" fmla="*/ 798964 h 6557032"/>
              <a:gd name="connsiteX28672" fmla="*/ 2594776 w 4610101"/>
              <a:gd name="connsiteY28672" fmla="*/ 793497 h 6557032"/>
              <a:gd name="connsiteX28673" fmla="*/ 2596598 w 4610101"/>
              <a:gd name="connsiteY28673" fmla="*/ 777098 h 6557032"/>
              <a:gd name="connsiteX28674" fmla="*/ 2552866 w 4610101"/>
              <a:gd name="connsiteY28674" fmla="*/ 777098 h 6557032"/>
              <a:gd name="connsiteX28675" fmla="*/ 2547400 w 4610101"/>
              <a:gd name="connsiteY28675" fmla="*/ 778920 h 6557032"/>
              <a:gd name="connsiteX28676" fmla="*/ 2556510 w 4610101"/>
              <a:gd name="connsiteY28676" fmla="*/ 788031 h 6557032"/>
              <a:gd name="connsiteX28677" fmla="*/ 2558332 w 4610101"/>
              <a:gd name="connsiteY28677" fmla="*/ 780742 h 6557032"/>
              <a:gd name="connsiteX28678" fmla="*/ 2552866 w 4610101"/>
              <a:gd name="connsiteY28678" fmla="*/ 777098 h 6557032"/>
              <a:gd name="connsiteX28679" fmla="*/ 1301033 w 4610101"/>
              <a:gd name="connsiteY28679" fmla="*/ 777098 h 6557032"/>
              <a:gd name="connsiteX28680" fmla="*/ 1266411 w 4610101"/>
              <a:gd name="connsiteY28680" fmla="*/ 778920 h 6557032"/>
              <a:gd name="connsiteX28681" fmla="*/ 1291922 w 4610101"/>
              <a:gd name="connsiteY28681" fmla="*/ 788031 h 6557032"/>
              <a:gd name="connsiteX28682" fmla="*/ 1293744 w 4610101"/>
              <a:gd name="connsiteY28682" fmla="*/ 782564 h 6557032"/>
              <a:gd name="connsiteX28683" fmla="*/ 1297388 w 4610101"/>
              <a:gd name="connsiteY28683" fmla="*/ 782564 h 6557032"/>
              <a:gd name="connsiteX28684" fmla="*/ 1298527 w 4610101"/>
              <a:gd name="connsiteY28684" fmla="*/ 779831 h 6557032"/>
              <a:gd name="connsiteX28685" fmla="*/ 1299250 w 4610101"/>
              <a:gd name="connsiteY28685" fmla="*/ 779042 h 6557032"/>
              <a:gd name="connsiteX28686" fmla="*/ 1301033 w 4610101"/>
              <a:gd name="connsiteY28686" fmla="*/ 784386 h 6557032"/>
              <a:gd name="connsiteX28687" fmla="*/ 1299210 w 4610101"/>
              <a:gd name="connsiteY28687" fmla="*/ 780742 h 6557032"/>
              <a:gd name="connsiteX28688" fmla="*/ 1293744 w 4610101"/>
              <a:gd name="connsiteY28688" fmla="*/ 788031 h 6557032"/>
              <a:gd name="connsiteX28689" fmla="*/ 1301033 w 4610101"/>
              <a:gd name="connsiteY28689" fmla="*/ 786208 h 6557032"/>
              <a:gd name="connsiteX28690" fmla="*/ 1301033 w 4610101"/>
              <a:gd name="connsiteY28690" fmla="*/ 789853 h 6557032"/>
              <a:gd name="connsiteX28691" fmla="*/ 1315610 w 4610101"/>
              <a:gd name="connsiteY28691" fmla="*/ 777098 h 6557032"/>
              <a:gd name="connsiteX28692" fmla="*/ 1299379 w 4610101"/>
              <a:gd name="connsiteY28692" fmla="*/ 778902 h 6557032"/>
              <a:gd name="connsiteX28693" fmla="*/ 1186236 w 4610101"/>
              <a:gd name="connsiteY28693" fmla="*/ 777098 h 6557032"/>
              <a:gd name="connsiteX28694" fmla="*/ 1184414 w 4610101"/>
              <a:gd name="connsiteY28694" fmla="*/ 782564 h 6557032"/>
              <a:gd name="connsiteX28695" fmla="*/ 1186236 w 4610101"/>
              <a:gd name="connsiteY28695" fmla="*/ 777098 h 6557032"/>
              <a:gd name="connsiteX28696" fmla="*/ 699715 w 4610101"/>
              <a:gd name="connsiteY28696" fmla="*/ 777098 h 6557032"/>
              <a:gd name="connsiteX28697" fmla="*/ 703359 w 4610101"/>
              <a:gd name="connsiteY28697" fmla="*/ 782564 h 6557032"/>
              <a:gd name="connsiteX28698" fmla="*/ 699715 w 4610101"/>
              <a:gd name="connsiteY28698" fmla="*/ 777098 h 6557032"/>
              <a:gd name="connsiteX28699" fmla="*/ 685138 w 4610101"/>
              <a:gd name="connsiteY28699" fmla="*/ 777098 h 6557032"/>
              <a:gd name="connsiteX28700" fmla="*/ 683316 w 4610101"/>
              <a:gd name="connsiteY28700" fmla="*/ 788031 h 6557032"/>
              <a:gd name="connsiteX28701" fmla="*/ 697893 w 4610101"/>
              <a:gd name="connsiteY28701" fmla="*/ 784386 h 6557032"/>
              <a:gd name="connsiteX28702" fmla="*/ 685138 w 4610101"/>
              <a:gd name="connsiteY28702" fmla="*/ 777098 h 6557032"/>
              <a:gd name="connsiteX28703" fmla="*/ 632296 w 4610101"/>
              <a:gd name="connsiteY28703" fmla="*/ 777098 h 6557032"/>
              <a:gd name="connsiteX28704" fmla="*/ 634800 w 4610101"/>
              <a:gd name="connsiteY28704" fmla="*/ 783248 h 6557032"/>
              <a:gd name="connsiteX28705" fmla="*/ 635780 w 4610101"/>
              <a:gd name="connsiteY28705" fmla="*/ 787366 h 6557032"/>
              <a:gd name="connsiteX28706" fmla="*/ 634117 w 4610101"/>
              <a:gd name="connsiteY28706" fmla="*/ 788031 h 6557032"/>
              <a:gd name="connsiteX28707" fmla="*/ 635939 w 4610101"/>
              <a:gd name="connsiteY28707" fmla="*/ 788031 h 6557032"/>
              <a:gd name="connsiteX28708" fmla="*/ 635780 w 4610101"/>
              <a:gd name="connsiteY28708" fmla="*/ 787366 h 6557032"/>
              <a:gd name="connsiteX28709" fmla="*/ 643228 w 4610101"/>
              <a:gd name="connsiteY28709" fmla="*/ 784386 h 6557032"/>
              <a:gd name="connsiteX28710" fmla="*/ 643228 w 4610101"/>
              <a:gd name="connsiteY28710" fmla="*/ 789853 h 6557032"/>
              <a:gd name="connsiteX28711" fmla="*/ 646872 w 4610101"/>
              <a:gd name="connsiteY28711" fmla="*/ 784386 h 6557032"/>
              <a:gd name="connsiteX28712" fmla="*/ 632296 w 4610101"/>
              <a:gd name="connsiteY28712" fmla="*/ 777098 h 6557032"/>
              <a:gd name="connsiteX28713" fmla="*/ 439145 w 4610101"/>
              <a:gd name="connsiteY28713" fmla="*/ 777098 h 6557032"/>
              <a:gd name="connsiteX28714" fmla="*/ 440966 w 4610101"/>
              <a:gd name="connsiteY28714" fmla="*/ 780742 h 6557032"/>
              <a:gd name="connsiteX28715" fmla="*/ 439145 w 4610101"/>
              <a:gd name="connsiteY28715" fmla="*/ 777098 h 6557032"/>
              <a:gd name="connsiteX28716" fmla="*/ 1465031 w 4610101"/>
              <a:gd name="connsiteY28716" fmla="*/ 776414 h 6557032"/>
              <a:gd name="connsiteX28717" fmla="*/ 1463149 w 4610101"/>
              <a:gd name="connsiteY28717" fmla="*/ 778180 h 6557032"/>
              <a:gd name="connsiteX28718" fmla="*/ 1461384 w 4610101"/>
              <a:gd name="connsiteY28718" fmla="*/ 784386 h 6557032"/>
              <a:gd name="connsiteX28719" fmla="*/ 1457739 w 4610101"/>
              <a:gd name="connsiteY28719" fmla="*/ 784386 h 6557032"/>
              <a:gd name="connsiteX28720" fmla="*/ 1459562 w 4610101"/>
              <a:gd name="connsiteY28720" fmla="*/ 786208 h 6557032"/>
              <a:gd name="connsiteX28721" fmla="*/ 1454095 w 4610101"/>
              <a:gd name="connsiteY28721" fmla="*/ 793497 h 6557032"/>
              <a:gd name="connsiteX28722" fmla="*/ 1463206 w 4610101"/>
              <a:gd name="connsiteY28722" fmla="*/ 788031 h 6557032"/>
              <a:gd name="connsiteX28723" fmla="*/ 1466850 w 4610101"/>
              <a:gd name="connsiteY28723" fmla="*/ 791675 h 6557032"/>
              <a:gd name="connsiteX28724" fmla="*/ 1452956 w 4610101"/>
              <a:gd name="connsiteY28724" fmla="*/ 793953 h 6557032"/>
              <a:gd name="connsiteX28725" fmla="*/ 1449855 w 4610101"/>
              <a:gd name="connsiteY28725" fmla="*/ 796779 h 6557032"/>
              <a:gd name="connsiteX28726" fmla="*/ 1459562 w 4610101"/>
              <a:gd name="connsiteY28726" fmla="*/ 780742 h 6557032"/>
              <a:gd name="connsiteX28727" fmla="*/ 1461384 w 4610101"/>
              <a:gd name="connsiteY28727" fmla="*/ 782564 h 6557032"/>
              <a:gd name="connsiteX28728" fmla="*/ 1463206 w 4610101"/>
              <a:gd name="connsiteY28728" fmla="*/ 777098 h 6557032"/>
              <a:gd name="connsiteX28729" fmla="*/ 2722328 w 4610101"/>
              <a:gd name="connsiteY28729" fmla="*/ 775275 h 6557032"/>
              <a:gd name="connsiteX28730" fmla="*/ 2707751 w 4610101"/>
              <a:gd name="connsiteY28730" fmla="*/ 780742 h 6557032"/>
              <a:gd name="connsiteX28731" fmla="*/ 2724150 w 4610101"/>
              <a:gd name="connsiteY28731" fmla="*/ 784386 h 6557032"/>
              <a:gd name="connsiteX28732" fmla="*/ 2722328 w 4610101"/>
              <a:gd name="connsiteY28732" fmla="*/ 775275 h 6557032"/>
              <a:gd name="connsiteX28733" fmla="*/ 2323272 w 4610101"/>
              <a:gd name="connsiteY28733" fmla="*/ 775275 h 6557032"/>
              <a:gd name="connsiteX28734" fmla="*/ 2321450 w 4610101"/>
              <a:gd name="connsiteY28734" fmla="*/ 782564 h 6557032"/>
              <a:gd name="connsiteX28735" fmla="*/ 2326916 w 4610101"/>
              <a:gd name="connsiteY28735" fmla="*/ 797141 h 6557032"/>
              <a:gd name="connsiteX28736" fmla="*/ 2330561 w 4610101"/>
              <a:gd name="connsiteY28736" fmla="*/ 795319 h 6557032"/>
              <a:gd name="connsiteX28737" fmla="*/ 1362987 w 4610101"/>
              <a:gd name="connsiteY28737" fmla="*/ 775275 h 6557032"/>
              <a:gd name="connsiteX28738" fmla="*/ 1348410 w 4610101"/>
              <a:gd name="connsiteY28738" fmla="*/ 784386 h 6557032"/>
              <a:gd name="connsiteX28739" fmla="*/ 1361164 w 4610101"/>
              <a:gd name="connsiteY28739" fmla="*/ 780742 h 6557032"/>
              <a:gd name="connsiteX28740" fmla="*/ 1362987 w 4610101"/>
              <a:gd name="connsiteY28740" fmla="*/ 775275 h 6557032"/>
              <a:gd name="connsiteX28741" fmla="*/ 1033173 w 4610101"/>
              <a:gd name="connsiteY28741" fmla="*/ 775275 h 6557032"/>
              <a:gd name="connsiteX28742" fmla="*/ 1022240 w 4610101"/>
              <a:gd name="connsiteY28742" fmla="*/ 788031 h 6557032"/>
              <a:gd name="connsiteX28743" fmla="*/ 1023843 w 4610101"/>
              <a:gd name="connsiteY28743" fmla="*/ 788299 h 6557032"/>
              <a:gd name="connsiteX28744" fmla="*/ 1022012 w 4610101"/>
              <a:gd name="connsiteY28744" fmla="*/ 790537 h 6557032"/>
              <a:gd name="connsiteX28745" fmla="*/ 1024062 w 4610101"/>
              <a:gd name="connsiteY28745" fmla="*/ 791675 h 6557032"/>
              <a:gd name="connsiteX28746" fmla="*/ 1026113 w 4610101"/>
              <a:gd name="connsiteY28746" fmla="*/ 790537 h 6557032"/>
              <a:gd name="connsiteX28747" fmla="*/ 1024349 w 4610101"/>
              <a:gd name="connsiteY28747" fmla="*/ 788383 h 6557032"/>
              <a:gd name="connsiteX28748" fmla="*/ 1033173 w 4610101"/>
              <a:gd name="connsiteY28748" fmla="*/ 789853 h 6557032"/>
              <a:gd name="connsiteX28749" fmla="*/ 1033173 w 4610101"/>
              <a:gd name="connsiteY28749" fmla="*/ 791675 h 6557032"/>
              <a:gd name="connsiteX28750" fmla="*/ 1036818 w 4610101"/>
              <a:gd name="connsiteY28750" fmla="*/ 786208 h 6557032"/>
              <a:gd name="connsiteX28751" fmla="*/ 1033173 w 4610101"/>
              <a:gd name="connsiteY28751" fmla="*/ 775275 h 6557032"/>
              <a:gd name="connsiteX28752" fmla="*/ 741626 w 4610101"/>
              <a:gd name="connsiteY28752" fmla="*/ 775275 h 6557032"/>
              <a:gd name="connsiteX28753" fmla="*/ 737981 w 4610101"/>
              <a:gd name="connsiteY28753" fmla="*/ 780742 h 6557032"/>
              <a:gd name="connsiteX28754" fmla="*/ 741626 w 4610101"/>
              <a:gd name="connsiteY28754" fmla="*/ 775275 h 6557032"/>
              <a:gd name="connsiteX28755" fmla="*/ 677849 w 4610101"/>
              <a:gd name="connsiteY28755" fmla="*/ 775275 h 6557032"/>
              <a:gd name="connsiteX28756" fmla="*/ 677849 w 4610101"/>
              <a:gd name="connsiteY28756" fmla="*/ 784386 h 6557032"/>
              <a:gd name="connsiteX28757" fmla="*/ 683316 w 4610101"/>
              <a:gd name="connsiteY28757" fmla="*/ 777098 h 6557032"/>
              <a:gd name="connsiteX28758" fmla="*/ 677849 w 4610101"/>
              <a:gd name="connsiteY28758" fmla="*/ 775275 h 6557032"/>
              <a:gd name="connsiteX28759" fmla="*/ 455544 w 4610101"/>
              <a:gd name="connsiteY28759" fmla="*/ 775275 h 6557032"/>
              <a:gd name="connsiteX28760" fmla="*/ 455544 w 4610101"/>
              <a:gd name="connsiteY28760" fmla="*/ 780742 h 6557032"/>
              <a:gd name="connsiteX28761" fmla="*/ 462832 w 4610101"/>
              <a:gd name="connsiteY28761" fmla="*/ 780742 h 6557032"/>
              <a:gd name="connsiteX28762" fmla="*/ 459188 w 4610101"/>
              <a:gd name="connsiteY28762" fmla="*/ 777098 h 6557032"/>
              <a:gd name="connsiteX28763" fmla="*/ 455544 w 4610101"/>
              <a:gd name="connsiteY28763" fmla="*/ 775275 h 6557032"/>
              <a:gd name="connsiteX28764" fmla="*/ 395412 w 4610101"/>
              <a:gd name="connsiteY28764" fmla="*/ 775275 h 6557032"/>
              <a:gd name="connsiteX28765" fmla="*/ 402701 w 4610101"/>
              <a:gd name="connsiteY28765" fmla="*/ 780742 h 6557032"/>
              <a:gd name="connsiteX28766" fmla="*/ 395412 w 4610101"/>
              <a:gd name="connsiteY28766" fmla="*/ 775275 h 6557032"/>
              <a:gd name="connsiteX28767" fmla="*/ 566697 w 4610101"/>
              <a:gd name="connsiteY28767" fmla="*/ 774820 h 6557032"/>
              <a:gd name="connsiteX28768" fmla="*/ 561230 w 4610101"/>
              <a:gd name="connsiteY28768" fmla="*/ 784386 h 6557032"/>
              <a:gd name="connsiteX28769" fmla="*/ 566697 w 4610101"/>
              <a:gd name="connsiteY28769" fmla="*/ 778920 h 6557032"/>
              <a:gd name="connsiteX28770" fmla="*/ 568519 w 4610101"/>
              <a:gd name="connsiteY28770" fmla="*/ 782564 h 6557032"/>
              <a:gd name="connsiteX28771" fmla="*/ 563052 w 4610101"/>
              <a:gd name="connsiteY28771" fmla="*/ 784386 h 6557032"/>
              <a:gd name="connsiteX28772" fmla="*/ 575808 w 4610101"/>
              <a:gd name="connsiteY28772" fmla="*/ 793497 h 6557032"/>
              <a:gd name="connsiteX28773" fmla="*/ 579452 w 4610101"/>
              <a:gd name="connsiteY28773" fmla="*/ 798964 h 6557032"/>
              <a:gd name="connsiteX28774" fmla="*/ 575808 w 4610101"/>
              <a:gd name="connsiteY28774" fmla="*/ 793497 h 6557032"/>
              <a:gd name="connsiteX28775" fmla="*/ 568519 w 4610101"/>
              <a:gd name="connsiteY28775" fmla="*/ 788031 h 6557032"/>
              <a:gd name="connsiteX28776" fmla="*/ 575808 w 4610101"/>
              <a:gd name="connsiteY28776" fmla="*/ 789853 h 6557032"/>
              <a:gd name="connsiteX28777" fmla="*/ 570341 w 4610101"/>
              <a:gd name="connsiteY28777" fmla="*/ 778920 h 6557032"/>
              <a:gd name="connsiteX28778" fmla="*/ 577630 w 4610101"/>
              <a:gd name="connsiteY28778" fmla="*/ 784386 h 6557032"/>
              <a:gd name="connsiteX28779" fmla="*/ 577630 w 4610101"/>
              <a:gd name="connsiteY28779" fmla="*/ 778920 h 6557032"/>
              <a:gd name="connsiteX28780" fmla="*/ 566697 w 4610101"/>
              <a:gd name="connsiteY28780" fmla="*/ 774820 h 6557032"/>
              <a:gd name="connsiteX28781" fmla="*/ 1327226 w 4610101"/>
              <a:gd name="connsiteY28781" fmla="*/ 773681 h 6557032"/>
              <a:gd name="connsiteX28782" fmla="*/ 1319254 w 4610101"/>
              <a:gd name="connsiteY28782" fmla="*/ 777098 h 6557032"/>
              <a:gd name="connsiteX28783" fmla="*/ 1322899 w 4610101"/>
              <a:gd name="connsiteY28783" fmla="*/ 777098 h 6557032"/>
              <a:gd name="connsiteX28784" fmla="*/ 1310143 w 4610101"/>
              <a:gd name="connsiteY28784" fmla="*/ 788031 h 6557032"/>
              <a:gd name="connsiteX28785" fmla="*/ 1333832 w 4610101"/>
              <a:gd name="connsiteY28785" fmla="*/ 777098 h 6557032"/>
              <a:gd name="connsiteX28786" fmla="*/ 1327226 w 4610101"/>
              <a:gd name="connsiteY28786" fmla="*/ 773681 h 6557032"/>
              <a:gd name="connsiteX28787" fmla="*/ 625917 w 4610101"/>
              <a:gd name="connsiteY28787" fmla="*/ 773454 h 6557032"/>
              <a:gd name="connsiteX28788" fmla="*/ 630472 w 4610101"/>
              <a:gd name="connsiteY28788" fmla="*/ 782564 h 6557032"/>
              <a:gd name="connsiteX28789" fmla="*/ 632296 w 4610101"/>
              <a:gd name="connsiteY28789" fmla="*/ 780742 h 6557032"/>
              <a:gd name="connsiteX28790" fmla="*/ 625917 w 4610101"/>
              <a:gd name="connsiteY28790" fmla="*/ 773454 h 6557032"/>
              <a:gd name="connsiteX28791" fmla="*/ 2729617 w 4610101"/>
              <a:gd name="connsiteY28791" fmla="*/ 773453 h 6557032"/>
              <a:gd name="connsiteX28792" fmla="*/ 2746016 w 4610101"/>
              <a:gd name="connsiteY28792" fmla="*/ 782564 h 6557032"/>
              <a:gd name="connsiteX28793" fmla="*/ 2729617 w 4610101"/>
              <a:gd name="connsiteY28793" fmla="*/ 773453 h 6557032"/>
              <a:gd name="connsiteX28794" fmla="*/ 2571088 w 4610101"/>
              <a:gd name="connsiteY28794" fmla="*/ 773453 h 6557032"/>
              <a:gd name="connsiteX28795" fmla="*/ 2563799 w 4610101"/>
              <a:gd name="connsiteY28795" fmla="*/ 777098 h 6557032"/>
              <a:gd name="connsiteX28796" fmla="*/ 2560155 w 4610101"/>
              <a:gd name="connsiteY28796" fmla="*/ 793497 h 6557032"/>
              <a:gd name="connsiteX28797" fmla="*/ 2567443 w 4610101"/>
              <a:gd name="connsiteY28797" fmla="*/ 791675 h 6557032"/>
              <a:gd name="connsiteX28798" fmla="*/ 2565621 w 4610101"/>
              <a:gd name="connsiteY28798" fmla="*/ 786208 h 6557032"/>
              <a:gd name="connsiteX28799" fmla="*/ 2571088 w 4610101"/>
              <a:gd name="connsiteY28799" fmla="*/ 773453 h 6557032"/>
              <a:gd name="connsiteX28800" fmla="*/ 2317806 w 4610101"/>
              <a:gd name="connsiteY28800" fmla="*/ 773453 h 6557032"/>
              <a:gd name="connsiteX28801" fmla="*/ 2317806 w 4610101"/>
              <a:gd name="connsiteY28801" fmla="*/ 777098 h 6557032"/>
              <a:gd name="connsiteX28802" fmla="*/ 2321450 w 4610101"/>
              <a:gd name="connsiteY28802" fmla="*/ 775275 h 6557032"/>
              <a:gd name="connsiteX28803" fmla="*/ 2319628 w 4610101"/>
              <a:gd name="connsiteY28803" fmla="*/ 773453 h 6557032"/>
              <a:gd name="connsiteX28804" fmla="*/ 2317806 w 4610101"/>
              <a:gd name="connsiteY28804" fmla="*/ 773453 h 6557032"/>
              <a:gd name="connsiteX28805" fmla="*/ 1373920 w 4610101"/>
              <a:gd name="connsiteY28805" fmla="*/ 773453 h 6557032"/>
              <a:gd name="connsiteX28806" fmla="*/ 1366632 w 4610101"/>
              <a:gd name="connsiteY28806" fmla="*/ 775275 h 6557032"/>
              <a:gd name="connsiteX28807" fmla="*/ 1370275 w 4610101"/>
              <a:gd name="connsiteY28807" fmla="*/ 777098 h 6557032"/>
              <a:gd name="connsiteX28808" fmla="*/ 1373920 w 4610101"/>
              <a:gd name="connsiteY28808" fmla="*/ 773453 h 6557032"/>
              <a:gd name="connsiteX28809" fmla="*/ 1342942 w 4610101"/>
              <a:gd name="connsiteY28809" fmla="*/ 773453 h 6557032"/>
              <a:gd name="connsiteX28810" fmla="*/ 1341120 w 4610101"/>
              <a:gd name="connsiteY28810" fmla="*/ 778920 h 6557032"/>
              <a:gd name="connsiteX28811" fmla="*/ 1348410 w 4610101"/>
              <a:gd name="connsiteY28811" fmla="*/ 777098 h 6557032"/>
              <a:gd name="connsiteX28812" fmla="*/ 1342942 w 4610101"/>
              <a:gd name="connsiteY28812" fmla="*/ 773453 h 6557032"/>
              <a:gd name="connsiteX28813" fmla="*/ 1018596 w 4610101"/>
              <a:gd name="connsiteY28813" fmla="*/ 773453 h 6557032"/>
              <a:gd name="connsiteX28814" fmla="*/ 989441 w 4610101"/>
              <a:gd name="connsiteY28814" fmla="*/ 797141 h 6557032"/>
              <a:gd name="connsiteX28815" fmla="*/ 993085 w 4610101"/>
              <a:gd name="connsiteY28815" fmla="*/ 798964 h 6557032"/>
              <a:gd name="connsiteX28816" fmla="*/ 989441 w 4610101"/>
              <a:gd name="connsiteY28816" fmla="*/ 802608 h 6557032"/>
              <a:gd name="connsiteX28817" fmla="*/ 994907 w 4610101"/>
              <a:gd name="connsiteY28817" fmla="*/ 800786 h 6557032"/>
              <a:gd name="connsiteX28818" fmla="*/ 994907 w 4610101"/>
              <a:gd name="connsiteY28818" fmla="*/ 809897 h 6557032"/>
              <a:gd name="connsiteX28819" fmla="*/ 996547 w 4610101"/>
              <a:gd name="connsiteY28819" fmla="*/ 810080 h 6557032"/>
              <a:gd name="connsiteX28820" fmla="*/ 994679 w 4610101"/>
              <a:gd name="connsiteY28820" fmla="*/ 811947 h 6557032"/>
              <a:gd name="connsiteX28821" fmla="*/ 996729 w 4610101"/>
              <a:gd name="connsiteY28821" fmla="*/ 815363 h 6557032"/>
              <a:gd name="connsiteX28822" fmla="*/ 998096 w 4610101"/>
              <a:gd name="connsiteY28822" fmla="*/ 812630 h 6557032"/>
              <a:gd name="connsiteX28823" fmla="*/ 996836 w 4610101"/>
              <a:gd name="connsiteY28823" fmla="*/ 810112 h 6557032"/>
              <a:gd name="connsiteX28824" fmla="*/ 1010721 w 4610101"/>
              <a:gd name="connsiteY28824" fmla="*/ 811654 h 6557032"/>
              <a:gd name="connsiteX28825" fmla="*/ 1010544 w 4610101"/>
              <a:gd name="connsiteY28825" fmla="*/ 812190 h 6557032"/>
              <a:gd name="connsiteX28826" fmla="*/ 1005384 w 4610101"/>
              <a:gd name="connsiteY28826" fmla="*/ 815364 h 6557032"/>
              <a:gd name="connsiteX28827" fmla="*/ 1002196 w 4610101"/>
              <a:gd name="connsiteY28827" fmla="*/ 819008 h 6557032"/>
              <a:gd name="connsiteX28828" fmla="*/ 1004018 w 4610101"/>
              <a:gd name="connsiteY28828" fmla="*/ 820830 h 6557032"/>
              <a:gd name="connsiteX28829" fmla="*/ 1004018 w 4610101"/>
              <a:gd name="connsiteY28829" fmla="*/ 819048 h 6557032"/>
              <a:gd name="connsiteX28830" fmla="*/ 1007622 w 4610101"/>
              <a:gd name="connsiteY28830" fmla="*/ 820850 h 6557032"/>
              <a:gd name="connsiteX28831" fmla="*/ 1007663 w 4610101"/>
              <a:gd name="connsiteY28831" fmla="*/ 820830 h 6557032"/>
              <a:gd name="connsiteX28832" fmla="*/ 1005840 w 4610101"/>
              <a:gd name="connsiteY28832" fmla="*/ 819008 h 6557032"/>
              <a:gd name="connsiteX28833" fmla="*/ 1007663 w 4610101"/>
              <a:gd name="connsiteY28833" fmla="*/ 817185 h 6557032"/>
              <a:gd name="connsiteX28834" fmla="*/ 1007663 w 4610101"/>
              <a:gd name="connsiteY28834" fmla="*/ 815404 h 6557032"/>
              <a:gd name="connsiteX28835" fmla="*/ 1008553 w 4610101"/>
              <a:gd name="connsiteY28835" fmla="*/ 816295 h 6557032"/>
              <a:gd name="connsiteX28836" fmla="*/ 1009485 w 4610101"/>
              <a:gd name="connsiteY28836" fmla="*/ 815363 h 6557032"/>
              <a:gd name="connsiteX28837" fmla="*/ 1010544 w 4610101"/>
              <a:gd name="connsiteY28837" fmla="*/ 812190 h 6557032"/>
              <a:gd name="connsiteX28838" fmla="*/ 1011281 w 4610101"/>
              <a:gd name="connsiteY28838" fmla="*/ 811735 h 6557032"/>
              <a:gd name="connsiteX28839" fmla="*/ 1011260 w 4610101"/>
              <a:gd name="connsiteY28839" fmla="*/ 811714 h 6557032"/>
              <a:gd name="connsiteX28840" fmla="*/ 1010721 w 4610101"/>
              <a:gd name="connsiteY28840" fmla="*/ 811654 h 6557032"/>
              <a:gd name="connsiteX28841" fmla="*/ 1010841 w 4610101"/>
              <a:gd name="connsiteY28841" fmla="*/ 811295 h 6557032"/>
              <a:gd name="connsiteX28842" fmla="*/ 1009485 w 4610101"/>
              <a:gd name="connsiteY28842" fmla="*/ 809938 h 6557032"/>
              <a:gd name="connsiteX28843" fmla="*/ 1011035 w 4610101"/>
              <a:gd name="connsiteY28843" fmla="*/ 810714 h 6557032"/>
              <a:gd name="connsiteX28844" fmla="*/ 1011307 w 4610101"/>
              <a:gd name="connsiteY28844" fmla="*/ 809897 h 6557032"/>
              <a:gd name="connsiteX28845" fmla="*/ 1014951 w 4610101"/>
              <a:gd name="connsiteY28845" fmla="*/ 806252 h 6557032"/>
              <a:gd name="connsiteX28846" fmla="*/ 1013129 w 4610101"/>
              <a:gd name="connsiteY28846" fmla="*/ 797141 h 6557032"/>
              <a:gd name="connsiteX28847" fmla="*/ 1014951 w 4610101"/>
              <a:gd name="connsiteY28847" fmla="*/ 800786 h 6557032"/>
              <a:gd name="connsiteX28848" fmla="*/ 1025884 w 4610101"/>
              <a:gd name="connsiteY28848" fmla="*/ 773453 h 6557032"/>
              <a:gd name="connsiteX28849" fmla="*/ 1018596 w 4610101"/>
              <a:gd name="connsiteY28849" fmla="*/ 773453 h 6557032"/>
              <a:gd name="connsiteX28850" fmla="*/ 776246 w 4610101"/>
              <a:gd name="connsiteY28850" fmla="*/ 773453 h 6557032"/>
              <a:gd name="connsiteX28851" fmla="*/ 781713 w 4610101"/>
              <a:gd name="connsiteY28851" fmla="*/ 775275 h 6557032"/>
              <a:gd name="connsiteX28852" fmla="*/ 776246 w 4610101"/>
              <a:gd name="connsiteY28852" fmla="*/ 773453 h 6557032"/>
              <a:gd name="connsiteX28853" fmla="*/ 512031 w 4610101"/>
              <a:gd name="connsiteY28853" fmla="*/ 773453 h 6557032"/>
              <a:gd name="connsiteX28854" fmla="*/ 517498 w 4610101"/>
              <a:gd name="connsiteY28854" fmla="*/ 778920 h 6557032"/>
              <a:gd name="connsiteX28855" fmla="*/ 515676 w 4610101"/>
              <a:gd name="connsiteY28855" fmla="*/ 773453 h 6557032"/>
              <a:gd name="connsiteX28856" fmla="*/ 512031 w 4610101"/>
              <a:gd name="connsiteY28856" fmla="*/ 773453 h 6557032"/>
              <a:gd name="connsiteX28857" fmla="*/ 282438 w 4610101"/>
              <a:gd name="connsiteY28857" fmla="*/ 773453 h 6557032"/>
              <a:gd name="connsiteX28858" fmla="*/ 283804 w 4610101"/>
              <a:gd name="connsiteY28858" fmla="*/ 777098 h 6557032"/>
              <a:gd name="connsiteX28859" fmla="*/ 285169 w 4610101"/>
              <a:gd name="connsiteY28859" fmla="*/ 778312 h 6557032"/>
              <a:gd name="connsiteX28860" fmla="*/ 287904 w 4610101"/>
              <a:gd name="connsiteY28860" fmla="*/ 780742 h 6557032"/>
              <a:gd name="connsiteX28861" fmla="*/ 282438 w 4610101"/>
              <a:gd name="connsiteY28861" fmla="*/ 773453 h 6557032"/>
              <a:gd name="connsiteX28862" fmla="*/ 244172 w 4610101"/>
              <a:gd name="connsiteY28862" fmla="*/ 773453 h 6557032"/>
              <a:gd name="connsiteX28863" fmla="*/ 255105 w 4610101"/>
              <a:gd name="connsiteY28863" fmla="*/ 778920 h 6557032"/>
              <a:gd name="connsiteX28864" fmla="*/ 244172 w 4610101"/>
              <a:gd name="connsiteY28864" fmla="*/ 773453 h 6557032"/>
              <a:gd name="connsiteX28865" fmla="*/ 1406901 w 4610101"/>
              <a:gd name="connsiteY28865" fmla="*/ 771996 h 6557032"/>
              <a:gd name="connsiteX28866" fmla="*/ 1408541 w 4610101"/>
              <a:gd name="connsiteY28866" fmla="*/ 775275 h 6557032"/>
              <a:gd name="connsiteX28867" fmla="*/ 1403074 w 4610101"/>
              <a:gd name="connsiteY28867" fmla="*/ 777098 h 6557032"/>
              <a:gd name="connsiteX28868" fmla="*/ 1405807 w 4610101"/>
              <a:gd name="connsiteY28868" fmla="*/ 773454 h 6557032"/>
              <a:gd name="connsiteX28869" fmla="*/ 3480353 w 4610101"/>
              <a:gd name="connsiteY28869" fmla="*/ 771631 h 6557032"/>
              <a:gd name="connsiteX28870" fmla="*/ 3481437 w 4610101"/>
              <a:gd name="connsiteY28870" fmla="*/ 771812 h 6557032"/>
              <a:gd name="connsiteX28871" fmla="*/ 3480093 w 4610101"/>
              <a:gd name="connsiteY28871" fmla="*/ 772441 h 6557032"/>
              <a:gd name="connsiteX28872" fmla="*/ 1211747 w 4610101"/>
              <a:gd name="connsiteY28872" fmla="*/ 771631 h 6557032"/>
              <a:gd name="connsiteX28873" fmla="*/ 1206980 w 4610101"/>
              <a:gd name="connsiteY28873" fmla="*/ 773453 h 6557032"/>
              <a:gd name="connsiteX28874" fmla="*/ 1206279 w 4610101"/>
              <a:gd name="connsiteY28874" fmla="*/ 773453 h 6557032"/>
              <a:gd name="connsiteX28875" fmla="*/ 1206152 w 4610101"/>
              <a:gd name="connsiteY28875" fmla="*/ 773770 h 6557032"/>
              <a:gd name="connsiteX28876" fmla="*/ 1196257 w 4610101"/>
              <a:gd name="connsiteY28876" fmla="*/ 777553 h 6557032"/>
              <a:gd name="connsiteX28877" fmla="*/ 1186236 w 4610101"/>
              <a:gd name="connsiteY28877" fmla="*/ 786208 h 6557032"/>
              <a:gd name="connsiteX28878" fmla="*/ 1189880 w 4610101"/>
              <a:gd name="connsiteY28878" fmla="*/ 786208 h 6557032"/>
              <a:gd name="connsiteX28879" fmla="*/ 1186017 w 4610101"/>
              <a:gd name="connsiteY28879" fmla="*/ 790072 h 6557032"/>
              <a:gd name="connsiteX28880" fmla="*/ 1181681 w 4610101"/>
              <a:gd name="connsiteY28880" fmla="*/ 790536 h 6557032"/>
              <a:gd name="connsiteX28881" fmla="*/ 1180769 w 4610101"/>
              <a:gd name="connsiteY28881" fmla="*/ 795319 h 6557032"/>
              <a:gd name="connsiteX28882" fmla="*/ 1186017 w 4610101"/>
              <a:gd name="connsiteY28882" fmla="*/ 790072 h 6557032"/>
              <a:gd name="connsiteX28883" fmla="*/ 1188058 w 4610101"/>
              <a:gd name="connsiteY28883" fmla="*/ 789853 h 6557032"/>
              <a:gd name="connsiteX28884" fmla="*/ 1189880 w 4610101"/>
              <a:gd name="connsiteY28884" fmla="*/ 786208 h 6557032"/>
              <a:gd name="connsiteX28885" fmla="*/ 1189880 w 4610101"/>
              <a:gd name="connsiteY28885" fmla="*/ 786208 h 6557032"/>
              <a:gd name="connsiteX28886" fmla="*/ 1193525 w 4610101"/>
              <a:gd name="connsiteY28886" fmla="*/ 782564 h 6557032"/>
              <a:gd name="connsiteX28887" fmla="*/ 1180769 w 4610101"/>
              <a:gd name="connsiteY28887" fmla="*/ 797141 h 6557032"/>
              <a:gd name="connsiteX28888" fmla="*/ 1185831 w 4610101"/>
              <a:gd name="connsiteY28888" fmla="*/ 802203 h 6557032"/>
              <a:gd name="connsiteX28889" fmla="*/ 1184414 w 4610101"/>
              <a:gd name="connsiteY28889" fmla="*/ 802608 h 6557032"/>
              <a:gd name="connsiteX28890" fmla="*/ 1186236 w 4610101"/>
              <a:gd name="connsiteY28890" fmla="*/ 802608 h 6557032"/>
              <a:gd name="connsiteX28891" fmla="*/ 1185831 w 4610101"/>
              <a:gd name="connsiteY28891" fmla="*/ 802203 h 6557032"/>
              <a:gd name="connsiteX28892" fmla="*/ 1190791 w 4610101"/>
              <a:gd name="connsiteY28892" fmla="*/ 800786 h 6557032"/>
              <a:gd name="connsiteX28893" fmla="*/ 1197169 w 4610101"/>
              <a:gd name="connsiteY28893" fmla="*/ 793497 h 6557032"/>
              <a:gd name="connsiteX28894" fmla="*/ 1198991 w 4610101"/>
              <a:gd name="connsiteY28894" fmla="*/ 786208 h 6557032"/>
              <a:gd name="connsiteX28895" fmla="*/ 1204002 w 4610101"/>
              <a:gd name="connsiteY28895" fmla="*/ 779148 h 6557032"/>
              <a:gd name="connsiteX28896" fmla="*/ 1206152 w 4610101"/>
              <a:gd name="connsiteY28896" fmla="*/ 773770 h 6557032"/>
              <a:gd name="connsiteX28897" fmla="*/ 1206980 w 4610101"/>
              <a:gd name="connsiteY28897" fmla="*/ 773453 h 6557032"/>
              <a:gd name="connsiteX28898" fmla="*/ 1208102 w 4610101"/>
              <a:gd name="connsiteY28898" fmla="*/ 773453 h 6557032"/>
              <a:gd name="connsiteX28899" fmla="*/ 1200814 w 4610101"/>
              <a:gd name="connsiteY28899" fmla="*/ 786208 h 6557032"/>
              <a:gd name="connsiteX28900" fmla="*/ 1204457 w 4610101"/>
              <a:gd name="connsiteY28900" fmla="*/ 784386 h 6557032"/>
              <a:gd name="connsiteX28901" fmla="*/ 1202636 w 4610101"/>
              <a:gd name="connsiteY28901" fmla="*/ 789853 h 6557032"/>
              <a:gd name="connsiteX28902" fmla="*/ 1203960 w 4610101"/>
              <a:gd name="connsiteY28902" fmla="*/ 790350 h 6557032"/>
              <a:gd name="connsiteX28903" fmla="*/ 1200814 w 4610101"/>
              <a:gd name="connsiteY28903" fmla="*/ 793497 h 6557032"/>
              <a:gd name="connsiteX28904" fmla="*/ 1202636 w 4610101"/>
              <a:gd name="connsiteY28904" fmla="*/ 795319 h 6557032"/>
              <a:gd name="connsiteX28905" fmla="*/ 1204254 w 4610101"/>
              <a:gd name="connsiteY28905" fmla="*/ 790461 h 6557032"/>
              <a:gd name="connsiteX28906" fmla="*/ 1204457 w 4610101"/>
              <a:gd name="connsiteY28906" fmla="*/ 790537 h 6557032"/>
              <a:gd name="connsiteX28907" fmla="*/ 1206279 w 4610101"/>
              <a:gd name="connsiteY28907" fmla="*/ 789853 h 6557032"/>
              <a:gd name="connsiteX28908" fmla="*/ 1202636 w 4610101"/>
              <a:gd name="connsiteY28908" fmla="*/ 797141 h 6557032"/>
              <a:gd name="connsiteX28909" fmla="*/ 1220858 w 4610101"/>
              <a:gd name="connsiteY28909" fmla="*/ 778920 h 6557032"/>
              <a:gd name="connsiteX28910" fmla="*/ 1217213 w 4610101"/>
              <a:gd name="connsiteY28910" fmla="*/ 789853 h 6557032"/>
              <a:gd name="connsiteX28911" fmla="*/ 1228146 w 4610101"/>
              <a:gd name="connsiteY28911" fmla="*/ 784386 h 6557032"/>
              <a:gd name="connsiteX28912" fmla="*/ 1217213 w 4610101"/>
              <a:gd name="connsiteY28912" fmla="*/ 795319 h 6557032"/>
              <a:gd name="connsiteX28913" fmla="*/ 1231790 w 4610101"/>
              <a:gd name="connsiteY28913" fmla="*/ 793497 h 6557032"/>
              <a:gd name="connsiteX28914" fmla="*/ 1217212 w 4610101"/>
              <a:gd name="connsiteY28914" fmla="*/ 797142 h 6557032"/>
              <a:gd name="connsiteX28915" fmla="*/ 1217213 w 4610101"/>
              <a:gd name="connsiteY28915" fmla="*/ 797141 h 6557032"/>
              <a:gd name="connsiteX28916" fmla="*/ 1217210 w 4610101"/>
              <a:gd name="connsiteY28916" fmla="*/ 797142 h 6557032"/>
              <a:gd name="connsiteX28917" fmla="*/ 1188058 w 4610101"/>
              <a:gd name="connsiteY28917" fmla="*/ 804430 h 6557032"/>
              <a:gd name="connsiteX28918" fmla="*/ 1184414 w 4610101"/>
              <a:gd name="connsiteY28918" fmla="*/ 808074 h 6557032"/>
              <a:gd name="connsiteX28919" fmla="*/ 1184414 w 4610101"/>
              <a:gd name="connsiteY28919" fmla="*/ 806252 h 6557032"/>
              <a:gd name="connsiteX28920" fmla="*/ 1175804 w 4610101"/>
              <a:gd name="connsiteY28920" fmla="*/ 809122 h 6557032"/>
              <a:gd name="connsiteX28921" fmla="*/ 1177808 w 4610101"/>
              <a:gd name="connsiteY28921" fmla="*/ 806025 h 6557032"/>
              <a:gd name="connsiteX28922" fmla="*/ 1178947 w 4610101"/>
              <a:gd name="connsiteY28922" fmla="*/ 800786 h 6557032"/>
              <a:gd name="connsiteX28923" fmla="*/ 1168014 w 4610101"/>
              <a:gd name="connsiteY28923" fmla="*/ 802608 h 6557032"/>
              <a:gd name="connsiteX28924" fmla="*/ 1160725 w 4610101"/>
              <a:gd name="connsiteY28924" fmla="*/ 798964 h 6557032"/>
              <a:gd name="connsiteX28925" fmla="*/ 1162547 w 4610101"/>
              <a:gd name="connsiteY28925" fmla="*/ 800786 h 6557032"/>
              <a:gd name="connsiteX28926" fmla="*/ 1144326 w 4610101"/>
              <a:gd name="connsiteY28926" fmla="*/ 795319 h 6557032"/>
              <a:gd name="connsiteX28927" fmla="*/ 1146148 w 4610101"/>
              <a:gd name="connsiteY28927" fmla="*/ 806252 h 6557032"/>
              <a:gd name="connsiteX28928" fmla="*/ 1147970 w 4610101"/>
              <a:gd name="connsiteY28928" fmla="*/ 811719 h 6557032"/>
              <a:gd name="connsiteX28929" fmla="*/ 1166192 w 4610101"/>
              <a:gd name="connsiteY28929" fmla="*/ 806252 h 6557032"/>
              <a:gd name="connsiteX28930" fmla="*/ 1164370 w 4610101"/>
              <a:gd name="connsiteY28930" fmla="*/ 811719 h 6557032"/>
              <a:gd name="connsiteX28931" fmla="*/ 1175303 w 4610101"/>
              <a:gd name="connsiteY28931" fmla="*/ 809897 h 6557032"/>
              <a:gd name="connsiteX28932" fmla="*/ 1175523 w 4610101"/>
              <a:gd name="connsiteY28932" fmla="*/ 809557 h 6557032"/>
              <a:gd name="connsiteX28933" fmla="*/ 1176214 w 4610101"/>
              <a:gd name="connsiteY28933" fmla="*/ 809442 h 6557032"/>
              <a:gd name="connsiteX28934" fmla="*/ 1178947 w 4610101"/>
              <a:gd name="connsiteY28934" fmla="*/ 811719 h 6557032"/>
              <a:gd name="connsiteX28935" fmla="*/ 1180769 w 4610101"/>
              <a:gd name="connsiteY28935" fmla="*/ 809897 h 6557032"/>
              <a:gd name="connsiteX28936" fmla="*/ 1184414 w 4610101"/>
              <a:gd name="connsiteY28936" fmla="*/ 813541 h 6557032"/>
              <a:gd name="connsiteX28937" fmla="*/ 1158903 w 4610101"/>
              <a:gd name="connsiteY28937" fmla="*/ 817185 h 6557032"/>
              <a:gd name="connsiteX28938" fmla="*/ 1149792 w 4610101"/>
              <a:gd name="connsiteY28938" fmla="*/ 817185 h 6557032"/>
              <a:gd name="connsiteX28939" fmla="*/ 1147970 w 4610101"/>
              <a:gd name="connsiteY28939" fmla="*/ 826296 h 6557032"/>
              <a:gd name="connsiteX28940" fmla="*/ 1175303 w 4610101"/>
              <a:gd name="connsiteY28940" fmla="*/ 819008 h 6557032"/>
              <a:gd name="connsiteX28941" fmla="*/ 1219034 w 4610101"/>
              <a:gd name="connsiteY28941" fmla="*/ 808074 h 6557032"/>
              <a:gd name="connsiteX28942" fmla="*/ 1220858 w 4610101"/>
              <a:gd name="connsiteY28942" fmla="*/ 809897 h 6557032"/>
              <a:gd name="connsiteX28943" fmla="*/ 1228146 w 4610101"/>
              <a:gd name="connsiteY28943" fmla="*/ 804430 h 6557032"/>
              <a:gd name="connsiteX28944" fmla="*/ 1264589 w 4610101"/>
              <a:gd name="connsiteY28944" fmla="*/ 806252 h 6557032"/>
              <a:gd name="connsiteX28945" fmla="*/ 1262767 w 4610101"/>
              <a:gd name="connsiteY28945" fmla="*/ 802608 h 6557032"/>
              <a:gd name="connsiteX28946" fmla="*/ 1270056 w 4610101"/>
              <a:gd name="connsiteY28946" fmla="*/ 809897 h 6557032"/>
              <a:gd name="connsiteX28947" fmla="*/ 1266411 w 4610101"/>
              <a:gd name="connsiteY28947" fmla="*/ 786208 h 6557032"/>
              <a:gd name="connsiteX28948" fmla="*/ 1255478 w 4610101"/>
              <a:gd name="connsiteY28948" fmla="*/ 784386 h 6557032"/>
              <a:gd name="connsiteX28949" fmla="*/ 1233612 w 4610101"/>
              <a:gd name="connsiteY28949" fmla="*/ 775275 h 6557032"/>
              <a:gd name="connsiteX28950" fmla="*/ 1235434 w 4610101"/>
              <a:gd name="connsiteY28950" fmla="*/ 778920 h 6557032"/>
              <a:gd name="connsiteX28951" fmla="*/ 1229969 w 4610101"/>
              <a:gd name="connsiteY28951" fmla="*/ 775275 h 6557032"/>
              <a:gd name="connsiteX28952" fmla="*/ 1224501 w 4610101"/>
              <a:gd name="connsiteY28952" fmla="*/ 777098 h 6557032"/>
              <a:gd name="connsiteX28953" fmla="*/ 1211747 w 4610101"/>
              <a:gd name="connsiteY28953" fmla="*/ 771631 h 6557032"/>
              <a:gd name="connsiteX28954" fmla="*/ 925666 w 4610101"/>
              <a:gd name="connsiteY28954" fmla="*/ 771631 h 6557032"/>
              <a:gd name="connsiteX28955" fmla="*/ 909265 w 4610101"/>
              <a:gd name="connsiteY28955" fmla="*/ 786208 h 6557032"/>
              <a:gd name="connsiteX28956" fmla="*/ 912909 w 4610101"/>
              <a:gd name="connsiteY28956" fmla="*/ 787770 h 6557032"/>
              <a:gd name="connsiteX28957" fmla="*/ 922020 w 4610101"/>
              <a:gd name="connsiteY28957" fmla="*/ 791675 h 6557032"/>
              <a:gd name="connsiteX28958" fmla="*/ 925666 w 4610101"/>
              <a:gd name="connsiteY28958" fmla="*/ 788031 h 6557032"/>
              <a:gd name="connsiteX28959" fmla="*/ 922020 w 4610101"/>
              <a:gd name="connsiteY28959" fmla="*/ 797141 h 6557032"/>
              <a:gd name="connsiteX28960" fmla="*/ 925666 w 4610101"/>
              <a:gd name="connsiteY28960" fmla="*/ 771631 h 6557032"/>
              <a:gd name="connsiteX28961" fmla="*/ 823623 w 4610101"/>
              <a:gd name="connsiteY28961" fmla="*/ 771631 h 6557032"/>
              <a:gd name="connsiteX28962" fmla="*/ 823623 w 4610101"/>
              <a:gd name="connsiteY28962" fmla="*/ 777098 h 6557032"/>
              <a:gd name="connsiteX28963" fmla="*/ 825445 w 4610101"/>
              <a:gd name="connsiteY28963" fmla="*/ 773453 h 6557032"/>
              <a:gd name="connsiteX28964" fmla="*/ 823623 w 4610101"/>
              <a:gd name="connsiteY28964" fmla="*/ 771631 h 6557032"/>
              <a:gd name="connsiteX28965" fmla="*/ 810868 w 4610101"/>
              <a:gd name="connsiteY28965" fmla="*/ 771631 h 6557032"/>
              <a:gd name="connsiteX28966" fmla="*/ 818156 w 4610101"/>
              <a:gd name="connsiteY28966" fmla="*/ 775275 h 6557032"/>
              <a:gd name="connsiteX28967" fmla="*/ 810868 w 4610101"/>
              <a:gd name="connsiteY28967" fmla="*/ 771631 h 6557032"/>
              <a:gd name="connsiteX28968" fmla="*/ 772602 w 4610101"/>
              <a:gd name="connsiteY28968" fmla="*/ 771631 h 6557032"/>
              <a:gd name="connsiteX28969" fmla="*/ 771623 w 4610101"/>
              <a:gd name="connsiteY28969" fmla="*/ 774242 h 6557032"/>
              <a:gd name="connsiteX28970" fmla="*/ 768959 w 4610101"/>
              <a:gd name="connsiteY28970" fmla="*/ 777098 h 6557032"/>
              <a:gd name="connsiteX28971" fmla="*/ 770553 w 4610101"/>
              <a:gd name="connsiteY28971" fmla="*/ 777098 h 6557032"/>
              <a:gd name="connsiteX28972" fmla="*/ 767136 w 4610101"/>
              <a:gd name="connsiteY28972" fmla="*/ 786208 h 6557032"/>
              <a:gd name="connsiteX28973" fmla="*/ 779892 w 4610101"/>
              <a:gd name="connsiteY28973" fmla="*/ 777098 h 6557032"/>
              <a:gd name="connsiteX28974" fmla="*/ 770553 w 4610101"/>
              <a:gd name="connsiteY28974" fmla="*/ 777098 h 6557032"/>
              <a:gd name="connsiteX28975" fmla="*/ 771623 w 4610101"/>
              <a:gd name="connsiteY28975" fmla="*/ 774242 h 6557032"/>
              <a:gd name="connsiteX28976" fmla="*/ 772146 w 4610101"/>
              <a:gd name="connsiteY28976" fmla="*/ 773681 h 6557032"/>
              <a:gd name="connsiteX28977" fmla="*/ 772602 w 4610101"/>
              <a:gd name="connsiteY28977" fmla="*/ 771631 h 6557032"/>
              <a:gd name="connsiteX28978" fmla="*/ 748914 w 4610101"/>
              <a:gd name="connsiteY28978" fmla="*/ 771631 h 6557032"/>
              <a:gd name="connsiteX28979" fmla="*/ 743447 w 4610101"/>
              <a:gd name="connsiteY28979" fmla="*/ 773453 h 6557032"/>
              <a:gd name="connsiteX28980" fmla="*/ 748914 w 4610101"/>
              <a:gd name="connsiteY28980" fmla="*/ 771631 h 6557032"/>
              <a:gd name="connsiteX28981" fmla="*/ 677849 w 4610101"/>
              <a:gd name="connsiteY28981" fmla="*/ 771631 h 6557032"/>
              <a:gd name="connsiteX28982" fmla="*/ 679671 w 4610101"/>
              <a:gd name="connsiteY28982" fmla="*/ 775275 h 6557032"/>
              <a:gd name="connsiteX28983" fmla="*/ 677849 w 4610101"/>
              <a:gd name="connsiteY28983" fmla="*/ 771631 h 6557032"/>
              <a:gd name="connsiteX28984" fmla="*/ 482876 w 4610101"/>
              <a:gd name="connsiteY28984" fmla="*/ 771631 h 6557032"/>
              <a:gd name="connsiteX28985" fmla="*/ 484700 w 4610101"/>
              <a:gd name="connsiteY28985" fmla="*/ 777098 h 6557032"/>
              <a:gd name="connsiteX28986" fmla="*/ 482876 w 4610101"/>
              <a:gd name="connsiteY28986" fmla="*/ 771631 h 6557032"/>
              <a:gd name="connsiteX28987" fmla="*/ 411812 w 4610101"/>
              <a:gd name="connsiteY28987" fmla="*/ 771631 h 6557032"/>
              <a:gd name="connsiteX28988" fmla="*/ 413634 w 4610101"/>
              <a:gd name="connsiteY28988" fmla="*/ 777098 h 6557032"/>
              <a:gd name="connsiteX28989" fmla="*/ 411812 w 4610101"/>
              <a:gd name="connsiteY28989" fmla="*/ 771631 h 6557032"/>
              <a:gd name="connsiteX28990" fmla="*/ 238705 w 4610101"/>
              <a:gd name="connsiteY28990" fmla="*/ 771631 h 6557032"/>
              <a:gd name="connsiteX28991" fmla="*/ 251460 w 4610101"/>
              <a:gd name="connsiteY28991" fmla="*/ 784386 h 6557032"/>
              <a:gd name="connsiteX28992" fmla="*/ 238705 w 4610101"/>
              <a:gd name="connsiteY28992" fmla="*/ 771631 h 6557032"/>
              <a:gd name="connsiteX28993" fmla="*/ 222306 w 4610101"/>
              <a:gd name="connsiteY28993" fmla="*/ 771631 h 6557032"/>
              <a:gd name="connsiteX28994" fmla="*/ 229594 w 4610101"/>
              <a:gd name="connsiteY28994" fmla="*/ 778920 h 6557032"/>
              <a:gd name="connsiteX28995" fmla="*/ 222306 w 4610101"/>
              <a:gd name="connsiteY28995" fmla="*/ 771631 h 6557032"/>
              <a:gd name="connsiteX28996" fmla="*/ 1470470 w 4610101"/>
              <a:gd name="connsiteY28996" fmla="*/ 771533 h 6557032"/>
              <a:gd name="connsiteX28997" fmla="*/ 1470495 w 4610101"/>
              <a:gd name="connsiteY28997" fmla="*/ 771631 h 6557032"/>
              <a:gd name="connsiteX28998" fmla="*/ 1466850 w 4610101"/>
              <a:gd name="connsiteY28998" fmla="*/ 775731 h 6557032"/>
              <a:gd name="connsiteX28999" fmla="*/ 1465031 w 4610101"/>
              <a:gd name="connsiteY28999" fmla="*/ 776414 h 6557032"/>
              <a:gd name="connsiteX29000" fmla="*/ 1468673 w 4610101"/>
              <a:gd name="connsiteY29000" fmla="*/ 772998 h 6557032"/>
              <a:gd name="connsiteX29001" fmla="*/ 1408168 w 4610101"/>
              <a:gd name="connsiteY29001" fmla="*/ 770306 h 6557032"/>
              <a:gd name="connsiteX29002" fmla="*/ 1406901 w 4610101"/>
              <a:gd name="connsiteY29002" fmla="*/ 771996 h 6557032"/>
              <a:gd name="connsiteX29003" fmla="*/ 1406719 w 4610101"/>
              <a:gd name="connsiteY29003" fmla="*/ 771631 h 6557032"/>
              <a:gd name="connsiteX29004" fmla="*/ 3644348 w 4610101"/>
              <a:gd name="connsiteY29004" fmla="*/ 769809 h 6557032"/>
              <a:gd name="connsiteX29005" fmla="*/ 3658926 w 4610101"/>
              <a:gd name="connsiteY29005" fmla="*/ 784386 h 6557032"/>
              <a:gd name="connsiteX29006" fmla="*/ 3644348 w 4610101"/>
              <a:gd name="connsiteY29006" fmla="*/ 778920 h 6557032"/>
              <a:gd name="connsiteX29007" fmla="*/ 3641615 w 4610101"/>
              <a:gd name="connsiteY29007" fmla="*/ 780515 h 6557032"/>
              <a:gd name="connsiteX29008" fmla="*/ 3639591 w 4610101"/>
              <a:gd name="connsiteY29008" fmla="*/ 780683 h 6557032"/>
              <a:gd name="connsiteX29009" fmla="*/ 2656730 w 4610101"/>
              <a:gd name="connsiteY29009" fmla="*/ 769809 h 6557032"/>
              <a:gd name="connsiteX29010" fmla="*/ 2658552 w 4610101"/>
              <a:gd name="connsiteY29010" fmla="*/ 777098 h 6557032"/>
              <a:gd name="connsiteX29011" fmla="*/ 2656730 w 4610101"/>
              <a:gd name="connsiteY29011" fmla="*/ 769809 h 6557032"/>
              <a:gd name="connsiteX29012" fmla="*/ 1384854 w 4610101"/>
              <a:gd name="connsiteY29012" fmla="*/ 769809 h 6557032"/>
              <a:gd name="connsiteX29013" fmla="*/ 1379386 w 4610101"/>
              <a:gd name="connsiteY29013" fmla="*/ 773453 h 6557032"/>
              <a:gd name="connsiteX29014" fmla="*/ 1379386 w 4610101"/>
              <a:gd name="connsiteY29014" fmla="*/ 771631 h 6557032"/>
              <a:gd name="connsiteX29015" fmla="*/ 1377564 w 4610101"/>
              <a:gd name="connsiteY29015" fmla="*/ 775275 h 6557032"/>
              <a:gd name="connsiteX29016" fmla="*/ 1379386 w 4610101"/>
              <a:gd name="connsiteY29016" fmla="*/ 773453 h 6557032"/>
              <a:gd name="connsiteX29017" fmla="*/ 1381208 w 4610101"/>
              <a:gd name="connsiteY29017" fmla="*/ 775275 h 6557032"/>
              <a:gd name="connsiteX29018" fmla="*/ 1384854 w 4610101"/>
              <a:gd name="connsiteY29018" fmla="*/ 769809 h 6557032"/>
              <a:gd name="connsiteX29019" fmla="*/ 1259123 w 4610101"/>
              <a:gd name="connsiteY29019" fmla="*/ 769809 h 6557032"/>
              <a:gd name="connsiteX29020" fmla="*/ 1257300 w 4610101"/>
              <a:gd name="connsiteY29020" fmla="*/ 771631 h 6557032"/>
              <a:gd name="connsiteX29021" fmla="*/ 1259123 w 4610101"/>
              <a:gd name="connsiteY29021" fmla="*/ 769809 h 6557032"/>
              <a:gd name="connsiteX29022" fmla="*/ 963930 w 4610101"/>
              <a:gd name="connsiteY29022" fmla="*/ 769809 h 6557032"/>
              <a:gd name="connsiteX29023" fmla="*/ 929309 w 4610101"/>
              <a:gd name="connsiteY29023" fmla="*/ 806252 h 6557032"/>
              <a:gd name="connsiteX29024" fmla="*/ 931131 w 4610101"/>
              <a:gd name="connsiteY29024" fmla="*/ 806252 h 6557032"/>
              <a:gd name="connsiteX29025" fmla="*/ 925666 w 4610101"/>
              <a:gd name="connsiteY29025" fmla="*/ 811719 h 6557032"/>
              <a:gd name="connsiteX29026" fmla="*/ 932953 w 4610101"/>
              <a:gd name="connsiteY29026" fmla="*/ 808074 h 6557032"/>
              <a:gd name="connsiteX29027" fmla="*/ 931131 w 4610101"/>
              <a:gd name="connsiteY29027" fmla="*/ 804430 h 6557032"/>
              <a:gd name="connsiteX29028" fmla="*/ 932953 w 4610101"/>
              <a:gd name="connsiteY29028" fmla="*/ 802608 h 6557032"/>
              <a:gd name="connsiteX29029" fmla="*/ 958464 w 4610101"/>
              <a:gd name="connsiteY29029" fmla="*/ 775275 h 6557032"/>
              <a:gd name="connsiteX29030" fmla="*/ 963930 w 4610101"/>
              <a:gd name="connsiteY29030" fmla="*/ 769809 h 6557032"/>
              <a:gd name="connsiteX29031" fmla="*/ 758025 w 4610101"/>
              <a:gd name="connsiteY29031" fmla="*/ 769809 h 6557032"/>
              <a:gd name="connsiteX29032" fmla="*/ 758025 w 4610101"/>
              <a:gd name="connsiteY29032" fmla="*/ 780742 h 6557032"/>
              <a:gd name="connsiteX29033" fmla="*/ 758025 w 4610101"/>
              <a:gd name="connsiteY29033" fmla="*/ 769809 h 6557032"/>
              <a:gd name="connsiteX29034" fmla="*/ 619539 w 4610101"/>
              <a:gd name="connsiteY29034" fmla="*/ 769809 h 6557032"/>
              <a:gd name="connsiteX29035" fmla="*/ 623185 w 4610101"/>
              <a:gd name="connsiteY29035" fmla="*/ 784386 h 6557032"/>
              <a:gd name="connsiteX29036" fmla="*/ 619539 w 4610101"/>
              <a:gd name="connsiteY29036" fmla="*/ 769809 h 6557032"/>
              <a:gd name="connsiteX29037" fmla="*/ 572163 w 4610101"/>
              <a:gd name="connsiteY29037" fmla="*/ 769809 h 6557032"/>
              <a:gd name="connsiteX29038" fmla="*/ 572163 w 4610101"/>
              <a:gd name="connsiteY29038" fmla="*/ 773453 h 6557032"/>
              <a:gd name="connsiteX29039" fmla="*/ 572163 w 4610101"/>
              <a:gd name="connsiteY29039" fmla="*/ 769809 h 6557032"/>
              <a:gd name="connsiteX29040" fmla="*/ 553941 w 4610101"/>
              <a:gd name="connsiteY29040" fmla="*/ 769809 h 6557032"/>
              <a:gd name="connsiteX29041" fmla="*/ 553941 w 4610101"/>
              <a:gd name="connsiteY29041" fmla="*/ 769809 h 6557032"/>
              <a:gd name="connsiteX29042" fmla="*/ 404523 w 4610101"/>
              <a:gd name="connsiteY29042" fmla="*/ 769809 h 6557032"/>
              <a:gd name="connsiteX29043" fmla="*/ 411812 w 4610101"/>
              <a:gd name="connsiteY29043" fmla="*/ 780742 h 6557032"/>
              <a:gd name="connsiteX29044" fmla="*/ 404523 w 4610101"/>
              <a:gd name="connsiteY29044" fmla="*/ 769809 h 6557032"/>
              <a:gd name="connsiteX29045" fmla="*/ 149419 w 4610101"/>
              <a:gd name="connsiteY29045" fmla="*/ 769809 h 6557032"/>
              <a:gd name="connsiteX29046" fmla="*/ 156707 w 4610101"/>
              <a:gd name="connsiteY29046" fmla="*/ 771631 h 6557032"/>
              <a:gd name="connsiteX29047" fmla="*/ 149419 w 4610101"/>
              <a:gd name="connsiteY29047" fmla="*/ 769809 h 6557032"/>
              <a:gd name="connsiteX29048" fmla="*/ 1144325 w 4610101"/>
              <a:gd name="connsiteY29048" fmla="*/ 768670 h 6557032"/>
              <a:gd name="connsiteX29049" fmla="*/ 1138859 w 4610101"/>
              <a:gd name="connsiteY29049" fmla="*/ 771631 h 6557032"/>
              <a:gd name="connsiteX29050" fmla="*/ 1149792 w 4610101"/>
              <a:gd name="connsiteY29050" fmla="*/ 769809 h 6557032"/>
              <a:gd name="connsiteX29051" fmla="*/ 1144325 w 4610101"/>
              <a:gd name="connsiteY29051" fmla="*/ 768670 h 6557032"/>
              <a:gd name="connsiteX29052" fmla="*/ 1355698 w 4610101"/>
              <a:gd name="connsiteY29052" fmla="*/ 767987 h 6557032"/>
              <a:gd name="connsiteX29053" fmla="*/ 1353876 w 4610101"/>
              <a:gd name="connsiteY29053" fmla="*/ 771631 h 6557032"/>
              <a:gd name="connsiteX29054" fmla="*/ 1355698 w 4610101"/>
              <a:gd name="connsiteY29054" fmla="*/ 767987 h 6557032"/>
              <a:gd name="connsiteX29055" fmla="*/ 925666 w 4610101"/>
              <a:gd name="connsiteY29055" fmla="*/ 767987 h 6557032"/>
              <a:gd name="connsiteX29056" fmla="*/ 914732 w 4610101"/>
              <a:gd name="connsiteY29056" fmla="*/ 777098 h 6557032"/>
              <a:gd name="connsiteX29057" fmla="*/ 925666 w 4610101"/>
              <a:gd name="connsiteY29057" fmla="*/ 767987 h 6557032"/>
              <a:gd name="connsiteX29058" fmla="*/ 799935 w 4610101"/>
              <a:gd name="connsiteY29058" fmla="*/ 767987 h 6557032"/>
              <a:gd name="connsiteX29059" fmla="*/ 798112 w 4610101"/>
              <a:gd name="connsiteY29059" fmla="*/ 769809 h 6557032"/>
              <a:gd name="connsiteX29060" fmla="*/ 805401 w 4610101"/>
              <a:gd name="connsiteY29060" fmla="*/ 775275 h 6557032"/>
              <a:gd name="connsiteX29061" fmla="*/ 799935 w 4610101"/>
              <a:gd name="connsiteY29061" fmla="*/ 767987 h 6557032"/>
              <a:gd name="connsiteX29062" fmla="*/ 739803 w 4610101"/>
              <a:gd name="connsiteY29062" fmla="*/ 767987 h 6557032"/>
              <a:gd name="connsiteX29063" fmla="*/ 747092 w 4610101"/>
              <a:gd name="connsiteY29063" fmla="*/ 769809 h 6557032"/>
              <a:gd name="connsiteX29064" fmla="*/ 739803 w 4610101"/>
              <a:gd name="connsiteY29064" fmla="*/ 767987 h 6557032"/>
              <a:gd name="connsiteX29065" fmla="*/ 501098 w 4610101"/>
              <a:gd name="connsiteY29065" fmla="*/ 767987 h 6557032"/>
              <a:gd name="connsiteX29066" fmla="*/ 510209 w 4610101"/>
              <a:gd name="connsiteY29066" fmla="*/ 789853 h 6557032"/>
              <a:gd name="connsiteX29067" fmla="*/ 512031 w 4610101"/>
              <a:gd name="connsiteY29067" fmla="*/ 784386 h 6557032"/>
              <a:gd name="connsiteX29068" fmla="*/ 517801 w 4610101"/>
              <a:gd name="connsiteY29068" fmla="*/ 797369 h 6557032"/>
              <a:gd name="connsiteX29069" fmla="*/ 517498 w 4610101"/>
              <a:gd name="connsiteY29069" fmla="*/ 797141 h 6557032"/>
              <a:gd name="connsiteX29070" fmla="*/ 518314 w 4610101"/>
              <a:gd name="connsiteY29070" fmla="*/ 798522 h 6557032"/>
              <a:gd name="connsiteX29071" fmla="*/ 526609 w 4610101"/>
              <a:gd name="connsiteY29071" fmla="*/ 817185 h 6557032"/>
              <a:gd name="connsiteX29072" fmla="*/ 523420 w 4610101"/>
              <a:gd name="connsiteY29072" fmla="*/ 807164 h 6557032"/>
              <a:gd name="connsiteX29073" fmla="*/ 518314 w 4610101"/>
              <a:gd name="connsiteY29073" fmla="*/ 798522 h 6557032"/>
              <a:gd name="connsiteX29074" fmla="*/ 517801 w 4610101"/>
              <a:gd name="connsiteY29074" fmla="*/ 797369 h 6557032"/>
              <a:gd name="connsiteX29075" fmla="*/ 524786 w 4610101"/>
              <a:gd name="connsiteY29075" fmla="*/ 802608 h 6557032"/>
              <a:gd name="connsiteX29076" fmla="*/ 517498 w 4610101"/>
              <a:gd name="connsiteY29076" fmla="*/ 791675 h 6557032"/>
              <a:gd name="connsiteX29077" fmla="*/ 524786 w 4610101"/>
              <a:gd name="connsiteY29077" fmla="*/ 793497 h 6557032"/>
              <a:gd name="connsiteX29078" fmla="*/ 501098 w 4610101"/>
              <a:gd name="connsiteY29078" fmla="*/ 767987 h 6557032"/>
              <a:gd name="connsiteX29079" fmla="*/ 422745 w 4610101"/>
              <a:gd name="connsiteY29079" fmla="*/ 767987 h 6557032"/>
              <a:gd name="connsiteX29080" fmla="*/ 419100 w 4610101"/>
              <a:gd name="connsiteY29080" fmla="*/ 769809 h 6557032"/>
              <a:gd name="connsiteX29081" fmla="*/ 422745 w 4610101"/>
              <a:gd name="connsiteY29081" fmla="*/ 773453 h 6557032"/>
              <a:gd name="connsiteX29082" fmla="*/ 422745 w 4610101"/>
              <a:gd name="connsiteY29082" fmla="*/ 767987 h 6557032"/>
              <a:gd name="connsiteX29083" fmla="*/ 3205204 w 4610101"/>
              <a:gd name="connsiteY29083" fmla="*/ 766164 h 6557032"/>
              <a:gd name="connsiteX29084" fmla="*/ 3196093 w 4610101"/>
              <a:gd name="connsiteY29084" fmla="*/ 780742 h 6557032"/>
              <a:gd name="connsiteX29085" fmla="*/ 3207027 w 4610101"/>
              <a:gd name="connsiteY29085" fmla="*/ 775275 h 6557032"/>
              <a:gd name="connsiteX29086" fmla="*/ 3205204 w 4610101"/>
              <a:gd name="connsiteY29086" fmla="*/ 766164 h 6557032"/>
              <a:gd name="connsiteX29087" fmla="*/ 1155259 w 4610101"/>
              <a:gd name="connsiteY29087" fmla="*/ 766164 h 6557032"/>
              <a:gd name="connsiteX29088" fmla="*/ 1153436 w 4610101"/>
              <a:gd name="connsiteY29088" fmla="*/ 767987 h 6557032"/>
              <a:gd name="connsiteX29089" fmla="*/ 1158903 w 4610101"/>
              <a:gd name="connsiteY29089" fmla="*/ 767987 h 6557032"/>
              <a:gd name="connsiteX29090" fmla="*/ 1155259 w 4610101"/>
              <a:gd name="connsiteY29090" fmla="*/ 766164 h 6557032"/>
              <a:gd name="connsiteX29091" fmla="*/ 1004018 w 4610101"/>
              <a:gd name="connsiteY29091" fmla="*/ 766164 h 6557032"/>
              <a:gd name="connsiteX29092" fmla="*/ 989441 w 4610101"/>
              <a:gd name="connsiteY29092" fmla="*/ 782564 h 6557032"/>
              <a:gd name="connsiteX29093" fmla="*/ 1004018 w 4610101"/>
              <a:gd name="connsiteY29093" fmla="*/ 766164 h 6557032"/>
              <a:gd name="connsiteX29094" fmla="*/ 732515 w 4610101"/>
              <a:gd name="connsiteY29094" fmla="*/ 766164 h 6557032"/>
              <a:gd name="connsiteX29095" fmla="*/ 734336 w 4610101"/>
              <a:gd name="connsiteY29095" fmla="*/ 780742 h 6557032"/>
              <a:gd name="connsiteX29096" fmla="*/ 732515 w 4610101"/>
              <a:gd name="connsiteY29096" fmla="*/ 766164 h 6557032"/>
              <a:gd name="connsiteX29097" fmla="*/ 723404 w 4610101"/>
              <a:gd name="connsiteY29097" fmla="*/ 766164 h 6557032"/>
              <a:gd name="connsiteX29098" fmla="*/ 730692 w 4610101"/>
              <a:gd name="connsiteY29098" fmla="*/ 782564 h 6557032"/>
              <a:gd name="connsiteX29099" fmla="*/ 723404 w 4610101"/>
              <a:gd name="connsiteY29099" fmla="*/ 766164 h 6557032"/>
              <a:gd name="connsiteX29100" fmla="*/ 577630 w 4610101"/>
              <a:gd name="connsiteY29100" fmla="*/ 766164 h 6557032"/>
              <a:gd name="connsiteX29101" fmla="*/ 581274 w 4610101"/>
              <a:gd name="connsiteY29101" fmla="*/ 767987 h 6557032"/>
              <a:gd name="connsiteX29102" fmla="*/ 581780 w 4610101"/>
              <a:gd name="connsiteY29102" fmla="*/ 771145 h 6557032"/>
              <a:gd name="connsiteX29103" fmla="*/ 577630 w 4610101"/>
              <a:gd name="connsiteY29103" fmla="*/ 766164 h 6557032"/>
              <a:gd name="connsiteX29104" fmla="*/ 577630 w 4610101"/>
              <a:gd name="connsiteY29104" fmla="*/ 769809 h 6557032"/>
              <a:gd name="connsiteX29105" fmla="*/ 582185 w 4610101"/>
              <a:gd name="connsiteY29105" fmla="*/ 773681 h 6557032"/>
              <a:gd name="connsiteX29106" fmla="*/ 581780 w 4610101"/>
              <a:gd name="connsiteY29106" fmla="*/ 771145 h 6557032"/>
              <a:gd name="connsiteX29107" fmla="*/ 586741 w 4610101"/>
              <a:gd name="connsiteY29107" fmla="*/ 777098 h 6557032"/>
              <a:gd name="connsiteX29108" fmla="*/ 588562 w 4610101"/>
              <a:gd name="connsiteY29108" fmla="*/ 775275 h 6557032"/>
              <a:gd name="connsiteX29109" fmla="*/ 601318 w 4610101"/>
              <a:gd name="connsiteY29109" fmla="*/ 789853 h 6557032"/>
              <a:gd name="connsiteX29110" fmla="*/ 597673 w 4610101"/>
              <a:gd name="connsiteY29110" fmla="*/ 775275 h 6557032"/>
              <a:gd name="connsiteX29111" fmla="*/ 595852 w 4610101"/>
              <a:gd name="connsiteY29111" fmla="*/ 778920 h 6557032"/>
              <a:gd name="connsiteX29112" fmla="*/ 577630 w 4610101"/>
              <a:gd name="connsiteY29112" fmla="*/ 766164 h 6557032"/>
              <a:gd name="connsiteX29113" fmla="*/ 486521 w 4610101"/>
              <a:gd name="connsiteY29113" fmla="*/ 766164 h 6557032"/>
              <a:gd name="connsiteX29114" fmla="*/ 495632 w 4610101"/>
              <a:gd name="connsiteY29114" fmla="*/ 778920 h 6557032"/>
              <a:gd name="connsiteX29115" fmla="*/ 486521 w 4610101"/>
              <a:gd name="connsiteY29115" fmla="*/ 766164 h 6557032"/>
              <a:gd name="connsiteX29116" fmla="*/ 326169 w 4610101"/>
              <a:gd name="connsiteY29116" fmla="*/ 766164 h 6557032"/>
              <a:gd name="connsiteX29117" fmla="*/ 324347 w 4610101"/>
              <a:gd name="connsiteY29117" fmla="*/ 777098 h 6557032"/>
              <a:gd name="connsiteX29118" fmla="*/ 326169 w 4610101"/>
              <a:gd name="connsiteY29118" fmla="*/ 775275 h 6557032"/>
              <a:gd name="connsiteX29119" fmla="*/ 333458 w 4610101"/>
              <a:gd name="connsiteY29119" fmla="*/ 786208 h 6557032"/>
              <a:gd name="connsiteX29120" fmla="*/ 326169 w 4610101"/>
              <a:gd name="connsiteY29120" fmla="*/ 766164 h 6557032"/>
              <a:gd name="connsiteX29121" fmla="*/ 313414 w 4610101"/>
              <a:gd name="connsiteY29121" fmla="*/ 766164 h 6557032"/>
              <a:gd name="connsiteX29122" fmla="*/ 318882 w 4610101"/>
              <a:gd name="connsiteY29122" fmla="*/ 778920 h 6557032"/>
              <a:gd name="connsiteX29123" fmla="*/ 313414 w 4610101"/>
              <a:gd name="connsiteY29123" fmla="*/ 766164 h 6557032"/>
              <a:gd name="connsiteX29124" fmla="*/ 300660 w 4610101"/>
              <a:gd name="connsiteY29124" fmla="*/ 766164 h 6557032"/>
              <a:gd name="connsiteX29125" fmla="*/ 315236 w 4610101"/>
              <a:gd name="connsiteY29125" fmla="*/ 782564 h 6557032"/>
              <a:gd name="connsiteX29126" fmla="*/ 300660 w 4610101"/>
              <a:gd name="connsiteY29126" fmla="*/ 766164 h 6557032"/>
              <a:gd name="connsiteX29127" fmla="*/ 286082 w 4610101"/>
              <a:gd name="connsiteY29127" fmla="*/ 766164 h 6557032"/>
              <a:gd name="connsiteX29128" fmla="*/ 302481 w 4610101"/>
              <a:gd name="connsiteY29128" fmla="*/ 788031 h 6557032"/>
              <a:gd name="connsiteX29129" fmla="*/ 286082 w 4610101"/>
              <a:gd name="connsiteY29129" fmla="*/ 766164 h 6557032"/>
              <a:gd name="connsiteX29130" fmla="*/ 240527 w 4610101"/>
              <a:gd name="connsiteY29130" fmla="*/ 766164 h 6557032"/>
              <a:gd name="connsiteX29131" fmla="*/ 242349 w 4610101"/>
              <a:gd name="connsiteY29131" fmla="*/ 771631 h 6557032"/>
              <a:gd name="connsiteX29132" fmla="*/ 236883 w 4610101"/>
              <a:gd name="connsiteY29132" fmla="*/ 767987 h 6557032"/>
              <a:gd name="connsiteX29133" fmla="*/ 240527 w 4610101"/>
              <a:gd name="connsiteY29133" fmla="*/ 766164 h 6557032"/>
              <a:gd name="connsiteX29134" fmla="*/ 227772 w 4610101"/>
              <a:gd name="connsiteY29134" fmla="*/ 766164 h 6557032"/>
              <a:gd name="connsiteX29135" fmla="*/ 233239 w 4610101"/>
              <a:gd name="connsiteY29135" fmla="*/ 771631 h 6557032"/>
              <a:gd name="connsiteX29136" fmla="*/ 227772 w 4610101"/>
              <a:gd name="connsiteY29136" fmla="*/ 766164 h 6557032"/>
              <a:gd name="connsiteX29137" fmla="*/ 342399 w 4610101"/>
              <a:gd name="connsiteY29137" fmla="*/ 765738 h 6557032"/>
              <a:gd name="connsiteX29138" fmla="*/ 338926 w 4610101"/>
              <a:gd name="connsiteY29138" fmla="*/ 767987 h 6557032"/>
              <a:gd name="connsiteX29139" fmla="*/ 343252 w 4610101"/>
              <a:gd name="connsiteY29139" fmla="*/ 786209 h 6557032"/>
              <a:gd name="connsiteX29140" fmla="*/ 351537 w 4610101"/>
              <a:gd name="connsiteY29140" fmla="*/ 791667 h 6557032"/>
              <a:gd name="connsiteX29141" fmla="*/ 353957 w 4610101"/>
              <a:gd name="connsiteY29141" fmla="*/ 794181 h 6557032"/>
              <a:gd name="connsiteX29142" fmla="*/ 362613 w 4610101"/>
              <a:gd name="connsiteY29142" fmla="*/ 798964 h 6557032"/>
              <a:gd name="connsiteX29143" fmla="*/ 351537 w 4610101"/>
              <a:gd name="connsiteY29143" fmla="*/ 791667 h 6557032"/>
              <a:gd name="connsiteX29144" fmla="*/ 348037 w 4610101"/>
              <a:gd name="connsiteY29144" fmla="*/ 788031 h 6557032"/>
              <a:gd name="connsiteX29145" fmla="*/ 351680 w 4610101"/>
              <a:gd name="connsiteY29145" fmla="*/ 786208 h 6557032"/>
              <a:gd name="connsiteX29146" fmla="*/ 340747 w 4610101"/>
              <a:gd name="connsiteY29146" fmla="*/ 775275 h 6557032"/>
              <a:gd name="connsiteX29147" fmla="*/ 354185 w 4610101"/>
              <a:gd name="connsiteY29147" fmla="*/ 788486 h 6557032"/>
              <a:gd name="connsiteX29148" fmla="*/ 359184 w 4610101"/>
              <a:gd name="connsiteY29148" fmla="*/ 791473 h 6557032"/>
              <a:gd name="connsiteX29149" fmla="*/ 359196 w 4610101"/>
              <a:gd name="connsiteY29149" fmla="*/ 791675 h 6557032"/>
              <a:gd name="connsiteX29150" fmla="*/ 361598 w 4610101"/>
              <a:gd name="connsiteY29150" fmla="*/ 792915 h 6557032"/>
              <a:gd name="connsiteX29151" fmla="*/ 371724 w 4610101"/>
              <a:gd name="connsiteY29151" fmla="*/ 798964 h 6557032"/>
              <a:gd name="connsiteX29152" fmla="*/ 366257 w 4610101"/>
              <a:gd name="connsiteY29152" fmla="*/ 795319 h 6557032"/>
              <a:gd name="connsiteX29153" fmla="*/ 377190 w 4610101"/>
              <a:gd name="connsiteY29153" fmla="*/ 798964 h 6557032"/>
              <a:gd name="connsiteX29154" fmla="*/ 364435 w 4610101"/>
              <a:gd name="connsiteY29154" fmla="*/ 793497 h 6557032"/>
              <a:gd name="connsiteX29155" fmla="*/ 366257 w 4610101"/>
              <a:gd name="connsiteY29155" fmla="*/ 795319 h 6557032"/>
              <a:gd name="connsiteX29156" fmla="*/ 361598 w 4610101"/>
              <a:gd name="connsiteY29156" fmla="*/ 792915 h 6557032"/>
              <a:gd name="connsiteX29157" fmla="*/ 359184 w 4610101"/>
              <a:gd name="connsiteY29157" fmla="*/ 791473 h 6557032"/>
              <a:gd name="connsiteX29158" fmla="*/ 358969 w 4610101"/>
              <a:gd name="connsiteY29158" fmla="*/ 788031 h 6557032"/>
              <a:gd name="connsiteX29159" fmla="*/ 380835 w 4610101"/>
              <a:gd name="connsiteY29159" fmla="*/ 797141 h 6557032"/>
              <a:gd name="connsiteX29160" fmla="*/ 380835 w 4610101"/>
              <a:gd name="connsiteY29160" fmla="*/ 791675 h 6557032"/>
              <a:gd name="connsiteX29161" fmla="*/ 395412 w 4610101"/>
              <a:gd name="connsiteY29161" fmla="*/ 797141 h 6557032"/>
              <a:gd name="connsiteX29162" fmla="*/ 386301 w 4610101"/>
              <a:gd name="connsiteY29162" fmla="*/ 791675 h 6557032"/>
              <a:gd name="connsiteX29163" fmla="*/ 391768 w 4610101"/>
              <a:gd name="connsiteY29163" fmla="*/ 793497 h 6557032"/>
              <a:gd name="connsiteX29164" fmla="*/ 382657 w 4610101"/>
              <a:gd name="connsiteY29164" fmla="*/ 784386 h 6557032"/>
              <a:gd name="connsiteX29165" fmla="*/ 391768 w 4610101"/>
              <a:gd name="connsiteY29165" fmla="*/ 789853 h 6557032"/>
              <a:gd name="connsiteX29166" fmla="*/ 362613 w 4610101"/>
              <a:gd name="connsiteY29166" fmla="*/ 767987 h 6557032"/>
              <a:gd name="connsiteX29167" fmla="*/ 364435 w 4610101"/>
              <a:gd name="connsiteY29167" fmla="*/ 771631 h 6557032"/>
              <a:gd name="connsiteX29168" fmla="*/ 348946 w 4610101"/>
              <a:gd name="connsiteY29168" fmla="*/ 767759 h 6557032"/>
              <a:gd name="connsiteX29169" fmla="*/ 342399 w 4610101"/>
              <a:gd name="connsiteY29169" fmla="*/ 765738 h 6557032"/>
              <a:gd name="connsiteX29170" fmla="*/ 430489 w 4610101"/>
              <a:gd name="connsiteY29170" fmla="*/ 765026 h 6557032"/>
              <a:gd name="connsiteX29171" fmla="*/ 427300 w 4610101"/>
              <a:gd name="connsiteY29171" fmla="*/ 765710 h 6557032"/>
              <a:gd name="connsiteX29172" fmla="*/ 426389 w 4610101"/>
              <a:gd name="connsiteY29172" fmla="*/ 775275 h 6557032"/>
              <a:gd name="connsiteX29173" fmla="*/ 437322 w 4610101"/>
              <a:gd name="connsiteY29173" fmla="*/ 782564 h 6557032"/>
              <a:gd name="connsiteX29174" fmla="*/ 430034 w 4610101"/>
              <a:gd name="connsiteY29174" fmla="*/ 773453 h 6557032"/>
              <a:gd name="connsiteX29175" fmla="*/ 435500 w 4610101"/>
              <a:gd name="connsiteY29175" fmla="*/ 777098 h 6557032"/>
              <a:gd name="connsiteX29176" fmla="*/ 431856 w 4610101"/>
              <a:gd name="connsiteY29176" fmla="*/ 769809 h 6557032"/>
              <a:gd name="connsiteX29177" fmla="*/ 433678 w 4610101"/>
              <a:gd name="connsiteY29177" fmla="*/ 769809 h 6557032"/>
              <a:gd name="connsiteX29178" fmla="*/ 430489 w 4610101"/>
              <a:gd name="connsiteY29178" fmla="*/ 765026 h 6557032"/>
              <a:gd name="connsiteX29179" fmla="*/ 2744194 w 4610101"/>
              <a:gd name="connsiteY29179" fmla="*/ 764342 h 6557032"/>
              <a:gd name="connsiteX29180" fmla="*/ 2731439 w 4610101"/>
              <a:gd name="connsiteY29180" fmla="*/ 769809 h 6557032"/>
              <a:gd name="connsiteX29181" fmla="*/ 2746016 w 4610101"/>
              <a:gd name="connsiteY29181" fmla="*/ 778920 h 6557032"/>
              <a:gd name="connsiteX29182" fmla="*/ 2744194 w 4610101"/>
              <a:gd name="connsiteY29182" fmla="*/ 764342 h 6557032"/>
              <a:gd name="connsiteX29183" fmla="*/ 1468673 w 4610101"/>
              <a:gd name="connsiteY29183" fmla="*/ 764342 h 6557032"/>
              <a:gd name="connsiteX29184" fmla="*/ 1474139 w 4610101"/>
              <a:gd name="connsiteY29184" fmla="*/ 767987 h 6557032"/>
              <a:gd name="connsiteX29185" fmla="*/ 1475961 w 4610101"/>
              <a:gd name="connsiteY29185" fmla="*/ 764342 h 6557032"/>
              <a:gd name="connsiteX29186" fmla="*/ 1474196 w 4610101"/>
              <a:gd name="connsiteY29186" fmla="*/ 768499 h 6557032"/>
              <a:gd name="connsiteX29187" fmla="*/ 1470470 w 4610101"/>
              <a:gd name="connsiteY29187" fmla="*/ 771533 h 6557032"/>
              <a:gd name="connsiteX29188" fmla="*/ 1107882 w 4610101"/>
              <a:gd name="connsiteY29188" fmla="*/ 764342 h 6557032"/>
              <a:gd name="connsiteX29189" fmla="*/ 1102416 w 4610101"/>
              <a:gd name="connsiteY29189" fmla="*/ 771631 h 6557032"/>
              <a:gd name="connsiteX29190" fmla="*/ 1106060 w 4610101"/>
              <a:gd name="connsiteY29190" fmla="*/ 773453 h 6557032"/>
              <a:gd name="connsiteX29191" fmla="*/ 1107882 w 4610101"/>
              <a:gd name="connsiteY29191" fmla="*/ 764342 h 6557032"/>
              <a:gd name="connsiteX29192" fmla="*/ 931131 w 4610101"/>
              <a:gd name="connsiteY29192" fmla="*/ 764342 h 6557032"/>
              <a:gd name="connsiteX29193" fmla="*/ 932953 w 4610101"/>
              <a:gd name="connsiteY29193" fmla="*/ 782564 h 6557032"/>
              <a:gd name="connsiteX29194" fmla="*/ 931131 w 4610101"/>
              <a:gd name="connsiteY29194" fmla="*/ 764342 h 6557032"/>
              <a:gd name="connsiteX29195" fmla="*/ 783535 w 4610101"/>
              <a:gd name="connsiteY29195" fmla="*/ 764342 h 6557032"/>
              <a:gd name="connsiteX29196" fmla="*/ 783535 w 4610101"/>
              <a:gd name="connsiteY29196" fmla="*/ 767987 h 6557032"/>
              <a:gd name="connsiteX29197" fmla="*/ 787179 w 4610101"/>
              <a:gd name="connsiteY29197" fmla="*/ 766164 h 6557032"/>
              <a:gd name="connsiteX29198" fmla="*/ 783535 w 4610101"/>
              <a:gd name="connsiteY29198" fmla="*/ 764342 h 6557032"/>
              <a:gd name="connsiteX29199" fmla="*/ 167640 w 4610101"/>
              <a:gd name="connsiteY29199" fmla="*/ 764342 h 6557032"/>
              <a:gd name="connsiteX29200" fmla="*/ 170374 w 4610101"/>
              <a:gd name="connsiteY29200" fmla="*/ 766530 h 6557032"/>
              <a:gd name="connsiteX29201" fmla="*/ 169690 w 4610101"/>
              <a:gd name="connsiteY29201" fmla="*/ 766165 h 6557032"/>
              <a:gd name="connsiteX29202" fmla="*/ 167640 w 4610101"/>
              <a:gd name="connsiteY29202" fmla="*/ 764342 h 6557032"/>
              <a:gd name="connsiteX29203" fmla="*/ 1163458 w 4610101"/>
              <a:gd name="connsiteY29203" fmla="*/ 763887 h 6557032"/>
              <a:gd name="connsiteX29204" fmla="*/ 1158903 w 4610101"/>
              <a:gd name="connsiteY29204" fmla="*/ 764342 h 6557032"/>
              <a:gd name="connsiteX29205" fmla="*/ 1168014 w 4610101"/>
              <a:gd name="connsiteY29205" fmla="*/ 766164 h 6557032"/>
              <a:gd name="connsiteX29206" fmla="*/ 1163458 w 4610101"/>
              <a:gd name="connsiteY29206" fmla="*/ 763887 h 6557032"/>
              <a:gd name="connsiteX29207" fmla="*/ 1344372 w 4610101"/>
              <a:gd name="connsiteY29207" fmla="*/ 763727 h 6557032"/>
              <a:gd name="connsiteX29208" fmla="*/ 1342032 w 4610101"/>
              <a:gd name="connsiteY29208" fmla="*/ 765481 h 6557032"/>
              <a:gd name="connsiteX29209" fmla="*/ 1341207 w 4610101"/>
              <a:gd name="connsiteY29209" fmla="*/ 765570 h 6557032"/>
              <a:gd name="connsiteX29210" fmla="*/ 1342487 w 4610101"/>
              <a:gd name="connsiteY29210" fmla="*/ 764115 h 6557032"/>
              <a:gd name="connsiteX29211" fmla="*/ 3234359 w 4610101"/>
              <a:gd name="connsiteY29211" fmla="*/ 762520 h 6557032"/>
              <a:gd name="connsiteX29212" fmla="*/ 3234359 w 4610101"/>
              <a:gd name="connsiteY29212" fmla="*/ 775275 h 6557032"/>
              <a:gd name="connsiteX29213" fmla="*/ 3234359 w 4610101"/>
              <a:gd name="connsiteY29213" fmla="*/ 762520 h 6557032"/>
              <a:gd name="connsiteX29214" fmla="*/ 1093305 w 4610101"/>
              <a:gd name="connsiteY29214" fmla="*/ 762520 h 6557032"/>
              <a:gd name="connsiteX29215" fmla="*/ 1096949 w 4610101"/>
              <a:gd name="connsiteY29215" fmla="*/ 766164 h 6557032"/>
              <a:gd name="connsiteX29216" fmla="*/ 1100593 w 4610101"/>
              <a:gd name="connsiteY29216" fmla="*/ 762520 h 6557032"/>
              <a:gd name="connsiteX29217" fmla="*/ 1093305 w 4610101"/>
              <a:gd name="connsiteY29217" fmla="*/ 762520 h 6557032"/>
              <a:gd name="connsiteX29218" fmla="*/ 1091484 w 4610101"/>
              <a:gd name="connsiteY29218" fmla="*/ 762520 h 6557032"/>
              <a:gd name="connsiteX29219" fmla="*/ 1091484 w 4610101"/>
              <a:gd name="connsiteY29219" fmla="*/ 764342 h 6557032"/>
              <a:gd name="connsiteX29220" fmla="*/ 1095127 w 4610101"/>
              <a:gd name="connsiteY29220" fmla="*/ 769809 h 6557032"/>
              <a:gd name="connsiteX29221" fmla="*/ 1096949 w 4610101"/>
              <a:gd name="connsiteY29221" fmla="*/ 767987 h 6557032"/>
              <a:gd name="connsiteX29222" fmla="*/ 1091484 w 4610101"/>
              <a:gd name="connsiteY29222" fmla="*/ 762520 h 6557032"/>
              <a:gd name="connsiteX29223" fmla="*/ 1009485 w 4610101"/>
              <a:gd name="connsiteY29223" fmla="*/ 762520 h 6557032"/>
              <a:gd name="connsiteX29224" fmla="*/ 1013129 w 4610101"/>
              <a:gd name="connsiteY29224" fmla="*/ 767987 h 6557032"/>
              <a:gd name="connsiteX29225" fmla="*/ 1009485 w 4610101"/>
              <a:gd name="connsiteY29225" fmla="*/ 762520 h 6557032"/>
              <a:gd name="connsiteX29226" fmla="*/ 803579 w 4610101"/>
              <a:gd name="connsiteY29226" fmla="*/ 762520 h 6557032"/>
              <a:gd name="connsiteX29227" fmla="*/ 805401 w 4610101"/>
              <a:gd name="connsiteY29227" fmla="*/ 766164 h 6557032"/>
              <a:gd name="connsiteX29228" fmla="*/ 812690 w 4610101"/>
              <a:gd name="connsiteY29228" fmla="*/ 762520 h 6557032"/>
              <a:gd name="connsiteX29229" fmla="*/ 803579 w 4610101"/>
              <a:gd name="connsiteY29229" fmla="*/ 762520 h 6557032"/>
              <a:gd name="connsiteX29230" fmla="*/ 703359 w 4610101"/>
              <a:gd name="connsiteY29230" fmla="*/ 762520 h 6557032"/>
              <a:gd name="connsiteX29231" fmla="*/ 708826 w 4610101"/>
              <a:gd name="connsiteY29231" fmla="*/ 773453 h 6557032"/>
              <a:gd name="connsiteX29232" fmla="*/ 710648 w 4610101"/>
              <a:gd name="connsiteY29232" fmla="*/ 769809 h 6557032"/>
              <a:gd name="connsiteX29233" fmla="*/ 717937 w 4610101"/>
              <a:gd name="connsiteY29233" fmla="*/ 778920 h 6557032"/>
              <a:gd name="connsiteX29234" fmla="*/ 719759 w 4610101"/>
              <a:gd name="connsiteY29234" fmla="*/ 771631 h 6557032"/>
              <a:gd name="connsiteX29235" fmla="*/ 723404 w 4610101"/>
              <a:gd name="connsiteY29235" fmla="*/ 780742 h 6557032"/>
              <a:gd name="connsiteX29236" fmla="*/ 721581 w 4610101"/>
              <a:gd name="connsiteY29236" fmla="*/ 769809 h 6557032"/>
              <a:gd name="connsiteX29237" fmla="*/ 719759 w 4610101"/>
              <a:gd name="connsiteY29237" fmla="*/ 771631 h 6557032"/>
              <a:gd name="connsiteX29238" fmla="*/ 703359 w 4610101"/>
              <a:gd name="connsiteY29238" fmla="*/ 762520 h 6557032"/>
              <a:gd name="connsiteX29239" fmla="*/ 501098 w 4610101"/>
              <a:gd name="connsiteY29239" fmla="*/ 762520 h 6557032"/>
              <a:gd name="connsiteX29240" fmla="*/ 512031 w 4610101"/>
              <a:gd name="connsiteY29240" fmla="*/ 771631 h 6557032"/>
              <a:gd name="connsiteX29241" fmla="*/ 501098 w 4610101"/>
              <a:gd name="connsiteY29241" fmla="*/ 762520 h 6557032"/>
              <a:gd name="connsiteX29242" fmla="*/ 233239 w 4610101"/>
              <a:gd name="connsiteY29242" fmla="*/ 762520 h 6557032"/>
              <a:gd name="connsiteX29243" fmla="*/ 242349 w 4610101"/>
              <a:gd name="connsiteY29243" fmla="*/ 771631 h 6557032"/>
              <a:gd name="connsiteX29244" fmla="*/ 247816 w 4610101"/>
              <a:gd name="connsiteY29244" fmla="*/ 769809 h 6557032"/>
              <a:gd name="connsiteX29245" fmla="*/ 233239 w 4610101"/>
              <a:gd name="connsiteY29245" fmla="*/ 762520 h 6557032"/>
              <a:gd name="connsiteX29246" fmla="*/ 215017 w 4610101"/>
              <a:gd name="connsiteY29246" fmla="*/ 762520 h 6557032"/>
              <a:gd name="connsiteX29247" fmla="*/ 220483 w 4610101"/>
              <a:gd name="connsiteY29247" fmla="*/ 767987 h 6557032"/>
              <a:gd name="connsiteX29248" fmla="*/ 215017 w 4610101"/>
              <a:gd name="connsiteY29248" fmla="*/ 762520 h 6557032"/>
              <a:gd name="connsiteX29249" fmla="*/ 194151 w 4610101"/>
              <a:gd name="connsiteY29249" fmla="*/ 760876 h 6557032"/>
              <a:gd name="connsiteX29250" fmla="*/ 199245 w 4610101"/>
              <a:gd name="connsiteY29250" fmla="*/ 769014 h 6557032"/>
              <a:gd name="connsiteX29251" fmla="*/ 196340 w 4610101"/>
              <a:gd name="connsiteY29251" fmla="*/ 765254 h 6557032"/>
              <a:gd name="connsiteX29252" fmla="*/ 3212493 w 4610101"/>
              <a:gd name="connsiteY29252" fmla="*/ 760698 h 6557032"/>
              <a:gd name="connsiteX29253" fmla="*/ 3207027 w 4610101"/>
              <a:gd name="connsiteY29253" fmla="*/ 762520 h 6557032"/>
              <a:gd name="connsiteX29254" fmla="*/ 3212493 w 4610101"/>
              <a:gd name="connsiteY29254" fmla="*/ 760698 h 6557032"/>
              <a:gd name="connsiteX29255" fmla="*/ 3106807 w 4610101"/>
              <a:gd name="connsiteY29255" fmla="*/ 760698 h 6557032"/>
              <a:gd name="connsiteX29256" fmla="*/ 3106807 w 4610101"/>
              <a:gd name="connsiteY29256" fmla="*/ 767987 h 6557032"/>
              <a:gd name="connsiteX29257" fmla="*/ 3114096 w 4610101"/>
              <a:gd name="connsiteY29257" fmla="*/ 767987 h 6557032"/>
              <a:gd name="connsiteX29258" fmla="*/ 3106807 w 4610101"/>
              <a:gd name="connsiteY29258" fmla="*/ 760698 h 6557032"/>
              <a:gd name="connsiteX29259" fmla="*/ 1397608 w 4610101"/>
              <a:gd name="connsiteY29259" fmla="*/ 760698 h 6557032"/>
              <a:gd name="connsiteX29260" fmla="*/ 1393963 w 4610101"/>
              <a:gd name="connsiteY29260" fmla="*/ 771631 h 6557032"/>
              <a:gd name="connsiteX29261" fmla="*/ 1397608 w 4610101"/>
              <a:gd name="connsiteY29261" fmla="*/ 760698 h 6557032"/>
              <a:gd name="connsiteX29262" fmla="*/ 685138 w 4610101"/>
              <a:gd name="connsiteY29262" fmla="*/ 760698 h 6557032"/>
              <a:gd name="connsiteX29263" fmla="*/ 696071 w 4610101"/>
              <a:gd name="connsiteY29263" fmla="*/ 771631 h 6557032"/>
              <a:gd name="connsiteX29264" fmla="*/ 696071 w 4610101"/>
              <a:gd name="connsiteY29264" fmla="*/ 762520 h 6557032"/>
              <a:gd name="connsiteX29265" fmla="*/ 685138 w 4610101"/>
              <a:gd name="connsiteY29265" fmla="*/ 760698 h 6557032"/>
              <a:gd name="connsiteX29266" fmla="*/ 612251 w 4610101"/>
              <a:gd name="connsiteY29266" fmla="*/ 760698 h 6557032"/>
              <a:gd name="connsiteX29267" fmla="*/ 614074 w 4610101"/>
              <a:gd name="connsiteY29267" fmla="*/ 771631 h 6557032"/>
              <a:gd name="connsiteX29268" fmla="*/ 617717 w 4610101"/>
              <a:gd name="connsiteY29268" fmla="*/ 767987 h 6557032"/>
              <a:gd name="connsiteX29269" fmla="*/ 612251 w 4610101"/>
              <a:gd name="connsiteY29269" fmla="*/ 760698 h 6557032"/>
              <a:gd name="connsiteX29270" fmla="*/ 553941 w 4610101"/>
              <a:gd name="connsiteY29270" fmla="*/ 760698 h 6557032"/>
              <a:gd name="connsiteX29271" fmla="*/ 548475 w 4610101"/>
              <a:gd name="connsiteY29271" fmla="*/ 762520 h 6557032"/>
              <a:gd name="connsiteX29272" fmla="*/ 553941 w 4610101"/>
              <a:gd name="connsiteY29272" fmla="*/ 760698 h 6557032"/>
              <a:gd name="connsiteX29273" fmla="*/ 333458 w 4610101"/>
              <a:gd name="connsiteY29273" fmla="*/ 760698 h 6557032"/>
              <a:gd name="connsiteX29274" fmla="*/ 337102 w 4610101"/>
              <a:gd name="connsiteY29274" fmla="*/ 764342 h 6557032"/>
              <a:gd name="connsiteX29275" fmla="*/ 333458 w 4610101"/>
              <a:gd name="connsiteY29275" fmla="*/ 760698 h 6557032"/>
              <a:gd name="connsiteX29276" fmla="*/ 149805 w 4610101"/>
              <a:gd name="connsiteY29276" fmla="*/ 759198 h 6557032"/>
              <a:gd name="connsiteX29277" fmla="*/ 150603 w 4610101"/>
              <a:gd name="connsiteY29277" fmla="*/ 759863 h 6557032"/>
              <a:gd name="connsiteX29278" fmla="*/ 150604 w 4610101"/>
              <a:gd name="connsiteY29278" fmla="*/ 759864 h 6557032"/>
              <a:gd name="connsiteX29279" fmla="*/ 1286455 w 4610101"/>
              <a:gd name="connsiteY29279" fmla="*/ 758876 h 6557032"/>
              <a:gd name="connsiteX29280" fmla="*/ 1260945 w 4610101"/>
              <a:gd name="connsiteY29280" fmla="*/ 767987 h 6557032"/>
              <a:gd name="connsiteX29281" fmla="*/ 1262767 w 4610101"/>
              <a:gd name="connsiteY29281" fmla="*/ 771631 h 6557032"/>
              <a:gd name="connsiteX29282" fmla="*/ 1266411 w 4610101"/>
              <a:gd name="connsiteY29282" fmla="*/ 771631 h 6557032"/>
              <a:gd name="connsiteX29283" fmla="*/ 1266411 w 4610101"/>
              <a:gd name="connsiteY29283" fmla="*/ 766164 h 6557032"/>
              <a:gd name="connsiteX29284" fmla="*/ 1270056 w 4610101"/>
              <a:gd name="connsiteY29284" fmla="*/ 771631 h 6557032"/>
              <a:gd name="connsiteX29285" fmla="*/ 1286455 w 4610101"/>
              <a:gd name="connsiteY29285" fmla="*/ 758876 h 6557032"/>
              <a:gd name="connsiteX29286" fmla="*/ 982152 w 4610101"/>
              <a:gd name="connsiteY29286" fmla="*/ 758876 h 6557032"/>
              <a:gd name="connsiteX29287" fmla="*/ 963930 w 4610101"/>
              <a:gd name="connsiteY29287" fmla="*/ 786208 h 6557032"/>
              <a:gd name="connsiteX29288" fmla="*/ 967575 w 4610101"/>
              <a:gd name="connsiteY29288" fmla="*/ 784386 h 6557032"/>
              <a:gd name="connsiteX29289" fmla="*/ 969397 w 4610101"/>
              <a:gd name="connsiteY29289" fmla="*/ 777098 h 6557032"/>
              <a:gd name="connsiteX29290" fmla="*/ 971219 w 4610101"/>
              <a:gd name="connsiteY29290" fmla="*/ 782564 h 6557032"/>
              <a:gd name="connsiteX29291" fmla="*/ 989441 w 4610101"/>
              <a:gd name="connsiteY29291" fmla="*/ 758876 h 6557032"/>
              <a:gd name="connsiteX29292" fmla="*/ 985796 w 4610101"/>
              <a:gd name="connsiteY29292" fmla="*/ 758876 h 6557032"/>
              <a:gd name="connsiteX29293" fmla="*/ 982152 w 4610101"/>
              <a:gd name="connsiteY29293" fmla="*/ 758876 h 6557032"/>
              <a:gd name="connsiteX29294" fmla="*/ 852778 w 4610101"/>
              <a:gd name="connsiteY29294" fmla="*/ 758876 h 6557032"/>
              <a:gd name="connsiteX29295" fmla="*/ 860066 w 4610101"/>
              <a:gd name="connsiteY29295" fmla="*/ 764342 h 6557032"/>
              <a:gd name="connsiteX29296" fmla="*/ 852778 w 4610101"/>
              <a:gd name="connsiteY29296" fmla="*/ 758876 h 6557032"/>
              <a:gd name="connsiteX29297" fmla="*/ 564874 w 4610101"/>
              <a:gd name="connsiteY29297" fmla="*/ 758876 h 6557032"/>
              <a:gd name="connsiteX29298" fmla="*/ 564874 w 4610101"/>
              <a:gd name="connsiteY29298" fmla="*/ 762520 h 6557032"/>
              <a:gd name="connsiteX29299" fmla="*/ 566697 w 4610101"/>
              <a:gd name="connsiteY29299" fmla="*/ 760698 h 6557032"/>
              <a:gd name="connsiteX29300" fmla="*/ 564874 w 4610101"/>
              <a:gd name="connsiteY29300" fmla="*/ 758876 h 6557032"/>
              <a:gd name="connsiteX29301" fmla="*/ 451899 w 4610101"/>
              <a:gd name="connsiteY29301" fmla="*/ 758876 h 6557032"/>
              <a:gd name="connsiteX29302" fmla="*/ 461010 w 4610101"/>
              <a:gd name="connsiteY29302" fmla="*/ 775275 h 6557032"/>
              <a:gd name="connsiteX29303" fmla="*/ 464655 w 4610101"/>
              <a:gd name="connsiteY29303" fmla="*/ 769809 h 6557032"/>
              <a:gd name="connsiteX29304" fmla="*/ 451899 w 4610101"/>
              <a:gd name="connsiteY29304" fmla="*/ 758876 h 6557032"/>
              <a:gd name="connsiteX29305" fmla="*/ 311592 w 4610101"/>
              <a:gd name="connsiteY29305" fmla="*/ 758876 h 6557032"/>
              <a:gd name="connsiteX29306" fmla="*/ 315236 w 4610101"/>
              <a:gd name="connsiteY29306" fmla="*/ 769809 h 6557032"/>
              <a:gd name="connsiteX29307" fmla="*/ 311592 w 4610101"/>
              <a:gd name="connsiteY29307" fmla="*/ 758876 h 6557032"/>
              <a:gd name="connsiteX29308" fmla="*/ 222306 w 4610101"/>
              <a:gd name="connsiteY29308" fmla="*/ 758876 h 6557032"/>
              <a:gd name="connsiteX29309" fmla="*/ 225950 w 4610101"/>
              <a:gd name="connsiteY29309" fmla="*/ 764342 h 6557032"/>
              <a:gd name="connsiteX29310" fmla="*/ 222306 w 4610101"/>
              <a:gd name="connsiteY29310" fmla="*/ 758876 h 6557032"/>
              <a:gd name="connsiteX29311" fmla="*/ 176751 w 4610101"/>
              <a:gd name="connsiteY29311" fmla="*/ 758876 h 6557032"/>
              <a:gd name="connsiteX29312" fmla="*/ 185862 w 4610101"/>
              <a:gd name="connsiteY29312" fmla="*/ 766164 h 6557032"/>
              <a:gd name="connsiteX29313" fmla="*/ 180248 w 4610101"/>
              <a:gd name="connsiteY29313" fmla="*/ 761985 h 6557032"/>
              <a:gd name="connsiteX29314" fmla="*/ 149419 w 4610101"/>
              <a:gd name="connsiteY29314" fmla="*/ 758876 h 6557032"/>
              <a:gd name="connsiteX29315" fmla="*/ 149805 w 4610101"/>
              <a:gd name="connsiteY29315" fmla="*/ 759198 h 6557032"/>
              <a:gd name="connsiteX29316" fmla="*/ 149421 w 4610101"/>
              <a:gd name="connsiteY29316" fmla="*/ 758877 h 6557032"/>
              <a:gd name="connsiteX29317" fmla="*/ 2334205 w 4610101"/>
              <a:gd name="connsiteY29317" fmla="*/ 757054 h 6557032"/>
              <a:gd name="connsiteX29318" fmla="*/ 2336027 w 4610101"/>
              <a:gd name="connsiteY29318" fmla="*/ 764342 h 6557032"/>
              <a:gd name="connsiteX29319" fmla="*/ 2337850 w 4610101"/>
              <a:gd name="connsiteY29319" fmla="*/ 764342 h 6557032"/>
              <a:gd name="connsiteX29320" fmla="*/ 2334205 w 4610101"/>
              <a:gd name="connsiteY29320" fmla="*/ 757054 h 6557032"/>
              <a:gd name="connsiteX29321" fmla="*/ 1421296 w 4610101"/>
              <a:gd name="connsiteY29321" fmla="*/ 757054 h 6557032"/>
              <a:gd name="connsiteX29322" fmla="*/ 1414690 w 4610101"/>
              <a:gd name="connsiteY29322" fmla="*/ 764343 h 6557032"/>
              <a:gd name="connsiteX29323" fmla="*/ 1408168 w 4610101"/>
              <a:gd name="connsiteY29323" fmla="*/ 770306 h 6557032"/>
              <a:gd name="connsiteX29324" fmla="*/ 1408541 w 4610101"/>
              <a:gd name="connsiteY29324" fmla="*/ 769809 h 6557032"/>
              <a:gd name="connsiteX29325" fmla="*/ 1395787 w 4610101"/>
              <a:gd name="connsiteY29325" fmla="*/ 778920 h 6557032"/>
              <a:gd name="connsiteX29326" fmla="*/ 1388497 w 4610101"/>
              <a:gd name="connsiteY29326" fmla="*/ 782564 h 6557032"/>
              <a:gd name="connsiteX29327" fmla="*/ 1393963 w 4610101"/>
              <a:gd name="connsiteY29327" fmla="*/ 784386 h 6557032"/>
              <a:gd name="connsiteX29328" fmla="*/ 1366632 w 4610101"/>
              <a:gd name="connsiteY29328" fmla="*/ 786208 h 6557032"/>
              <a:gd name="connsiteX29329" fmla="*/ 1359342 w 4610101"/>
              <a:gd name="connsiteY29329" fmla="*/ 795319 h 6557032"/>
              <a:gd name="connsiteX29330" fmla="*/ 1370275 w 4610101"/>
              <a:gd name="connsiteY29330" fmla="*/ 791675 h 6557032"/>
              <a:gd name="connsiteX29331" fmla="*/ 1364809 w 4610101"/>
              <a:gd name="connsiteY29331" fmla="*/ 795319 h 6557032"/>
              <a:gd name="connsiteX29332" fmla="*/ 1379386 w 4610101"/>
              <a:gd name="connsiteY29332" fmla="*/ 793497 h 6557032"/>
              <a:gd name="connsiteX29333" fmla="*/ 1377564 w 4610101"/>
              <a:gd name="connsiteY29333" fmla="*/ 797141 h 6557032"/>
              <a:gd name="connsiteX29334" fmla="*/ 1421296 w 4610101"/>
              <a:gd name="connsiteY29334" fmla="*/ 757054 h 6557032"/>
              <a:gd name="connsiteX29335" fmla="*/ 1357521 w 4610101"/>
              <a:gd name="connsiteY29335" fmla="*/ 757054 h 6557032"/>
              <a:gd name="connsiteX29336" fmla="*/ 1353876 w 4610101"/>
              <a:gd name="connsiteY29336" fmla="*/ 762520 h 6557032"/>
              <a:gd name="connsiteX29337" fmla="*/ 1357521 w 4610101"/>
              <a:gd name="connsiteY29337" fmla="*/ 757054 h 6557032"/>
              <a:gd name="connsiteX29338" fmla="*/ 1118815 w 4610101"/>
              <a:gd name="connsiteY29338" fmla="*/ 757054 h 6557032"/>
              <a:gd name="connsiteX29339" fmla="*/ 1109704 w 4610101"/>
              <a:gd name="connsiteY29339" fmla="*/ 766164 h 6557032"/>
              <a:gd name="connsiteX29340" fmla="*/ 1118815 w 4610101"/>
              <a:gd name="connsiteY29340" fmla="*/ 757054 h 6557032"/>
              <a:gd name="connsiteX29341" fmla="*/ 1100593 w 4610101"/>
              <a:gd name="connsiteY29341" fmla="*/ 757054 h 6557032"/>
              <a:gd name="connsiteX29342" fmla="*/ 1104238 w 4610101"/>
              <a:gd name="connsiteY29342" fmla="*/ 760698 h 6557032"/>
              <a:gd name="connsiteX29343" fmla="*/ 1100593 w 4610101"/>
              <a:gd name="connsiteY29343" fmla="*/ 757054 h 6557032"/>
              <a:gd name="connsiteX29344" fmla="*/ 993085 w 4610101"/>
              <a:gd name="connsiteY29344" fmla="*/ 757054 h 6557032"/>
              <a:gd name="connsiteX29345" fmla="*/ 987619 w 4610101"/>
              <a:gd name="connsiteY29345" fmla="*/ 771631 h 6557032"/>
              <a:gd name="connsiteX29346" fmla="*/ 1000374 w 4610101"/>
              <a:gd name="connsiteY29346" fmla="*/ 758876 h 6557032"/>
              <a:gd name="connsiteX29347" fmla="*/ 993085 w 4610101"/>
              <a:gd name="connsiteY29347" fmla="*/ 757054 h 6557032"/>
              <a:gd name="connsiteX29348" fmla="*/ 963930 w 4610101"/>
              <a:gd name="connsiteY29348" fmla="*/ 757054 h 6557032"/>
              <a:gd name="connsiteX29349" fmla="*/ 958464 w 4610101"/>
              <a:gd name="connsiteY29349" fmla="*/ 766164 h 6557032"/>
              <a:gd name="connsiteX29350" fmla="*/ 965753 w 4610101"/>
              <a:gd name="connsiteY29350" fmla="*/ 762520 h 6557032"/>
              <a:gd name="connsiteX29351" fmla="*/ 963930 w 4610101"/>
              <a:gd name="connsiteY29351" fmla="*/ 757054 h 6557032"/>
              <a:gd name="connsiteX29352" fmla="*/ 945709 w 4610101"/>
              <a:gd name="connsiteY29352" fmla="*/ 757054 h 6557032"/>
              <a:gd name="connsiteX29353" fmla="*/ 942064 w 4610101"/>
              <a:gd name="connsiteY29353" fmla="*/ 773453 h 6557032"/>
              <a:gd name="connsiteX29354" fmla="*/ 945709 w 4610101"/>
              <a:gd name="connsiteY29354" fmla="*/ 757054 h 6557032"/>
              <a:gd name="connsiteX29355" fmla="*/ 674205 w 4610101"/>
              <a:gd name="connsiteY29355" fmla="*/ 757054 h 6557032"/>
              <a:gd name="connsiteX29356" fmla="*/ 678761 w 4610101"/>
              <a:gd name="connsiteY29356" fmla="*/ 764343 h 6557032"/>
              <a:gd name="connsiteX29357" fmla="*/ 686587 w 4610101"/>
              <a:gd name="connsiteY29357" fmla="*/ 770035 h 6557032"/>
              <a:gd name="connsiteX29358" fmla="*/ 686504 w 4610101"/>
              <a:gd name="connsiteY29358" fmla="*/ 770493 h 6557032"/>
              <a:gd name="connsiteX29359" fmla="*/ 688782 w 4610101"/>
              <a:gd name="connsiteY29359" fmla="*/ 771631 h 6557032"/>
              <a:gd name="connsiteX29360" fmla="*/ 686587 w 4610101"/>
              <a:gd name="connsiteY29360" fmla="*/ 770035 h 6557032"/>
              <a:gd name="connsiteX29361" fmla="*/ 686960 w 4610101"/>
              <a:gd name="connsiteY29361" fmla="*/ 767987 h 6557032"/>
              <a:gd name="connsiteX29362" fmla="*/ 694249 w 4610101"/>
              <a:gd name="connsiteY29362" fmla="*/ 773453 h 6557032"/>
              <a:gd name="connsiteX29363" fmla="*/ 674205 w 4610101"/>
              <a:gd name="connsiteY29363" fmla="*/ 757054 h 6557032"/>
              <a:gd name="connsiteX29364" fmla="*/ 561230 w 4610101"/>
              <a:gd name="connsiteY29364" fmla="*/ 757054 h 6557032"/>
              <a:gd name="connsiteX29365" fmla="*/ 555763 w 4610101"/>
              <a:gd name="connsiteY29365" fmla="*/ 760698 h 6557032"/>
              <a:gd name="connsiteX29366" fmla="*/ 559408 w 4610101"/>
              <a:gd name="connsiteY29366" fmla="*/ 764342 h 6557032"/>
              <a:gd name="connsiteX29367" fmla="*/ 561230 w 4610101"/>
              <a:gd name="connsiteY29367" fmla="*/ 757054 h 6557032"/>
              <a:gd name="connsiteX29368" fmla="*/ 459188 w 4610101"/>
              <a:gd name="connsiteY29368" fmla="*/ 757054 h 6557032"/>
              <a:gd name="connsiteX29369" fmla="*/ 464655 w 4610101"/>
              <a:gd name="connsiteY29369" fmla="*/ 764342 h 6557032"/>
              <a:gd name="connsiteX29370" fmla="*/ 459188 w 4610101"/>
              <a:gd name="connsiteY29370" fmla="*/ 757054 h 6557032"/>
              <a:gd name="connsiteX29371" fmla="*/ 360791 w 4610101"/>
              <a:gd name="connsiteY29371" fmla="*/ 757054 h 6557032"/>
              <a:gd name="connsiteX29372" fmla="*/ 389946 w 4610101"/>
              <a:gd name="connsiteY29372" fmla="*/ 775275 h 6557032"/>
              <a:gd name="connsiteX29373" fmla="*/ 382657 w 4610101"/>
              <a:gd name="connsiteY29373" fmla="*/ 767987 h 6557032"/>
              <a:gd name="connsiteX29374" fmla="*/ 360791 w 4610101"/>
              <a:gd name="connsiteY29374" fmla="*/ 757054 h 6557032"/>
              <a:gd name="connsiteX29375" fmla="*/ 249638 w 4610101"/>
              <a:gd name="connsiteY29375" fmla="*/ 757054 h 6557032"/>
              <a:gd name="connsiteX29376" fmla="*/ 256927 w 4610101"/>
              <a:gd name="connsiteY29376" fmla="*/ 769809 h 6557032"/>
              <a:gd name="connsiteX29377" fmla="*/ 255105 w 4610101"/>
              <a:gd name="connsiteY29377" fmla="*/ 762520 h 6557032"/>
              <a:gd name="connsiteX29378" fmla="*/ 249638 w 4610101"/>
              <a:gd name="connsiteY29378" fmla="*/ 757054 h 6557032"/>
              <a:gd name="connsiteX29379" fmla="*/ 2653911 w 4610101"/>
              <a:gd name="connsiteY29379" fmla="*/ 756428 h 6557032"/>
              <a:gd name="connsiteX29380" fmla="*/ 2651263 w 4610101"/>
              <a:gd name="connsiteY29380" fmla="*/ 762520 h 6557032"/>
              <a:gd name="connsiteX29381" fmla="*/ 2662197 w 4610101"/>
              <a:gd name="connsiteY29381" fmla="*/ 764342 h 6557032"/>
              <a:gd name="connsiteX29382" fmla="*/ 2662197 w 4610101"/>
              <a:gd name="connsiteY29382" fmla="*/ 769809 h 6557032"/>
              <a:gd name="connsiteX29383" fmla="*/ 2674952 w 4610101"/>
              <a:gd name="connsiteY29383" fmla="*/ 771631 h 6557032"/>
              <a:gd name="connsiteX29384" fmla="*/ 2673130 w 4610101"/>
              <a:gd name="connsiteY29384" fmla="*/ 762520 h 6557032"/>
              <a:gd name="connsiteX29385" fmla="*/ 2673130 w 4610101"/>
              <a:gd name="connsiteY29385" fmla="*/ 766164 h 6557032"/>
              <a:gd name="connsiteX29386" fmla="*/ 2653911 w 4610101"/>
              <a:gd name="connsiteY29386" fmla="*/ 756428 h 6557032"/>
              <a:gd name="connsiteX29387" fmla="*/ 1127244 w 4610101"/>
              <a:gd name="connsiteY29387" fmla="*/ 755915 h 6557032"/>
              <a:gd name="connsiteX29388" fmla="*/ 1118815 w 4610101"/>
              <a:gd name="connsiteY29388" fmla="*/ 767987 h 6557032"/>
              <a:gd name="connsiteX29389" fmla="*/ 1113349 w 4610101"/>
              <a:gd name="connsiteY29389" fmla="*/ 773453 h 6557032"/>
              <a:gd name="connsiteX29390" fmla="*/ 1124282 w 4610101"/>
              <a:gd name="connsiteY29390" fmla="*/ 766164 h 6557032"/>
              <a:gd name="connsiteX29391" fmla="*/ 1142503 w 4610101"/>
              <a:gd name="connsiteY29391" fmla="*/ 758876 h 6557032"/>
              <a:gd name="connsiteX29392" fmla="*/ 1127244 w 4610101"/>
              <a:gd name="connsiteY29392" fmla="*/ 755915 h 6557032"/>
              <a:gd name="connsiteX29393" fmla="*/ 1173481 w 4610101"/>
              <a:gd name="connsiteY29393" fmla="*/ 755231 h 6557032"/>
              <a:gd name="connsiteX29394" fmla="*/ 1168014 w 4610101"/>
              <a:gd name="connsiteY29394" fmla="*/ 757054 h 6557032"/>
              <a:gd name="connsiteX29395" fmla="*/ 1173481 w 4610101"/>
              <a:gd name="connsiteY29395" fmla="*/ 755231 h 6557032"/>
              <a:gd name="connsiteX29396" fmla="*/ 1096949 w 4610101"/>
              <a:gd name="connsiteY29396" fmla="*/ 755231 h 6557032"/>
              <a:gd name="connsiteX29397" fmla="*/ 1098771 w 4610101"/>
              <a:gd name="connsiteY29397" fmla="*/ 758876 h 6557032"/>
              <a:gd name="connsiteX29398" fmla="*/ 1098771 w 4610101"/>
              <a:gd name="connsiteY29398" fmla="*/ 755231 h 6557032"/>
              <a:gd name="connsiteX29399" fmla="*/ 1096949 w 4610101"/>
              <a:gd name="connsiteY29399" fmla="*/ 755231 h 6557032"/>
              <a:gd name="connsiteX29400" fmla="*/ 1093305 w 4610101"/>
              <a:gd name="connsiteY29400" fmla="*/ 755231 h 6557032"/>
              <a:gd name="connsiteX29401" fmla="*/ 1082373 w 4610101"/>
              <a:gd name="connsiteY29401" fmla="*/ 757054 h 6557032"/>
              <a:gd name="connsiteX29402" fmla="*/ 1084194 w 4610101"/>
              <a:gd name="connsiteY29402" fmla="*/ 757054 h 6557032"/>
              <a:gd name="connsiteX29403" fmla="*/ 1086016 w 4610101"/>
              <a:gd name="connsiteY29403" fmla="*/ 758876 h 6557032"/>
              <a:gd name="connsiteX29404" fmla="*/ 1096949 w 4610101"/>
              <a:gd name="connsiteY29404" fmla="*/ 760698 h 6557032"/>
              <a:gd name="connsiteX29405" fmla="*/ 1093305 w 4610101"/>
              <a:gd name="connsiteY29405" fmla="*/ 755231 h 6557032"/>
              <a:gd name="connsiteX29406" fmla="*/ 952997 w 4610101"/>
              <a:gd name="connsiteY29406" fmla="*/ 755231 h 6557032"/>
              <a:gd name="connsiteX29407" fmla="*/ 949353 w 4610101"/>
              <a:gd name="connsiteY29407" fmla="*/ 766164 h 6557032"/>
              <a:gd name="connsiteX29408" fmla="*/ 956642 w 4610101"/>
              <a:gd name="connsiteY29408" fmla="*/ 755231 h 6557032"/>
              <a:gd name="connsiteX29409" fmla="*/ 952997 w 4610101"/>
              <a:gd name="connsiteY29409" fmla="*/ 755231 h 6557032"/>
              <a:gd name="connsiteX29410" fmla="*/ 679671 w 4610101"/>
              <a:gd name="connsiteY29410" fmla="*/ 755231 h 6557032"/>
              <a:gd name="connsiteX29411" fmla="*/ 688782 w 4610101"/>
              <a:gd name="connsiteY29411" fmla="*/ 758876 h 6557032"/>
              <a:gd name="connsiteX29412" fmla="*/ 679671 w 4610101"/>
              <a:gd name="connsiteY29412" fmla="*/ 755231 h 6557032"/>
              <a:gd name="connsiteX29413" fmla="*/ 581274 w 4610101"/>
              <a:gd name="connsiteY29413" fmla="*/ 755231 h 6557032"/>
              <a:gd name="connsiteX29414" fmla="*/ 577630 w 4610101"/>
              <a:gd name="connsiteY29414" fmla="*/ 764342 h 6557032"/>
              <a:gd name="connsiteX29415" fmla="*/ 584919 w 4610101"/>
              <a:gd name="connsiteY29415" fmla="*/ 757054 h 6557032"/>
              <a:gd name="connsiteX29416" fmla="*/ 581274 w 4610101"/>
              <a:gd name="connsiteY29416" fmla="*/ 755231 h 6557032"/>
              <a:gd name="connsiteX29417" fmla="*/ 491987 w 4610101"/>
              <a:gd name="connsiteY29417" fmla="*/ 755231 h 6557032"/>
              <a:gd name="connsiteX29418" fmla="*/ 495632 w 4610101"/>
              <a:gd name="connsiteY29418" fmla="*/ 769809 h 6557032"/>
              <a:gd name="connsiteX29419" fmla="*/ 491987 w 4610101"/>
              <a:gd name="connsiteY29419" fmla="*/ 755231 h 6557032"/>
              <a:gd name="connsiteX29420" fmla="*/ 231416 w 4610101"/>
              <a:gd name="connsiteY29420" fmla="*/ 755231 h 6557032"/>
              <a:gd name="connsiteX29421" fmla="*/ 235061 w 4610101"/>
              <a:gd name="connsiteY29421" fmla="*/ 760698 h 6557032"/>
              <a:gd name="connsiteX29422" fmla="*/ 231416 w 4610101"/>
              <a:gd name="connsiteY29422" fmla="*/ 755231 h 6557032"/>
              <a:gd name="connsiteX29423" fmla="*/ 1310143 w 4610101"/>
              <a:gd name="connsiteY29423" fmla="*/ 753409 h 6557032"/>
              <a:gd name="connsiteX29424" fmla="*/ 1309874 w 4610101"/>
              <a:gd name="connsiteY29424" fmla="*/ 753563 h 6557032"/>
              <a:gd name="connsiteX29425" fmla="*/ 1309959 w 4610101"/>
              <a:gd name="connsiteY29425" fmla="*/ 753483 h 6557032"/>
              <a:gd name="connsiteX29426" fmla="*/ 1051395 w 4610101"/>
              <a:gd name="connsiteY29426" fmla="*/ 753409 h 6557032"/>
              <a:gd name="connsiteX29427" fmla="*/ 1044106 w 4610101"/>
              <a:gd name="connsiteY29427" fmla="*/ 758876 h 6557032"/>
              <a:gd name="connsiteX29428" fmla="*/ 1051395 w 4610101"/>
              <a:gd name="connsiteY29428" fmla="*/ 753409 h 6557032"/>
              <a:gd name="connsiteX29429" fmla="*/ 1033173 w 4610101"/>
              <a:gd name="connsiteY29429" fmla="*/ 753409 h 6557032"/>
              <a:gd name="connsiteX29430" fmla="*/ 1020418 w 4610101"/>
              <a:gd name="connsiteY29430" fmla="*/ 760698 h 6557032"/>
              <a:gd name="connsiteX29431" fmla="*/ 1033173 w 4610101"/>
              <a:gd name="connsiteY29431" fmla="*/ 753409 h 6557032"/>
              <a:gd name="connsiteX29432" fmla="*/ 814512 w 4610101"/>
              <a:gd name="connsiteY29432" fmla="*/ 753409 h 6557032"/>
              <a:gd name="connsiteX29433" fmla="*/ 809046 w 4610101"/>
              <a:gd name="connsiteY29433" fmla="*/ 757054 h 6557032"/>
              <a:gd name="connsiteX29434" fmla="*/ 814512 w 4610101"/>
              <a:gd name="connsiteY29434" fmla="*/ 760698 h 6557032"/>
              <a:gd name="connsiteX29435" fmla="*/ 814512 w 4610101"/>
              <a:gd name="connsiteY29435" fmla="*/ 753409 h 6557032"/>
              <a:gd name="connsiteX29436" fmla="*/ 634117 w 4610101"/>
              <a:gd name="connsiteY29436" fmla="*/ 753409 h 6557032"/>
              <a:gd name="connsiteX29437" fmla="*/ 625006 w 4610101"/>
              <a:gd name="connsiteY29437" fmla="*/ 773453 h 6557032"/>
              <a:gd name="connsiteX29438" fmla="*/ 634117 w 4610101"/>
              <a:gd name="connsiteY29438" fmla="*/ 753409 h 6557032"/>
              <a:gd name="connsiteX29439" fmla="*/ 369902 w 4610101"/>
              <a:gd name="connsiteY29439" fmla="*/ 753409 h 6557032"/>
              <a:gd name="connsiteX29440" fmla="*/ 379012 w 4610101"/>
              <a:gd name="connsiteY29440" fmla="*/ 762520 h 6557032"/>
              <a:gd name="connsiteX29441" fmla="*/ 369902 w 4610101"/>
              <a:gd name="connsiteY29441" fmla="*/ 753409 h 6557032"/>
              <a:gd name="connsiteX29442" fmla="*/ 1327200 w 4610101"/>
              <a:gd name="connsiteY29442" fmla="*/ 752020 h 6557032"/>
              <a:gd name="connsiteX29443" fmla="*/ 1324721 w 4610101"/>
              <a:gd name="connsiteY29443" fmla="*/ 760698 h 6557032"/>
              <a:gd name="connsiteX29444" fmla="*/ 1322362 w 4610101"/>
              <a:gd name="connsiteY29444" fmla="*/ 768952 h 6557032"/>
              <a:gd name="connsiteX29445" fmla="*/ 1321077 w 4610101"/>
              <a:gd name="connsiteY29445" fmla="*/ 769809 h 6557032"/>
              <a:gd name="connsiteX29446" fmla="*/ 1325176 w 4610101"/>
              <a:gd name="connsiteY29446" fmla="*/ 753182 h 6557032"/>
              <a:gd name="connsiteX29447" fmla="*/ 3329112 w 4610101"/>
              <a:gd name="connsiteY29447" fmla="*/ 751587 h 6557032"/>
              <a:gd name="connsiteX29448" fmla="*/ 3323646 w 4610101"/>
              <a:gd name="connsiteY29448" fmla="*/ 758876 h 6557032"/>
              <a:gd name="connsiteX29449" fmla="*/ 3329112 w 4610101"/>
              <a:gd name="connsiteY29449" fmla="*/ 757054 h 6557032"/>
              <a:gd name="connsiteX29450" fmla="*/ 3329112 w 4610101"/>
              <a:gd name="connsiteY29450" fmla="*/ 751587 h 6557032"/>
              <a:gd name="connsiteX29451" fmla="*/ 3227071 w 4610101"/>
              <a:gd name="connsiteY29451" fmla="*/ 751587 h 6557032"/>
              <a:gd name="connsiteX29452" fmla="*/ 3223426 w 4610101"/>
              <a:gd name="connsiteY29452" fmla="*/ 767987 h 6557032"/>
              <a:gd name="connsiteX29453" fmla="*/ 3227071 w 4610101"/>
              <a:gd name="connsiteY29453" fmla="*/ 751587 h 6557032"/>
              <a:gd name="connsiteX29454" fmla="*/ 2328739 w 4610101"/>
              <a:gd name="connsiteY29454" fmla="*/ 751587 h 6557032"/>
              <a:gd name="connsiteX29455" fmla="*/ 2326916 w 4610101"/>
              <a:gd name="connsiteY29455" fmla="*/ 758876 h 6557032"/>
              <a:gd name="connsiteX29456" fmla="*/ 2328739 w 4610101"/>
              <a:gd name="connsiteY29456" fmla="*/ 760698 h 6557032"/>
              <a:gd name="connsiteX29457" fmla="*/ 2328739 w 4610101"/>
              <a:gd name="connsiteY29457" fmla="*/ 751587 h 6557032"/>
              <a:gd name="connsiteX29458" fmla="*/ 1350231 w 4610101"/>
              <a:gd name="connsiteY29458" fmla="*/ 751587 h 6557032"/>
              <a:gd name="connsiteX29459" fmla="*/ 1353876 w 4610101"/>
              <a:gd name="connsiteY29459" fmla="*/ 755231 h 6557032"/>
              <a:gd name="connsiteX29460" fmla="*/ 1355698 w 4610101"/>
              <a:gd name="connsiteY29460" fmla="*/ 751587 h 6557032"/>
              <a:gd name="connsiteX29461" fmla="*/ 1350231 w 4610101"/>
              <a:gd name="connsiteY29461" fmla="*/ 751587 h 6557032"/>
              <a:gd name="connsiteX29462" fmla="*/ 1182592 w 4610101"/>
              <a:gd name="connsiteY29462" fmla="*/ 751587 h 6557032"/>
              <a:gd name="connsiteX29463" fmla="*/ 1175303 w 4610101"/>
              <a:gd name="connsiteY29463" fmla="*/ 753409 h 6557032"/>
              <a:gd name="connsiteX29464" fmla="*/ 1182592 w 4610101"/>
              <a:gd name="connsiteY29464" fmla="*/ 751587 h 6557032"/>
              <a:gd name="connsiteX29465" fmla="*/ 1111526 w 4610101"/>
              <a:gd name="connsiteY29465" fmla="*/ 751587 h 6557032"/>
              <a:gd name="connsiteX29466" fmla="*/ 1109704 w 4610101"/>
              <a:gd name="connsiteY29466" fmla="*/ 758876 h 6557032"/>
              <a:gd name="connsiteX29467" fmla="*/ 1116993 w 4610101"/>
              <a:gd name="connsiteY29467" fmla="*/ 755231 h 6557032"/>
              <a:gd name="connsiteX29468" fmla="*/ 1111526 w 4610101"/>
              <a:gd name="connsiteY29468" fmla="*/ 751587 h 6557032"/>
              <a:gd name="connsiteX29469" fmla="*/ 1084194 w 4610101"/>
              <a:gd name="connsiteY29469" fmla="*/ 751587 h 6557032"/>
              <a:gd name="connsiteX29470" fmla="*/ 1073262 w 4610101"/>
              <a:gd name="connsiteY29470" fmla="*/ 757054 h 6557032"/>
              <a:gd name="connsiteX29471" fmla="*/ 1070983 w 4610101"/>
              <a:gd name="connsiteY29471" fmla="*/ 754777 h 6557032"/>
              <a:gd name="connsiteX29472" fmla="*/ 1071439 w 4610101"/>
              <a:gd name="connsiteY29472" fmla="*/ 753409 h 6557032"/>
              <a:gd name="connsiteX29473" fmla="*/ 1069616 w 4610101"/>
              <a:gd name="connsiteY29473" fmla="*/ 753409 h 6557032"/>
              <a:gd name="connsiteX29474" fmla="*/ 1070983 w 4610101"/>
              <a:gd name="connsiteY29474" fmla="*/ 754777 h 6557032"/>
              <a:gd name="connsiteX29475" fmla="*/ 1069616 w 4610101"/>
              <a:gd name="connsiteY29475" fmla="*/ 758876 h 6557032"/>
              <a:gd name="connsiteX29476" fmla="*/ 1071439 w 4610101"/>
              <a:gd name="connsiteY29476" fmla="*/ 758876 h 6557032"/>
              <a:gd name="connsiteX29477" fmla="*/ 1073262 w 4610101"/>
              <a:gd name="connsiteY29477" fmla="*/ 757054 h 6557032"/>
              <a:gd name="connsiteX29478" fmla="*/ 1075083 w 4610101"/>
              <a:gd name="connsiteY29478" fmla="*/ 757054 h 6557032"/>
              <a:gd name="connsiteX29479" fmla="*/ 1075083 w 4610101"/>
              <a:gd name="connsiteY29479" fmla="*/ 758876 h 6557032"/>
              <a:gd name="connsiteX29480" fmla="*/ 1076905 w 4610101"/>
              <a:gd name="connsiteY29480" fmla="*/ 757054 h 6557032"/>
              <a:gd name="connsiteX29481" fmla="*/ 1084194 w 4610101"/>
              <a:gd name="connsiteY29481" fmla="*/ 751587 h 6557032"/>
              <a:gd name="connsiteX29482" fmla="*/ 595852 w 4610101"/>
              <a:gd name="connsiteY29482" fmla="*/ 751587 h 6557032"/>
              <a:gd name="connsiteX29483" fmla="*/ 604963 w 4610101"/>
              <a:gd name="connsiteY29483" fmla="*/ 769809 h 6557032"/>
              <a:gd name="connsiteX29484" fmla="*/ 595852 w 4610101"/>
              <a:gd name="connsiteY29484" fmla="*/ 751587 h 6557032"/>
              <a:gd name="connsiteX29485" fmla="*/ 532075 w 4610101"/>
              <a:gd name="connsiteY29485" fmla="*/ 751587 h 6557032"/>
              <a:gd name="connsiteX29486" fmla="*/ 532531 w 4610101"/>
              <a:gd name="connsiteY29486" fmla="*/ 752195 h 6557032"/>
              <a:gd name="connsiteX29487" fmla="*/ 532103 w 4610101"/>
              <a:gd name="connsiteY29487" fmla="*/ 751787 h 6557032"/>
              <a:gd name="connsiteX29488" fmla="*/ 415456 w 4610101"/>
              <a:gd name="connsiteY29488" fmla="*/ 751587 h 6557032"/>
              <a:gd name="connsiteX29489" fmla="*/ 428211 w 4610101"/>
              <a:gd name="connsiteY29489" fmla="*/ 762520 h 6557032"/>
              <a:gd name="connsiteX29490" fmla="*/ 415456 w 4610101"/>
              <a:gd name="connsiteY29490" fmla="*/ 751587 h 6557032"/>
              <a:gd name="connsiteX29491" fmla="*/ 273327 w 4610101"/>
              <a:gd name="connsiteY29491" fmla="*/ 751587 h 6557032"/>
              <a:gd name="connsiteX29492" fmla="*/ 282438 w 4610101"/>
              <a:gd name="connsiteY29492" fmla="*/ 767987 h 6557032"/>
              <a:gd name="connsiteX29493" fmla="*/ 273327 w 4610101"/>
              <a:gd name="connsiteY29493" fmla="*/ 751587 h 6557032"/>
              <a:gd name="connsiteX29494" fmla="*/ 215017 w 4610101"/>
              <a:gd name="connsiteY29494" fmla="*/ 751587 h 6557032"/>
              <a:gd name="connsiteX29495" fmla="*/ 225950 w 4610101"/>
              <a:gd name="connsiteY29495" fmla="*/ 769809 h 6557032"/>
              <a:gd name="connsiteX29496" fmla="*/ 215017 w 4610101"/>
              <a:gd name="connsiteY29496" fmla="*/ 751587 h 6557032"/>
              <a:gd name="connsiteX29497" fmla="*/ 720153 w 4610101"/>
              <a:gd name="connsiteY29497" fmla="*/ 749864 h 6557032"/>
              <a:gd name="connsiteX29498" fmla="*/ 723211 w 4610101"/>
              <a:gd name="connsiteY29498" fmla="*/ 750628 h 6557032"/>
              <a:gd name="connsiteX29499" fmla="*/ 722492 w 4610101"/>
              <a:gd name="connsiteY29499" fmla="*/ 751587 h 6557032"/>
              <a:gd name="connsiteX29500" fmla="*/ 720172 w 4610101"/>
              <a:gd name="connsiteY29500" fmla="*/ 750040 h 6557032"/>
              <a:gd name="connsiteX29501" fmla="*/ 2605709 w 4610101"/>
              <a:gd name="connsiteY29501" fmla="*/ 749765 h 6557032"/>
              <a:gd name="connsiteX29502" fmla="*/ 2603887 w 4610101"/>
              <a:gd name="connsiteY29502" fmla="*/ 764342 h 6557032"/>
              <a:gd name="connsiteX29503" fmla="*/ 2614820 w 4610101"/>
              <a:gd name="connsiteY29503" fmla="*/ 771631 h 6557032"/>
              <a:gd name="connsiteX29504" fmla="*/ 2611176 w 4610101"/>
              <a:gd name="connsiteY29504" fmla="*/ 773453 h 6557032"/>
              <a:gd name="connsiteX29505" fmla="*/ 2607531 w 4610101"/>
              <a:gd name="connsiteY29505" fmla="*/ 766164 h 6557032"/>
              <a:gd name="connsiteX29506" fmla="*/ 2611176 w 4610101"/>
              <a:gd name="connsiteY29506" fmla="*/ 795319 h 6557032"/>
              <a:gd name="connsiteX29507" fmla="*/ 2611176 w 4610101"/>
              <a:gd name="connsiteY29507" fmla="*/ 800786 h 6557032"/>
              <a:gd name="connsiteX29508" fmla="*/ 2622109 w 4610101"/>
              <a:gd name="connsiteY29508" fmla="*/ 789853 h 6557032"/>
              <a:gd name="connsiteX29509" fmla="*/ 2614820 w 4610101"/>
              <a:gd name="connsiteY29509" fmla="*/ 804430 h 6557032"/>
              <a:gd name="connsiteX29510" fmla="*/ 2622109 w 4610101"/>
              <a:gd name="connsiteY29510" fmla="*/ 775275 h 6557032"/>
              <a:gd name="connsiteX29511" fmla="*/ 2627575 w 4610101"/>
              <a:gd name="connsiteY29511" fmla="*/ 773453 h 6557032"/>
              <a:gd name="connsiteX29512" fmla="*/ 2627575 w 4610101"/>
              <a:gd name="connsiteY29512" fmla="*/ 780742 h 6557032"/>
              <a:gd name="connsiteX29513" fmla="*/ 2638508 w 4610101"/>
              <a:gd name="connsiteY29513" fmla="*/ 769809 h 6557032"/>
              <a:gd name="connsiteX29514" fmla="*/ 2653086 w 4610101"/>
              <a:gd name="connsiteY29514" fmla="*/ 778920 h 6557032"/>
              <a:gd name="connsiteX29515" fmla="*/ 2645797 w 4610101"/>
              <a:gd name="connsiteY29515" fmla="*/ 760698 h 6557032"/>
              <a:gd name="connsiteX29516" fmla="*/ 2605709 w 4610101"/>
              <a:gd name="connsiteY29516" fmla="*/ 749765 h 6557032"/>
              <a:gd name="connsiteX29517" fmla="*/ 1441340 w 4610101"/>
              <a:gd name="connsiteY29517" fmla="*/ 749765 h 6557032"/>
              <a:gd name="connsiteX29518" fmla="*/ 1435873 w 4610101"/>
              <a:gd name="connsiteY29518" fmla="*/ 753409 h 6557032"/>
              <a:gd name="connsiteX29519" fmla="*/ 1441340 w 4610101"/>
              <a:gd name="connsiteY29519" fmla="*/ 749765 h 6557032"/>
              <a:gd name="connsiteX29520" fmla="*/ 1102416 w 4610101"/>
              <a:gd name="connsiteY29520" fmla="*/ 749765 h 6557032"/>
              <a:gd name="connsiteX29521" fmla="*/ 1098771 w 4610101"/>
              <a:gd name="connsiteY29521" fmla="*/ 753409 h 6557032"/>
              <a:gd name="connsiteX29522" fmla="*/ 1104238 w 4610101"/>
              <a:gd name="connsiteY29522" fmla="*/ 755231 h 6557032"/>
              <a:gd name="connsiteX29523" fmla="*/ 1102416 w 4610101"/>
              <a:gd name="connsiteY29523" fmla="*/ 749765 h 6557032"/>
              <a:gd name="connsiteX29524" fmla="*/ 1060506 w 4610101"/>
              <a:gd name="connsiteY29524" fmla="*/ 749765 h 6557032"/>
              <a:gd name="connsiteX29525" fmla="*/ 1049573 w 4610101"/>
              <a:gd name="connsiteY29525" fmla="*/ 762520 h 6557032"/>
              <a:gd name="connsiteX29526" fmla="*/ 1060506 w 4610101"/>
              <a:gd name="connsiteY29526" fmla="*/ 749765 h 6557032"/>
              <a:gd name="connsiteX29527" fmla="*/ 1020418 w 4610101"/>
              <a:gd name="connsiteY29527" fmla="*/ 749765 h 6557032"/>
              <a:gd name="connsiteX29528" fmla="*/ 1016166 w 4610101"/>
              <a:gd name="connsiteY29528" fmla="*/ 752353 h 6557032"/>
              <a:gd name="connsiteX29529" fmla="*/ 1011307 w 4610101"/>
              <a:gd name="connsiteY29529" fmla="*/ 753409 h 6557032"/>
              <a:gd name="connsiteX29530" fmla="*/ 1015179 w 4610101"/>
              <a:gd name="connsiteY29530" fmla="*/ 752954 h 6557032"/>
              <a:gd name="connsiteX29531" fmla="*/ 1016166 w 4610101"/>
              <a:gd name="connsiteY29531" fmla="*/ 752353 h 6557032"/>
              <a:gd name="connsiteX29532" fmla="*/ 1016546 w 4610101"/>
              <a:gd name="connsiteY29532" fmla="*/ 752270 h 6557032"/>
              <a:gd name="connsiteX29533" fmla="*/ 1020418 w 4610101"/>
              <a:gd name="connsiteY29533" fmla="*/ 749765 h 6557032"/>
              <a:gd name="connsiteX29534" fmla="*/ 998552 w 4610101"/>
              <a:gd name="connsiteY29534" fmla="*/ 749765 h 6557032"/>
              <a:gd name="connsiteX29535" fmla="*/ 993085 w 4610101"/>
              <a:gd name="connsiteY29535" fmla="*/ 755231 h 6557032"/>
              <a:gd name="connsiteX29536" fmla="*/ 1000374 w 4610101"/>
              <a:gd name="connsiteY29536" fmla="*/ 757054 h 6557032"/>
              <a:gd name="connsiteX29537" fmla="*/ 998552 w 4610101"/>
              <a:gd name="connsiteY29537" fmla="*/ 749765 h 6557032"/>
              <a:gd name="connsiteX29538" fmla="*/ 918376 w 4610101"/>
              <a:gd name="connsiteY29538" fmla="*/ 749765 h 6557032"/>
              <a:gd name="connsiteX29539" fmla="*/ 911087 w 4610101"/>
              <a:gd name="connsiteY29539" fmla="*/ 757054 h 6557032"/>
              <a:gd name="connsiteX29540" fmla="*/ 918376 w 4610101"/>
              <a:gd name="connsiteY29540" fmla="*/ 749765 h 6557032"/>
              <a:gd name="connsiteX29541" fmla="*/ 825445 w 4610101"/>
              <a:gd name="connsiteY29541" fmla="*/ 749765 h 6557032"/>
              <a:gd name="connsiteX29542" fmla="*/ 819979 w 4610101"/>
              <a:gd name="connsiteY29542" fmla="*/ 755231 h 6557032"/>
              <a:gd name="connsiteX29543" fmla="*/ 825445 w 4610101"/>
              <a:gd name="connsiteY29543" fmla="*/ 749765 h 6557032"/>
              <a:gd name="connsiteX29544" fmla="*/ 734336 w 4610101"/>
              <a:gd name="connsiteY29544" fmla="*/ 749765 h 6557032"/>
              <a:gd name="connsiteX29545" fmla="*/ 734983 w 4610101"/>
              <a:gd name="connsiteY29545" fmla="*/ 749883 h 6557032"/>
              <a:gd name="connsiteX29546" fmla="*/ 735065 w 4610101"/>
              <a:gd name="connsiteY29546" fmla="*/ 750130 h 6557032"/>
              <a:gd name="connsiteX29547" fmla="*/ 309771 w 4610101"/>
              <a:gd name="connsiteY29547" fmla="*/ 749765 h 6557032"/>
              <a:gd name="connsiteX29548" fmla="*/ 329814 w 4610101"/>
              <a:gd name="connsiteY29548" fmla="*/ 760698 h 6557032"/>
              <a:gd name="connsiteX29549" fmla="*/ 326169 w 4610101"/>
              <a:gd name="connsiteY29549" fmla="*/ 751587 h 6557032"/>
              <a:gd name="connsiteX29550" fmla="*/ 309771 w 4610101"/>
              <a:gd name="connsiteY29550" fmla="*/ 749765 h 6557032"/>
              <a:gd name="connsiteX29551" fmla="*/ 298837 w 4610101"/>
              <a:gd name="connsiteY29551" fmla="*/ 749765 h 6557032"/>
              <a:gd name="connsiteX29552" fmla="*/ 309771 w 4610101"/>
              <a:gd name="connsiteY29552" fmla="*/ 757054 h 6557032"/>
              <a:gd name="connsiteX29553" fmla="*/ 298837 w 4610101"/>
              <a:gd name="connsiteY29553" fmla="*/ 749765 h 6557032"/>
              <a:gd name="connsiteX29554" fmla="*/ 153063 w 4610101"/>
              <a:gd name="connsiteY29554" fmla="*/ 749765 h 6557032"/>
              <a:gd name="connsiteX29555" fmla="*/ 176751 w 4610101"/>
              <a:gd name="connsiteY29555" fmla="*/ 773453 h 6557032"/>
              <a:gd name="connsiteX29556" fmla="*/ 180396 w 4610101"/>
              <a:gd name="connsiteY29556" fmla="*/ 777098 h 6557032"/>
              <a:gd name="connsiteX29557" fmla="*/ 184040 w 4610101"/>
              <a:gd name="connsiteY29557" fmla="*/ 780742 h 6557032"/>
              <a:gd name="connsiteX29558" fmla="*/ 180396 w 4610101"/>
              <a:gd name="connsiteY29558" fmla="*/ 777098 h 6557032"/>
              <a:gd name="connsiteX29559" fmla="*/ 176751 w 4610101"/>
              <a:gd name="connsiteY29559" fmla="*/ 771631 h 6557032"/>
              <a:gd name="connsiteX29560" fmla="*/ 170374 w 4610101"/>
              <a:gd name="connsiteY29560" fmla="*/ 766530 h 6557032"/>
              <a:gd name="connsiteX29561" fmla="*/ 173107 w 4610101"/>
              <a:gd name="connsiteY29561" fmla="*/ 767987 h 6557032"/>
              <a:gd name="connsiteX29562" fmla="*/ 153063 w 4610101"/>
              <a:gd name="connsiteY29562" fmla="*/ 749765 h 6557032"/>
              <a:gd name="connsiteX29563" fmla="*/ 653819 w 4610101"/>
              <a:gd name="connsiteY29563" fmla="*/ 749538 h 6557032"/>
              <a:gd name="connsiteX29564" fmla="*/ 643228 w 4610101"/>
              <a:gd name="connsiteY29564" fmla="*/ 750221 h 6557032"/>
              <a:gd name="connsiteX29565" fmla="*/ 632296 w 4610101"/>
              <a:gd name="connsiteY29565" fmla="*/ 767987 h 6557032"/>
              <a:gd name="connsiteX29566" fmla="*/ 637761 w 4610101"/>
              <a:gd name="connsiteY29566" fmla="*/ 771631 h 6557032"/>
              <a:gd name="connsiteX29567" fmla="*/ 639583 w 4610101"/>
              <a:gd name="connsiteY29567" fmla="*/ 769809 h 6557032"/>
              <a:gd name="connsiteX29568" fmla="*/ 648694 w 4610101"/>
              <a:gd name="connsiteY29568" fmla="*/ 780742 h 6557032"/>
              <a:gd name="connsiteX29569" fmla="*/ 650516 w 4610101"/>
              <a:gd name="connsiteY29569" fmla="*/ 777098 h 6557032"/>
              <a:gd name="connsiteX29570" fmla="*/ 659627 w 4610101"/>
              <a:gd name="connsiteY29570" fmla="*/ 789853 h 6557032"/>
              <a:gd name="connsiteX29571" fmla="*/ 665094 w 4610101"/>
              <a:gd name="connsiteY29571" fmla="*/ 788031 h 6557032"/>
              <a:gd name="connsiteX29572" fmla="*/ 661449 w 4610101"/>
              <a:gd name="connsiteY29572" fmla="*/ 780742 h 6557032"/>
              <a:gd name="connsiteX29573" fmla="*/ 668738 w 4610101"/>
              <a:gd name="connsiteY29573" fmla="*/ 777098 h 6557032"/>
              <a:gd name="connsiteX29574" fmla="*/ 668738 w 4610101"/>
              <a:gd name="connsiteY29574" fmla="*/ 786208 h 6557032"/>
              <a:gd name="connsiteX29575" fmla="*/ 670560 w 4610101"/>
              <a:gd name="connsiteY29575" fmla="*/ 784386 h 6557032"/>
              <a:gd name="connsiteX29576" fmla="*/ 670560 w 4610101"/>
              <a:gd name="connsiteY29576" fmla="*/ 791675 h 6557032"/>
              <a:gd name="connsiteX29577" fmla="*/ 677849 w 4610101"/>
              <a:gd name="connsiteY29577" fmla="*/ 788031 h 6557032"/>
              <a:gd name="connsiteX29578" fmla="*/ 674205 w 4610101"/>
              <a:gd name="connsiteY29578" fmla="*/ 766164 h 6557032"/>
              <a:gd name="connsiteX29579" fmla="*/ 672383 w 4610101"/>
              <a:gd name="connsiteY29579" fmla="*/ 773453 h 6557032"/>
              <a:gd name="connsiteX29580" fmla="*/ 665094 w 4610101"/>
              <a:gd name="connsiteY29580" fmla="*/ 758876 h 6557032"/>
              <a:gd name="connsiteX29581" fmla="*/ 650516 w 4610101"/>
              <a:gd name="connsiteY29581" fmla="*/ 753409 h 6557032"/>
              <a:gd name="connsiteX29582" fmla="*/ 665094 w 4610101"/>
              <a:gd name="connsiteY29582" fmla="*/ 757054 h 6557032"/>
              <a:gd name="connsiteX29583" fmla="*/ 653819 w 4610101"/>
              <a:gd name="connsiteY29583" fmla="*/ 749538 h 6557032"/>
              <a:gd name="connsiteX29584" fmla="*/ 3340045 w 4610101"/>
              <a:gd name="connsiteY29584" fmla="*/ 747943 h 6557032"/>
              <a:gd name="connsiteX29585" fmla="*/ 3334579 w 4610101"/>
              <a:gd name="connsiteY29585" fmla="*/ 753409 h 6557032"/>
              <a:gd name="connsiteX29586" fmla="*/ 3340045 w 4610101"/>
              <a:gd name="connsiteY29586" fmla="*/ 749765 h 6557032"/>
              <a:gd name="connsiteX29587" fmla="*/ 3340045 w 4610101"/>
              <a:gd name="connsiteY29587" fmla="*/ 747943 h 6557032"/>
              <a:gd name="connsiteX29588" fmla="*/ 2755127 w 4610101"/>
              <a:gd name="connsiteY29588" fmla="*/ 747943 h 6557032"/>
              <a:gd name="connsiteX29589" fmla="*/ 2749661 w 4610101"/>
              <a:gd name="connsiteY29589" fmla="*/ 755231 h 6557032"/>
              <a:gd name="connsiteX29590" fmla="*/ 2755127 w 4610101"/>
              <a:gd name="connsiteY29590" fmla="*/ 747943 h 6557032"/>
              <a:gd name="connsiteX29591" fmla="*/ 1403074 w 4610101"/>
              <a:gd name="connsiteY29591" fmla="*/ 747943 h 6557032"/>
              <a:gd name="connsiteX29592" fmla="*/ 1403074 w 4610101"/>
              <a:gd name="connsiteY29592" fmla="*/ 760698 h 6557032"/>
              <a:gd name="connsiteX29593" fmla="*/ 1397608 w 4610101"/>
              <a:gd name="connsiteY29593" fmla="*/ 767987 h 6557032"/>
              <a:gd name="connsiteX29594" fmla="*/ 1406719 w 4610101"/>
              <a:gd name="connsiteY29594" fmla="*/ 764342 h 6557032"/>
              <a:gd name="connsiteX29595" fmla="*/ 1404896 w 4610101"/>
              <a:gd name="connsiteY29595" fmla="*/ 758876 h 6557032"/>
              <a:gd name="connsiteX29596" fmla="*/ 1408541 w 4610101"/>
              <a:gd name="connsiteY29596" fmla="*/ 764342 h 6557032"/>
              <a:gd name="connsiteX29597" fmla="*/ 1417652 w 4610101"/>
              <a:gd name="connsiteY29597" fmla="*/ 757054 h 6557032"/>
              <a:gd name="connsiteX29598" fmla="*/ 1408541 w 4610101"/>
              <a:gd name="connsiteY29598" fmla="*/ 755231 h 6557032"/>
              <a:gd name="connsiteX29599" fmla="*/ 1403074 w 4610101"/>
              <a:gd name="connsiteY29599" fmla="*/ 747943 h 6557032"/>
              <a:gd name="connsiteX29600" fmla="*/ 1297388 w 4610101"/>
              <a:gd name="connsiteY29600" fmla="*/ 747943 h 6557032"/>
              <a:gd name="connsiteX29601" fmla="*/ 1255478 w 4610101"/>
              <a:gd name="connsiteY29601" fmla="*/ 753409 h 6557032"/>
              <a:gd name="connsiteX29602" fmla="*/ 1250012 w 4610101"/>
              <a:gd name="connsiteY29602" fmla="*/ 757054 h 6557032"/>
              <a:gd name="connsiteX29603" fmla="*/ 1231790 w 4610101"/>
              <a:gd name="connsiteY29603" fmla="*/ 764342 h 6557032"/>
              <a:gd name="connsiteX29604" fmla="*/ 1250012 w 4610101"/>
              <a:gd name="connsiteY29604" fmla="*/ 769809 h 6557032"/>
              <a:gd name="connsiteX29605" fmla="*/ 1251834 w 4610101"/>
              <a:gd name="connsiteY29605" fmla="*/ 766164 h 6557032"/>
              <a:gd name="connsiteX29606" fmla="*/ 1253656 w 4610101"/>
              <a:gd name="connsiteY29606" fmla="*/ 769809 h 6557032"/>
              <a:gd name="connsiteX29607" fmla="*/ 1260945 w 4610101"/>
              <a:gd name="connsiteY29607" fmla="*/ 762520 h 6557032"/>
              <a:gd name="connsiteX29608" fmla="*/ 1262767 w 4610101"/>
              <a:gd name="connsiteY29608" fmla="*/ 764342 h 6557032"/>
              <a:gd name="connsiteX29609" fmla="*/ 1297388 w 4610101"/>
              <a:gd name="connsiteY29609" fmla="*/ 747943 h 6557032"/>
              <a:gd name="connsiteX29610" fmla="*/ 1147970 w 4610101"/>
              <a:gd name="connsiteY29610" fmla="*/ 747943 h 6557032"/>
              <a:gd name="connsiteX29611" fmla="*/ 1146148 w 4610101"/>
              <a:gd name="connsiteY29611" fmla="*/ 751587 h 6557032"/>
              <a:gd name="connsiteX29612" fmla="*/ 1149792 w 4610101"/>
              <a:gd name="connsiteY29612" fmla="*/ 749765 h 6557032"/>
              <a:gd name="connsiteX29613" fmla="*/ 1147970 w 4610101"/>
              <a:gd name="connsiteY29613" fmla="*/ 747943 h 6557032"/>
              <a:gd name="connsiteX29614" fmla="*/ 1087838 w 4610101"/>
              <a:gd name="connsiteY29614" fmla="*/ 747943 h 6557032"/>
              <a:gd name="connsiteX29615" fmla="*/ 1078727 w 4610101"/>
              <a:gd name="connsiteY29615" fmla="*/ 749765 h 6557032"/>
              <a:gd name="connsiteX29616" fmla="*/ 1087838 w 4610101"/>
              <a:gd name="connsiteY29616" fmla="*/ 747943 h 6557032"/>
              <a:gd name="connsiteX29617" fmla="*/ 827267 w 4610101"/>
              <a:gd name="connsiteY29617" fmla="*/ 747943 h 6557032"/>
              <a:gd name="connsiteX29618" fmla="*/ 821801 w 4610101"/>
              <a:gd name="connsiteY29618" fmla="*/ 758876 h 6557032"/>
              <a:gd name="connsiteX29619" fmla="*/ 832734 w 4610101"/>
              <a:gd name="connsiteY29619" fmla="*/ 760698 h 6557032"/>
              <a:gd name="connsiteX29620" fmla="*/ 823623 w 4610101"/>
              <a:gd name="connsiteY29620" fmla="*/ 762520 h 6557032"/>
              <a:gd name="connsiteX29621" fmla="*/ 823623 w 4610101"/>
              <a:gd name="connsiteY29621" fmla="*/ 769809 h 6557032"/>
              <a:gd name="connsiteX29622" fmla="*/ 829089 w 4610101"/>
              <a:gd name="connsiteY29622" fmla="*/ 766164 h 6557032"/>
              <a:gd name="connsiteX29623" fmla="*/ 825445 w 4610101"/>
              <a:gd name="connsiteY29623" fmla="*/ 769809 h 6557032"/>
              <a:gd name="connsiteX29624" fmla="*/ 836378 w 4610101"/>
              <a:gd name="connsiteY29624" fmla="*/ 777098 h 6557032"/>
              <a:gd name="connsiteX29625" fmla="*/ 834556 w 4610101"/>
              <a:gd name="connsiteY29625" fmla="*/ 766164 h 6557032"/>
              <a:gd name="connsiteX29626" fmla="*/ 840022 w 4610101"/>
              <a:gd name="connsiteY29626" fmla="*/ 766164 h 6557032"/>
              <a:gd name="connsiteX29627" fmla="*/ 847311 w 4610101"/>
              <a:gd name="connsiteY29627" fmla="*/ 778920 h 6557032"/>
              <a:gd name="connsiteX29628" fmla="*/ 841845 w 4610101"/>
              <a:gd name="connsiteY29628" fmla="*/ 773453 h 6557032"/>
              <a:gd name="connsiteX29629" fmla="*/ 852778 w 4610101"/>
              <a:gd name="connsiteY29629" fmla="*/ 778920 h 6557032"/>
              <a:gd name="connsiteX29630" fmla="*/ 840022 w 4610101"/>
              <a:gd name="connsiteY29630" fmla="*/ 766164 h 6557032"/>
              <a:gd name="connsiteX29631" fmla="*/ 827267 w 4610101"/>
              <a:gd name="connsiteY29631" fmla="*/ 747943 h 6557032"/>
              <a:gd name="connsiteX29632" fmla="*/ 803579 w 4610101"/>
              <a:gd name="connsiteY29632" fmla="*/ 747943 h 6557032"/>
              <a:gd name="connsiteX29633" fmla="*/ 807223 w 4610101"/>
              <a:gd name="connsiteY29633" fmla="*/ 753409 h 6557032"/>
              <a:gd name="connsiteX29634" fmla="*/ 816334 w 4610101"/>
              <a:gd name="connsiteY29634" fmla="*/ 747943 h 6557032"/>
              <a:gd name="connsiteX29635" fmla="*/ 803579 w 4610101"/>
              <a:gd name="connsiteY29635" fmla="*/ 747943 h 6557032"/>
              <a:gd name="connsiteX29636" fmla="*/ 759848 w 4610101"/>
              <a:gd name="connsiteY29636" fmla="*/ 747943 h 6557032"/>
              <a:gd name="connsiteX29637" fmla="*/ 770781 w 4610101"/>
              <a:gd name="connsiteY29637" fmla="*/ 755231 h 6557032"/>
              <a:gd name="connsiteX29638" fmla="*/ 759848 w 4610101"/>
              <a:gd name="connsiteY29638" fmla="*/ 747943 h 6557032"/>
              <a:gd name="connsiteX29639" fmla="*/ 734336 w 4610101"/>
              <a:gd name="connsiteY29639" fmla="*/ 747943 h 6557032"/>
              <a:gd name="connsiteX29640" fmla="*/ 730692 w 4610101"/>
              <a:gd name="connsiteY29640" fmla="*/ 749765 h 6557032"/>
              <a:gd name="connsiteX29641" fmla="*/ 732515 w 4610101"/>
              <a:gd name="connsiteY29641" fmla="*/ 751587 h 6557032"/>
              <a:gd name="connsiteX29642" fmla="*/ 730692 w 4610101"/>
              <a:gd name="connsiteY29642" fmla="*/ 751587 h 6557032"/>
              <a:gd name="connsiteX29643" fmla="*/ 743447 w 4610101"/>
              <a:gd name="connsiteY29643" fmla="*/ 764342 h 6557032"/>
              <a:gd name="connsiteX29644" fmla="*/ 739803 w 4610101"/>
              <a:gd name="connsiteY29644" fmla="*/ 758876 h 6557032"/>
              <a:gd name="connsiteX29645" fmla="*/ 745269 w 4610101"/>
              <a:gd name="connsiteY29645" fmla="*/ 762520 h 6557032"/>
              <a:gd name="connsiteX29646" fmla="*/ 736159 w 4610101"/>
              <a:gd name="connsiteY29646" fmla="*/ 753409 h 6557032"/>
              <a:gd name="connsiteX29647" fmla="*/ 735065 w 4610101"/>
              <a:gd name="connsiteY29647" fmla="*/ 750130 h 6557032"/>
              <a:gd name="connsiteX29648" fmla="*/ 745269 w 4610101"/>
              <a:gd name="connsiteY29648" fmla="*/ 755231 h 6557032"/>
              <a:gd name="connsiteX29649" fmla="*/ 741852 w 4610101"/>
              <a:gd name="connsiteY29649" fmla="*/ 751132 h 6557032"/>
              <a:gd name="connsiteX29650" fmla="*/ 734983 w 4610101"/>
              <a:gd name="connsiteY29650" fmla="*/ 749883 h 6557032"/>
              <a:gd name="connsiteX29651" fmla="*/ 349858 w 4610101"/>
              <a:gd name="connsiteY29651" fmla="*/ 747943 h 6557032"/>
              <a:gd name="connsiteX29652" fmla="*/ 364435 w 4610101"/>
              <a:gd name="connsiteY29652" fmla="*/ 755231 h 6557032"/>
              <a:gd name="connsiteX29653" fmla="*/ 349858 w 4610101"/>
              <a:gd name="connsiteY29653" fmla="*/ 747943 h 6557032"/>
              <a:gd name="connsiteX29654" fmla="*/ 273327 w 4610101"/>
              <a:gd name="connsiteY29654" fmla="*/ 747943 h 6557032"/>
              <a:gd name="connsiteX29655" fmla="*/ 302481 w 4610101"/>
              <a:gd name="connsiteY29655" fmla="*/ 778920 h 6557032"/>
              <a:gd name="connsiteX29656" fmla="*/ 293370 w 4610101"/>
              <a:gd name="connsiteY29656" fmla="*/ 769809 h 6557032"/>
              <a:gd name="connsiteX29657" fmla="*/ 300660 w 4610101"/>
              <a:gd name="connsiteY29657" fmla="*/ 773453 h 6557032"/>
              <a:gd name="connsiteX29658" fmla="*/ 273327 w 4610101"/>
              <a:gd name="connsiteY29658" fmla="*/ 747943 h 6557032"/>
              <a:gd name="connsiteX29659" fmla="*/ 1395787 w 4610101"/>
              <a:gd name="connsiteY29659" fmla="*/ 746121 h 6557032"/>
              <a:gd name="connsiteX29660" fmla="*/ 1392141 w 4610101"/>
              <a:gd name="connsiteY29660" fmla="*/ 749083 h 6557032"/>
              <a:gd name="connsiteX29661" fmla="*/ 1392141 w 4610101"/>
              <a:gd name="connsiteY29661" fmla="*/ 747943 h 6557032"/>
              <a:gd name="connsiteX29662" fmla="*/ 1391392 w 4610101"/>
              <a:gd name="connsiteY29662" fmla="*/ 749691 h 6557032"/>
              <a:gd name="connsiteX29663" fmla="*/ 1388497 w 4610101"/>
              <a:gd name="connsiteY29663" fmla="*/ 752043 h 6557032"/>
              <a:gd name="connsiteX29664" fmla="*/ 1386676 w 4610101"/>
              <a:gd name="connsiteY29664" fmla="*/ 760698 h 6557032"/>
              <a:gd name="connsiteX29665" fmla="*/ 1391392 w 4610101"/>
              <a:gd name="connsiteY29665" fmla="*/ 749691 h 6557032"/>
              <a:gd name="connsiteX29666" fmla="*/ 1392141 w 4610101"/>
              <a:gd name="connsiteY29666" fmla="*/ 749083 h 6557032"/>
              <a:gd name="connsiteX29667" fmla="*/ 1392141 w 4610101"/>
              <a:gd name="connsiteY29667" fmla="*/ 751815 h 6557032"/>
              <a:gd name="connsiteX29668" fmla="*/ 1392141 w 4610101"/>
              <a:gd name="connsiteY29668" fmla="*/ 757054 h 6557032"/>
              <a:gd name="connsiteX29669" fmla="*/ 1384854 w 4610101"/>
              <a:gd name="connsiteY29669" fmla="*/ 773453 h 6557032"/>
              <a:gd name="connsiteX29670" fmla="*/ 1390319 w 4610101"/>
              <a:gd name="connsiteY29670" fmla="*/ 771631 h 6557032"/>
              <a:gd name="connsiteX29671" fmla="*/ 1395787 w 4610101"/>
              <a:gd name="connsiteY29671" fmla="*/ 746121 h 6557032"/>
              <a:gd name="connsiteX29672" fmla="*/ 1380297 w 4610101"/>
              <a:gd name="connsiteY29672" fmla="*/ 746121 h 6557032"/>
              <a:gd name="connsiteX29673" fmla="*/ 1372097 w 4610101"/>
              <a:gd name="connsiteY29673" fmla="*/ 749765 h 6557032"/>
              <a:gd name="connsiteX29674" fmla="*/ 1379386 w 4610101"/>
              <a:gd name="connsiteY29674" fmla="*/ 753409 h 6557032"/>
              <a:gd name="connsiteX29675" fmla="*/ 1368453 w 4610101"/>
              <a:gd name="connsiteY29675" fmla="*/ 753409 h 6557032"/>
              <a:gd name="connsiteX29676" fmla="*/ 1364809 w 4610101"/>
              <a:gd name="connsiteY29676" fmla="*/ 760698 h 6557032"/>
              <a:gd name="connsiteX29677" fmla="*/ 1359342 w 4610101"/>
              <a:gd name="connsiteY29677" fmla="*/ 769809 h 6557032"/>
              <a:gd name="connsiteX29678" fmla="*/ 1362987 w 4610101"/>
              <a:gd name="connsiteY29678" fmla="*/ 766164 h 6557032"/>
              <a:gd name="connsiteX29679" fmla="*/ 1357521 w 4610101"/>
              <a:gd name="connsiteY29679" fmla="*/ 773453 h 6557032"/>
              <a:gd name="connsiteX29680" fmla="*/ 1362987 w 4610101"/>
              <a:gd name="connsiteY29680" fmla="*/ 771631 h 6557032"/>
              <a:gd name="connsiteX29681" fmla="*/ 1359342 w 4610101"/>
              <a:gd name="connsiteY29681" fmla="*/ 775275 h 6557032"/>
              <a:gd name="connsiteX29682" fmla="*/ 1364809 w 4610101"/>
              <a:gd name="connsiteY29682" fmla="*/ 773453 h 6557032"/>
              <a:gd name="connsiteX29683" fmla="*/ 1364809 w 4610101"/>
              <a:gd name="connsiteY29683" fmla="*/ 769809 h 6557032"/>
              <a:gd name="connsiteX29684" fmla="*/ 1383030 w 4610101"/>
              <a:gd name="connsiteY29684" fmla="*/ 760698 h 6557032"/>
              <a:gd name="connsiteX29685" fmla="*/ 1384854 w 4610101"/>
              <a:gd name="connsiteY29685" fmla="*/ 762520 h 6557032"/>
              <a:gd name="connsiteX29686" fmla="*/ 1388497 w 4610101"/>
              <a:gd name="connsiteY29686" fmla="*/ 747943 h 6557032"/>
              <a:gd name="connsiteX29687" fmla="*/ 1380297 w 4610101"/>
              <a:gd name="connsiteY29687" fmla="*/ 746121 h 6557032"/>
              <a:gd name="connsiteX29688" fmla="*/ 1337476 w 4610101"/>
              <a:gd name="connsiteY29688" fmla="*/ 746121 h 6557032"/>
              <a:gd name="connsiteX29689" fmla="*/ 1327200 w 4610101"/>
              <a:gd name="connsiteY29689" fmla="*/ 752020 h 6557032"/>
              <a:gd name="connsiteX29690" fmla="*/ 1328365 w 4610101"/>
              <a:gd name="connsiteY29690" fmla="*/ 747943 h 6557032"/>
              <a:gd name="connsiteX29691" fmla="*/ 1311966 w 4610101"/>
              <a:gd name="connsiteY29691" fmla="*/ 751587 h 6557032"/>
              <a:gd name="connsiteX29692" fmla="*/ 1309959 w 4610101"/>
              <a:gd name="connsiteY29692" fmla="*/ 753483 h 6557032"/>
              <a:gd name="connsiteX29693" fmla="*/ 1295339 w 4610101"/>
              <a:gd name="connsiteY29693" fmla="*/ 759332 h 6557032"/>
              <a:gd name="connsiteX29694" fmla="*/ 1284633 w 4610101"/>
              <a:gd name="connsiteY29694" fmla="*/ 767987 h 6557032"/>
              <a:gd name="connsiteX29695" fmla="*/ 1309874 w 4610101"/>
              <a:gd name="connsiteY29695" fmla="*/ 753563 h 6557032"/>
              <a:gd name="connsiteX29696" fmla="*/ 1299666 w 4610101"/>
              <a:gd name="connsiteY29696" fmla="*/ 763203 h 6557032"/>
              <a:gd name="connsiteX29697" fmla="*/ 1284633 w 4610101"/>
              <a:gd name="connsiteY29697" fmla="*/ 773453 h 6557032"/>
              <a:gd name="connsiteX29698" fmla="*/ 1295566 w 4610101"/>
              <a:gd name="connsiteY29698" fmla="*/ 771631 h 6557032"/>
              <a:gd name="connsiteX29699" fmla="*/ 1293744 w 4610101"/>
              <a:gd name="connsiteY29699" fmla="*/ 773453 h 6557032"/>
              <a:gd name="connsiteX29700" fmla="*/ 1306499 w 4610101"/>
              <a:gd name="connsiteY29700" fmla="*/ 773453 h 6557032"/>
              <a:gd name="connsiteX29701" fmla="*/ 1321077 w 4610101"/>
              <a:gd name="connsiteY29701" fmla="*/ 773453 h 6557032"/>
              <a:gd name="connsiteX29702" fmla="*/ 1322362 w 4610101"/>
              <a:gd name="connsiteY29702" fmla="*/ 768952 h 6557032"/>
              <a:gd name="connsiteX29703" fmla="*/ 1326543 w 4610101"/>
              <a:gd name="connsiteY29703" fmla="*/ 766164 h 6557032"/>
              <a:gd name="connsiteX29704" fmla="*/ 1326543 w 4610101"/>
              <a:gd name="connsiteY29704" fmla="*/ 767987 h 6557032"/>
              <a:gd name="connsiteX29705" fmla="*/ 1332009 w 4610101"/>
              <a:gd name="connsiteY29705" fmla="*/ 766164 h 6557032"/>
              <a:gd name="connsiteX29706" fmla="*/ 1330188 w 4610101"/>
              <a:gd name="connsiteY29706" fmla="*/ 764342 h 6557032"/>
              <a:gd name="connsiteX29707" fmla="*/ 1339299 w 4610101"/>
              <a:gd name="connsiteY29707" fmla="*/ 753409 h 6557032"/>
              <a:gd name="connsiteX29708" fmla="*/ 1335654 w 4610101"/>
              <a:gd name="connsiteY29708" fmla="*/ 766164 h 6557032"/>
              <a:gd name="connsiteX29709" fmla="*/ 1341207 w 4610101"/>
              <a:gd name="connsiteY29709" fmla="*/ 765570 h 6557032"/>
              <a:gd name="connsiteX29710" fmla="*/ 1337476 w 4610101"/>
              <a:gd name="connsiteY29710" fmla="*/ 769809 h 6557032"/>
              <a:gd name="connsiteX29711" fmla="*/ 1350231 w 4610101"/>
              <a:gd name="connsiteY29711" fmla="*/ 762520 h 6557032"/>
              <a:gd name="connsiteX29712" fmla="*/ 1344372 w 4610101"/>
              <a:gd name="connsiteY29712" fmla="*/ 763727 h 6557032"/>
              <a:gd name="connsiteX29713" fmla="*/ 1348410 w 4610101"/>
              <a:gd name="connsiteY29713" fmla="*/ 760698 h 6557032"/>
              <a:gd name="connsiteX29714" fmla="*/ 1346587 w 4610101"/>
              <a:gd name="connsiteY29714" fmla="*/ 751587 h 6557032"/>
              <a:gd name="connsiteX29715" fmla="*/ 1341120 w 4610101"/>
              <a:gd name="connsiteY29715" fmla="*/ 747943 h 6557032"/>
              <a:gd name="connsiteX29716" fmla="*/ 1339299 w 4610101"/>
              <a:gd name="connsiteY29716" fmla="*/ 749765 h 6557032"/>
              <a:gd name="connsiteX29717" fmla="*/ 1337476 w 4610101"/>
              <a:gd name="connsiteY29717" fmla="*/ 746121 h 6557032"/>
              <a:gd name="connsiteX29718" fmla="*/ 1308321 w 4610101"/>
              <a:gd name="connsiteY29718" fmla="*/ 746121 h 6557032"/>
              <a:gd name="connsiteX29719" fmla="*/ 1290100 w 4610101"/>
              <a:gd name="connsiteY29719" fmla="*/ 757054 h 6557032"/>
              <a:gd name="connsiteX29720" fmla="*/ 1308321 w 4610101"/>
              <a:gd name="connsiteY29720" fmla="*/ 746121 h 6557032"/>
              <a:gd name="connsiteX29721" fmla="*/ 719759 w 4610101"/>
              <a:gd name="connsiteY29721" fmla="*/ 746121 h 6557032"/>
              <a:gd name="connsiteX29722" fmla="*/ 720153 w 4610101"/>
              <a:gd name="connsiteY29722" fmla="*/ 749864 h 6557032"/>
              <a:gd name="connsiteX29723" fmla="*/ 719759 w 4610101"/>
              <a:gd name="connsiteY29723" fmla="*/ 749765 h 6557032"/>
              <a:gd name="connsiteX29724" fmla="*/ 720172 w 4610101"/>
              <a:gd name="connsiteY29724" fmla="*/ 750040 h 6557032"/>
              <a:gd name="connsiteX29725" fmla="*/ 720214 w 4610101"/>
              <a:gd name="connsiteY29725" fmla="*/ 750449 h 6557032"/>
              <a:gd name="connsiteX29726" fmla="*/ 723404 w 4610101"/>
              <a:gd name="connsiteY29726" fmla="*/ 753409 h 6557032"/>
              <a:gd name="connsiteX29727" fmla="*/ 727048 w 4610101"/>
              <a:gd name="connsiteY29727" fmla="*/ 751587 h 6557032"/>
              <a:gd name="connsiteX29728" fmla="*/ 723211 w 4610101"/>
              <a:gd name="connsiteY29728" fmla="*/ 750628 h 6557032"/>
              <a:gd name="connsiteX29729" fmla="*/ 725226 w 4610101"/>
              <a:gd name="connsiteY29729" fmla="*/ 747943 h 6557032"/>
              <a:gd name="connsiteX29730" fmla="*/ 719759 w 4610101"/>
              <a:gd name="connsiteY29730" fmla="*/ 746121 h 6557032"/>
              <a:gd name="connsiteX29731" fmla="*/ 692426 w 4610101"/>
              <a:gd name="connsiteY29731" fmla="*/ 746121 h 6557032"/>
              <a:gd name="connsiteX29732" fmla="*/ 692914 w 4610101"/>
              <a:gd name="connsiteY29732" fmla="*/ 746300 h 6557032"/>
              <a:gd name="connsiteX29733" fmla="*/ 692367 w 4610101"/>
              <a:gd name="connsiteY29733" fmla="*/ 747121 h 6557032"/>
              <a:gd name="connsiteX29734" fmla="*/ 606784 w 4610101"/>
              <a:gd name="connsiteY29734" fmla="*/ 746121 h 6557032"/>
              <a:gd name="connsiteX29735" fmla="*/ 601318 w 4610101"/>
              <a:gd name="connsiteY29735" fmla="*/ 747943 h 6557032"/>
              <a:gd name="connsiteX29736" fmla="*/ 608606 w 4610101"/>
              <a:gd name="connsiteY29736" fmla="*/ 755231 h 6557032"/>
              <a:gd name="connsiteX29737" fmla="*/ 606784 w 4610101"/>
              <a:gd name="connsiteY29737" fmla="*/ 746121 h 6557032"/>
              <a:gd name="connsiteX29738" fmla="*/ 530253 w 4610101"/>
              <a:gd name="connsiteY29738" fmla="*/ 746121 h 6557032"/>
              <a:gd name="connsiteX29739" fmla="*/ 530937 w 4610101"/>
              <a:gd name="connsiteY29739" fmla="*/ 750676 h 6557032"/>
              <a:gd name="connsiteX29740" fmla="*/ 532103 w 4610101"/>
              <a:gd name="connsiteY29740" fmla="*/ 751787 h 6557032"/>
              <a:gd name="connsiteX29741" fmla="*/ 532758 w 4610101"/>
              <a:gd name="connsiteY29741" fmla="*/ 756598 h 6557032"/>
              <a:gd name="connsiteX29742" fmla="*/ 537542 w 4610101"/>
              <a:gd name="connsiteY29742" fmla="*/ 758876 h 6557032"/>
              <a:gd name="connsiteX29743" fmla="*/ 532531 w 4610101"/>
              <a:gd name="connsiteY29743" fmla="*/ 752195 h 6557032"/>
              <a:gd name="connsiteX29744" fmla="*/ 535719 w 4610101"/>
              <a:gd name="connsiteY29744" fmla="*/ 755231 h 6557032"/>
              <a:gd name="connsiteX29745" fmla="*/ 530253 w 4610101"/>
              <a:gd name="connsiteY29745" fmla="*/ 746121 h 6557032"/>
              <a:gd name="connsiteX29746" fmla="*/ 515676 w 4610101"/>
              <a:gd name="connsiteY29746" fmla="*/ 746121 h 6557032"/>
              <a:gd name="connsiteX29747" fmla="*/ 519320 w 4610101"/>
              <a:gd name="connsiteY29747" fmla="*/ 757054 h 6557032"/>
              <a:gd name="connsiteX29748" fmla="*/ 515676 w 4610101"/>
              <a:gd name="connsiteY29748" fmla="*/ 746121 h 6557032"/>
              <a:gd name="connsiteX29749" fmla="*/ 271504 w 4610101"/>
              <a:gd name="connsiteY29749" fmla="*/ 746121 h 6557032"/>
              <a:gd name="connsiteX29750" fmla="*/ 278793 w 4610101"/>
              <a:gd name="connsiteY29750" fmla="*/ 755231 h 6557032"/>
              <a:gd name="connsiteX29751" fmla="*/ 271504 w 4610101"/>
              <a:gd name="connsiteY29751" fmla="*/ 746121 h 6557032"/>
              <a:gd name="connsiteX29752" fmla="*/ 1397608 w 4610101"/>
              <a:gd name="connsiteY29752" fmla="*/ 744298 h 6557032"/>
              <a:gd name="connsiteX29753" fmla="*/ 1401252 w 4610101"/>
              <a:gd name="connsiteY29753" fmla="*/ 749765 h 6557032"/>
              <a:gd name="connsiteX29754" fmla="*/ 1401252 w 4610101"/>
              <a:gd name="connsiteY29754" fmla="*/ 744298 h 6557032"/>
              <a:gd name="connsiteX29755" fmla="*/ 1397608 w 4610101"/>
              <a:gd name="connsiteY29755" fmla="*/ 744298 h 6557032"/>
              <a:gd name="connsiteX29756" fmla="*/ 1352053 w 4610101"/>
              <a:gd name="connsiteY29756" fmla="*/ 744298 h 6557032"/>
              <a:gd name="connsiteX29757" fmla="*/ 1357521 w 4610101"/>
              <a:gd name="connsiteY29757" fmla="*/ 744298 h 6557032"/>
              <a:gd name="connsiteX29758" fmla="*/ 1352053 w 4610101"/>
              <a:gd name="connsiteY29758" fmla="*/ 744298 h 6557032"/>
              <a:gd name="connsiteX29759" fmla="*/ 1175303 w 4610101"/>
              <a:gd name="connsiteY29759" fmla="*/ 744298 h 6557032"/>
              <a:gd name="connsiteX29760" fmla="*/ 1175303 w 4610101"/>
              <a:gd name="connsiteY29760" fmla="*/ 749765 h 6557032"/>
              <a:gd name="connsiteX29761" fmla="*/ 1180769 w 4610101"/>
              <a:gd name="connsiteY29761" fmla="*/ 746121 h 6557032"/>
              <a:gd name="connsiteX29762" fmla="*/ 1175303 w 4610101"/>
              <a:gd name="connsiteY29762" fmla="*/ 744298 h 6557032"/>
              <a:gd name="connsiteX29763" fmla="*/ 1137037 w 4610101"/>
              <a:gd name="connsiteY29763" fmla="*/ 744298 h 6557032"/>
              <a:gd name="connsiteX29764" fmla="*/ 1127926 w 4610101"/>
              <a:gd name="connsiteY29764" fmla="*/ 749765 h 6557032"/>
              <a:gd name="connsiteX29765" fmla="*/ 1142503 w 4610101"/>
              <a:gd name="connsiteY29765" fmla="*/ 749765 h 6557032"/>
              <a:gd name="connsiteX29766" fmla="*/ 1137037 w 4610101"/>
              <a:gd name="connsiteY29766" fmla="*/ 744298 h 6557032"/>
              <a:gd name="connsiteX29767" fmla="*/ 916555 w 4610101"/>
              <a:gd name="connsiteY29767" fmla="*/ 744298 h 6557032"/>
              <a:gd name="connsiteX29768" fmla="*/ 912909 w 4610101"/>
              <a:gd name="connsiteY29768" fmla="*/ 747943 h 6557032"/>
              <a:gd name="connsiteX29769" fmla="*/ 916555 w 4610101"/>
              <a:gd name="connsiteY29769" fmla="*/ 744298 h 6557032"/>
              <a:gd name="connsiteX29770" fmla="*/ 909265 w 4610101"/>
              <a:gd name="connsiteY29770" fmla="*/ 744298 h 6557032"/>
              <a:gd name="connsiteX29771" fmla="*/ 905621 w 4610101"/>
              <a:gd name="connsiteY29771" fmla="*/ 747943 h 6557032"/>
              <a:gd name="connsiteX29772" fmla="*/ 909265 w 4610101"/>
              <a:gd name="connsiteY29772" fmla="*/ 744298 h 6557032"/>
              <a:gd name="connsiteX29773" fmla="*/ 557586 w 4610101"/>
              <a:gd name="connsiteY29773" fmla="*/ 744298 h 6557032"/>
              <a:gd name="connsiteX29774" fmla="*/ 552119 w 4610101"/>
              <a:gd name="connsiteY29774" fmla="*/ 755231 h 6557032"/>
              <a:gd name="connsiteX29775" fmla="*/ 557586 w 4610101"/>
              <a:gd name="connsiteY29775" fmla="*/ 744298 h 6557032"/>
              <a:gd name="connsiteX29776" fmla="*/ 362613 w 4610101"/>
              <a:gd name="connsiteY29776" fmla="*/ 744298 h 6557032"/>
              <a:gd name="connsiteX29777" fmla="*/ 369902 w 4610101"/>
              <a:gd name="connsiteY29777" fmla="*/ 747943 h 6557032"/>
              <a:gd name="connsiteX29778" fmla="*/ 362613 w 4610101"/>
              <a:gd name="connsiteY29778" fmla="*/ 744298 h 6557032"/>
              <a:gd name="connsiteX29779" fmla="*/ 3230715 w 4610101"/>
              <a:gd name="connsiteY29779" fmla="*/ 742476 h 6557032"/>
              <a:gd name="connsiteX29780" fmla="*/ 3223426 w 4610101"/>
              <a:gd name="connsiteY29780" fmla="*/ 744298 h 6557032"/>
              <a:gd name="connsiteX29781" fmla="*/ 3225248 w 4610101"/>
              <a:gd name="connsiteY29781" fmla="*/ 749765 h 6557032"/>
              <a:gd name="connsiteX29782" fmla="*/ 3230715 w 4610101"/>
              <a:gd name="connsiteY29782" fmla="*/ 742476 h 6557032"/>
              <a:gd name="connsiteX29783" fmla="*/ 1434051 w 4610101"/>
              <a:gd name="connsiteY29783" fmla="*/ 742476 h 6557032"/>
              <a:gd name="connsiteX29784" fmla="*/ 1404896 w 4610101"/>
              <a:gd name="connsiteY29784" fmla="*/ 746121 h 6557032"/>
              <a:gd name="connsiteX29785" fmla="*/ 1419474 w 4610101"/>
              <a:gd name="connsiteY29785" fmla="*/ 747943 h 6557032"/>
              <a:gd name="connsiteX29786" fmla="*/ 1421296 w 4610101"/>
              <a:gd name="connsiteY29786" fmla="*/ 749765 h 6557032"/>
              <a:gd name="connsiteX29787" fmla="*/ 1417652 w 4610101"/>
              <a:gd name="connsiteY29787" fmla="*/ 749765 h 6557032"/>
              <a:gd name="connsiteX29788" fmla="*/ 1421296 w 4610101"/>
              <a:gd name="connsiteY29788" fmla="*/ 755231 h 6557032"/>
              <a:gd name="connsiteX29789" fmla="*/ 1421296 w 4610101"/>
              <a:gd name="connsiteY29789" fmla="*/ 751587 h 6557032"/>
              <a:gd name="connsiteX29790" fmla="*/ 1424940 w 4610101"/>
              <a:gd name="connsiteY29790" fmla="*/ 751587 h 6557032"/>
              <a:gd name="connsiteX29791" fmla="*/ 1426763 w 4610101"/>
              <a:gd name="connsiteY29791" fmla="*/ 755231 h 6557032"/>
              <a:gd name="connsiteX29792" fmla="*/ 1428585 w 4610101"/>
              <a:gd name="connsiteY29792" fmla="*/ 751587 h 6557032"/>
              <a:gd name="connsiteX29793" fmla="*/ 1430407 w 4610101"/>
              <a:gd name="connsiteY29793" fmla="*/ 755231 h 6557032"/>
              <a:gd name="connsiteX29794" fmla="*/ 1439518 w 4610101"/>
              <a:gd name="connsiteY29794" fmla="*/ 747943 h 6557032"/>
              <a:gd name="connsiteX29795" fmla="*/ 1434051 w 4610101"/>
              <a:gd name="connsiteY29795" fmla="*/ 742476 h 6557032"/>
              <a:gd name="connsiteX29796" fmla="*/ 1364809 w 4610101"/>
              <a:gd name="connsiteY29796" fmla="*/ 742476 h 6557032"/>
              <a:gd name="connsiteX29797" fmla="*/ 1359342 w 4610101"/>
              <a:gd name="connsiteY29797" fmla="*/ 747943 h 6557032"/>
              <a:gd name="connsiteX29798" fmla="*/ 1361164 w 4610101"/>
              <a:gd name="connsiteY29798" fmla="*/ 747943 h 6557032"/>
              <a:gd name="connsiteX29799" fmla="*/ 1364809 w 4610101"/>
              <a:gd name="connsiteY29799" fmla="*/ 742476 h 6557032"/>
              <a:gd name="connsiteX29800" fmla="*/ 1211747 w 4610101"/>
              <a:gd name="connsiteY29800" fmla="*/ 742476 h 6557032"/>
              <a:gd name="connsiteX29801" fmla="*/ 1202636 w 4610101"/>
              <a:gd name="connsiteY29801" fmla="*/ 749765 h 6557032"/>
              <a:gd name="connsiteX29802" fmla="*/ 1211747 w 4610101"/>
              <a:gd name="connsiteY29802" fmla="*/ 746121 h 6557032"/>
              <a:gd name="connsiteX29803" fmla="*/ 1211747 w 4610101"/>
              <a:gd name="connsiteY29803" fmla="*/ 742476 h 6557032"/>
              <a:gd name="connsiteX29804" fmla="*/ 1142503 w 4610101"/>
              <a:gd name="connsiteY29804" fmla="*/ 742476 h 6557032"/>
              <a:gd name="connsiteX29805" fmla="*/ 1144326 w 4610101"/>
              <a:gd name="connsiteY29805" fmla="*/ 747943 h 6557032"/>
              <a:gd name="connsiteX29806" fmla="*/ 1146148 w 4610101"/>
              <a:gd name="connsiteY29806" fmla="*/ 746121 h 6557032"/>
              <a:gd name="connsiteX29807" fmla="*/ 1142503 w 4610101"/>
              <a:gd name="connsiteY29807" fmla="*/ 742476 h 6557032"/>
              <a:gd name="connsiteX29808" fmla="*/ 506565 w 4610101"/>
              <a:gd name="connsiteY29808" fmla="*/ 742476 h 6557032"/>
              <a:gd name="connsiteX29809" fmla="*/ 508387 w 4610101"/>
              <a:gd name="connsiteY29809" fmla="*/ 749765 h 6557032"/>
              <a:gd name="connsiteX29810" fmla="*/ 506565 w 4610101"/>
              <a:gd name="connsiteY29810" fmla="*/ 742476 h 6557032"/>
              <a:gd name="connsiteX29811" fmla="*/ 375368 w 4610101"/>
              <a:gd name="connsiteY29811" fmla="*/ 742476 h 6557032"/>
              <a:gd name="connsiteX29812" fmla="*/ 380835 w 4610101"/>
              <a:gd name="connsiteY29812" fmla="*/ 747943 h 6557032"/>
              <a:gd name="connsiteX29813" fmla="*/ 375368 w 4610101"/>
              <a:gd name="connsiteY29813" fmla="*/ 742476 h 6557032"/>
              <a:gd name="connsiteX29814" fmla="*/ 3522263 w 4610101"/>
              <a:gd name="connsiteY29814" fmla="*/ 740654 h 6557032"/>
              <a:gd name="connsiteX29815" fmla="*/ 3498574 w 4610101"/>
              <a:gd name="connsiteY29815" fmla="*/ 749765 h 6557032"/>
              <a:gd name="connsiteX29816" fmla="*/ 3509507 w 4610101"/>
              <a:gd name="connsiteY29816" fmla="*/ 749765 h 6557032"/>
              <a:gd name="connsiteX29817" fmla="*/ 3494930 w 4610101"/>
              <a:gd name="connsiteY29817" fmla="*/ 749765 h 6557032"/>
              <a:gd name="connsiteX29818" fmla="*/ 3498574 w 4610101"/>
              <a:gd name="connsiteY29818" fmla="*/ 757054 h 6557032"/>
              <a:gd name="connsiteX29819" fmla="*/ 3496752 w 4610101"/>
              <a:gd name="connsiteY29819" fmla="*/ 760698 h 6557032"/>
              <a:gd name="connsiteX29820" fmla="*/ 3493108 w 4610101"/>
              <a:gd name="connsiteY29820" fmla="*/ 758876 h 6557032"/>
              <a:gd name="connsiteX29821" fmla="*/ 3491286 w 4610101"/>
              <a:gd name="connsiteY29821" fmla="*/ 751587 h 6557032"/>
              <a:gd name="connsiteX29822" fmla="*/ 3456664 w 4610101"/>
              <a:gd name="connsiteY29822" fmla="*/ 778920 h 6557032"/>
              <a:gd name="connsiteX29823" fmla="*/ 3453020 w 4610101"/>
              <a:gd name="connsiteY29823" fmla="*/ 780742 h 6557032"/>
              <a:gd name="connsiteX29824" fmla="*/ 3467597 w 4610101"/>
              <a:gd name="connsiteY29824" fmla="*/ 788031 h 6557032"/>
              <a:gd name="connsiteX29825" fmla="*/ 3469419 w 4610101"/>
              <a:gd name="connsiteY29825" fmla="*/ 797141 h 6557032"/>
              <a:gd name="connsiteX29826" fmla="*/ 3456664 w 4610101"/>
              <a:gd name="connsiteY29826" fmla="*/ 778920 h 6557032"/>
              <a:gd name="connsiteX29827" fmla="*/ 3460309 w 4610101"/>
              <a:gd name="connsiteY29827" fmla="*/ 780742 h 6557032"/>
              <a:gd name="connsiteX29828" fmla="*/ 3476708 w 4610101"/>
              <a:gd name="connsiteY29828" fmla="*/ 780742 h 6557032"/>
              <a:gd name="connsiteX29829" fmla="*/ 3477079 w 4610101"/>
              <a:gd name="connsiteY29829" fmla="*/ 773852 h 6557032"/>
              <a:gd name="connsiteX29830" fmla="*/ 3480093 w 4610101"/>
              <a:gd name="connsiteY29830" fmla="*/ 772441 h 6557032"/>
              <a:gd name="connsiteX29831" fmla="*/ 3476253 w 4610101"/>
              <a:gd name="connsiteY29831" fmla="*/ 784387 h 6557032"/>
              <a:gd name="connsiteX29832" fmla="*/ 3474886 w 4610101"/>
              <a:gd name="connsiteY29832" fmla="*/ 797141 h 6557032"/>
              <a:gd name="connsiteX29833" fmla="*/ 3480353 w 4610101"/>
              <a:gd name="connsiteY29833" fmla="*/ 795319 h 6557032"/>
              <a:gd name="connsiteX29834" fmla="*/ 3487641 w 4610101"/>
              <a:gd name="connsiteY29834" fmla="*/ 802608 h 6557032"/>
              <a:gd name="connsiteX29835" fmla="*/ 3487641 w 4610101"/>
              <a:gd name="connsiteY29835" fmla="*/ 791675 h 6557032"/>
              <a:gd name="connsiteX29836" fmla="*/ 3513152 w 4610101"/>
              <a:gd name="connsiteY29836" fmla="*/ 806252 h 6557032"/>
              <a:gd name="connsiteX29837" fmla="*/ 3522263 w 4610101"/>
              <a:gd name="connsiteY29837" fmla="*/ 800786 h 6557032"/>
              <a:gd name="connsiteX29838" fmla="*/ 3518618 w 4610101"/>
              <a:gd name="connsiteY29838" fmla="*/ 798964 h 6557032"/>
              <a:gd name="connsiteX29839" fmla="*/ 3533196 w 4610101"/>
              <a:gd name="connsiteY29839" fmla="*/ 800786 h 6557032"/>
              <a:gd name="connsiteX29840" fmla="*/ 3516796 w 4610101"/>
              <a:gd name="connsiteY29840" fmla="*/ 795319 h 6557032"/>
              <a:gd name="connsiteX29841" fmla="*/ 3505863 w 4610101"/>
              <a:gd name="connsiteY29841" fmla="*/ 773453 h 6557032"/>
              <a:gd name="connsiteX29842" fmla="*/ 3498574 w 4610101"/>
              <a:gd name="connsiteY29842" fmla="*/ 773453 h 6557032"/>
              <a:gd name="connsiteX29843" fmla="*/ 3500397 w 4610101"/>
              <a:gd name="connsiteY29843" fmla="*/ 777098 h 6557032"/>
              <a:gd name="connsiteX29844" fmla="*/ 3496752 w 4610101"/>
              <a:gd name="connsiteY29844" fmla="*/ 778920 h 6557032"/>
              <a:gd name="connsiteX29845" fmla="*/ 3489919 w 4610101"/>
              <a:gd name="connsiteY29845" fmla="*/ 773226 h 6557032"/>
              <a:gd name="connsiteX29846" fmla="*/ 3481437 w 4610101"/>
              <a:gd name="connsiteY29846" fmla="*/ 771812 h 6557032"/>
              <a:gd name="connsiteX29847" fmla="*/ 3483770 w 4610101"/>
              <a:gd name="connsiteY29847" fmla="*/ 770720 h 6557032"/>
              <a:gd name="connsiteX29848" fmla="*/ 3500397 w 4610101"/>
              <a:gd name="connsiteY29848" fmla="*/ 766164 h 6557032"/>
              <a:gd name="connsiteX29849" fmla="*/ 3509507 w 4610101"/>
              <a:gd name="connsiteY29849" fmla="*/ 775275 h 6557032"/>
              <a:gd name="connsiteX29850" fmla="*/ 3514974 w 4610101"/>
              <a:gd name="connsiteY29850" fmla="*/ 773453 h 6557032"/>
              <a:gd name="connsiteX29851" fmla="*/ 3525907 w 4610101"/>
              <a:gd name="connsiteY29851" fmla="*/ 791675 h 6557032"/>
              <a:gd name="connsiteX29852" fmla="*/ 3529551 w 4610101"/>
              <a:gd name="connsiteY29852" fmla="*/ 788031 h 6557032"/>
              <a:gd name="connsiteX29853" fmla="*/ 3535018 w 4610101"/>
              <a:gd name="connsiteY29853" fmla="*/ 791675 h 6557032"/>
              <a:gd name="connsiteX29854" fmla="*/ 3527729 w 4610101"/>
              <a:gd name="connsiteY29854" fmla="*/ 769809 h 6557032"/>
              <a:gd name="connsiteX29855" fmla="*/ 3524085 w 4610101"/>
              <a:gd name="connsiteY29855" fmla="*/ 757054 h 6557032"/>
              <a:gd name="connsiteX29856" fmla="*/ 3522263 w 4610101"/>
              <a:gd name="connsiteY29856" fmla="*/ 760698 h 6557032"/>
              <a:gd name="connsiteX29857" fmla="*/ 3516796 w 4610101"/>
              <a:gd name="connsiteY29857" fmla="*/ 751587 h 6557032"/>
              <a:gd name="connsiteX29858" fmla="*/ 3522263 w 4610101"/>
              <a:gd name="connsiteY29858" fmla="*/ 740654 h 6557032"/>
              <a:gd name="connsiteX29859" fmla="*/ 2314161 w 4610101"/>
              <a:gd name="connsiteY29859" fmla="*/ 740654 h 6557032"/>
              <a:gd name="connsiteX29860" fmla="*/ 2315983 w 4610101"/>
              <a:gd name="connsiteY29860" fmla="*/ 751587 h 6557032"/>
              <a:gd name="connsiteX29861" fmla="*/ 2314161 w 4610101"/>
              <a:gd name="connsiteY29861" fmla="*/ 740654 h 6557032"/>
              <a:gd name="connsiteX29862" fmla="*/ 1240901 w 4610101"/>
              <a:gd name="connsiteY29862" fmla="*/ 740654 h 6557032"/>
              <a:gd name="connsiteX29863" fmla="*/ 1229969 w 4610101"/>
              <a:gd name="connsiteY29863" fmla="*/ 744298 h 6557032"/>
              <a:gd name="connsiteX29864" fmla="*/ 1240901 w 4610101"/>
              <a:gd name="connsiteY29864" fmla="*/ 740654 h 6557032"/>
              <a:gd name="connsiteX29865" fmla="*/ 1024062 w 4610101"/>
              <a:gd name="connsiteY29865" fmla="*/ 740654 h 6557032"/>
              <a:gd name="connsiteX29866" fmla="*/ 1018596 w 4610101"/>
              <a:gd name="connsiteY29866" fmla="*/ 749765 h 6557032"/>
              <a:gd name="connsiteX29867" fmla="*/ 1024062 w 4610101"/>
              <a:gd name="connsiteY29867" fmla="*/ 740654 h 6557032"/>
              <a:gd name="connsiteX29868" fmla="*/ 880111 w 4610101"/>
              <a:gd name="connsiteY29868" fmla="*/ 740654 h 6557032"/>
              <a:gd name="connsiteX29869" fmla="*/ 889222 w 4610101"/>
              <a:gd name="connsiteY29869" fmla="*/ 751587 h 6557032"/>
              <a:gd name="connsiteX29870" fmla="*/ 880111 w 4610101"/>
              <a:gd name="connsiteY29870" fmla="*/ 740654 h 6557032"/>
              <a:gd name="connsiteX29871" fmla="*/ 805401 w 4610101"/>
              <a:gd name="connsiteY29871" fmla="*/ 740654 h 6557032"/>
              <a:gd name="connsiteX29872" fmla="*/ 801757 w 4610101"/>
              <a:gd name="connsiteY29872" fmla="*/ 746121 h 6557032"/>
              <a:gd name="connsiteX29873" fmla="*/ 812690 w 4610101"/>
              <a:gd name="connsiteY29873" fmla="*/ 746121 h 6557032"/>
              <a:gd name="connsiteX29874" fmla="*/ 805401 w 4610101"/>
              <a:gd name="connsiteY29874" fmla="*/ 740654 h 6557032"/>
              <a:gd name="connsiteX29875" fmla="*/ 747092 w 4610101"/>
              <a:gd name="connsiteY29875" fmla="*/ 740654 h 6557032"/>
              <a:gd name="connsiteX29876" fmla="*/ 754380 w 4610101"/>
              <a:gd name="connsiteY29876" fmla="*/ 751587 h 6557032"/>
              <a:gd name="connsiteX29877" fmla="*/ 747092 w 4610101"/>
              <a:gd name="connsiteY29877" fmla="*/ 740654 h 6557032"/>
              <a:gd name="connsiteX29878" fmla="*/ 561230 w 4610101"/>
              <a:gd name="connsiteY29878" fmla="*/ 740654 h 6557032"/>
              <a:gd name="connsiteX29879" fmla="*/ 563052 w 4610101"/>
              <a:gd name="connsiteY29879" fmla="*/ 746121 h 6557032"/>
              <a:gd name="connsiteX29880" fmla="*/ 561230 w 4610101"/>
              <a:gd name="connsiteY29880" fmla="*/ 740654 h 6557032"/>
              <a:gd name="connsiteX29881" fmla="*/ 428211 w 4610101"/>
              <a:gd name="connsiteY29881" fmla="*/ 740654 h 6557032"/>
              <a:gd name="connsiteX29882" fmla="*/ 450077 w 4610101"/>
              <a:gd name="connsiteY29882" fmla="*/ 777098 h 6557032"/>
              <a:gd name="connsiteX29883" fmla="*/ 444611 w 4610101"/>
              <a:gd name="connsiteY29883" fmla="*/ 747943 h 6557032"/>
              <a:gd name="connsiteX29884" fmla="*/ 428211 w 4610101"/>
              <a:gd name="connsiteY29884" fmla="*/ 740654 h 6557032"/>
              <a:gd name="connsiteX29885" fmla="*/ 140308 w 4610101"/>
              <a:gd name="connsiteY29885" fmla="*/ 740654 h 6557032"/>
              <a:gd name="connsiteX29886" fmla="*/ 160352 w 4610101"/>
              <a:gd name="connsiteY29886" fmla="*/ 764342 h 6557032"/>
              <a:gd name="connsiteX29887" fmla="*/ 151241 w 4610101"/>
              <a:gd name="connsiteY29887" fmla="*/ 749765 h 6557032"/>
              <a:gd name="connsiteX29888" fmla="*/ 149419 w 4610101"/>
              <a:gd name="connsiteY29888" fmla="*/ 746121 h 6557032"/>
              <a:gd name="connsiteX29889" fmla="*/ 140308 w 4610101"/>
              <a:gd name="connsiteY29889" fmla="*/ 740654 h 6557032"/>
              <a:gd name="connsiteX29890" fmla="*/ 1184414 w 4610101"/>
              <a:gd name="connsiteY29890" fmla="*/ 739516 h 6557032"/>
              <a:gd name="connsiteX29891" fmla="*/ 1178947 w 4610101"/>
              <a:gd name="connsiteY29891" fmla="*/ 742476 h 6557032"/>
              <a:gd name="connsiteX29892" fmla="*/ 1184414 w 4610101"/>
              <a:gd name="connsiteY29892" fmla="*/ 744298 h 6557032"/>
              <a:gd name="connsiteX29893" fmla="*/ 1189880 w 4610101"/>
              <a:gd name="connsiteY29893" fmla="*/ 740654 h 6557032"/>
              <a:gd name="connsiteX29894" fmla="*/ 1184414 w 4610101"/>
              <a:gd name="connsiteY29894" fmla="*/ 739516 h 6557032"/>
              <a:gd name="connsiteX29895" fmla="*/ 3216137 w 4610101"/>
              <a:gd name="connsiteY29895" fmla="*/ 738832 h 6557032"/>
              <a:gd name="connsiteX29896" fmla="*/ 3210671 w 4610101"/>
              <a:gd name="connsiteY29896" fmla="*/ 744298 h 6557032"/>
              <a:gd name="connsiteX29897" fmla="*/ 3216137 w 4610101"/>
              <a:gd name="connsiteY29897" fmla="*/ 749765 h 6557032"/>
              <a:gd name="connsiteX29898" fmla="*/ 3219782 w 4610101"/>
              <a:gd name="connsiteY29898" fmla="*/ 744298 h 6557032"/>
              <a:gd name="connsiteX29899" fmla="*/ 3216137 w 4610101"/>
              <a:gd name="connsiteY29899" fmla="*/ 738832 h 6557032"/>
              <a:gd name="connsiteX29900" fmla="*/ 2658552 w 4610101"/>
              <a:gd name="connsiteY29900" fmla="*/ 738832 h 6557032"/>
              <a:gd name="connsiteX29901" fmla="*/ 2667663 w 4610101"/>
              <a:gd name="connsiteY29901" fmla="*/ 742476 h 6557032"/>
              <a:gd name="connsiteX29902" fmla="*/ 2658552 w 4610101"/>
              <a:gd name="connsiteY29902" fmla="*/ 738832 h 6557032"/>
              <a:gd name="connsiteX29903" fmla="*/ 1461384 w 4610101"/>
              <a:gd name="connsiteY29903" fmla="*/ 738832 h 6557032"/>
              <a:gd name="connsiteX29904" fmla="*/ 1452273 w 4610101"/>
              <a:gd name="connsiteY29904" fmla="*/ 742476 h 6557032"/>
              <a:gd name="connsiteX29905" fmla="*/ 1452728 w 4610101"/>
              <a:gd name="connsiteY29905" fmla="*/ 742021 h 6557032"/>
              <a:gd name="connsiteX29906" fmla="*/ 1461384 w 4610101"/>
              <a:gd name="connsiteY29906" fmla="*/ 738832 h 6557032"/>
              <a:gd name="connsiteX29907" fmla="*/ 1215390 w 4610101"/>
              <a:gd name="connsiteY29907" fmla="*/ 738832 h 6557032"/>
              <a:gd name="connsiteX29908" fmla="*/ 1217213 w 4610101"/>
              <a:gd name="connsiteY29908" fmla="*/ 742476 h 6557032"/>
              <a:gd name="connsiteX29909" fmla="*/ 1220858 w 4610101"/>
              <a:gd name="connsiteY29909" fmla="*/ 738832 h 6557032"/>
              <a:gd name="connsiteX29910" fmla="*/ 1215390 w 4610101"/>
              <a:gd name="connsiteY29910" fmla="*/ 738832 h 6557032"/>
              <a:gd name="connsiteX29911" fmla="*/ 1133393 w 4610101"/>
              <a:gd name="connsiteY29911" fmla="*/ 738832 h 6557032"/>
              <a:gd name="connsiteX29912" fmla="*/ 1135215 w 4610101"/>
              <a:gd name="connsiteY29912" fmla="*/ 740654 h 6557032"/>
              <a:gd name="connsiteX29913" fmla="*/ 1138859 w 4610101"/>
              <a:gd name="connsiteY29913" fmla="*/ 738832 h 6557032"/>
              <a:gd name="connsiteX29914" fmla="*/ 1133393 w 4610101"/>
              <a:gd name="connsiteY29914" fmla="*/ 738832 h 6557032"/>
              <a:gd name="connsiteX29915" fmla="*/ 1109704 w 4610101"/>
              <a:gd name="connsiteY29915" fmla="*/ 738832 h 6557032"/>
              <a:gd name="connsiteX29916" fmla="*/ 1111526 w 4610101"/>
              <a:gd name="connsiteY29916" fmla="*/ 744298 h 6557032"/>
              <a:gd name="connsiteX29917" fmla="*/ 1113349 w 4610101"/>
              <a:gd name="connsiteY29917" fmla="*/ 742476 h 6557032"/>
              <a:gd name="connsiteX29918" fmla="*/ 1111526 w 4610101"/>
              <a:gd name="connsiteY29918" fmla="*/ 749765 h 6557032"/>
              <a:gd name="connsiteX29919" fmla="*/ 1116993 w 4610101"/>
              <a:gd name="connsiteY29919" fmla="*/ 746121 h 6557032"/>
              <a:gd name="connsiteX29920" fmla="*/ 1120637 w 4610101"/>
              <a:gd name="connsiteY29920" fmla="*/ 751587 h 6557032"/>
              <a:gd name="connsiteX29921" fmla="*/ 1120637 w 4610101"/>
              <a:gd name="connsiteY29921" fmla="*/ 738832 h 6557032"/>
              <a:gd name="connsiteX29922" fmla="*/ 1109704 w 4610101"/>
              <a:gd name="connsiteY29922" fmla="*/ 738832 h 6557032"/>
              <a:gd name="connsiteX29923" fmla="*/ 949353 w 4610101"/>
              <a:gd name="connsiteY29923" fmla="*/ 738832 h 6557032"/>
              <a:gd name="connsiteX29924" fmla="*/ 942064 w 4610101"/>
              <a:gd name="connsiteY29924" fmla="*/ 747943 h 6557032"/>
              <a:gd name="connsiteX29925" fmla="*/ 949353 w 4610101"/>
              <a:gd name="connsiteY29925" fmla="*/ 738832 h 6557032"/>
              <a:gd name="connsiteX29926" fmla="*/ 818156 w 4610101"/>
              <a:gd name="connsiteY29926" fmla="*/ 738832 h 6557032"/>
              <a:gd name="connsiteX29927" fmla="*/ 818156 w 4610101"/>
              <a:gd name="connsiteY29927" fmla="*/ 746121 h 6557032"/>
              <a:gd name="connsiteX29928" fmla="*/ 823623 w 4610101"/>
              <a:gd name="connsiteY29928" fmla="*/ 740654 h 6557032"/>
              <a:gd name="connsiteX29929" fmla="*/ 818156 w 4610101"/>
              <a:gd name="connsiteY29929" fmla="*/ 738832 h 6557032"/>
              <a:gd name="connsiteX29930" fmla="*/ 739803 w 4610101"/>
              <a:gd name="connsiteY29930" fmla="*/ 738832 h 6557032"/>
              <a:gd name="connsiteX29931" fmla="*/ 747092 w 4610101"/>
              <a:gd name="connsiteY29931" fmla="*/ 744298 h 6557032"/>
              <a:gd name="connsiteX29932" fmla="*/ 739803 w 4610101"/>
              <a:gd name="connsiteY29932" fmla="*/ 738832 h 6557032"/>
              <a:gd name="connsiteX29933" fmla="*/ 648694 w 4610101"/>
              <a:gd name="connsiteY29933" fmla="*/ 738832 h 6557032"/>
              <a:gd name="connsiteX29934" fmla="*/ 645050 w 4610101"/>
              <a:gd name="connsiteY29934" fmla="*/ 746121 h 6557032"/>
              <a:gd name="connsiteX29935" fmla="*/ 663272 w 4610101"/>
              <a:gd name="connsiteY29935" fmla="*/ 751587 h 6557032"/>
              <a:gd name="connsiteX29936" fmla="*/ 648694 w 4610101"/>
              <a:gd name="connsiteY29936" fmla="*/ 738832 h 6557032"/>
              <a:gd name="connsiteX29937" fmla="*/ 590385 w 4610101"/>
              <a:gd name="connsiteY29937" fmla="*/ 738832 h 6557032"/>
              <a:gd name="connsiteX29938" fmla="*/ 592207 w 4610101"/>
              <a:gd name="connsiteY29938" fmla="*/ 749765 h 6557032"/>
              <a:gd name="connsiteX29939" fmla="*/ 590385 w 4610101"/>
              <a:gd name="connsiteY29939" fmla="*/ 738832 h 6557032"/>
              <a:gd name="connsiteX29940" fmla="*/ 322525 w 4610101"/>
              <a:gd name="connsiteY29940" fmla="*/ 738832 h 6557032"/>
              <a:gd name="connsiteX29941" fmla="*/ 329814 w 4610101"/>
              <a:gd name="connsiteY29941" fmla="*/ 753409 h 6557032"/>
              <a:gd name="connsiteX29942" fmla="*/ 331636 w 4610101"/>
              <a:gd name="connsiteY29942" fmla="*/ 746121 h 6557032"/>
              <a:gd name="connsiteX29943" fmla="*/ 357146 w 4610101"/>
              <a:gd name="connsiteY29943" fmla="*/ 762520 h 6557032"/>
              <a:gd name="connsiteX29944" fmla="*/ 344391 w 4610101"/>
              <a:gd name="connsiteY29944" fmla="*/ 751587 h 6557032"/>
              <a:gd name="connsiteX29945" fmla="*/ 335280 w 4610101"/>
              <a:gd name="connsiteY29945" fmla="*/ 747943 h 6557032"/>
              <a:gd name="connsiteX29946" fmla="*/ 340747 w 4610101"/>
              <a:gd name="connsiteY29946" fmla="*/ 747943 h 6557032"/>
              <a:gd name="connsiteX29947" fmla="*/ 322525 w 4610101"/>
              <a:gd name="connsiteY29947" fmla="*/ 738832 h 6557032"/>
              <a:gd name="connsiteX29948" fmla="*/ 1434232 w 4610101"/>
              <a:gd name="connsiteY29948" fmla="*/ 737497 h 6557032"/>
              <a:gd name="connsiteX29949" fmla="*/ 1432229 w 4610101"/>
              <a:gd name="connsiteY29949" fmla="*/ 738832 h 6557032"/>
              <a:gd name="connsiteX29950" fmla="*/ 1434006 w 4610101"/>
              <a:gd name="connsiteY29950" fmla="*/ 737529 h 6557032"/>
              <a:gd name="connsiteX29951" fmla="*/ 1311966 w 4610101"/>
              <a:gd name="connsiteY29951" fmla="*/ 737010 h 6557032"/>
              <a:gd name="connsiteX29952" fmla="*/ 1313788 w 4610101"/>
              <a:gd name="connsiteY29952" fmla="*/ 738832 h 6557032"/>
              <a:gd name="connsiteX29953" fmla="*/ 1311966 w 4610101"/>
              <a:gd name="connsiteY29953" fmla="*/ 737010 h 6557032"/>
              <a:gd name="connsiteX29954" fmla="*/ 1197169 w 4610101"/>
              <a:gd name="connsiteY29954" fmla="*/ 737010 h 6557032"/>
              <a:gd name="connsiteX29955" fmla="*/ 1195346 w 4610101"/>
              <a:gd name="connsiteY29955" fmla="*/ 740654 h 6557032"/>
              <a:gd name="connsiteX29956" fmla="*/ 1197169 w 4610101"/>
              <a:gd name="connsiteY29956" fmla="*/ 737010 h 6557032"/>
              <a:gd name="connsiteX29957" fmla="*/ 1155259 w 4610101"/>
              <a:gd name="connsiteY29957" fmla="*/ 737010 h 6557032"/>
              <a:gd name="connsiteX29958" fmla="*/ 1158903 w 4610101"/>
              <a:gd name="connsiteY29958" fmla="*/ 742476 h 6557032"/>
              <a:gd name="connsiteX29959" fmla="*/ 1160725 w 4610101"/>
              <a:gd name="connsiteY29959" fmla="*/ 738832 h 6557032"/>
              <a:gd name="connsiteX29960" fmla="*/ 1155259 w 4610101"/>
              <a:gd name="connsiteY29960" fmla="*/ 737010 h 6557032"/>
              <a:gd name="connsiteX29961" fmla="*/ 1149792 w 4610101"/>
              <a:gd name="connsiteY29961" fmla="*/ 737010 h 6557032"/>
              <a:gd name="connsiteX29962" fmla="*/ 1147970 w 4610101"/>
              <a:gd name="connsiteY29962" fmla="*/ 746121 h 6557032"/>
              <a:gd name="connsiteX29963" fmla="*/ 1149792 w 4610101"/>
              <a:gd name="connsiteY29963" fmla="*/ 747943 h 6557032"/>
              <a:gd name="connsiteX29964" fmla="*/ 1153436 w 4610101"/>
              <a:gd name="connsiteY29964" fmla="*/ 749765 h 6557032"/>
              <a:gd name="connsiteX29965" fmla="*/ 1153436 w 4610101"/>
              <a:gd name="connsiteY29965" fmla="*/ 746121 h 6557032"/>
              <a:gd name="connsiteX29966" fmla="*/ 1155259 w 4610101"/>
              <a:gd name="connsiteY29966" fmla="*/ 747943 h 6557032"/>
              <a:gd name="connsiteX29967" fmla="*/ 1157081 w 4610101"/>
              <a:gd name="connsiteY29967" fmla="*/ 744298 h 6557032"/>
              <a:gd name="connsiteX29968" fmla="*/ 1149792 w 4610101"/>
              <a:gd name="connsiteY29968" fmla="*/ 737010 h 6557032"/>
              <a:gd name="connsiteX29969" fmla="*/ 1144326 w 4610101"/>
              <a:gd name="connsiteY29969" fmla="*/ 737010 h 6557032"/>
              <a:gd name="connsiteX29970" fmla="*/ 1144326 w 4610101"/>
              <a:gd name="connsiteY29970" fmla="*/ 742476 h 6557032"/>
              <a:gd name="connsiteX29971" fmla="*/ 1147970 w 4610101"/>
              <a:gd name="connsiteY29971" fmla="*/ 737010 h 6557032"/>
              <a:gd name="connsiteX29972" fmla="*/ 1144326 w 4610101"/>
              <a:gd name="connsiteY29972" fmla="*/ 737010 h 6557032"/>
              <a:gd name="connsiteX29973" fmla="*/ 1129748 w 4610101"/>
              <a:gd name="connsiteY29973" fmla="*/ 737010 h 6557032"/>
              <a:gd name="connsiteX29974" fmla="*/ 1124282 w 4610101"/>
              <a:gd name="connsiteY29974" fmla="*/ 749765 h 6557032"/>
              <a:gd name="connsiteX29975" fmla="*/ 1133393 w 4610101"/>
              <a:gd name="connsiteY29975" fmla="*/ 742476 h 6557032"/>
              <a:gd name="connsiteX29976" fmla="*/ 1129748 w 4610101"/>
              <a:gd name="connsiteY29976" fmla="*/ 737010 h 6557032"/>
              <a:gd name="connsiteX29977" fmla="*/ 1053217 w 4610101"/>
              <a:gd name="connsiteY29977" fmla="*/ 737010 h 6557032"/>
              <a:gd name="connsiteX29978" fmla="*/ 1040462 w 4610101"/>
              <a:gd name="connsiteY29978" fmla="*/ 746121 h 6557032"/>
              <a:gd name="connsiteX29979" fmla="*/ 1053217 w 4610101"/>
              <a:gd name="connsiteY29979" fmla="*/ 737010 h 6557032"/>
              <a:gd name="connsiteX29980" fmla="*/ 801757 w 4610101"/>
              <a:gd name="connsiteY29980" fmla="*/ 737010 h 6557032"/>
              <a:gd name="connsiteX29981" fmla="*/ 814512 w 4610101"/>
              <a:gd name="connsiteY29981" fmla="*/ 744298 h 6557032"/>
              <a:gd name="connsiteX29982" fmla="*/ 801757 w 4610101"/>
              <a:gd name="connsiteY29982" fmla="*/ 737010 h 6557032"/>
              <a:gd name="connsiteX29983" fmla="*/ 779892 w 4610101"/>
              <a:gd name="connsiteY29983" fmla="*/ 737010 h 6557032"/>
              <a:gd name="connsiteX29984" fmla="*/ 785357 w 4610101"/>
              <a:gd name="connsiteY29984" fmla="*/ 738832 h 6557032"/>
              <a:gd name="connsiteX29985" fmla="*/ 779892 w 4610101"/>
              <a:gd name="connsiteY29985" fmla="*/ 737010 h 6557032"/>
              <a:gd name="connsiteX29986" fmla="*/ 313414 w 4610101"/>
              <a:gd name="connsiteY29986" fmla="*/ 737010 h 6557032"/>
              <a:gd name="connsiteX29987" fmla="*/ 326169 w 4610101"/>
              <a:gd name="connsiteY29987" fmla="*/ 749765 h 6557032"/>
              <a:gd name="connsiteX29988" fmla="*/ 322525 w 4610101"/>
              <a:gd name="connsiteY29988" fmla="*/ 740654 h 6557032"/>
              <a:gd name="connsiteX29989" fmla="*/ 313414 w 4610101"/>
              <a:gd name="connsiteY29989" fmla="*/ 737010 h 6557032"/>
              <a:gd name="connsiteX29990" fmla="*/ 304303 w 4610101"/>
              <a:gd name="connsiteY29990" fmla="*/ 737010 h 6557032"/>
              <a:gd name="connsiteX29991" fmla="*/ 317059 w 4610101"/>
              <a:gd name="connsiteY29991" fmla="*/ 749765 h 6557032"/>
              <a:gd name="connsiteX29992" fmla="*/ 304303 w 4610101"/>
              <a:gd name="connsiteY29992" fmla="*/ 737010 h 6557032"/>
              <a:gd name="connsiteX29993" fmla="*/ 242349 w 4610101"/>
              <a:gd name="connsiteY29993" fmla="*/ 737010 h 6557032"/>
              <a:gd name="connsiteX29994" fmla="*/ 244172 w 4610101"/>
              <a:gd name="connsiteY29994" fmla="*/ 738832 h 6557032"/>
              <a:gd name="connsiteX29995" fmla="*/ 242349 w 4610101"/>
              <a:gd name="connsiteY29995" fmla="*/ 737010 h 6557032"/>
              <a:gd name="connsiteX29996" fmla="*/ 213195 w 4610101"/>
              <a:gd name="connsiteY29996" fmla="*/ 737010 h 6557032"/>
              <a:gd name="connsiteX29997" fmla="*/ 231416 w 4610101"/>
              <a:gd name="connsiteY29997" fmla="*/ 766164 h 6557032"/>
              <a:gd name="connsiteX29998" fmla="*/ 213195 w 4610101"/>
              <a:gd name="connsiteY29998" fmla="*/ 737010 h 6557032"/>
              <a:gd name="connsiteX29999" fmla="*/ 601630 w 4610101"/>
              <a:gd name="connsiteY29999" fmla="*/ 736922 h 6557032"/>
              <a:gd name="connsiteX30000" fmla="*/ 601521 w 4610101"/>
              <a:gd name="connsiteY30000" fmla="*/ 737112 h 6557032"/>
              <a:gd name="connsiteX30001" fmla="*/ 601318 w 4610101"/>
              <a:gd name="connsiteY30001" fmla="*/ 737010 h 6557032"/>
              <a:gd name="connsiteX30002" fmla="*/ 1337476 w 4610101"/>
              <a:gd name="connsiteY30002" fmla="*/ 735188 h 6557032"/>
              <a:gd name="connsiteX30003" fmla="*/ 1311966 w 4610101"/>
              <a:gd name="connsiteY30003" fmla="*/ 737010 h 6557032"/>
              <a:gd name="connsiteX30004" fmla="*/ 1301033 w 4610101"/>
              <a:gd name="connsiteY30004" fmla="*/ 742476 h 6557032"/>
              <a:gd name="connsiteX30005" fmla="*/ 1313788 w 4610101"/>
              <a:gd name="connsiteY30005" fmla="*/ 740654 h 6557032"/>
              <a:gd name="connsiteX30006" fmla="*/ 1330188 w 4610101"/>
              <a:gd name="connsiteY30006" fmla="*/ 740654 h 6557032"/>
              <a:gd name="connsiteX30007" fmla="*/ 1332009 w 4610101"/>
              <a:gd name="connsiteY30007" fmla="*/ 737010 h 6557032"/>
              <a:gd name="connsiteX30008" fmla="*/ 1332009 w 4610101"/>
              <a:gd name="connsiteY30008" fmla="*/ 742476 h 6557032"/>
              <a:gd name="connsiteX30009" fmla="*/ 1337476 w 4610101"/>
              <a:gd name="connsiteY30009" fmla="*/ 735188 h 6557032"/>
              <a:gd name="connsiteX30010" fmla="*/ 1162547 w 4610101"/>
              <a:gd name="connsiteY30010" fmla="*/ 735188 h 6557032"/>
              <a:gd name="connsiteX30011" fmla="*/ 1168014 w 4610101"/>
              <a:gd name="connsiteY30011" fmla="*/ 738832 h 6557032"/>
              <a:gd name="connsiteX30012" fmla="*/ 1169836 w 4610101"/>
              <a:gd name="connsiteY30012" fmla="*/ 735188 h 6557032"/>
              <a:gd name="connsiteX30013" fmla="*/ 1162547 w 4610101"/>
              <a:gd name="connsiteY30013" fmla="*/ 735188 h 6557032"/>
              <a:gd name="connsiteX30014" fmla="*/ 1104238 w 4610101"/>
              <a:gd name="connsiteY30014" fmla="*/ 735188 h 6557032"/>
              <a:gd name="connsiteX30015" fmla="*/ 1107882 w 4610101"/>
              <a:gd name="connsiteY30015" fmla="*/ 747943 h 6557032"/>
              <a:gd name="connsiteX30016" fmla="*/ 1104238 w 4610101"/>
              <a:gd name="connsiteY30016" fmla="*/ 735188 h 6557032"/>
              <a:gd name="connsiteX30017" fmla="*/ 1062328 w 4610101"/>
              <a:gd name="connsiteY30017" fmla="*/ 735188 h 6557032"/>
              <a:gd name="connsiteX30018" fmla="*/ 1056861 w 4610101"/>
              <a:gd name="connsiteY30018" fmla="*/ 737010 h 6557032"/>
              <a:gd name="connsiteX30019" fmla="*/ 1062328 w 4610101"/>
              <a:gd name="connsiteY30019" fmla="*/ 735188 h 6557032"/>
              <a:gd name="connsiteX30020" fmla="*/ 1004018 w 4610101"/>
              <a:gd name="connsiteY30020" fmla="*/ 735188 h 6557032"/>
              <a:gd name="connsiteX30021" fmla="*/ 998552 w 4610101"/>
              <a:gd name="connsiteY30021" fmla="*/ 742476 h 6557032"/>
              <a:gd name="connsiteX30022" fmla="*/ 1002196 w 4610101"/>
              <a:gd name="connsiteY30022" fmla="*/ 746121 h 6557032"/>
              <a:gd name="connsiteX30023" fmla="*/ 1004018 w 4610101"/>
              <a:gd name="connsiteY30023" fmla="*/ 735188 h 6557032"/>
              <a:gd name="connsiteX30024" fmla="*/ 905621 w 4610101"/>
              <a:gd name="connsiteY30024" fmla="*/ 735188 h 6557032"/>
              <a:gd name="connsiteX30025" fmla="*/ 903799 w 4610101"/>
              <a:gd name="connsiteY30025" fmla="*/ 747943 h 6557032"/>
              <a:gd name="connsiteX30026" fmla="*/ 905621 w 4610101"/>
              <a:gd name="connsiteY30026" fmla="*/ 735188 h 6557032"/>
              <a:gd name="connsiteX30027" fmla="*/ 759848 w 4610101"/>
              <a:gd name="connsiteY30027" fmla="*/ 735188 h 6557032"/>
              <a:gd name="connsiteX30028" fmla="*/ 759848 w 4610101"/>
              <a:gd name="connsiteY30028" fmla="*/ 744298 h 6557032"/>
              <a:gd name="connsiteX30029" fmla="*/ 761670 w 4610101"/>
              <a:gd name="connsiteY30029" fmla="*/ 740654 h 6557032"/>
              <a:gd name="connsiteX30030" fmla="*/ 778070 w 4610101"/>
              <a:gd name="connsiteY30030" fmla="*/ 751587 h 6557032"/>
              <a:gd name="connsiteX30031" fmla="*/ 770781 w 4610101"/>
              <a:gd name="connsiteY30031" fmla="*/ 742476 h 6557032"/>
              <a:gd name="connsiteX30032" fmla="*/ 781713 w 4610101"/>
              <a:gd name="connsiteY30032" fmla="*/ 746121 h 6557032"/>
              <a:gd name="connsiteX30033" fmla="*/ 759848 w 4610101"/>
              <a:gd name="connsiteY30033" fmla="*/ 735188 h 6557032"/>
              <a:gd name="connsiteX30034" fmla="*/ 384479 w 4610101"/>
              <a:gd name="connsiteY30034" fmla="*/ 735188 h 6557032"/>
              <a:gd name="connsiteX30035" fmla="*/ 388123 w 4610101"/>
              <a:gd name="connsiteY30035" fmla="*/ 746121 h 6557032"/>
              <a:gd name="connsiteX30036" fmla="*/ 404523 w 4610101"/>
              <a:gd name="connsiteY30036" fmla="*/ 764342 h 6557032"/>
              <a:gd name="connsiteX30037" fmla="*/ 400879 w 4610101"/>
              <a:gd name="connsiteY30037" fmla="*/ 757054 h 6557032"/>
              <a:gd name="connsiteX30038" fmla="*/ 409989 w 4610101"/>
              <a:gd name="connsiteY30038" fmla="*/ 757054 h 6557032"/>
              <a:gd name="connsiteX30039" fmla="*/ 384479 w 4610101"/>
              <a:gd name="connsiteY30039" fmla="*/ 735188 h 6557032"/>
              <a:gd name="connsiteX30040" fmla="*/ 360791 w 4610101"/>
              <a:gd name="connsiteY30040" fmla="*/ 735188 h 6557032"/>
              <a:gd name="connsiteX30041" fmla="*/ 366257 w 4610101"/>
              <a:gd name="connsiteY30041" fmla="*/ 742476 h 6557032"/>
              <a:gd name="connsiteX30042" fmla="*/ 360791 w 4610101"/>
              <a:gd name="connsiteY30042" fmla="*/ 735188 h 6557032"/>
              <a:gd name="connsiteX30043" fmla="*/ 258749 w 4610101"/>
              <a:gd name="connsiteY30043" fmla="*/ 735188 h 6557032"/>
              <a:gd name="connsiteX30044" fmla="*/ 262393 w 4610101"/>
              <a:gd name="connsiteY30044" fmla="*/ 740654 h 6557032"/>
              <a:gd name="connsiteX30045" fmla="*/ 258749 w 4610101"/>
              <a:gd name="connsiteY30045" fmla="*/ 735188 h 6557032"/>
              <a:gd name="connsiteX30046" fmla="*/ 244172 w 4610101"/>
              <a:gd name="connsiteY30046" fmla="*/ 735188 h 6557032"/>
              <a:gd name="connsiteX30047" fmla="*/ 253282 w 4610101"/>
              <a:gd name="connsiteY30047" fmla="*/ 747943 h 6557032"/>
              <a:gd name="connsiteX30048" fmla="*/ 255105 w 4610101"/>
              <a:gd name="connsiteY30048" fmla="*/ 744298 h 6557032"/>
              <a:gd name="connsiteX30049" fmla="*/ 244172 w 4610101"/>
              <a:gd name="connsiteY30049" fmla="*/ 735188 h 6557032"/>
              <a:gd name="connsiteX30050" fmla="*/ 561914 w 4610101"/>
              <a:gd name="connsiteY30050" fmla="*/ 735188 h 6557032"/>
              <a:gd name="connsiteX30051" fmla="*/ 559408 w 4610101"/>
              <a:gd name="connsiteY30051" fmla="*/ 735188 h 6557032"/>
              <a:gd name="connsiteX30052" fmla="*/ 566697 w 4610101"/>
              <a:gd name="connsiteY30052" fmla="*/ 740654 h 6557032"/>
              <a:gd name="connsiteX30053" fmla="*/ 563052 w 4610101"/>
              <a:gd name="connsiteY30053" fmla="*/ 735188 h 6557032"/>
              <a:gd name="connsiteX30054" fmla="*/ 561914 w 4610101"/>
              <a:gd name="connsiteY30054" fmla="*/ 735188 h 6557032"/>
              <a:gd name="connsiteX30055" fmla="*/ 1452273 w 4610101"/>
              <a:gd name="connsiteY30055" fmla="*/ 733365 h 6557032"/>
              <a:gd name="connsiteX30056" fmla="*/ 1452035 w 4610101"/>
              <a:gd name="connsiteY30056" fmla="*/ 733762 h 6557032"/>
              <a:gd name="connsiteX30057" fmla="*/ 1447945 w 4610101"/>
              <a:gd name="connsiteY30057" fmla="*/ 736099 h 6557032"/>
              <a:gd name="connsiteX30058" fmla="*/ 1444588 w 4610101"/>
              <a:gd name="connsiteY30058" fmla="*/ 738415 h 6557032"/>
              <a:gd name="connsiteX30059" fmla="*/ 1446351 w 4610101"/>
              <a:gd name="connsiteY30059" fmla="*/ 735643 h 6557032"/>
              <a:gd name="connsiteX30060" fmla="*/ 1452273 w 4610101"/>
              <a:gd name="connsiteY30060" fmla="*/ 733365 h 6557032"/>
              <a:gd name="connsiteX30061" fmla="*/ 1434051 w 4610101"/>
              <a:gd name="connsiteY30061" fmla="*/ 733365 h 6557032"/>
              <a:gd name="connsiteX30062" fmla="*/ 1424940 w 4610101"/>
              <a:gd name="connsiteY30062" fmla="*/ 737010 h 6557032"/>
              <a:gd name="connsiteX30063" fmla="*/ 1434051 w 4610101"/>
              <a:gd name="connsiteY30063" fmla="*/ 733365 h 6557032"/>
              <a:gd name="connsiteX30064" fmla="*/ 962108 w 4610101"/>
              <a:gd name="connsiteY30064" fmla="*/ 733365 h 6557032"/>
              <a:gd name="connsiteX30065" fmla="*/ 952997 w 4610101"/>
              <a:gd name="connsiteY30065" fmla="*/ 738832 h 6557032"/>
              <a:gd name="connsiteX30066" fmla="*/ 942064 w 4610101"/>
              <a:gd name="connsiteY30066" fmla="*/ 751587 h 6557032"/>
              <a:gd name="connsiteX30067" fmla="*/ 949353 w 4610101"/>
              <a:gd name="connsiteY30067" fmla="*/ 749765 h 6557032"/>
              <a:gd name="connsiteX30068" fmla="*/ 952997 w 4610101"/>
              <a:gd name="connsiteY30068" fmla="*/ 738832 h 6557032"/>
              <a:gd name="connsiteX30069" fmla="*/ 951175 w 4610101"/>
              <a:gd name="connsiteY30069" fmla="*/ 747943 h 6557032"/>
              <a:gd name="connsiteX30070" fmla="*/ 969397 w 4610101"/>
              <a:gd name="connsiteY30070" fmla="*/ 733365 h 6557032"/>
              <a:gd name="connsiteX30071" fmla="*/ 962108 w 4610101"/>
              <a:gd name="connsiteY30071" fmla="*/ 738832 h 6557032"/>
              <a:gd name="connsiteX30072" fmla="*/ 962108 w 4610101"/>
              <a:gd name="connsiteY30072" fmla="*/ 733365 h 6557032"/>
              <a:gd name="connsiteX30073" fmla="*/ 898333 w 4610101"/>
              <a:gd name="connsiteY30073" fmla="*/ 733365 h 6557032"/>
              <a:gd name="connsiteX30074" fmla="*/ 898333 w 4610101"/>
              <a:gd name="connsiteY30074" fmla="*/ 742476 h 6557032"/>
              <a:gd name="connsiteX30075" fmla="*/ 898333 w 4610101"/>
              <a:gd name="connsiteY30075" fmla="*/ 733365 h 6557032"/>
              <a:gd name="connsiteX30076" fmla="*/ 819979 w 4610101"/>
              <a:gd name="connsiteY30076" fmla="*/ 733365 h 6557032"/>
              <a:gd name="connsiteX30077" fmla="*/ 818156 w 4610101"/>
              <a:gd name="connsiteY30077" fmla="*/ 737010 h 6557032"/>
              <a:gd name="connsiteX30078" fmla="*/ 825445 w 4610101"/>
              <a:gd name="connsiteY30078" fmla="*/ 738832 h 6557032"/>
              <a:gd name="connsiteX30079" fmla="*/ 819979 w 4610101"/>
              <a:gd name="connsiteY30079" fmla="*/ 733365 h 6557032"/>
              <a:gd name="connsiteX30080" fmla="*/ 794468 w 4610101"/>
              <a:gd name="connsiteY30080" fmla="*/ 733365 h 6557032"/>
              <a:gd name="connsiteX30081" fmla="*/ 792646 w 4610101"/>
              <a:gd name="connsiteY30081" fmla="*/ 740654 h 6557032"/>
              <a:gd name="connsiteX30082" fmla="*/ 794468 w 4610101"/>
              <a:gd name="connsiteY30082" fmla="*/ 733365 h 6557032"/>
              <a:gd name="connsiteX30083" fmla="*/ 745269 w 4610101"/>
              <a:gd name="connsiteY30083" fmla="*/ 733365 h 6557032"/>
              <a:gd name="connsiteX30084" fmla="*/ 745269 w 4610101"/>
              <a:gd name="connsiteY30084" fmla="*/ 738832 h 6557032"/>
              <a:gd name="connsiteX30085" fmla="*/ 752558 w 4610101"/>
              <a:gd name="connsiteY30085" fmla="*/ 738832 h 6557032"/>
              <a:gd name="connsiteX30086" fmla="*/ 745269 w 4610101"/>
              <a:gd name="connsiteY30086" fmla="*/ 733365 h 6557032"/>
              <a:gd name="connsiteX30087" fmla="*/ 453722 w 4610101"/>
              <a:gd name="connsiteY30087" fmla="*/ 733365 h 6557032"/>
              <a:gd name="connsiteX30088" fmla="*/ 462832 w 4610101"/>
              <a:gd name="connsiteY30088" fmla="*/ 746121 h 6557032"/>
              <a:gd name="connsiteX30089" fmla="*/ 453722 w 4610101"/>
              <a:gd name="connsiteY30089" fmla="*/ 733365 h 6557032"/>
              <a:gd name="connsiteX30090" fmla="*/ 448256 w 4610101"/>
              <a:gd name="connsiteY30090" fmla="*/ 733365 h 6557032"/>
              <a:gd name="connsiteX30091" fmla="*/ 448256 w 4610101"/>
              <a:gd name="connsiteY30091" fmla="*/ 742476 h 6557032"/>
              <a:gd name="connsiteX30092" fmla="*/ 450077 w 4610101"/>
              <a:gd name="connsiteY30092" fmla="*/ 742476 h 6557032"/>
              <a:gd name="connsiteX30093" fmla="*/ 453722 w 4610101"/>
              <a:gd name="connsiteY30093" fmla="*/ 738832 h 6557032"/>
              <a:gd name="connsiteX30094" fmla="*/ 448256 w 4610101"/>
              <a:gd name="connsiteY30094" fmla="*/ 733365 h 6557032"/>
              <a:gd name="connsiteX30095" fmla="*/ 220483 w 4610101"/>
              <a:gd name="connsiteY30095" fmla="*/ 733365 h 6557032"/>
              <a:gd name="connsiteX30096" fmla="*/ 222306 w 4610101"/>
              <a:gd name="connsiteY30096" fmla="*/ 737010 h 6557032"/>
              <a:gd name="connsiteX30097" fmla="*/ 223882 w 4610101"/>
              <a:gd name="connsiteY30097" fmla="*/ 738401 h 6557032"/>
              <a:gd name="connsiteX30098" fmla="*/ 232783 w 4610101"/>
              <a:gd name="connsiteY30098" fmla="*/ 751587 h 6557032"/>
              <a:gd name="connsiteX30099" fmla="*/ 253282 w 4610101"/>
              <a:gd name="connsiteY30099" fmla="*/ 764342 h 6557032"/>
              <a:gd name="connsiteX30100" fmla="*/ 223882 w 4610101"/>
              <a:gd name="connsiteY30100" fmla="*/ 738401 h 6557032"/>
              <a:gd name="connsiteX30101" fmla="*/ 171285 w 4610101"/>
              <a:gd name="connsiteY30101" fmla="*/ 733365 h 6557032"/>
              <a:gd name="connsiteX30102" fmla="*/ 207728 w 4610101"/>
              <a:gd name="connsiteY30102" fmla="*/ 782564 h 6557032"/>
              <a:gd name="connsiteX30103" fmla="*/ 199245 w 4610101"/>
              <a:gd name="connsiteY30103" fmla="*/ 769014 h 6557032"/>
              <a:gd name="connsiteX30104" fmla="*/ 204084 w 4610101"/>
              <a:gd name="connsiteY30104" fmla="*/ 775275 h 6557032"/>
              <a:gd name="connsiteX30105" fmla="*/ 209550 w 4610101"/>
              <a:gd name="connsiteY30105" fmla="*/ 777098 h 6557032"/>
              <a:gd name="connsiteX30106" fmla="*/ 207728 w 4610101"/>
              <a:gd name="connsiteY30106" fmla="*/ 777098 h 6557032"/>
              <a:gd name="connsiteX30107" fmla="*/ 222306 w 4610101"/>
              <a:gd name="connsiteY30107" fmla="*/ 791675 h 6557032"/>
              <a:gd name="connsiteX30108" fmla="*/ 213195 w 4610101"/>
              <a:gd name="connsiteY30108" fmla="*/ 784386 h 6557032"/>
              <a:gd name="connsiteX30109" fmla="*/ 229594 w 4610101"/>
              <a:gd name="connsiteY30109" fmla="*/ 793497 h 6557032"/>
              <a:gd name="connsiteX30110" fmla="*/ 209550 w 4610101"/>
              <a:gd name="connsiteY30110" fmla="*/ 775275 h 6557032"/>
              <a:gd name="connsiteX30111" fmla="*/ 211372 w 4610101"/>
              <a:gd name="connsiteY30111" fmla="*/ 775275 h 6557032"/>
              <a:gd name="connsiteX30112" fmla="*/ 191329 w 4610101"/>
              <a:gd name="connsiteY30112" fmla="*/ 755231 h 6557032"/>
              <a:gd name="connsiteX30113" fmla="*/ 194151 w 4610101"/>
              <a:gd name="connsiteY30113" fmla="*/ 760876 h 6557032"/>
              <a:gd name="connsiteX30114" fmla="*/ 190190 w 4610101"/>
              <a:gd name="connsiteY30114" fmla="*/ 754548 h 6557032"/>
              <a:gd name="connsiteX30115" fmla="*/ 171285 w 4610101"/>
              <a:gd name="connsiteY30115" fmla="*/ 733365 h 6557032"/>
              <a:gd name="connsiteX30116" fmla="*/ 1347042 w 4610101"/>
              <a:gd name="connsiteY30116" fmla="*/ 731771 h 6557032"/>
              <a:gd name="connsiteX30117" fmla="*/ 1335654 w 4610101"/>
              <a:gd name="connsiteY30117" fmla="*/ 740654 h 6557032"/>
              <a:gd name="connsiteX30118" fmla="*/ 1352053 w 4610101"/>
              <a:gd name="connsiteY30118" fmla="*/ 738832 h 6557032"/>
              <a:gd name="connsiteX30119" fmla="*/ 1353876 w 4610101"/>
              <a:gd name="connsiteY30119" fmla="*/ 740654 h 6557032"/>
              <a:gd name="connsiteX30120" fmla="*/ 1361164 w 4610101"/>
              <a:gd name="connsiteY30120" fmla="*/ 735188 h 6557032"/>
              <a:gd name="connsiteX30121" fmla="*/ 1347042 w 4610101"/>
              <a:gd name="connsiteY30121" fmla="*/ 731771 h 6557032"/>
              <a:gd name="connsiteX30122" fmla="*/ 1408541 w 4610101"/>
              <a:gd name="connsiteY30122" fmla="*/ 731543 h 6557032"/>
              <a:gd name="connsiteX30123" fmla="*/ 1404896 w 4610101"/>
              <a:gd name="connsiteY30123" fmla="*/ 735188 h 6557032"/>
              <a:gd name="connsiteX30124" fmla="*/ 1408541 w 4610101"/>
              <a:gd name="connsiteY30124" fmla="*/ 731543 h 6557032"/>
              <a:gd name="connsiteX30125" fmla="*/ 1375743 w 4610101"/>
              <a:gd name="connsiteY30125" fmla="*/ 731543 h 6557032"/>
              <a:gd name="connsiteX30126" fmla="*/ 1372097 w 4610101"/>
              <a:gd name="connsiteY30126" fmla="*/ 735188 h 6557032"/>
              <a:gd name="connsiteX30127" fmla="*/ 1377564 w 4610101"/>
              <a:gd name="connsiteY30127" fmla="*/ 737010 h 6557032"/>
              <a:gd name="connsiteX30128" fmla="*/ 1375743 w 4610101"/>
              <a:gd name="connsiteY30128" fmla="*/ 731543 h 6557032"/>
              <a:gd name="connsiteX30129" fmla="*/ 1277344 w 4610101"/>
              <a:gd name="connsiteY30129" fmla="*/ 731543 h 6557032"/>
              <a:gd name="connsiteX30130" fmla="*/ 1279166 w 4610101"/>
              <a:gd name="connsiteY30130" fmla="*/ 735188 h 6557032"/>
              <a:gd name="connsiteX30131" fmla="*/ 1282811 w 4610101"/>
              <a:gd name="connsiteY30131" fmla="*/ 731543 h 6557032"/>
              <a:gd name="connsiteX30132" fmla="*/ 1277344 w 4610101"/>
              <a:gd name="connsiteY30132" fmla="*/ 731543 h 6557032"/>
              <a:gd name="connsiteX30133" fmla="*/ 1273700 w 4610101"/>
              <a:gd name="connsiteY30133" fmla="*/ 731543 h 6557032"/>
              <a:gd name="connsiteX30134" fmla="*/ 1253656 w 4610101"/>
              <a:gd name="connsiteY30134" fmla="*/ 737010 h 6557032"/>
              <a:gd name="connsiteX30135" fmla="*/ 1250012 w 4610101"/>
              <a:gd name="connsiteY30135" fmla="*/ 740654 h 6557032"/>
              <a:gd name="connsiteX30136" fmla="*/ 1268233 w 4610101"/>
              <a:gd name="connsiteY30136" fmla="*/ 738832 h 6557032"/>
              <a:gd name="connsiteX30137" fmla="*/ 1266411 w 4610101"/>
              <a:gd name="connsiteY30137" fmla="*/ 742476 h 6557032"/>
              <a:gd name="connsiteX30138" fmla="*/ 1279166 w 4610101"/>
              <a:gd name="connsiteY30138" fmla="*/ 737010 h 6557032"/>
              <a:gd name="connsiteX30139" fmla="*/ 1273700 w 4610101"/>
              <a:gd name="connsiteY30139" fmla="*/ 731543 h 6557032"/>
              <a:gd name="connsiteX30140" fmla="*/ 994907 w 4610101"/>
              <a:gd name="connsiteY30140" fmla="*/ 731543 h 6557032"/>
              <a:gd name="connsiteX30141" fmla="*/ 965753 w 4610101"/>
              <a:gd name="connsiteY30141" fmla="*/ 751587 h 6557032"/>
              <a:gd name="connsiteX30142" fmla="*/ 974863 w 4610101"/>
              <a:gd name="connsiteY30142" fmla="*/ 746121 h 6557032"/>
              <a:gd name="connsiteX30143" fmla="*/ 971219 w 4610101"/>
              <a:gd name="connsiteY30143" fmla="*/ 749765 h 6557032"/>
              <a:gd name="connsiteX30144" fmla="*/ 989441 w 4610101"/>
              <a:gd name="connsiteY30144" fmla="*/ 747943 h 6557032"/>
              <a:gd name="connsiteX30145" fmla="*/ 985796 w 4610101"/>
              <a:gd name="connsiteY30145" fmla="*/ 738832 h 6557032"/>
              <a:gd name="connsiteX30146" fmla="*/ 993085 w 4610101"/>
              <a:gd name="connsiteY30146" fmla="*/ 742476 h 6557032"/>
              <a:gd name="connsiteX30147" fmla="*/ 994907 w 4610101"/>
              <a:gd name="connsiteY30147" fmla="*/ 731543 h 6557032"/>
              <a:gd name="connsiteX30148" fmla="*/ 907444 w 4610101"/>
              <a:gd name="connsiteY30148" fmla="*/ 731543 h 6557032"/>
              <a:gd name="connsiteX30149" fmla="*/ 911087 w 4610101"/>
              <a:gd name="connsiteY30149" fmla="*/ 738832 h 6557032"/>
              <a:gd name="connsiteX30150" fmla="*/ 907444 w 4610101"/>
              <a:gd name="connsiteY30150" fmla="*/ 731543 h 6557032"/>
              <a:gd name="connsiteX30151" fmla="*/ 805401 w 4610101"/>
              <a:gd name="connsiteY30151" fmla="*/ 731543 h 6557032"/>
              <a:gd name="connsiteX30152" fmla="*/ 803579 w 4610101"/>
              <a:gd name="connsiteY30152" fmla="*/ 733365 h 6557032"/>
              <a:gd name="connsiteX30153" fmla="*/ 809046 w 4610101"/>
              <a:gd name="connsiteY30153" fmla="*/ 735188 h 6557032"/>
              <a:gd name="connsiteX30154" fmla="*/ 805401 w 4610101"/>
              <a:gd name="connsiteY30154" fmla="*/ 731543 h 6557032"/>
              <a:gd name="connsiteX30155" fmla="*/ 719759 w 4610101"/>
              <a:gd name="connsiteY30155" fmla="*/ 731543 h 6557032"/>
              <a:gd name="connsiteX30156" fmla="*/ 727048 w 4610101"/>
              <a:gd name="connsiteY30156" fmla="*/ 744298 h 6557032"/>
              <a:gd name="connsiteX30157" fmla="*/ 719759 w 4610101"/>
              <a:gd name="connsiteY30157" fmla="*/ 731543 h 6557032"/>
              <a:gd name="connsiteX30158" fmla="*/ 539364 w 4610101"/>
              <a:gd name="connsiteY30158" fmla="*/ 731543 h 6557032"/>
              <a:gd name="connsiteX30159" fmla="*/ 541186 w 4610101"/>
              <a:gd name="connsiteY30159" fmla="*/ 735188 h 6557032"/>
              <a:gd name="connsiteX30160" fmla="*/ 539364 w 4610101"/>
              <a:gd name="connsiteY30160" fmla="*/ 731543 h 6557032"/>
              <a:gd name="connsiteX30161" fmla="*/ 344391 w 4610101"/>
              <a:gd name="connsiteY30161" fmla="*/ 731543 h 6557032"/>
              <a:gd name="connsiteX30162" fmla="*/ 360791 w 4610101"/>
              <a:gd name="connsiteY30162" fmla="*/ 742476 h 6557032"/>
              <a:gd name="connsiteX30163" fmla="*/ 344391 w 4610101"/>
              <a:gd name="connsiteY30163" fmla="*/ 731543 h 6557032"/>
              <a:gd name="connsiteX30164" fmla="*/ 280615 w 4610101"/>
              <a:gd name="connsiteY30164" fmla="*/ 731543 h 6557032"/>
              <a:gd name="connsiteX30165" fmla="*/ 311592 w 4610101"/>
              <a:gd name="connsiteY30165" fmla="*/ 757054 h 6557032"/>
              <a:gd name="connsiteX30166" fmla="*/ 300660 w 4610101"/>
              <a:gd name="connsiteY30166" fmla="*/ 737010 h 6557032"/>
              <a:gd name="connsiteX30167" fmla="*/ 280615 w 4610101"/>
              <a:gd name="connsiteY30167" fmla="*/ 731543 h 6557032"/>
              <a:gd name="connsiteX30168" fmla="*/ 2775171 w 4610101"/>
              <a:gd name="connsiteY30168" fmla="*/ 729721 h 6557032"/>
              <a:gd name="connsiteX30169" fmla="*/ 2760594 w 4610101"/>
              <a:gd name="connsiteY30169" fmla="*/ 733365 h 6557032"/>
              <a:gd name="connsiteX30170" fmla="*/ 2762416 w 4610101"/>
              <a:gd name="connsiteY30170" fmla="*/ 755231 h 6557032"/>
              <a:gd name="connsiteX30171" fmla="*/ 2769705 w 4610101"/>
              <a:gd name="connsiteY30171" fmla="*/ 753409 h 6557032"/>
              <a:gd name="connsiteX30172" fmla="*/ 2775171 w 4610101"/>
              <a:gd name="connsiteY30172" fmla="*/ 729721 h 6557032"/>
              <a:gd name="connsiteX30173" fmla="*/ 2598421 w 4610101"/>
              <a:gd name="connsiteY30173" fmla="*/ 729721 h 6557032"/>
              <a:gd name="connsiteX30174" fmla="*/ 2596598 w 4610101"/>
              <a:gd name="connsiteY30174" fmla="*/ 735188 h 6557032"/>
              <a:gd name="connsiteX30175" fmla="*/ 2600243 w 4610101"/>
              <a:gd name="connsiteY30175" fmla="*/ 738832 h 6557032"/>
              <a:gd name="connsiteX30176" fmla="*/ 2603887 w 4610101"/>
              <a:gd name="connsiteY30176" fmla="*/ 738832 h 6557032"/>
              <a:gd name="connsiteX30177" fmla="*/ 2598421 w 4610101"/>
              <a:gd name="connsiteY30177" fmla="*/ 729721 h 6557032"/>
              <a:gd name="connsiteX30178" fmla="*/ 1231790 w 4610101"/>
              <a:gd name="connsiteY30178" fmla="*/ 729721 h 6557032"/>
              <a:gd name="connsiteX30179" fmla="*/ 1224501 w 4610101"/>
              <a:gd name="connsiteY30179" fmla="*/ 737010 h 6557032"/>
              <a:gd name="connsiteX30180" fmla="*/ 1231790 w 4610101"/>
              <a:gd name="connsiteY30180" fmla="*/ 729721 h 6557032"/>
              <a:gd name="connsiteX30181" fmla="*/ 1007663 w 4610101"/>
              <a:gd name="connsiteY30181" fmla="*/ 729721 h 6557032"/>
              <a:gd name="connsiteX30182" fmla="*/ 1005840 w 4610101"/>
              <a:gd name="connsiteY30182" fmla="*/ 744298 h 6557032"/>
              <a:gd name="connsiteX30183" fmla="*/ 1013129 w 4610101"/>
              <a:gd name="connsiteY30183" fmla="*/ 733365 h 6557032"/>
              <a:gd name="connsiteX30184" fmla="*/ 1007663 w 4610101"/>
              <a:gd name="connsiteY30184" fmla="*/ 729721 h 6557032"/>
              <a:gd name="connsiteX30185" fmla="*/ 925666 w 4610101"/>
              <a:gd name="connsiteY30185" fmla="*/ 729721 h 6557032"/>
              <a:gd name="connsiteX30186" fmla="*/ 918376 w 4610101"/>
              <a:gd name="connsiteY30186" fmla="*/ 738832 h 6557032"/>
              <a:gd name="connsiteX30187" fmla="*/ 922020 w 4610101"/>
              <a:gd name="connsiteY30187" fmla="*/ 738832 h 6557032"/>
              <a:gd name="connsiteX30188" fmla="*/ 925666 w 4610101"/>
              <a:gd name="connsiteY30188" fmla="*/ 729721 h 6557032"/>
              <a:gd name="connsiteX30189" fmla="*/ 898333 w 4610101"/>
              <a:gd name="connsiteY30189" fmla="*/ 729721 h 6557032"/>
              <a:gd name="connsiteX30190" fmla="*/ 900154 w 4610101"/>
              <a:gd name="connsiteY30190" fmla="*/ 737010 h 6557032"/>
              <a:gd name="connsiteX30191" fmla="*/ 903799 w 4610101"/>
              <a:gd name="connsiteY30191" fmla="*/ 731543 h 6557032"/>
              <a:gd name="connsiteX30192" fmla="*/ 898333 w 4610101"/>
              <a:gd name="connsiteY30192" fmla="*/ 729721 h 6557032"/>
              <a:gd name="connsiteX30193" fmla="*/ 883755 w 4610101"/>
              <a:gd name="connsiteY30193" fmla="*/ 729721 h 6557032"/>
              <a:gd name="connsiteX30194" fmla="*/ 891043 w 4610101"/>
              <a:gd name="connsiteY30194" fmla="*/ 742476 h 6557032"/>
              <a:gd name="connsiteX30195" fmla="*/ 883755 w 4610101"/>
              <a:gd name="connsiteY30195" fmla="*/ 729721 h 6557032"/>
              <a:gd name="connsiteX30196" fmla="*/ 759848 w 4610101"/>
              <a:gd name="connsiteY30196" fmla="*/ 729721 h 6557032"/>
              <a:gd name="connsiteX30197" fmla="*/ 768959 w 4610101"/>
              <a:gd name="connsiteY30197" fmla="*/ 733365 h 6557032"/>
              <a:gd name="connsiteX30198" fmla="*/ 759848 w 4610101"/>
              <a:gd name="connsiteY30198" fmla="*/ 729721 h 6557032"/>
              <a:gd name="connsiteX30199" fmla="*/ 727048 w 4610101"/>
              <a:gd name="connsiteY30199" fmla="*/ 729721 h 6557032"/>
              <a:gd name="connsiteX30200" fmla="*/ 732515 w 4610101"/>
              <a:gd name="connsiteY30200" fmla="*/ 737010 h 6557032"/>
              <a:gd name="connsiteX30201" fmla="*/ 727048 w 4610101"/>
              <a:gd name="connsiteY30201" fmla="*/ 729721 h 6557032"/>
              <a:gd name="connsiteX30202" fmla="*/ 373546 w 4610101"/>
              <a:gd name="connsiteY30202" fmla="*/ 729721 h 6557032"/>
              <a:gd name="connsiteX30203" fmla="*/ 380835 w 4610101"/>
              <a:gd name="connsiteY30203" fmla="*/ 742476 h 6557032"/>
              <a:gd name="connsiteX30204" fmla="*/ 373546 w 4610101"/>
              <a:gd name="connsiteY30204" fmla="*/ 729721 h 6557032"/>
              <a:gd name="connsiteX30205" fmla="*/ 331636 w 4610101"/>
              <a:gd name="connsiteY30205" fmla="*/ 729721 h 6557032"/>
              <a:gd name="connsiteX30206" fmla="*/ 346213 w 4610101"/>
              <a:gd name="connsiteY30206" fmla="*/ 740654 h 6557032"/>
              <a:gd name="connsiteX30207" fmla="*/ 331636 w 4610101"/>
              <a:gd name="connsiteY30207" fmla="*/ 729721 h 6557032"/>
              <a:gd name="connsiteX30208" fmla="*/ 267860 w 4610101"/>
              <a:gd name="connsiteY30208" fmla="*/ 729721 h 6557032"/>
              <a:gd name="connsiteX30209" fmla="*/ 291549 w 4610101"/>
              <a:gd name="connsiteY30209" fmla="*/ 749765 h 6557032"/>
              <a:gd name="connsiteX30210" fmla="*/ 280615 w 4610101"/>
              <a:gd name="connsiteY30210" fmla="*/ 738832 h 6557032"/>
              <a:gd name="connsiteX30211" fmla="*/ 275149 w 4610101"/>
              <a:gd name="connsiteY30211" fmla="*/ 729721 h 6557032"/>
              <a:gd name="connsiteX30212" fmla="*/ 267860 w 4610101"/>
              <a:gd name="connsiteY30212" fmla="*/ 729721 h 6557032"/>
              <a:gd name="connsiteX30213" fmla="*/ 1251834 w 4610101"/>
              <a:gd name="connsiteY30213" fmla="*/ 727899 h 6557032"/>
              <a:gd name="connsiteX30214" fmla="*/ 1233612 w 4610101"/>
              <a:gd name="connsiteY30214" fmla="*/ 740654 h 6557032"/>
              <a:gd name="connsiteX30215" fmla="*/ 1251834 w 4610101"/>
              <a:gd name="connsiteY30215" fmla="*/ 727899 h 6557032"/>
              <a:gd name="connsiteX30216" fmla="*/ 1206279 w 4610101"/>
              <a:gd name="connsiteY30216" fmla="*/ 727899 h 6557032"/>
              <a:gd name="connsiteX30217" fmla="*/ 1202636 w 4610101"/>
              <a:gd name="connsiteY30217" fmla="*/ 733365 h 6557032"/>
              <a:gd name="connsiteX30218" fmla="*/ 1206279 w 4610101"/>
              <a:gd name="connsiteY30218" fmla="*/ 727899 h 6557032"/>
              <a:gd name="connsiteX30219" fmla="*/ 1131570 w 4610101"/>
              <a:gd name="connsiteY30219" fmla="*/ 727899 h 6557032"/>
              <a:gd name="connsiteX30220" fmla="*/ 1138859 w 4610101"/>
              <a:gd name="connsiteY30220" fmla="*/ 729721 h 6557032"/>
              <a:gd name="connsiteX30221" fmla="*/ 1131570 w 4610101"/>
              <a:gd name="connsiteY30221" fmla="*/ 727899 h 6557032"/>
              <a:gd name="connsiteX30222" fmla="*/ 1045929 w 4610101"/>
              <a:gd name="connsiteY30222" fmla="*/ 727899 h 6557032"/>
              <a:gd name="connsiteX30223" fmla="*/ 1042284 w 4610101"/>
              <a:gd name="connsiteY30223" fmla="*/ 733365 h 6557032"/>
              <a:gd name="connsiteX30224" fmla="*/ 1049573 w 4610101"/>
              <a:gd name="connsiteY30224" fmla="*/ 731543 h 6557032"/>
              <a:gd name="connsiteX30225" fmla="*/ 1045929 w 4610101"/>
              <a:gd name="connsiteY30225" fmla="*/ 727899 h 6557032"/>
              <a:gd name="connsiteX30226" fmla="*/ 998552 w 4610101"/>
              <a:gd name="connsiteY30226" fmla="*/ 727899 h 6557032"/>
              <a:gd name="connsiteX30227" fmla="*/ 994907 w 4610101"/>
              <a:gd name="connsiteY30227" fmla="*/ 740654 h 6557032"/>
              <a:gd name="connsiteX30228" fmla="*/ 1002196 w 4610101"/>
              <a:gd name="connsiteY30228" fmla="*/ 731543 h 6557032"/>
              <a:gd name="connsiteX30229" fmla="*/ 998552 w 4610101"/>
              <a:gd name="connsiteY30229" fmla="*/ 727899 h 6557032"/>
              <a:gd name="connsiteX30230" fmla="*/ 994907 w 4610101"/>
              <a:gd name="connsiteY30230" fmla="*/ 727899 h 6557032"/>
              <a:gd name="connsiteX30231" fmla="*/ 985796 w 4610101"/>
              <a:gd name="connsiteY30231" fmla="*/ 733365 h 6557032"/>
              <a:gd name="connsiteX30232" fmla="*/ 994907 w 4610101"/>
              <a:gd name="connsiteY30232" fmla="*/ 727899 h 6557032"/>
              <a:gd name="connsiteX30233" fmla="*/ 685138 w 4610101"/>
              <a:gd name="connsiteY30233" fmla="*/ 727899 h 6557032"/>
              <a:gd name="connsiteX30234" fmla="*/ 686439 w 4610101"/>
              <a:gd name="connsiteY30234" fmla="*/ 728550 h 6557032"/>
              <a:gd name="connsiteX30235" fmla="*/ 686960 w 4610101"/>
              <a:gd name="connsiteY30235" fmla="*/ 729721 h 6557032"/>
              <a:gd name="connsiteX30236" fmla="*/ 685465 w 4610101"/>
              <a:gd name="connsiteY30236" fmla="*/ 728787 h 6557032"/>
              <a:gd name="connsiteX30237" fmla="*/ 606784 w 4610101"/>
              <a:gd name="connsiteY30237" fmla="*/ 727899 h 6557032"/>
              <a:gd name="connsiteX30238" fmla="*/ 599496 w 4610101"/>
              <a:gd name="connsiteY30238" fmla="*/ 740654 h 6557032"/>
              <a:gd name="connsiteX30239" fmla="*/ 601521 w 4610101"/>
              <a:gd name="connsiteY30239" fmla="*/ 737112 h 6557032"/>
              <a:gd name="connsiteX30240" fmla="*/ 608606 w 4610101"/>
              <a:gd name="connsiteY30240" fmla="*/ 740654 h 6557032"/>
              <a:gd name="connsiteX30241" fmla="*/ 612251 w 4610101"/>
              <a:gd name="connsiteY30241" fmla="*/ 753409 h 6557032"/>
              <a:gd name="connsiteX30242" fmla="*/ 621362 w 4610101"/>
              <a:gd name="connsiteY30242" fmla="*/ 767987 h 6557032"/>
              <a:gd name="connsiteX30243" fmla="*/ 612251 w 4610101"/>
              <a:gd name="connsiteY30243" fmla="*/ 753409 h 6557032"/>
              <a:gd name="connsiteX30244" fmla="*/ 621362 w 4610101"/>
              <a:gd name="connsiteY30244" fmla="*/ 764342 h 6557032"/>
              <a:gd name="connsiteX30245" fmla="*/ 639583 w 4610101"/>
              <a:gd name="connsiteY30245" fmla="*/ 735188 h 6557032"/>
              <a:gd name="connsiteX30246" fmla="*/ 637761 w 4610101"/>
              <a:gd name="connsiteY30246" fmla="*/ 737010 h 6557032"/>
              <a:gd name="connsiteX30247" fmla="*/ 612251 w 4610101"/>
              <a:gd name="connsiteY30247" fmla="*/ 737010 h 6557032"/>
              <a:gd name="connsiteX30248" fmla="*/ 614074 w 4610101"/>
              <a:gd name="connsiteY30248" fmla="*/ 733365 h 6557032"/>
              <a:gd name="connsiteX30249" fmla="*/ 608606 w 4610101"/>
              <a:gd name="connsiteY30249" fmla="*/ 727899 h 6557032"/>
              <a:gd name="connsiteX30250" fmla="*/ 607695 w 4610101"/>
              <a:gd name="connsiteY30250" fmla="*/ 735188 h 6557032"/>
              <a:gd name="connsiteX30251" fmla="*/ 601630 w 4610101"/>
              <a:gd name="connsiteY30251" fmla="*/ 736922 h 6557032"/>
              <a:gd name="connsiteX30252" fmla="*/ 264216 w 4610101"/>
              <a:gd name="connsiteY30252" fmla="*/ 727899 h 6557032"/>
              <a:gd name="connsiteX30253" fmla="*/ 264216 w 4610101"/>
              <a:gd name="connsiteY30253" fmla="*/ 737010 h 6557032"/>
              <a:gd name="connsiteX30254" fmla="*/ 264216 w 4610101"/>
              <a:gd name="connsiteY30254" fmla="*/ 727899 h 6557032"/>
              <a:gd name="connsiteX30255" fmla="*/ 211372 w 4610101"/>
              <a:gd name="connsiteY30255" fmla="*/ 727899 h 6557032"/>
              <a:gd name="connsiteX30256" fmla="*/ 218661 w 4610101"/>
              <a:gd name="connsiteY30256" fmla="*/ 738832 h 6557032"/>
              <a:gd name="connsiteX30257" fmla="*/ 211372 w 4610101"/>
              <a:gd name="connsiteY30257" fmla="*/ 727899 h 6557032"/>
              <a:gd name="connsiteX30258" fmla="*/ 3586476 w 4610101"/>
              <a:gd name="connsiteY30258" fmla="*/ 727811 h 6557032"/>
              <a:gd name="connsiteX30259" fmla="*/ 3591505 w 4610101"/>
              <a:gd name="connsiteY30259" fmla="*/ 727899 h 6557032"/>
              <a:gd name="connsiteX30260" fmla="*/ 3587406 w 4610101"/>
              <a:gd name="connsiteY30260" fmla="*/ 728583 h 6557032"/>
              <a:gd name="connsiteX30261" fmla="*/ 3586039 w 4610101"/>
              <a:gd name="connsiteY30261" fmla="*/ 727899 h 6557032"/>
              <a:gd name="connsiteX30262" fmla="*/ 3557795 w 4610101"/>
              <a:gd name="connsiteY30262" fmla="*/ 727672 h 6557032"/>
              <a:gd name="connsiteX30263" fmla="*/ 3556884 w 4610101"/>
              <a:gd name="connsiteY30263" fmla="*/ 731543 h 6557032"/>
              <a:gd name="connsiteX30264" fmla="*/ 3564173 w 4610101"/>
              <a:gd name="connsiteY30264" fmla="*/ 731543 h 6557032"/>
              <a:gd name="connsiteX30265" fmla="*/ 3564173 w 4610101"/>
              <a:gd name="connsiteY30265" fmla="*/ 727899 h 6557032"/>
              <a:gd name="connsiteX30266" fmla="*/ 3557795 w 4610101"/>
              <a:gd name="connsiteY30266" fmla="*/ 727672 h 6557032"/>
              <a:gd name="connsiteX30267" fmla="*/ 185217 w 4610101"/>
              <a:gd name="connsiteY30267" fmla="*/ 727038 h 6557032"/>
              <a:gd name="connsiteX30268" fmla="*/ 191329 w 4610101"/>
              <a:gd name="connsiteY30268" fmla="*/ 739516 h 6557032"/>
              <a:gd name="connsiteX30269" fmla="*/ 195035 w 4610101"/>
              <a:gd name="connsiteY30269" fmla="*/ 744960 h 6557032"/>
              <a:gd name="connsiteX30270" fmla="*/ 192695 w 4610101"/>
              <a:gd name="connsiteY30270" fmla="*/ 742476 h 6557032"/>
              <a:gd name="connsiteX30271" fmla="*/ 324119 w 4610101"/>
              <a:gd name="connsiteY30271" fmla="*/ 726988 h 6557032"/>
              <a:gd name="connsiteX30272" fmla="*/ 324347 w 4610101"/>
              <a:gd name="connsiteY30272" fmla="*/ 727899 h 6557032"/>
              <a:gd name="connsiteX30273" fmla="*/ 325132 w 4610101"/>
              <a:gd name="connsiteY30273" fmla="*/ 728180 h 6557032"/>
              <a:gd name="connsiteX30274" fmla="*/ 327993 w 4610101"/>
              <a:gd name="connsiteY30274" fmla="*/ 731543 h 6557032"/>
              <a:gd name="connsiteX30275" fmla="*/ 327537 w 4610101"/>
              <a:gd name="connsiteY30275" fmla="*/ 729038 h 6557032"/>
              <a:gd name="connsiteX30276" fmla="*/ 325132 w 4610101"/>
              <a:gd name="connsiteY30276" fmla="*/ 728180 h 6557032"/>
              <a:gd name="connsiteX30277" fmla="*/ 3493108 w 4610101"/>
              <a:gd name="connsiteY30277" fmla="*/ 726077 h 6557032"/>
              <a:gd name="connsiteX30278" fmla="*/ 3491286 w 4610101"/>
              <a:gd name="connsiteY30278" fmla="*/ 737010 h 6557032"/>
              <a:gd name="connsiteX30279" fmla="*/ 3493108 w 4610101"/>
              <a:gd name="connsiteY30279" fmla="*/ 726077 h 6557032"/>
              <a:gd name="connsiteX30280" fmla="*/ 1372097 w 4610101"/>
              <a:gd name="connsiteY30280" fmla="*/ 726077 h 6557032"/>
              <a:gd name="connsiteX30281" fmla="*/ 1366632 w 4610101"/>
              <a:gd name="connsiteY30281" fmla="*/ 733365 h 6557032"/>
              <a:gd name="connsiteX30282" fmla="*/ 1368453 w 4610101"/>
              <a:gd name="connsiteY30282" fmla="*/ 735188 h 6557032"/>
              <a:gd name="connsiteX30283" fmla="*/ 1375743 w 4610101"/>
              <a:gd name="connsiteY30283" fmla="*/ 729721 h 6557032"/>
              <a:gd name="connsiteX30284" fmla="*/ 1372097 w 4610101"/>
              <a:gd name="connsiteY30284" fmla="*/ 726077 h 6557032"/>
              <a:gd name="connsiteX30285" fmla="*/ 1118815 w 4610101"/>
              <a:gd name="connsiteY30285" fmla="*/ 726077 h 6557032"/>
              <a:gd name="connsiteX30286" fmla="*/ 1109704 w 4610101"/>
              <a:gd name="connsiteY30286" fmla="*/ 731543 h 6557032"/>
              <a:gd name="connsiteX30287" fmla="*/ 1122459 w 4610101"/>
              <a:gd name="connsiteY30287" fmla="*/ 733365 h 6557032"/>
              <a:gd name="connsiteX30288" fmla="*/ 1118815 w 4610101"/>
              <a:gd name="connsiteY30288" fmla="*/ 726077 h 6557032"/>
              <a:gd name="connsiteX30289" fmla="*/ 841845 w 4610101"/>
              <a:gd name="connsiteY30289" fmla="*/ 726077 h 6557032"/>
              <a:gd name="connsiteX30290" fmla="*/ 850956 w 4610101"/>
              <a:gd name="connsiteY30290" fmla="*/ 746121 h 6557032"/>
              <a:gd name="connsiteX30291" fmla="*/ 849133 w 4610101"/>
              <a:gd name="connsiteY30291" fmla="*/ 731543 h 6557032"/>
              <a:gd name="connsiteX30292" fmla="*/ 841845 w 4610101"/>
              <a:gd name="connsiteY30292" fmla="*/ 726077 h 6557032"/>
              <a:gd name="connsiteX30293" fmla="*/ 814512 w 4610101"/>
              <a:gd name="connsiteY30293" fmla="*/ 726077 h 6557032"/>
              <a:gd name="connsiteX30294" fmla="*/ 809046 w 4610101"/>
              <a:gd name="connsiteY30294" fmla="*/ 727899 h 6557032"/>
              <a:gd name="connsiteX30295" fmla="*/ 818156 w 4610101"/>
              <a:gd name="connsiteY30295" fmla="*/ 735188 h 6557032"/>
              <a:gd name="connsiteX30296" fmla="*/ 814512 w 4610101"/>
              <a:gd name="connsiteY30296" fmla="*/ 726077 h 6557032"/>
              <a:gd name="connsiteX30297" fmla="*/ 761670 w 4610101"/>
              <a:gd name="connsiteY30297" fmla="*/ 726077 h 6557032"/>
              <a:gd name="connsiteX30298" fmla="*/ 765313 w 4610101"/>
              <a:gd name="connsiteY30298" fmla="*/ 729721 h 6557032"/>
              <a:gd name="connsiteX30299" fmla="*/ 761670 w 4610101"/>
              <a:gd name="connsiteY30299" fmla="*/ 726077 h 6557032"/>
              <a:gd name="connsiteX30300" fmla="*/ 628650 w 4610101"/>
              <a:gd name="connsiteY30300" fmla="*/ 726077 h 6557032"/>
              <a:gd name="connsiteX30301" fmla="*/ 619539 w 4610101"/>
              <a:gd name="connsiteY30301" fmla="*/ 729721 h 6557032"/>
              <a:gd name="connsiteX30302" fmla="*/ 632207 w 4610101"/>
              <a:gd name="connsiteY30302" fmla="*/ 732536 h 6557032"/>
              <a:gd name="connsiteX30303" fmla="*/ 632296 w 4610101"/>
              <a:gd name="connsiteY30303" fmla="*/ 733365 h 6557032"/>
              <a:gd name="connsiteX30304" fmla="*/ 635939 w 4610101"/>
              <a:gd name="connsiteY30304" fmla="*/ 733365 h 6557032"/>
              <a:gd name="connsiteX30305" fmla="*/ 632207 w 4610101"/>
              <a:gd name="connsiteY30305" fmla="*/ 732536 h 6557032"/>
              <a:gd name="connsiteX30306" fmla="*/ 631840 w 4610101"/>
              <a:gd name="connsiteY30306" fmla="*/ 729038 h 6557032"/>
              <a:gd name="connsiteX30307" fmla="*/ 628650 w 4610101"/>
              <a:gd name="connsiteY30307" fmla="*/ 726077 h 6557032"/>
              <a:gd name="connsiteX30308" fmla="*/ 519320 w 4610101"/>
              <a:gd name="connsiteY30308" fmla="*/ 726077 h 6557032"/>
              <a:gd name="connsiteX30309" fmla="*/ 522964 w 4610101"/>
              <a:gd name="connsiteY30309" fmla="*/ 731543 h 6557032"/>
              <a:gd name="connsiteX30310" fmla="*/ 524786 w 4610101"/>
              <a:gd name="connsiteY30310" fmla="*/ 740654 h 6557032"/>
              <a:gd name="connsiteX30311" fmla="*/ 532075 w 4610101"/>
              <a:gd name="connsiteY30311" fmla="*/ 731543 h 6557032"/>
              <a:gd name="connsiteX30312" fmla="*/ 524786 w 4610101"/>
              <a:gd name="connsiteY30312" fmla="*/ 726077 h 6557032"/>
              <a:gd name="connsiteX30313" fmla="*/ 522964 w 4610101"/>
              <a:gd name="connsiteY30313" fmla="*/ 731543 h 6557032"/>
              <a:gd name="connsiteX30314" fmla="*/ 521142 w 4610101"/>
              <a:gd name="connsiteY30314" fmla="*/ 726077 h 6557032"/>
              <a:gd name="connsiteX30315" fmla="*/ 519320 w 4610101"/>
              <a:gd name="connsiteY30315" fmla="*/ 726077 h 6557032"/>
              <a:gd name="connsiteX30316" fmla="*/ 495632 w 4610101"/>
              <a:gd name="connsiteY30316" fmla="*/ 726077 h 6557032"/>
              <a:gd name="connsiteX30317" fmla="*/ 495632 w 4610101"/>
              <a:gd name="connsiteY30317" fmla="*/ 731543 h 6557032"/>
              <a:gd name="connsiteX30318" fmla="*/ 495632 w 4610101"/>
              <a:gd name="connsiteY30318" fmla="*/ 726077 h 6557032"/>
              <a:gd name="connsiteX30319" fmla="*/ 307948 w 4610101"/>
              <a:gd name="connsiteY30319" fmla="*/ 726077 h 6557032"/>
              <a:gd name="connsiteX30320" fmla="*/ 315236 w 4610101"/>
              <a:gd name="connsiteY30320" fmla="*/ 731543 h 6557032"/>
              <a:gd name="connsiteX30321" fmla="*/ 307948 w 4610101"/>
              <a:gd name="connsiteY30321" fmla="*/ 726077 h 6557032"/>
              <a:gd name="connsiteX30322" fmla="*/ 240527 w 4610101"/>
              <a:gd name="connsiteY30322" fmla="*/ 726077 h 6557032"/>
              <a:gd name="connsiteX30323" fmla="*/ 244172 w 4610101"/>
              <a:gd name="connsiteY30323" fmla="*/ 726077 h 6557032"/>
              <a:gd name="connsiteX30324" fmla="*/ 240527 w 4610101"/>
              <a:gd name="connsiteY30324" fmla="*/ 726077 h 6557032"/>
              <a:gd name="connsiteX30325" fmla="*/ 3536840 w 4610101"/>
              <a:gd name="connsiteY30325" fmla="*/ 724254 h 6557032"/>
              <a:gd name="connsiteX30326" fmla="*/ 3533196 w 4610101"/>
              <a:gd name="connsiteY30326" fmla="*/ 727899 h 6557032"/>
              <a:gd name="connsiteX30327" fmla="*/ 3538662 w 4610101"/>
              <a:gd name="connsiteY30327" fmla="*/ 729721 h 6557032"/>
              <a:gd name="connsiteX30328" fmla="*/ 3538662 w 4610101"/>
              <a:gd name="connsiteY30328" fmla="*/ 726077 h 6557032"/>
              <a:gd name="connsiteX30329" fmla="*/ 3536840 w 4610101"/>
              <a:gd name="connsiteY30329" fmla="*/ 724254 h 6557032"/>
              <a:gd name="connsiteX30330" fmla="*/ 2660374 w 4610101"/>
              <a:gd name="connsiteY30330" fmla="*/ 724254 h 6557032"/>
              <a:gd name="connsiteX30331" fmla="*/ 2662197 w 4610101"/>
              <a:gd name="connsiteY30331" fmla="*/ 733365 h 6557032"/>
              <a:gd name="connsiteX30332" fmla="*/ 2660374 w 4610101"/>
              <a:gd name="connsiteY30332" fmla="*/ 724254 h 6557032"/>
              <a:gd name="connsiteX30333" fmla="*/ 2197542 w 4610101"/>
              <a:gd name="connsiteY30333" fmla="*/ 724254 h 6557032"/>
              <a:gd name="connsiteX30334" fmla="*/ 2175676 w 4610101"/>
              <a:gd name="connsiteY30334" fmla="*/ 735188 h 6557032"/>
              <a:gd name="connsiteX30335" fmla="*/ 2197542 w 4610101"/>
              <a:gd name="connsiteY30335" fmla="*/ 724254 h 6557032"/>
              <a:gd name="connsiteX30336" fmla="*/ 1432229 w 4610101"/>
              <a:gd name="connsiteY30336" fmla="*/ 724254 h 6557032"/>
              <a:gd name="connsiteX30337" fmla="*/ 1423118 w 4610101"/>
              <a:gd name="connsiteY30337" fmla="*/ 729721 h 6557032"/>
              <a:gd name="connsiteX30338" fmla="*/ 1425853 w 4610101"/>
              <a:gd name="connsiteY30338" fmla="*/ 727898 h 6557032"/>
              <a:gd name="connsiteX30339" fmla="*/ 1164370 w 4610101"/>
              <a:gd name="connsiteY30339" fmla="*/ 724254 h 6557032"/>
              <a:gd name="connsiteX30340" fmla="*/ 1162547 w 4610101"/>
              <a:gd name="connsiteY30340" fmla="*/ 727899 h 6557032"/>
              <a:gd name="connsiteX30341" fmla="*/ 1164370 w 4610101"/>
              <a:gd name="connsiteY30341" fmla="*/ 724254 h 6557032"/>
              <a:gd name="connsiteX30342" fmla="*/ 1013129 w 4610101"/>
              <a:gd name="connsiteY30342" fmla="*/ 724254 h 6557032"/>
              <a:gd name="connsiteX30343" fmla="*/ 1011307 w 4610101"/>
              <a:gd name="connsiteY30343" fmla="*/ 729721 h 6557032"/>
              <a:gd name="connsiteX30344" fmla="*/ 1013129 w 4610101"/>
              <a:gd name="connsiteY30344" fmla="*/ 724254 h 6557032"/>
              <a:gd name="connsiteX30345" fmla="*/ 976686 w 4610101"/>
              <a:gd name="connsiteY30345" fmla="*/ 724254 h 6557032"/>
              <a:gd name="connsiteX30346" fmla="*/ 974863 w 4610101"/>
              <a:gd name="connsiteY30346" fmla="*/ 727899 h 6557032"/>
              <a:gd name="connsiteX30347" fmla="*/ 980330 w 4610101"/>
              <a:gd name="connsiteY30347" fmla="*/ 724254 h 6557032"/>
              <a:gd name="connsiteX30348" fmla="*/ 976686 w 4610101"/>
              <a:gd name="connsiteY30348" fmla="*/ 724254 h 6557032"/>
              <a:gd name="connsiteX30349" fmla="*/ 674205 w 4610101"/>
              <a:gd name="connsiteY30349" fmla="*/ 724254 h 6557032"/>
              <a:gd name="connsiteX30350" fmla="*/ 681493 w 4610101"/>
              <a:gd name="connsiteY30350" fmla="*/ 729721 h 6557032"/>
              <a:gd name="connsiteX30351" fmla="*/ 674205 w 4610101"/>
              <a:gd name="connsiteY30351" fmla="*/ 724254 h 6557032"/>
              <a:gd name="connsiteX30352" fmla="*/ 512031 w 4610101"/>
              <a:gd name="connsiteY30352" fmla="*/ 724254 h 6557032"/>
              <a:gd name="connsiteX30353" fmla="*/ 515676 w 4610101"/>
              <a:gd name="connsiteY30353" fmla="*/ 731543 h 6557032"/>
              <a:gd name="connsiteX30354" fmla="*/ 512031 w 4610101"/>
              <a:gd name="connsiteY30354" fmla="*/ 724254 h 6557032"/>
              <a:gd name="connsiteX30355" fmla="*/ 661592 w 4610101"/>
              <a:gd name="connsiteY30355" fmla="*/ 723429 h 6557032"/>
              <a:gd name="connsiteX30356" fmla="*/ 654161 w 4610101"/>
              <a:gd name="connsiteY30356" fmla="*/ 731543 h 6557032"/>
              <a:gd name="connsiteX30357" fmla="*/ 657805 w 4610101"/>
              <a:gd name="connsiteY30357" fmla="*/ 727899 h 6557032"/>
              <a:gd name="connsiteX30358" fmla="*/ 662360 w 4610101"/>
              <a:gd name="connsiteY30358" fmla="*/ 728127 h 6557032"/>
              <a:gd name="connsiteX30359" fmla="*/ 666493 w 4610101"/>
              <a:gd name="connsiteY30359" fmla="*/ 724614 h 6557032"/>
              <a:gd name="connsiteX30360" fmla="*/ 666502 w 4610101"/>
              <a:gd name="connsiteY30360" fmla="*/ 724616 h 6557032"/>
              <a:gd name="connsiteX30361" fmla="*/ 659627 w 4610101"/>
              <a:gd name="connsiteY30361" fmla="*/ 730632 h 6557032"/>
              <a:gd name="connsiteX30362" fmla="*/ 652339 w 4610101"/>
              <a:gd name="connsiteY30362" fmla="*/ 737010 h 6557032"/>
              <a:gd name="connsiteX30363" fmla="*/ 659627 w 4610101"/>
              <a:gd name="connsiteY30363" fmla="*/ 742476 h 6557032"/>
              <a:gd name="connsiteX30364" fmla="*/ 657805 w 4610101"/>
              <a:gd name="connsiteY30364" fmla="*/ 737010 h 6557032"/>
              <a:gd name="connsiteX30365" fmla="*/ 672383 w 4610101"/>
              <a:gd name="connsiteY30365" fmla="*/ 751587 h 6557032"/>
              <a:gd name="connsiteX30366" fmla="*/ 672383 w 4610101"/>
              <a:gd name="connsiteY30366" fmla="*/ 747943 h 6557032"/>
              <a:gd name="connsiteX30367" fmla="*/ 694249 w 4610101"/>
              <a:gd name="connsiteY30367" fmla="*/ 755231 h 6557032"/>
              <a:gd name="connsiteX30368" fmla="*/ 691515 w 4610101"/>
              <a:gd name="connsiteY30368" fmla="*/ 748398 h 6557032"/>
              <a:gd name="connsiteX30369" fmla="*/ 692367 w 4610101"/>
              <a:gd name="connsiteY30369" fmla="*/ 747121 h 6557032"/>
              <a:gd name="connsiteX30370" fmla="*/ 692198 w 4610101"/>
              <a:gd name="connsiteY30370" fmla="*/ 749993 h 6557032"/>
              <a:gd name="connsiteX30371" fmla="*/ 696071 w 4610101"/>
              <a:gd name="connsiteY30371" fmla="*/ 749765 h 6557032"/>
              <a:gd name="connsiteX30372" fmla="*/ 717937 w 4610101"/>
              <a:gd name="connsiteY30372" fmla="*/ 760698 h 6557032"/>
              <a:gd name="connsiteX30373" fmla="*/ 708598 w 4610101"/>
              <a:gd name="connsiteY30373" fmla="*/ 752043 h 6557032"/>
              <a:gd name="connsiteX30374" fmla="*/ 692914 w 4610101"/>
              <a:gd name="connsiteY30374" fmla="*/ 746300 h 6557032"/>
              <a:gd name="connsiteX30375" fmla="*/ 694249 w 4610101"/>
              <a:gd name="connsiteY30375" fmla="*/ 744298 h 6557032"/>
              <a:gd name="connsiteX30376" fmla="*/ 710648 w 4610101"/>
              <a:gd name="connsiteY30376" fmla="*/ 751587 h 6557032"/>
              <a:gd name="connsiteX30377" fmla="*/ 672383 w 4610101"/>
              <a:gd name="connsiteY30377" fmla="*/ 738832 h 6557032"/>
              <a:gd name="connsiteX30378" fmla="*/ 686960 w 4610101"/>
              <a:gd name="connsiteY30378" fmla="*/ 737010 h 6557032"/>
              <a:gd name="connsiteX30379" fmla="*/ 674180 w 4610101"/>
              <a:gd name="connsiteY30379" fmla="*/ 726472 h 6557032"/>
              <a:gd name="connsiteX30380" fmla="*/ 666502 w 4610101"/>
              <a:gd name="connsiteY30380" fmla="*/ 724616 h 6557032"/>
              <a:gd name="connsiteX30381" fmla="*/ 666916 w 4610101"/>
              <a:gd name="connsiteY30381" fmla="*/ 724254 h 6557032"/>
              <a:gd name="connsiteX30382" fmla="*/ 666493 w 4610101"/>
              <a:gd name="connsiteY30382" fmla="*/ 724614 h 6557032"/>
              <a:gd name="connsiteX30383" fmla="*/ 1471406 w 4610101"/>
              <a:gd name="connsiteY30383" fmla="*/ 723344 h 6557032"/>
              <a:gd name="connsiteX30384" fmla="*/ 1465028 w 4610101"/>
              <a:gd name="connsiteY30384" fmla="*/ 727899 h 6557032"/>
              <a:gd name="connsiteX30385" fmla="*/ 1477784 w 4610101"/>
              <a:gd name="connsiteY30385" fmla="*/ 724254 h 6557032"/>
              <a:gd name="connsiteX30386" fmla="*/ 1471406 w 4610101"/>
              <a:gd name="connsiteY30386" fmla="*/ 723344 h 6557032"/>
              <a:gd name="connsiteX30387" fmla="*/ 1301887 w 4610101"/>
              <a:gd name="connsiteY30387" fmla="*/ 722661 h 6557032"/>
              <a:gd name="connsiteX30388" fmla="*/ 1296477 w 4610101"/>
              <a:gd name="connsiteY30388" fmla="*/ 724711 h 6557032"/>
              <a:gd name="connsiteX30389" fmla="*/ 1290258 w 4610101"/>
              <a:gd name="connsiteY30389" fmla="*/ 736705 h 6557032"/>
              <a:gd name="connsiteX30390" fmla="*/ 1282811 w 4610101"/>
              <a:gd name="connsiteY30390" fmla="*/ 738832 h 6557032"/>
              <a:gd name="connsiteX30391" fmla="*/ 1290100 w 4610101"/>
              <a:gd name="connsiteY30391" fmla="*/ 737010 h 6557032"/>
              <a:gd name="connsiteX30392" fmla="*/ 1290258 w 4610101"/>
              <a:gd name="connsiteY30392" fmla="*/ 736705 h 6557032"/>
              <a:gd name="connsiteX30393" fmla="*/ 1295566 w 4610101"/>
              <a:gd name="connsiteY30393" fmla="*/ 735188 h 6557032"/>
              <a:gd name="connsiteX30394" fmla="*/ 1308321 w 4610101"/>
              <a:gd name="connsiteY30394" fmla="*/ 726077 h 6557032"/>
              <a:gd name="connsiteX30395" fmla="*/ 1301887 w 4610101"/>
              <a:gd name="connsiteY30395" fmla="*/ 722661 h 6557032"/>
              <a:gd name="connsiteX30396" fmla="*/ 391768 w 4610101"/>
              <a:gd name="connsiteY30396" fmla="*/ 722432 h 6557032"/>
              <a:gd name="connsiteX30397" fmla="*/ 408167 w 4610101"/>
              <a:gd name="connsiteY30397" fmla="*/ 737010 h 6557032"/>
              <a:gd name="connsiteX30398" fmla="*/ 391768 w 4610101"/>
              <a:gd name="connsiteY30398" fmla="*/ 722432 h 6557032"/>
              <a:gd name="connsiteX30399" fmla="*/ 2207337 w 4610101"/>
              <a:gd name="connsiteY30399" fmla="*/ 722205 h 6557032"/>
              <a:gd name="connsiteX30400" fmla="*/ 2204831 w 4610101"/>
              <a:gd name="connsiteY30400" fmla="*/ 722432 h 6557032"/>
              <a:gd name="connsiteX30401" fmla="*/ 2208475 w 4610101"/>
              <a:gd name="connsiteY30401" fmla="*/ 726077 h 6557032"/>
              <a:gd name="connsiteX30402" fmla="*/ 2207337 w 4610101"/>
              <a:gd name="connsiteY30402" fmla="*/ 722205 h 6557032"/>
              <a:gd name="connsiteX30403" fmla="*/ 815313 w 4610101"/>
              <a:gd name="connsiteY30403" fmla="*/ 722007 h 6557032"/>
              <a:gd name="connsiteX30404" fmla="*/ 816334 w 4610101"/>
              <a:gd name="connsiteY30404" fmla="*/ 722432 h 6557032"/>
              <a:gd name="connsiteX30405" fmla="*/ 815615 w 4610101"/>
              <a:gd name="connsiteY30405" fmla="*/ 722672 h 6557032"/>
              <a:gd name="connsiteX30406" fmla="*/ 1235434 w 4610101"/>
              <a:gd name="connsiteY30406" fmla="*/ 721294 h 6557032"/>
              <a:gd name="connsiteX30407" fmla="*/ 1231790 w 4610101"/>
              <a:gd name="connsiteY30407" fmla="*/ 724254 h 6557032"/>
              <a:gd name="connsiteX30408" fmla="*/ 1239080 w 4610101"/>
              <a:gd name="connsiteY30408" fmla="*/ 722432 h 6557032"/>
              <a:gd name="connsiteX30409" fmla="*/ 1235434 w 4610101"/>
              <a:gd name="connsiteY30409" fmla="*/ 721294 h 6557032"/>
              <a:gd name="connsiteX30410" fmla="*/ 3500397 w 4610101"/>
              <a:gd name="connsiteY30410" fmla="*/ 720610 h 6557032"/>
              <a:gd name="connsiteX30411" fmla="*/ 3496752 w 4610101"/>
              <a:gd name="connsiteY30411" fmla="*/ 733365 h 6557032"/>
              <a:gd name="connsiteX30412" fmla="*/ 3511330 w 4610101"/>
              <a:gd name="connsiteY30412" fmla="*/ 722432 h 6557032"/>
              <a:gd name="connsiteX30413" fmla="*/ 3500397 w 4610101"/>
              <a:gd name="connsiteY30413" fmla="*/ 720610 h 6557032"/>
              <a:gd name="connsiteX30414" fmla="*/ 2609353 w 4610101"/>
              <a:gd name="connsiteY30414" fmla="*/ 720610 h 6557032"/>
              <a:gd name="connsiteX30415" fmla="*/ 2612998 w 4610101"/>
              <a:gd name="connsiteY30415" fmla="*/ 726077 h 6557032"/>
              <a:gd name="connsiteX30416" fmla="*/ 2609353 w 4610101"/>
              <a:gd name="connsiteY30416" fmla="*/ 720610 h 6557032"/>
              <a:gd name="connsiteX30417" fmla="*/ 2558332 w 4610101"/>
              <a:gd name="connsiteY30417" fmla="*/ 720610 h 6557032"/>
              <a:gd name="connsiteX30418" fmla="*/ 2558332 w 4610101"/>
              <a:gd name="connsiteY30418" fmla="*/ 727899 h 6557032"/>
              <a:gd name="connsiteX30419" fmla="*/ 2565621 w 4610101"/>
              <a:gd name="connsiteY30419" fmla="*/ 724254 h 6557032"/>
              <a:gd name="connsiteX30420" fmla="*/ 2571088 w 4610101"/>
              <a:gd name="connsiteY30420" fmla="*/ 722432 h 6557032"/>
              <a:gd name="connsiteX30421" fmla="*/ 2565621 w 4610101"/>
              <a:gd name="connsiteY30421" fmla="*/ 722432 h 6557032"/>
              <a:gd name="connsiteX30422" fmla="*/ 2565621 w 4610101"/>
              <a:gd name="connsiteY30422" fmla="*/ 724254 h 6557032"/>
              <a:gd name="connsiteX30423" fmla="*/ 2558332 w 4610101"/>
              <a:gd name="connsiteY30423" fmla="*/ 720610 h 6557032"/>
              <a:gd name="connsiteX30424" fmla="*/ 1171658 w 4610101"/>
              <a:gd name="connsiteY30424" fmla="*/ 720610 h 6557032"/>
              <a:gd name="connsiteX30425" fmla="*/ 1168014 w 4610101"/>
              <a:gd name="connsiteY30425" fmla="*/ 724254 h 6557032"/>
              <a:gd name="connsiteX30426" fmla="*/ 1171658 w 4610101"/>
              <a:gd name="connsiteY30426" fmla="*/ 720610 h 6557032"/>
              <a:gd name="connsiteX30427" fmla="*/ 1158903 w 4610101"/>
              <a:gd name="connsiteY30427" fmla="*/ 720610 h 6557032"/>
              <a:gd name="connsiteX30428" fmla="*/ 1149792 w 4610101"/>
              <a:gd name="connsiteY30428" fmla="*/ 727899 h 6557032"/>
              <a:gd name="connsiteX30429" fmla="*/ 1160725 w 4610101"/>
              <a:gd name="connsiteY30429" fmla="*/ 722432 h 6557032"/>
              <a:gd name="connsiteX30430" fmla="*/ 1158903 w 4610101"/>
              <a:gd name="connsiteY30430" fmla="*/ 720610 h 6557032"/>
              <a:gd name="connsiteX30431" fmla="*/ 1000374 w 4610101"/>
              <a:gd name="connsiteY30431" fmla="*/ 720610 h 6557032"/>
              <a:gd name="connsiteX30432" fmla="*/ 1000093 w 4610101"/>
              <a:gd name="connsiteY30432" fmla="*/ 722713 h 6557032"/>
              <a:gd name="connsiteX30433" fmla="*/ 996729 w 4610101"/>
              <a:gd name="connsiteY30433" fmla="*/ 726077 h 6557032"/>
              <a:gd name="connsiteX30434" fmla="*/ 999918 w 4610101"/>
              <a:gd name="connsiteY30434" fmla="*/ 724027 h 6557032"/>
              <a:gd name="connsiteX30435" fmla="*/ 1000093 w 4610101"/>
              <a:gd name="connsiteY30435" fmla="*/ 722713 h 6557032"/>
              <a:gd name="connsiteX30436" fmla="*/ 1002196 w 4610101"/>
              <a:gd name="connsiteY30436" fmla="*/ 720610 h 6557032"/>
              <a:gd name="connsiteX30437" fmla="*/ 1000374 w 4610101"/>
              <a:gd name="connsiteY30437" fmla="*/ 720610 h 6557032"/>
              <a:gd name="connsiteX30438" fmla="*/ 942064 w 4610101"/>
              <a:gd name="connsiteY30438" fmla="*/ 720610 h 6557032"/>
              <a:gd name="connsiteX30439" fmla="*/ 940242 w 4610101"/>
              <a:gd name="connsiteY30439" fmla="*/ 733365 h 6557032"/>
              <a:gd name="connsiteX30440" fmla="*/ 942064 w 4610101"/>
              <a:gd name="connsiteY30440" fmla="*/ 720610 h 6557032"/>
              <a:gd name="connsiteX30441" fmla="*/ 936598 w 4610101"/>
              <a:gd name="connsiteY30441" fmla="*/ 720610 h 6557032"/>
              <a:gd name="connsiteX30442" fmla="*/ 931131 w 4610101"/>
              <a:gd name="connsiteY30442" fmla="*/ 731543 h 6557032"/>
              <a:gd name="connsiteX30443" fmla="*/ 929309 w 4610101"/>
              <a:gd name="connsiteY30443" fmla="*/ 737010 h 6557032"/>
              <a:gd name="connsiteX30444" fmla="*/ 936598 w 4610101"/>
              <a:gd name="connsiteY30444" fmla="*/ 720610 h 6557032"/>
              <a:gd name="connsiteX30445" fmla="*/ 896510 w 4610101"/>
              <a:gd name="connsiteY30445" fmla="*/ 720610 h 6557032"/>
              <a:gd name="connsiteX30446" fmla="*/ 898333 w 4610101"/>
              <a:gd name="connsiteY30446" fmla="*/ 726077 h 6557032"/>
              <a:gd name="connsiteX30447" fmla="*/ 896510 w 4610101"/>
              <a:gd name="connsiteY30447" fmla="*/ 720610 h 6557032"/>
              <a:gd name="connsiteX30448" fmla="*/ 885577 w 4610101"/>
              <a:gd name="connsiteY30448" fmla="*/ 720610 h 6557032"/>
              <a:gd name="connsiteX30449" fmla="*/ 896510 w 4610101"/>
              <a:gd name="connsiteY30449" fmla="*/ 727899 h 6557032"/>
              <a:gd name="connsiteX30450" fmla="*/ 885577 w 4610101"/>
              <a:gd name="connsiteY30450" fmla="*/ 720610 h 6557032"/>
              <a:gd name="connsiteX30451" fmla="*/ 818156 w 4610101"/>
              <a:gd name="connsiteY30451" fmla="*/ 720610 h 6557032"/>
              <a:gd name="connsiteX30452" fmla="*/ 815196 w 4610101"/>
              <a:gd name="connsiteY30452" fmla="*/ 721749 h 6557032"/>
              <a:gd name="connsiteX30453" fmla="*/ 815313 w 4610101"/>
              <a:gd name="connsiteY30453" fmla="*/ 722007 h 6557032"/>
              <a:gd name="connsiteX30454" fmla="*/ 813601 w 4610101"/>
              <a:gd name="connsiteY30454" fmla="*/ 721294 h 6557032"/>
              <a:gd name="connsiteX30455" fmla="*/ 810868 w 4610101"/>
              <a:gd name="connsiteY30455" fmla="*/ 724254 h 6557032"/>
              <a:gd name="connsiteX30456" fmla="*/ 815615 w 4610101"/>
              <a:gd name="connsiteY30456" fmla="*/ 722672 h 6557032"/>
              <a:gd name="connsiteX30457" fmla="*/ 816334 w 4610101"/>
              <a:gd name="connsiteY30457" fmla="*/ 724254 h 6557032"/>
              <a:gd name="connsiteX30458" fmla="*/ 821801 w 4610101"/>
              <a:gd name="connsiteY30458" fmla="*/ 726077 h 6557032"/>
              <a:gd name="connsiteX30459" fmla="*/ 818156 w 4610101"/>
              <a:gd name="connsiteY30459" fmla="*/ 720610 h 6557032"/>
              <a:gd name="connsiteX30460" fmla="*/ 807223 w 4610101"/>
              <a:gd name="connsiteY30460" fmla="*/ 720610 h 6557032"/>
              <a:gd name="connsiteX30461" fmla="*/ 798112 w 4610101"/>
              <a:gd name="connsiteY30461" fmla="*/ 731543 h 6557032"/>
              <a:gd name="connsiteX30462" fmla="*/ 807223 w 4610101"/>
              <a:gd name="connsiteY30462" fmla="*/ 720610 h 6557032"/>
              <a:gd name="connsiteX30463" fmla="*/ 739803 w 4610101"/>
              <a:gd name="connsiteY30463" fmla="*/ 720610 h 6557032"/>
              <a:gd name="connsiteX30464" fmla="*/ 750737 w 4610101"/>
              <a:gd name="connsiteY30464" fmla="*/ 731543 h 6557032"/>
              <a:gd name="connsiteX30465" fmla="*/ 739803 w 4610101"/>
              <a:gd name="connsiteY30465" fmla="*/ 720610 h 6557032"/>
              <a:gd name="connsiteX30466" fmla="*/ 705182 w 4610101"/>
              <a:gd name="connsiteY30466" fmla="*/ 720610 h 6557032"/>
              <a:gd name="connsiteX30467" fmla="*/ 714293 w 4610101"/>
              <a:gd name="connsiteY30467" fmla="*/ 731543 h 6557032"/>
              <a:gd name="connsiteX30468" fmla="*/ 705182 w 4610101"/>
              <a:gd name="connsiteY30468" fmla="*/ 720610 h 6557032"/>
              <a:gd name="connsiteX30469" fmla="*/ 439145 w 4610101"/>
              <a:gd name="connsiteY30469" fmla="*/ 720610 h 6557032"/>
              <a:gd name="connsiteX30470" fmla="*/ 446433 w 4610101"/>
              <a:gd name="connsiteY30470" fmla="*/ 731543 h 6557032"/>
              <a:gd name="connsiteX30471" fmla="*/ 439145 w 4610101"/>
              <a:gd name="connsiteY30471" fmla="*/ 720610 h 6557032"/>
              <a:gd name="connsiteX30472" fmla="*/ 331636 w 4610101"/>
              <a:gd name="connsiteY30472" fmla="*/ 720610 h 6557032"/>
              <a:gd name="connsiteX30473" fmla="*/ 335280 w 4610101"/>
              <a:gd name="connsiteY30473" fmla="*/ 727899 h 6557032"/>
              <a:gd name="connsiteX30474" fmla="*/ 331636 w 4610101"/>
              <a:gd name="connsiteY30474" fmla="*/ 720610 h 6557032"/>
              <a:gd name="connsiteX30475" fmla="*/ 1224273 w 4610101"/>
              <a:gd name="connsiteY30475" fmla="*/ 719244 h 6557032"/>
              <a:gd name="connsiteX30476" fmla="*/ 1220858 w 4610101"/>
              <a:gd name="connsiteY30476" fmla="*/ 720610 h 6557032"/>
              <a:gd name="connsiteX30477" fmla="*/ 1226323 w 4610101"/>
              <a:gd name="connsiteY30477" fmla="*/ 720610 h 6557032"/>
              <a:gd name="connsiteX30478" fmla="*/ 1224273 w 4610101"/>
              <a:gd name="connsiteY30478" fmla="*/ 719244 h 6557032"/>
              <a:gd name="connsiteX30479" fmla="*/ 3418399 w 4610101"/>
              <a:gd name="connsiteY30479" fmla="*/ 718788 h 6557032"/>
              <a:gd name="connsiteX30480" fmla="*/ 3423865 w 4610101"/>
              <a:gd name="connsiteY30480" fmla="*/ 735188 h 6557032"/>
              <a:gd name="connsiteX30481" fmla="*/ 3453020 w 4610101"/>
              <a:gd name="connsiteY30481" fmla="*/ 747943 h 6557032"/>
              <a:gd name="connsiteX30482" fmla="*/ 3447553 w 4610101"/>
              <a:gd name="connsiteY30482" fmla="*/ 724254 h 6557032"/>
              <a:gd name="connsiteX30483" fmla="*/ 3434798 w 4610101"/>
              <a:gd name="connsiteY30483" fmla="*/ 726077 h 6557032"/>
              <a:gd name="connsiteX30484" fmla="*/ 3429332 w 4610101"/>
              <a:gd name="connsiteY30484" fmla="*/ 733365 h 6557032"/>
              <a:gd name="connsiteX30485" fmla="*/ 3431154 w 4610101"/>
              <a:gd name="connsiteY30485" fmla="*/ 726077 h 6557032"/>
              <a:gd name="connsiteX30486" fmla="*/ 3418399 w 4610101"/>
              <a:gd name="connsiteY30486" fmla="*/ 718788 h 6557032"/>
              <a:gd name="connsiteX30487" fmla="*/ 2618464 w 4610101"/>
              <a:gd name="connsiteY30487" fmla="*/ 718788 h 6557032"/>
              <a:gd name="connsiteX30488" fmla="*/ 2614820 w 4610101"/>
              <a:gd name="connsiteY30488" fmla="*/ 726077 h 6557032"/>
              <a:gd name="connsiteX30489" fmla="*/ 2622109 w 4610101"/>
              <a:gd name="connsiteY30489" fmla="*/ 731543 h 6557032"/>
              <a:gd name="connsiteX30490" fmla="*/ 2618464 w 4610101"/>
              <a:gd name="connsiteY30490" fmla="*/ 718788 h 6557032"/>
              <a:gd name="connsiteX30491" fmla="*/ 1459562 w 4610101"/>
              <a:gd name="connsiteY30491" fmla="*/ 718788 h 6557032"/>
              <a:gd name="connsiteX30492" fmla="*/ 1434006 w 4610101"/>
              <a:gd name="connsiteY30492" fmla="*/ 737529 h 6557032"/>
              <a:gd name="connsiteX30493" fmla="*/ 1423118 w 4610101"/>
              <a:gd name="connsiteY30493" fmla="*/ 739060 h 6557032"/>
              <a:gd name="connsiteX30494" fmla="*/ 1408541 w 4610101"/>
              <a:gd name="connsiteY30494" fmla="*/ 742476 h 6557032"/>
              <a:gd name="connsiteX30495" fmla="*/ 1437696 w 4610101"/>
              <a:gd name="connsiteY30495" fmla="*/ 737010 h 6557032"/>
              <a:gd name="connsiteX30496" fmla="*/ 1434232 w 4610101"/>
              <a:gd name="connsiteY30496" fmla="*/ 737497 h 6557032"/>
              <a:gd name="connsiteX30497" fmla="*/ 1437696 w 4610101"/>
              <a:gd name="connsiteY30497" fmla="*/ 735188 h 6557032"/>
              <a:gd name="connsiteX30498" fmla="*/ 1441340 w 4610101"/>
              <a:gd name="connsiteY30498" fmla="*/ 740654 h 6557032"/>
              <a:gd name="connsiteX30499" fmla="*/ 1444588 w 4610101"/>
              <a:gd name="connsiteY30499" fmla="*/ 738415 h 6557032"/>
              <a:gd name="connsiteX30500" fmla="*/ 1443162 w 4610101"/>
              <a:gd name="connsiteY30500" fmla="*/ 740654 h 6557032"/>
              <a:gd name="connsiteX30501" fmla="*/ 1446806 w 4610101"/>
              <a:gd name="connsiteY30501" fmla="*/ 742476 h 6557032"/>
              <a:gd name="connsiteX30502" fmla="*/ 1452035 w 4610101"/>
              <a:gd name="connsiteY30502" fmla="*/ 733762 h 6557032"/>
              <a:gd name="connsiteX30503" fmla="*/ 1455917 w 4610101"/>
              <a:gd name="connsiteY30503" fmla="*/ 731543 h 6557032"/>
              <a:gd name="connsiteX30504" fmla="*/ 1454095 w 4610101"/>
              <a:gd name="connsiteY30504" fmla="*/ 727899 h 6557032"/>
              <a:gd name="connsiteX30505" fmla="*/ 1457739 w 4610101"/>
              <a:gd name="connsiteY30505" fmla="*/ 727899 h 6557032"/>
              <a:gd name="connsiteX30506" fmla="*/ 1459562 w 4610101"/>
              <a:gd name="connsiteY30506" fmla="*/ 718788 h 6557032"/>
              <a:gd name="connsiteX30507" fmla="*/ 1198991 w 4610101"/>
              <a:gd name="connsiteY30507" fmla="*/ 718788 h 6557032"/>
              <a:gd name="connsiteX30508" fmla="*/ 1195346 w 4610101"/>
              <a:gd name="connsiteY30508" fmla="*/ 720610 h 6557032"/>
              <a:gd name="connsiteX30509" fmla="*/ 1198991 w 4610101"/>
              <a:gd name="connsiteY30509" fmla="*/ 720610 h 6557032"/>
              <a:gd name="connsiteX30510" fmla="*/ 1198991 w 4610101"/>
              <a:gd name="connsiteY30510" fmla="*/ 718788 h 6557032"/>
              <a:gd name="connsiteX30511" fmla="*/ 1104238 w 4610101"/>
              <a:gd name="connsiteY30511" fmla="*/ 718788 h 6557032"/>
              <a:gd name="connsiteX30512" fmla="*/ 1096949 w 4610101"/>
              <a:gd name="connsiteY30512" fmla="*/ 720610 h 6557032"/>
              <a:gd name="connsiteX30513" fmla="*/ 1098771 w 4610101"/>
              <a:gd name="connsiteY30513" fmla="*/ 722432 h 6557032"/>
              <a:gd name="connsiteX30514" fmla="*/ 1104238 w 4610101"/>
              <a:gd name="connsiteY30514" fmla="*/ 718788 h 6557032"/>
              <a:gd name="connsiteX30515" fmla="*/ 1045929 w 4610101"/>
              <a:gd name="connsiteY30515" fmla="*/ 718788 h 6557032"/>
              <a:gd name="connsiteX30516" fmla="*/ 1042284 w 4610101"/>
              <a:gd name="connsiteY30516" fmla="*/ 726077 h 6557032"/>
              <a:gd name="connsiteX30517" fmla="*/ 1047750 w 4610101"/>
              <a:gd name="connsiteY30517" fmla="*/ 720610 h 6557032"/>
              <a:gd name="connsiteX30518" fmla="*/ 1045929 w 4610101"/>
              <a:gd name="connsiteY30518" fmla="*/ 718788 h 6557032"/>
              <a:gd name="connsiteX30519" fmla="*/ 1014951 w 4610101"/>
              <a:gd name="connsiteY30519" fmla="*/ 718788 h 6557032"/>
              <a:gd name="connsiteX30520" fmla="*/ 1016774 w 4610101"/>
              <a:gd name="connsiteY30520" fmla="*/ 718788 h 6557032"/>
              <a:gd name="connsiteX30521" fmla="*/ 1014040 w 4610101"/>
              <a:gd name="connsiteY30521" fmla="*/ 719699 h 6557032"/>
              <a:gd name="connsiteX30522" fmla="*/ 1011307 w 4610101"/>
              <a:gd name="connsiteY30522" fmla="*/ 718788 h 6557032"/>
              <a:gd name="connsiteX30523" fmla="*/ 1005840 w 4610101"/>
              <a:gd name="connsiteY30523" fmla="*/ 722432 h 6557032"/>
              <a:gd name="connsiteX30524" fmla="*/ 1011307 w 4610101"/>
              <a:gd name="connsiteY30524" fmla="*/ 718788 h 6557032"/>
              <a:gd name="connsiteX30525" fmla="*/ 911087 w 4610101"/>
              <a:gd name="connsiteY30525" fmla="*/ 718788 h 6557032"/>
              <a:gd name="connsiteX30526" fmla="*/ 909265 w 4610101"/>
              <a:gd name="connsiteY30526" fmla="*/ 727899 h 6557032"/>
              <a:gd name="connsiteX30527" fmla="*/ 911087 w 4610101"/>
              <a:gd name="connsiteY30527" fmla="*/ 718788 h 6557032"/>
              <a:gd name="connsiteX30528" fmla="*/ 570341 w 4610101"/>
              <a:gd name="connsiteY30528" fmla="*/ 718788 h 6557032"/>
              <a:gd name="connsiteX30529" fmla="*/ 566697 w 4610101"/>
              <a:gd name="connsiteY30529" fmla="*/ 726077 h 6557032"/>
              <a:gd name="connsiteX30530" fmla="*/ 572163 w 4610101"/>
              <a:gd name="connsiteY30530" fmla="*/ 729721 h 6557032"/>
              <a:gd name="connsiteX30531" fmla="*/ 573985 w 4610101"/>
              <a:gd name="connsiteY30531" fmla="*/ 726077 h 6557032"/>
              <a:gd name="connsiteX30532" fmla="*/ 570341 w 4610101"/>
              <a:gd name="connsiteY30532" fmla="*/ 718788 h 6557032"/>
              <a:gd name="connsiteX30533" fmla="*/ 526609 w 4610101"/>
              <a:gd name="connsiteY30533" fmla="*/ 718788 h 6557032"/>
              <a:gd name="connsiteX30534" fmla="*/ 530253 w 4610101"/>
              <a:gd name="connsiteY30534" fmla="*/ 724254 h 6557032"/>
              <a:gd name="connsiteX30535" fmla="*/ 526609 w 4610101"/>
              <a:gd name="connsiteY30535" fmla="*/ 718788 h 6557032"/>
              <a:gd name="connsiteX30536" fmla="*/ 453722 w 4610101"/>
              <a:gd name="connsiteY30536" fmla="*/ 718788 h 6557032"/>
              <a:gd name="connsiteX30537" fmla="*/ 461010 w 4610101"/>
              <a:gd name="connsiteY30537" fmla="*/ 729721 h 6557032"/>
              <a:gd name="connsiteX30538" fmla="*/ 453722 w 4610101"/>
              <a:gd name="connsiteY30538" fmla="*/ 718788 h 6557032"/>
              <a:gd name="connsiteX30539" fmla="*/ 380835 w 4610101"/>
              <a:gd name="connsiteY30539" fmla="*/ 718788 h 6557032"/>
              <a:gd name="connsiteX30540" fmla="*/ 379012 w 4610101"/>
              <a:gd name="connsiteY30540" fmla="*/ 720610 h 6557032"/>
              <a:gd name="connsiteX30541" fmla="*/ 386301 w 4610101"/>
              <a:gd name="connsiteY30541" fmla="*/ 724254 h 6557032"/>
              <a:gd name="connsiteX30542" fmla="*/ 380835 w 4610101"/>
              <a:gd name="connsiteY30542" fmla="*/ 718788 h 6557032"/>
              <a:gd name="connsiteX30543" fmla="*/ 165818 w 4610101"/>
              <a:gd name="connsiteY30543" fmla="*/ 718788 h 6557032"/>
              <a:gd name="connsiteX30544" fmla="*/ 169462 w 4610101"/>
              <a:gd name="connsiteY30544" fmla="*/ 726077 h 6557032"/>
              <a:gd name="connsiteX30545" fmla="*/ 165818 w 4610101"/>
              <a:gd name="connsiteY30545" fmla="*/ 718788 h 6557032"/>
              <a:gd name="connsiteX30546" fmla="*/ 1347982 w 4610101"/>
              <a:gd name="connsiteY30546" fmla="*/ 717218 h 6557032"/>
              <a:gd name="connsiteX30547" fmla="*/ 1356608 w 4610101"/>
              <a:gd name="connsiteY30547" fmla="*/ 717650 h 6557032"/>
              <a:gd name="connsiteX30548" fmla="*/ 1356928 w 4610101"/>
              <a:gd name="connsiteY30548" fmla="*/ 717634 h 6557032"/>
              <a:gd name="connsiteX30549" fmla="*/ 1356381 w 4610101"/>
              <a:gd name="connsiteY30549" fmla="*/ 717877 h 6557032"/>
              <a:gd name="connsiteX30550" fmla="*/ 3394710 w 4610101"/>
              <a:gd name="connsiteY30550" fmla="*/ 716966 h 6557032"/>
              <a:gd name="connsiteX30551" fmla="*/ 3345512 w 4610101"/>
              <a:gd name="connsiteY30551" fmla="*/ 744298 h 6557032"/>
              <a:gd name="connsiteX30552" fmla="*/ 3394710 w 4610101"/>
              <a:gd name="connsiteY30552" fmla="*/ 716966 h 6557032"/>
              <a:gd name="connsiteX30553" fmla="*/ 2261318 w 4610101"/>
              <a:gd name="connsiteY30553" fmla="*/ 716966 h 6557032"/>
              <a:gd name="connsiteX30554" fmla="*/ 2263140 w 4610101"/>
              <a:gd name="connsiteY30554" fmla="*/ 733365 h 6557032"/>
              <a:gd name="connsiteX30555" fmla="*/ 2264963 w 4610101"/>
              <a:gd name="connsiteY30555" fmla="*/ 726077 h 6557032"/>
              <a:gd name="connsiteX30556" fmla="*/ 2261318 w 4610101"/>
              <a:gd name="connsiteY30556" fmla="*/ 716966 h 6557032"/>
              <a:gd name="connsiteX30557" fmla="*/ 1370275 w 4610101"/>
              <a:gd name="connsiteY30557" fmla="*/ 716966 h 6557032"/>
              <a:gd name="connsiteX30558" fmla="*/ 1369725 w 4610101"/>
              <a:gd name="connsiteY30558" fmla="*/ 718066 h 6557032"/>
              <a:gd name="connsiteX30559" fmla="*/ 1368453 w 4610101"/>
              <a:gd name="connsiteY30559" fmla="*/ 718788 h 6557032"/>
              <a:gd name="connsiteX30560" fmla="*/ 1368803 w 4610101"/>
              <a:gd name="connsiteY30560" fmla="*/ 717040 h 6557032"/>
              <a:gd name="connsiteX30561" fmla="*/ 1184414 w 4610101"/>
              <a:gd name="connsiteY30561" fmla="*/ 716966 h 6557032"/>
              <a:gd name="connsiteX30562" fmla="*/ 1178947 w 4610101"/>
              <a:gd name="connsiteY30562" fmla="*/ 720610 h 6557032"/>
              <a:gd name="connsiteX30563" fmla="*/ 1184414 w 4610101"/>
              <a:gd name="connsiteY30563" fmla="*/ 720610 h 6557032"/>
              <a:gd name="connsiteX30564" fmla="*/ 1184414 w 4610101"/>
              <a:gd name="connsiteY30564" fmla="*/ 716966 h 6557032"/>
              <a:gd name="connsiteX30565" fmla="*/ 871000 w 4610101"/>
              <a:gd name="connsiteY30565" fmla="*/ 716966 h 6557032"/>
              <a:gd name="connsiteX30566" fmla="*/ 880111 w 4610101"/>
              <a:gd name="connsiteY30566" fmla="*/ 760698 h 6557032"/>
              <a:gd name="connsiteX30567" fmla="*/ 883755 w 4610101"/>
              <a:gd name="connsiteY30567" fmla="*/ 753409 h 6557032"/>
              <a:gd name="connsiteX30568" fmla="*/ 896510 w 4610101"/>
              <a:gd name="connsiteY30568" fmla="*/ 766164 h 6557032"/>
              <a:gd name="connsiteX30569" fmla="*/ 869177 w 4610101"/>
              <a:gd name="connsiteY30569" fmla="*/ 733365 h 6557032"/>
              <a:gd name="connsiteX30570" fmla="*/ 876466 w 4610101"/>
              <a:gd name="connsiteY30570" fmla="*/ 733365 h 6557032"/>
              <a:gd name="connsiteX30571" fmla="*/ 871000 w 4610101"/>
              <a:gd name="connsiteY30571" fmla="*/ 716966 h 6557032"/>
              <a:gd name="connsiteX30572" fmla="*/ 719759 w 4610101"/>
              <a:gd name="connsiteY30572" fmla="*/ 716966 h 6557032"/>
              <a:gd name="connsiteX30573" fmla="*/ 727048 w 4610101"/>
              <a:gd name="connsiteY30573" fmla="*/ 727899 h 6557032"/>
              <a:gd name="connsiteX30574" fmla="*/ 719759 w 4610101"/>
              <a:gd name="connsiteY30574" fmla="*/ 716966 h 6557032"/>
              <a:gd name="connsiteX30575" fmla="*/ 655983 w 4610101"/>
              <a:gd name="connsiteY30575" fmla="*/ 716966 h 6557032"/>
              <a:gd name="connsiteX30576" fmla="*/ 658433 w 4610101"/>
              <a:gd name="connsiteY30576" fmla="*/ 718600 h 6557032"/>
              <a:gd name="connsiteX30577" fmla="*/ 655588 w 4610101"/>
              <a:gd name="connsiteY30577" fmla="*/ 718151 h 6557032"/>
              <a:gd name="connsiteX30578" fmla="*/ 599496 w 4610101"/>
              <a:gd name="connsiteY30578" fmla="*/ 716966 h 6557032"/>
              <a:gd name="connsiteX30579" fmla="*/ 595852 w 4610101"/>
              <a:gd name="connsiteY30579" fmla="*/ 718788 h 6557032"/>
              <a:gd name="connsiteX30580" fmla="*/ 597673 w 4610101"/>
              <a:gd name="connsiteY30580" fmla="*/ 724254 h 6557032"/>
              <a:gd name="connsiteX30581" fmla="*/ 601318 w 4610101"/>
              <a:gd name="connsiteY30581" fmla="*/ 727899 h 6557032"/>
              <a:gd name="connsiteX30582" fmla="*/ 597673 w 4610101"/>
              <a:gd name="connsiteY30582" fmla="*/ 724254 h 6557032"/>
              <a:gd name="connsiteX30583" fmla="*/ 599496 w 4610101"/>
              <a:gd name="connsiteY30583" fmla="*/ 716966 h 6557032"/>
              <a:gd name="connsiteX30584" fmla="*/ 515676 w 4610101"/>
              <a:gd name="connsiteY30584" fmla="*/ 716966 h 6557032"/>
              <a:gd name="connsiteX30585" fmla="*/ 522964 w 4610101"/>
              <a:gd name="connsiteY30585" fmla="*/ 722432 h 6557032"/>
              <a:gd name="connsiteX30586" fmla="*/ 515676 w 4610101"/>
              <a:gd name="connsiteY30586" fmla="*/ 716966 h 6557032"/>
              <a:gd name="connsiteX30587" fmla="*/ 362613 w 4610101"/>
              <a:gd name="connsiteY30587" fmla="*/ 716966 h 6557032"/>
              <a:gd name="connsiteX30588" fmla="*/ 369902 w 4610101"/>
              <a:gd name="connsiteY30588" fmla="*/ 737010 h 6557032"/>
              <a:gd name="connsiteX30589" fmla="*/ 362613 w 4610101"/>
              <a:gd name="connsiteY30589" fmla="*/ 716966 h 6557032"/>
              <a:gd name="connsiteX30590" fmla="*/ 297015 w 4610101"/>
              <a:gd name="connsiteY30590" fmla="*/ 716966 h 6557032"/>
              <a:gd name="connsiteX30591" fmla="*/ 306126 w 4610101"/>
              <a:gd name="connsiteY30591" fmla="*/ 726077 h 6557032"/>
              <a:gd name="connsiteX30592" fmla="*/ 297015 w 4610101"/>
              <a:gd name="connsiteY30592" fmla="*/ 716966 h 6557032"/>
              <a:gd name="connsiteX30593" fmla="*/ 1036818 w 4610101"/>
              <a:gd name="connsiteY30593" fmla="*/ 716511 h 6557032"/>
              <a:gd name="connsiteX30594" fmla="*/ 1031351 w 4610101"/>
              <a:gd name="connsiteY30594" fmla="*/ 718788 h 6557032"/>
              <a:gd name="connsiteX30595" fmla="*/ 1033173 w 4610101"/>
              <a:gd name="connsiteY30595" fmla="*/ 724254 h 6557032"/>
              <a:gd name="connsiteX30596" fmla="*/ 1036818 w 4610101"/>
              <a:gd name="connsiteY30596" fmla="*/ 718788 h 6557032"/>
              <a:gd name="connsiteX30597" fmla="*/ 1033173 w 4610101"/>
              <a:gd name="connsiteY30597" fmla="*/ 726077 h 6557032"/>
              <a:gd name="connsiteX30598" fmla="*/ 1036818 w 4610101"/>
              <a:gd name="connsiteY30598" fmla="*/ 729721 h 6557032"/>
              <a:gd name="connsiteX30599" fmla="*/ 1042284 w 4610101"/>
              <a:gd name="connsiteY30599" fmla="*/ 724254 h 6557032"/>
              <a:gd name="connsiteX30600" fmla="*/ 1042284 w 4610101"/>
              <a:gd name="connsiteY30600" fmla="*/ 716966 h 6557032"/>
              <a:gd name="connsiteX30601" fmla="*/ 1036818 w 4610101"/>
              <a:gd name="connsiteY30601" fmla="*/ 716511 h 6557032"/>
              <a:gd name="connsiteX30602" fmla="*/ 2241274 w 4610101"/>
              <a:gd name="connsiteY30602" fmla="*/ 715144 h 6557032"/>
              <a:gd name="connsiteX30603" fmla="*/ 2208475 w 4610101"/>
              <a:gd name="connsiteY30603" fmla="*/ 727899 h 6557032"/>
              <a:gd name="connsiteX30604" fmla="*/ 2217586 w 4610101"/>
              <a:gd name="connsiteY30604" fmla="*/ 735188 h 6557032"/>
              <a:gd name="connsiteX30605" fmla="*/ 2228519 w 4610101"/>
              <a:gd name="connsiteY30605" fmla="*/ 729721 h 6557032"/>
              <a:gd name="connsiteX30606" fmla="*/ 2230341 w 4610101"/>
              <a:gd name="connsiteY30606" fmla="*/ 727899 h 6557032"/>
              <a:gd name="connsiteX30607" fmla="*/ 2235808 w 4610101"/>
              <a:gd name="connsiteY30607" fmla="*/ 731543 h 6557032"/>
              <a:gd name="connsiteX30608" fmla="*/ 2243096 w 4610101"/>
              <a:gd name="connsiteY30608" fmla="*/ 726077 h 6557032"/>
              <a:gd name="connsiteX30609" fmla="*/ 2241274 w 4610101"/>
              <a:gd name="connsiteY30609" fmla="*/ 715144 h 6557032"/>
              <a:gd name="connsiteX30610" fmla="*/ 1191703 w 4610101"/>
              <a:gd name="connsiteY30610" fmla="*/ 715144 h 6557032"/>
              <a:gd name="connsiteX30611" fmla="*/ 1189880 w 4610101"/>
              <a:gd name="connsiteY30611" fmla="*/ 720610 h 6557032"/>
              <a:gd name="connsiteX30612" fmla="*/ 1191703 w 4610101"/>
              <a:gd name="connsiteY30612" fmla="*/ 715144 h 6557032"/>
              <a:gd name="connsiteX30613" fmla="*/ 1164370 w 4610101"/>
              <a:gd name="connsiteY30613" fmla="*/ 715144 h 6557032"/>
              <a:gd name="connsiteX30614" fmla="*/ 1162547 w 4610101"/>
              <a:gd name="connsiteY30614" fmla="*/ 716966 h 6557032"/>
              <a:gd name="connsiteX30615" fmla="*/ 1168014 w 4610101"/>
              <a:gd name="connsiteY30615" fmla="*/ 716966 h 6557032"/>
              <a:gd name="connsiteX30616" fmla="*/ 1164370 w 4610101"/>
              <a:gd name="connsiteY30616" fmla="*/ 715144 h 6557032"/>
              <a:gd name="connsiteX30617" fmla="*/ 1147970 w 4610101"/>
              <a:gd name="connsiteY30617" fmla="*/ 715144 h 6557032"/>
              <a:gd name="connsiteX30618" fmla="*/ 1140681 w 4610101"/>
              <a:gd name="connsiteY30618" fmla="*/ 720610 h 6557032"/>
              <a:gd name="connsiteX30619" fmla="*/ 1131570 w 4610101"/>
              <a:gd name="connsiteY30619" fmla="*/ 720610 h 6557032"/>
              <a:gd name="connsiteX30620" fmla="*/ 1142503 w 4610101"/>
              <a:gd name="connsiteY30620" fmla="*/ 726077 h 6557032"/>
              <a:gd name="connsiteX30621" fmla="*/ 1140681 w 4610101"/>
              <a:gd name="connsiteY30621" fmla="*/ 720610 h 6557032"/>
              <a:gd name="connsiteX30622" fmla="*/ 1142503 w 4610101"/>
              <a:gd name="connsiteY30622" fmla="*/ 722432 h 6557032"/>
              <a:gd name="connsiteX30623" fmla="*/ 1147970 w 4610101"/>
              <a:gd name="connsiteY30623" fmla="*/ 715144 h 6557032"/>
              <a:gd name="connsiteX30624" fmla="*/ 1018596 w 4610101"/>
              <a:gd name="connsiteY30624" fmla="*/ 715144 h 6557032"/>
              <a:gd name="connsiteX30625" fmla="*/ 1014951 w 4610101"/>
              <a:gd name="connsiteY30625" fmla="*/ 718788 h 6557032"/>
              <a:gd name="connsiteX30626" fmla="*/ 1013129 w 4610101"/>
              <a:gd name="connsiteY30626" fmla="*/ 718788 h 6557032"/>
              <a:gd name="connsiteX30627" fmla="*/ 1011307 w 4610101"/>
              <a:gd name="connsiteY30627" fmla="*/ 720610 h 6557032"/>
              <a:gd name="connsiteX30628" fmla="*/ 1014040 w 4610101"/>
              <a:gd name="connsiteY30628" fmla="*/ 719699 h 6557032"/>
              <a:gd name="connsiteX30629" fmla="*/ 1013129 w 4610101"/>
              <a:gd name="connsiteY30629" fmla="*/ 720610 h 6557032"/>
              <a:gd name="connsiteX30630" fmla="*/ 1016774 w 4610101"/>
              <a:gd name="connsiteY30630" fmla="*/ 737010 h 6557032"/>
              <a:gd name="connsiteX30631" fmla="*/ 1013129 w 4610101"/>
              <a:gd name="connsiteY30631" fmla="*/ 738832 h 6557032"/>
              <a:gd name="connsiteX30632" fmla="*/ 1027707 w 4610101"/>
              <a:gd name="connsiteY30632" fmla="*/ 715144 h 6557032"/>
              <a:gd name="connsiteX30633" fmla="*/ 1018596 w 4610101"/>
              <a:gd name="connsiteY30633" fmla="*/ 715144 h 6557032"/>
              <a:gd name="connsiteX30634" fmla="*/ 978508 w 4610101"/>
              <a:gd name="connsiteY30634" fmla="*/ 715144 h 6557032"/>
              <a:gd name="connsiteX30635" fmla="*/ 971219 w 4610101"/>
              <a:gd name="connsiteY30635" fmla="*/ 716966 h 6557032"/>
              <a:gd name="connsiteX30636" fmla="*/ 960286 w 4610101"/>
              <a:gd name="connsiteY30636" fmla="*/ 726077 h 6557032"/>
              <a:gd name="connsiteX30637" fmla="*/ 978508 w 4610101"/>
              <a:gd name="connsiteY30637" fmla="*/ 715144 h 6557032"/>
              <a:gd name="connsiteX30638" fmla="*/ 951175 w 4610101"/>
              <a:gd name="connsiteY30638" fmla="*/ 715144 h 6557032"/>
              <a:gd name="connsiteX30639" fmla="*/ 947531 w 4610101"/>
              <a:gd name="connsiteY30639" fmla="*/ 727899 h 6557032"/>
              <a:gd name="connsiteX30640" fmla="*/ 954819 w 4610101"/>
              <a:gd name="connsiteY30640" fmla="*/ 724254 h 6557032"/>
              <a:gd name="connsiteX30641" fmla="*/ 951175 w 4610101"/>
              <a:gd name="connsiteY30641" fmla="*/ 715144 h 6557032"/>
              <a:gd name="connsiteX30642" fmla="*/ 925666 w 4610101"/>
              <a:gd name="connsiteY30642" fmla="*/ 715144 h 6557032"/>
              <a:gd name="connsiteX30643" fmla="*/ 922020 w 4610101"/>
              <a:gd name="connsiteY30643" fmla="*/ 720610 h 6557032"/>
              <a:gd name="connsiteX30644" fmla="*/ 925666 w 4610101"/>
              <a:gd name="connsiteY30644" fmla="*/ 715144 h 6557032"/>
              <a:gd name="connsiteX30645" fmla="*/ 654161 w 4610101"/>
              <a:gd name="connsiteY30645" fmla="*/ 715144 h 6557032"/>
              <a:gd name="connsiteX30646" fmla="*/ 654078 w 4610101"/>
              <a:gd name="connsiteY30646" fmla="*/ 716132 h 6557032"/>
              <a:gd name="connsiteX30647" fmla="*/ 653718 w 4610101"/>
              <a:gd name="connsiteY30647" fmla="*/ 715549 h 6557032"/>
              <a:gd name="connsiteX30648" fmla="*/ 619539 w 4610101"/>
              <a:gd name="connsiteY30648" fmla="*/ 715144 h 6557032"/>
              <a:gd name="connsiteX30649" fmla="*/ 621815 w 4610101"/>
              <a:gd name="connsiteY30649" fmla="*/ 717420 h 6557032"/>
              <a:gd name="connsiteX30650" fmla="*/ 619169 w 4610101"/>
              <a:gd name="connsiteY30650" fmla="*/ 715588 h 6557032"/>
              <a:gd name="connsiteX30651" fmla="*/ 473766 w 4610101"/>
              <a:gd name="connsiteY30651" fmla="*/ 715144 h 6557032"/>
              <a:gd name="connsiteX30652" fmla="*/ 479232 w 4610101"/>
              <a:gd name="connsiteY30652" fmla="*/ 718788 h 6557032"/>
              <a:gd name="connsiteX30653" fmla="*/ 473766 w 4610101"/>
              <a:gd name="connsiteY30653" fmla="*/ 715144 h 6557032"/>
              <a:gd name="connsiteX30654" fmla="*/ 457367 w 4610101"/>
              <a:gd name="connsiteY30654" fmla="*/ 715144 h 6557032"/>
              <a:gd name="connsiteX30655" fmla="*/ 475589 w 4610101"/>
              <a:gd name="connsiteY30655" fmla="*/ 733365 h 6557032"/>
              <a:gd name="connsiteX30656" fmla="*/ 466478 w 4610101"/>
              <a:gd name="connsiteY30656" fmla="*/ 724254 h 6557032"/>
              <a:gd name="connsiteX30657" fmla="*/ 457367 w 4610101"/>
              <a:gd name="connsiteY30657" fmla="*/ 715144 h 6557032"/>
              <a:gd name="connsiteX30658" fmla="*/ 389946 w 4610101"/>
              <a:gd name="connsiteY30658" fmla="*/ 715144 h 6557032"/>
              <a:gd name="connsiteX30659" fmla="*/ 388123 w 4610101"/>
              <a:gd name="connsiteY30659" fmla="*/ 716966 h 6557032"/>
              <a:gd name="connsiteX30660" fmla="*/ 397234 w 4610101"/>
              <a:gd name="connsiteY30660" fmla="*/ 724254 h 6557032"/>
              <a:gd name="connsiteX30661" fmla="*/ 389946 w 4610101"/>
              <a:gd name="connsiteY30661" fmla="*/ 715144 h 6557032"/>
              <a:gd name="connsiteX30662" fmla="*/ 338926 w 4610101"/>
              <a:gd name="connsiteY30662" fmla="*/ 715144 h 6557032"/>
              <a:gd name="connsiteX30663" fmla="*/ 355324 w 4610101"/>
              <a:gd name="connsiteY30663" fmla="*/ 737010 h 6557032"/>
              <a:gd name="connsiteX30664" fmla="*/ 338926 w 4610101"/>
              <a:gd name="connsiteY30664" fmla="*/ 715144 h 6557032"/>
              <a:gd name="connsiteX30665" fmla="*/ 1456187 w 4610101"/>
              <a:gd name="connsiteY30665" fmla="*/ 713873 h 6557032"/>
              <a:gd name="connsiteX30666" fmla="*/ 1452956 w 4610101"/>
              <a:gd name="connsiteY30666" fmla="*/ 716739 h 6557032"/>
              <a:gd name="connsiteX30667" fmla="*/ 1439518 w 4610101"/>
              <a:gd name="connsiteY30667" fmla="*/ 720610 h 6557032"/>
              <a:gd name="connsiteX30668" fmla="*/ 1440216 w 4610101"/>
              <a:gd name="connsiteY30668" fmla="*/ 719248 h 6557032"/>
              <a:gd name="connsiteX30669" fmla="*/ 1447489 w 4610101"/>
              <a:gd name="connsiteY30669" fmla="*/ 716966 h 6557032"/>
              <a:gd name="connsiteX30670" fmla="*/ 2281362 w 4610101"/>
              <a:gd name="connsiteY30670" fmla="*/ 713321 h 6557032"/>
              <a:gd name="connsiteX30671" fmla="*/ 2268607 w 4610101"/>
              <a:gd name="connsiteY30671" fmla="*/ 740654 h 6557032"/>
              <a:gd name="connsiteX30672" fmla="*/ 2270429 w 4610101"/>
              <a:gd name="connsiteY30672" fmla="*/ 731543 h 6557032"/>
              <a:gd name="connsiteX30673" fmla="*/ 2274074 w 4610101"/>
              <a:gd name="connsiteY30673" fmla="*/ 749765 h 6557032"/>
              <a:gd name="connsiteX30674" fmla="*/ 2275896 w 4610101"/>
              <a:gd name="connsiteY30674" fmla="*/ 738832 h 6557032"/>
              <a:gd name="connsiteX30675" fmla="*/ 2279540 w 4610101"/>
              <a:gd name="connsiteY30675" fmla="*/ 746121 h 6557032"/>
              <a:gd name="connsiteX30676" fmla="*/ 2281362 w 4610101"/>
              <a:gd name="connsiteY30676" fmla="*/ 713321 h 6557032"/>
              <a:gd name="connsiteX30677" fmla="*/ 1366632 w 4610101"/>
              <a:gd name="connsiteY30677" fmla="*/ 713321 h 6557032"/>
              <a:gd name="connsiteX30678" fmla="*/ 1369281 w 4610101"/>
              <a:gd name="connsiteY30678" fmla="*/ 714647 h 6557032"/>
              <a:gd name="connsiteX30679" fmla="*/ 1368803 w 4610101"/>
              <a:gd name="connsiteY30679" fmla="*/ 717040 h 6557032"/>
              <a:gd name="connsiteX30680" fmla="*/ 1356928 w 4610101"/>
              <a:gd name="connsiteY30680" fmla="*/ 717634 h 6557032"/>
              <a:gd name="connsiteX30681" fmla="*/ 1188058 w 4610101"/>
              <a:gd name="connsiteY30681" fmla="*/ 713321 h 6557032"/>
              <a:gd name="connsiteX30682" fmla="*/ 1188058 w 4610101"/>
              <a:gd name="connsiteY30682" fmla="*/ 716966 h 6557032"/>
              <a:gd name="connsiteX30683" fmla="*/ 1189880 w 4610101"/>
              <a:gd name="connsiteY30683" fmla="*/ 713321 h 6557032"/>
              <a:gd name="connsiteX30684" fmla="*/ 1188058 w 4610101"/>
              <a:gd name="connsiteY30684" fmla="*/ 713321 h 6557032"/>
              <a:gd name="connsiteX30685" fmla="*/ 1153436 w 4610101"/>
              <a:gd name="connsiteY30685" fmla="*/ 713321 h 6557032"/>
              <a:gd name="connsiteX30686" fmla="*/ 1146148 w 4610101"/>
              <a:gd name="connsiteY30686" fmla="*/ 726077 h 6557032"/>
              <a:gd name="connsiteX30687" fmla="*/ 1157081 w 4610101"/>
              <a:gd name="connsiteY30687" fmla="*/ 718788 h 6557032"/>
              <a:gd name="connsiteX30688" fmla="*/ 1153436 w 4610101"/>
              <a:gd name="connsiteY30688" fmla="*/ 713321 h 6557032"/>
              <a:gd name="connsiteX30689" fmla="*/ 1073262 w 4610101"/>
              <a:gd name="connsiteY30689" fmla="*/ 713321 h 6557032"/>
              <a:gd name="connsiteX30690" fmla="*/ 1062328 w 4610101"/>
              <a:gd name="connsiteY30690" fmla="*/ 724254 h 6557032"/>
              <a:gd name="connsiteX30691" fmla="*/ 1073262 w 4610101"/>
              <a:gd name="connsiteY30691" fmla="*/ 713321 h 6557032"/>
              <a:gd name="connsiteX30692" fmla="*/ 679671 w 4610101"/>
              <a:gd name="connsiteY30692" fmla="*/ 713321 h 6557032"/>
              <a:gd name="connsiteX30693" fmla="*/ 665094 w 4610101"/>
              <a:gd name="connsiteY30693" fmla="*/ 718788 h 6557032"/>
              <a:gd name="connsiteX30694" fmla="*/ 676026 w 4610101"/>
              <a:gd name="connsiteY30694" fmla="*/ 722888 h 6557032"/>
              <a:gd name="connsiteX30695" fmla="*/ 685465 w 4610101"/>
              <a:gd name="connsiteY30695" fmla="*/ 728787 h 6557032"/>
              <a:gd name="connsiteX30696" fmla="*/ 686732 w 4610101"/>
              <a:gd name="connsiteY30696" fmla="*/ 732227 h 6557032"/>
              <a:gd name="connsiteX30697" fmla="*/ 692426 w 4610101"/>
              <a:gd name="connsiteY30697" fmla="*/ 735188 h 6557032"/>
              <a:gd name="connsiteX30698" fmla="*/ 692426 w 4610101"/>
              <a:gd name="connsiteY30698" fmla="*/ 731543 h 6557032"/>
              <a:gd name="connsiteX30699" fmla="*/ 686439 w 4610101"/>
              <a:gd name="connsiteY30699" fmla="*/ 728550 h 6557032"/>
              <a:gd name="connsiteX30700" fmla="*/ 683315 w 4610101"/>
              <a:gd name="connsiteY30700" fmla="*/ 721521 h 6557032"/>
              <a:gd name="connsiteX30701" fmla="*/ 679671 w 4610101"/>
              <a:gd name="connsiteY30701" fmla="*/ 713321 h 6557032"/>
              <a:gd name="connsiteX30702" fmla="*/ 526609 w 4610101"/>
              <a:gd name="connsiteY30702" fmla="*/ 713321 h 6557032"/>
              <a:gd name="connsiteX30703" fmla="*/ 532075 w 4610101"/>
              <a:gd name="connsiteY30703" fmla="*/ 720610 h 6557032"/>
              <a:gd name="connsiteX30704" fmla="*/ 526609 w 4610101"/>
              <a:gd name="connsiteY30704" fmla="*/ 713321 h 6557032"/>
              <a:gd name="connsiteX30705" fmla="*/ 211372 w 4610101"/>
              <a:gd name="connsiteY30705" fmla="*/ 713321 h 6557032"/>
              <a:gd name="connsiteX30706" fmla="*/ 215017 w 4610101"/>
              <a:gd name="connsiteY30706" fmla="*/ 720610 h 6557032"/>
              <a:gd name="connsiteX30707" fmla="*/ 213195 w 4610101"/>
              <a:gd name="connsiteY30707" fmla="*/ 713321 h 6557032"/>
              <a:gd name="connsiteX30708" fmla="*/ 211372 w 4610101"/>
              <a:gd name="connsiteY30708" fmla="*/ 713321 h 6557032"/>
              <a:gd name="connsiteX30709" fmla="*/ 2622109 w 4610101"/>
              <a:gd name="connsiteY30709" fmla="*/ 711499 h 6557032"/>
              <a:gd name="connsiteX30710" fmla="*/ 2627575 w 4610101"/>
              <a:gd name="connsiteY30710" fmla="*/ 731543 h 6557032"/>
              <a:gd name="connsiteX30711" fmla="*/ 2622109 w 4610101"/>
              <a:gd name="connsiteY30711" fmla="*/ 711499 h 6557032"/>
              <a:gd name="connsiteX30712" fmla="*/ 2268607 w 4610101"/>
              <a:gd name="connsiteY30712" fmla="*/ 711499 h 6557032"/>
              <a:gd name="connsiteX30713" fmla="*/ 2266785 w 4610101"/>
              <a:gd name="connsiteY30713" fmla="*/ 724254 h 6557032"/>
              <a:gd name="connsiteX30714" fmla="*/ 2268607 w 4610101"/>
              <a:gd name="connsiteY30714" fmla="*/ 711499 h 6557032"/>
              <a:gd name="connsiteX30715" fmla="*/ 1197169 w 4610101"/>
              <a:gd name="connsiteY30715" fmla="*/ 711499 h 6557032"/>
              <a:gd name="connsiteX30716" fmla="*/ 1193525 w 4610101"/>
              <a:gd name="connsiteY30716" fmla="*/ 715144 h 6557032"/>
              <a:gd name="connsiteX30717" fmla="*/ 1197169 w 4610101"/>
              <a:gd name="connsiteY30717" fmla="*/ 711499 h 6557032"/>
              <a:gd name="connsiteX30718" fmla="*/ 1169836 w 4610101"/>
              <a:gd name="connsiteY30718" fmla="*/ 711499 h 6557032"/>
              <a:gd name="connsiteX30719" fmla="*/ 1166192 w 4610101"/>
              <a:gd name="connsiteY30719" fmla="*/ 713321 h 6557032"/>
              <a:gd name="connsiteX30720" fmla="*/ 1169836 w 4610101"/>
              <a:gd name="connsiteY30720" fmla="*/ 716966 h 6557032"/>
              <a:gd name="connsiteX30721" fmla="*/ 1169836 w 4610101"/>
              <a:gd name="connsiteY30721" fmla="*/ 711499 h 6557032"/>
              <a:gd name="connsiteX30722" fmla="*/ 1091484 w 4610101"/>
              <a:gd name="connsiteY30722" fmla="*/ 711499 h 6557032"/>
              <a:gd name="connsiteX30723" fmla="*/ 1091484 w 4610101"/>
              <a:gd name="connsiteY30723" fmla="*/ 713321 h 6557032"/>
              <a:gd name="connsiteX30724" fmla="*/ 1091484 w 4610101"/>
              <a:gd name="connsiteY30724" fmla="*/ 711499 h 6557032"/>
              <a:gd name="connsiteX30725" fmla="*/ 1058683 w 4610101"/>
              <a:gd name="connsiteY30725" fmla="*/ 711499 h 6557032"/>
              <a:gd name="connsiteX30726" fmla="*/ 1051395 w 4610101"/>
              <a:gd name="connsiteY30726" fmla="*/ 715144 h 6557032"/>
              <a:gd name="connsiteX30727" fmla="*/ 1056861 w 4610101"/>
              <a:gd name="connsiteY30727" fmla="*/ 716966 h 6557032"/>
              <a:gd name="connsiteX30728" fmla="*/ 1055040 w 4610101"/>
              <a:gd name="connsiteY30728" fmla="*/ 716966 h 6557032"/>
              <a:gd name="connsiteX30729" fmla="*/ 1058683 w 4610101"/>
              <a:gd name="connsiteY30729" fmla="*/ 720610 h 6557032"/>
              <a:gd name="connsiteX30730" fmla="*/ 1056861 w 4610101"/>
              <a:gd name="connsiteY30730" fmla="*/ 716966 h 6557032"/>
              <a:gd name="connsiteX30731" fmla="*/ 1058683 w 4610101"/>
              <a:gd name="connsiteY30731" fmla="*/ 711499 h 6557032"/>
              <a:gd name="connsiteX30732" fmla="*/ 1040462 w 4610101"/>
              <a:gd name="connsiteY30732" fmla="*/ 711499 h 6557032"/>
              <a:gd name="connsiteX30733" fmla="*/ 1042284 w 4610101"/>
              <a:gd name="connsiteY30733" fmla="*/ 715144 h 6557032"/>
              <a:gd name="connsiteX30734" fmla="*/ 1040462 w 4610101"/>
              <a:gd name="connsiteY30734" fmla="*/ 711499 h 6557032"/>
              <a:gd name="connsiteX30735" fmla="*/ 985796 w 4610101"/>
              <a:gd name="connsiteY30735" fmla="*/ 711499 h 6557032"/>
              <a:gd name="connsiteX30736" fmla="*/ 978508 w 4610101"/>
              <a:gd name="connsiteY30736" fmla="*/ 720610 h 6557032"/>
              <a:gd name="connsiteX30737" fmla="*/ 985796 w 4610101"/>
              <a:gd name="connsiteY30737" fmla="*/ 711499 h 6557032"/>
              <a:gd name="connsiteX30738" fmla="*/ 563052 w 4610101"/>
              <a:gd name="connsiteY30738" fmla="*/ 711499 h 6557032"/>
              <a:gd name="connsiteX30739" fmla="*/ 563052 w 4610101"/>
              <a:gd name="connsiteY30739" fmla="*/ 718788 h 6557032"/>
              <a:gd name="connsiteX30740" fmla="*/ 568519 w 4610101"/>
              <a:gd name="connsiteY30740" fmla="*/ 716966 h 6557032"/>
              <a:gd name="connsiteX30741" fmla="*/ 566697 w 4610101"/>
              <a:gd name="connsiteY30741" fmla="*/ 715144 h 6557032"/>
              <a:gd name="connsiteX30742" fmla="*/ 563052 w 4610101"/>
              <a:gd name="connsiteY30742" fmla="*/ 711499 h 6557032"/>
              <a:gd name="connsiteX30743" fmla="*/ 457367 w 4610101"/>
              <a:gd name="connsiteY30743" fmla="*/ 711499 h 6557032"/>
              <a:gd name="connsiteX30744" fmla="*/ 473766 w 4610101"/>
              <a:gd name="connsiteY30744" fmla="*/ 718788 h 6557032"/>
              <a:gd name="connsiteX30745" fmla="*/ 457367 w 4610101"/>
              <a:gd name="connsiteY30745" fmla="*/ 711499 h 6557032"/>
              <a:gd name="connsiteX30746" fmla="*/ 235061 w 4610101"/>
              <a:gd name="connsiteY30746" fmla="*/ 711499 h 6557032"/>
              <a:gd name="connsiteX30747" fmla="*/ 240527 w 4610101"/>
              <a:gd name="connsiteY30747" fmla="*/ 718788 h 6557032"/>
              <a:gd name="connsiteX30748" fmla="*/ 235061 w 4610101"/>
              <a:gd name="connsiteY30748" fmla="*/ 711499 h 6557032"/>
              <a:gd name="connsiteX30749" fmla="*/ 215017 w 4610101"/>
              <a:gd name="connsiteY30749" fmla="*/ 711499 h 6557032"/>
              <a:gd name="connsiteX30750" fmla="*/ 227772 w 4610101"/>
              <a:gd name="connsiteY30750" fmla="*/ 729721 h 6557032"/>
              <a:gd name="connsiteX30751" fmla="*/ 225950 w 4610101"/>
              <a:gd name="connsiteY30751" fmla="*/ 724254 h 6557032"/>
              <a:gd name="connsiteX30752" fmla="*/ 229594 w 4610101"/>
              <a:gd name="connsiteY30752" fmla="*/ 726077 h 6557032"/>
              <a:gd name="connsiteX30753" fmla="*/ 215017 w 4610101"/>
              <a:gd name="connsiteY30753" fmla="*/ 711499 h 6557032"/>
              <a:gd name="connsiteX30754" fmla="*/ 198617 w 4610101"/>
              <a:gd name="connsiteY30754" fmla="*/ 711499 h 6557032"/>
              <a:gd name="connsiteX30755" fmla="*/ 205906 w 4610101"/>
              <a:gd name="connsiteY30755" fmla="*/ 722432 h 6557032"/>
              <a:gd name="connsiteX30756" fmla="*/ 198617 w 4610101"/>
              <a:gd name="connsiteY30756" fmla="*/ 711499 h 6557032"/>
              <a:gd name="connsiteX30757" fmla="*/ 1206052 w 4610101"/>
              <a:gd name="connsiteY30757" fmla="*/ 711044 h 6557032"/>
              <a:gd name="connsiteX30758" fmla="*/ 1204457 w 4610101"/>
              <a:gd name="connsiteY30758" fmla="*/ 716966 h 6557032"/>
              <a:gd name="connsiteX30759" fmla="*/ 1211747 w 4610101"/>
              <a:gd name="connsiteY30759" fmla="*/ 713321 h 6557032"/>
              <a:gd name="connsiteX30760" fmla="*/ 1206052 w 4610101"/>
              <a:gd name="connsiteY30760" fmla="*/ 711044 h 6557032"/>
              <a:gd name="connsiteX30761" fmla="*/ 960286 w 4610101"/>
              <a:gd name="connsiteY30761" fmla="*/ 709677 h 6557032"/>
              <a:gd name="connsiteX30762" fmla="*/ 960286 w 4610101"/>
              <a:gd name="connsiteY30762" fmla="*/ 716966 h 6557032"/>
              <a:gd name="connsiteX30763" fmla="*/ 962108 w 4610101"/>
              <a:gd name="connsiteY30763" fmla="*/ 716966 h 6557032"/>
              <a:gd name="connsiteX30764" fmla="*/ 960286 w 4610101"/>
              <a:gd name="connsiteY30764" fmla="*/ 709677 h 6557032"/>
              <a:gd name="connsiteX30765" fmla="*/ 911087 w 4610101"/>
              <a:gd name="connsiteY30765" fmla="*/ 709677 h 6557032"/>
              <a:gd name="connsiteX30766" fmla="*/ 914732 w 4610101"/>
              <a:gd name="connsiteY30766" fmla="*/ 716966 h 6557032"/>
              <a:gd name="connsiteX30767" fmla="*/ 914732 w 4610101"/>
              <a:gd name="connsiteY30767" fmla="*/ 711499 h 6557032"/>
              <a:gd name="connsiteX30768" fmla="*/ 911087 w 4610101"/>
              <a:gd name="connsiteY30768" fmla="*/ 709677 h 6557032"/>
              <a:gd name="connsiteX30769" fmla="*/ 770781 w 4610101"/>
              <a:gd name="connsiteY30769" fmla="*/ 709677 h 6557032"/>
              <a:gd name="connsiteX30770" fmla="*/ 770325 w 4610101"/>
              <a:gd name="connsiteY30770" fmla="*/ 712866 h 6557032"/>
              <a:gd name="connsiteX30771" fmla="*/ 769471 w 4610101"/>
              <a:gd name="connsiteY30771" fmla="*/ 712988 h 6557032"/>
              <a:gd name="connsiteX30772" fmla="*/ 770781 w 4610101"/>
              <a:gd name="connsiteY30772" fmla="*/ 709677 h 6557032"/>
              <a:gd name="connsiteX30773" fmla="*/ 767136 w 4610101"/>
              <a:gd name="connsiteY30773" fmla="*/ 713321 h 6557032"/>
              <a:gd name="connsiteX30774" fmla="*/ 769471 w 4610101"/>
              <a:gd name="connsiteY30774" fmla="*/ 712988 h 6557032"/>
              <a:gd name="connsiteX30775" fmla="*/ 766907 w 4610101"/>
              <a:gd name="connsiteY30775" fmla="*/ 719472 h 6557032"/>
              <a:gd name="connsiteX30776" fmla="*/ 772602 w 4610101"/>
              <a:gd name="connsiteY30776" fmla="*/ 727899 h 6557032"/>
              <a:gd name="connsiteX30777" fmla="*/ 770781 w 4610101"/>
              <a:gd name="connsiteY30777" fmla="*/ 718788 h 6557032"/>
              <a:gd name="connsiteX30778" fmla="*/ 779892 w 4610101"/>
              <a:gd name="connsiteY30778" fmla="*/ 724254 h 6557032"/>
              <a:gd name="connsiteX30779" fmla="*/ 770781 w 4610101"/>
              <a:gd name="connsiteY30779" fmla="*/ 709677 h 6557032"/>
              <a:gd name="connsiteX30780" fmla="*/ 437322 w 4610101"/>
              <a:gd name="connsiteY30780" fmla="*/ 709677 h 6557032"/>
              <a:gd name="connsiteX30781" fmla="*/ 444611 w 4610101"/>
              <a:gd name="connsiteY30781" fmla="*/ 720610 h 6557032"/>
              <a:gd name="connsiteX30782" fmla="*/ 437322 w 4610101"/>
              <a:gd name="connsiteY30782" fmla="*/ 709677 h 6557032"/>
              <a:gd name="connsiteX30783" fmla="*/ 162174 w 4610101"/>
              <a:gd name="connsiteY30783" fmla="*/ 709677 h 6557032"/>
              <a:gd name="connsiteX30784" fmla="*/ 165818 w 4610101"/>
              <a:gd name="connsiteY30784" fmla="*/ 715144 h 6557032"/>
              <a:gd name="connsiteX30785" fmla="*/ 162174 w 4610101"/>
              <a:gd name="connsiteY30785" fmla="*/ 709677 h 6557032"/>
              <a:gd name="connsiteX30786" fmla="*/ 3432976 w 4610101"/>
              <a:gd name="connsiteY30786" fmla="*/ 707855 h 6557032"/>
              <a:gd name="connsiteX30787" fmla="*/ 3434798 w 4610101"/>
              <a:gd name="connsiteY30787" fmla="*/ 713321 h 6557032"/>
              <a:gd name="connsiteX30788" fmla="*/ 3436621 w 4610101"/>
              <a:gd name="connsiteY30788" fmla="*/ 713321 h 6557032"/>
              <a:gd name="connsiteX30789" fmla="*/ 3436621 w 4610101"/>
              <a:gd name="connsiteY30789" fmla="*/ 707855 h 6557032"/>
              <a:gd name="connsiteX30790" fmla="*/ 3432976 w 4610101"/>
              <a:gd name="connsiteY30790" fmla="*/ 707855 h 6557032"/>
              <a:gd name="connsiteX30791" fmla="*/ 3431154 w 4610101"/>
              <a:gd name="connsiteY30791" fmla="*/ 707855 h 6557032"/>
              <a:gd name="connsiteX30792" fmla="*/ 3407466 w 4610101"/>
              <a:gd name="connsiteY30792" fmla="*/ 727899 h 6557032"/>
              <a:gd name="connsiteX30793" fmla="*/ 3420221 w 4610101"/>
              <a:gd name="connsiteY30793" fmla="*/ 713321 h 6557032"/>
              <a:gd name="connsiteX30794" fmla="*/ 3425687 w 4610101"/>
              <a:gd name="connsiteY30794" fmla="*/ 716966 h 6557032"/>
              <a:gd name="connsiteX30795" fmla="*/ 3431154 w 4610101"/>
              <a:gd name="connsiteY30795" fmla="*/ 707855 h 6557032"/>
              <a:gd name="connsiteX30796" fmla="*/ 1302855 w 4610101"/>
              <a:gd name="connsiteY30796" fmla="*/ 707855 h 6557032"/>
              <a:gd name="connsiteX30797" fmla="*/ 1291922 w 4610101"/>
              <a:gd name="connsiteY30797" fmla="*/ 715144 h 6557032"/>
              <a:gd name="connsiteX30798" fmla="*/ 1302855 w 4610101"/>
              <a:gd name="connsiteY30798" fmla="*/ 707855 h 6557032"/>
              <a:gd name="connsiteX30799" fmla="*/ 1264589 w 4610101"/>
              <a:gd name="connsiteY30799" fmla="*/ 707855 h 6557032"/>
              <a:gd name="connsiteX30800" fmla="*/ 1255478 w 4610101"/>
              <a:gd name="connsiteY30800" fmla="*/ 715144 h 6557032"/>
              <a:gd name="connsiteX30801" fmla="*/ 1264589 w 4610101"/>
              <a:gd name="connsiteY30801" fmla="*/ 707855 h 6557032"/>
              <a:gd name="connsiteX30802" fmla="*/ 1231790 w 4610101"/>
              <a:gd name="connsiteY30802" fmla="*/ 707855 h 6557032"/>
              <a:gd name="connsiteX30803" fmla="*/ 1224501 w 4610101"/>
              <a:gd name="connsiteY30803" fmla="*/ 713321 h 6557032"/>
              <a:gd name="connsiteX30804" fmla="*/ 1228146 w 4610101"/>
              <a:gd name="connsiteY30804" fmla="*/ 715144 h 6557032"/>
              <a:gd name="connsiteX30805" fmla="*/ 1231790 w 4610101"/>
              <a:gd name="connsiteY30805" fmla="*/ 707855 h 6557032"/>
              <a:gd name="connsiteX30806" fmla="*/ 1147970 w 4610101"/>
              <a:gd name="connsiteY30806" fmla="*/ 707855 h 6557032"/>
              <a:gd name="connsiteX30807" fmla="*/ 1146148 w 4610101"/>
              <a:gd name="connsiteY30807" fmla="*/ 713321 h 6557032"/>
              <a:gd name="connsiteX30808" fmla="*/ 1151614 w 4610101"/>
              <a:gd name="connsiteY30808" fmla="*/ 709677 h 6557032"/>
              <a:gd name="connsiteX30809" fmla="*/ 1147970 w 4610101"/>
              <a:gd name="connsiteY30809" fmla="*/ 707855 h 6557032"/>
              <a:gd name="connsiteX30810" fmla="*/ 1146148 w 4610101"/>
              <a:gd name="connsiteY30810" fmla="*/ 707855 h 6557032"/>
              <a:gd name="connsiteX30811" fmla="*/ 1133392 w 4610101"/>
              <a:gd name="connsiteY30811" fmla="*/ 712411 h 6557032"/>
              <a:gd name="connsiteX30812" fmla="*/ 1131570 w 4610101"/>
              <a:gd name="connsiteY30812" fmla="*/ 711499 h 6557032"/>
              <a:gd name="connsiteX30813" fmla="*/ 1128446 w 4610101"/>
              <a:gd name="connsiteY30813" fmla="*/ 714178 h 6557032"/>
              <a:gd name="connsiteX30814" fmla="*/ 1120637 w 4610101"/>
              <a:gd name="connsiteY30814" fmla="*/ 716966 h 6557032"/>
              <a:gd name="connsiteX30815" fmla="*/ 1126787 w 4610101"/>
              <a:gd name="connsiteY30815" fmla="*/ 715600 h 6557032"/>
              <a:gd name="connsiteX30816" fmla="*/ 1128446 w 4610101"/>
              <a:gd name="connsiteY30816" fmla="*/ 714178 h 6557032"/>
              <a:gd name="connsiteX30817" fmla="*/ 1133392 w 4610101"/>
              <a:gd name="connsiteY30817" fmla="*/ 712411 h 6557032"/>
              <a:gd name="connsiteX30818" fmla="*/ 1138859 w 4610101"/>
              <a:gd name="connsiteY30818" fmla="*/ 715144 h 6557032"/>
              <a:gd name="connsiteX30819" fmla="*/ 1146148 w 4610101"/>
              <a:gd name="connsiteY30819" fmla="*/ 707855 h 6557032"/>
              <a:gd name="connsiteX30820" fmla="*/ 1064151 w 4610101"/>
              <a:gd name="connsiteY30820" fmla="*/ 707855 h 6557032"/>
              <a:gd name="connsiteX30821" fmla="*/ 1062328 w 4610101"/>
              <a:gd name="connsiteY30821" fmla="*/ 709677 h 6557032"/>
              <a:gd name="connsiteX30822" fmla="*/ 1064151 w 4610101"/>
              <a:gd name="connsiteY30822" fmla="*/ 715144 h 6557032"/>
              <a:gd name="connsiteX30823" fmla="*/ 1064151 w 4610101"/>
              <a:gd name="connsiteY30823" fmla="*/ 707855 h 6557032"/>
              <a:gd name="connsiteX30824" fmla="*/ 947531 w 4610101"/>
              <a:gd name="connsiteY30824" fmla="*/ 707855 h 6557032"/>
              <a:gd name="connsiteX30825" fmla="*/ 945709 w 4610101"/>
              <a:gd name="connsiteY30825" fmla="*/ 715144 h 6557032"/>
              <a:gd name="connsiteX30826" fmla="*/ 947531 w 4610101"/>
              <a:gd name="connsiteY30826" fmla="*/ 707855 h 6557032"/>
              <a:gd name="connsiteX30827" fmla="*/ 313414 w 4610101"/>
              <a:gd name="connsiteY30827" fmla="*/ 707855 h 6557032"/>
              <a:gd name="connsiteX30828" fmla="*/ 329814 w 4610101"/>
              <a:gd name="connsiteY30828" fmla="*/ 726077 h 6557032"/>
              <a:gd name="connsiteX30829" fmla="*/ 313414 w 4610101"/>
              <a:gd name="connsiteY30829" fmla="*/ 707855 h 6557032"/>
              <a:gd name="connsiteX30830" fmla="*/ 271504 w 4610101"/>
              <a:gd name="connsiteY30830" fmla="*/ 707855 h 6557032"/>
              <a:gd name="connsiteX30831" fmla="*/ 273327 w 4610101"/>
              <a:gd name="connsiteY30831" fmla="*/ 713321 h 6557032"/>
              <a:gd name="connsiteX30832" fmla="*/ 266038 w 4610101"/>
              <a:gd name="connsiteY30832" fmla="*/ 720610 h 6557032"/>
              <a:gd name="connsiteX30833" fmla="*/ 284259 w 4610101"/>
              <a:gd name="connsiteY30833" fmla="*/ 724254 h 6557032"/>
              <a:gd name="connsiteX30834" fmla="*/ 271504 w 4610101"/>
              <a:gd name="connsiteY30834" fmla="*/ 716966 h 6557032"/>
              <a:gd name="connsiteX30835" fmla="*/ 282438 w 4610101"/>
              <a:gd name="connsiteY30835" fmla="*/ 720610 h 6557032"/>
              <a:gd name="connsiteX30836" fmla="*/ 276971 w 4610101"/>
              <a:gd name="connsiteY30836" fmla="*/ 716966 h 6557032"/>
              <a:gd name="connsiteX30837" fmla="*/ 271504 w 4610101"/>
              <a:gd name="connsiteY30837" fmla="*/ 707855 h 6557032"/>
              <a:gd name="connsiteX30838" fmla="*/ 227772 w 4610101"/>
              <a:gd name="connsiteY30838" fmla="*/ 707855 h 6557032"/>
              <a:gd name="connsiteX30839" fmla="*/ 233239 w 4610101"/>
              <a:gd name="connsiteY30839" fmla="*/ 716966 h 6557032"/>
              <a:gd name="connsiteX30840" fmla="*/ 227772 w 4610101"/>
              <a:gd name="connsiteY30840" fmla="*/ 707855 h 6557032"/>
              <a:gd name="connsiteX30841" fmla="*/ 3449376 w 4610101"/>
              <a:gd name="connsiteY30841" fmla="*/ 706033 h 6557032"/>
              <a:gd name="connsiteX30842" fmla="*/ 3456664 w 4610101"/>
              <a:gd name="connsiteY30842" fmla="*/ 724254 h 6557032"/>
              <a:gd name="connsiteX30843" fmla="*/ 3458487 w 4610101"/>
              <a:gd name="connsiteY30843" fmla="*/ 751587 h 6557032"/>
              <a:gd name="connsiteX30844" fmla="*/ 3422043 w 4610101"/>
              <a:gd name="connsiteY30844" fmla="*/ 737010 h 6557032"/>
              <a:gd name="connsiteX30845" fmla="*/ 3422043 w 4610101"/>
              <a:gd name="connsiteY30845" fmla="*/ 746121 h 6557032"/>
              <a:gd name="connsiteX30846" fmla="*/ 3409288 w 4610101"/>
              <a:gd name="connsiteY30846" fmla="*/ 735188 h 6557032"/>
              <a:gd name="connsiteX30847" fmla="*/ 3330934 w 4610101"/>
              <a:gd name="connsiteY30847" fmla="*/ 780742 h 6557032"/>
              <a:gd name="connsiteX30848" fmla="*/ 3325468 w 4610101"/>
              <a:gd name="connsiteY30848" fmla="*/ 780742 h 6557032"/>
              <a:gd name="connsiteX30849" fmla="*/ 3329112 w 4610101"/>
              <a:gd name="connsiteY30849" fmla="*/ 791675 h 6557032"/>
              <a:gd name="connsiteX30850" fmla="*/ 3338223 w 4610101"/>
              <a:gd name="connsiteY30850" fmla="*/ 789853 h 6557032"/>
              <a:gd name="connsiteX30851" fmla="*/ 3336401 w 4610101"/>
              <a:gd name="connsiteY30851" fmla="*/ 788031 h 6557032"/>
              <a:gd name="connsiteX30852" fmla="*/ 3372844 w 4610101"/>
              <a:gd name="connsiteY30852" fmla="*/ 786208 h 6557032"/>
              <a:gd name="connsiteX30853" fmla="*/ 3369200 w 4610101"/>
              <a:gd name="connsiteY30853" fmla="*/ 778920 h 6557032"/>
              <a:gd name="connsiteX30854" fmla="*/ 3378311 w 4610101"/>
              <a:gd name="connsiteY30854" fmla="*/ 775275 h 6557032"/>
              <a:gd name="connsiteX30855" fmla="*/ 3380133 w 4610101"/>
              <a:gd name="connsiteY30855" fmla="*/ 780742 h 6557032"/>
              <a:gd name="connsiteX30856" fmla="*/ 3389244 w 4610101"/>
              <a:gd name="connsiteY30856" fmla="*/ 775275 h 6557032"/>
              <a:gd name="connsiteX30857" fmla="*/ 3389244 w 4610101"/>
              <a:gd name="connsiteY30857" fmla="*/ 786208 h 6557032"/>
              <a:gd name="connsiteX30858" fmla="*/ 3431154 w 4610101"/>
              <a:gd name="connsiteY30858" fmla="*/ 782564 h 6557032"/>
              <a:gd name="connsiteX30859" fmla="*/ 3427510 w 4610101"/>
              <a:gd name="connsiteY30859" fmla="*/ 771631 h 6557032"/>
              <a:gd name="connsiteX30860" fmla="*/ 3429332 w 4610101"/>
              <a:gd name="connsiteY30860" fmla="*/ 780742 h 6557032"/>
              <a:gd name="connsiteX30861" fmla="*/ 3432976 w 4610101"/>
              <a:gd name="connsiteY30861" fmla="*/ 777098 h 6557032"/>
              <a:gd name="connsiteX30862" fmla="*/ 3434798 w 4610101"/>
              <a:gd name="connsiteY30862" fmla="*/ 782564 h 6557032"/>
              <a:gd name="connsiteX30863" fmla="*/ 3462131 w 4610101"/>
              <a:gd name="connsiteY30863" fmla="*/ 755231 h 6557032"/>
              <a:gd name="connsiteX30864" fmla="*/ 3487641 w 4610101"/>
              <a:gd name="connsiteY30864" fmla="*/ 727899 h 6557032"/>
              <a:gd name="connsiteX30865" fmla="*/ 3482175 w 4610101"/>
              <a:gd name="connsiteY30865" fmla="*/ 715144 h 6557032"/>
              <a:gd name="connsiteX30866" fmla="*/ 3474886 w 4610101"/>
              <a:gd name="connsiteY30866" fmla="*/ 738832 h 6557032"/>
              <a:gd name="connsiteX30867" fmla="*/ 3471242 w 4610101"/>
              <a:gd name="connsiteY30867" fmla="*/ 727899 h 6557032"/>
              <a:gd name="connsiteX30868" fmla="*/ 3462131 w 4610101"/>
              <a:gd name="connsiteY30868" fmla="*/ 724254 h 6557032"/>
              <a:gd name="connsiteX30869" fmla="*/ 3465775 w 4610101"/>
              <a:gd name="connsiteY30869" fmla="*/ 707855 h 6557032"/>
              <a:gd name="connsiteX30870" fmla="*/ 3462131 w 4610101"/>
              <a:gd name="connsiteY30870" fmla="*/ 706033 h 6557032"/>
              <a:gd name="connsiteX30871" fmla="*/ 3458487 w 4610101"/>
              <a:gd name="connsiteY30871" fmla="*/ 711499 h 6557032"/>
              <a:gd name="connsiteX30872" fmla="*/ 3460309 w 4610101"/>
              <a:gd name="connsiteY30872" fmla="*/ 715144 h 6557032"/>
              <a:gd name="connsiteX30873" fmla="*/ 3458487 w 4610101"/>
              <a:gd name="connsiteY30873" fmla="*/ 718788 h 6557032"/>
              <a:gd name="connsiteX30874" fmla="*/ 3458487 w 4610101"/>
              <a:gd name="connsiteY30874" fmla="*/ 707855 h 6557032"/>
              <a:gd name="connsiteX30875" fmla="*/ 3449376 w 4610101"/>
              <a:gd name="connsiteY30875" fmla="*/ 706033 h 6557032"/>
              <a:gd name="connsiteX30876" fmla="*/ 2587487 w 4610101"/>
              <a:gd name="connsiteY30876" fmla="*/ 706033 h 6557032"/>
              <a:gd name="connsiteX30877" fmla="*/ 2592954 w 4610101"/>
              <a:gd name="connsiteY30877" fmla="*/ 716966 h 6557032"/>
              <a:gd name="connsiteX30878" fmla="*/ 2591132 w 4610101"/>
              <a:gd name="connsiteY30878" fmla="*/ 706033 h 6557032"/>
              <a:gd name="connsiteX30879" fmla="*/ 2587487 w 4610101"/>
              <a:gd name="connsiteY30879" fmla="*/ 706033 h 6557032"/>
              <a:gd name="connsiteX30880" fmla="*/ 2015325 w 4610101"/>
              <a:gd name="connsiteY30880" fmla="*/ 706033 h 6557032"/>
              <a:gd name="connsiteX30881" fmla="*/ 2015528 w 4610101"/>
              <a:gd name="connsiteY30881" fmla="*/ 706198 h 6557032"/>
              <a:gd name="connsiteX30882" fmla="*/ 2015325 w 4610101"/>
              <a:gd name="connsiteY30882" fmla="*/ 713321 h 6557032"/>
              <a:gd name="connsiteX30883" fmla="*/ 2015325 w 4610101"/>
              <a:gd name="connsiteY30883" fmla="*/ 706033 h 6557032"/>
              <a:gd name="connsiteX30884" fmla="*/ 1372097 w 4610101"/>
              <a:gd name="connsiteY30884" fmla="*/ 706033 h 6557032"/>
              <a:gd name="connsiteX30885" fmla="*/ 1370275 w 4610101"/>
              <a:gd name="connsiteY30885" fmla="*/ 715144 h 6557032"/>
              <a:gd name="connsiteX30886" fmla="*/ 1369281 w 4610101"/>
              <a:gd name="connsiteY30886" fmla="*/ 714647 h 6557032"/>
              <a:gd name="connsiteX30887" fmla="*/ 1370908 w 4610101"/>
              <a:gd name="connsiteY30887" fmla="*/ 706509 h 6557032"/>
              <a:gd name="connsiteX30888" fmla="*/ 1242723 w 4610101"/>
              <a:gd name="connsiteY30888" fmla="*/ 706033 h 6557032"/>
              <a:gd name="connsiteX30889" fmla="*/ 1246367 w 4610101"/>
              <a:gd name="connsiteY30889" fmla="*/ 709677 h 6557032"/>
              <a:gd name="connsiteX30890" fmla="*/ 1248189 w 4610101"/>
              <a:gd name="connsiteY30890" fmla="*/ 706033 h 6557032"/>
              <a:gd name="connsiteX30891" fmla="*/ 1242723 w 4610101"/>
              <a:gd name="connsiteY30891" fmla="*/ 706033 h 6557032"/>
              <a:gd name="connsiteX30892" fmla="*/ 1239080 w 4610101"/>
              <a:gd name="connsiteY30892" fmla="*/ 706033 h 6557032"/>
              <a:gd name="connsiteX30893" fmla="*/ 1233612 w 4610101"/>
              <a:gd name="connsiteY30893" fmla="*/ 715144 h 6557032"/>
              <a:gd name="connsiteX30894" fmla="*/ 1242723 w 4610101"/>
              <a:gd name="connsiteY30894" fmla="*/ 709677 h 6557032"/>
              <a:gd name="connsiteX30895" fmla="*/ 1239080 w 4610101"/>
              <a:gd name="connsiteY30895" fmla="*/ 706033 h 6557032"/>
              <a:gd name="connsiteX30896" fmla="*/ 1166192 w 4610101"/>
              <a:gd name="connsiteY30896" fmla="*/ 706033 h 6557032"/>
              <a:gd name="connsiteX30897" fmla="*/ 1160725 w 4610101"/>
              <a:gd name="connsiteY30897" fmla="*/ 709677 h 6557032"/>
              <a:gd name="connsiteX30898" fmla="*/ 1160725 w 4610101"/>
              <a:gd name="connsiteY30898" fmla="*/ 713321 h 6557032"/>
              <a:gd name="connsiteX30899" fmla="*/ 1158903 w 4610101"/>
              <a:gd name="connsiteY30899" fmla="*/ 707855 h 6557032"/>
              <a:gd name="connsiteX30900" fmla="*/ 1155259 w 4610101"/>
              <a:gd name="connsiteY30900" fmla="*/ 711499 h 6557032"/>
              <a:gd name="connsiteX30901" fmla="*/ 1158903 w 4610101"/>
              <a:gd name="connsiteY30901" fmla="*/ 715144 h 6557032"/>
              <a:gd name="connsiteX30902" fmla="*/ 1160725 w 4610101"/>
              <a:gd name="connsiteY30902" fmla="*/ 713321 h 6557032"/>
              <a:gd name="connsiteX30903" fmla="*/ 1164370 w 4610101"/>
              <a:gd name="connsiteY30903" fmla="*/ 709677 h 6557032"/>
              <a:gd name="connsiteX30904" fmla="*/ 1171658 w 4610101"/>
              <a:gd name="connsiteY30904" fmla="*/ 707855 h 6557032"/>
              <a:gd name="connsiteX30905" fmla="*/ 1166192 w 4610101"/>
              <a:gd name="connsiteY30905" fmla="*/ 706033 h 6557032"/>
              <a:gd name="connsiteX30906" fmla="*/ 1122459 w 4610101"/>
              <a:gd name="connsiteY30906" fmla="*/ 706033 h 6557032"/>
              <a:gd name="connsiteX30907" fmla="*/ 1115171 w 4610101"/>
              <a:gd name="connsiteY30907" fmla="*/ 711499 h 6557032"/>
              <a:gd name="connsiteX30908" fmla="*/ 1122459 w 4610101"/>
              <a:gd name="connsiteY30908" fmla="*/ 706033 h 6557032"/>
              <a:gd name="connsiteX30909" fmla="*/ 1056861 w 4610101"/>
              <a:gd name="connsiteY30909" fmla="*/ 706033 h 6557032"/>
              <a:gd name="connsiteX30910" fmla="*/ 1045929 w 4610101"/>
              <a:gd name="connsiteY30910" fmla="*/ 713321 h 6557032"/>
              <a:gd name="connsiteX30911" fmla="*/ 1056861 w 4610101"/>
              <a:gd name="connsiteY30911" fmla="*/ 706033 h 6557032"/>
              <a:gd name="connsiteX30912" fmla="*/ 1002196 w 4610101"/>
              <a:gd name="connsiteY30912" fmla="*/ 706033 h 6557032"/>
              <a:gd name="connsiteX30913" fmla="*/ 994907 w 4610101"/>
              <a:gd name="connsiteY30913" fmla="*/ 715144 h 6557032"/>
              <a:gd name="connsiteX30914" fmla="*/ 1002196 w 4610101"/>
              <a:gd name="connsiteY30914" fmla="*/ 706033 h 6557032"/>
              <a:gd name="connsiteX30915" fmla="*/ 861889 w 4610101"/>
              <a:gd name="connsiteY30915" fmla="*/ 706033 h 6557032"/>
              <a:gd name="connsiteX30916" fmla="*/ 856422 w 4610101"/>
              <a:gd name="connsiteY30916" fmla="*/ 716966 h 6557032"/>
              <a:gd name="connsiteX30917" fmla="*/ 861889 w 4610101"/>
              <a:gd name="connsiteY30917" fmla="*/ 706033 h 6557032"/>
              <a:gd name="connsiteX30918" fmla="*/ 539364 w 4610101"/>
              <a:gd name="connsiteY30918" fmla="*/ 706033 h 6557032"/>
              <a:gd name="connsiteX30919" fmla="*/ 535719 w 4610101"/>
              <a:gd name="connsiteY30919" fmla="*/ 713321 h 6557032"/>
              <a:gd name="connsiteX30920" fmla="*/ 546653 w 4610101"/>
              <a:gd name="connsiteY30920" fmla="*/ 718788 h 6557032"/>
              <a:gd name="connsiteX30921" fmla="*/ 544830 w 4610101"/>
              <a:gd name="connsiteY30921" fmla="*/ 709677 h 6557032"/>
              <a:gd name="connsiteX30922" fmla="*/ 539364 w 4610101"/>
              <a:gd name="connsiteY30922" fmla="*/ 706033 h 6557032"/>
              <a:gd name="connsiteX30923" fmla="*/ 442789 w 4610101"/>
              <a:gd name="connsiteY30923" fmla="*/ 706033 h 6557032"/>
              <a:gd name="connsiteX30924" fmla="*/ 448256 w 4610101"/>
              <a:gd name="connsiteY30924" fmla="*/ 709677 h 6557032"/>
              <a:gd name="connsiteX30925" fmla="*/ 448256 w 4610101"/>
              <a:gd name="connsiteY30925" fmla="*/ 706033 h 6557032"/>
              <a:gd name="connsiteX30926" fmla="*/ 442789 w 4610101"/>
              <a:gd name="connsiteY30926" fmla="*/ 706033 h 6557032"/>
              <a:gd name="connsiteX30927" fmla="*/ 399056 w 4610101"/>
              <a:gd name="connsiteY30927" fmla="*/ 706033 h 6557032"/>
              <a:gd name="connsiteX30928" fmla="*/ 400879 w 4610101"/>
              <a:gd name="connsiteY30928" fmla="*/ 715144 h 6557032"/>
              <a:gd name="connsiteX30929" fmla="*/ 399056 w 4610101"/>
              <a:gd name="connsiteY30929" fmla="*/ 706033 h 6557032"/>
              <a:gd name="connsiteX30930" fmla="*/ 1482662 w 4610101"/>
              <a:gd name="connsiteY30930" fmla="*/ 704799 h 6557032"/>
              <a:gd name="connsiteX30931" fmla="*/ 1481401 w 4610101"/>
              <a:gd name="connsiteY30931" fmla="*/ 707146 h 6557032"/>
              <a:gd name="connsiteX30932" fmla="*/ 1481428 w 4610101"/>
              <a:gd name="connsiteY30932" fmla="*/ 706033 h 6557032"/>
              <a:gd name="connsiteX30933" fmla="*/ 3588813 w 4610101"/>
              <a:gd name="connsiteY30933" fmla="*/ 704455 h 6557032"/>
              <a:gd name="connsiteX30934" fmla="*/ 3591505 w 4610101"/>
              <a:gd name="connsiteY30934" fmla="*/ 720610 h 6557032"/>
              <a:gd name="connsiteX30935" fmla="*/ 3587646 w 4610101"/>
              <a:gd name="connsiteY30935" fmla="*/ 721085 h 6557032"/>
              <a:gd name="connsiteX30936" fmla="*/ 3586039 w 4610101"/>
              <a:gd name="connsiteY30936" fmla="*/ 711044 h 6557032"/>
              <a:gd name="connsiteX30937" fmla="*/ 2275896 w 4610101"/>
              <a:gd name="connsiteY30937" fmla="*/ 704211 h 6557032"/>
              <a:gd name="connsiteX30938" fmla="*/ 2274074 w 4610101"/>
              <a:gd name="connsiteY30938" fmla="*/ 713321 h 6557032"/>
              <a:gd name="connsiteX30939" fmla="*/ 2275896 w 4610101"/>
              <a:gd name="connsiteY30939" fmla="*/ 704211 h 6557032"/>
              <a:gd name="connsiteX30940" fmla="*/ 1313788 w 4610101"/>
              <a:gd name="connsiteY30940" fmla="*/ 704211 h 6557032"/>
              <a:gd name="connsiteX30941" fmla="*/ 1302855 w 4610101"/>
              <a:gd name="connsiteY30941" fmla="*/ 713321 h 6557032"/>
              <a:gd name="connsiteX30942" fmla="*/ 1313788 w 4610101"/>
              <a:gd name="connsiteY30942" fmla="*/ 704211 h 6557032"/>
              <a:gd name="connsiteX30943" fmla="*/ 1051395 w 4610101"/>
              <a:gd name="connsiteY30943" fmla="*/ 704211 h 6557032"/>
              <a:gd name="connsiteX30944" fmla="*/ 1047750 w 4610101"/>
              <a:gd name="connsiteY30944" fmla="*/ 707855 h 6557032"/>
              <a:gd name="connsiteX30945" fmla="*/ 1051395 w 4610101"/>
              <a:gd name="connsiteY30945" fmla="*/ 704211 h 6557032"/>
              <a:gd name="connsiteX30946" fmla="*/ 1036818 w 4610101"/>
              <a:gd name="connsiteY30946" fmla="*/ 704211 h 6557032"/>
              <a:gd name="connsiteX30947" fmla="*/ 1013129 w 4610101"/>
              <a:gd name="connsiteY30947" fmla="*/ 713321 h 6557032"/>
              <a:gd name="connsiteX30948" fmla="*/ 1036818 w 4610101"/>
              <a:gd name="connsiteY30948" fmla="*/ 704211 h 6557032"/>
              <a:gd name="connsiteX30949" fmla="*/ 991263 w 4610101"/>
              <a:gd name="connsiteY30949" fmla="*/ 704211 h 6557032"/>
              <a:gd name="connsiteX30950" fmla="*/ 983974 w 4610101"/>
              <a:gd name="connsiteY30950" fmla="*/ 709677 h 6557032"/>
              <a:gd name="connsiteX30951" fmla="*/ 991263 w 4610101"/>
              <a:gd name="connsiteY30951" fmla="*/ 704211 h 6557032"/>
              <a:gd name="connsiteX30952" fmla="*/ 801757 w 4610101"/>
              <a:gd name="connsiteY30952" fmla="*/ 704211 h 6557032"/>
              <a:gd name="connsiteX30953" fmla="*/ 803579 w 4610101"/>
              <a:gd name="connsiteY30953" fmla="*/ 713321 h 6557032"/>
              <a:gd name="connsiteX30954" fmla="*/ 807223 w 4610101"/>
              <a:gd name="connsiteY30954" fmla="*/ 706033 h 6557032"/>
              <a:gd name="connsiteX30955" fmla="*/ 801757 w 4610101"/>
              <a:gd name="connsiteY30955" fmla="*/ 704211 h 6557032"/>
              <a:gd name="connsiteX30956" fmla="*/ 692426 w 4610101"/>
              <a:gd name="connsiteY30956" fmla="*/ 704211 h 6557032"/>
              <a:gd name="connsiteX30957" fmla="*/ 681493 w 4610101"/>
              <a:gd name="connsiteY30957" fmla="*/ 707855 h 6557032"/>
              <a:gd name="connsiteX30958" fmla="*/ 708826 w 4610101"/>
              <a:gd name="connsiteY30958" fmla="*/ 737010 h 6557032"/>
              <a:gd name="connsiteX30959" fmla="*/ 692426 w 4610101"/>
              <a:gd name="connsiteY30959" fmla="*/ 715144 h 6557032"/>
              <a:gd name="connsiteX30960" fmla="*/ 705182 w 4610101"/>
              <a:gd name="connsiteY30960" fmla="*/ 718788 h 6557032"/>
              <a:gd name="connsiteX30961" fmla="*/ 692426 w 4610101"/>
              <a:gd name="connsiteY30961" fmla="*/ 704211 h 6557032"/>
              <a:gd name="connsiteX30962" fmla="*/ 497454 w 4610101"/>
              <a:gd name="connsiteY30962" fmla="*/ 704211 h 6557032"/>
              <a:gd name="connsiteX30963" fmla="*/ 495632 w 4610101"/>
              <a:gd name="connsiteY30963" fmla="*/ 709677 h 6557032"/>
              <a:gd name="connsiteX30964" fmla="*/ 497454 w 4610101"/>
              <a:gd name="connsiteY30964" fmla="*/ 704211 h 6557032"/>
              <a:gd name="connsiteX30965" fmla="*/ 415456 w 4610101"/>
              <a:gd name="connsiteY30965" fmla="*/ 704211 h 6557032"/>
              <a:gd name="connsiteX30966" fmla="*/ 439145 w 4610101"/>
              <a:gd name="connsiteY30966" fmla="*/ 742476 h 6557032"/>
              <a:gd name="connsiteX30967" fmla="*/ 437322 w 4610101"/>
              <a:gd name="connsiteY30967" fmla="*/ 738832 h 6557032"/>
              <a:gd name="connsiteX30968" fmla="*/ 444611 w 4610101"/>
              <a:gd name="connsiteY30968" fmla="*/ 742476 h 6557032"/>
              <a:gd name="connsiteX30969" fmla="*/ 439145 w 4610101"/>
              <a:gd name="connsiteY30969" fmla="*/ 737010 h 6557032"/>
              <a:gd name="connsiteX30970" fmla="*/ 415456 w 4610101"/>
              <a:gd name="connsiteY30970" fmla="*/ 704211 h 6557032"/>
              <a:gd name="connsiteX30971" fmla="*/ 344391 w 4610101"/>
              <a:gd name="connsiteY30971" fmla="*/ 704211 h 6557032"/>
              <a:gd name="connsiteX30972" fmla="*/ 362613 w 4610101"/>
              <a:gd name="connsiteY30972" fmla="*/ 731543 h 6557032"/>
              <a:gd name="connsiteX30973" fmla="*/ 344391 w 4610101"/>
              <a:gd name="connsiteY30973" fmla="*/ 704211 h 6557032"/>
              <a:gd name="connsiteX30974" fmla="*/ 291549 w 4610101"/>
              <a:gd name="connsiteY30974" fmla="*/ 704211 h 6557032"/>
              <a:gd name="connsiteX30975" fmla="*/ 295193 w 4610101"/>
              <a:gd name="connsiteY30975" fmla="*/ 711499 h 6557032"/>
              <a:gd name="connsiteX30976" fmla="*/ 300660 w 4610101"/>
              <a:gd name="connsiteY30976" fmla="*/ 715144 h 6557032"/>
              <a:gd name="connsiteX30977" fmla="*/ 291549 w 4610101"/>
              <a:gd name="connsiteY30977" fmla="*/ 704211 h 6557032"/>
              <a:gd name="connsiteX30978" fmla="*/ 83820 w 4610101"/>
              <a:gd name="connsiteY30978" fmla="*/ 704211 h 6557032"/>
              <a:gd name="connsiteX30979" fmla="*/ 149421 w 4610101"/>
              <a:gd name="connsiteY30979" fmla="*/ 758877 h 6557032"/>
              <a:gd name="connsiteX30980" fmla="*/ 151241 w 4610101"/>
              <a:gd name="connsiteY30980" fmla="*/ 760698 h 6557032"/>
              <a:gd name="connsiteX30981" fmla="*/ 150604 w 4610101"/>
              <a:gd name="connsiteY30981" fmla="*/ 759864 h 6557032"/>
              <a:gd name="connsiteX30982" fmla="*/ 160352 w 4610101"/>
              <a:gd name="connsiteY30982" fmla="*/ 767987 h 6557032"/>
              <a:gd name="connsiteX30983" fmla="*/ 150603 w 4610101"/>
              <a:gd name="connsiteY30983" fmla="*/ 759863 h 6557032"/>
              <a:gd name="connsiteX30984" fmla="*/ 138030 w 4610101"/>
              <a:gd name="connsiteY30984" fmla="*/ 743388 h 6557032"/>
              <a:gd name="connsiteX30985" fmla="*/ 122086 w 4610101"/>
              <a:gd name="connsiteY30985" fmla="*/ 731543 h 6557032"/>
              <a:gd name="connsiteX30986" fmla="*/ 83820 w 4610101"/>
              <a:gd name="connsiteY30986" fmla="*/ 704211 h 6557032"/>
              <a:gd name="connsiteX30987" fmla="*/ 1483068 w 4610101"/>
              <a:gd name="connsiteY30987" fmla="*/ 704043 h 6557032"/>
              <a:gd name="connsiteX30988" fmla="*/ 1483084 w 4610101"/>
              <a:gd name="connsiteY30988" fmla="*/ 704377 h 6557032"/>
              <a:gd name="connsiteX30989" fmla="*/ 1482662 w 4610101"/>
              <a:gd name="connsiteY30989" fmla="*/ 704799 h 6557032"/>
              <a:gd name="connsiteX30990" fmla="*/ 3502219 w 4610101"/>
              <a:gd name="connsiteY30990" fmla="*/ 702388 h 6557032"/>
              <a:gd name="connsiteX30991" fmla="*/ 3504041 w 4610101"/>
              <a:gd name="connsiteY30991" fmla="*/ 706033 h 6557032"/>
              <a:gd name="connsiteX30992" fmla="*/ 3509507 w 4610101"/>
              <a:gd name="connsiteY30992" fmla="*/ 706033 h 6557032"/>
              <a:gd name="connsiteX30993" fmla="*/ 3502219 w 4610101"/>
              <a:gd name="connsiteY30993" fmla="*/ 702388 h 6557032"/>
              <a:gd name="connsiteX30994" fmla="*/ 2330561 w 4610101"/>
              <a:gd name="connsiteY30994" fmla="*/ 702388 h 6557032"/>
              <a:gd name="connsiteX30995" fmla="*/ 2326916 w 4610101"/>
              <a:gd name="connsiteY30995" fmla="*/ 724254 h 6557032"/>
              <a:gd name="connsiteX30996" fmla="*/ 2326916 w 4610101"/>
              <a:gd name="connsiteY30996" fmla="*/ 707855 h 6557032"/>
              <a:gd name="connsiteX30997" fmla="*/ 2321450 w 4610101"/>
              <a:gd name="connsiteY30997" fmla="*/ 731543 h 6557032"/>
              <a:gd name="connsiteX30998" fmla="*/ 2323272 w 4610101"/>
              <a:gd name="connsiteY30998" fmla="*/ 729721 h 6557032"/>
              <a:gd name="connsiteX30999" fmla="*/ 2317806 w 4610101"/>
              <a:gd name="connsiteY30999" fmla="*/ 735188 h 6557032"/>
              <a:gd name="connsiteX31000" fmla="*/ 2319628 w 4610101"/>
              <a:gd name="connsiteY31000" fmla="*/ 742476 h 6557032"/>
              <a:gd name="connsiteX31001" fmla="*/ 2337850 w 4610101"/>
              <a:gd name="connsiteY31001" fmla="*/ 751587 h 6557032"/>
              <a:gd name="connsiteX31002" fmla="*/ 2341494 w 4610101"/>
              <a:gd name="connsiteY31002" fmla="*/ 744298 h 6557032"/>
              <a:gd name="connsiteX31003" fmla="*/ 2341494 w 4610101"/>
              <a:gd name="connsiteY31003" fmla="*/ 742476 h 6557032"/>
              <a:gd name="connsiteX31004" fmla="*/ 2341494 w 4610101"/>
              <a:gd name="connsiteY31004" fmla="*/ 737010 h 6557032"/>
              <a:gd name="connsiteX31005" fmla="*/ 2341494 w 4610101"/>
              <a:gd name="connsiteY31005" fmla="*/ 733365 h 6557032"/>
              <a:gd name="connsiteX31006" fmla="*/ 2339672 w 4610101"/>
              <a:gd name="connsiteY31006" fmla="*/ 715144 h 6557032"/>
              <a:gd name="connsiteX31007" fmla="*/ 2334205 w 4610101"/>
              <a:gd name="connsiteY31007" fmla="*/ 716966 h 6557032"/>
              <a:gd name="connsiteX31008" fmla="*/ 2330561 w 4610101"/>
              <a:gd name="connsiteY31008" fmla="*/ 702388 h 6557032"/>
              <a:gd name="connsiteX31009" fmla="*/ 1277344 w 4610101"/>
              <a:gd name="connsiteY31009" fmla="*/ 702388 h 6557032"/>
              <a:gd name="connsiteX31010" fmla="*/ 1259123 w 4610101"/>
              <a:gd name="connsiteY31010" fmla="*/ 718788 h 6557032"/>
              <a:gd name="connsiteX31011" fmla="*/ 1273700 w 4610101"/>
              <a:gd name="connsiteY31011" fmla="*/ 706033 h 6557032"/>
              <a:gd name="connsiteX31012" fmla="*/ 1271878 w 4610101"/>
              <a:gd name="connsiteY31012" fmla="*/ 711499 h 6557032"/>
              <a:gd name="connsiteX31013" fmla="*/ 1277344 w 4610101"/>
              <a:gd name="connsiteY31013" fmla="*/ 702388 h 6557032"/>
              <a:gd name="connsiteX31014" fmla="*/ 925666 w 4610101"/>
              <a:gd name="connsiteY31014" fmla="*/ 702388 h 6557032"/>
              <a:gd name="connsiteX31015" fmla="*/ 920198 w 4610101"/>
              <a:gd name="connsiteY31015" fmla="*/ 707855 h 6557032"/>
              <a:gd name="connsiteX31016" fmla="*/ 925666 w 4610101"/>
              <a:gd name="connsiteY31016" fmla="*/ 702388 h 6557032"/>
              <a:gd name="connsiteX31017" fmla="*/ 903799 w 4610101"/>
              <a:gd name="connsiteY31017" fmla="*/ 702388 h 6557032"/>
              <a:gd name="connsiteX31018" fmla="*/ 905621 w 4610101"/>
              <a:gd name="connsiteY31018" fmla="*/ 709677 h 6557032"/>
              <a:gd name="connsiteX31019" fmla="*/ 903799 w 4610101"/>
              <a:gd name="connsiteY31019" fmla="*/ 702388 h 6557032"/>
              <a:gd name="connsiteX31020" fmla="*/ 896510 w 4610101"/>
              <a:gd name="connsiteY31020" fmla="*/ 702388 h 6557032"/>
              <a:gd name="connsiteX31021" fmla="*/ 885577 w 4610101"/>
              <a:gd name="connsiteY31021" fmla="*/ 718788 h 6557032"/>
              <a:gd name="connsiteX31022" fmla="*/ 894688 w 4610101"/>
              <a:gd name="connsiteY31022" fmla="*/ 720610 h 6557032"/>
              <a:gd name="connsiteX31023" fmla="*/ 891043 w 4610101"/>
              <a:gd name="connsiteY31023" fmla="*/ 713321 h 6557032"/>
              <a:gd name="connsiteX31024" fmla="*/ 901976 w 4610101"/>
              <a:gd name="connsiteY31024" fmla="*/ 724254 h 6557032"/>
              <a:gd name="connsiteX31025" fmla="*/ 896510 w 4610101"/>
              <a:gd name="connsiteY31025" fmla="*/ 702388 h 6557032"/>
              <a:gd name="connsiteX31026" fmla="*/ 699715 w 4610101"/>
              <a:gd name="connsiteY31026" fmla="*/ 702388 h 6557032"/>
              <a:gd name="connsiteX31027" fmla="*/ 712470 w 4610101"/>
              <a:gd name="connsiteY31027" fmla="*/ 716966 h 6557032"/>
              <a:gd name="connsiteX31028" fmla="*/ 699715 w 4610101"/>
              <a:gd name="connsiteY31028" fmla="*/ 702388 h 6557032"/>
              <a:gd name="connsiteX31029" fmla="*/ 244172 w 4610101"/>
              <a:gd name="connsiteY31029" fmla="*/ 702388 h 6557032"/>
              <a:gd name="connsiteX31030" fmla="*/ 240527 w 4610101"/>
              <a:gd name="connsiteY31030" fmla="*/ 704211 h 6557032"/>
              <a:gd name="connsiteX31031" fmla="*/ 251460 w 4610101"/>
              <a:gd name="connsiteY31031" fmla="*/ 713321 h 6557032"/>
              <a:gd name="connsiteX31032" fmla="*/ 244172 w 4610101"/>
              <a:gd name="connsiteY31032" fmla="*/ 702388 h 6557032"/>
              <a:gd name="connsiteX31033" fmla="*/ 178573 w 4610101"/>
              <a:gd name="connsiteY31033" fmla="*/ 702388 h 6557032"/>
              <a:gd name="connsiteX31034" fmla="*/ 189506 w 4610101"/>
              <a:gd name="connsiteY31034" fmla="*/ 716966 h 6557032"/>
              <a:gd name="connsiteX31035" fmla="*/ 178573 w 4610101"/>
              <a:gd name="connsiteY31035" fmla="*/ 702388 h 6557032"/>
              <a:gd name="connsiteX31036" fmla="*/ 2315983 w 4610101"/>
              <a:gd name="connsiteY31036" fmla="*/ 700566 h 6557032"/>
              <a:gd name="connsiteX31037" fmla="*/ 2315983 w 4610101"/>
              <a:gd name="connsiteY31037" fmla="*/ 709677 h 6557032"/>
              <a:gd name="connsiteX31038" fmla="*/ 2319628 w 4610101"/>
              <a:gd name="connsiteY31038" fmla="*/ 706033 h 6557032"/>
              <a:gd name="connsiteX31039" fmla="*/ 2315983 w 4610101"/>
              <a:gd name="connsiteY31039" fmla="*/ 700566 h 6557032"/>
              <a:gd name="connsiteX31040" fmla="*/ 1062328 w 4610101"/>
              <a:gd name="connsiteY31040" fmla="*/ 700566 h 6557032"/>
              <a:gd name="connsiteX31041" fmla="*/ 1049573 w 4610101"/>
              <a:gd name="connsiteY31041" fmla="*/ 707855 h 6557032"/>
              <a:gd name="connsiteX31042" fmla="*/ 1062328 w 4610101"/>
              <a:gd name="connsiteY31042" fmla="*/ 700566 h 6557032"/>
              <a:gd name="connsiteX31043" fmla="*/ 768959 w 4610101"/>
              <a:gd name="connsiteY31043" fmla="*/ 700566 h 6557032"/>
              <a:gd name="connsiteX31044" fmla="*/ 770325 w 4610101"/>
              <a:gd name="connsiteY31044" fmla="*/ 706033 h 6557032"/>
              <a:gd name="connsiteX31045" fmla="*/ 772602 w 4610101"/>
              <a:gd name="connsiteY31045" fmla="*/ 704211 h 6557032"/>
              <a:gd name="connsiteX31046" fmla="*/ 768959 w 4610101"/>
              <a:gd name="connsiteY31046" fmla="*/ 700566 h 6557032"/>
              <a:gd name="connsiteX31047" fmla="*/ 433678 w 4610101"/>
              <a:gd name="connsiteY31047" fmla="*/ 700566 h 6557032"/>
              <a:gd name="connsiteX31048" fmla="*/ 439145 w 4610101"/>
              <a:gd name="connsiteY31048" fmla="*/ 706033 h 6557032"/>
              <a:gd name="connsiteX31049" fmla="*/ 433678 w 4610101"/>
              <a:gd name="connsiteY31049" fmla="*/ 700566 h 6557032"/>
              <a:gd name="connsiteX31050" fmla="*/ 397598 w 4610101"/>
              <a:gd name="connsiteY31050" fmla="*/ 699473 h 6557032"/>
              <a:gd name="connsiteX31051" fmla="*/ 398680 w 4610101"/>
              <a:gd name="connsiteY31051" fmla="*/ 699833 h 6557032"/>
              <a:gd name="connsiteX31052" fmla="*/ 399056 w 4610101"/>
              <a:gd name="connsiteY31052" fmla="*/ 700566 h 6557032"/>
              <a:gd name="connsiteX31053" fmla="*/ 3587861 w 4610101"/>
              <a:gd name="connsiteY31053" fmla="*/ 698745 h 6557032"/>
              <a:gd name="connsiteX31054" fmla="*/ 3589683 w 4610101"/>
              <a:gd name="connsiteY31054" fmla="*/ 702388 h 6557032"/>
              <a:gd name="connsiteX31055" fmla="*/ 3588813 w 4610101"/>
              <a:gd name="connsiteY31055" fmla="*/ 704455 h 6557032"/>
              <a:gd name="connsiteX31056" fmla="*/ 2886324 w 4610101"/>
              <a:gd name="connsiteY31056" fmla="*/ 698744 h 6557032"/>
              <a:gd name="connsiteX31057" fmla="*/ 2902724 w 4610101"/>
              <a:gd name="connsiteY31057" fmla="*/ 722432 h 6557032"/>
              <a:gd name="connsiteX31058" fmla="*/ 2899079 w 4610101"/>
              <a:gd name="connsiteY31058" fmla="*/ 711499 h 6557032"/>
              <a:gd name="connsiteX31059" fmla="*/ 2911834 w 4610101"/>
              <a:gd name="connsiteY31059" fmla="*/ 724254 h 6557032"/>
              <a:gd name="connsiteX31060" fmla="*/ 2910012 w 4610101"/>
              <a:gd name="connsiteY31060" fmla="*/ 716966 h 6557032"/>
              <a:gd name="connsiteX31061" fmla="*/ 2920945 w 4610101"/>
              <a:gd name="connsiteY31061" fmla="*/ 716966 h 6557032"/>
              <a:gd name="connsiteX31062" fmla="*/ 2895435 w 4610101"/>
              <a:gd name="connsiteY31062" fmla="*/ 709677 h 6557032"/>
              <a:gd name="connsiteX31063" fmla="*/ 2891790 w 4610101"/>
              <a:gd name="connsiteY31063" fmla="*/ 698744 h 6557032"/>
              <a:gd name="connsiteX31064" fmla="*/ 2891790 w 4610101"/>
              <a:gd name="connsiteY31064" fmla="*/ 706033 h 6557032"/>
              <a:gd name="connsiteX31065" fmla="*/ 2886324 w 4610101"/>
              <a:gd name="connsiteY31065" fmla="*/ 698744 h 6557032"/>
              <a:gd name="connsiteX31066" fmla="*/ 1157081 w 4610101"/>
              <a:gd name="connsiteY31066" fmla="*/ 698744 h 6557032"/>
              <a:gd name="connsiteX31067" fmla="*/ 1137037 w 4610101"/>
              <a:gd name="connsiteY31067" fmla="*/ 704211 h 6557032"/>
              <a:gd name="connsiteX31068" fmla="*/ 1157081 w 4610101"/>
              <a:gd name="connsiteY31068" fmla="*/ 698744 h 6557032"/>
              <a:gd name="connsiteX31069" fmla="*/ 960286 w 4610101"/>
              <a:gd name="connsiteY31069" fmla="*/ 698744 h 6557032"/>
              <a:gd name="connsiteX31070" fmla="*/ 962108 w 4610101"/>
              <a:gd name="connsiteY31070" fmla="*/ 700566 h 6557032"/>
              <a:gd name="connsiteX31071" fmla="*/ 960286 w 4610101"/>
              <a:gd name="connsiteY31071" fmla="*/ 698744 h 6557032"/>
              <a:gd name="connsiteX31072" fmla="*/ 949353 w 4610101"/>
              <a:gd name="connsiteY31072" fmla="*/ 698744 h 6557032"/>
              <a:gd name="connsiteX31073" fmla="*/ 942064 w 4610101"/>
              <a:gd name="connsiteY31073" fmla="*/ 713321 h 6557032"/>
              <a:gd name="connsiteX31074" fmla="*/ 949353 w 4610101"/>
              <a:gd name="connsiteY31074" fmla="*/ 698744 h 6557032"/>
              <a:gd name="connsiteX31075" fmla="*/ 799935 w 4610101"/>
              <a:gd name="connsiteY31075" fmla="*/ 698744 h 6557032"/>
              <a:gd name="connsiteX31076" fmla="*/ 803579 w 4610101"/>
              <a:gd name="connsiteY31076" fmla="*/ 704211 h 6557032"/>
              <a:gd name="connsiteX31077" fmla="*/ 799935 w 4610101"/>
              <a:gd name="connsiteY31077" fmla="*/ 698744 h 6557032"/>
              <a:gd name="connsiteX31078" fmla="*/ 623185 w 4610101"/>
              <a:gd name="connsiteY31078" fmla="*/ 698744 h 6557032"/>
              <a:gd name="connsiteX31079" fmla="*/ 610429 w 4610101"/>
              <a:gd name="connsiteY31079" fmla="*/ 709677 h 6557032"/>
              <a:gd name="connsiteX31080" fmla="*/ 604963 w 4610101"/>
              <a:gd name="connsiteY31080" fmla="*/ 713321 h 6557032"/>
              <a:gd name="connsiteX31081" fmla="*/ 612251 w 4610101"/>
              <a:gd name="connsiteY31081" fmla="*/ 715144 h 6557032"/>
              <a:gd name="connsiteX31082" fmla="*/ 610429 w 4610101"/>
              <a:gd name="connsiteY31082" fmla="*/ 709677 h 6557032"/>
              <a:gd name="connsiteX31083" fmla="*/ 621362 w 4610101"/>
              <a:gd name="connsiteY31083" fmla="*/ 706033 h 6557032"/>
              <a:gd name="connsiteX31084" fmla="*/ 615895 w 4610101"/>
              <a:gd name="connsiteY31084" fmla="*/ 713321 h 6557032"/>
              <a:gd name="connsiteX31085" fmla="*/ 619169 w 4610101"/>
              <a:gd name="connsiteY31085" fmla="*/ 715588 h 6557032"/>
              <a:gd name="connsiteX31086" fmla="*/ 610429 w 4610101"/>
              <a:gd name="connsiteY31086" fmla="*/ 726077 h 6557032"/>
              <a:gd name="connsiteX31087" fmla="*/ 628650 w 4610101"/>
              <a:gd name="connsiteY31087" fmla="*/ 724254 h 6557032"/>
              <a:gd name="connsiteX31088" fmla="*/ 621815 w 4610101"/>
              <a:gd name="connsiteY31088" fmla="*/ 717420 h 6557032"/>
              <a:gd name="connsiteX31089" fmla="*/ 639583 w 4610101"/>
              <a:gd name="connsiteY31089" fmla="*/ 729721 h 6557032"/>
              <a:gd name="connsiteX31090" fmla="*/ 626828 w 4610101"/>
              <a:gd name="connsiteY31090" fmla="*/ 711499 h 6557032"/>
              <a:gd name="connsiteX31091" fmla="*/ 632296 w 4610101"/>
              <a:gd name="connsiteY31091" fmla="*/ 716966 h 6557032"/>
              <a:gd name="connsiteX31092" fmla="*/ 623185 w 4610101"/>
              <a:gd name="connsiteY31092" fmla="*/ 698744 h 6557032"/>
              <a:gd name="connsiteX31093" fmla="*/ 522964 w 4610101"/>
              <a:gd name="connsiteY31093" fmla="*/ 698744 h 6557032"/>
              <a:gd name="connsiteX31094" fmla="*/ 524786 w 4610101"/>
              <a:gd name="connsiteY31094" fmla="*/ 702388 h 6557032"/>
              <a:gd name="connsiteX31095" fmla="*/ 522964 w 4610101"/>
              <a:gd name="connsiteY31095" fmla="*/ 698744 h 6557032"/>
              <a:gd name="connsiteX31096" fmla="*/ 258749 w 4610101"/>
              <a:gd name="connsiteY31096" fmla="*/ 698744 h 6557032"/>
              <a:gd name="connsiteX31097" fmla="*/ 264216 w 4610101"/>
              <a:gd name="connsiteY31097" fmla="*/ 715144 h 6557032"/>
              <a:gd name="connsiteX31098" fmla="*/ 258749 w 4610101"/>
              <a:gd name="connsiteY31098" fmla="*/ 698744 h 6557032"/>
              <a:gd name="connsiteX31099" fmla="*/ 202262 w 4610101"/>
              <a:gd name="connsiteY31099" fmla="*/ 698744 h 6557032"/>
              <a:gd name="connsiteX31100" fmla="*/ 209550 w 4610101"/>
              <a:gd name="connsiteY31100" fmla="*/ 707855 h 6557032"/>
              <a:gd name="connsiteX31101" fmla="*/ 202262 w 4610101"/>
              <a:gd name="connsiteY31101" fmla="*/ 698744 h 6557032"/>
              <a:gd name="connsiteX31102" fmla="*/ 3489463 w 4610101"/>
              <a:gd name="connsiteY31102" fmla="*/ 696922 h 6557032"/>
              <a:gd name="connsiteX31103" fmla="*/ 3478530 w 4610101"/>
              <a:gd name="connsiteY31103" fmla="*/ 704211 h 6557032"/>
              <a:gd name="connsiteX31104" fmla="*/ 3480353 w 4610101"/>
              <a:gd name="connsiteY31104" fmla="*/ 706033 h 6557032"/>
              <a:gd name="connsiteX31105" fmla="*/ 3489463 w 4610101"/>
              <a:gd name="connsiteY31105" fmla="*/ 706033 h 6557032"/>
              <a:gd name="connsiteX31106" fmla="*/ 3491286 w 4610101"/>
              <a:gd name="connsiteY31106" fmla="*/ 700566 h 6557032"/>
              <a:gd name="connsiteX31107" fmla="*/ 3489463 w 4610101"/>
              <a:gd name="connsiteY31107" fmla="*/ 696922 h 6557032"/>
              <a:gd name="connsiteX31108" fmla="*/ 2911834 w 4610101"/>
              <a:gd name="connsiteY31108" fmla="*/ 696922 h 6557032"/>
              <a:gd name="connsiteX31109" fmla="*/ 2919123 w 4610101"/>
              <a:gd name="connsiteY31109" fmla="*/ 713321 h 6557032"/>
              <a:gd name="connsiteX31110" fmla="*/ 2917301 w 4610101"/>
              <a:gd name="connsiteY31110" fmla="*/ 700566 h 6557032"/>
              <a:gd name="connsiteX31111" fmla="*/ 2911834 w 4610101"/>
              <a:gd name="connsiteY31111" fmla="*/ 696922 h 6557032"/>
              <a:gd name="connsiteX31112" fmla="*/ 1486895 w 4610101"/>
              <a:gd name="connsiteY31112" fmla="*/ 696922 h 6557032"/>
              <a:gd name="connsiteX31113" fmla="*/ 1483068 w 4610101"/>
              <a:gd name="connsiteY31113" fmla="*/ 704043 h 6557032"/>
              <a:gd name="connsiteX31114" fmla="*/ 1483022 w 4610101"/>
              <a:gd name="connsiteY31114" fmla="*/ 703072 h 6557032"/>
              <a:gd name="connsiteX31115" fmla="*/ 1486895 w 4610101"/>
              <a:gd name="connsiteY31115" fmla="*/ 696922 h 6557032"/>
              <a:gd name="connsiteX31116" fmla="*/ 1335654 w 4610101"/>
              <a:gd name="connsiteY31116" fmla="*/ 696922 h 6557032"/>
              <a:gd name="connsiteX31117" fmla="*/ 1328365 w 4610101"/>
              <a:gd name="connsiteY31117" fmla="*/ 702388 h 6557032"/>
              <a:gd name="connsiteX31118" fmla="*/ 1335654 w 4610101"/>
              <a:gd name="connsiteY31118" fmla="*/ 696922 h 6557032"/>
              <a:gd name="connsiteX31119" fmla="*/ 1071439 w 4610101"/>
              <a:gd name="connsiteY31119" fmla="*/ 696922 h 6557032"/>
              <a:gd name="connsiteX31120" fmla="*/ 1067794 w 4610101"/>
              <a:gd name="connsiteY31120" fmla="*/ 702388 h 6557032"/>
              <a:gd name="connsiteX31121" fmla="*/ 1071439 w 4610101"/>
              <a:gd name="connsiteY31121" fmla="*/ 696922 h 6557032"/>
              <a:gd name="connsiteX31122" fmla="*/ 993085 w 4610101"/>
              <a:gd name="connsiteY31122" fmla="*/ 696922 h 6557032"/>
              <a:gd name="connsiteX31123" fmla="*/ 989441 w 4610101"/>
              <a:gd name="connsiteY31123" fmla="*/ 702388 h 6557032"/>
              <a:gd name="connsiteX31124" fmla="*/ 993085 w 4610101"/>
              <a:gd name="connsiteY31124" fmla="*/ 696922 h 6557032"/>
              <a:gd name="connsiteX31125" fmla="*/ 854600 w 4610101"/>
              <a:gd name="connsiteY31125" fmla="*/ 696922 h 6557032"/>
              <a:gd name="connsiteX31126" fmla="*/ 852778 w 4610101"/>
              <a:gd name="connsiteY31126" fmla="*/ 700566 h 6557032"/>
              <a:gd name="connsiteX31127" fmla="*/ 858244 w 4610101"/>
              <a:gd name="connsiteY31127" fmla="*/ 702388 h 6557032"/>
              <a:gd name="connsiteX31128" fmla="*/ 854600 w 4610101"/>
              <a:gd name="connsiteY31128" fmla="*/ 696922 h 6557032"/>
              <a:gd name="connsiteX31129" fmla="*/ 703359 w 4610101"/>
              <a:gd name="connsiteY31129" fmla="*/ 696922 h 6557032"/>
              <a:gd name="connsiteX31130" fmla="*/ 701537 w 4610101"/>
              <a:gd name="connsiteY31130" fmla="*/ 698744 h 6557032"/>
              <a:gd name="connsiteX31131" fmla="*/ 707004 w 4610101"/>
              <a:gd name="connsiteY31131" fmla="*/ 704211 h 6557032"/>
              <a:gd name="connsiteX31132" fmla="*/ 703359 w 4610101"/>
              <a:gd name="connsiteY31132" fmla="*/ 696922 h 6557032"/>
              <a:gd name="connsiteX31133" fmla="*/ 592207 w 4610101"/>
              <a:gd name="connsiteY31133" fmla="*/ 696922 h 6557032"/>
              <a:gd name="connsiteX31134" fmla="*/ 590385 w 4610101"/>
              <a:gd name="connsiteY31134" fmla="*/ 707855 h 6557032"/>
              <a:gd name="connsiteX31135" fmla="*/ 594030 w 4610101"/>
              <a:gd name="connsiteY31135" fmla="*/ 704211 h 6557032"/>
              <a:gd name="connsiteX31136" fmla="*/ 592207 w 4610101"/>
              <a:gd name="connsiteY31136" fmla="*/ 696922 h 6557032"/>
              <a:gd name="connsiteX31137" fmla="*/ 409989 w 4610101"/>
              <a:gd name="connsiteY31137" fmla="*/ 696922 h 6557032"/>
              <a:gd name="connsiteX31138" fmla="*/ 409989 w 4610101"/>
              <a:gd name="connsiteY31138" fmla="*/ 707855 h 6557032"/>
              <a:gd name="connsiteX31139" fmla="*/ 409989 w 4610101"/>
              <a:gd name="connsiteY31139" fmla="*/ 696922 h 6557032"/>
              <a:gd name="connsiteX31140" fmla="*/ 389946 w 4610101"/>
              <a:gd name="connsiteY31140" fmla="*/ 696922 h 6557032"/>
              <a:gd name="connsiteX31141" fmla="*/ 393460 w 4610101"/>
              <a:gd name="connsiteY31141" fmla="*/ 698094 h 6557032"/>
              <a:gd name="connsiteX31142" fmla="*/ 393590 w 4610101"/>
              <a:gd name="connsiteY31142" fmla="*/ 698744 h 6557032"/>
              <a:gd name="connsiteX31143" fmla="*/ 389946 w 4610101"/>
              <a:gd name="connsiteY31143" fmla="*/ 696922 h 6557032"/>
              <a:gd name="connsiteX31144" fmla="*/ 344391 w 4610101"/>
              <a:gd name="connsiteY31144" fmla="*/ 696922 h 6557032"/>
              <a:gd name="connsiteX31145" fmla="*/ 355324 w 4610101"/>
              <a:gd name="connsiteY31145" fmla="*/ 704211 h 6557032"/>
              <a:gd name="connsiteX31146" fmla="*/ 344391 w 4610101"/>
              <a:gd name="connsiteY31146" fmla="*/ 696922 h 6557032"/>
              <a:gd name="connsiteX31147" fmla="*/ 337102 w 4610101"/>
              <a:gd name="connsiteY31147" fmla="*/ 696922 h 6557032"/>
              <a:gd name="connsiteX31148" fmla="*/ 340747 w 4610101"/>
              <a:gd name="connsiteY31148" fmla="*/ 706033 h 6557032"/>
              <a:gd name="connsiteX31149" fmla="*/ 342569 w 4610101"/>
              <a:gd name="connsiteY31149" fmla="*/ 702388 h 6557032"/>
              <a:gd name="connsiteX31150" fmla="*/ 337102 w 4610101"/>
              <a:gd name="connsiteY31150" fmla="*/ 696922 h 6557032"/>
              <a:gd name="connsiteX31151" fmla="*/ 331636 w 4610101"/>
              <a:gd name="connsiteY31151" fmla="*/ 696922 h 6557032"/>
              <a:gd name="connsiteX31152" fmla="*/ 338926 w 4610101"/>
              <a:gd name="connsiteY31152" fmla="*/ 709677 h 6557032"/>
              <a:gd name="connsiteX31153" fmla="*/ 331636 w 4610101"/>
              <a:gd name="connsiteY31153" fmla="*/ 696922 h 6557032"/>
              <a:gd name="connsiteX31154" fmla="*/ 236883 w 4610101"/>
              <a:gd name="connsiteY31154" fmla="*/ 696922 h 6557032"/>
              <a:gd name="connsiteX31155" fmla="*/ 236883 w 4610101"/>
              <a:gd name="connsiteY31155" fmla="*/ 702388 h 6557032"/>
              <a:gd name="connsiteX31156" fmla="*/ 240527 w 4610101"/>
              <a:gd name="connsiteY31156" fmla="*/ 702388 h 6557032"/>
              <a:gd name="connsiteX31157" fmla="*/ 236883 w 4610101"/>
              <a:gd name="connsiteY31157" fmla="*/ 696922 h 6557032"/>
              <a:gd name="connsiteX31158" fmla="*/ 2861497 w 4610101"/>
              <a:gd name="connsiteY31158" fmla="*/ 696695 h 6557032"/>
              <a:gd name="connsiteX31159" fmla="*/ 2857169 w 4610101"/>
              <a:gd name="connsiteY31159" fmla="*/ 700566 h 6557032"/>
              <a:gd name="connsiteX31160" fmla="*/ 2868102 w 4610101"/>
              <a:gd name="connsiteY31160" fmla="*/ 709677 h 6557032"/>
              <a:gd name="connsiteX31161" fmla="*/ 2869924 w 4610101"/>
              <a:gd name="connsiteY31161" fmla="*/ 696922 h 6557032"/>
              <a:gd name="connsiteX31162" fmla="*/ 2861497 w 4610101"/>
              <a:gd name="connsiteY31162" fmla="*/ 696695 h 6557032"/>
              <a:gd name="connsiteX31163" fmla="*/ 3545951 w 4610101"/>
              <a:gd name="connsiteY31163" fmla="*/ 695100 h 6557032"/>
              <a:gd name="connsiteX31164" fmla="*/ 3544129 w 4610101"/>
              <a:gd name="connsiteY31164" fmla="*/ 702388 h 6557032"/>
              <a:gd name="connsiteX31165" fmla="*/ 3547773 w 4610101"/>
              <a:gd name="connsiteY31165" fmla="*/ 707855 h 6557032"/>
              <a:gd name="connsiteX31166" fmla="*/ 3551417 w 4610101"/>
              <a:gd name="connsiteY31166" fmla="*/ 707855 h 6557032"/>
              <a:gd name="connsiteX31167" fmla="*/ 3553240 w 4610101"/>
              <a:gd name="connsiteY31167" fmla="*/ 696922 h 6557032"/>
              <a:gd name="connsiteX31168" fmla="*/ 3545951 w 4610101"/>
              <a:gd name="connsiteY31168" fmla="*/ 695100 h 6557032"/>
              <a:gd name="connsiteX31169" fmla="*/ 2337850 w 4610101"/>
              <a:gd name="connsiteY31169" fmla="*/ 695100 h 6557032"/>
              <a:gd name="connsiteX31170" fmla="*/ 2337850 w 4610101"/>
              <a:gd name="connsiteY31170" fmla="*/ 706033 h 6557032"/>
              <a:gd name="connsiteX31171" fmla="*/ 2339672 w 4610101"/>
              <a:gd name="connsiteY31171" fmla="*/ 706033 h 6557032"/>
              <a:gd name="connsiteX31172" fmla="*/ 2343316 w 4610101"/>
              <a:gd name="connsiteY31172" fmla="*/ 706033 h 6557032"/>
              <a:gd name="connsiteX31173" fmla="*/ 2341494 w 4610101"/>
              <a:gd name="connsiteY31173" fmla="*/ 700566 h 6557032"/>
              <a:gd name="connsiteX31174" fmla="*/ 2339672 w 4610101"/>
              <a:gd name="connsiteY31174" fmla="*/ 706033 h 6557032"/>
              <a:gd name="connsiteX31175" fmla="*/ 2337850 w 4610101"/>
              <a:gd name="connsiteY31175" fmla="*/ 695100 h 6557032"/>
              <a:gd name="connsiteX31176" fmla="*/ 1311966 w 4610101"/>
              <a:gd name="connsiteY31176" fmla="*/ 695100 h 6557032"/>
              <a:gd name="connsiteX31177" fmla="*/ 1297388 w 4610101"/>
              <a:gd name="connsiteY31177" fmla="*/ 698744 h 6557032"/>
              <a:gd name="connsiteX31178" fmla="*/ 1295566 w 4610101"/>
              <a:gd name="connsiteY31178" fmla="*/ 704211 h 6557032"/>
              <a:gd name="connsiteX31179" fmla="*/ 1311966 w 4610101"/>
              <a:gd name="connsiteY31179" fmla="*/ 695100 h 6557032"/>
              <a:gd name="connsiteX31180" fmla="*/ 1186236 w 4610101"/>
              <a:gd name="connsiteY31180" fmla="*/ 695100 h 6557032"/>
              <a:gd name="connsiteX31181" fmla="*/ 1169836 w 4610101"/>
              <a:gd name="connsiteY31181" fmla="*/ 702388 h 6557032"/>
              <a:gd name="connsiteX31182" fmla="*/ 1180769 w 4610101"/>
              <a:gd name="connsiteY31182" fmla="*/ 704211 h 6557032"/>
              <a:gd name="connsiteX31183" fmla="*/ 1186236 w 4610101"/>
              <a:gd name="connsiteY31183" fmla="*/ 695100 h 6557032"/>
              <a:gd name="connsiteX31184" fmla="*/ 914732 w 4610101"/>
              <a:gd name="connsiteY31184" fmla="*/ 695100 h 6557032"/>
              <a:gd name="connsiteX31185" fmla="*/ 911087 w 4610101"/>
              <a:gd name="connsiteY31185" fmla="*/ 704211 h 6557032"/>
              <a:gd name="connsiteX31186" fmla="*/ 918376 w 4610101"/>
              <a:gd name="connsiteY31186" fmla="*/ 706033 h 6557032"/>
              <a:gd name="connsiteX31187" fmla="*/ 914732 w 4610101"/>
              <a:gd name="connsiteY31187" fmla="*/ 695100 h 6557032"/>
              <a:gd name="connsiteX31188" fmla="*/ 798112 w 4610101"/>
              <a:gd name="connsiteY31188" fmla="*/ 695100 h 6557032"/>
              <a:gd name="connsiteX31189" fmla="*/ 798112 w 4610101"/>
              <a:gd name="connsiteY31189" fmla="*/ 700566 h 6557032"/>
              <a:gd name="connsiteX31190" fmla="*/ 798112 w 4610101"/>
              <a:gd name="connsiteY31190" fmla="*/ 695100 h 6557032"/>
              <a:gd name="connsiteX31191" fmla="*/ 765313 w 4610101"/>
              <a:gd name="connsiteY31191" fmla="*/ 695100 h 6557032"/>
              <a:gd name="connsiteX31192" fmla="*/ 761670 w 4610101"/>
              <a:gd name="connsiteY31192" fmla="*/ 698744 h 6557032"/>
              <a:gd name="connsiteX31193" fmla="*/ 767136 w 4610101"/>
              <a:gd name="connsiteY31193" fmla="*/ 702388 h 6557032"/>
              <a:gd name="connsiteX31194" fmla="*/ 765313 w 4610101"/>
              <a:gd name="connsiteY31194" fmla="*/ 695100 h 6557032"/>
              <a:gd name="connsiteX31195" fmla="*/ 422745 w 4610101"/>
              <a:gd name="connsiteY31195" fmla="*/ 695100 h 6557032"/>
              <a:gd name="connsiteX31196" fmla="*/ 426389 w 4610101"/>
              <a:gd name="connsiteY31196" fmla="*/ 704211 h 6557032"/>
              <a:gd name="connsiteX31197" fmla="*/ 422745 w 4610101"/>
              <a:gd name="connsiteY31197" fmla="*/ 695100 h 6557032"/>
              <a:gd name="connsiteX31198" fmla="*/ 391768 w 4610101"/>
              <a:gd name="connsiteY31198" fmla="*/ 695100 h 6557032"/>
              <a:gd name="connsiteX31199" fmla="*/ 397598 w 4610101"/>
              <a:gd name="connsiteY31199" fmla="*/ 699473 h 6557032"/>
              <a:gd name="connsiteX31200" fmla="*/ 393460 w 4610101"/>
              <a:gd name="connsiteY31200" fmla="*/ 698094 h 6557032"/>
              <a:gd name="connsiteX31201" fmla="*/ 393362 w 4610101"/>
              <a:gd name="connsiteY31201" fmla="*/ 697606 h 6557032"/>
              <a:gd name="connsiteX31202" fmla="*/ 391768 w 4610101"/>
              <a:gd name="connsiteY31202" fmla="*/ 695100 h 6557032"/>
              <a:gd name="connsiteX31203" fmla="*/ 353502 w 4610101"/>
              <a:gd name="connsiteY31203" fmla="*/ 695100 h 6557032"/>
              <a:gd name="connsiteX31204" fmla="*/ 368079 w 4610101"/>
              <a:gd name="connsiteY31204" fmla="*/ 709677 h 6557032"/>
              <a:gd name="connsiteX31205" fmla="*/ 362613 w 4610101"/>
              <a:gd name="connsiteY31205" fmla="*/ 700566 h 6557032"/>
              <a:gd name="connsiteX31206" fmla="*/ 366410 w 4610101"/>
              <a:gd name="connsiteY31206" fmla="*/ 701766 h 6557032"/>
              <a:gd name="connsiteX31207" fmla="*/ 369902 w 4610101"/>
              <a:gd name="connsiteY31207" fmla="*/ 706033 h 6557032"/>
              <a:gd name="connsiteX31208" fmla="*/ 366940 w 4610101"/>
              <a:gd name="connsiteY31208" fmla="*/ 701933 h 6557032"/>
              <a:gd name="connsiteX31209" fmla="*/ 366410 w 4610101"/>
              <a:gd name="connsiteY31209" fmla="*/ 701766 h 6557032"/>
              <a:gd name="connsiteX31210" fmla="*/ 363752 w 4610101"/>
              <a:gd name="connsiteY31210" fmla="*/ 698517 h 6557032"/>
              <a:gd name="connsiteX31211" fmla="*/ 353502 w 4610101"/>
              <a:gd name="connsiteY31211" fmla="*/ 695100 h 6557032"/>
              <a:gd name="connsiteX31212" fmla="*/ 209550 w 4610101"/>
              <a:gd name="connsiteY31212" fmla="*/ 695100 h 6557032"/>
              <a:gd name="connsiteX31213" fmla="*/ 215017 w 4610101"/>
              <a:gd name="connsiteY31213" fmla="*/ 700566 h 6557032"/>
              <a:gd name="connsiteX31214" fmla="*/ 211372 w 4610101"/>
              <a:gd name="connsiteY31214" fmla="*/ 702388 h 6557032"/>
              <a:gd name="connsiteX31215" fmla="*/ 216611 w 4610101"/>
              <a:gd name="connsiteY31215" fmla="*/ 707627 h 6557032"/>
              <a:gd name="connsiteX31216" fmla="*/ 216611 w 4610101"/>
              <a:gd name="connsiteY31216" fmla="*/ 707628 h 6557032"/>
              <a:gd name="connsiteX31217" fmla="*/ 220483 w 4610101"/>
              <a:gd name="connsiteY31217" fmla="*/ 711499 h 6557032"/>
              <a:gd name="connsiteX31218" fmla="*/ 216611 w 4610101"/>
              <a:gd name="connsiteY31218" fmla="*/ 707627 h 6557032"/>
              <a:gd name="connsiteX31219" fmla="*/ 216839 w 4610101"/>
              <a:gd name="connsiteY31219" fmla="*/ 702388 h 6557032"/>
              <a:gd name="connsiteX31220" fmla="*/ 219603 w 4610101"/>
              <a:gd name="connsiteY31220" fmla="*/ 703310 h 6557032"/>
              <a:gd name="connsiteX31221" fmla="*/ 222306 w 4610101"/>
              <a:gd name="connsiteY31221" fmla="*/ 707855 h 6557032"/>
              <a:gd name="connsiteX31222" fmla="*/ 220939 w 4610101"/>
              <a:gd name="connsiteY31222" fmla="*/ 703755 h 6557032"/>
              <a:gd name="connsiteX31223" fmla="*/ 219603 w 4610101"/>
              <a:gd name="connsiteY31223" fmla="*/ 703310 h 6557032"/>
              <a:gd name="connsiteX31224" fmla="*/ 217295 w 4610101"/>
              <a:gd name="connsiteY31224" fmla="*/ 699428 h 6557032"/>
              <a:gd name="connsiteX31225" fmla="*/ 209550 w 4610101"/>
              <a:gd name="connsiteY31225" fmla="*/ 695100 h 6557032"/>
              <a:gd name="connsiteX31226" fmla="*/ 887855 w 4610101"/>
              <a:gd name="connsiteY31226" fmla="*/ 693961 h 6557032"/>
              <a:gd name="connsiteX31227" fmla="*/ 880111 w 4610101"/>
              <a:gd name="connsiteY31227" fmla="*/ 695100 h 6557032"/>
              <a:gd name="connsiteX31228" fmla="*/ 880111 w 4610101"/>
              <a:gd name="connsiteY31228" fmla="*/ 696922 h 6557032"/>
              <a:gd name="connsiteX31229" fmla="*/ 876466 w 4610101"/>
              <a:gd name="connsiteY31229" fmla="*/ 695100 h 6557032"/>
              <a:gd name="connsiteX31230" fmla="*/ 880111 w 4610101"/>
              <a:gd name="connsiteY31230" fmla="*/ 716966 h 6557032"/>
              <a:gd name="connsiteX31231" fmla="*/ 881933 w 4610101"/>
              <a:gd name="connsiteY31231" fmla="*/ 711499 h 6557032"/>
              <a:gd name="connsiteX31232" fmla="*/ 885577 w 4610101"/>
              <a:gd name="connsiteY31232" fmla="*/ 713321 h 6557032"/>
              <a:gd name="connsiteX31233" fmla="*/ 894688 w 4610101"/>
              <a:gd name="connsiteY31233" fmla="*/ 700566 h 6557032"/>
              <a:gd name="connsiteX31234" fmla="*/ 889222 w 4610101"/>
              <a:gd name="connsiteY31234" fmla="*/ 696922 h 6557032"/>
              <a:gd name="connsiteX31235" fmla="*/ 892866 w 4610101"/>
              <a:gd name="connsiteY31235" fmla="*/ 696922 h 6557032"/>
              <a:gd name="connsiteX31236" fmla="*/ 887855 w 4610101"/>
              <a:gd name="connsiteY31236" fmla="*/ 693961 h 6557032"/>
              <a:gd name="connsiteX31237" fmla="*/ 3585432 w 4610101"/>
              <a:gd name="connsiteY31237" fmla="*/ 693886 h 6557032"/>
              <a:gd name="connsiteX31238" fmla="*/ 3587861 w 4610101"/>
              <a:gd name="connsiteY31238" fmla="*/ 698744 h 6557032"/>
              <a:gd name="connsiteX31239" fmla="*/ 3585128 w 4610101"/>
              <a:gd name="connsiteY31239" fmla="*/ 697833 h 6557032"/>
              <a:gd name="connsiteX31240" fmla="*/ 3582394 w 4610101"/>
              <a:gd name="connsiteY31240" fmla="*/ 696922 h 6557032"/>
              <a:gd name="connsiteX31241" fmla="*/ 3525907 w 4610101"/>
              <a:gd name="connsiteY31241" fmla="*/ 693278 h 6557032"/>
              <a:gd name="connsiteX31242" fmla="*/ 3527729 w 4610101"/>
              <a:gd name="connsiteY31242" fmla="*/ 702388 h 6557032"/>
              <a:gd name="connsiteX31243" fmla="*/ 3529551 w 4610101"/>
              <a:gd name="connsiteY31243" fmla="*/ 695100 h 6557032"/>
              <a:gd name="connsiteX31244" fmla="*/ 3525907 w 4610101"/>
              <a:gd name="connsiteY31244" fmla="*/ 693278 h 6557032"/>
              <a:gd name="connsiteX31245" fmla="*/ 1188058 w 4610101"/>
              <a:gd name="connsiteY31245" fmla="*/ 693278 h 6557032"/>
              <a:gd name="connsiteX31246" fmla="*/ 1182592 w 4610101"/>
              <a:gd name="connsiteY31246" fmla="*/ 704211 h 6557032"/>
              <a:gd name="connsiteX31247" fmla="*/ 1188058 w 4610101"/>
              <a:gd name="connsiteY31247" fmla="*/ 693278 h 6557032"/>
              <a:gd name="connsiteX31248" fmla="*/ 1080549 w 4610101"/>
              <a:gd name="connsiteY31248" fmla="*/ 693278 h 6557032"/>
              <a:gd name="connsiteX31249" fmla="*/ 1073262 w 4610101"/>
              <a:gd name="connsiteY31249" fmla="*/ 698744 h 6557032"/>
              <a:gd name="connsiteX31250" fmla="*/ 1066635 w 4610101"/>
              <a:gd name="connsiteY31250" fmla="*/ 703714 h 6557032"/>
              <a:gd name="connsiteX31251" fmla="*/ 1065972 w 4610101"/>
              <a:gd name="connsiteY31251" fmla="*/ 702388 h 6557032"/>
              <a:gd name="connsiteX31252" fmla="*/ 1064151 w 4610101"/>
              <a:gd name="connsiteY31252" fmla="*/ 702388 h 6557032"/>
              <a:gd name="connsiteX31253" fmla="*/ 1065972 w 4610101"/>
              <a:gd name="connsiteY31253" fmla="*/ 704211 h 6557032"/>
              <a:gd name="connsiteX31254" fmla="*/ 1066635 w 4610101"/>
              <a:gd name="connsiteY31254" fmla="*/ 703714 h 6557032"/>
              <a:gd name="connsiteX31255" fmla="*/ 1067065 w 4610101"/>
              <a:gd name="connsiteY31255" fmla="*/ 704576 h 6557032"/>
              <a:gd name="connsiteX31256" fmla="*/ 1065973 w 4610101"/>
              <a:gd name="connsiteY31256" fmla="*/ 704212 h 6557032"/>
              <a:gd name="connsiteX31257" fmla="*/ 1067794 w 4610101"/>
              <a:gd name="connsiteY31257" fmla="*/ 706033 h 6557032"/>
              <a:gd name="connsiteX31258" fmla="*/ 1067794 w 4610101"/>
              <a:gd name="connsiteY31258" fmla="*/ 713321 h 6557032"/>
              <a:gd name="connsiteX31259" fmla="*/ 1071439 w 4610101"/>
              <a:gd name="connsiteY31259" fmla="*/ 707855 h 6557032"/>
              <a:gd name="connsiteX31260" fmla="*/ 1067794 w 4610101"/>
              <a:gd name="connsiteY31260" fmla="*/ 706033 h 6557032"/>
              <a:gd name="connsiteX31261" fmla="*/ 1067065 w 4610101"/>
              <a:gd name="connsiteY31261" fmla="*/ 704576 h 6557032"/>
              <a:gd name="connsiteX31262" fmla="*/ 1069798 w 4610101"/>
              <a:gd name="connsiteY31262" fmla="*/ 705487 h 6557032"/>
              <a:gd name="connsiteX31263" fmla="*/ 1069616 w 4610101"/>
              <a:gd name="connsiteY31263" fmla="*/ 706033 h 6557032"/>
              <a:gd name="connsiteX31264" fmla="*/ 1071439 w 4610101"/>
              <a:gd name="connsiteY31264" fmla="*/ 706033 h 6557032"/>
              <a:gd name="connsiteX31265" fmla="*/ 1069798 w 4610101"/>
              <a:gd name="connsiteY31265" fmla="*/ 705487 h 6557032"/>
              <a:gd name="connsiteX31266" fmla="*/ 1071439 w 4610101"/>
              <a:gd name="connsiteY31266" fmla="*/ 700566 h 6557032"/>
              <a:gd name="connsiteX31267" fmla="*/ 1073262 w 4610101"/>
              <a:gd name="connsiteY31267" fmla="*/ 704211 h 6557032"/>
              <a:gd name="connsiteX31268" fmla="*/ 1080549 w 4610101"/>
              <a:gd name="connsiteY31268" fmla="*/ 693278 h 6557032"/>
              <a:gd name="connsiteX31269" fmla="*/ 1029529 w 4610101"/>
              <a:gd name="connsiteY31269" fmla="*/ 693278 h 6557032"/>
              <a:gd name="connsiteX31270" fmla="*/ 1024062 w 4610101"/>
              <a:gd name="connsiteY31270" fmla="*/ 698744 h 6557032"/>
              <a:gd name="connsiteX31271" fmla="*/ 1029529 w 4610101"/>
              <a:gd name="connsiteY31271" fmla="*/ 693278 h 6557032"/>
              <a:gd name="connsiteX31272" fmla="*/ 942064 w 4610101"/>
              <a:gd name="connsiteY31272" fmla="*/ 693278 h 6557032"/>
              <a:gd name="connsiteX31273" fmla="*/ 934777 w 4610101"/>
              <a:gd name="connsiteY31273" fmla="*/ 704211 h 6557032"/>
              <a:gd name="connsiteX31274" fmla="*/ 942064 w 4610101"/>
              <a:gd name="connsiteY31274" fmla="*/ 693278 h 6557032"/>
              <a:gd name="connsiteX31275" fmla="*/ 832734 w 4610101"/>
              <a:gd name="connsiteY31275" fmla="*/ 693278 h 6557032"/>
              <a:gd name="connsiteX31276" fmla="*/ 827267 w 4610101"/>
              <a:gd name="connsiteY31276" fmla="*/ 696922 h 6557032"/>
              <a:gd name="connsiteX31277" fmla="*/ 830912 w 4610101"/>
              <a:gd name="connsiteY31277" fmla="*/ 700566 h 6557032"/>
              <a:gd name="connsiteX31278" fmla="*/ 832734 w 4610101"/>
              <a:gd name="connsiteY31278" fmla="*/ 693278 h 6557032"/>
              <a:gd name="connsiteX31279" fmla="*/ 3044853 w 4610101"/>
              <a:gd name="connsiteY31279" fmla="*/ 693278 h 6557032"/>
              <a:gd name="connsiteX31280" fmla="*/ 3041209 w 4610101"/>
              <a:gd name="connsiteY31280" fmla="*/ 693278 h 6557032"/>
              <a:gd name="connsiteX31281" fmla="*/ 3053964 w 4610101"/>
              <a:gd name="connsiteY31281" fmla="*/ 698744 h 6557032"/>
              <a:gd name="connsiteX31282" fmla="*/ 3048497 w 4610101"/>
              <a:gd name="connsiteY31282" fmla="*/ 693278 h 6557032"/>
              <a:gd name="connsiteX31283" fmla="*/ 3044853 w 4610101"/>
              <a:gd name="connsiteY31283" fmla="*/ 693278 h 6557032"/>
              <a:gd name="connsiteX31284" fmla="*/ 773285 w 4610101"/>
              <a:gd name="connsiteY31284" fmla="*/ 692139 h 6557032"/>
              <a:gd name="connsiteX31285" fmla="*/ 768959 w 4610101"/>
              <a:gd name="connsiteY31285" fmla="*/ 693278 h 6557032"/>
              <a:gd name="connsiteX31286" fmla="*/ 772602 w 4610101"/>
              <a:gd name="connsiteY31286" fmla="*/ 698744 h 6557032"/>
              <a:gd name="connsiteX31287" fmla="*/ 776246 w 4610101"/>
              <a:gd name="connsiteY31287" fmla="*/ 695100 h 6557032"/>
              <a:gd name="connsiteX31288" fmla="*/ 781713 w 4610101"/>
              <a:gd name="connsiteY31288" fmla="*/ 709677 h 6557032"/>
              <a:gd name="connsiteX31289" fmla="*/ 783535 w 4610101"/>
              <a:gd name="connsiteY31289" fmla="*/ 707855 h 6557032"/>
              <a:gd name="connsiteX31290" fmla="*/ 787179 w 4610101"/>
              <a:gd name="connsiteY31290" fmla="*/ 716966 h 6557032"/>
              <a:gd name="connsiteX31291" fmla="*/ 781713 w 4610101"/>
              <a:gd name="connsiteY31291" fmla="*/ 706033 h 6557032"/>
              <a:gd name="connsiteX31292" fmla="*/ 787179 w 4610101"/>
              <a:gd name="connsiteY31292" fmla="*/ 702388 h 6557032"/>
              <a:gd name="connsiteX31293" fmla="*/ 776246 w 4610101"/>
              <a:gd name="connsiteY31293" fmla="*/ 695100 h 6557032"/>
              <a:gd name="connsiteX31294" fmla="*/ 773285 w 4610101"/>
              <a:gd name="connsiteY31294" fmla="*/ 692139 h 6557032"/>
              <a:gd name="connsiteX31295" fmla="*/ 3584278 w 4610101"/>
              <a:gd name="connsiteY31295" fmla="*/ 691578 h 6557032"/>
              <a:gd name="connsiteX31296" fmla="*/ 3586039 w 4610101"/>
              <a:gd name="connsiteY31296" fmla="*/ 693278 h 6557032"/>
              <a:gd name="connsiteX31297" fmla="*/ 3585432 w 4610101"/>
              <a:gd name="connsiteY31297" fmla="*/ 693886 h 6557032"/>
              <a:gd name="connsiteX31298" fmla="*/ 2817081 w 4610101"/>
              <a:gd name="connsiteY31298" fmla="*/ 691455 h 6557032"/>
              <a:gd name="connsiteX31299" fmla="*/ 2818903 w 4610101"/>
              <a:gd name="connsiteY31299" fmla="*/ 696922 h 6557032"/>
              <a:gd name="connsiteX31300" fmla="*/ 2822548 w 4610101"/>
              <a:gd name="connsiteY31300" fmla="*/ 693278 h 6557032"/>
              <a:gd name="connsiteX31301" fmla="*/ 2817081 w 4610101"/>
              <a:gd name="connsiteY31301" fmla="*/ 691455 h 6557032"/>
              <a:gd name="connsiteX31302" fmla="*/ 2627575 w 4610101"/>
              <a:gd name="connsiteY31302" fmla="*/ 691455 h 6557032"/>
              <a:gd name="connsiteX31303" fmla="*/ 2638508 w 4610101"/>
              <a:gd name="connsiteY31303" fmla="*/ 704211 h 6557032"/>
              <a:gd name="connsiteX31304" fmla="*/ 2636686 w 4610101"/>
              <a:gd name="connsiteY31304" fmla="*/ 691455 h 6557032"/>
              <a:gd name="connsiteX31305" fmla="*/ 2631219 w 4610101"/>
              <a:gd name="connsiteY31305" fmla="*/ 696922 h 6557032"/>
              <a:gd name="connsiteX31306" fmla="*/ 2627575 w 4610101"/>
              <a:gd name="connsiteY31306" fmla="*/ 691455 h 6557032"/>
              <a:gd name="connsiteX31307" fmla="*/ 1073262 w 4610101"/>
              <a:gd name="connsiteY31307" fmla="*/ 691455 h 6557032"/>
              <a:gd name="connsiteX31308" fmla="*/ 1065972 w 4610101"/>
              <a:gd name="connsiteY31308" fmla="*/ 695100 h 6557032"/>
              <a:gd name="connsiteX31309" fmla="*/ 1073262 w 4610101"/>
              <a:gd name="connsiteY31309" fmla="*/ 691455 h 6557032"/>
              <a:gd name="connsiteX31310" fmla="*/ 730692 w 4610101"/>
              <a:gd name="connsiteY31310" fmla="*/ 691455 h 6557032"/>
              <a:gd name="connsiteX31311" fmla="*/ 734944 w 4610101"/>
              <a:gd name="connsiteY31311" fmla="*/ 693886 h 6557032"/>
              <a:gd name="connsiteX31312" fmla="*/ 736159 w 4610101"/>
              <a:gd name="connsiteY31312" fmla="*/ 695100 h 6557032"/>
              <a:gd name="connsiteX31313" fmla="*/ 730692 w 4610101"/>
              <a:gd name="connsiteY31313" fmla="*/ 691455 h 6557032"/>
              <a:gd name="connsiteX31314" fmla="*/ 2809793 w 4610101"/>
              <a:gd name="connsiteY31314" fmla="*/ 689633 h 6557032"/>
              <a:gd name="connsiteX31315" fmla="*/ 2813437 w 4610101"/>
              <a:gd name="connsiteY31315" fmla="*/ 695100 h 6557032"/>
              <a:gd name="connsiteX31316" fmla="*/ 2815259 w 4610101"/>
              <a:gd name="connsiteY31316" fmla="*/ 689633 h 6557032"/>
              <a:gd name="connsiteX31317" fmla="*/ 2809793 w 4610101"/>
              <a:gd name="connsiteY31317" fmla="*/ 689633 h 6557032"/>
              <a:gd name="connsiteX31318" fmla="*/ 1211747 w 4610101"/>
              <a:gd name="connsiteY31318" fmla="*/ 689633 h 6557032"/>
              <a:gd name="connsiteX31319" fmla="*/ 1200814 w 4610101"/>
              <a:gd name="connsiteY31319" fmla="*/ 698744 h 6557032"/>
              <a:gd name="connsiteX31320" fmla="*/ 1209925 w 4610101"/>
              <a:gd name="connsiteY31320" fmla="*/ 691455 h 6557032"/>
              <a:gd name="connsiteX31321" fmla="*/ 1200814 w 4610101"/>
              <a:gd name="connsiteY31321" fmla="*/ 700566 h 6557032"/>
              <a:gd name="connsiteX31322" fmla="*/ 1211747 w 4610101"/>
              <a:gd name="connsiteY31322" fmla="*/ 689633 h 6557032"/>
              <a:gd name="connsiteX31323" fmla="*/ 1104238 w 4610101"/>
              <a:gd name="connsiteY31323" fmla="*/ 689633 h 6557032"/>
              <a:gd name="connsiteX31324" fmla="*/ 1091484 w 4610101"/>
              <a:gd name="connsiteY31324" fmla="*/ 702388 h 6557032"/>
              <a:gd name="connsiteX31325" fmla="*/ 1104238 w 4610101"/>
              <a:gd name="connsiteY31325" fmla="*/ 689633 h 6557032"/>
              <a:gd name="connsiteX31326" fmla="*/ 1022240 w 4610101"/>
              <a:gd name="connsiteY31326" fmla="*/ 689633 h 6557032"/>
              <a:gd name="connsiteX31327" fmla="*/ 1018596 w 4610101"/>
              <a:gd name="connsiteY31327" fmla="*/ 695100 h 6557032"/>
              <a:gd name="connsiteX31328" fmla="*/ 1022240 w 4610101"/>
              <a:gd name="connsiteY31328" fmla="*/ 689633 h 6557032"/>
              <a:gd name="connsiteX31329" fmla="*/ 932953 w 4610101"/>
              <a:gd name="connsiteY31329" fmla="*/ 689633 h 6557032"/>
              <a:gd name="connsiteX31330" fmla="*/ 932953 w 4610101"/>
              <a:gd name="connsiteY31330" fmla="*/ 700566 h 6557032"/>
              <a:gd name="connsiteX31331" fmla="*/ 938420 w 4610101"/>
              <a:gd name="connsiteY31331" fmla="*/ 691455 h 6557032"/>
              <a:gd name="connsiteX31332" fmla="*/ 932953 w 4610101"/>
              <a:gd name="connsiteY31332" fmla="*/ 689633 h 6557032"/>
              <a:gd name="connsiteX31333" fmla="*/ 911087 w 4610101"/>
              <a:gd name="connsiteY31333" fmla="*/ 689633 h 6557032"/>
              <a:gd name="connsiteX31334" fmla="*/ 911087 w 4610101"/>
              <a:gd name="connsiteY31334" fmla="*/ 689634 h 6557032"/>
              <a:gd name="connsiteX31335" fmla="*/ 911086 w 4610101"/>
              <a:gd name="connsiteY31335" fmla="*/ 689634 h 6557032"/>
              <a:gd name="connsiteX31336" fmla="*/ 900154 w 4610101"/>
              <a:gd name="connsiteY31336" fmla="*/ 689633 h 6557032"/>
              <a:gd name="connsiteX31337" fmla="*/ 896510 w 4610101"/>
              <a:gd name="connsiteY31337" fmla="*/ 693278 h 6557032"/>
              <a:gd name="connsiteX31338" fmla="*/ 894688 w 4610101"/>
              <a:gd name="connsiteY31338" fmla="*/ 691455 h 6557032"/>
              <a:gd name="connsiteX31339" fmla="*/ 892866 w 4610101"/>
              <a:gd name="connsiteY31339" fmla="*/ 691455 h 6557032"/>
              <a:gd name="connsiteX31340" fmla="*/ 898333 w 4610101"/>
              <a:gd name="connsiteY31340" fmla="*/ 695100 h 6557032"/>
              <a:gd name="connsiteX31341" fmla="*/ 896510 w 4610101"/>
              <a:gd name="connsiteY31341" fmla="*/ 700566 h 6557032"/>
              <a:gd name="connsiteX31342" fmla="*/ 903799 w 4610101"/>
              <a:gd name="connsiteY31342" fmla="*/ 700566 h 6557032"/>
              <a:gd name="connsiteX31343" fmla="*/ 900154 w 4610101"/>
              <a:gd name="connsiteY31343" fmla="*/ 693278 h 6557032"/>
              <a:gd name="connsiteX31344" fmla="*/ 898333 w 4610101"/>
              <a:gd name="connsiteY31344" fmla="*/ 695100 h 6557032"/>
              <a:gd name="connsiteX31345" fmla="*/ 900154 w 4610101"/>
              <a:gd name="connsiteY31345" fmla="*/ 689633 h 6557032"/>
              <a:gd name="connsiteX31346" fmla="*/ 856422 w 4610101"/>
              <a:gd name="connsiteY31346" fmla="*/ 689633 h 6557032"/>
              <a:gd name="connsiteX31347" fmla="*/ 860066 w 4610101"/>
              <a:gd name="connsiteY31347" fmla="*/ 698744 h 6557032"/>
              <a:gd name="connsiteX31348" fmla="*/ 856422 w 4610101"/>
              <a:gd name="connsiteY31348" fmla="*/ 689633 h 6557032"/>
              <a:gd name="connsiteX31349" fmla="*/ 827267 w 4610101"/>
              <a:gd name="connsiteY31349" fmla="*/ 689633 h 6557032"/>
              <a:gd name="connsiteX31350" fmla="*/ 821801 w 4610101"/>
              <a:gd name="connsiteY31350" fmla="*/ 696922 h 6557032"/>
              <a:gd name="connsiteX31351" fmla="*/ 827267 w 4610101"/>
              <a:gd name="connsiteY31351" fmla="*/ 689633 h 6557032"/>
              <a:gd name="connsiteX31352" fmla="*/ 437322 w 4610101"/>
              <a:gd name="connsiteY31352" fmla="*/ 689633 h 6557032"/>
              <a:gd name="connsiteX31353" fmla="*/ 440283 w 4610101"/>
              <a:gd name="connsiteY31353" fmla="*/ 692367 h 6557032"/>
              <a:gd name="connsiteX31354" fmla="*/ 440216 w 4610101"/>
              <a:gd name="connsiteY31354" fmla="*/ 692528 h 6557032"/>
              <a:gd name="connsiteX31355" fmla="*/ 282438 w 4610101"/>
              <a:gd name="connsiteY31355" fmla="*/ 689633 h 6557032"/>
              <a:gd name="connsiteX31356" fmla="*/ 287904 w 4610101"/>
              <a:gd name="connsiteY31356" fmla="*/ 707855 h 6557032"/>
              <a:gd name="connsiteX31357" fmla="*/ 280615 w 4610101"/>
              <a:gd name="connsiteY31357" fmla="*/ 700566 h 6557032"/>
              <a:gd name="connsiteX31358" fmla="*/ 289726 w 4610101"/>
              <a:gd name="connsiteY31358" fmla="*/ 706033 h 6557032"/>
              <a:gd name="connsiteX31359" fmla="*/ 282438 w 4610101"/>
              <a:gd name="connsiteY31359" fmla="*/ 689633 h 6557032"/>
              <a:gd name="connsiteX31360" fmla="*/ 242349 w 4610101"/>
              <a:gd name="connsiteY31360" fmla="*/ 689633 h 6557032"/>
              <a:gd name="connsiteX31361" fmla="*/ 255105 w 4610101"/>
              <a:gd name="connsiteY31361" fmla="*/ 709677 h 6557032"/>
              <a:gd name="connsiteX31362" fmla="*/ 253282 w 4610101"/>
              <a:gd name="connsiteY31362" fmla="*/ 702388 h 6557032"/>
              <a:gd name="connsiteX31363" fmla="*/ 260571 w 4610101"/>
              <a:gd name="connsiteY31363" fmla="*/ 716966 h 6557032"/>
              <a:gd name="connsiteX31364" fmla="*/ 242349 w 4610101"/>
              <a:gd name="connsiteY31364" fmla="*/ 689633 h 6557032"/>
              <a:gd name="connsiteX31365" fmla="*/ 158529 w 4610101"/>
              <a:gd name="connsiteY31365" fmla="*/ 689633 h 6557032"/>
              <a:gd name="connsiteX31366" fmla="*/ 213195 w 4610101"/>
              <a:gd name="connsiteY31366" fmla="*/ 771631 h 6557032"/>
              <a:gd name="connsiteX31367" fmla="*/ 195035 w 4610101"/>
              <a:gd name="connsiteY31367" fmla="*/ 744960 h 6557032"/>
              <a:gd name="connsiteX31368" fmla="*/ 205082 w 4610101"/>
              <a:gd name="connsiteY31368" fmla="*/ 755621 h 6557032"/>
              <a:gd name="connsiteX31369" fmla="*/ 206361 w 4610101"/>
              <a:gd name="connsiteY31369" fmla="*/ 757737 h 6557032"/>
              <a:gd name="connsiteX31370" fmla="*/ 215017 w 4610101"/>
              <a:gd name="connsiteY31370" fmla="*/ 766164 h 6557032"/>
              <a:gd name="connsiteX31371" fmla="*/ 205082 w 4610101"/>
              <a:gd name="connsiteY31371" fmla="*/ 755621 h 6557032"/>
              <a:gd name="connsiteX31372" fmla="*/ 200439 w 4610101"/>
              <a:gd name="connsiteY31372" fmla="*/ 747943 h 6557032"/>
              <a:gd name="connsiteX31373" fmla="*/ 202262 w 4610101"/>
              <a:gd name="connsiteY31373" fmla="*/ 744298 h 6557032"/>
              <a:gd name="connsiteX31374" fmla="*/ 211372 w 4610101"/>
              <a:gd name="connsiteY31374" fmla="*/ 753409 h 6557032"/>
              <a:gd name="connsiteX31375" fmla="*/ 211372 w 4610101"/>
              <a:gd name="connsiteY31375" fmla="*/ 747943 h 6557032"/>
              <a:gd name="connsiteX31376" fmla="*/ 215017 w 4610101"/>
              <a:gd name="connsiteY31376" fmla="*/ 749765 h 6557032"/>
              <a:gd name="connsiteX31377" fmla="*/ 178573 w 4610101"/>
              <a:gd name="connsiteY31377" fmla="*/ 713321 h 6557032"/>
              <a:gd name="connsiteX31378" fmla="*/ 185217 w 4610101"/>
              <a:gd name="connsiteY31378" fmla="*/ 727038 h 6557032"/>
              <a:gd name="connsiteX31379" fmla="*/ 174929 w 4610101"/>
              <a:gd name="connsiteY31379" fmla="*/ 706033 h 6557032"/>
              <a:gd name="connsiteX31380" fmla="*/ 158529 w 4610101"/>
              <a:gd name="connsiteY31380" fmla="*/ 689633 h 6557032"/>
              <a:gd name="connsiteX31381" fmla="*/ 1308321 w 4610101"/>
              <a:gd name="connsiteY31381" fmla="*/ 689178 h 6557032"/>
              <a:gd name="connsiteX31382" fmla="*/ 1304677 w 4610101"/>
              <a:gd name="connsiteY31382" fmla="*/ 691455 h 6557032"/>
              <a:gd name="connsiteX31383" fmla="*/ 1311966 w 4610101"/>
              <a:gd name="connsiteY31383" fmla="*/ 689633 h 6557032"/>
              <a:gd name="connsiteX31384" fmla="*/ 1308321 w 4610101"/>
              <a:gd name="connsiteY31384" fmla="*/ 689178 h 6557032"/>
              <a:gd name="connsiteX31385" fmla="*/ 2948876 w 4610101"/>
              <a:gd name="connsiteY31385" fmla="*/ 688523 h 6557032"/>
              <a:gd name="connsiteX31386" fmla="*/ 2939167 w 4610101"/>
              <a:gd name="connsiteY31386" fmla="*/ 693278 h 6557032"/>
              <a:gd name="connsiteX31387" fmla="*/ 2948278 w 4610101"/>
              <a:gd name="connsiteY31387" fmla="*/ 704211 h 6557032"/>
              <a:gd name="connsiteX31388" fmla="*/ 2957389 w 4610101"/>
              <a:gd name="connsiteY31388" fmla="*/ 693278 h 6557032"/>
              <a:gd name="connsiteX31389" fmla="*/ 2959211 w 4610101"/>
              <a:gd name="connsiteY31389" fmla="*/ 696922 h 6557032"/>
              <a:gd name="connsiteX31390" fmla="*/ 2950100 w 4610101"/>
              <a:gd name="connsiteY31390" fmla="*/ 713321 h 6557032"/>
              <a:gd name="connsiteX31391" fmla="*/ 2957389 w 4610101"/>
              <a:gd name="connsiteY31391" fmla="*/ 715144 h 6557032"/>
              <a:gd name="connsiteX31392" fmla="*/ 2948278 w 4610101"/>
              <a:gd name="connsiteY31392" fmla="*/ 720610 h 6557032"/>
              <a:gd name="connsiteX31393" fmla="*/ 2955566 w 4610101"/>
              <a:gd name="connsiteY31393" fmla="*/ 733365 h 6557032"/>
              <a:gd name="connsiteX31394" fmla="*/ 2917301 w 4610101"/>
              <a:gd name="connsiteY31394" fmla="*/ 740654 h 6557032"/>
              <a:gd name="connsiteX31395" fmla="*/ 2913656 w 4610101"/>
              <a:gd name="connsiteY31395" fmla="*/ 735188 h 6557032"/>
              <a:gd name="connsiteX31396" fmla="*/ 2917301 w 4610101"/>
              <a:gd name="connsiteY31396" fmla="*/ 764342 h 6557032"/>
              <a:gd name="connsiteX31397" fmla="*/ 2902724 w 4610101"/>
              <a:gd name="connsiteY31397" fmla="*/ 769809 h 6557032"/>
              <a:gd name="connsiteX31398" fmla="*/ 2902724 w 4610101"/>
              <a:gd name="connsiteY31398" fmla="*/ 777098 h 6557032"/>
              <a:gd name="connsiteX31399" fmla="*/ 2904546 w 4610101"/>
              <a:gd name="connsiteY31399" fmla="*/ 757054 h 6557032"/>
              <a:gd name="connsiteX31400" fmla="*/ 2888146 w 4610101"/>
              <a:gd name="connsiteY31400" fmla="*/ 742476 h 6557032"/>
              <a:gd name="connsiteX31401" fmla="*/ 2889968 w 4610101"/>
              <a:gd name="connsiteY31401" fmla="*/ 738832 h 6557032"/>
              <a:gd name="connsiteX31402" fmla="*/ 2900901 w 4610101"/>
              <a:gd name="connsiteY31402" fmla="*/ 746121 h 6557032"/>
              <a:gd name="connsiteX31403" fmla="*/ 2880857 w 4610101"/>
              <a:gd name="connsiteY31403" fmla="*/ 704211 h 6557032"/>
              <a:gd name="connsiteX31404" fmla="*/ 2868102 w 4610101"/>
              <a:gd name="connsiteY31404" fmla="*/ 731543 h 6557032"/>
              <a:gd name="connsiteX31405" fmla="*/ 2858991 w 4610101"/>
              <a:gd name="connsiteY31405" fmla="*/ 737010 h 6557032"/>
              <a:gd name="connsiteX31406" fmla="*/ 2855347 w 4610101"/>
              <a:gd name="connsiteY31406" fmla="*/ 720610 h 6557032"/>
              <a:gd name="connsiteX31407" fmla="*/ 2866280 w 4610101"/>
              <a:gd name="connsiteY31407" fmla="*/ 724254 h 6557032"/>
              <a:gd name="connsiteX31408" fmla="*/ 2862636 w 4610101"/>
              <a:gd name="connsiteY31408" fmla="*/ 709677 h 6557032"/>
              <a:gd name="connsiteX31409" fmla="*/ 2833481 w 4610101"/>
              <a:gd name="connsiteY31409" fmla="*/ 704211 h 6557032"/>
              <a:gd name="connsiteX31410" fmla="*/ 2835303 w 4610101"/>
              <a:gd name="connsiteY31410" fmla="*/ 707855 h 6557032"/>
              <a:gd name="connsiteX31411" fmla="*/ 2824370 w 4610101"/>
              <a:gd name="connsiteY31411" fmla="*/ 707855 h 6557032"/>
              <a:gd name="connsiteX31412" fmla="*/ 2800682 w 4610101"/>
              <a:gd name="connsiteY31412" fmla="*/ 715144 h 6557032"/>
              <a:gd name="connsiteX31413" fmla="*/ 2787927 w 4610101"/>
              <a:gd name="connsiteY31413" fmla="*/ 751587 h 6557032"/>
              <a:gd name="connsiteX31414" fmla="*/ 2820726 w 4610101"/>
              <a:gd name="connsiteY31414" fmla="*/ 744298 h 6557032"/>
              <a:gd name="connsiteX31415" fmla="*/ 2818903 w 4610101"/>
              <a:gd name="connsiteY31415" fmla="*/ 755231 h 6557032"/>
              <a:gd name="connsiteX31416" fmla="*/ 2815259 w 4610101"/>
              <a:gd name="connsiteY31416" fmla="*/ 753409 h 6557032"/>
              <a:gd name="connsiteX31417" fmla="*/ 2775171 w 4610101"/>
              <a:gd name="connsiteY31417" fmla="*/ 767987 h 6557032"/>
              <a:gd name="connsiteX31418" fmla="*/ 2775171 w 4610101"/>
              <a:gd name="connsiteY31418" fmla="*/ 773453 h 6557032"/>
              <a:gd name="connsiteX31419" fmla="*/ 2771527 w 4610101"/>
              <a:gd name="connsiteY31419" fmla="*/ 771631 h 6557032"/>
              <a:gd name="connsiteX31420" fmla="*/ 2778816 w 4610101"/>
              <a:gd name="connsiteY31420" fmla="*/ 784386 h 6557032"/>
              <a:gd name="connsiteX31421" fmla="*/ 2762416 w 4610101"/>
              <a:gd name="connsiteY31421" fmla="*/ 775275 h 6557032"/>
              <a:gd name="connsiteX31422" fmla="*/ 2773349 w 4610101"/>
              <a:gd name="connsiteY31422" fmla="*/ 789853 h 6557032"/>
              <a:gd name="connsiteX31423" fmla="*/ 2780638 w 4610101"/>
              <a:gd name="connsiteY31423" fmla="*/ 784386 h 6557032"/>
              <a:gd name="connsiteX31424" fmla="*/ 2793393 w 4610101"/>
              <a:gd name="connsiteY31424" fmla="*/ 793497 h 6557032"/>
              <a:gd name="connsiteX31425" fmla="*/ 2793393 w 4610101"/>
              <a:gd name="connsiteY31425" fmla="*/ 797141 h 6557032"/>
              <a:gd name="connsiteX31426" fmla="*/ 2787927 w 4610101"/>
              <a:gd name="connsiteY31426" fmla="*/ 797141 h 6557032"/>
              <a:gd name="connsiteX31427" fmla="*/ 2798860 w 4610101"/>
              <a:gd name="connsiteY31427" fmla="*/ 820830 h 6557032"/>
              <a:gd name="connsiteX31428" fmla="*/ 2786104 w 4610101"/>
              <a:gd name="connsiteY31428" fmla="*/ 815363 h 6557032"/>
              <a:gd name="connsiteX31429" fmla="*/ 2764238 w 4610101"/>
              <a:gd name="connsiteY31429" fmla="*/ 789853 h 6557032"/>
              <a:gd name="connsiteX31430" fmla="*/ 2784282 w 4610101"/>
              <a:gd name="connsiteY31430" fmla="*/ 813541 h 6557032"/>
              <a:gd name="connsiteX31431" fmla="*/ 2756950 w 4610101"/>
              <a:gd name="connsiteY31431" fmla="*/ 795319 h 6557032"/>
              <a:gd name="connsiteX31432" fmla="*/ 2755127 w 4610101"/>
              <a:gd name="connsiteY31432" fmla="*/ 800786 h 6557032"/>
              <a:gd name="connsiteX31433" fmla="*/ 2722328 w 4610101"/>
              <a:gd name="connsiteY31433" fmla="*/ 797141 h 6557032"/>
              <a:gd name="connsiteX31434" fmla="*/ 2687707 w 4610101"/>
              <a:gd name="connsiteY31434" fmla="*/ 791675 h 6557032"/>
              <a:gd name="connsiteX31435" fmla="*/ 2691351 w 4610101"/>
              <a:gd name="connsiteY31435" fmla="*/ 808074 h 6557032"/>
              <a:gd name="connsiteX31436" fmla="*/ 2673130 w 4610101"/>
              <a:gd name="connsiteY31436" fmla="*/ 802608 h 6557032"/>
              <a:gd name="connsiteX31437" fmla="*/ 2662197 w 4610101"/>
              <a:gd name="connsiteY31437" fmla="*/ 839051 h 6557032"/>
              <a:gd name="connsiteX31438" fmla="*/ 2691351 w 4610101"/>
              <a:gd name="connsiteY31438" fmla="*/ 826296 h 6557032"/>
              <a:gd name="connsiteX31439" fmla="*/ 2698640 w 4610101"/>
              <a:gd name="connsiteY31439" fmla="*/ 829941 h 6557032"/>
              <a:gd name="connsiteX31440" fmla="*/ 2680418 w 4610101"/>
              <a:gd name="connsiteY31440" fmla="*/ 844518 h 6557032"/>
              <a:gd name="connsiteX31441" fmla="*/ 2665841 w 4610101"/>
              <a:gd name="connsiteY31441" fmla="*/ 848162 h 6557032"/>
              <a:gd name="connsiteX31442" fmla="*/ 2678596 w 4610101"/>
              <a:gd name="connsiteY31442" fmla="*/ 873673 h 6557032"/>
              <a:gd name="connsiteX31443" fmla="*/ 2685885 w 4610101"/>
              <a:gd name="connsiteY31443" fmla="*/ 879139 h 6557032"/>
              <a:gd name="connsiteX31444" fmla="*/ 2685885 w 4610101"/>
              <a:gd name="connsiteY31444" fmla="*/ 886428 h 6557032"/>
              <a:gd name="connsiteX31445" fmla="*/ 2676774 w 4610101"/>
              <a:gd name="connsiteY31445" fmla="*/ 882784 h 6557032"/>
              <a:gd name="connsiteX31446" fmla="*/ 2685885 w 4610101"/>
              <a:gd name="connsiteY31446" fmla="*/ 893717 h 6557032"/>
              <a:gd name="connsiteX31447" fmla="*/ 2696818 w 4610101"/>
              <a:gd name="connsiteY31447" fmla="*/ 886428 h 6557032"/>
              <a:gd name="connsiteX31448" fmla="*/ 2687707 w 4610101"/>
              <a:gd name="connsiteY31448" fmla="*/ 877317 h 6557032"/>
              <a:gd name="connsiteX31449" fmla="*/ 2696818 w 4610101"/>
              <a:gd name="connsiteY31449" fmla="*/ 880961 h 6557032"/>
              <a:gd name="connsiteX31450" fmla="*/ 2711395 w 4610101"/>
              <a:gd name="connsiteY31450" fmla="*/ 877317 h 6557032"/>
              <a:gd name="connsiteX31451" fmla="*/ 2711395 w 4610101"/>
              <a:gd name="connsiteY31451" fmla="*/ 871851 h 6557032"/>
              <a:gd name="connsiteX31452" fmla="*/ 2718229 w 4610101"/>
              <a:gd name="connsiteY31452" fmla="*/ 875723 h 6557032"/>
              <a:gd name="connsiteX31453" fmla="*/ 2720791 w 4610101"/>
              <a:gd name="connsiteY31453" fmla="*/ 878997 h 6557032"/>
              <a:gd name="connsiteX31454" fmla="*/ 2716862 w 4610101"/>
              <a:gd name="connsiteY31454" fmla="*/ 880961 h 6557032"/>
              <a:gd name="connsiteX31455" fmla="*/ 2724150 w 4610101"/>
              <a:gd name="connsiteY31455" fmla="*/ 886428 h 6557032"/>
              <a:gd name="connsiteX31456" fmla="*/ 2715040 w 4610101"/>
              <a:gd name="connsiteY31456" fmla="*/ 880961 h 6557032"/>
              <a:gd name="connsiteX31457" fmla="*/ 2705929 w 4610101"/>
              <a:gd name="connsiteY31457" fmla="*/ 882784 h 6557032"/>
              <a:gd name="connsiteX31458" fmla="*/ 2716862 w 4610101"/>
              <a:gd name="connsiteY31458" fmla="*/ 906473 h 6557032"/>
              <a:gd name="connsiteX31459" fmla="*/ 2707751 w 4610101"/>
              <a:gd name="connsiteY31459" fmla="*/ 899183 h 6557032"/>
              <a:gd name="connsiteX31460" fmla="*/ 2709573 w 4610101"/>
              <a:gd name="connsiteY31460" fmla="*/ 913761 h 6557032"/>
              <a:gd name="connsiteX31461" fmla="*/ 2720506 w 4610101"/>
              <a:gd name="connsiteY31461" fmla="*/ 921049 h 6557032"/>
              <a:gd name="connsiteX31462" fmla="*/ 2727795 w 4610101"/>
              <a:gd name="connsiteY31462" fmla="*/ 911939 h 6557032"/>
              <a:gd name="connsiteX31463" fmla="*/ 2735084 w 4610101"/>
              <a:gd name="connsiteY31463" fmla="*/ 880961 h 6557032"/>
              <a:gd name="connsiteX31464" fmla="*/ 2749661 w 4610101"/>
              <a:gd name="connsiteY31464" fmla="*/ 893717 h 6557032"/>
              <a:gd name="connsiteX31465" fmla="*/ 2742372 w 4610101"/>
              <a:gd name="connsiteY31465" fmla="*/ 888250 h 6557032"/>
              <a:gd name="connsiteX31466" fmla="*/ 2746016 w 4610101"/>
              <a:gd name="connsiteY31466" fmla="*/ 886428 h 6557032"/>
              <a:gd name="connsiteX31467" fmla="*/ 2744194 w 4610101"/>
              <a:gd name="connsiteY31467" fmla="*/ 884606 h 6557032"/>
              <a:gd name="connsiteX31468" fmla="*/ 2755127 w 4610101"/>
              <a:gd name="connsiteY31468" fmla="*/ 893717 h 6557032"/>
              <a:gd name="connsiteX31469" fmla="*/ 2727795 w 4610101"/>
              <a:gd name="connsiteY31469" fmla="*/ 924695 h 6557032"/>
              <a:gd name="connsiteX31470" fmla="*/ 2738728 w 4610101"/>
              <a:gd name="connsiteY31470" fmla="*/ 926516 h 6557032"/>
              <a:gd name="connsiteX31471" fmla="*/ 2735084 w 4610101"/>
              <a:gd name="connsiteY31471" fmla="*/ 926516 h 6557032"/>
              <a:gd name="connsiteX31472" fmla="*/ 2744194 w 4610101"/>
              <a:gd name="connsiteY31472" fmla="*/ 928339 h 6557032"/>
              <a:gd name="connsiteX31473" fmla="*/ 2742372 w 4610101"/>
              <a:gd name="connsiteY31473" fmla="*/ 931983 h 6557032"/>
              <a:gd name="connsiteX31474" fmla="*/ 2751483 w 4610101"/>
              <a:gd name="connsiteY31474" fmla="*/ 933804 h 6557032"/>
              <a:gd name="connsiteX31475" fmla="*/ 2744194 w 4610101"/>
              <a:gd name="connsiteY31475" fmla="*/ 922872 h 6557032"/>
              <a:gd name="connsiteX31476" fmla="*/ 2764238 w 4610101"/>
              <a:gd name="connsiteY31476" fmla="*/ 931983 h 6557032"/>
              <a:gd name="connsiteX31477" fmla="*/ 2764238 w 4610101"/>
              <a:gd name="connsiteY31477" fmla="*/ 952026 h 6557032"/>
              <a:gd name="connsiteX31478" fmla="*/ 2755127 w 4610101"/>
              <a:gd name="connsiteY31478" fmla="*/ 948383 h 6557032"/>
              <a:gd name="connsiteX31479" fmla="*/ 2762416 w 4610101"/>
              <a:gd name="connsiteY31479" fmla="*/ 968427 h 6557032"/>
              <a:gd name="connsiteX31480" fmla="*/ 2795215 w 4610101"/>
              <a:gd name="connsiteY31480" fmla="*/ 1008515 h 6557032"/>
              <a:gd name="connsiteX31481" fmla="*/ 2795215 w 4610101"/>
              <a:gd name="connsiteY31481" fmla="*/ 999403 h 6557032"/>
              <a:gd name="connsiteX31482" fmla="*/ 2806148 w 4610101"/>
              <a:gd name="connsiteY31482" fmla="*/ 1010337 h 6557032"/>
              <a:gd name="connsiteX31483" fmla="*/ 2800682 w 4610101"/>
              <a:gd name="connsiteY31483" fmla="*/ 1008515 h 6557032"/>
              <a:gd name="connsiteX31484" fmla="*/ 2813437 w 4610101"/>
              <a:gd name="connsiteY31484" fmla="*/ 1015803 h 6557032"/>
              <a:gd name="connsiteX31485" fmla="*/ 2813437 w 4610101"/>
              <a:gd name="connsiteY31485" fmla="*/ 1010337 h 6557032"/>
              <a:gd name="connsiteX31486" fmla="*/ 2818903 w 4610101"/>
              <a:gd name="connsiteY31486" fmla="*/ 1012159 h 6557032"/>
              <a:gd name="connsiteX31487" fmla="*/ 2833481 w 4610101"/>
              <a:gd name="connsiteY31487" fmla="*/ 1021270 h 6557032"/>
              <a:gd name="connsiteX31488" fmla="*/ 2835303 w 4610101"/>
              <a:gd name="connsiteY31488" fmla="*/ 1006692 h 6557032"/>
              <a:gd name="connsiteX31489" fmla="*/ 2837125 w 4610101"/>
              <a:gd name="connsiteY31489" fmla="*/ 1030381 h 6557032"/>
              <a:gd name="connsiteX31490" fmla="*/ 2836045 w 4610101"/>
              <a:gd name="connsiteY31490" fmla="*/ 1030150 h 6557032"/>
              <a:gd name="connsiteX31491" fmla="*/ 2833481 w 4610101"/>
              <a:gd name="connsiteY31491" fmla="*/ 1024914 h 6557032"/>
              <a:gd name="connsiteX31492" fmla="*/ 2833937 w 4610101"/>
              <a:gd name="connsiteY31492" fmla="*/ 1029698 h 6557032"/>
              <a:gd name="connsiteX31493" fmla="*/ 2836045 w 4610101"/>
              <a:gd name="connsiteY31493" fmla="*/ 1030150 h 6557032"/>
              <a:gd name="connsiteX31494" fmla="*/ 2838947 w 4610101"/>
              <a:gd name="connsiteY31494" fmla="*/ 1036075 h 6557032"/>
              <a:gd name="connsiteX31495" fmla="*/ 2849880 w 4610101"/>
              <a:gd name="connsiteY31495" fmla="*/ 1043136 h 6557032"/>
              <a:gd name="connsiteX31496" fmla="*/ 2849880 w 4610101"/>
              <a:gd name="connsiteY31496" fmla="*/ 1028559 h 6557032"/>
              <a:gd name="connsiteX31497" fmla="*/ 2860813 w 4610101"/>
              <a:gd name="connsiteY31497" fmla="*/ 1013981 h 6557032"/>
              <a:gd name="connsiteX31498" fmla="*/ 2884502 w 4610101"/>
              <a:gd name="connsiteY31498" fmla="*/ 970249 h 6557032"/>
              <a:gd name="connsiteX31499" fmla="*/ 2888146 w 4610101"/>
              <a:gd name="connsiteY31499" fmla="*/ 972071 h 6557032"/>
              <a:gd name="connsiteX31500" fmla="*/ 2891790 w 4610101"/>
              <a:gd name="connsiteY31500" fmla="*/ 957494 h 6557032"/>
              <a:gd name="connsiteX31501" fmla="*/ 2831659 w 4610101"/>
              <a:gd name="connsiteY31501" fmla="*/ 890072 h 6557032"/>
              <a:gd name="connsiteX31502" fmla="*/ 2826192 w 4610101"/>
              <a:gd name="connsiteY31502" fmla="*/ 888250 h 6557032"/>
              <a:gd name="connsiteX31503" fmla="*/ 2822548 w 4610101"/>
              <a:gd name="connsiteY31503" fmla="*/ 851807 h 6557032"/>
              <a:gd name="connsiteX31504" fmla="*/ 2829837 w 4610101"/>
              <a:gd name="connsiteY31504" fmla="*/ 848162 h 6557032"/>
              <a:gd name="connsiteX31505" fmla="*/ 2831659 w 4610101"/>
              <a:gd name="connsiteY31505" fmla="*/ 884606 h 6557032"/>
              <a:gd name="connsiteX31506" fmla="*/ 2886324 w 4610101"/>
              <a:gd name="connsiteY31506" fmla="*/ 921049 h 6557032"/>
              <a:gd name="connsiteX31507" fmla="*/ 2888146 w 4610101"/>
              <a:gd name="connsiteY31507" fmla="*/ 915583 h 6557032"/>
              <a:gd name="connsiteX31508" fmla="*/ 2889968 w 4610101"/>
              <a:gd name="connsiteY31508" fmla="*/ 917405 h 6557032"/>
              <a:gd name="connsiteX31509" fmla="*/ 2897257 w 4610101"/>
              <a:gd name="connsiteY31509" fmla="*/ 937450 h 6557032"/>
              <a:gd name="connsiteX31510" fmla="*/ 2908190 w 4610101"/>
              <a:gd name="connsiteY31510" fmla="*/ 913761 h 6557032"/>
              <a:gd name="connsiteX31511" fmla="*/ 2920945 w 4610101"/>
              <a:gd name="connsiteY31511" fmla="*/ 899183 h 6557032"/>
              <a:gd name="connsiteX31512" fmla="*/ 2913656 w 4610101"/>
              <a:gd name="connsiteY31512" fmla="*/ 895539 h 6557032"/>
              <a:gd name="connsiteX31513" fmla="*/ 2922767 w 4610101"/>
              <a:gd name="connsiteY31513" fmla="*/ 897361 h 6557032"/>
              <a:gd name="connsiteX31514" fmla="*/ 2915479 w 4610101"/>
              <a:gd name="connsiteY31514" fmla="*/ 884606 h 6557032"/>
              <a:gd name="connsiteX31515" fmla="*/ 2930056 w 4610101"/>
              <a:gd name="connsiteY31515" fmla="*/ 895539 h 6557032"/>
              <a:gd name="connsiteX31516" fmla="*/ 2897257 w 4610101"/>
              <a:gd name="connsiteY31516" fmla="*/ 877317 h 6557032"/>
              <a:gd name="connsiteX31517" fmla="*/ 2886324 w 4610101"/>
              <a:gd name="connsiteY31517" fmla="*/ 870028 h 6557032"/>
              <a:gd name="connsiteX31518" fmla="*/ 2880857 w 4610101"/>
              <a:gd name="connsiteY31518" fmla="*/ 871851 h 6557032"/>
              <a:gd name="connsiteX31519" fmla="*/ 2838947 w 4610101"/>
              <a:gd name="connsiteY31519" fmla="*/ 849985 h 6557032"/>
              <a:gd name="connsiteX31520" fmla="*/ 2858991 w 4610101"/>
              <a:gd name="connsiteY31520" fmla="*/ 853629 h 6557032"/>
              <a:gd name="connsiteX31521" fmla="*/ 2930056 w 4610101"/>
              <a:gd name="connsiteY31521" fmla="*/ 882784 h 6557032"/>
              <a:gd name="connsiteX31522" fmla="*/ 2937345 w 4610101"/>
              <a:gd name="connsiteY31522" fmla="*/ 891894 h 6557032"/>
              <a:gd name="connsiteX31523" fmla="*/ 3026631 w 4610101"/>
              <a:gd name="connsiteY31523" fmla="*/ 855451 h 6557032"/>
              <a:gd name="connsiteX31524" fmla="*/ 3017521 w 4610101"/>
              <a:gd name="connsiteY31524" fmla="*/ 853629 h 6557032"/>
              <a:gd name="connsiteX31525" fmla="*/ 3019343 w 4610101"/>
              <a:gd name="connsiteY31525" fmla="*/ 848162 h 6557032"/>
              <a:gd name="connsiteX31526" fmla="*/ 3021165 w 4610101"/>
              <a:gd name="connsiteY31526" fmla="*/ 853629 h 6557032"/>
              <a:gd name="connsiteX31527" fmla="*/ 3030103 w 4610101"/>
              <a:gd name="connsiteY31527" fmla="*/ 849777 h 6557032"/>
              <a:gd name="connsiteX31528" fmla="*/ 3028453 w 4610101"/>
              <a:gd name="connsiteY31528" fmla="*/ 851807 h 6557032"/>
              <a:gd name="connsiteX31529" fmla="*/ 3035742 w 4610101"/>
              <a:gd name="connsiteY31529" fmla="*/ 849985 h 6557032"/>
              <a:gd name="connsiteX31530" fmla="*/ 3032645 w 4610101"/>
              <a:gd name="connsiteY31530" fmla="*/ 848681 h 6557032"/>
              <a:gd name="connsiteX31531" fmla="*/ 3034376 w 4610101"/>
              <a:gd name="connsiteY31531" fmla="*/ 847935 h 6557032"/>
              <a:gd name="connsiteX31532" fmla="*/ 3039387 w 4610101"/>
              <a:gd name="connsiteY31532" fmla="*/ 835407 h 6557032"/>
              <a:gd name="connsiteX31533" fmla="*/ 3032098 w 4610101"/>
              <a:gd name="connsiteY31533" fmla="*/ 820830 h 6557032"/>
              <a:gd name="connsiteX31534" fmla="*/ 3037564 w 4610101"/>
              <a:gd name="connsiteY31534" fmla="*/ 822652 h 6557032"/>
              <a:gd name="connsiteX31535" fmla="*/ 3035742 w 4610101"/>
              <a:gd name="connsiteY31535" fmla="*/ 811719 h 6557032"/>
              <a:gd name="connsiteX31536" fmla="*/ 3050319 w 4610101"/>
              <a:gd name="connsiteY31536" fmla="*/ 835407 h 6557032"/>
              <a:gd name="connsiteX31537" fmla="*/ 3055786 w 4610101"/>
              <a:gd name="connsiteY31537" fmla="*/ 837229 h 6557032"/>
              <a:gd name="connsiteX31538" fmla="*/ 3052142 w 4610101"/>
              <a:gd name="connsiteY31538" fmla="*/ 840874 h 6557032"/>
              <a:gd name="connsiteX31539" fmla="*/ 3059430 w 4610101"/>
              <a:gd name="connsiteY31539" fmla="*/ 844518 h 6557032"/>
              <a:gd name="connsiteX31540" fmla="*/ 3057608 w 4610101"/>
              <a:gd name="connsiteY31540" fmla="*/ 833585 h 6557032"/>
              <a:gd name="connsiteX31541" fmla="*/ 3063075 w 4610101"/>
              <a:gd name="connsiteY31541" fmla="*/ 831763 h 6557032"/>
              <a:gd name="connsiteX31542" fmla="*/ 3059430 w 4610101"/>
              <a:gd name="connsiteY31542" fmla="*/ 804430 h 6557032"/>
              <a:gd name="connsiteX31543" fmla="*/ 3064897 w 4610101"/>
              <a:gd name="connsiteY31543" fmla="*/ 809897 h 6557032"/>
              <a:gd name="connsiteX31544" fmla="*/ 3083119 w 4610101"/>
              <a:gd name="connsiteY31544" fmla="*/ 809897 h 6557032"/>
              <a:gd name="connsiteX31545" fmla="*/ 3088585 w 4610101"/>
              <a:gd name="connsiteY31545" fmla="*/ 808074 h 6557032"/>
              <a:gd name="connsiteX31546" fmla="*/ 3055786 w 4610101"/>
              <a:gd name="connsiteY31546" fmla="*/ 722432 h 6557032"/>
              <a:gd name="connsiteX31547" fmla="*/ 3039387 w 4610101"/>
              <a:gd name="connsiteY31547" fmla="*/ 724254 h 6557032"/>
              <a:gd name="connsiteX31548" fmla="*/ 3046675 w 4610101"/>
              <a:gd name="connsiteY31548" fmla="*/ 720610 h 6557032"/>
              <a:gd name="connsiteX31549" fmla="*/ 3004765 w 4610101"/>
              <a:gd name="connsiteY31549" fmla="*/ 706033 h 6557032"/>
              <a:gd name="connsiteX31550" fmla="*/ 2988366 w 4610101"/>
              <a:gd name="connsiteY31550" fmla="*/ 698744 h 6557032"/>
              <a:gd name="connsiteX31551" fmla="*/ 2990188 w 4610101"/>
              <a:gd name="connsiteY31551" fmla="*/ 709677 h 6557032"/>
              <a:gd name="connsiteX31552" fmla="*/ 2981077 w 4610101"/>
              <a:gd name="connsiteY31552" fmla="*/ 704211 h 6557032"/>
              <a:gd name="connsiteX31553" fmla="*/ 2986543 w 4610101"/>
              <a:gd name="connsiteY31553" fmla="*/ 700566 h 6557032"/>
              <a:gd name="connsiteX31554" fmla="*/ 2948876 w 4610101"/>
              <a:gd name="connsiteY31554" fmla="*/ 688523 h 6557032"/>
              <a:gd name="connsiteX31555" fmla="*/ 3449376 w 4610101"/>
              <a:gd name="connsiteY31555" fmla="*/ 687811 h 6557032"/>
              <a:gd name="connsiteX31556" fmla="*/ 3442087 w 4610101"/>
              <a:gd name="connsiteY31556" fmla="*/ 693278 h 6557032"/>
              <a:gd name="connsiteX31557" fmla="*/ 3447553 w 4610101"/>
              <a:gd name="connsiteY31557" fmla="*/ 695100 h 6557032"/>
              <a:gd name="connsiteX31558" fmla="*/ 3449376 w 4610101"/>
              <a:gd name="connsiteY31558" fmla="*/ 687811 h 6557032"/>
              <a:gd name="connsiteX31559" fmla="*/ 2822548 w 4610101"/>
              <a:gd name="connsiteY31559" fmla="*/ 687811 h 6557032"/>
              <a:gd name="connsiteX31560" fmla="*/ 2828014 w 4610101"/>
              <a:gd name="connsiteY31560" fmla="*/ 693278 h 6557032"/>
              <a:gd name="connsiteX31561" fmla="*/ 2828014 w 4610101"/>
              <a:gd name="connsiteY31561" fmla="*/ 687811 h 6557032"/>
              <a:gd name="connsiteX31562" fmla="*/ 2822548 w 4610101"/>
              <a:gd name="connsiteY31562" fmla="*/ 687811 h 6557032"/>
              <a:gd name="connsiteX31563" fmla="*/ 2554688 w 4610101"/>
              <a:gd name="connsiteY31563" fmla="*/ 687811 h 6557032"/>
              <a:gd name="connsiteX31564" fmla="*/ 2554688 w 4610101"/>
              <a:gd name="connsiteY31564" fmla="*/ 691455 h 6557032"/>
              <a:gd name="connsiteX31565" fmla="*/ 2554688 w 4610101"/>
              <a:gd name="connsiteY31565" fmla="*/ 696922 h 6557032"/>
              <a:gd name="connsiteX31566" fmla="*/ 2558332 w 4610101"/>
              <a:gd name="connsiteY31566" fmla="*/ 687811 h 6557032"/>
              <a:gd name="connsiteX31567" fmla="*/ 2554688 w 4610101"/>
              <a:gd name="connsiteY31567" fmla="*/ 687811 h 6557032"/>
              <a:gd name="connsiteX31568" fmla="*/ 1202636 w 4610101"/>
              <a:gd name="connsiteY31568" fmla="*/ 687811 h 6557032"/>
              <a:gd name="connsiteX31569" fmla="*/ 1195346 w 4610101"/>
              <a:gd name="connsiteY31569" fmla="*/ 689633 h 6557032"/>
              <a:gd name="connsiteX31570" fmla="*/ 1202355 w 4610101"/>
              <a:gd name="connsiteY31570" fmla="*/ 688232 h 6557032"/>
              <a:gd name="connsiteX31571" fmla="*/ 1199446 w 4610101"/>
              <a:gd name="connsiteY31571" fmla="*/ 692595 h 6557032"/>
              <a:gd name="connsiteX31572" fmla="*/ 1193525 w 4610101"/>
              <a:gd name="connsiteY31572" fmla="*/ 693278 h 6557032"/>
              <a:gd name="connsiteX31573" fmla="*/ 1188058 w 4610101"/>
              <a:gd name="connsiteY31573" fmla="*/ 704211 h 6557032"/>
              <a:gd name="connsiteX31574" fmla="*/ 1195346 w 4610101"/>
              <a:gd name="connsiteY31574" fmla="*/ 698744 h 6557032"/>
              <a:gd name="connsiteX31575" fmla="*/ 1193525 w 4610101"/>
              <a:gd name="connsiteY31575" fmla="*/ 693278 h 6557032"/>
              <a:gd name="connsiteX31576" fmla="*/ 1195346 w 4610101"/>
              <a:gd name="connsiteY31576" fmla="*/ 693278 h 6557032"/>
              <a:gd name="connsiteX31577" fmla="*/ 1195346 w 4610101"/>
              <a:gd name="connsiteY31577" fmla="*/ 696922 h 6557032"/>
              <a:gd name="connsiteX31578" fmla="*/ 1204457 w 4610101"/>
              <a:gd name="connsiteY31578" fmla="*/ 687811 h 6557032"/>
              <a:gd name="connsiteX31579" fmla="*/ 1202355 w 4610101"/>
              <a:gd name="connsiteY31579" fmla="*/ 688232 h 6557032"/>
              <a:gd name="connsiteX31580" fmla="*/ 1147970 w 4610101"/>
              <a:gd name="connsiteY31580" fmla="*/ 687811 h 6557032"/>
              <a:gd name="connsiteX31581" fmla="*/ 1144326 w 4610101"/>
              <a:gd name="connsiteY31581" fmla="*/ 691455 h 6557032"/>
              <a:gd name="connsiteX31582" fmla="*/ 1147970 w 4610101"/>
              <a:gd name="connsiteY31582" fmla="*/ 687811 h 6557032"/>
              <a:gd name="connsiteX31583" fmla="*/ 1129748 w 4610101"/>
              <a:gd name="connsiteY31583" fmla="*/ 687811 h 6557032"/>
              <a:gd name="connsiteX31584" fmla="*/ 1120637 w 4610101"/>
              <a:gd name="connsiteY31584" fmla="*/ 693278 h 6557032"/>
              <a:gd name="connsiteX31585" fmla="*/ 1126104 w 4610101"/>
              <a:gd name="connsiteY31585" fmla="*/ 693278 h 6557032"/>
              <a:gd name="connsiteX31586" fmla="*/ 1129748 w 4610101"/>
              <a:gd name="connsiteY31586" fmla="*/ 687811 h 6557032"/>
              <a:gd name="connsiteX31587" fmla="*/ 991263 w 4610101"/>
              <a:gd name="connsiteY31587" fmla="*/ 687811 h 6557032"/>
              <a:gd name="connsiteX31588" fmla="*/ 987619 w 4610101"/>
              <a:gd name="connsiteY31588" fmla="*/ 691455 h 6557032"/>
              <a:gd name="connsiteX31589" fmla="*/ 991263 w 4610101"/>
              <a:gd name="connsiteY31589" fmla="*/ 687811 h 6557032"/>
              <a:gd name="connsiteX31590" fmla="*/ 770781 w 4610101"/>
              <a:gd name="connsiteY31590" fmla="*/ 687811 h 6557032"/>
              <a:gd name="connsiteX31591" fmla="*/ 777584 w 4610101"/>
              <a:gd name="connsiteY31591" fmla="*/ 688783 h 6557032"/>
              <a:gd name="connsiteX31592" fmla="*/ 776246 w 4610101"/>
              <a:gd name="connsiteY31592" fmla="*/ 691455 h 6557032"/>
              <a:gd name="connsiteX31593" fmla="*/ 790824 w 4610101"/>
              <a:gd name="connsiteY31593" fmla="*/ 700566 h 6557032"/>
              <a:gd name="connsiteX31594" fmla="*/ 787179 w 4610101"/>
              <a:gd name="connsiteY31594" fmla="*/ 693278 h 6557032"/>
              <a:gd name="connsiteX31595" fmla="*/ 792646 w 4610101"/>
              <a:gd name="connsiteY31595" fmla="*/ 693278 h 6557032"/>
              <a:gd name="connsiteX31596" fmla="*/ 779892 w 4610101"/>
              <a:gd name="connsiteY31596" fmla="*/ 691455 h 6557032"/>
              <a:gd name="connsiteX31597" fmla="*/ 783535 w 4610101"/>
              <a:gd name="connsiteY31597" fmla="*/ 689633 h 6557032"/>
              <a:gd name="connsiteX31598" fmla="*/ 777584 w 4610101"/>
              <a:gd name="connsiteY31598" fmla="*/ 688783 h 6557032"/>
              <a:gd name="connsiteX31599" fmla="*/ 778070 w 4610101"/>
              <a:gd name="connsiteY31599" fmla="*/ 687811 h 6557032"/>
              <a:gd name="connsiteX31600" fmla="*/ 770781 w 4610101"/>
              <a:gd name="connsiteY31600" fmla="*/ 687811 h 6557032"/>
              <a:gd name="connsiteX31601" fmla="*/ 564874 w 4610101"/>
              <a:gd name="connsiteY31601" fmla="*/ 687811 h 6557032"/>
              <a:gd name="connsiteX31602" fmla="*/ 568519 w 4610101"/>
              <a:gd name="connsiteY31602" fmla="*/ 696922 h 6557032"/>
              <a:gd name="connsiteX31603" fmla="*/ 572163 w 4610101"/>
              <a:gd name="connsiteY31603" fmla="*/ 695100 h 6557032"/>
              <a:gd name="connsiteX31604" fmla="*/ 568519 w 4610101"/>
              <a:gd name="connsiteY31604" fmla="*/ 698744 h 6557032"/>
              <a:gd name="connsiteX31605" fmla="*/ 575808 w 4610101"/>
              <a:gd name="connsiteY31605" fmla="*/ 706033 h 6557032"/>
              <a:gd name="connsiteX31606" fmla="*/ 570341 w 4610101"/>
              <a:gd name="connsiteY31606" fmla="*/ 700566 h 6557032"/>
              <a:gd name="connsiteX31607" fmla="*/ 573985 w 4610101"/>
              <a:gd name="connsiteY31607" fmla="*/ 702388 h 6557032"/>
              <a:gd name="connsiteX31608" fmla="*/ 572163 w 4610101"/>
              <a:gd name="connsiteY31608" fmla="*/ 695100 h 6557032"/>
              <a:gd name="connsiteX31609" fmla="*/ 564874 w 4610101"/>
              <a:gd name="connsiteY31609" fmla="*/ 687811 h 6557032"/>
              <a:gd name="connsiteX31610" fmla="*/ 477410 w 4610101"/>
              <a:gd name="connsiteY31610" fmla="*/ 687811 h 6557032"/>
              <a:gd name="connsiteX31611" fmla="*/ 479232 w 4610101"/>
              <a:gd name="connsiteY31611" fmla="*/ 691455 h 6557032"/>
              <a:gd name="connsiteX31612" fmla="*/ 477410 w 4610101"/>
              <a:gd name="connsiteY31612" fmla="*/ 687811 h 6557032"/>
              <a:gd name="connsiteX31613" fmla="*/ 766892 w 4610101"/>
              <a:gd name="connsiteY31613" fmla="*/ 687726 h 6557032"/>
              <a:gd name="connsiteX31614" fmla="*/ 767136 w 4610101"/>
              <a:gd name="connsiteY31614" fmla="*/ 687811 h 6557032"/>
              <a:gd name="connsiteX31615" fmla="*/ 767093 w 4610101"/>
              <a:gd name="connsiteY31615" fmla="*/ 687948 h 6557032"/>
              <a:gd name="connsiteX31616" fmla="*/ 917596 w 4610101"/>
              <a:gd name="connsiteY31616" fmla="*/ 687290 h 6557032"/>
              <a:gd name="connsiteX31617" fmla="*/ 914276 w 4610101"/>
              <a:gd name="connsiteY31617" fmla="*/ 689634 h 6557032"/>
              <a:gd name="connsiteX31618" fmla="*/ 912909 w 4610101"/>
              <a:gd name="connsiteY31618" fmla="*/ 689634 h 6557032"/>
              <a:gd name="connsiteX31619" fmla="*/ 912909 w 4610101"/>
              <a:gd name="connsiteY31619" fmla="*/ 689633 h 6557032"/>
              <a:gd name="connsiteX31620" fmla="*/ 2784282 w 4610101"/>
              <a:gd name="connsiteY31620" fmla="*/ 685989 h 6557032"/>
              <a:gd name="connsiteX31621" fmla="*/ 2793393 w 4610101"/>
              <a:gd name="connsiteY31621" fmla="*/ 704211 h 6557032"/>
              <a:gd name="connsiteX31622" fmla="*/ 2811615 w 4610101"/>
              <a:gd name="connsiteY31622" fmla="*/ 698744 h 6557032"/>
              <a:gd name="connsiteX31623" fmla="*/ 2784282 w 4610101"/>
              <a:gd name="connsiteY31623" fmla="*/ 685989 h 6557032"/>
              <a:gd name="connsiteX31624" fmla="*/ 2612998 w 4610101"/>
              <a:gd name="connsiteY31624" fmla="*/ 685989 h 6557032"/>
              <a:gd name="connsiteX31625" fmla="*/ 2618464 w 4610101"/>
              <a:gd name="connsiteY31625" fmla="*/ 698744 h 6557032"/>
              <a:gd name="connsiteX31626" fmla="*/ 2612998 w 4610101"/>
              <a:gd name="connsiteY31626" fmla="*/ 685989 h 6557032"/>
              <a:gd name="connsiteX31627" fmla="*/ 1386676 w 4610101"/>
              <a:gd name="connsiteY31627" fmla="*/ 685989 h 6557032"/>
              <a:gd name="connsiteX31628" fmla="*/ 1375743 w 4610101"/>
              <a:gd name="connsiteY31628" fmla="*/ 691455 h 6557032"/>
              <a:gd name="connsiteX31629" fmla="*/ 1341120 w 4610101"/>
              <a:gd name="connsiteY31629" fmla="*/ 695100 h 6557032"/>
              <a:gd name="connsiteX31630" fmla="*/ 1313788 w 4610101"/>
              <a:gd name="connsiteY31630" fmla="*/ 709677 h 6557032"/>
              <a:gd name="connsiteX31631" fmla="*/ 1310143 w 4610101"/>
              <a:gd name="connsiteY31631" fmla="*/ 715144 h 6557032"/>
              <a:gd name="connsiteX31632" fmla="*/ 1308321 w 4610101"/>
              <a:gd name="connsiteY31632" fmla="*/ 713321 h 6557032"/>
              <a:gd name="connsiteX31633" fmla="*/ 1297388 w 4610101"/>
              <a:gd name="connsiteY31633" fmla="*/ 720610 h 6557032"/>
              <a:gd name="connsiteX31634" fmla="*/ 1311966 w 4610101"/>
              <a:gd name="connsiteY31634" fmla="*/ 720610 h 6557032"/>
              <a:gd name="connsiteX31635" fmla="*/ 1339299 w 4610101"/>
              <a:gd name="connsiteY31635" fmla="*/ 709677 h 6557032"/>
              <a:gd name="connsiteX31636" fmla="*/ 1344765 w 4610101"/>
              <a:gd name="connsiteY31636" fmla="*/ 700566 h 6557032"/>
              <a:gd name="connsiteX31637" fmla="*/ 1348410 w 4610101"/>
              <a:gd name="connsiteY31637" fmla="*/ 700566 h 6557032"/>
              <a:gd name="connsiteX31638" fmla="*/ 1344765 w 4610101"/>
              <a:gd name="connsiteY31638" fmla="*/ 707855 h 6557032"/>
              <a:gd name="connsiteX31639" fmla="*/ 1364809 w 4610101"/>
              <a:gd name="connsiteY31639" fmla="*/ 702388 h 6557032"/>
              <a:gd name="connsiteX31640" fmla="*/ 1362987 w 4610101"/>
              <a:gd name="connsiteY31640" fmla="*/ 698744 h 6557032"/>
              <a:gd name="connsiteX31641" fmla="*/ 1368453 w 4610101"/>
              <a:gd name="connsiteY31641" fmla="*/ 695100 h 6557032"/>
              <a:gd name="connsiteX31642" fmla="*/ 1368453 w 4610101"/>
              <a:gd name="connsiteY31642" fmla="*/ 702388 h 6557032"/>
              <a:gd name="connsiteX31643" fmla="*/ 1372097 w 4610101"/>
              <a:gd name="connsiteY31643" fmla="*/ 696922 h 6557032"/>
              <a:gd name="connsiteX31644" fmla="*/ 1373920 w 4610101"/>
              <a:gd name="connsiteY31644" fmla="*/ 698744 h 6557032"/>
              <a:gd name="connsiteX31645" fmla="*/ 1377564 w 4610101"/>
              <a:gd name="connsiteY31645" fmla="*/ 696922 h 6557032"/>
              <a:gd name="connsiteX31646" fmla="*/ 1386676 w 4610101"/>
              <a:gd name="connsiteY31646" fmla="*/ 685989 h 6557032"/>
              <a:gd name="connsiteX31647" fmla="*/ 922020 w 4610101"/>
              <a:gd name="connsiteY31647" fmla="*/ 685989 h 6557032"/>
              <a:gd name="connsiteX31648" fmla="*/ 920198 w 4610101"/>
              <a:gd name="connsiteY31648" fmla="*/ 698744 h 6557032"/>
              <a:gd name="connsiteX31649" fmla="*/ 925666 w 4610101"/>
              <a:gd name="connsiteY31649" fmla="*/ 693278 h 6557032"/>
              <a:gd name="connsiteX31650" fmla="*/ 922020 w 4610101"/>
              <a:gd name="connsiteY31650" fmla="*/ 685989 h 6557032"/>
              <a:gd name="connsiteX31651" fmla="*/ 504743 w 4610101"/>
              <a:gd name="connsiteY31651" fmla="*/ 685989 h 6557032"/>
              <a:gd name="connsiteX31652" fmla="*/ 504743 w 4610101"/>
              <a:gd name="connsiteY31652" fmla="*/ 691455 h 6557032"/>
              <a:gd name="connsiteX31653" fmla="*/ 504743 w 4610101"/>
              <a:gd name="connsiteY31653" fmla="*/ 685989 h 6557032"/>
              <a:gd name="connsiteX31654" fmla="*/ 388123 w 4610101"/>
              <a:gd name="connsiteY31654" fmla="*/ 685989 h 6557032"/>
              <a:gd name="connsiteX31655" fmla="*/ 395412 w 4610101"/>
              <a:gd name="connsiteY31655" fmla="*/ 706033 h 6557032"/>
              <a:gd name="connsiteX31656" fmla="*/ 400879 w 4610101"/>
              <a:gd name="connsiteY31656" fmla="*/ 700566 h 6557032"/>
              <a:gd name="connsiteX31657" fmla="*/ 398680 w 4610101"/>
              <a:gd name="connsiteY31657" fmla="*/ 699833 h 6557032"/>
              <a:gd name="connsiteX31658" fmla="*/ 394956 w 4610101"/>
              <a:gd name="connsiteY31658" fmla="*/ 692595 h 6557032"/>
              <a:gd name="connsiteX31659" fmla="*/ 388123 w 4610101"/>
              <a:gd name="connsiteY31659" fmla="*/ 685989 h 6557032"/>
              <a:gd name="connsiteX31660" fmla="*/ 235061 w 4610101"/>
              <a:gd name="connsiteY31660" fmla="*/ 685989 h 6557032"/>
              <a:gd name="connsiteX31661" fmla="*/ 253282 w 4610101"/>
              <a:gd name="connsiteY31661" fmla="*/ 711499 h 6557032"/>
              <a:gd name="connsiteX31662" fmla="*/ 235061 w 4610101"/>
              <a:gd name="connsiteY31662" fmla="*/ 685989 h 6557032"/>
              <a:gd name="connsiteX31663" fmla="*/ 3177189 w 4610101"/>
              <a:gd name="connsiteY31663" fmla="*/ 685534 h 6557032"/>
              <a:gd name="connsiteX31664" fmla="*/ 3163294 w 4610101"/>
              <a:gd name="connsiteY31664" fmla="*/ 689633 h 6557032"/>
              <a:gd name="connsiteX31665" fmla="*/ 3139606 w 4610101"/>
              <a:gd name="connsiteY31665" fmla="*/ 689633 h 6557032"/>
              <a:gd name="connsiteX31666" fmla="*/ 3154184 w 4610101"/>
              <a:gd name="connsiteY31666" fmla="*/ 706033 h 6557032"/>
              <a:gd name="connsiteX31667" fmla="*/ 3152361 w 4610101"/>
              <a:gd name="connsiteY31667" fmla="*/ 698744 h 6557032"/>
              <a:gd name="connsiteX31668" fmla="*/ 3163294 w 4610101"/>
              <a:gd name="connsiteY31668" fmla="*/ 713321 h 6557032"/>
              <a:gd name="connsiteX31669" fmla="*/ 3156006 w 4610101"/>
              <a:gd name="connsiteY31669" fmla="*/ 718788 h 6557032"/>
              <a:gd name="connsiteX31670" fmla="*/ 3143250 w 4610101"/>
              <a:gd name="connsiteY31670" fmla="*/ 709677 h 6557032"/>
              <a:gd name="connsiteX31671" fmla="*/ 3137784 w 4610101"/>
              <a:gd name="connsiteY31671" fmla="*/ 709677 h 6557032"/>
              <a:gd name="connsiteX31672" fmla="*/ 3139606 w 4610101"/>
              <a:gd name="connsiteY31672" fmla="*/ 693278 h 6557032"/>
              <a:gd name="connsiteX31673" fmla="*/ 3137784 w 4610101"/>
              <a:gd name="connsiteY31673" fmla="*/ 716966 h 6557032"/>
              <a:gd name="connsiteX31674" fmla="*/ 3117740 w 4610101"/>
              <a:gd name="connsiteY31674" fmla="*/ 709677 h 6557032"/>
              <a:gd name="connsiteX31675" fmla="*/ 3117740 w 4610101"/>
              <a:gd name="connsiteY31675" fmla="*/ 718788 h 6557032"/>
              <a:gd name="connsiteX31676" fmla="*/ 3115918 w 4610101"/>
              <a:gd name="connsiteY31676" fmla="*/ 715144 h 6557032"/>
              <a:gd name="connsiteX31677" fmla="*/ 3114096 w 4610101"/>
              <a:gd name="connsiteY31677" fmla="*/ 726077 h 6557032"/>
              <a:gd name="connsiteX31678" fmla="*/ 3101340 w 4610101"/>
              <a:gd name="connsiteY31678" fmla="*/ 722432 h 6557032"/>
              <a:gd name="connsiteX31679" fmla="*/ 3103163 w 4610101"/>
              <a:gd name="connsiteY31679" fmla="*/ 733365 h 6557032"/>
              <a:gd name="connsiteX31680" fmla="*/ 3094052 w 4610101"/>
              <a:gd name="connsiteY31680" fmla="*/ 731543 h 6557032"/>
              <a:gd name="connsiteX31681" fmla="*/ 3094052 w 4610101"/>
              <a:gd name="connsiteY31681" fmla="*/ 742476 h 6557032"/>
              <a:gd name="connsiteX31682" fmla="*/ 3110451 w 4610101"/>
              <a:gd name="connsiteY31682" fmla="*/ 758876 h 6557032"/>
              <a:gd name="connsiteX31683" fmla="*/ 3117740 w 4610101"/>
              <a:gd name="connsiteY31683" fmla="*/ 755231 h 6557032"/>
              <a:gd name="connsiteX31684" fmla="*/ 3134140 w 4610101"/>
              <a:gd name="connsiteY31684" fmla="*/ 769809 h 6557032"/>
              <a:gd name="connsiteX31685" fmla="*/ 3119562 w 4610101"/>
              <a:gd name="connsiteY31685" fmla="*/ 769809 h 6557032"/>
              <a:gd name="connsiteX31686" fmla="*/ 3126851 w 4610101"/>
              <a:gd name="connsiteY31686" fmla="*/ 771631 h 6557032"/>
              <a:gd name="connsiteX31687" fmla="*/ 3121384 w 4610101"/>
              <a:gd name="connsiteY31687" fmla="*/ 778920 h 6557032"/>
              <a:gd name="connsiteX31688" fmla="*/ 3115463 w 4610101"/>
              <a:gd name="connsiteY31688" fmla="*/ 772543 h 6557032"/>
              <a:gd name="connsiteX31689" fmla="*/ 3107027 w 4610101"/>
              <a:gd name="connsiteY31689" fmla="*/ 771655 h 6557032"/>
              <a:gd name="connsiteX31690" fmla="*/ 3108629 w 4610101"/>
              <a:gd name="connsiteY31690" fmla="*/ 769809 h 6557032"/>
              <a:gd name="connsiteX31691" fmla="*/ 3106807 w 4610101"/>
              <a:gd name="connsiteY31691" fmla="*/ 771631 h 6557032"/>
              <a:gd name="connsiteX31692" fmla="*/ 3107027 w 4610101"/>
              <a:gd name="connsiteY31692" fmla="*/ 771655 h 6557032"/>
              <a:gd name="connsiteX31693" fmla="*/ 3105070 w 4610101"/>
              <a:gd name="connsiteY31693" fmla="*/ 773909 h 6557032"/>
              <a:gd name="connsiteX31694" fmla="*/ 3110451 w 4610101"/>
              <a:gd name="connsiteY31694" fmla="*/ 786208 h 6557032"/>
              <a:gd name="connsiteX31695" fmla="*/ 3108629 w 4610101"/>
              <a:gd name="connsiteY31695" fmla="*/ 793497 h 6557032"/>
              <a:gd name="connsiteX31696" fmla="*/ 3118119 w 4610101"/>
              <a:gd name="connsiteY31696" fmla="*/ 795079 h 6557032"/>
              <a:gd name="connsiteX31697" fmla="*/ 3112274 w 4610101"/>
              <a:gd name="connsiteY31697" fmla="*/ 797141 h 6557032"/>
              <a:gd name="connsiteX31698" fmla="*/ 3117740 w 4610101"/>
              <a:gd name="connsiteY31698" fmla="*/ 826296 h 6557032"/>
              <a:gd name="connsiteX31699" fmla="*/ 3115918 w 4610101"/>
              <a:gd name="connsiteY31699" fmla="*/ 831763 h 6557032"/>
              <a:gd name="connsiteX31700" fmla="*/ 3128673 w 4610101"/>
              <a:gd name="connsiteY31700" fmla="*/ 826296 h 6557032"/>
              <a:gd name="connsiteX31701" fmla="*/ 3123206 w 4610101"/>
              <a:gd name="connsiteY31701" fmla="*/ 824474 h 6557032"/>
              <a:gd name="connsiteX31702" fmla="*/ 3130495 w 4610101"/>
              <a:gd name="connsiteY31702" fmla="*/ 813541 h 6557032"/>
              <a:gd name="connsiteX31703" fmla="*/ 3141428 w 4610101"/>
              <a:gd name="connsiteY31703" fmla="*/ 820830 h 6557032"/>
              <a:gd name="connsiteX31704" fmla="*/ 3145073 w 4610101"/>
              <a:gd name="connsiteY31704" fmla="*/ 793497 h 6557032"/>
              <a:gd name="connsiteX31705" fmla="*/ 3150539 w 4610101"/>
              <a:gd name="connsiteY31705" fmla="*/ 797141 h 6557032"/>
              <a:gd name="connsiteX31706" fmla="*/ 3152361 w 4610101"/>
              <a:gd name="connsiteY31706" fmla="*/ 795319 h 6557032"/>
              <a:gd name="connsiteX31707" fmla="*/ 3146895 w 4610101"/>
              <a:gd name="connsiteY31707" fmla="*/ 819008 h 6557032"/>
              <a:gd name="connsiteX31708" fmla="*/ 3165116 w 4610101"/>
              <a:gd name="connsiteY31708" fmla="*/ 811719 h 6557032"/>
              <a:gd name="connsiteX31709" fmla="*/ 3159650 w 4610101"/>
              <a:gd name="connsiteY31709" fmla="*/ 813541 h 6557032"/>
              <a:gd name="connsiteX31710" fmla="*/ 3159650 w 4610101"/>
              <a:gd name="connsiteY31710" fmla="*/ 804430 h 6557032"/>
              <a:gd name="connsiteX31711" fmla="*/ 3168761 w 4610101"/>
              <a:gd name="connsiteY31711" fmla="*/ 804430 h 6557032"/>
              <a:gd name="connsiteX31712" fmla="*/ 3168761 w 4610101"/>
              <a:gd name="connsiteY31712" fmla="*/ 798964 h 6557032"/>
              <a:gd name="connsiteX31713" fmla="*/ 3172405 w 4610101"/>
              <a:gd name="connsiteY31713" fmla="*/ 798964 h 6557032"/>
              <a:gd name="connsiteX31714" fmla="*/ 3172405 w 4610101"/>
              <a:gd name="connsiteY31714" fmla="*/ 788031 h 6557032"/>
              <a:gd name="connsiteX31715" fmla="*/ 3179694 w 4610101"/>
              <a:gd name="connsiteY31715" fmla="*/ 789853 h 6557032"/>
              <a:gd name="connsiteX31716" fmla="*/ 3179694 w 4610101"/>
              <a:gd name="connsiteY31716" fmla="*/ 782564 h 6557032"/>
              <a:gd name="connsiteX31717" fmla="*/ 3186982 w 4610101"/>
              <a:gd name="connsiteY31717" fmla="*/ 788031 h 6557032"/>
              <a:gd name="connsiteX31718" fmla="*/ 3181516 w 4610101"/>
              <a:gd name="connsiteY31718" fmla="*/ 775275 h 6557032"/>
              <a:gd name="connsiteX31719" fmla="*/ 3177872 w 4610101"/>
              <a:gd name="connsiteY31719" fmla="*/ 782564 h 6557032"/>
              <a:gd name="connsiteX31720" fmla="*/ 3176050 w 4610101"/>
              <a:gd name="connsiteY31720" fmla="*/ 762520 h 6557032"/>
              <a:gd name="connsiteX31721" fmla="*/ 3185160 w 4610101"/>
              <a:gd name="connsiteY31721" fmla="*/ 764342 h 6557032"/>
              <a:gd name="connsiteX31722" fmla="*/ 3192449 w 4610101"/>
              <a:gd name="connsiteY31722" fmla="*/ 757054 h 6557032"/>
              <a:gd name="connsiteX31723" fmla="*/ 3190627 w 4610101"/>
              <a:gd name="connsiteY31723" fmla="*/ 755231 h 6557032"/>
              <a:gd name="connsiteX31724" fmla="*/ 3174227 w 4610101"/>
              <a:gd name="connsiteY31724" fmla="*/ 758876 h 6557032"/>
              <a:gd name="connsiteX31725" fmla="*/ 3194271 w 4610101"/>
              <a:gd name="connsiteY31725" fmla="*/ 751587 h 6557032"/>
              <a:gd name="connsiteX31726" fmla="*/ 3192449 w 4610101"/>
              <a:gd name="connsiteY31726" fmla="*/ 755231 h 6557032"/>
              <a:gd name="connsiteX31727" fmla="*/ 3199738 w 4610101"/>
              <a:gd name="connsiteY31727" fmla="*/ 742476 h 6557032"/>
              <a:gd name="connsiteX31728" fmla="*/ 3183338 w 4610101"/>
              <a:gd name="connsiteY31728" fmla="*/ 747943 h 6557032"/>
              <a:gd name="connsiteX31729" fmla="*/ 3185160 w 4610101"/>
              <a:gd name="connsiteY31729" fmla="*/ 740654 h 6557032"/>
              <a:gd name="connsiteX31730" fmla="*/ 3172405 w 4610101"/>
              <a:gd name="connsiteY31730" fmla="*/ 744298 h 6557032"/>
              <a:gd name="connsiteX31731" fmla="*/ 3170583 w 4610101"/>
              <a:gd name="connsiteY31731" fmla="*/ 738832 h 6557032"/>
              <a:gd name="connsiteX31732" fmla="*/ 3177872 w 4610101"/>
              <a:gd name="connsiteY31732" fmla="*/ 740654 h 6557032"/>
              <a:gd name="connsiteX31733" fmla="*/ 3177872 w 4610101"/>
              <a:gd name="connsiteY31733" fmla="*/ 727899 h 6557032"/>
              <a:gd name="connsiteX31734" fmla="*/ 3212493 w 4610101"/>
              <a:gd name="connsiteY31734" fmla="*/ 729721 h 6557032"/>
              <a:gd name="connsiteX31735" fmla="*/ 3214315 w 4610101"/>
              <a:gd name="connsiteY31735" fmla="*/ 718788 h 6557032"/>
              <a:gd name="connsiteX31736" fmla="*/ 3192449 w 4610101"/>
              <a:gd name="connsiteY31736" fmla="*/ 689633 h 6557032"/>
              <a:gd name="connsiteX31737" fmla="*/ 3177189 w 4610101"/>
              <a:gd name="connsiteY31737" fmla="*/ 685534 h 6557032"/>
              <a:gd name="connsiteX31738" fmla="*/ 3074008 w 4610101"/>
              <a:gd name="connsiteY31738" fmla="*/ 684167 h 6557032"/>
              <a:gd name="connsiteX31739" fmla="*/ 3072186 w 4610101"/>
              <a:gd name="connsiteY31739" fmla="*/ 689633 h 6557032"/>
              <a:gd name="connsiteX31740" fmla="*/ 3081297 w 4610101"/>
              <a:gd name="connsiteY31740" fmla="*/ 689633 h 6557032"/>
              <a:gd name="connsiteX31741" fmla="*/ 3074008 w 4610101"/>
              <a:gd name="connsiteY31741" fmla="*/ 684167 h 6557032"/>
              <a:gd name="connsiteX31742" fmla="*/ 1322899 w 4610101"/>
              <a:gd name="connsiteY31742" fmla="*/ 684167 h 6557032"/>
              <a:gd name="connsiteX31743" fmla="*/ 1317432 w 4610101"/>
              <a:gd name="connsiteY31743" fmla="*/ 689633 h 6557032"/>
              <a:gd name="connsiteX31744" fmla="*/ 1322899 w 4610101"/>
              <a:gd name="connsiteY31744" fmla="*/ 684167 h 6557032"/>
              <a:gd name="connsiteX31745" fmla="*/ 1315610 w 4610101"/>
              <a:gd name="connsiteY31745" fmla="*/ 684167 h 6557032"/>
              <a:gd name="connsiteX31746" fmla="*/ 1311966 w 4610101"/>
              <a:gd name="connsiteY31746" fmla="*/ 685989 h 6557032"/>
              <a:gd name="connsiteX31747" fmla="*/ 1313788 w 4610101"/>
              <a:gd name="connsiteY31747" fmla="*/ 689633 h 6557032"/>
              <a:gd name="connsiteX31748" fmla="*/ 1315610 w 4610101"/>
              <a:gd name="connsiteY31748" fmla="*/ 684167 h 6557032"/>
              <a:gd name="connsiteX31749" fmla="*/ 1264589 w 4610101"/>
              <a:gd name="connsiteY31749" fmla="*/ 684167 h 6557032"/>
              <a:gd name="connsiteX31750" fmla="*/ 1262767 w 4610101"/>
              <a:gd name="connsiteY31750" fmla="*/ 687811 h 6557032"/>
              <a:gd name="connsiteX31751" fmla="*/ 1264589 w 4610101"/>
              <a:gd name="connsiteY31751" fmla="*/ 684167 h 6557032"/>
              <a:gd name="connsiteX31752" fmla="*/ 1228146 w 4610101"/>
              <a:gd name="connsiteY31752" fmla="*/ 684167 h 6557032"/>
              <a:gd name="connsiteX31753" fmla="*/ 1228146 w 4610101"/>
              <a:gd name="connsiteY31753" fmla="*/ 687811 h 6557032"/>
              <a:gd name="connsiteX31754" fmla="*/ 1229969 w 4610101"/>
              <a:gd name="connsiteY31754" fmla="*/ 685989 h 6557032"/>
              <a:gd name="connsiteX31755" fmla="*/ 1228146 w 4610101"/>
              <a:gd name="connsiteY31755" fmla="*/ 684167 h 6557032"/>
              <a:gd name="connsiteX31756" fmla="*/ 1211747 w 4610101"/>
              <a:gd name="connsiteY31756" fmla="*/ 684167 h 6557032"/>
              <a:gd name="connsiteX31757" fmla="*/ 1204457 w 4610101"/>
              <a:gd name="connsiteY31757" fmla="*/ 689633 h 6557032"/>
              <a:gd name="connsiteX31758" fmla="*/ 1211747 w 4610101"/>
              <a:gd name="connsiteY31758" fmla="*/ 684167 h 6557032"/>
              <a:gd name="connsiteX31759" fmla="*/ 1102416 w 4610101"/>
              <a:gd name="connsiteY31759" fmla="*/ 684167 h 6557032"/>
              <a:gd name="connsiteX31760" fmla="*/ 1087838 w 4610101"/>
              <a:gd name="connsiteY31760" fmla="*/ 696922 h 6557032"/>
              <a:gd name="connsiteX31761" fmla="*/ 1102416 w 4610101"/>
              <a:gd name="connsiteY31761" fmla="*/ 684167 h 6557032"/>
              <a:gd name="connsiteX31762" fmla="*/ 1082373 w 4610101"/>
              <a:gd name="connsiteY31762" fmla="*/ 684167 h 6557032"/>
              <a:gd name="connsiteX31763" fmla="*/ 1075083 w 4610101"/>
              <a:gd name="connsiteY31763" fmla="*/ 689633 h 6557032"/>
              <a:gd name="connsiteX31764" fmla="*/ 1082373 w 4610101"/>
              <a:gd name="connsiteY31764" fmla="*/ 689633 h 6557032"/>
              <a:gd name="connsiteX31765" fmla="*/ 1082373 w 4610101"/>
              <a:gd name="connsiteY31765" fmla="*/ 684167 h 6557032"/>
              <a:gd name="connsiteX31766" fmla="*/ 1038639 w 4610101"/>
              <a:gd name="connsiteY31766" fmla="*/ 684167 h 6557032"/>
              <a:gd name="connsiteX31767" fmla="*/ 1033173 w 4610101"/>
              <a:gd name="connsiteY31767" fmla="*/ 691455 h 6557032"/>
              <a:gd name="connsiteX31768" fmla="*/ 1038639 w 4610101"/>
              <a:gd name="connsiteY31768" fmla="*/ 684167 h 6557032"/>
              <a:gd name="connsiteX31769" fmla="*/ 799935 w 4610101"/>
              <a:gd name="connsiteY31769" fmla="*/ 684167 h 6557032"/>
              <a:gd name="connsiteX31770" fmla="*/ 809046 w 4610101"/>
              <a:gd name="connsiteY31770" fmla="*/ 696922 h 6557032"/>
              <a:gd name="connsiteX31771" fmla="*/ 810868 w 4610101"/>
              <a:gd name="connsiteY31771" fmla="*/ 687811 h 6557032"/>
              <a:gd name="connsiteX31772" fmla="*/ 799935 w 4610101"/>
              <a:gd name="connsiteY31772" fmla="*/ 684167 h 6557032"/>
              <a:gd name="connsiteX31773" fmla="*/ 535719 w 4610101"/>
              <a:gd name="connsiteY31773" fmla="*/ 684167 h 6557032"/>
              <a:gd name="connsiteX31774" fmla="*/ 534922 w 4610101"/>
              <a:gd name="connsiteY31774" fmla="*/ 688950 h 6557032"/>
              <a:gd name="connsiteX31775" fmla="*/ 533897 w 4610101"/>
              <a:gd name="connsiteY31775" fmla="*/ 689633 h 6557032"/>
              <a:gd name="connsiteX31776" fmla="*/ 533897 w 4610101"/>
              <a:gd name="connsiteY31776" fmla="*/ 695100 h 6557032"/>
              <a:gd name="connsiteX31777" fmla="*/ 534922 w 4610101"/>
              <a:gd name="connsiteY31777" fmla="*/ 688950 h 6557032"/>
              <a:gd name="connsiteX31778" fmla="*/ 539364 w 4610101"/>
              <a:gd name="connsiteY31778" fmla="*/ 685989 h 6557032"/>
              <a:gd name="connsiteX31779" fmla="*/ 535719 w 4610101"/>
              <a:gd name="connsiteY31779" fmla="*/ 684167 h 6557032"/>
              <a:gd name="connsiteX31780" fmla="*/ 187684 w 4610101"/>
              <a:gd name="connsiteY31780" fmla="*/ 684167 h 6557032"/>
              <a:gd name="connsiteX31781" fmla="*/ 193151 w 4610101"/>
              <a:gd name="connsiteY31781" fmla="*/ 691455 h 6557032"/>
              <a:gd name="connsiteX31782" fmla="*/ 187684 w 4610101"/>
              <a:gd name="connsiteY31782" fmla="*/ 684167 h 6557032"/>
              <a:gd name="connsiteX31783" fmla="*/ 1446806 w 4610101"/>
              <a:gd name="connsiteY31783" fmla="*/ 682345 h 6557032"/>
              <a:gd name="connsiteX31784" fmla="*/ 1403074 w 4610101"/>
              <a:gd name="connsiteY31784" fmla="*/ 687811 h 6557032"/>
              <a:gd name="connsiteX31785" fmla="*/ 1393963 w 4610101"/>
              <a:gd name="connsiteY31785" fmla="*/ 695100 h 6557032"/>
              <a:gd name="connsiteX31786" fmla="*/ 1395787 w 4610101"/>
              <a:gd name="connsiteY31786" fmla="*/ 695100 h 6557032"/>
              <a:gd name="connsiteX31787" fmla="*/ 1372097 w 4610101"/>
              <a:gd name="connsiteY31787" fmla="*/ 700566 h 6557032"/>
              <a:gd name="connsiteX31788" fmla="*/ 1370908 w 4610101"/>
              <a:gd name="connsiteY31788" fmla="*/ 706509 h 6557032"/>
              <a:gd name="connsiteX31789" fmla="*/ 1344765 w 4610101"/>
              <a:gd name="connsiteY31789" fmla="*/ 716966 h 6557032"/>
              <a:gd name="connsiteX31790" fmla="*/ 1347982 w 4610101"/>
              <a:gd name="connsiteY31790" fmla="*/ 717218 h 6557032"/>
              <a:gd name="connsiteX31791" fmla="*/ 1342942 w 4610101"/>
              <a:gd name="connsiteY31791" fmla="*/ 716966 h 6557032"/>
              <a:gd name="connsiteX31792" fmla="*/ 1332008 w 4610101"/>
              <a:gd name="connsiteY31792" fmla="*/ 719153 h 6557032"/>
              <a:gd name="connsiteX31793" fmla="*/ 1324721 w 4610101"/>
              <a:gd name="connsiteY31793" fmla="*/ 720610 h 6557032"/>
              <a:gd name="connsiteX31794" fmla="*/ 1317432 w 4610101"/>
              <a:gd name="connsiteY31794" fmla="*/ 724254 h 6557032"/>
              <a:gd name="connsiteX31795" fmla="*/ 1322899 w 4610101"/>
              <a:gd name="connsiteY31795" fmla="*/ 727899 h 6557032"/>
              <a:gd name="connsiteX31796" fmla="*/ 1341120 w 4610101"/>
              <a:gd name="connsiteY31796" fmla="*/ 724254 h 6557032"/>
              <a:gd name="connsiteX31797" fmla="*/ 1342942 w 4610101"/>
              <a:gd name="connsiteY31797" fmla="*/ 727899 h 6557032"/>
              <a:gd name="connsiteX31798" fmla="*/ 1344765 w 4610101"/>
              <a:gd name="connsiteY31798" fmla="*/ 726077 h 6557032"/>
              <a:gd name="connsiteX31799" fmla="*/ 1362987 w 4610101"/>
              <a:gd name="connsiteY31799" fmla="*/ 726077 h 6557032"/>
              <a:gd name="connsiteX31800" fmla="*/ 1370275 w 4610101"/>
              <a:gd name="connsiteY31800" fmla="*/ 722432 h 6557032"/>
              <a:gd name="connsiteX31801" fmla="*/ 1368908 w 4610101"/>
              <a:gd name="connsiteY31801" fmla="*/ 719699 h 6557032"/>
              <a:gd name="connsiteX31802" fmla="*/ 1369725 w 4610101"/>
              <a:gd name="connsiteY31802" fmla="*/ 718066 h 6557032"/>
              <a:gd name="connsiteX31803" fmla="*/ 1376881 w 4610101"/>
              <a:gd name="connsiteY31803" fmla="*/ 714005 h 6557032"/>
              <a:gd name="connsiteX31804" fmla="*/ 1375743 w 4610101"/>
              <a:gd name="connsiteY31804" fmla="*/ 707855 h 6557032"/>
              <a:gd name="connsiteX31805" fmla="*/ 1381208 w 4610101"/>
              <a:gd name="connsiteY31805" fmla="*/ 711499 h 6557032"/>
              <a:gd name="connsiteX31806" fmla="*/ 1388497 w 4610101"/>
              <a:gd name="connsiteY31806" fmla="*/ 709677 h 6557032"/>
              <a:gd name="connsiteX31807" fmla="*/ 1390319 w 4610101"/>
              <a:gd name="connsiteY31807" fmla="*/ 713321 h 6557032"/>
              <a:gd name="connsiteX31808" fmla="*/ 1377564 w 4610101"/>
              <a:gd name="connsiteY31808" fmla="*/ 733365 h 6557032"/>
              <a:gd name="connsiteX31809" fmla="*/ 1379386 w 4610101"/>
              <a:gd name="connsiteY31809" fmla="*/ 731543 h 6557032"/>
              <a:gd name="connsiteX31810" fmla="*/ 1377564 w 4610101"/>
              <a:gd name="connsiteY31810" fmla="*/ 735188 h 6557032"/>
              <a:gd name="connsiteX31811" fmla="*/ 1392141 w 4610101"/>
              <a:gd name="connsiteY31811" fmla="*/ 735188 h 6557032"/>
              <a:gd name="connsiteX31812" fmla="*/ 1392141 w 4610101"/>
              <a:gd name="connsiteY31812" fmla="*/ 731543 h 6557032"/>
              <a:gd name="connsiteX31813" fmla="*/ 1399430 w 4610101"/>
              <a:gd name="connsiteY31813" fmla="*/ 731543 h 6557032"/>
              <a:gd name="connsiteX31814" fmla="*/ 1417652 w 4610101"/>
              <a:gd name="connsiteY31814" fmla="*/ 718788 h 6557032"/>
              <a:gd name="connsiteX31815" fmla="*/ 1412185 w 4610101"/>
              <a:gd name="connsiteY31815" fmla="*/ 707855 h 6557032"/>
              <a:gd name="connsiteX31816" fmla="*/ 1417652 w 4610101"/>
              <a:gd name="connsiteY31816" fmla="*/ 711499 h 6557032"/>
              <a:gd name="connsiteX31817" fmla="*/ 1419474 w 4610101"/>
              <a:gd name="connsiteY31817" fmla="*/ 704211 h 6557032"/>
              <a:gd name="connsiteX31818" fmla="*/ 1426763 w 4610101"/>
              <a:gd name="connsiteY31818" fmla="*/ 707855 h 6557032"/>
              <a:gd name="connsiteX31819" fmla="*/ 1426763 w 4610101"/>
              <a:gd name="connsiteY31819" fmla="*/ 711499 h 6557032"/>
              <a:gd name="connsiteX31820" fmla="*/ 1424940 w 4610101"/>
              <a:gd name="connsiteY31820" fmla="*/ 707855 h 6557032"/>
              <a:gd name="connsiteX31821" fmla="*/ 1421296 w 4610101"/>
              <a:gd name="connsiteY31821" fmla="*/ 720610 h 6557032"/>
              <a:gd name="connsiteX31822" fmla="*/ 1426763 w 4610101"/>
              <a:gd name="connsiteY31822" fmla="*/ 713321 h 6557032"/>
              <a:gd name="connsiteX31823" fmla="*/ 1432229 w 4610101"/>
              <a:gd name="connsiteY31823" fmla="*/ 713321 h 6557032"/>
              <a:gd name="connsiteX31824" fmla="*/ 1421296 w 4610101"/>
              <a:gd name="connsiteY31824" fmla="*/ 722432 h 6557032"/>
              <a:gd name="connsiteX31825" fmla="*/ 1406719 w 4610101"/>
              <a:gd name="connsiteY31825" fmla="*/ 737010 h 6557032"/>
              <a:gd name="connsiteX31826" fmla="*/ 1421296 w 4610101"/>
              <a:gd name="connsiteY31826" fmla="*/ 722432 h 6557032"/>
              <a:gd name="connsiteX31827" fmla="*/ 1423118 w 4610101"/>
              <a:gd name="connsiteY31827" fmla="*/ 727899 h 6557032"/>
              <a:gd name="connsiteX31828" fmla="*/ 1437696 w 4610101"/>
              <a:gd name="connsiteY31828" fmla="*/ 707855 h 6557032"/>
              <a:gd name="connsiteX31829" fmla="*/ 1439518 w 4610101"/>
              <a:gd name="connsiteY31829" fmla="*/ 691455 h 6557032"/>
              <a:gd name="connsiteX31830" fmla="*/ 1444984 w 4610101"/>
              <a:gd name="connsiteY31830" fmla="*/ 700566 h 6557032"/>
              <a:gd name="connsiteX31831" fmla="*/ 1446806 w 4610101"/>
              <a:gd name="connsiteY31831" fmla="*/ 682345 h 6557032"/>
              <a:gd name="connsiteX31832" fmla="*/ 1406719 w 4610101"/>
              <a:gd name="connsiteY31832" fmla="*/ 682345 h 6557032"/>
              <a:gd name="connsiteX31833" fmla="*/ 1388497 w 4610101"/>
              <a:gd name="connsiteY31833" fmla="*/ 695100 h 6557032"/>
              <a:gd name="connsiteX31834" fmla="*/ 1406719 w 4610101"/>
              <a:gd name="connsiteY31834" fmla="*/ 682345 h 6557032"/>
              <a:gd name="connsiteX31835" fmla="*/ 1377564 w 4610101"/>
              <a:gd name="connsiteY31835" fmla="*/ 682345 h 6557032"/>
              <a:gd name="connsiteX31836" fmla="*/ 1370275 w 4610101"/>
              <a:gd name="connsiteY31836" fmla="*/ 684167 h 6557032"/>
              <a:gd name="connsiteX31837" fmla="*/ 1377564 w 4610101"/>
              <a:gd name="connsiteY31837" fmla="*/ 682345 h 6557032"/>
              <a:gd name="connsiteX31838" fmla="*/ 1293744 w 4610101"/>
              <a:gd name="connsiteY31838" fmla="*/ 682345 h 6557032"/>
              <a:gd name="connsiteX31839" fmla="*/ 1290100 w 4610101"/>
              <a:gd name="connsiteY31839" fmla="*/ 684167 h 6557032"/>
              <a:gd name="connsiteX31840" fmla="*/ 1290100 w 4610101"/>
              <a:gd name="connsiteY31840" fmla="*/ 689633 h 6557032"/>
              <a:gd name="connsiteX31841" fmla="*/ 1293744 w 4610101"/>
              <a:gd name="connsiteY31841" fmla="*/ 682345 h 6557032"/>
              <a:gd name="connsiteX31842" fmla="*/ 1248189 w 4610101"/>
              <a:gd name="connsiteY31842" fmla="*/ 682345 h 6557032"/>
              <a:gd name="connsiteX31843" fmla="*/ 1244545 w 4610101"/>
              <a:gd name="connsiteY31843" fmla="*/ 685989 h 6557032"/>
              <a:gd name="connsiteX31844" fmla="*/ 1248189 w 4610101"/>
              <a:gd name="connsiteY31844" fmla="*/ 682345 h 6557032"/>
              <a:gd name="connsiteX31845" fmla="*/ 1106060 w 4610101"/>
              <a:gd name="connsiteY31845" fmla="*/ 682345 h 6557032"/>
              <a:gd name="connsiteX31846" fmla="*/ 1100593 w 4610101"/>
              <a:gd name="connsiteY31846" fmla="*/ 689633 h 6557032"/>
              <a:gd name="connsiteX31847" fmla="*/ 1106060 w 4610101"/>
              <a:gd name="connsiteY31847" fmla="*/ 682345 h 6557032"/>
              <a:gd name="connsiteX31848" fmla="*/ 1069616 w 4610101"/>
              <a:gd name="connsiteY31848" fmla="*/ 682345 h 6557032"/>
              <a:gd name="connsiteX31849" fmla="*/ 1064151 w 4610101"/>
              <a:gd name="connsiteY31849" fmla="*/ 687811 h 6557032"/>
              <a:gd name="connsiteX31850" fmla="*/ 1069616 w 4610101"/>
              <a:gd name="connsiteY31850" fmla="*/ 682345 h 6557032"/>
              <a:gd name="connsiteX31851" fmla="*/ 1000374 w 4610101"/>
              <a:gd name="connsiteY31851" fmla="*/ 682345 h 6557032"/>
              <a:gd name="connsiteX31852" fmla="*/ 1000374 w 4610101"/>
              <a:gd name="connsiteY31852" fmla="*/ 685989 h 6557032"/>
              <a:gd name="connsiteX31853" fmla="*/ 999332 w 4610101"/>
              <a:gd name="connsiteY31853" fmla="*/ 683907 h 6557032"/>
              <a:gd name="connsiteX31854" fmla="*/ 967575 w 4610101"/>
              <a:gd name="connsiteY31854" fmla="*/ 682345 h 6557032"/>
              <a:gd name="connsiteX31855" fmla="*/ 955730 w 4610101"/>
              <a:gd name="connsiteY31855" fmla="*/ 682573 h 6557032"/>
              <a:gd name="connsiteX31856" fmla="*/ 955150 w 4610101"/>
              <a:gd name="connsiteY31856" fmla="*/ 690556 h 6557032"/>
              <a:gd name="connsiteX31857" fmla="*/ 952997 w 4610101"/>
              <a:gd name="connsiteY31857" fmla="*/ 689633 h 6557032"/>
              <a:gd name="connsiteX31858" fmla="*/ 955139 w 4610101"/>
              <a:gd name="connsiteY31858" fmla="*/ 690705 h 6557032"/>
              <a:gd name="connsiteX31859" fmla="*/ 954819 w 4610101"/>
              <a:gd name="connsiteY31859" fmla="*/ 695100 h 6557032"/>
              <a:gd name="connsiteX31860" fmla="*/ 963930 w 4610101"/>
              <a:gd name="connsiteY31860" fmla="*/ 695100 h 6557032"/>
              <a:gd name="connsiteX31861" fmla="*/ 955139 w 4610101"/>
              <a:gd name="connsiteY31861" fmla="*/ 690705 h 6557032"/>
              <a:gd name="connsiteX31862" fmla="*/ 955150 w 4610101"/>
              <a:gd name="connsiteY31862" fmla="*/ 690556 h 6557032"/>
              <a:gd name="connsiteX31863" fmla="*/ 965753 w 4610101"/>
              <a:gd name="connsiteY31863" fmla="*/ 695100 h 6557032"/>
              <a:gd name="connsiteX31864" fmla="*/ 965753 w 4610101"/>
              <a:gd name="connsiteY31864" fmla="*/ 685989 h 6557032"/>
              <a:gd name="connsiteX31865" fmla="*/ 967575 w 4610101"/>
              <a:gd name="connsiteY31865" fmla="*/ 689633 h 6557032"/>
              <a:gd name="connsiteX31866" fmla="*/ 967575 w 4610101"/>
              <a:gd name="connsiteY31866" fmla="*/ 682345 h 6557032"/>
              <a:gd name="connsiteX31867" fmla="*/ 892866 w 4610101"/>
              <a:gd name="connsiteY31867" fmla="*/ 682345 h 6557032"/>
              <a:gd name="connsiteX31868" fmla="*/ 887399 w 4610101"/>
              <a:gd name="connsiteY31868" fmla="*/ 687811 h 6557032"/>
              <a:gd name="connsiteX31869" fmla="*/ 891043 w 4610101"/>
              <a:gd name="connsiteY31869" fmla="*/ 689633 h 6557032"/>
              <a:gd name="connsiteX31870" fmla="*/ 892866 w 4610101"/>
              <a:gd name="connsiteY31870" fmla="*/ 682345 h 6557032"/>
              <a:gd name="connsiteX31871" fmla="*/ 863711 w 4610101"/>
              <a:gd name="connsiteY31871" fmla="*/ 682345 h 6557032"/>
              <a:gd name="connsiteX31872" fmla="*/ 858244 w 4610101"/>
              <a:gd name="connsiteY31872" fmla="*/ 685989 h 6557032"/>
              <a:gd name="connsiteX31873" fmla="*/ 861889 w 4610101"/>
              <a:gd name="connsiteY31873" fmla="*/ 689633 h 6557032"/>
              <a:gd name="connsiteX31874" fmla="*/ 865533 w 4610101"/>
              <a:gd name="connsiteY31874" fmla="*/ 685989 h 6557032"/>
              <a:gd name="connsiteX31875" fmla="*/ 863711 w 4610101"/>
              <a:gd name="connsiteY31875" fmla="*/ 682345 h 6557032"/>
              <a:gd name="connsiteX31876" fmla="*/ 697893 w 4610101"/>
              <a:gd name="connsiteY31876" fmla="*/ 682345 h 6557032"/>
              <a:gd name="connsiteX31877" fmla="*/ 699715 w 4610101"/>
              <a:gd name="connsiteY31877" fmla="*/ 695100 h 6557032"/>
              <a:gd name="connsiteX31878" fmla="*/ 710648 w 4610101"/>
              <a:gd name="connsiteY31878" fmla="*/ 684167 h 6557032"/>
              <a:gd name="connsiteX31879" fmla="*/ 697893 w 4610101"/>
              <a:gd name="connsiteY31879" fmla="*/ 682345 h 6557032"/>
              <a:gd name="connsiteX31880" fmla="*/ 977633 w 4610101"/>
              <a:gd name="connsiteY31880" fmla="*/ 680547 h 6557032"/>
              <a:gd name="connsiteX31881" fmla="*/ 982184 w 4610101"/>
              <a:gd name="connsiteY31881" fmla="*/ 680667 h 6557032"/>
              <a:gd name="connsiteX31882" fmla="*/ 980330 w 4610101"/>
              <a:gd name="connsiteY31882" fmla="*/ 682345 h 6557032"/>
              <a:gd name="connsiteX31883" fmla="*/ 1310143 w 4610101"/>
              <a:gd name="connsiteY31883" fmla="*/ 680522 h 6557032"/>
              <a:gd name="connsiteX31884" fmla="*/ 1304677 w 4610101"/>
              <a:gd name="connsiteY31884" fmla="*/ 685989 h 6557032"/>
              <a:gd name="connsiteX31885" fmla="*/ 1310143 w 4610101"/>
              <a:gd name="connsiteY31885" fmla="*/ 680522 h 6557032"/>
              <a:gd name="connsiteX31886" fmla="*/ 1286455 w 4610101"/>
              <a:gd name="connsiteY31886" fmla="*/ 680522 h 6557032"/>
              <a:gd name="connsiteX31887" fmla="*/ 1275522 w 4610101"/>
              <a:gd name="connsiteY31887" fmla="*/ 683712 h 6557032"/>
              <a:gd name="connsiteX31888" fmla="*/ 1269931 w 4610101"/>
              <a:gd name="connsiteY31888" fmla="*/ 686740 h 6557032"/>
              <a:gd name="connsiteX31889" fmla="*/ 1270056 w 4610101"/>
              <a:gd name="connsiteY31889" fmla="*/ 685989 h 6557032"/>
              <a:gd name="connsiteX31890" fmla="*/ 1264589 w 4610101"/>
              <a:gd name="connsiteY31890" fmla="*/ 689633 h 6557032"/>
              <a:gd name="connsiteX31891" fmla="*/ 1269931 w 4610101"/>
              <a:gd name="connsiteY31891" fmla="*/ 686740 h 6557032"/>
              <a:gd name="connsiteX31892" fmla="*/ 1269144 w 4610101"/>
              <a:gd name="connsiteY31892" fmla="*/ 691456 h 6557032"/>
              <a:gd name="connsiteX31893" fmla="*/ 1268233 w 4610101"/>
              <a:gd name="connsiteY31893" fmla="*/ 696922 h 6557032"/>
              <a:gd name="connsiteX31894" fmla="*/ 1286455 w 4610101"/>
              <a:gd name="connsiteY31894" fmla="*/ 680522 h 6557032"/>
              <a:gd name="connsiteX31895" fmla="*/ 1186236 w 4610101"/>
              <a:gd name="connsiteY31895" fmla="*/ 680522 h 6557032"/>
              <a:gd name="connsiteX31896" fmla="*/ 1177125 w 4610101"/>
              <a:gd name="connsiteY31896" fmla="*/ 689633 h 6557032"/>
              <a:gd name="connsiteX31897" fmla="*/ 1184414 w 4610101"/>
              <a:gd name="connsiteY31897" fmla="*/ 682345 h 6557032"/>
              <a:gd name="connsiteX31898" fmla="*/ 1180769 w 4610101"/>
              <a:gd name="connsiteY31898" fmla="*/ 687811 h 6557032"/>
              <a:gd name="connsiteX31899" fmla="*/ 1188058 w 4610101"/>
              <a:gd name="connsiteY31899" fmla="*/ 685989 h 6557032"/>
              <a:gd name="connsiteX31900" fmla="*/ 1186236 w 4610101"/>
              <a:gd name="connsiteY31900" fmla="*/ 680522 h 6557032"/>
              <a:gd name="connsiteX31901" fmla="*/ 1140681 w 4610101"/>
              <a:gd name="connsiteY31901" fmla="*/ 680522 h 6557032"/>
              <a:gd name="connsiteX31902" fmla="*/ 1133393 w 4610101"/>
              <a:gd name="connsiteY31902" fmla="*/ 684167 h 6557032"/>
              <a:gd name="connsiteX31903" fmla="*/ 1135215 w 4610101"/>
              <a:gd name="connsiteY31903" fmla="*/ 687811 h 6557032"/>
              <a:gd name="connsiteX31904" fmla="*/ 1140681 w 4610101"/>
              <a:gd name="connsiteY31904" fmla="*/ 680522 h 6557032"/>
              <a:gd name="connsiteX31905" fmla="*/ 1018596 w 4610101"/>
              <a:gd name="connsiteY31905" fmla="*/ 680522 h 6557032"/>
              <a:gd name="connsiteX31906" fmla="*/ 1005840 w 4610101"/>
              <a:gd name="connsiteY31906" fmla="*/ 691455 h 6557032"/>
              <a:gd name="connsiteX31907" fmla="*/ 1018596 w 4610101"/>
              <a:gd name="connsiteY31907" fmla="*/ 680522 h 6557032"/>
              <a:gd name="connsiteX31908" fmla="*/ 1005840 w 4610101"/>
              <a:gd name="connsiteY31908" fmla="*/ 680522 h 6557032"/>
              <a:gd name="connsiteX31909" fmla="*/ 1005785 w 4610101"/>
              <a:gd name="connsiteY31909" fmla="*/ 680742 h 6557032"/>
              <a:gd name="connsiteX31910" fmla="*/ 1005203 w 4610101"/>
              <a:gd name="connsiteY31910" fmla="*/ 681307 h 6557032"/>
              <a:gd name="connsiteX31911" fmla="*/ 993085 w 4610101"/>
              <a:gd name="connsiteY31911" fmla="*/ 680522 h 6557032"/>
              <a:gd name="connsiteX31912" fmla="*/ 996729 w 4610101"/>
              <a:gd name="connsiteY31912" fmla="*/ 684167 h 6557032"/>
              <a:gd name="connsiteX31913" fmla="*/ 993085 w 4610101"/>
              <a:gd name="connsiteY31913" fmla="*/ 680522 h 6557032"/>
              <a:gd name="connsiteX31914" fmla="*/ 936598 w 4610101"/>
              <a:gd name="connsiteY31914" fmla="*/ 680522 h 6557032"/>
              <a:gd name="connsiteX31915" fmla="*/ 937509 w 4610101"/>
              <a:gd name="connsiteY31915" fmla="*/ 684167 h 6557032"/>
              <a:gd name="connsiteX31916" fmla="*/ 937053 w 4610101"/>
              <a:gd name="connsiteY31916" fmla="*/ 685078 h 6557032"/>
              <a:gd name="connsiteX31917" fmla="*/ 938420 w 4610101"/>
              <a:gd name="connsiteY31917" fmla="*/ 687811 h 6557032"/>
              <a:gd name="connsiteX31918" fmla="*/ 937509 w 4610101"/>
              <a:gd name="connsiteY31918" fmla="*/ 684167 h 6557032"/>
              <a:gd name="connsiteX31919" fmla="*/ 938420 w 4610101"/>
              <a:gd name="connsiteY31919" fmla="*/ 682345 h 6557032"/>
              <a:gd name="connsiteX31920" fmla="*/ 936598 w 4610101"/>
              <a:gd name="connsiteY31920" fmla="*/ 680522 h 6557032"/>
              <a:gd name="connsiteX31921" fmla="*/ 615895 w 4610101"/>
              <a:gd name="connsiteY31921" fmla="*/ 680522 h 6557032"/>
              <a:gd name="connsiteX31922" fmla="*/ 599496 w 4610101"/>
              <a:gd name="connsiteY31922" fmla="*/ 704211 h 6557032"/>
              <a:gd name="connsiteX31923" fmla="*/ 608606 w 4610101"/>
              <a:gd name="connsiteY31923" fmla="*/ 687811 h 6557032"/>
              <a:gd name="connsiteX31924" fmla="*/ 615895 w 4610101"/>
              <a:gd name="connsiteY31924" fmla="*/ 680522 h 6557032"/>
              <a:gd name="connsiteX31925" fmla="*/ 499276 w 4610101"/>
              <a:gd name="connsiteY31925" fmla="*/ 680522 h 6557032"/>
              <a:gd name="connsiteX31926" fmla="*/ 499276 w 4610101"/>
              <a:gd name="connsiteY31926" fmla="*/ 687811 h 6557032"/>
              <a:gd name="connsiteX31927" fmla="*/ 499276 w 4610101"/>
              <a:gd name="connsiteY31927" fmla="*/ 680522 h 6557032"/>
              <a:gd name="connsiteX31928" fmla="*/ 433678 w 4610101"/>
              <a:gd name="connsiteY31928" fmla="*/ 680522 h 6557032"/>
              <a:gd name="connsiteX31929" fmla="*/ 428211 w 4610101"/>
              <a:gd name="connsiteY31929" fmla="*/ 687811 h 6557032"/>
              <a:gd name="connsiteX31930" fmla="*/ 439145 w 4610101"/>
              <a:gd name="connsiteY31930" fmla="*/ 695100 h 6557032"/>
              <a:gd name="connsiteX31931" fmla="*/ 440216 w 4610101"/>
              <a:gd name="connsiteY31931" fmla="*/ 692528 h 6557032"/>
              <a:gd name="connsiteX31932" fmla="*/ 440966 w 4610101"/>
              <a:gd name="connsiteY31932" fmla="*/ 693278 h 6557032"/>
              <a:gd name="connsiteX31933" fmla="*/ 444611 w 4610101"/>
              <a:gd name="connsiteY31933" fmla="*/ 696922 h 6557032"/>
              <a:gd name="connsiteX31934" fmla="*/ 439145 w 4610101"/>
              <a:gd name="connsiteY31934" fmla="*/ 684167 h 6557032"/>
              <a:gd name="connsiteX31935" fmla="*/ 433678 w 4610101"/>
              <a:gd name="connsiteY31935" fmla="*/ 680522 h 6557032"/>
              <a:gd name="connsiteX31936" fmla="*/ 386301 w 4610101"/>
              <a:gd name="connsiteY31936" fmla="*/ 680522 h 6557032"/>
              <a:gd name="connsiteX31937" fmla="*/ 389946 w 4610101"/>
              <a:gd name="connsiteY31937" fmla="*/ 685989 h 6557032"/>
              <a:gd name="connsiteX31938" fmla="*/ 386301 w 4610101"/>
              <a:gd name="connsiteY31938" fmla="*/ 680522 h 6557032"/>
              <a:gd name="connsiteX31939" fmla="*/ 327993 w 4610101"/>
              <a:gd name="connsiteY31939" fmla="*/ 680522 h 6557032"/>
              <a:gd name="connsiteX31940" fmla="*/ 342569 w 4610101"/>
              <a:gd name="connsiteY31940" fmla="*/ 693278 h 6557032"/>
              <a:gd name="connsiteX31941" fmla="*/ 327993 w 4610101"/>
              <a:gd name="connsiteY31941" fmla="*/ 680522 h 6557032"/>
              <a:gd name="connsiteX31942" fmla="*/ 218661 w 4610101"/>
              <a:gd name="connsiteY31942" fmla="*/ 680522 h 6557032"/>
              <a:gd name="connsiteX31943" fmla="*/ 229594 w 4610101"/>
              <a:gd name="connsiteY31943" fmla="*/ 695100 h 6557032"/>
              <a:gd name="connsiteX31944" fmla="*/ 227435 w 4610101"/>
              <a:gd name="connsiteY31944" fmla="*/ 687541 h 6557032"/>
              <a:gd name="connsiteX31945" fmla="*/ 227772 w 4610101"/>
              <a:gd name="connsiteY31945" fmla="*/ 687811 h 6557032"/>
              <a:gd name="connsiteX31946" fmla="*/ 227100 w 4610101"/>
              <a:gd name="connsiteY31946" fmla="*/ 686372 h 6557032"/>
              <a:gd name="connsiteX31947" fmla="*/ 225950 w 4610101"/>
              <a:gd name="connsiteY31947" fmla="*/ 682345 h 6557032"/>
              <a:gd name="connsiteX31948" fmla="*/ 226178 w 4610101"/>
              <a:gd name="connsiteY31948" fmla="*/ 684395 h 6557032"/>
              <a:gd name="connsiteX31949" fmla="*/ 227100 w 4610101"/>
              <a:gd name="connsiteY31949" fmla="*/ 686372 h 6557032"/>
              <a:gd name="connsiteX31950" fmla="*/ 227435 w 4610101"/>
              <a:gd name="connsiteY31950" fmla="*/ 687541 h 6557032"/>
              <a:gd name="connsiteX31951" fmla="*/ 189506 w 4610101"/>
              <a:gd name="connsiteY31951" fmla="*/ 680522 h 6557032"/>
              <a:gd name="connsiteX31952" fmla="*/ 205906 w 4610101"/>
              <a:gd name="connsiteY31952" fmla="*/ 700566 h 6557032"/>
              <a:gd name="connsiteX31953" fmla="*/ 205906 w 4610101"/>
              <a:gd name="connsiteY31953" fmla="*/ 693278 h 6557032"/>
              <a:gd name="connsiteX31954" fmla="*/ 189506 w 4610101"/>
              <a:gd name="connsiteY31954" fmla="*/ 680522 h 6557032"/>
              <a:gd name="connsiteX31955" fmla="*/ 169462 w 4610101"/>
              <a:gd name="connsiteY31955" fmla="*/ 680522 h 6557032"/>
              <a:gd name="connsiteX31956" fmla="*/ 173107 w 4610101"/>
              <a:gd name="connsiteY31956" fmla="*/ 687811 h 6557032"/>
              <a:gd name="connsiteX31957" fmla="*/ 173107 w 4610101"/>
              <a:gd name="connsiteY31957" fmla="*/ 685989 h 6557032"/>
              <a:gd name="connsiteX31958" fmla="*/ 174929 w 4610101"/>
              <a:gd name="connsiteY31958" fmla="*/ 693278 h 6557032"/>
              <a:gd name="connsiteX31959" fmla="*/ 169462 w 4610101"/>
              <a:gd name="connsiteY31959" fmla="*/ 680522 h 6557032"/>
              <a:gd name="connsiteX31960" fmla="*/ 976640 w 4610101"/>
              <a:gd name="connsiteY31960" fmla="*/ 679886 h 6557032"/>
              <a:gd name="connsiteX31961" fmla="*/ 977633 w 4610101"/>
              <a:gd name="connsiteY31961" fmla="*/ 680547 h 6557032"/>
              <a:gd name="connsiteX31962" fmla="*/ 976686 w 4610101"/>
              <a:gd name="connsiteY31962" fmla="*/ 680522 h 6557032"/>
              <a:gd name="connsiteX31963" fmla="*/ 2920945 w 4610101"/>
              <a:gd name="connsiteY31963" fmla="*/ 678700 h 6557032"/>
              <a:gd name="connsiteX31964" fmla="*/ 2924590 w 4610101"/>
              <a:gd name="connsiteY31964" fmla="*/ 685989 h 6557032"/>
              <a:gd name="connsiteX31965" fmla="*/ 2930056 w 4610101"/>
              <a:gd name="connsiteY31965" fmla="*/ 680522 h 6557032"/>
              <a:gd name="connsiteX31966" fmla="*/ 2920945 w 4610101"/>
              <a:gd name="connsiteY31966" fmla="*/ 678700 h 6557032"/>
              <a:gd name="connsiteX31967" fmla="*/ 2835303 w 4610101"/>
              <a:gd name="connsiteY31967" fmla="*/ 678700 h 6557032"/>
              <a:gd name="connsiteX31968" fmla="*/ 2835303 w 4610101"/>
              <a:gd name="connsiteY31968" fmla="*/ 693278 h 6557032"/>
              <a:gd name="connsiteX31969" fmla="*/ 2842592 w 4610101"/>
              <a:gd name="connsiteY31969" fmla="*/ 687811 h 6557032"/>
              <a:gd name="connsiteX31970" fmla="*/ 2835303 w 4610101"/>
              <a:gd name="connsiteY31970" fmla="*/ 678700 h 6557032"/>
              <a:gd name="connsiteX31971" fmla="*/ 1448629 w 4610101"/>
              <a:gd name="connsiteY31971" fmla="*/ 678700 h 6557032"/>
              <a:gd name="connsiteX31972" fmla="*/ 1444984 w 4610101"/>
              <a:gd name="connsiteY31972" fmla="*/ 680522 h 6557032"/>
              <a:gd name="connsiteX31973" fmla="*/ 1450451 w 4610101"/>
              <a:gd name="connsiteY31973" fmla="*/ 680522 h 6557032"/>
              <a:gd name="connsiteX31974" fmla="*/ 1448629 w 4610101"/>
              <a:gd name="connsiteY31974" fmla="*/ 678700 h 6557032"/>
              <a:gd name="connsiteX31975" fmla="*/ 1403074 w 4610101"/>
              <a:gd name="connsiteY31975" fmla="*/ 678700 h 6557032"/>
              <a:gd name="connsiteX31976" fmla="*/ 1384854 w 4610101"/>
              <a:gd name="connsiteY31976" fmla="*/ 691455 h 6557032"/>
              <a:gd name="connsiteX31977" fmla="*/ 1403074 w 4610101"/>
              <a:gd name="connsiteY31977" fmla="*/ 678700 h 6557032"/>
              <a:gd name="connsiteX31978" fmla="*/ 1362987 w 4610101"/>
              <a:gd name="connsiteY31978" fmla="*/ 678700 h 6557032"/>
              <a:gd name="connsiteX31979" fmla="*/ 1350231 w 4610101"/>
              <a:gd name="connsiteY31979" fmla="*/ 685989 h 6557032"/>
              <a:gd name="connsiteX31980" fmla="*/ 1362987 w 4610101"/>
              <a:gd name="connsiteY31980" fmla="*/ 678700 h 6557032"/>
              <a:gd name="connsiteX31981" fmla="*/ 1178947 w 4610101"/>
              <a:gd name="connsiteY31981" fmla="*/ 678700 h 6557032"/>
              <a:gd name="connsiteX31982" fmla="*/ 1171658 w 4610101"/>
              <a:gd name="connsiteY31982" fmla="*/ 682345 h 6557032"/>
              <a:gd name="connsiteX31983" fmla="*/ 1178947 w 4610101"/>
              <a:gd name="connsiteY31983" fmla="*/ 678700 h 6557032"/>
              <a:gd name="connsiteX31984" fmla="*/ 1038639 w 4610101"/>
              <a:gd name="connsiteY31984" fmla="*/ 678700 h 6557032"/>
              <a:gd name="connsiteX31985" fmla="*/ 1034995 w 4610101"/>
              <a:gd name="connsiteY31985" fmla="*/ 682345 h 6557032"/>
              <a:gd name="connsiteX31986" fmla="*/ 1038639 w 4610101"/>
              <a:gd name="connsiteY31986" fmla="*/ 678700 h 6557032"/>
              <a:gd name="connsiteX31987" fmla="*/ 829089 w 4610101"/>
              <a:gd name="connsiteY31987" fmla="*/ 678700 h 6557032"/>
              <a:gd name="connsiteX31988" fmla="*/ 830912 w 4610101"/>
              <a:gd name="connsiteY31988" fmla="*/ 684167 h 6557032"/>
              <a:gd name="connsiteX31989" fmla="*/ 834556 w 4610101"/>
              <a:gd name="connsiteY31989" fmla="*/ 678700 h 6557032"/>
              <a:gd name="connsiteX31990" fmla="*/ 829089 w 4610101"/>
              <a:gd name="connsiteY31990" fmla="*/ 678700 h 6557032"/>
              <a:gd name="connsiteX31991" fmla="*/ 681493 w 4610101"/>
              <a:gd name="connsiteY31991" fmla="*/ 678700 h 6557032"/>
              <a:gd name="connsiteX31992" fmla="*/ 688782 w 4610101"/>
              <a:gd name="connsiteY31992" fmla="*/ 689633 h 6557032"/>
              <a:gd name="connsiteX31993" fmla="*/ 690604 w 4610101"/>
              <a:gd name="connsiteY31993" fmla="*/ 682345 h 6557032"/>
              <a:gd name="connsiteX31994" fmla="*/ 681493 w 4610101"/>
              <a:gd name="connsiteY31994" fmla="*/ 678700 h 6557032"/>
              <a:gd name="connsiteX31995" fmla="*/ 573985 w 4610101"/>
              <a:gd name="connsiteY31995" fmla="*/ 678700 h 6557032"/>
              <a:gd name="connsiteX31996" fmla="*/ 579452 w 4610101"/>
              <a:gd name="connsiteY31996" fmla="*/ 695100 h 6557032"/>
              <a:gd name="connsiteX31997" fmla="*/ 573985 w 4610101"/>
              <a:gd name="connsiteY31997" fmla="*/ 678700 h 6557032"/>
              <a:gd name="connsiteX31998" fmla="*/ 512031 w 4610101"/>
              <a:gd name="connsiteY31998" fmla="*/ 678700 h 6557032"/>
              <a:gd name="connsiteX31999" fmla="*/ 519320 w 4610101"/>
              <a:gd name="connsiteY31999" fmla="*/ 693278 h 6557032"/>
              <a:gd name="connsiteX32000" fmla="*/ 521142 w 4610101"/>
              <a:gd name="connsiteY32000" fmla="*/ 687811 h 6557032"/>
              <a:gd name="connsiteX32001" fmla="*/ 512031 w 4610101"/>
              <a:gd name="connsiteY32001" fmla="*/ 678700 h 6557032"/>
              <a:gd name="connsiteX32002" fmla="*/ 470121 w 4610101"/>
              <a:gd name="connsiteY32002" fmla="*/ 678700 h 6557032"/>
              <a:gd name="connsiteX32003" fmla="*/ 471943 w 4610101"/>
              <a:gd name="connsiteY32003" fmla="*/ 687811 h 6557032"/>
              <a:gd name="connsiteX32004" fmla="*/ 475589 w 4610101"/>
              <a:gd name="connsiteY32004" fmla="*/ 685989 h 6557032"/>
              <a:gd name="connsiteX32005" fmla="*/ 470121 w 4610101"/>
              <a:gd name="connsiteY32005" fmla="*/ 678700 h 6557032"/>
              <a:gd name="connsiteX32006" fmla="*/ 415456 w 4610101"/>
              <a:gd name="connsiteY32006" fmla="*/ 678700 h 6557032"/>
              <a:gd name="connsiteX32007" fmla="*/ 420923 w 4610101"/>
              <a:gd name="connsiteY32007" fmla="*/ 678700 h 6557032"/>
              <a:gd name="connsiteX32008" fmla="*/ 415456 w 4610101"/>
              <a:gd name="connsiteY32008" fmla="*/ 678700 h 6557032"/>
              <a:gd name="connsiteX32009" fmla="*/ 355324 w 4610101"/>
              <a:gd name="connsiteY32009" fmla="*/ 678700 h 6557032"/>
              <a:gd name="connsiteX32010" fmla="*/ 366257 w 4610101"/>
              <a:gd name="connsiteY32010" fmla="*/ 689633 h 6557032"/>
              <a:gd name="connsiteX32011" fmla="*/ 355324 w 4610101"/>
              <a:gd name="connsiteY32011" fmla="*/ 678700 h 6557032"/>
              <a:gd name="connsiteX32012" fmla="*/ 976550 w 4610101"/>
              <a:gd name="connsiteY32012" fmla="*/ 678627 h 6557032"/>
              <a:gd name="connsiteX32013" fmla="*/ 976640 w 4610101"/>
              <a:gd name="connsiteY32013" fmla="*/ 679886 h 6557032"/>
              <a:gd name="connsiteX32014" fmla="*/ 974863 w 4610101"/>
              <a:gd name="connsiteY32014" fmla="*/ 678700 h 6557032"/>
              <a:gd name="connsiteX32015" fmla="*/ 3663026 w 4610101"/>
              <a:gd name="connsiteY32015" fmla="*/ 678473 h 6557032"/>
              <a:gd name="connsiteX32016" fmla="*/ 3677147 w 4610101"/>
              <a:gd name="connsiteY32016" fmla="*/ 685989 h 6557032"/>
              <a:gd name="connsiteX32017" fmla="*/ 3669775 w 4610101"/>
              <a:gd name="connsiteY32017" fmla="*/ 686954 h 6557032"/>
              <a:gd name="connsiteX32018" fmla="*/ 3669859 w 4610101"/>
              <a:gd name="connsiteY32018" fmla="*/ 684167 h 6557032"/>
              <a:gd name="connsiteX32019" fmla="*/ 3655044 w 4610101"/>
              <a:gd name="connsiteY32019" fmla="*/ 679443 h 6557032"/>
              <a:gd name="connsiteX32020" fmla="*/ 739803 w 4610101"/>
              <a:gd name="connsiteY32020" fmla="*/ 678245 h 6557032"/>
              <a:gd name="connsiteX32021" fmla="*/ 717937 w 4610101"/>
              <a:gd name="connsiteY32021" fmla="*/ 687811 h 6557032"/>
              <a:gd name="connsiteX32022" fmla="*/ 716115 w 4610101"/>
              <a:gd name="connsiteY32022" fmla="*/ 700566 h 6557032"/>
              <a:gd name="connsiteX32023" fmla="*/ 710648 w 4610101"/>
              <a:gd name="connsiteY32023" fmla="*/ 693278 h 6557032"/>
              <a:gd name="connsiteX32024" fmla="*/ 705182 w 4610101"/>
              <a:gd name="connsiteY32024" fmla="*/ 696922 h 6557032"/>
              <a:gd name="connsiteX32025" fmla="*/ 717937 w 4610101"/>
              <a:gd name="connsiteY32025" fmla="*/ 709677 h 6557032"/>
              <a:gd name="connsiteX32026" fmla="*/ 717937 w 4610101"/>
              <a:gd name="connsiteY32026" fmla="*/ 706033 h 6557032"/>
              <a:gd name="connsiteX32027" fmla="*/ 741626 w 4610101"/>
              <a:gd name="connsiteY32027" fmla="*/ 735188 h 6557032"/>
              <a:gd name="connsiteX32028" fmla="*/ 732515 w 4610101"/>
              <a:gd name="connsiteY32028" fmla="*/ 715144 h 6557032"/>
              <a:gd name="connsiteX32029" fmla="*/ 736159 w 4610101"/>
              <a:gd name="connsiteY32029" fmla="*/ 713321 h 6557032"/>
              <a:gd name="connsiteX32030" fmla="*/ 728870 w 4610101"/>
              <a:gd name="connsiteY32030" fmla="*/ 709677 h 6557032"/>
              <a:gd name="connsiteX32031" fmla="*/ 748914 w 4610101"/>
              <a:gd name="connsiteY32031" fmla="*/ 722432 h 6557032"/>
              <a:gd name="connsiteX32032" fmla="*/ 750737 w 4610101"/>
              <a:gd name="connsiteY32032" fmla="*/ 720610 h 6557032"/>
              <a:gd name="connsiteX32033" fmla="*/ 754381 w 4610101"/>
              <a:gd name="connsiteY32033" fmla="*/ 727899 h 6557032"/>
              <a:gd name="connsiteX32034" fmla="*/ 754380 w 4610101"/>
              <a:gd name="connsiteY32034" fmla="*/ 727899 h 6557032"/>
              <a:gd name="connsiteX32035" fmla="*/ 756203 w 4610101"/>
              <a:gd name="connsiteY32035" fmla="*/ 731543 h 6557032"/>
              <a:gd name="connsiteX32036" fmla="*/ 754381 w 4610101"/>
              <a:gd name="connsiteY32036" fmla="*/ 727899 h 6557032"/>
              <a:gd name="connsiteX32037" fmla="*/ 759848 w 4610101"/>
              <a:gd name="connsiteY32037" fmla="*/ 727899 h 6557032"/>
              <a:gd name="connsiteX32038" fmla="*/ 752558 w 4610101"/>
              <a:gd name="connsiteY32038" fmla="*/ 722432 h 6557032"/>
              <a:gd name="connsiteX32039" fmla="*/ 761670 w 4610101"/>
              <a:gd name="connsiteY32039" fmla="*/ 720610 h 6557032"/>
              <a:gd name="connsiteX32040" fmla="*/ 750737 w 4610101"/>
              <a:gd name="connsiteY32040" fmla="*/ 711499 h 6557032"/>
              <a:gd name="connsiteX32041" fmla="*/ 752558 w 4610101"/>
              <a:gd name="connsiteY32041" fmla="*/ 709677 h 6557032"/>
              <a:gd name="connsiteX32042" fmla="*/ 741626 w 4610101"/>
              <a:gd name="connsiteY32042" fmla="*/ 698744 h 6557032"/>
              <a:gd name="connsiteX32043" fmla="*/ 745269 w 4610101"/>
              <a:gd name="connsiteY32043" fmla="*/ 700566 h 6557032"/>
              <a:gd name="connsiteX32044" fmla="*/ 738664 w 4610101"/>
              <a:gd name="connsiteY32044" fmla="*/ 696011 h 6557032"/>
              <a:gd name="connsiteX32045" fmla="*/ 734944 w 4610101"/>
              <a:gd name="connsiteY32045" fmla="*/ 693886 h 6557032"/>
              <a:gd name="connsiteX32046" fmla="*/ 730692 w 4610101"/>
              <a:gd name="connsiteY32046" fmla="*/ 689633 h 6557032"/>
              <a:gd name="connsiteX32047" fmla="*/ 743447 w 4610101"/>
              <a:gd name="connsiteY32047" fmla="*/ 696922 h 6557032"/>
              <a:gd name="connsiteX32048" fmla="*/ 748914 w 4610101"/>
              <a:gd name="connsiteY32048" fmla="*/ 689633 h 6557032"/>
              <a:gd name="connsiteX32049" fmla="*/ 761670 w 4610101"/>
              <a:gd name="connsiteY32049" fmla="*/ 707855 h 6557032"/>
              <a:gd name="connsiteX32050" fmla="*/ 752558 w 4610101"/>
              <a:gd name="connsiteY32050" fmla="*/ 693278 h 6557032"/>
              <a:gd name="connsiteX32051" fmla="*/ 763491 w 4610101"/>
              <a:gd name="connsiteY32051" fmla="*/ 695100 h 6557032"/>
              <a:gd name="connsiteX32052" fmla="*/ 765997 w 4610101"/>
              <a:gd name="connsiteY32052" fmla="*/ 691456 h 6557032"/>
              <a:gd name="connsiteX32053" fmla="*/ 767093 w 4610101"/>
              <a:gd name="connsiteY32053" fmla="*/ 687948 h 6557032"/>
              <a:gd name="connsiteX32054" fmla="*/ 767591 w 4610101"/>
              <a:gd name="connsiteY32054" fmla="*/ 688495 h 6557032"/>
              <a:gd name="connsiteX32055" fmla="*/ 772602 w 4610101"/>
              <a:gd name="connsiteY32055" fmla="*/ 689633 h 6557032"/>
              <a:gd name="connsiteX32056" fmla="*/ 765313 w 4610101"/>
              <a:gd name="connsiteY32056" fmla="*/ 685989 h 6557032"/>
              <a:gd name="connsiteX32057" fmla="*/ 766892 w 4610101"/>
              <a:gd name="connsiteY32057" fmla="*/ 687726 h 6557032"/>
              <a:gd name="connsiteX32058" fmla="*/ 985113 w 4610101"/>
              <a:gd name="connsiteY32058" fmla="*/ 678017 h 6557032"/>
              <a:gd name="connsiteX32059" fmla="*/ 990123 w 4610101"/>
              <a:gd name="connsiteY32059" fmla="*/ 680058 h 6557032"/>
              <a:gd name="connsiteX32060" fmla="*/ 989612 w 4610101"/>
              <a:gd name="connsiteY32060" fmla="*/ 681486 h 6557032"/>
              <a:gd name="connsiteX32061" fmla="*/ 989197 w 4610101"/>
              <a:gd name="connsiteY32061" fmla="*/ 681728 h 6557032"/>
              <a:gd name="connsiteX32062" fmla="*/ 985341 w 4610101"/>
              <a:gd name="connsiteY32062" fmla="*/ 680751 h 6557032"/>
              <a:gd name="connsiteX32063" fmla="*/ 982184 w 4610101"/>
              <a:gd name="connsiteY32063" fmla="*/ 680667 h 6557032"/>
              <a:gd name="connsiteX32064" fmla="*/ 974518 w 4610101"/>
              <a:gd name="connsiteY32064" fmla="*/ 677051 h 6557032"/>
              <a:gd name="connsiteX32065" fmla="*/ 974635 w 4610101"/>
              <a:gd name="connsiteY32065" fmla="*/ 677790 h 6557032"/>
              <a:gd name="connsiteX32066" fmla="*/ 971197 w 4610101"/>
              <a:gd name="connsiteY32066" fmla="*/ 680781 h 6557032"/>
              <a:gd name="connsiteX32067" fmla="*/ 971788 w 4610101"/>
              <a:gd name="connsiteY32067" fmla="*/ 678843 h 6557032"/>
              <a:gd name="connsiteX32068" fmla="*/ 2953744 w 4610101"/>
              <a:gd name="connsiteY32068" fmla="*/ 676878 h 6557032"/>
              <a:gd name="connsiteX32069" fmla="*/ 3002943 w 4610101"/>
              <a:gd name="connsiteY32069" fmla="*/ 693278 h 6557032"/>
              <a:gd name="connsiteX32070" fmla="*/ 2953744 w 4610101"/>
              <a:gd name="connsiteY32070" fmla="*/ 676878 h 6557032"/>
              <a:gd name="connsiteX32071" fmla="*/ 1423118 w 4610101"/>
              <a:gd name="connsiteY32071" fmla="*/ 676878 h 6557032"/>
              <a:gd name="connsiteX32072" fmla="*/ 1406719 w 4610101"/>
              <a:gd name="connsiteY32072" fmla="*/ 684167 h 6557032"/>
              <a:gd name="connsiteX32073" fmla="*/ 1412185 w 4610101"/>
              <a:gd name="connsiteY32073" fmla="*/ 680522 h 6557032"/>
              <a:gd name="connsiteX32074" fmla="*/ 1414007 w 4610101"/>
              <a:gd name="connsiteY32074" fmla="*/ 682345 h 6557032"/>
              <a:gd name="connsiteX32075" fmla="*/ 1423118 w 4610101"/>
              <a:gd name="connsiteY32075" fmla="*/ 676878 h 6557032"/>
              <a:gd name="connsiteX32076" fmla="*/ 1390319 w 4610101"/>
              <a:gd name="connsiteY32076" fmla="*/ 676878 h 6557032"/>
              <a:gd name="connsiteX32077" fmla="*/ 1379386 w 4610101"/>
              <a:gd name="connsiteY32077" fmla="*/ 682345 h 6557032"/>
              <a:gd name="connsiteX32078" fmla="*/ 1390319 w 4610101"/>
              <a:gd name="connsiteY32078" fmla="*/ 676878 h 6557032"/>
              <a:gd name="connsiteX32079" fmla="*/ 1373920 w 4610101"/>
              <a:gd name="connsiteY32079" fmla="*/ 676878 h 6557032"/>
              <a:gd name="connsiteX32080" fmla="*/ 1364809 w 4610101"/>
              <a:gd name="connsiteY32080" fmla="*/ 682345 h 6557032"/>
              <a:gd name="connsiteX32081" fmla="*/ 1373920 w 4610101"/>
              <a:gd name="connsiteY32081" fmla="*/ 676878 h 6557032"/>
              <a:gd name="connsiteX32082" fmla="*/ 907444 w 4610101"/>
              <a:gd name="connsiteY32082" fmla="*/ 676878 h 6557032"/>
              <a:gd name="connsiteX32083" fmla="*/ 903799 w 4610101"/>
              <a:gd name="connsiteY32083" fmla="*/ 684167 h 6557032"/>
              <a:gd name="connsiteX32084" fmla="*/ 907444 w 4610101"/>
              <a:gd name="connsiteY32084" fmla="*/ 676878 h 6557032"/>
              <a:gd name="connsiteX32085" fmla="*/ 816334 w 4610101"/>
              <a:gd name="connsiteY32085" fmla="*/ 676878 h 6557032"/>
              <a:gd name="connsiteX32086" fmla="*/ 816334 w 4610101"/>
              <a:gd name="connsiteY32086" fmla="*/ 682345 h 6557032"/>
              <a:gd name="connsiteX32087" fmla="*/ 819979 w 4610101"/>
              <a:gd name="connsiteY32087" fmla="*/ 676878 h 6557032"/>
              <a:gd name="connsiteX32088" fmla="*/ 816334 w 4610101"/>
              <a:gd name="connsiteY32088" fmla="*/ 676878 h 6557032"/>
              <a:gd name="connsiteX32089" fmla="*/ 461579 w 4610101"/>
              <a:gd name="connsiteY32089" fmla="*/ 676422 h 6557032"/>
              <a:gd name="connsiteX32090" fmla="*/ 464655 w 4610101"/>
              <a:gd name="connsiteY32090" fmla="*/ 680522 h 6557032"/>
              <a:gd name="connsiteX32091" fmla="*/ 462149 w 4610101"/>
              <a:gd name="connsiteY32091" fmla="*/ 677789 h 6557032"/>
              <a:gd name="connsiteX32092" fmla="*/ 3289024 w 4610101"/>
              <a:gd name="connsiteY32092" fmla="*/ 675056 h 6557032"/>
              <a:gd name="connsiteX32093" fmla="*/ 3283558 w 4610101"/>
              <a:gd name="connsiteY32093" fmla="*/ 682345 h 6557032"/>
              <a:gd name="connsiteX32094" fmla="*/ 3287202 w 4610101"/>
              <a:gd name="connsiteY32094" fmla="*/ 682345 h 6557032"/>
              <a:gd name="connsiteX32095" fmla="*/ 3289024 w 4610101"/>
              <a:gd name="connsiteY32095" fmla="*/ 675056 h 6557032"/>
              <a:gd name="connsiteX32096" fmla="*/ 2607531 w 4610101"/>
              <a:gd name="connsiteY32096" fmla="*/ 675056 h 6557032"/>
              <a:gd name="connsiteX32097" fmla="*/ 2605709 w 4610101"/>
              <a:gd name="connsiteY32097" fmla="*/ 695100 h 6557032"/>
              <a:gd name="connsiteX32098" fmla="*/ 2605709 w 4610101"/>
              <a:gd name="connsiteY32098" fmla="*/ 685989 h 6557032"/>
              <a:gd name="connsiteX32099" fmla="*/ 2609353 w 4610101"/>
              <a:gd name="connsiteY32099" fmla="*/ 685989 h 6557032"/>
              <a:gd name="connsiteX32100" fmla="*/ 2607531 w 4610101"/>
              <a:gd name="connsiteY32100" fmla="*/ 675056 h 6557032"/>
              <a:gd name="connsiteX32101" fmla="*/ 2589310 w 4610101"/>
              <a:gd name="connsiteY32101" fmla="*/ 675056 h 6557032"/>
              <a:gd name="connsiteX32102" fmla="*/ 2583843 w 4610101"/>
              <a:gd name="connsiteY32102" fmla="*/ 684167 h 6557032"/>
              <a:gd name="connsiteX32103" fmla="*/ 2582021 w 4610101"/>
              <a:gd name="connsiteY32103" fmla="*/ 678700 h 6557032"/>
              <a:gd name="connsiteX32104" fmla="*/ 2582021 w 4610101"/>
              <a:gd name="connsiteY32104" fmla="*/ 685989 h 6557032"/>
              <a:gd name="connsiteX32105" fmla="*/ 2572910 w 4610101"/>
              <a:gd name="connsiteY32105" fmla="*/ 682345 h 6557032"/>
              <a:gd name="connsiteX32106" fmla="*/ 2561977 w 4610101"/>
              <a:gd name="connsiteY32106" fmla="*/ 700566 h 6557032"/>
              <a:gd name="connsiteX32107" fmla="*/ 2585665 w 4610101"/>
              <a:gd name="connsiteY32107" fmla="*/ 709677 h 6557032"/>
              <a:gd name="connsiteX32108" fmla="*/ 2591132 w 4610101"/>
              <a:gd name="connsiteY32108" fmla="*/ 702388 h 6557032"/>
              <a:gd name="connsiteX32109" fmla="*/ 2598421 w 4610101"/>
              <a:gd name="connsiteY32109" fmla="*/ 676878 h 6557032"/>
              <a:gd name="connsiteX32110" fmla="*/ 2592954 w 4610101"/>
              <a:gd name="connsiteY32110" fmla="*/ 675056 h 6557032"/>
              <a:gd name="connsiteX32111" fmla="*/ 2592954 w 4610101"/>
              <a:gd name="connsiteY32111" fmla="*/ 680522 h 6557032"/>
              <a:gd name="connsiteX32112" fmla="*/ 2589310 w 4610101"/>
              <a:gd name="connsiteY32112" fmla="*/ 675056 h 6557032"/>
              <a:gd name="connsiteX32113" fmla="*/ 173107 w 4610101"/>
              <a:gd name="connsiteY32113" fmla="*/ 675056 h 6557032"/>
              <a:gd name="connsiteX32114" fmla="*/ 187684 w 4610101"/>
              <a:gd name="connsiteY32114" fmla="*/ 695100 h 6557032"/>
              <a:gd name="connsiteX32115" fmla="*/ 178573 w 4610101"/>
              <a:gd name="connsiteY32115" fmla="*/ 685989 h 6557032"/>
              <a:gd name="connsiteX32116" fmla="*/ 173107 w 4610101"/>
              <a:gd name="connsiteY32116" fmla="*/ 675056 h 6557032"/>
              <a:gd name="connsiteX32117" fmla="*/ 167640 w 4610101"/>
              <a:gd name="connsiteY32117" fmla="*/ 675056 h 6557032"/>
              <a:gd name="connsiteX32118" fmla="*/ 171285 w 4610101"/>
              <a:gd name="connsiteY32118" fmla="*/ 680522 h 6557032"/>
              <a:gd name="connsiteX32119" fmla="*/ 167640 w 4610101"/>
              <a:gd name="connsiteY32119" fmla="*/ 675056 h 6557032"/>
              <a:gd name="connsiteX32120" fmla="*/ 2858991 w 4610101"/>
              <a:gd name="connsiteY32120" fmla="*/ 673234 h 6557032"/>
              <a:gd name="connsiteX32121" fmla="*/ 2860063 w 4610101"/>
              <a:gd name="connsiteY32121" fmla="*/ 679665 h 6557032"/>
              <a:gd name="connsiteX32122" fmla="*/ 2858991 w 4610101"/>
              <a:gd name="connsiteY32122" fmla="*/ 680067 h 6557032"/>
              <a:gd name="connsiteX32123" fmla="*/ 2860813 w 4610101"/>
              <a:gd name="connsiteY32123" fmla="*/ 684167 h 6557032"/>
              <a:gd name="connsiteX32124" fmla="*/ 2860063 w 4610101"/>
              <a:gd name="connsiteY32124" fmla="*/ 679665 h 6557032"/>
              <a:gd name="connsiteX32125" fmla="*/ 2862636 w 4610101"/>
              <a:gd name="connsiteY32125" fmla="*/ 678700 h 6557032"/>
              <a:gd name="connsiteX32126" fmla="*/ 2858991 w 4610101"/>
              <a:gd name="connsiteY32126" fmla="*/ 673234 h 6557032"/>
              <a:gd name="connsiteX32127" fmla="*/ 1446806 w 4610101"/>
              <a:gd name="connsiteY32127" fmla="*/ 673234 h 6557032"/>
              <a:gd name="connsiteX32128" fmla="*/ 1437696 w 4610101"/>
              <a:gd name="connsiteY32128" fmla="*/ 680522 h 6557032"/>
              <a:gd name="connsiteX32129" fmla="*/ 1437696 w 4610101"/>
              <a:gd name="connsiteY32129" fmla="*/ 676878 h 6557032"/>
              <a:gd name="connsiteX32130" fmla="*/ 1412185 w 4610101"/>
              <a:gd name="connsiteY32130" fmla="*/ 685989 h 6557032"/>
              <a:gd name="connsiteX32131" fmla="*/ 1424940 w 4610101"/>
              <a:gd name="connsiteY32131" fmla="*/ 684167 h 6557032"/>
              <a:gd name="connsiteX32132" fmla="*/ 1441340 w 4610101"/>
              <a:gd name="connsiteY32132" fmla="*/ 680522 h 6557032"/>
              <a:gd name="connsiteX32133" fmla="*/ 1444984 w 4610101"/>
              <a:gd name="connsiteY32133" fmla="*/ 675056 h 6557032"/>
              <a:gd name="connsiteX32134" fmla="*/ 1444984 w 4610101"/>
              <a:gd name="connsiteY32134" fmla="*/ 676878 h 6557032"/>
              <a:gd name="connsiteX32135" fmla="*/ 1446806 w 4610101"/>
              <a:gd name="connsiteY32135" fmla="*/ 673234 h 6557032"/>
              <a:gd name="connsiteX32136" fmla="*/ 1222679 w 4610101"/>
              <a:gd name="connsiteY32136" fmla="*/ 673234 h 6557032"/>
              <a:gd name="connsiteX32137" fmla="*/ 1211747 w 4610101"/>
              <a:gd name="connsiteY32137" fmla="*/ 680522 h 6557032"/>
              <a:gd name="connsiteX32138" fmla="*/ 1215390 w 4610101"/>
              <a:gd name="connsiteY32138" fmla="*/ 682345 h 6557032"/>
              <a:gd name="connsiteX32139" fmla="*/ 1219036 w 4610101"/>
              <a:gd name="connsiteY32139" fmla="*/ 676878 h 6557032"/>
              <a:gd name="connsiteX32140" fmla="*/ 1220858 w 4610101"/>
              <a:gd name="connsiteY32140" fmla="*/ 678700 h 6557032"/>
              <a:gd name="connsiteX32141" fmla="*/ 1222679 w 4610101"/>
              <a:gd name="connsiteY32141" fmla="*/ 673234 h 6557032"/>
              <a:gd name="connsiteX32142" fmla="*/ 1195346 w 4610101"/>
              <a:gd name="connsiteY32142" fmla="*/ 673234 h 6557032"/>
              <a:gd name="connsiteX32143" fmla="*/ 1194925 w 4610101"/>
              <a:gd name="connsiteY32143" fmla="*/ 673795 h 6557032"/>
              <a:gd name="connsiteX32144" fmla="*/ 1193333 w 4610101"/>
              <a:gd name="connsiteY32144" fmla="*/ 674193 h 6557032"/>
              <a:gd name="connsiteX32145" fmla="*/ 1142503 w 4610101"/>
              <a:gd name="connsiteY32145" fmla="*/ 673234 h 6557032"/>
              <a:gd name="connsiteX32146" fmla="*/ 1133393 w 4610101"/>
              <a:gd name="connsiteY32146" fmla="*/ 676878 h 6557032"/>
              <a:gd name="connsiteX32147" fmla="*/ 1118133 w 4610101"/>
              <a:gd name="connsiteY32147" fmla="*/ 681890 h 6557032"/>
              <a:gd name="connsiteX32148" fmla="*/ 1113511 w 4610101"/>
              <a:gd name="connsiteY32148" fmla="*/ 689134 h 6557032"/>
              <a:gd name="connsiteX32149" fmla="*/ 1111526 w 4610101"/>
              <a:gd name="connsiteY32149" fmla="*/ 687811 h 6557032"/>
              <a:gd name="connsiteX32150" fmla="*/ 1109704 w 4610101"/>
              <a:gd name="connsiteY32150" fmla="*/ 695100 h 6557032"/>
              <a:gd name="connsiteX32151" fmla="*/ 1113511 w 4610101"/>
              <a:gd name="connsiteY32151" fmla="*/ 689134 h 6557032"/>
              <a:gd name="connsiteX32152" fmla="*/ 1116993 w 4610101"/>
              <a:gd name="connsiteY32152" fmla="*/ 691455 h 6557032"/>
              <a:gd name="connsiteX32153" fmla="*/ 1131570 w 4610101"/>
              <a:gd name="connsiteY32153" fmla="*/ 680522 h 6557032"/>
              <a:gd name="connsiteX32154" fmla="*/ 1142503 w 4610101"/>
              <a:gd name="connsiteY32154" fmla="*/ 673234 h 6557032"/>
              <a:gd name="connsiteX32155" fmla="*/ 1106060 w 4610101"/>
              <a:gd name="connsiteY32155" fmla="*/ 673234 h 6557032"/>
              <a:gd name="connsiteX32156" fmla="*/ 1102416 w 4610101"/>
              <a:gd name="connsiteY32156" fmla="*/ 680522 h 6557032"/>
              <a:gd name="connsiteX32157" fmla="*/ 1106060 w 4610101"/>
              <a:gd name="connsiteY32157" fmla="*/ 673234 h 6557032"/>
              <a:gd name="connsiteX32158" fmla="*/ 1093305 w 4610101"/>
              <a:gd name="connsiteY32158" fmla="*/ 673234 h 6557032"/>
              <a:gd name="connsiteX32159" fmla="*/ 1089660 w 4610101"/>
              <a:gd name="connsiteY32159" fmla="*/ 676878 h 6557032"/>
              <a:gd name="connsiteX32160" fmla="*/ 1093305 w 4610101"/>
              <a:gd name="connsiteY32160" fmla="*/ 673234 h 6557032"/>
              <a:gd name="connsiteX32161" fmla="*/ 1022240 w 4610101"/>
              <a:gd name="connsiteY32161" fmla="*/ 673234 h 6557032"/>
              <a:gd name="connsiteX32162" fmla="*/ 1014951 w 4610101"/>
              <a:gd name="connsiteY32162" fmla="*/ 676878 h 6557032"/>
              <a:gd name="connsiteX32163" fmla="*/ 1022240 w 4610101"/>
              <a:gd name="connsiteY32163" fmla="*/ 673234 h 6557032"/>
              <a:gd name="connsiteX32164" fmla="*/ 980330 w 4610101"/>
              <a:gd name="connsiteY32164" fmla="*/ 673234 h 6557032"/>
              <a:gd name="connsiteX32165" fmla="*/ 983974 w 4610101"/>
              <a:gd name="connsiteY32165" fmla="*/ 676878 h 6557032"/>
              <a:gd name="connsiteX32166" fmla="*/ 980102 w 4610101"/>
              <a:gd name="connsiteY32166" fmla="*/ 678473 h 6557032"/>
              <a:gd name="connsiteX32167" fmla="*/ 976550 w 4610101"/>
              <a:gd name="connsiteY32167" fmla="*/ 678627 h 6557032"/>
              <a:gd name="connsiteX32168" fmla="*/ 976351 w 4610101"/>
              <a:gd name="connsiteY32168" fmla="*/ 675847 h 6557032"/>
              <a:gd name="connsiteX32169" fmla="*/ 914732 w 4610101"/>
              <a:gd name="connsiteY32169" fmla="*/ 673234 h 6557032"/>
              <a:gd name="connsiteX32170" fmla="*/ 911087 w 4610101"/>
              <a:gd name="connsiteY32170" fmla="*/ 678700 h 6557032"/>
              <a:gd name="connsiteX32171" fmla="*/ 914732 w 4610101"/>
              <a:gd name="connsiteY32171" fmla="*/ 678700 h 6557032"/>
              <a:gd name="connsiteX32172" fmla="*/ 912909 w 4610101"/>
              <a:gd name="connsiteY32172" fmla="*/ 685989 h 6557032"/>
              <a:gd name="connsiteX32173" fmla="*/ 909265 w 4610101"/>
              <a:gd name="connsiteY32173" fmla="*/ 684167 h 6557032"/>
              <a:gd name="connsiteX32174" fmla="*/ 903799 w 4610101"/>
              <a:gd name="connsiteY32174" fmla="*/ 689633 h 6557032"/>
              <a:gd name="connsiteX32175" fmla="*/ 911086 w 4610101"/>
              <a:gd name="connsiteY32175" fmla="*/ 689634 h 6557032"/>
              <a:gd name="connsiteX32176" fmla="*/ 903799 w 4610101"/>
              <a:gd name="connsiteY32176" fmla="*/ 693278 h 6557032"/>
              <a:gd name="connsiteX32177" fmla="*/ 909265 w 4610101"/>
              <a:gd name="connsiteY32177" fmla="*/ 696922 h 6557032"/>
              <a:gd name="connsiteX32178" fmla="*/ 911087 w 4610101"/>
              <a:gd name="connsiteY32178" fmla="*/ 689634 h 6557032"/>
              <a:gd name="connsiteX32179" fmla="*/ 912909 w 4610101"/>
              <a:gd name="connsiteY32179" fmla="*/ 689634 h 6557032"/>
              <a:gd name="connsiteX32180" fmla="*/ 916555 w 4610101"/>
              <a:gd name="connsiteY32180" fmla="*/ 698744 h 6557032"/>
              <a:gd name="connsiteX32181" fmla="*/ 920198 w 4610101"/>
              <a:gd name="connsiteY32181" fmla="*/ 685989 h 6557032"/>
              <a:gd name="connsiteX32182" fmla="*/ 917596 w 4610101"/>
              <a:gd name="connsiteY32182" fmla="*/ 687290 h 6557032"/>
              <a:gd name="connsiteX32183" fmla="*/ 922020 w 4610101"/>
              <a:gd name="connsiteY32183" fmla="*/ 684167 h 6557032"/>
              <a:gd name="connsiteX32184" fmla="*/ 914732 w 4610101"/>
              <a:gd name="connsiteY32184" fmla="*/ 678700 h 6557032"/>
              <a:gd name="connsiteX32185" fmla="*/ 914732 w 4610101"/>
              <a:gd name="connsiteY32185" fmla="*/ 673234 h 6557032"/>
              <a:gd name="connsiteX32186" fmla="*/ 767136 w 4610101"/>
              <a:gd name="connsiteY32186" fmla="*/ 673234 h 6557032"/>
              <a:gd name="connsiteX32187" fmla="*/ 774424 w 4610101"/>
              <a:gd name="connsiteY32187" fmla="*/ 678700 h 6557032"/>
              <a:gd name="connsiteX32188" fmla="*/ 767136 w 4610101"/>
              <a:gd name="connsiteY32188" fmla="*/ 673234 h 6557032"/>
              <a:gd name="connsiteX32189" fmla="*/ 524786 w 4610101"/>
              <a:gd name="connsiteY32189" fmla="*/ 673234 h 6557032"/>
              <a:gd name="connsiteX32190" fmla="*/ 526609 w 4610101"/>
              <a:gd name="connsiteY32190" fmla="*/ 682345 h 6557032"/>
              <a:gd name="connsiteX32191" fmla="*/ 528431 w 4610101"/>
              <a:gd name="connsiteY32191" fmla="*/ 676878 h 6557032"/>
              <a:gd name="connsiteX32192" fmla="*/ 524786 w 4610101"/>
              <a:gd name="connsiteY32192" fmla="*/ 673234 h 6557032"/>
              <a:gd name="connsiteX32193" fmla="*/ 459188 w 4610101"/>
              <a:gd name="connsiteY32193" fmla="*/ 673234 h 6557032"/>
              <a:gd name="connsiteX32194" fmla="*/ 464655 w 4610101"/>
              <a:gd name="connsiteY32194" fmla="*/ 680522 h 6557032"/>
              <a:gd name="connsiteX32195" fmla="*/ 461010 w 4610101"/>
              <a:gd name="connsiteY32195" fmla="*/ 675056 h 6557032"/>
              <a:gd name="connsiteX32196" fmla="*/ 461579 w 4610101"/>
              <a:gd name="connsiteY32196" fmla="*/ 676422 h 6557032"/>
              <a:gd name="connsiteX32197" fmla="*/ 413634 w 4610101"/>
              <a:gd name="connsiteY32197" fmla="*/ 673234 h 6557032"/>
              <a:gd name="connsiteX32198" fmla="*/ 420923 w 4610101"/>
              <a:gd name="connsiteY32198" fmla="*/ 676878 h 6557032"/>
              <a:gd name="connsiteX32199" fmla="*/ 413634 w 4610101"/>
              <a:gd name="connsiteY32199" fmla="*/ 673234 h 6557032"/>
              <a:gd name="connsiteX32200" fmla="*/ 256927 w 4610101"/>
              <a:gd name="connsiteY32200" fmla="*/ 673234 h 6557032"/>
              <a:gd name="connsiteX32201" fmla="*/ 262393 w 4610101"/>
              <a:gd name="connsiteY32201" fmla="*/ 678700 h 6557032"/>
              <a:gd name="connsiteX32202" fmla="*/ 256927 w 4610101"/>
              <a:gd name="connsiteY32202" fmla="*/ 673234 h 6557032"/>
              <a:gd name="connsiteX32203" fmla="*/ 202262 w 4610101"/>
              <a:gd name="connsiteY32203" fmla="*/ 673234 h 6557032"/>
              <a:gd name="connsiteX32204" fmla="*/ 216839 w 4610101"/>
              <a:gd name="connsiteY32204" fmla="*/ 698744 h 6557032"/>
              <a:gd name="connsiteX32205" fmla="*/ 202262 w 4610101"/>
              <a:gd name="connsiteY32205" fmla="*/ 673234 h 6557032"/>
              <a:gd name="connsiteX32206" fmla="*/ 1439974 w 4610101"/>
              <a:gd name="connsiteY32206" fmla="*/ 673006 h 6557032"/>
              <a:gd name="connsiteX32207" fmla="*/ 1435873 w 4610101"/>
              <a:gd name="connsiteY32207" fmla="*/ 675056 h 6557032"/>
              <a:gd name="connsiteX32208" fmla="*/ 1441340 w 4610101"/>
              <a:gd name="connsiteY32208" fmla="*/ 675056 h 6557032"/>
              <a:gd name="connsiteX32209" fmla="*/ 1439974 w 4610101"/>
              <a:gd name="connsiteY32209" fmla="*/ 673006 h 6557032"/>
              <a:gd name="connsiteX32210" fmla="*/ 962381 w 4610101"/>
              <a:gd name="connsiteY32210" fmla="*/ 671798 h 6557032"/>
              <a:gd name="connsiteX32211" fmla="*/ 964841 w 4610101"/>
              <a:gd name="connsiteY32211" fmla="*/ 675284 h 6557032"/>
              <a:gd name="connsiteX32212" fmla="*/ 966769 w 4610101"/>
              <a:gd name="connsiteY32212" fmla="*/ 678979 h 6557032"/>
              <a:gd name="connsiteX32213" fmla="*/ 962108 w 4610101"/>
              <a:gd name="connsiteY32213" fmla="*/ 673007 h 6557032"/>
              <a:gd name="connsiteX32214" fmla="*/ 3157828 w 4610101"/>
              <a:gd name="connsiteY32214" fmla="*/ 671411 h 6557032"/>
              <a:gd name="connsiteX32215" fmla="*/ 3154184 w 4610101"/>
              <a:gd name="connsiteY32215" fmla="*/ 676878 h 6557032"/>
              <a:gd name="connsiteX32216" fmla="*/ 3157828 w 4610101"/>
              <a:gd name="connsiteY32216" fmla="*/ 671411 h 6557032"/>
              <a:gd name="connsiteX32217" fmla="*/ 2558332 w 4610101"/>
              <a:gd name="connsiteY32217" fmla="*/ 671411 h 6557032"/>
              <a:gd name="connsiteX32218" fmla="*/ 2561977 w 4610101"/>
              <a:gd name="connsiteY32218" fmla="*/ 687811 h 6557032"/>
              <a:gd name="connsiteX32219" fmla="*/ 2567443 w 4610101"/>
              <a:gd name="connsiteY32219" fmla="*/ 682345 h 6557032"/>
              <a:gd name="connsiteX32220" fmla="*/ 2558332 w 4610101"/>
              <a:gd name="connsiteY32220" fmla="*/ 671411 h 6557032"/>
              <a:gd name="connsiteX32221" fmla="*/ 1086016 w 4610101"/>
              <a:gd name="connsiteY32221" fmla="*/ 671411 h 6557032"/>
              <a:gd name="connsiteX32222" fmla="*/ 1073262 w 4610101"/>
              <a:gd name="connsiteY32222" fmla="*/ 678700 h 6557032"/>
              <a:gd name="connsiteX32223" fmla="*/ 1069616 w 4610101"/>
              <a:gd name="connsiteY32223" fmla="*/ 685989 h 6557032"/>
              <a:gd name="connsiteX32224" fmla="*/ 1086016 w 4610101"/>
              <a:gd name="connsiteY32224" fmla="*/ 671411 h 6557032"/>
              <a:gd name="connsiteX32225" fmla="*/ 1065972 w 4610101"/>
              <a:gd name="connsiteY32225" fmla="*/ 671411 h 6557032"/>
              <a:gd name="connsiteX32226" fmla="*/ 1062328 w 4610101"/>
              <a:gd name="connsiteY32226" fmla="*/ 675056 h 6557032"/>
              <a:gd name="connsiteX32227" fmla="*/ 1065972 w 4610101"/>
              <a:gd name="connsiteY32227" fmla="*/ 671411 h 6557032"/>
              <a:gd name="connsiteX32228" fmla="*/ 923843 w 4610101"/>
              <a:gd name="connsiteY32228" fmla="*/ 671411 h 6557032"/>
              <a:gd name="connsiteX32229" fmla="*/ 920198 w 4610101"/>
              <a:gd name="connsiteY32229" fmla="*/ 678700 h 6557032"/>
              <a:gd name="connsiteX32230" fmla="*/ 925186 w 4610101"/>
              <a:gd name="connsiteY32230" fmla="*/ 672051 h 6557032"/>
              <a:gd name="connsiteX32231" fmla="*/ 925494 w 4610101"/>
              <a:gd name="connsiteY32231" fmla="*/ 672198 h 6557032"/>
              <a:gd name="connsiteX32232" fmla="*/ 924526 w 4610101"/>
              <a:gd name="connsiteY32232" fmla="*/ 676651 h 6557032"/>
              <a:gd name="connsiteX32233" fmla="*/ 922020 w 4610101"/>
              <a:gd name="connsiteY32233" fmla="*/ 680522 h 6557032"/>
              <a:gd name="connsiteX32234" fmla="*/ 922020 w 4610101"/>
              <a:gd name="connsiteY32234" fmla="*/ 682345 h 6557032"/>
              <a:gd name="connsiteX32235" fmla="*/ 927487 w 4610101"/>
              <a:gd name="connsiteY32235" fmla="*/ 684167 h 6557032"/>
              <a:gd name="connsiteX32236" fmla="*/ 927487 w 4610101"/>
              <a:gd name="connsiteY32236" fmla="*/ 680522 h 6557032"/>
              <a:gd name="connsiteX32237" fmla="*/ 925666 w 4610101"/>
              <a:gd name="connsiteY32237" fmla="*/ 680522 h 6557032"/>
              <a:gd name="connsiteX32238" fmla="*/ 929309 w 4610101"/>
              <a:gd name="connsiteY32238" fmla="*/ 678700 h 6557032"/>
              <a:gd name="connsiteX32239" fmla="*/ 928626 w 4610101"/>
              <a:gd name="connsiteY32239" fmla="*/ 673689 h 6557032"/>
              <a:gd name="connsiteX32240" fmla="*/ 925494 w 4610101"/>
              <a:gd name="connsiteY32240" fmla="*/ 672198 h 6557032"/>
              <a:gd name="connsiteX32241" fmla="*/ 925666 w 4610101"/>
              <a:gd name="connsiteY32241" fmla="*/ 671411 h 6557032"/>
              <a:gd name="connsiteX32242" fmla="*/ 925186 w 4610101"/>
              <a:gd name="connsiteY32242" fmla="*/ 672051 h 6557032"/>
              <a:gd name="connsiteX32243" fmla="*/ 475589 w 4610101"/>
              <a:gd name="connsiteY32243" fmla="*/ 671411 h 6557032"/>
              <a:gd name="connsiteX32244" fmla="*/ 475589 w 4610101"/>
              <a:gd name="connsiteY32244" fmla="*/ 676878 h 6557032"/>
              <a:gd name="connsiteX32245" fmla="*/ 475589 w 4610101"/>
              <a:gd name="connsiteY32245" fmla="*/ 671411 h 6557032"/>
              <a:gd name="connsiteX32246" fmla="*/ 448256 w 4610101"/>
              <a:gd name="connsiteY32246" fmla="*/ 671411 h 6557032"/>
              <a:gd name="connsiteX32247" fmla="*/ 451898 w 4610101"/>
              <a:gd name="connsiteY32247" fmla="*/ 675055 h 6557032"/>
              <a:gd name="connsiteX32248" fmla="*/ 451899 w 4610101"/>
              <a:gd name="connsiteY32248" fmla="*/ 675056 h 6557032"/>
              <a:gd name="connsiteX32249" fmla="*/ 451899 w 4610101"/>
              <a:gd name="connsiteY32249" fmla="*/ 675055 h 6557032"/>
              <a:gd name="connsiteX32250" fmla="*/ 453722 w 4610101"/>
              <a:gd name="connsiteY32250" fmla="*/ 676878 h 6557032"/>
              <a:gd name="connsiteX32251" fmla="*/ 451899 w 4610101"/>
              <a:gd name="connsiteY32251" fmla="*/ 671411 h 6557032"/>
              <a:gd name="connsiteX32252" fmla="*/ 451899 w 4610101"/>
              <a:gd name="connsiteY32252" fmla="*/ 672551 h 6557032"/>
              <a:gd name="connsiteX32253" fmla="*/ 451899 w 4610101"/>
              <a:gd name="connsiteY32253" fmla="*/ 675055 h 6557032"/>
              <a:gd name="connsiteX32254" fmla="*/ 451898 w 4610101"/>
              <a:gd name="connsiteY32254" fmla="*/ 675055 h 6557032"/>
              <a:gd name="connsiteX32255" fmla="*/ 450760 w 4610101"/>
              <a:gd name="connsiteY32255" fmla="*/ 672551 h 6557032"/>
              <a:gd name="connsiteX32256" fmla="*/ 448256 w 4610101"/>
              <a:gd name="connsiteY32256" fmla="*/ 671411 h 6557032"/>
              <a:gd name="connsiteX32257" fmla="*/ 420923 w 4610101"/>
              <a:gd name="connsiteY32257" fmla="*/ 671411 h 6557032"/>
              <a:gd name="connsiteX32258" fmla="*/ 415456 w 4610101"/>
              <a:gd name="connsiteY32258" fmla="*/ 673234 h 6557032"/>
              <a:gd name="connsiteX32259" fmla="*/ 420923 w 4610101"/>
              <a:gd name="connsiteY32259" fmla="*/ 671411 h 6557032"/>
              <a:gd name="connsiteX32260" fmla="*/ 393590 w 4610101"/>
              <a:gd name="connsiteY32260" fmla="*/ 671411 h 6557032"/>
              <a:gd name="connsiteX32261" fmla="*/ 397234 w 4610101"/>
              <a:gd name="connsiteY32261" fmla="*/ 675056 h 6557032"/>
              <a:gd name="connsiteX32262" fmla="*/ 393590 w 4610101"/>
              <a:gd name="connsiteY32262" fmla="*/ 671411 h 6557032"/>
              <a:gd name="connsiteX32263" fmla="*/ 284259 w 4610101"/>
              <a:gd name="connsiteY32263" fmla="*/ 671411 h 6557032"/>
              <a:gd name="connsiteX32264" fmla="*/ 307948 w 4610101"/>
              <a:gd name="connsiteY32264" fmla="*/ 716966 h 6557032"/>
              <a:gd name="connsiteX32265" fmla="*/ 300660 w 4610101"/>
              <a:gd name="connsiteY32265" fmla="*/ 702388 h 6557032"/>
              <a:gd name="connsiteX32266" fmla="*/ 307948 w 4610101"/>
              <a:gd name="connsiteY32266" fmla="*/ 711499 h 6557032"/>
              <a:gd name="connsiteX32267" fmla="*/ 284259 w 4610101"/>
              <a:gd name="connsiteY32267" fmla="*/ 671411 h 6557032"/>
              <a:gd name="connsiteX32268" fmla="*/ 618856 w 4610101"/>
              <a:gd name="connsiteY32268" fmla="*/ 670956 h 6557032"/>
              <a:gd name="connsiteX32269" fmla="*/ 617717 w 4610101"/>
              <a:gd name="connsiteY32269" fmla="*/ 673234 h 6557032"/>
              <a:gd name="connsiteX32270" fmla="*/ 619539 w 4610101"/>
              <a:gd name="connsiteY32270" fmla="*/ 676878 h 6557032"/>
              <a:gd name="connsiteX32271" fmla="*/ 621362 w 4610101"/>
              <a:gd name="connsiteY32271" fmla="*/ 671411 h 6557032"/>
              <a:gd name="connsiteX32272" fmla="*/ 618856 w 4610101"/>
              <a:gd name="connsiteY32272" fmla="*/ 670956 h 6557032"/>
              <a:gd name="connsiteX32273" fmla="*/ 1421296 w 4610101"/>
              <a:gd name="connsiteY32273" fmla="*/ 669589 h 6557032"/>
              <a:gd name="connsiteX32274" fmla="*/ 1412185 w 4610101"/>
              <a:gd name="connsiteY32274" fmla="*/ 673234 h 6557032"/>
              <a:gd name="connsiteX32275" fmla="*/ 1414007 w 4610101"/>
              <a:gd name="connsiteY32275" fmla="*/ 675056 h 6557032"/>
              <a:gd name="connsiteX32276" fmla="*/ 1421296 w 4610101"/>
              <a:gd name="connsiteY32276" fmla="*/ 669589 h 6557032"/>
              <a:gd name="connsiteX32277" fmla="*/ 1213568 w 4610101"/>
              <a:gd name="connsiteY32277" fmla="*/ 669589 h 6557032"/>
              <a:gd name="connsiteX32278" fmla="*/ 1209925 w 4610101"/>
              <a:gd name="connsiteY32278" fmla="*/ 673234 h 6557032"/>
              <a:gd name="connsiteX32279" fmla="*/ 1213568 w 4610101"/>
              <a:gd name="connsiteY32279" fmla="*/ 669589 h 6557032"/>
              <a:gd name="connsiteX32280" fmla="*/ 1149792 w 4610101"/>
              <a:gd name="connsiteY32280" fmla="*/ 669589 h 6557032"/>
              <a:gd name="connsiteX32281" fmla="*/ 1138859 w 4610101"/>
              <a:gd name="connsiteY32281" fmla="*/ 689633 h 6557032"/>
              <a:gd name="connsiteX32282" fmla="*/ 1151614 w 4610101"/>
              <a:gd name="connsiteY32282" fmla="*/ 675056 h 6557032"/>
              <a:gd name="connsiteX32283" fmla="*/ 1149792 w 4610101"/>
              <a:gd name="connsiteY32283" fmla="*/ 669589 h 6557032"/>
              <a:gd name="connsiteX32284" fmla="*/ 1067794 w 4610101"/>
              <a:gd name="connsiteY32284" fmla="*/ 669589 h 6557032"/>
              <a:gd name="connsiteX32285" fmla="*/ 1045929 w 4610101"/>
              <a:gd name="connsiteY32285" fmla="*/ 675056 h 6557032"/>
              <a:gd name="connsiteX32286" fmla="*/ 1042284 w 4610101"/>
              <a:gd name="connsiteY32286" fmla="*/ 678700 h 6557032"/>
              <a:gd name="connsiteX32287" fmla="*/ 1049573 w 4610101"/>
              <a:gd name="connsiteY32287" fmla="*/ 678700 h 6557032"/>
              <a:gd name="connsiteX32288" fmla="*/ 1022240 w 4610101"/>
              <a:gd name="connsiteY32288" fmla="*/ 704211 h 6557032"/>
              <a:gd name="connsiteX32289" fmla="*/ 1040462 w 4610101"/>
              <a:gd name="connsiteY32289" fmla="*/ 700566 h 6557032"/>
              <a:gd name="connsiteX32290" fmla="*/ 1044106 w 4610101"/>
              <a:gd name="connsiteY32290" fmla="*/ 687811 h 6557032"/>
              <a:gd name="connsiteX32291" fmla="*/ 1042284 w 4610101"/>
              <a:gd name="connsiteY32291" fmla="*/ 698744 h 6557032"/>
              <a:gd name="connsiteX32292" fmla="*/ 1049573 w 4610101"/>
              <a:gd name="connsiteY32292" fmla="*/ 687811 h 6557032"/>
              <a:gd name="connsiteX32293" fmla="*/ 1047750 w 4610101"/>
              <a:gd name="connsiteY32293" fmla="*/ 696922 h 6557032"/>
              <a:gd name="connsiteX32294" fmla="*/ 1054479 w 4610101"/>
              <a:gd name="connsiteY32294" fmla="*/ 691035 h 6557032"/>
              <a:gd name="connsiteX32295" fmla="*/ 1055950 w 4610101"/>
              <a:gd name="connsiteY32295" fmla="*/ 690545 h 6557032"/>
              <a:gd name="connsiteX32296" fmla="*/ 1058683 w 4610101"/>
              <a:gd name="connsiteY32296" fmla="*/ 689633 h 6557032"/>
              <a:gd name="connsiteX32297" fmla="*/ 1054479 w 4610101"/>
              <a:gd name="connsiteY32297" fmla="*/ 691035 h 6557032"/>
              <a:gd name="connsiteX32298" fmla="*/ 1062328 w 4610101"/>
              <a:gd name="connsiteY32298" fmla="*/ 684167 h 6557032"/>
              <a:gd name="connsiteX32299" fmla="*/ 1056861 w 4610101"/>
              <a:gd name="connsiteY32299" fmla="*/ 676878 h 6557032"/>
              <a:gd name="connsiteX32300" fmla="*/ 1053217 w 4610101"/>
              <a:gd name="connsiteY32300" fmla="*/ 678700 h 6557032"/>
              <a:gd name="connsiteX32301" fmla="*/ 1067794 w 4610101"/>
              <a:gd name="connsiteY32301" fmla="*/ 669589 h 6557032"/>
              <a:gd name="connsiteX32302" fmla="*/ 931131 w 4610101"/>
              <a:gd name="connsiteY32302" fmla="*/ 669589 h 6557032"/>
              <a:gd name="connsiteX32303" fmla="*/ 932953 w 4610101"/>
              <a:gd name="connsiteY32303" fmla="*/ 675056 h 6557032"/>
              <a:gd name="connsiteX32304" fmla="*/ 931131 w 4610101"/>
              <a:gd name="connsiteY32304" fmla="*/ 669589 h 6557032"/>
              <a:gd name="connsiteX32305" fmla="*/ 903799 w 4610101"/>
              <a:gd name="connsiteY32305" fmla="*/ 669589 h 6557032"/>
              <a:gd name="connsiteX32306" fmla="*/ 894688 w 4610101"/>
              <a:gd name="connsiteY32306" fmla="*/ 687811 h 6557032"/>
              <a:gd name="connsiteX32307" fmla="*/ 903799 w 4610101"/>
              <a:gd name="connsiteY32307" fmla="*/ 669589 h 6557032"/>
              <a:gd name="connsiteX32308" fmla="*/ 819979 w 4610101"/>
              <a:gd name="connsiteY32308" fmla="*/ 669589 h 6557032"/>
              <a:gd name="connsiteX32309" fmla="*/ 818156 w 4610101"/>
              <a:gd name="connsiteY32309" fmla="*/ 671411 h 6557032"/>
              <a:gd name="connsiteX32310" fmla="*/ 819979 w 4610101"/>
              <a:gd name="connsiteY32310" fmla="*/ 675056 h 6557032"/>
              <a:gd name="connsiteX32311" fmla="*/ 819979 w 4610101"/>
              <a:gd name="connsiteY32311" fmla="*/ 669589 h 6557032"/>
              <a:gd name="connsiteX32312" fmla="*/ 486521 w 4610101"/>
              <a:gd name="connsiteY32312" fmla="*/ 669589 h 6557032"/>
              <a:gd name="connsiteX32313" fmla="*/ 488343 w 4610101"/>
              <a:gd name="connsiteY32313" fmla="*/ 682345 h 6557032"/>
              <a:gd name="connsiteX32314" fmla="*/ 486521 w 4610101"/>
              <a:gd name="connsiteY32314" fmla="*/ 669589 h 6557032"/>
              <a:gd name="connsiteX32315" fmla="*/ 369902 w 4610101"/>
              <a:gd name="connsiteY32315" fmla="*/ 669589 h 6557032"/>
              <a:gd name="connsiteX32316" fmla="*/ 382657 w 4610101"/>
              <a:gd name="connsiteY32316" fmla="*/ 693278 h 6557032"/>
              <a:gd name="connsiteX32317" fmla="*/ 375368 w 4610101"/>
              <a:gd name="connsiteY32317" fmla="*/ 676878 h 6557032"/>
              <a:gd name="connsiteX32318" fmla="*/ 369902 w 4610101"/>
              <a:gd name="connsiteY32318" fmla="*/ 669589 h 6557032"/>
              <a:gd name="connsiteX32319" fmla="*/ 349858 w 4610101"/>
              <a:gd name="connsiteY32319" fmla="*/ 669589 h 6557032"/>
              <a:gd name="connsiteX32320" fmla="*/ 353502 w 4610101"/>
              <a:gd name="connsiteY32320" fmla="*/ 680522 h 6557032"/>
              <a:gd name="connsiteX32321" fmla="*/ 355324 w 4610101"/>
              <a:gd name="connsiteY32321" fmla="*/ 676878 h 6557032"/>
              <a:gd name="connsiteX32322" fmla="*/ 349858 w 4610101"/>
              <a:gd name="connsiteY32322" fmla="*/ 669589 h 6557032"/>
              <a:gd name="connsiteX32323" fmla="*/ 3558706 w 4610101"/>
              <a:gd name="connsiteY32323" fmla="*/ 667767 h 6557032"/>
              <a:gd name="connsiteX32324" fmla="*/ 3556884 w 4610101"/>
              <a:gd name="connsiteY32324" fmla="*/ 682345 h 6557032"/>
              <a:gd name="connsiteX32325" fmla="*/ 3564173 w 4610101"/>
              <a:gd name="connsiteY32325" fmla="*/ 676878 h 6557032"/>
              <a:gd name="connsiteX32326" fmla="*/ 3562350 w 4610101"/>
              <a:gd name="connsiteY32326" fmla="*/ 667767 h 6557032"/>
              <a:gd name="connsiteX32327" fmla="*/ 3558706 w 4610101"/>
              <a:gd name="connsiteY32327" fmla="*/ 667767 h 6557032"/>
              <a:gd name="connsiteX32328" fmla="*/ 3473064 w 4610101"/>
              <a:gd name="connsiteY32328" fmla="*/ 667767 h 6557032"/>
              <a:gd name="connsiteX32329" fmla="*/ 3474886 w 4610101"/>
              <a:gd name="connsiteY32329" fmla="*/ 685989 h 6557032"/>
              <a:gd name="connsiteX32330" fmla="*/ 3482175 w 4610101"/>
              <a:gd name="connsiteY32330" fmla="*/ 684167 h 6557032"/>
              <a:gd name="connsiteX32331" fmla="*/ 3473064 w 4610101"/>
              <a:gd name="connsiteY32331" fmla="*/ 667767 h 6557032"/>
              <a:gd name="connsiteX32332" fmla="*/ 3442087 w 4610101"/>
              <a:gd name="connsiteY32332" fmla="*/ 667767 h 6557032"/>
              <a:gd name="connsiteX32333" fmla="*/ 3440265 w 4610101"/>
              <a:gd name="connsiteY32333" fmla="*/ 675056 h 6557032"/>
              <a:gd name="connsiteX32334" fmla="*/ 3431154 w 4610101"/>
              <a:gd name="connsiteY32334" fmla="*/ 673234 h 6557032"/>
              <a:gd name="connsiteX32335" fmla="*/ 3432976 w 4610101"/>
              <a:gd name="connsiteY32335" fmla="*/ 687811 h 6557032"/>
              <a:gd name="connsiteX32336" fmla="*/ 3449376 w 4610101"/>
              <a:gd name="connsiteY32336" fmla="*/ 678700 h 6557032"/>
              <a:gd name="connsiteX32337" fmla="*/ 3451198 w 4610101"/>
              <a:gd name="connsiteY32337" fmla="*/ 667767 h 6557032"/>
              <a:gd name="connsiteX32338" fmla="*/ 3442087 w 4610101"/>
              <a:gd name="connsiteY32338" fmla="*/ 667767 h 6557032"/>
              <a:gd name="connsiteX32339" fmla="*/ 3301780 w 4610101"/>
              <a:gd name="connsiteY32339" fmla="*/ 667767 h 6557032"/>
              <a:gd name="connsiteX32340" fmla="*/ 3298135 w 4610101"/>
              <a:gd name="connsiteY32340" fmla="*/ 678700 h 6557032"/>
              <a:gd name="connsiteX32341" fmla="*/ 3301780 w 4610101"/>
              <a:gd name="connsiteY32341" fmla="*/ 667767 h 6557032"/>
              <a:gd name="connsiteX32342" fmla="*/ 973041 w 4610101"/>
              <a:gd name="connsiteY32342" fmla="*/ 667767 h 6557032"/>
              <a:gd name="connsiteX32343" fmla="*/ 976230 w 4610101"/>
              <a:gd name="connsiteY32343" fmla="*/ 674145 h 6557032"/>
              <a:gd name="connsiteX32344" fmla="*/ 976351 w 4610101"/>
              <a:gd name="connsiteY32344" fmla="*/ 675847 h 6557032"/>
              <a:gd name="connsiteX32345" fmla="*/ 974518 w 4610101"/>
              <a:gd name="connsiteY32345" fmla="*/ 677051 h 6557032"/>
              <a:gd name="connsiteX32346" fmla="*/ 945709 w 4610101"/>
              <a:gd name="connsiteY32346" fmla="*/ 667767 h 6557032"/>
              <a:gd name="connsiteX32347" fmla="*/ 942064 w 4610101"/>
              <a:gd name="connsiteY32347" fmla="*/ 676878 h 6557032"/>
              <a:gd name="connsiteX32348" fmla="*/ 945709 w 4610101"/>
              <a:gd name="connsiteY32348" fmla="*/ 667767 h 6557032"/>
              <a:gd name="connsiteX32349" fmla="*/ 843667 w 4610101"/>
              <a:gd name="connsiteY32349" fmla="*/ 667767 h 6557032"/>
              <a:gd name="connsiteX32350" fmla="*/ 838200 w 4610101"/>
              <a:gd name="connsiteY32350" fmla="*/ 671411 h 6557032"/>
              <a:gd name="connsiteX32351" fmla="*/ 841845 w 4610101"/>
              <a:gd name="connsiteY32351" fmla="*/ 673234 h 6557032"/>
              <a:gd name="connsiteX32352" fmla="*/ 843667 w 4610101"/>
              <a:gd name="connsiteY32352" fmla="*/ 667767 h 6557032"/>
              <a:gd name="connsiteX32353" fmla="*/ 829089 w 4610101"/>
              <a:gd name="connsiteY32353" fmla="*/ 667767 h 6557032"/>
              <a:gd name="connsiteX32354" fmla="*/ 834556 w 4610101"/>
              <a:gd name="connsiteY32354" fmla="*/ 673234 h 6557032"/>
              <a:gd name="connsiteX32355" fmla="*/ 836378 w 4610101"/>
              <a:gd name="connsiteY32355" fmla="*/ 675056 h 6557032"/>
              <a:gd name="connsiteX32356" fmla="*/ 834556 w 4610101"/>
              <a:gd name="connsiteY32356" fmla="*/ 671411 h 6557032"/>
              <a:gd name="connsiteX32357" fmla="*/ 830912 w 4610101"/>
              <a:gd name="connsiteY32357" fmla="*/ 667767 h 6557032"/>
              <a:gd name="connsiteX32358" fmla="*/ 829089 w 4610101"/>
              <a:gd name="connsiteY32358" fmla="*/ 667767 h 6557032"/>
              <a:gd name="connsiteX32359" fmla="*/ 581274 w 4610101"/>
              <a:gd name="connsiteY32359" fmla="*/ 667767 h 6557032"/>
              <a:gd name="connsiteX32360" fmla="*/ 581274 w 4610101"/>
              <a:gd name="connsiteY32360" fmla="*/ 680522 h 6557032"/>
              <a:gd name="connsiteX32361" fmla="*/ 581274 w 4610101"/>
              <a:gd name="connsiteY32361" fmla="*/ 667767 h 6557032"/>
              <a:gd name="connsiteX32362" fmla="*/ 291549 w 4610101"/>
              <a:gd name="connsiteY32362" fmla="*/ 667767 h 6557032"/>
              <a:gd name="connsiteX32363" fmla="*/ 302481 w 4610101"/>
              <a:gd name="connsiteY32363" fmla="*/ 687811 h 6557032"/>
              <a:gd name="connsiteX32364" fmla="*/ 304303 w 4610101"/>
              <a:gd name="connsiteY32364" fmla="*/ 685989 h 6557032"/>
              <a:gd name="connsiteX32365" fmla="*/ 324347 w 4610101"/>
              <a:gd name="connsiteY32365" fmla="*/ 713321 h 6557032"/>
              <a:gd name="connsiteX32366" fmla="*/ 324347 w 4610101"/>
              <a:gd name="connsiteY32366" fmla="*/ 706033 h 6557032"/>
              <a:gd name="connsiteX32367" fmla="*/ 337102 w 4610101"/>
              <a:gd name="connsiteY32367" fmla="*/ 726077 h 6557032"/>
              <a:gd name="connsiteX32368" fmla="*/ 326169 w 4610101"/>
              <a:gd name="connsiteY32368" fmla="*/ 707855 h 6557032"/>
              <a:gd name="connsiteX32369" fmla="*/ 331636 w 4610101"/>
              <a:gd name="connsiteY32369" fmla="*/ 707855 h 6557032"/>
              <a:gd name="connsiteX32370" fmla="*/ 317059 w 4610101"/>
              <a:gd name="connsiteY32370" fmla="*/ 693278 h 6557032"/>
              <a:gd name="connsiteX32371" fmla="*/ 326169 w 4610101"/>
              <a:gd name="connsiteY32371" fmla="*/ 693278 h 6557032"/>
              <a:gd name="connsiteX32372" fmla="*/ 326169 w 4610101"/>
              <a:gd name="connsiteY32372" fmla="*/ 689633 h 6557032"/>
              <a:gd name="connsiteX32373" fmla="*/ 306126 w 4610101"/>
              <a:gd name="connsiteY32373" fmla="*/ 680522 h 6557032"/>
              <a:gd name="connsiteX32374" fmla="*/ 304303 w 4610101"/>
              <a:gd name="connsiteY32374" fmla="*/ 682345 h 6557032"/>
              <a:gd name="connsiteX32375" fmla="*/ 291549 w 4610101"/>
              <a:gd name="connsiteY32375" fmla="*/ 667767 h 6557032"/>
              <a:gd name="connsiteX32376" fmla="*/ 176751 w 4610101"/>
              <a:gd name="connsiteY32376" fmla="*/ 667767 h 6557032"/>
              <a:gd name="connsiteX32377" fmla="*/ 184040 w 4610101"/>
              <a:gd name="connsiteY32377" fmla="*/ 680522 h 6557032"/>
              <a:gd name="connsiteX32378" fmla="*/ 176751 w 4610101"/>
              <a:gd name="connsiteY32378" fmla="*/ 667767 h 6557032"/>
              <a:gd name="connsiteX32379" fmla="*/ 138486 w 4610101"/>
              <a:gd name="connsiteY32379" fmla="*/ 667767 h 6557032"/>
              <a:gd name="connsiteX32380" fmla="*/ 140991 w 4610101"/>
              <a:gd name="connsiteY32380" fmla="*/ 671640 h 6557032"/>
              <a:gd name="connsiteX32381" fmla="*/ 141095 w 4610101"/>
              <a:gd name="connsiteY32381" fmla="*/ 672116 h 6557032"/>
              <a:gd name="connsiteX32382" fmla="*/ 63776 w 4610101"/>
              <a:gd name="connsiteY32382" fmla="*/ 667767 h 6557032"/>
              <a:gd name="connsiteX32383" fmla="*/ 83488 w 4610101"/>
              <a:gd name="connsiteY32383" fmla="*/ 685617 h 6557032"/>
              <a:gd name="connsiteX32384" fmla="*/ 83365 w 4610101"/>
              <a:gd name="connsiteY32384" fmla="*/ 685534 h 6557032"/>
              <a:gd name="connsiteX32385" fmla="*/ 63776 w 4610101"/>
              <a:gd name="connsiteY32385" fmla="*/ 667767 h 6557032"/>
              <a:gd name="connsiteX32386" fmla="*/ 375213 w 4610101"/>
              <a:gd name="connsiteY32386" fmla="*/ 667535 h 6557032"/>
              <a:gd name="connsiteX32387" fmla="*/ 375368 w 4610101"/>
              <a:gd name="connsiteY32387" fmla="*/ 667767 h 6557032"/>
              <a:gd name="connsiteX32388" fmla="*/ 375205 w 4610101"/>
              <a:gd name="connsiteY32388" fmla="*/ 667704 h 6557032"/>
              <a:gd name="connsiteX32389" fmla="*/ 2104556 w 4610101"/>
              <a:gd name="connsiteY32389" fmla="*/ 667325 h 6557032"/>
              <a:gd name="connsiteX32390" fmla="*/ 2104803 w 4610101"/>
              <a:gd name="connsiteY32390" fmla="*/ 667671 h 6557032"/>
              <a:gd name="connsiteX32391" fmla="*/ 2104611 w 4610101"/>
              <a:gd name="connsiteY32391" fmla="*/ 667767 h 6557032"/>
              <a:gd name="connsiteX32392" fmla="*/ 1234523 w 4610101"/>
              <a:gd name="connsiteY32392" fmla="*/ 666401 h 6557032"/>
              <a:gd name="connsiteX32393" fmla="*/ 1228146 w 4610101"/>
              <a:gd name="connsiteY32393" fmla="*/ 678700 h 6557032"/>
              <a:gd name="connsiteX32394" fmla="*/ 1231790 w 4610101"/>
              <a:gd name="connsiteY32394" fmla="*/ 682345 h 6557032"/>
              <a:gd name="connsiteX32395" fmla="*/ 1246367 w 4610101"/>
              <a:gd name="connsiteY32395" fmla="*/ 667767 h 6557032"/>
              <a:gd name="connsiteX32396" fmla="*/ 1234523 w 4610101"/>
              <a:gd name="connsiteY32396" fmla="*/ 666401 h 6557032"/>
              <a:gd name="connsiteX32397" fmla="*/ 2933700 w 4610101"/>
              <a:gd name="connsiteY32397" fmla="*/ 665945 h 6557032"/>
              <a:gd name="connsiteX32398" fmla="*/ 2946456 w 4610101"/>
              <a:gd name="connsiteY32398" fmla="*/ 675056 h 6557032"/>
              <a:gd name="connsiteX32399" fmla="*/ 2933700 w 4610101"/>
              <a:gd name="connsiteY32399" fmla="*/ 665945 h 6557032"/>
              <a:gd name="connsiteX32400" fmla="*/ 2620287 w 4610101"/>
              <a:gd name="connsiteY32400" fmla="*/ 665945 h 6557032"/>
              <a:gd name="connsiteX32401" fmla="*/ 2618464 w 4610101"/>
              <a:gd name="connsiteY32401" fmla="*/ 678700 h 6557032"/>
              <a:gd name="connsiteX32402" fmla="*/ 2614820 w 4610101"/>
              <a:gd name="connsiteY32402" fmla="*/ 673234 h 6557032"/>
              <a:gd name="connsiteX32403" fmla="*/ 2614820 w 4610101"/>
              <a:gd name="connsiteY32403" fmla="*/ 684167 h 6557032"/>
              <a:gd name="connsiteX32404" fmla="*/ 2622109 w 4610101"/>
              <a:gd name="connsiteY32404" fmla="*/ 687811 h 6557032"/>
              <a:gd name="connsiteX32405" fmla="*/ 2627575 w 4610101"/>
              <a:gd name="connsiteY32405" fmla="*/ 689633 h 6557032"/>
              <a:gd name="connsiteX32406" fmla="*/ 2627575 w 4610101"/>
              <a:gd name="connsiteY32406" fmla="*/ 680522 h 6557032"/>
              <a:gd name="connsiteX32407" fmla="*/ 2634864 w 4610101"/>
              <a:gd name="connsiteY32407" fmla="*/ 689633 h 6557032"/>
              <a:gd name="connsiteX32408" fmla="*/ 2620287 w 4610101"/>
              <a:gd name="connsiteY32408" fmla="*/ 665945 h 6557032"/>
              <a:gd name="connsiteX32409" fmla="*/ 1355698 w 4610101"/>
              <a:gd name="connsiteY32409" fmla="*/ 665945 h 6557032"/>
              <a:gd name="connsiteX32410" fmla="*/ 1333832 w 4610101"/>
              <a:gd name="connsiteY32410" fmla="*/ 684167 h 6557032"/>
              <a:gd name="connsiteX32411" fmla="*/ 1341120 w 4610101"/>
              <a:gd name="connsiteY32411" fmla="*/ 680522 h 6557032"/>
              <a:gd name="connsiteX32412" fmla="*/ 1344765 w 4610101"/>
              <a:gd name="connsiteY32412" fmla="*/ 682345 h 6557032"/>
              <a:gd name="connsiteX32413" fmla="*/ 1355698 w 4610101"/>
              <a:gd name="connsiteY32413" fmla="*/ 665945 h 6557032"/>
              <a:gd name="connsiteX32414" fmla="*/ 1268233 w 4610101"/>
              <a:gd name="connsiteY32414" fmla="*/ 665945 h 6557032"/>
              <a:gd name="connsiteX32415" fmla="*/ 1262767 w 4610101"/>
              <a:gd name="connsiteY32415" fmla="*/ 669589 h 6557032"/>
              <a:gd name="connsiteX32416" fmla="*/ 1268233 w 4610101"/>
              <a:gd name="connsiteY32416" fmla="*/ 665945 h 6557032"/>
              <a:gd name="connsiteX32417" fmla="*/ 1120637 w 4610101"/>
              <a:gd name="connsiteY32417" fmla="*/ 665945 h 6557032"/>
              <a:gd name="connsiteX32418" fmla="*/ 1118815 w 4610101"/>
              <a:gd name="connsiteY32418" fmla="*/ 671411 h 6557032"/>
              <a:gd name="connsiteX32419" fmla="*/ 1120637 w 4610101"/>
              <a:gd name="connsiteY32419" fmla="*/ 665945 h 6557032"/>
              <a:gd name="connsiteX32420" fmla="*/ 1078727 w 4610101"/>
              <a:gd name="connsiteY32420" fmla="*/ 665945 h 6557032"/>
              <a:gd name="connsiteX32421" fmla="*/ 1069616 w 4610101"/>
              <a:gd name="connsiteY32421" fmla="*/ 669589 h 6557032"/>
              <a:gd name="connsiteX32422" fmla="*/ 1073262 w 4610101"/>
              <a:gd name="connsiteY32422" fmla="*/ 669589 h 6557032"/>
              <a:gd name="connsiteX32423" fmla="*/ 1064151 w 4610101"/>
              <a:gd name="connsiteY32423" fmla="*/ 684167 h 6557032"/>
              <a:gd name="connsiteX32424" fmla="*/ 1078727 w 4610101"/>
              <a:gd name="connsiteY32424" fmla="*/ 665945 h 6557032"/>
              <a:gd name="connsiteX32425" fmla="*/ 696071 w 4610101"/>
              <a:gd name="connsiteY32425" fmla="*/ 665945 h 6557032"/>
              <a:gd name="connsiteX32426" fmla="*/ 694249 w 4610101"/>
              <a:gd name="connsiteY32426" fmla="*/ 673234 h 6557032"/>
              <a:gd name="connsiteX32427" fmla="*/ 696071 w 4610101"/>
              <a:gd name="connsiteY32427" fmla="*/ 665945 h 6557032"/>
              <a:gd name="connsiteX32428" fmla="*/ 668738 w 4610101"/>
              <a:gd name="connsiteY32428" fmla="*/ 665945 h 6557032"/>
              <a:gd name="connsiteX32429" fmla="*/ 679671 w 4610101"/>
              <a:gd name="connsiteY32429" fmla="*/ 673234 h 6557032"/>
              <a:gd name="connsiteX32430" fmla="*/ 677849 w 4610101"/>
              <a:gd name="connsiteY32430" fmla="*/ 675056 h 6557032"/>
              <a:gd name="connsiteX32431" fmla="*/ 688782 w 4610101"/>
              <a:gd name="connsiteY32431" fmla="*/ 678700 h 6557032"/>
              <a:gd name="connsiteX32432" fmla="*/ 679671 w 4610101"/>
              <a:gd name="connsiteY32432" fmla="*/ 673234 h 6557032"/>
              <a:gd name="connsiteX32433" fmla="*/ 668738 w 4610101"/>
              <a:gd name="connsiteY32433" fmla="*/ 665945 h 6557032"/>
              <a:gd name="connsiteX32434" fmla="*/ 590385 w 4610101"/>
              <a:gd name="connsiteY32434" fmla="*/ 665945 h 6557032"/>
              <a:gd name="connsiteX32435" fmla="*/ 588562 w 4610101"/>
              <a:gd name="connsiteY32435" fmla="*/ 680522 h 6557032"/>
              <a:gd name="connsiteX32436" fmla="*/ 590385 w 4610101"/>
              <a:gd name="connsiteY32436" fmla="*/ 665945 h 6557032"/>
              <a:gd name="connsiteX32437" fmla="*/ 581274 w 4610101"/>
              <a:gd name="connsiteY32437" fmla="*/ 665945 h 6557032"/>
              <a:gd name="connsiteX32438" fmla="*/ 575808 w 4610101"/>
              <a:gd name="connsiteY32438" fmla="*/ 671411 h 6557032"/>
              <a:gd name="connsiteX32439" fmla="*/ 581274 w 4610101"/>
              <a:gd name="connsiteY32439" fmla="*/ 665945 h 6557032"/>
              <a:gd name="connsiteX32440" fmla="*/ 510209 w 4610101"/>
              <a:gd name="connsiteY32440" fmla="*/ 665945 h 6557032"/>
              <a:gd name="connsiteX32441" fmla="*/ 519320 w 4610101"/>
              <a:gd name="connsiteY32441" fmla="*/ 682345 h 6557032"/>
              <a:gd name="connsiteX32442" fmla="*/ 510209 w 4610101"/>
              <a:gd name="connsiteY32442" fmla="*/ 665945 h 6557032"/>
              <a:gd name="connsiteX32443" fmla="*/ 215017 w 4610101"/>
              <a:gd name="connsiteY32443" fmla="*/ 665945 h 6557032"/>
              <a:gd name="connsiteX32444" fmla="*/ 224128 w 4610101"/>
              <a:gd name="connsiteY32444" fmla="*/ 678700 h 6557032"/>
              <a:gd name="connsiteX32445" fmla="*/ 215017 w 4610101"/>
              <a:gd name="connsiteY32445" fmla="*/ 665945 h 6557032"/>
              <a:gd name="connsiteX32446" fmla="*/ 1175217 w 4610101"/>
              <a:gd name="connsiteY32446" fmla="*/ 664949 h 6557032"/>
              <a:gd name="connsiteX32447" fmla="*/ 1153436 w 4610101"/>
              <a:gd name="connsiteY32447" fmla="*/ 684167 h 6557032"/>
              <a:gd name="connsiteX32448" fmla="*/ 1157081 w 4610101"/>
              <a:gd name="connsiteY32448" fmla="*/ 682345 h 6557032"/>
              <a:gd name="connsiteX32449" fmla="*/ 1155259 w 4610101"/>
              <a:gd name="connsiteY32449" fmla="*/ 689633 h 6557032"/>
              <a:gd name="connsiteX32450" fmla="*/ 1160725 w 4610101"/>
              <a:gd name="connsiteY32450" fmla="*/ 685989 h 6557032"/>
              <a:gd name="connsiteX32451" fmla="*/ 1158903 w 4610101"/>
              <a:gd name="connsiteY32451" fmla="*/ 689633 h 6557032"/>
              <a:gd name="connsiteX32452" fmla="*/ 1164370 w 4610101"/>
              <a:gd name="connsiteY32452" fmla="*/ 685989 h 6557032"/>
              <a:gd name="connsiteX32453" fmla="*/ 1168014 w 4610101"/>
              <a:gd name="connsiteY32453" fmla="*/ 685989 h 6557032"/>
              <a:gd name="connsiteX32454" fmla="*/ 1168014 w 4610101"/>
              <a:gd name="connsiteY32454" fmla="*/ 678700 h 6557032"/>
              <a:gd name="connsiteX32455" fmla="*/ 1166192 w 4610101"/>
              <a:gd name="connsiteY32455" fmla="*/ 680522 h 6557032"/>
              <a:gd name="connsiteX32456" fmla="*/ 1166192 w 4610101"/>
              <a:gd name="connsiteY32456" fmla="*/ 675056 h 6557032"/>
              <a:gd name="connsiteX32457" fmla="*/ 1171658 w 4610101"/>
              <a:gd name="connsiteY32457" fmla="*/ 675056 h 6557032"/>
              <a:gd name="connsiteX32458" fmla="*/ 1171658 w 4610101"/>
              <a:gd name="connsiteY32458" fmla="*/ 671411 h 6557032"/>
              <a:gd name="connsiteX32459" fmla="*/ 1175303 w 4610101"/>
              <a:gd name="connsiteY32459" fmla="*/ 669589 h 6557032"/>
              <a:gd name="connsiteX32460" fmla="*/ 1178947 w 4610101"/>
              <a:gd name="connsiteY32460" fmla="*/ 675056 h 6557032"/>
              <a:gd name="connsiteX32461" fmla="*/ 1182592 w 4610101"/>
              <a:gd name="connsiteY32461" fmla="*/ 669589 h 6557032"/>
              <a:gd name="connsiteX32462" fmla="*/ 1175217 w 4610101"/>
              <a:gd name="connsiteY32462" fmla="*/ 664949 h 6557032"/>
              <a:gd name="connsiteX32463" fmla="*/ 725522 w 4610101"/>
              <a:gd name="connsiteY32463" fmla="*/ 664632 h 6557032"/>
              <a:gd name="connsiteX32464" fmla="*/ 729097 w 4610101"/>
              <a:gd name="connsiteY32464" fmla="*/ 665490 h 6557032"/>
              <a:gd name="connsiteX32465" fmla="*/ 729941 w 4610101"/>
              <a:gd name="connsiteY32465" fmla="*/ 667660 h 6557032"/>
              <a:gd name="connsiteX32466" fmla="*/ 727503 w 4610101"/>
              <a:gd name="connsiteY32466" fmla="*/ 667312 h 6557032"/>
              <a:gd name="connsiteX32467" fmla="*/ 3422043 w 4610101"/>
              <a:gd name="connsiteY32467" fmla="*/ 664123 h 6557032"/>
              <a:gd name="connsiteX32468" fmla="*/ 3420221 w 4610101"/>
              <a:gd name="connsiteY32468" fmla="*/ 673234 h 6557032"/>
              <a:gd name="connsiteX32469" fmla="*/ 3427510 w 4610101"/>
              <a:gd name="connsiteY32469" fmla="*/ 667767 h 6557032"/>
              <a:gd name="connsiteX32470" fmla="*/ 3425687 w 4610101"/>
              <a:gd name="connsiteY32470" fmla="*/ 667767 h 6557032"/>
              <a:gd name="connsiteX32471" fmla="*/ 3422043 w 4610101"/>
              <a:gd name="connsiteY32471" fmla="*/ 664123 h 6557032"/>
              <a:gd name="connsiteX32472" fmla="*/ 3225248 w 4610101"/>
              <a:gd name="connsiteY32472" fmla="*/ 664123 h 6557032"/>
              <a:gd name="connsiteX32473" fmla="*/ 3214315 w 4610101"/>
              <a:gd name="connsiteY32473" fmla="*/ 671411 h 6557032"/>
              <a:gd name="connsiteX32474" fmla="*/ 3219782 w 4610101"/>
              <a:gd name="connsiteY32474" fmla="*/ 675056 h 6557032"/>
              <a:gd name="connsiteX32475" fmla="*/ 3225248 w 4610101"/>
              <a:gd name="connsiteY32475" fmla="*/ 664123 h 6557032"/>
              <a:gd name="connsiteX32476" fmla="*/ 1328365 w 4610101"/>
              <a:gd name="connsiteY32476" fmla="*/ 664123 h 6557032"/>
              <a:gd name="connsiteX32477" fmla="*/ 1315610 w 4610101"/>
              <a:gd name="connsiteY32477" fmla="*/ 680522 h 6557032"/>
              <a:gd name="connsiteX32478" fmla="*/ 1321077 w 4610101"/>
              <a:gd name="connsiteY32478" fmla="*/ 673234 h 6557032"/>
              <a:gd name="connsiteX32479" fmla="*/ 1322899 w 4610101"/>
              <a:gd name="connsiteY32479" fmla="*/ 675056 h 6557032"/>
              <a:gd name="connsiteX32480" fmla="*/ 1328365 w 4610101"/>
              <a:gd name="connsiteY32480" fmla="*/ 664123 h 6557032"/>
              <a:gd name="connsiteX32481" fmla="*/ 1297388 w 4610101"/>
              <a:gd name="connsiteY32481" fmla="*/ 664123 h 6557032"/>
              <a:gd name="connsiteX32482" fmla="*/ 1293744 w 4610101"/>
              <a:gd name="connsiteY32482" fmla="*/ 669589 h 6557032"/>
              <a:gd name="connsiteX32483" fmla="*/ 1297388 w 4610101"/>
              <a:gd name="connsiteY32483" fmla="*/ 664123 h 6557032"/>
              <a:gd name="connsiteX32484" fmla="*/ 1115171 w 4610101"/>
              <a:gd name="connsiteY32484" fmla="*/ 664123 h 6557032"/>
              <a:gd name="connsiteX32485" fmla="*/ 1111526 w 4610101"/>
              <a:gd name="connsiteY32485" fmla="*/ 667767 h 6557032"/>
              <a:gd name="connsiteX32486" fmla="*/ 1116993 w 4610101"/>
              <a:gd name="connsiteY32486" fmla="*/ 664123 h 6557032"/>
              <a:gd name="connsiteX32487" fmla="*/ 1115171 w 4610101"/>
              <a:gd name="connsiteY32487" fmla="*/ 664123 h 6557032"/>
              <a:gd name="connsiteX32488" fmla="*/ 949353 w 4610101"/>
              <a:gd name="connsiteY32488" fmla="*/ 664123 h 6557032"/>
              <a:gd name="connsiteX32489" fmla="*/ 949353 w 4610101"/>
              <a:gd name="connsiteY32489" fmla="*/ 665945 h 6557032"/>
              <a:gd name="connsiteX32490" fmla="*/ 949244 w 4610101"/>
              <a:gd name="connsiteY32490" fmla="*/ 664852 h 6557032"/>
              <a:gd name="connsiteX32491" fmla="*/ 940242 w 4610101"/>
              <a:gd name="connsiteY32491" fmla="*/ 664123 h 6557032"/>
              <a:gd name="connsiteX32492" fmla="*/ 938420 w 4610101"/>
              <a:gd name="connsiteY32492" fmla="*/ 669589 h 6557032"/>
              <a:gd name="connsiteX32493" fmla="*/ 940242 w 4610101"/>
              <a:gd name="connsiteY32493" fmla="*/ 664123 h 6557032"/>
              <a:gd name="connsiteX32494" fmla="*/ 789003 w 4610101"/>
              <a:gd name="connsiteY32494" fmla="*/ 664123 h 6557032"/>
              <a:gd name="connsiteX32495" fmla="*/ 792646 w 4610101"/>
              <a:gd name="connsiteY32495" fmla="*/ 676878 h 6557032"/>
              <a:gd name="connsiteX32496" fmla="*/ 789003 w 4610101"/>
              <a:gd name="connsiteY32496" fmla="*/ 664123 h 6557032"/>
              <a:gd name="connsiteX32497" fmla="*/ 759848 w 4610101"/>
              <a:gd name="connsiteY32497" fmla="*/ 664123 h 6557032"/>
              <a:gd name="connsiteX32498" fmla="*/ 768959 w 4610101"/>
              <a:gd name="connsiteY32498" fmla="*/ 673234 h 6557032"/>
              <a:gd name="connsiteX32499" fmla="*/ 759848 w 4610101"/>
              <a:gd name="connsiteY32499" fmla="*/ 664123 h 6557032"/>
              <a:gd name="connsiteX32500" fmla="*/ 561230 w 4610101"/>
              <a:gd name="connsiteY32500" fmla="*/ 664123 h 6557032"/>
              <a:gd name="connsiteX32501" fmla="*/ 563052 w 4610101"/>
              <a:gd name="connsiteY32501" fmla="*/ 669589 h 6557032"/>
              <a:gd name="connsiteX32502" fmla="*/ 566697 w 4610101"/>
              <a:gd name="connsiteY32502" fmla="*/ 665945 h 6557032"/>
              <a:gd name="connsiteX32503" fmla="*/ 561230 w 4610101"/>
              <a:gd name="connsiteY32503" fmla="*/ 664123 h 6557032"/>
              <a:gd name="connsiteX32504" fmla="*/ 501098 w 4610101"/>
              <a:gd name="connsiteY32504" fmla="*/ 664123 h 6557032"/>
              <a:gd name="connsiteX32505" fmla="*/ 499320 w 4610101"/>
              <a:gd name="connsiteY32505" fmla="*/ 669678 h 6557032"/>
              <a:gd name="connsiteX32506" fmla="*/ 499276 w 4610101"/>
              <a:gd name="connsiteY32506" fmla="*/ 669817 h 6557032"/>
              <a:gd name="connsiteX32507" fmla="*/ 502920 w 4610101"/>
              <a:gd name="connsiteY32507" fmla="*/ 676878 h 6557032"/>
              <a:gd name="connsiteX32508" fmla="*/ 504743 w 4610101"/>
              <a:gd name="connsiteY32508" fmla="*/ 673234 h 6557032"/>
              <a:gd name="connsiteX32509" fmla="*/ 506565 w 4610101"/>
              <a:gd name="connsiteY32509" fmla="*/ 676878 h 6557032"/>
              <a:gd name="connsiteX32510" fmla="*/ 501098 w 4610101"/>
              <a:gd name="connsiteY32510" fmla="*/ 664123 h 6557032"/>
              <a:gd name="connsiteX32511" fmla="*/ 493809 w 4610101"/>
              <a:gd name="connsiteY32511" fmla="*/ 664123 h 6557032"/>
              <a:gd name="connsiteX32512" fmla="*/ 488343 w 4610101"/>
              <a:gd name="connsiteY32512" fmla="*/ 665945 h 6557032"/>
              <a:gd name="connsiteX32513" fmla="*/ 493809 w 4610101"/>
              <a:gd name="connsiteY32513" fmla="*/ 676878 h 6557032"/>
              <a:gd name="connsiteX32514" fmla="*/ 493809 w 4610101"/>
              <a:gd name="connsiteY32514" fmla="*/ 664123 h 6557032"/>
              <a:gd name="connsiteX32515" fmla="*/ 349858 w 4610101"/>
              <a:gd name="connsiteY32515" fmla="*/ 664123 h 6557032"/>
              <a:gd name="connsiteX32516" fmla="*/ 375368 w 4610101"/>
              <a:gd name="connsiteY32516" fmla="*/ 693278 h 6557032"/>
              <a:gd name="connsiteX32517" fmla="*/ 349858 w 4610101"/>
              <a:gd name="connsiteY32517" fmla="*/ 664123 h 6557032"/>
              <a:gd name="connsiteX32518" fmla="*/ 344391 w 4610101"/>
              <a:gd name="connsiteY32518" fmla="*/ 664123 h 6557032"/>
              <a:gd name="connsiteX32519" fmla="*/ 346213 w 4610101"/>
              <a:gd name="connsiteY32519" fmla="*/ 669589 h 6557032"/>
              <a:gd name="connsiteX32520" fmla="*/ 348037 w 4610101"/>
              <a:gd name="connsiteY32520" fmla="*/ 665945 h 6557032"/>
              <a:gd name="connsiteX32521" fmla="*/ 344391 w 4610101"/>
              <a:gd name="connsiteY32521" fmla="*/ 664123 h 6557032"/>
              <a:gd name="connsiteX32522" fmla="*/ 284259 w 4610101"/>
              <a:gd name="connsiteY32522" fmla="*/ 664123 h 6557032"/>
              <a:gd name="connsiteX32523" fmla="*/ 293370 w 4610101"/>
              <a:gd name="connsiteY32523" fmla="*/ 680522 h 6557032"/>
              <a:gd name="connsiteX32524" fmla="*/ 284259 w 4610101"/>
              <a:gd name="connsiteY32524" fmla="*/ 664123 h 6557032"/>
              <a:gd name="connsiteX32525" fmla="*/ 3609307 w 4610101"/>
              <a:gd name="connsiteY32525" fmla="*/ 662582 h 6557032"/>
              <a:gd name="connsiteX32526" fmla="*/ 3612460 w 4610101"/>
              <a:gd name="connsiteY32526" fmla="*/ 663212 h 6557032"/>
              <a:gd name="connsiteX32527" fmla="*/ 3611549 w 4610101"/>
              <a:gd name="connsiteY32527" fmla="*/ 664123 h 6557032"/>
              <a:gd name="connsiteX32528" fmla="*/ 1428585 w 4610101"/>
              <a:gd name="connsiteY32528" fmla="*/ 662301 h 6557032"/>
              <a:gd name="connsiteX32529" fmla="*/ 1419474 w 4610101"/>
              <a:gd name="connsiteY32529" fmla="*/ 667767 h 6557032"/>
              <a:gd name="connsiteX32530" fmla="*/ 1428585 w 4610101"/>
              <a:gd name="connsiteY32530" fmla="*/ 662301 h 6557032"/>
              <a:gd name="connsiteX32531" fmla="*/ 1086016 w 4610101"/>
              <a:gd name="connsiteY32531" fmla="*/ 662301 h 6557032"/>
              <a:gd name="connsiteX32532" fmla="*/ 1078727 w 4610101"/>
              <a:gd name="connsiteY32532" fmla="*/ 673234 h 6557032"/>
              <a:gd name="connsiteX32533" fmla="*/ 1086016 w 4610101"/>
              <a:gd name="connsiteY32533" fmla="*/ 662301 h 6557032"/>
              <a:gd name="connsiteX32534" fmla="*/ 639583 w 4610101"/>
              <a:gd name="connsiteY32534" fmla="*/ 662301 h 6557032"/>
              <a:gd name="connsiteX32535" fmla="*/ 626828 w 4610101"/>
              <a:gd name="connsiteY32535" fmla="*/ 680522 h 6557032"/>
              <a:gd name="connsiteX32536" fmla="*/ 632296 w 4610101"/>
              <a:gd name="connsiteY32536" fmla="*/ 676878 h 6557032"/>
              <a:gd name="connsiteX32537" fmla="*/ 612251 w 4610101"/>
              <a:gd name="connsiteY32537" fmla="*/ 702388 h 6557032"/>
              <a:gd name="connsiteX32538" fmla="*/ 628650 w 4610101"/>
              <a:gd name="connsiteY32538" fmla="*/ 689633 h 6557032"/>
              <a:gd name="connsiteX32539" fmla="*/ 635939 w 4610101"/>
              <a:gd name="connsiteY32539" fmla="*/ 722432 h 6557032"/>
              <a:gd name="connsiteX32540" fmla="*/ 641407 w 4610101"/>
              <a:gd name="connsiteY32540" fmla="*/ 722432 h 6557032"/>
              <a:gd name="connsiteX32541" fmla="*/ 645050 w 4610101"/>
              <a:gd name="connsiteY32541" fmla="*/ 722432 h 6557032"/>
              <a:gd name="connsiteX32542" fmla="*/ 641407 w 4610101"/>
              <a:gd name="connsiteY32542" fmla="*/ 718788 h 6557032"/>
              <a:gd name="connsiteX32543" fmla="*/ 635939 w 4610101"/>
              <a:gd name="connsiteY32543" fmla="*/ 713321 h 6557032"/>
              <a:gd name="connsiteX32544" fmla="*/ 639583 w 4610101"/>
              <a:gd name="connsiteY32544" fmla="*/ 713321 h 6557032"/>
              <a:gd name="connsiteX32545" fmla="*/ 632296 w 4610101"/>
              <a:gd name="connsiteY32545" fmla="*/ 702388 h 6557032"/>
              <a:gd name="connsiteX32546" fmla="*/ 643228 w 4610101"/>
              <a:gd name="connsiteY32546" fmla="*/ 713321 h 6557032"/>
              <a:gd name="connsiteX32547" fmla="*/ 641407 w 4610101"/>
              <a:gd name="connsiteY32547" fmla="*/ 709677 h 6557032"/>
              <a:gd name="connsiteX32548" fmla="*/ 650516 w 4610101"/>
              <a:gd name="connsiteY32548" fmla="*/ 704211 h 6557032"/>
              <a:gd name="connsiteX32549" fmla="*/ 650516 w 4610101"/>
              <a:gd name="connsiteY32549" fmla="*/ 711499 h 6557032"/>
              <a:gd name="connsiteX32550" fmla="*/ 657805 w 4610101"/>
              <a:gd name="connsiteY32550" fmla="*/ 707855 h 6557032"/>
              <a:gd name="connsiteX32551" fmla="*/ 652339 w 4610101"/>
              <a:gd name="connsiteY32551" fmla="*/ 713321 h 6557032"/>
              <a:gd name="connsiteX32552" fmla="*/ 653718 w 4610101"/>
              <a:gd name="connsiteY32552" fmla="*/ 715549 h 6557032"/>
              <a:gd name="connsiteX32553" fmla="*/ 648922 w 4610101"/>
              <a:gd name="connsiteY32553" fmla="*/ 719927 h 6557032"/>
              <a:gd name="connsiteX32554" fmla="*/ 650516 w 4610101"/>
              <a:gd name="connsiteY32554" fmla="*/ 726077 h 6557032"/>
              <a:gd name="connsiteX32555" fmla="*/ 653705 w 4610101"/>
              <a:gd name="connsiteY32555" fmla="*/ 720611 h 6557032"/>
              <a:gd name="connsiteX32556" fmla="*/ 654078 w 4610101"/>
              <a:gd name="connsiteY32556" fmla="*/ 716132 h 6557032"/>
              <a:gd name="connsiteX32557" fmla="*/ 655300 w 4610101"/>
              <a:gd name="connsiteY32557" fmla="*/ 718105 h 6557032"/>
              <a:gd name="connsiteX32558" fmla="*/ 655588 w 4610101"/>
              <a:gd name="connsiteY32558" fmla="*/ 718151 h 6557032"/>
              <a:gd name="connsiteX32559" fmla="*/ 652339 w 4610101"/>
              <a:gd name="connsiteY32559" fmla="*/ 727899 h 6557032"/>
              <a:gd name="connsiteX32560" fmla="*/ 661449 w 4610101"/>
              <a:gd name="connsiteY32560" fmla="*/ 720610 h 6557032"/>
              <a:gd name="connsiteX32561" fmla="*/ 658433 w 4610101"/>
              <a:gd name="connsiteY32561" fmla="*/ 718600 h 6557032"/>
              <a:gd name="connsiteX32562" fmla="*/ 659627 w 4610101"/>
              <a:gd name="connsiteY32562" fmla="*/ 718788 h 6557032"/>
              <a:gd name="connsiteX32563" fmla="*/ 663272 w 4610101"/>
              <a:gd name="connsiteY32563" fmla="*/ 700566 h 6557032"/>
              <a:gd name="connsiteX32564" fmla="*/ 663272 w 4610101"/>
              <a:gd name="connsiteY32564" fmla="*/ 713321 h 6557032"/>
              <a:gd name="connsiteX32565" fmla="*/ 676027 w 4610101"/>
              <a:gd name="connsiteY32565" fmla="*/ 704211 h 6557032"/>
              <a:gd name="connsiteX32566" fmla="*/ 679671 w 4610101"/>
              <a:gd name="connsiteY32566" fmla="*/ 707855 h 6557032"/>
              <a:gd name="connsiteX32567" fmla="*/ 672383 w 4610101"/>
              <a:gd name="connsiteY32567" fmla="*/ 685989 h 6557032"/>
              <a:gd name="connsiteX32568" fmla="*/ 668738 w 4610101"/>
              <a:gd name="connsiteY32568" fmla="*/ 685989 h 6557032"/>
              <a:gd name="connsiteX32569" fmla="*/ 666919 w 4610101"/>
              <a:gd name="connsiteY32569" fmla="*/ 684809 h 6557032"/>
              <a:gd name="connsiteX32570" fmla="*/ 663271 w 4610101"/>
              <a:gd name="connsiteY32570" fmla="*/ 686025 h 6557032"/>
              <a:gd name="connsiteX32571" fmla="*/ 665093 w 4610101"/>
              <a:gd name="connsiteY32571" fmla="*/ 695136 h 6557032"/>
              <a:gd name="connsiteX32572" fmla="*/ 655982 w 4610101"/>
              <a:gd name="connsiteY32572" fmla="*/ 682381 h 6557032"/>
              <a:gd name="connsiteX32573" fmla="*/ 662360 w 4610101"/>
              <a:gd name="connsiteY32573" fmla="*/ 681926 h 6557032"/>
              <a:gd name="connsiteX32574" fmla="*/ 662623 w 4610101"/>
              <a:gd name="connsiteY32574" fmla="*/ 682019 h 6557032"/>
              <a:gd name="connsiteX32575" fmla="*/ 655755 w 4610101"/>
              <a:gd name="connsiteY32575" fmla="*/ 677562 h 6557032"/>
              <a:gd name="connsiteX32576" fmla="*/ 641407 w 4610101"/>
              <a:gd name="connsiteY32576" fmla="*/ 673234 h 6557032"/>
              <a:gd name="connsiteX32577" fmla="*/ 655983 w 4610101"/>
              <a:gd name="connsiteY32577" fmla="*/ 675056 h 6557032"/>
              <a:gd name="connsiteX32578" fmla="*/ 635939 w 4610101"/>
              <a:gd name="connsiteY32578" fmla="*/ 673234 h 6557032"/>
              <a:gd name="connsiteX32579" fmla="*/ 643228 w 4610101"/>
              <a:gd name="connsiteY32579" fmla="*/ 665945 h 6557032"/>
              <a:gd name="connsiteX32580" fmla="*/ 639583 w 4610101"/>
              <a:gd name="connsiteY32580" fmla="*/ 662301 h 6557032"/>
              <a:gd name="connsiteX32581" fmla="*/ 371724 w 4610101"/>
              <a:gd name="connsiteY32581" fmla="*/ 662301 h 6557032"/>
              <a:gd name="connsiteX32582" fmla="*/ 370129 w 4610101"/>
              <a:gd name="connsiteY32582" fmla="*/ 665718 h 6557032"/>
              <a:gd name="connsiteX32583" fmla="*/ 375205 w 4610101"/>
              <a:gd name="connsiteY32583" fmla="*/ 667704 h 6557032"/>
              <a:gd name="connsiteX32584" fmla="*/ 375140 w 4610101"/>
              <a:gd name="connsiteY32584" fmla="*/ 669134 h 6557032"/>
              <a:gd name="connsiteX32585" fmla="*/ 379012 w 4610101"/>
              <a:gd name="connsiteY32585" fmla="*/ 671411 h 6557032"/>
              <a:gd name="connsiteX32586" fmla="*/ 375368 w 4610101"/>
              <a:gd name="connsiteY32586" fmla="*/ 664123 h 6557032"/>
              <a:gd name="connsiteX32587" fmla="*/ 375213 w 4610101"/>
              <a:gd name="connsiteY32587" fmla="*/ 667535 h 6557032"/>
              <a:gd name="connsiteX32588" fmla="*/ 271504 w 4610101"/>
              <a:gd name="connsiteY32588" fmla="*/ 662301 h 6557032"/>
              <a:gd name="connsiteX32589" fmla="*/ 276971 w 4610101"/>
              <a:gd name="connsiteY32589" fmla="*/ 673234 h 6557032"/>
              <a:gd name="connsiteX32590" fmla="*/ 273327 w 4610101"/>
              <a:gd name="connsiteY32590" fmla="*/ 664123 h 6557032"/>
              <a:gd name="connsiteX32591" fmla="*/ 278793 w 4610101"/>
              <a:gd name="connsiteY32591" fmla="*/ 676878 h 6557032"/>
              <a:gd name="connsiteX32592" fmla="*/ 282438 w 4610101"/>
              <a:gd name="connsiteY32592" fmla="*/ 667767 h 6557032"/>
              <a:gd name="connsiteX32593" fmla="*/ 271504 w 4610101"/>
              <a:gd name="connsiteY32593" fmla="*/ 662301 h 6557032"/>
              <a:gd name="connsiteX32594" fmla="*/ 269682 w 4610101"/>
              <a:gd name="connsiteY32594" fmla="*/ 662301 h 6557032"/>
              <a:gd name="connsiteX32595" fmla="*/ 270019 w 4610101"/>
              <a:gd name="connsiteY32595" fmla="*/ 663365 h 6557032"/>
              <a:gd name="connsiteX32596" fmla="*/ 271504 w 4610101"/>
              <a:gd name="connsiteY32596" fmla="*/ 675056 h 6557032"/>
              <a:gd name="connsiteX32597" fmla="*/ 268941 w 4610101"/>
              <a:gd name="connsiteY32597" fmla="*/ 669076 h 6557032"/>
              <a:gd name="connsiteX32598" fmla="*/ 200439 w 4610101"/>
              <a:gd name="connsiteY32598" fmla="*/ 662301 h 6557032"/>
              <a:gd name="connsiteX32599" fmla="*/ 227772 w 4610101"/>
              <a:gd name="connsiteY32599" fmla="*/ 700566 h 6557032"/>
              <a:gd name="connsiteX32600" fmla="*/ 200439 w 4610101"/>
              <a:gd name="connsiteY32600" fmla="*/ 662301 h 6557032"/>
              <a:gd name="connsiteX32601" fmla="*/ 794923 w 4610101"/>
              <a:gd name="connsiteY32601" fmla="*/ 662073 h 6557032"/>
              <a:gd name="connsiteX32602" fmla="*/ 790824 w 4610101"/>
              <a:gd name="connsiteY32602" fmla="*/ 662301 h 6557032"/>
              <a:gd name="connsiteX32603" fmla="*/ 796290 w 4610101"/>
              <a:gd name="connsiteY32603" fmla="*/ 665945 h 6557032"/>
              <a:gd name="connsiteX32604" fmla="*/ 794923 w 4610101"/>
              <a:gd name="connsiteY32604" fmla="*/ 662073 h 6557032"/>
              <a:gd name="connsiteX32605" fmla="*/ 2955111 w 4610101"/>
              <a:gd name="connsiteY32605" fmla="*/ 660650 h 6557032"/>
              <a:gd name="connsiteX32606" fmla="*/ 2951922 w 4610101"/>
              <a:gd name="connsiteY32606" fmla="*/ 665945 h 6557032"/>
              <a:gd name="connsiteX32607" fmla="*/ 2975610 w 4610101"/>
              <a:gd name="connsiteY32607" fmla="*/ 671411 h 6557032"/>
              <a:gd name="connsiteX32608" fmla="*/ 2955111 w 4610101"/>
              <a:gd name="connsiteY32608" fmla="*/ 660650 h 6557032"/>
              <a:gd name="connsiteX32609" fmla="*/ 3217960 w 4610101"/>
              <a:gd name="connsiteY32609" fmla="*/ 660478 h 6557032"/>
              <a:gd name="connsiteX32610" fmla="*/ 3203382 w 4610101"/>
              <a:gd name="connsiteY32610" fmla="*/ 662301 h 6557032"/>
              <a:gd name="connsiteX32611" fmla="*/ 3205204 w 4610101"/>
              <a:gd name="connsiteY32611" fmla="*/ 667767 h 6557032"/>
              <a:gd name="connsiteX32612" fmla="*/ 3217960 w 4610101"/>
              <a:gd name="connsiteY32612" fmla="*/ 660478 h 6557032"/>
              <a:gd name="connsiteX32613" fmla="*/ 2880857 w 4610101"/>
              <a:gd name="connsiteY32613" fmla="*/ 660478 h 6557032"/>
              <a:gd name="connsiteX32614" fmla="*/ 2877213 w 4610101"/>
              <a:gd name="connsiteY32614" fmla="*/ 675056 h 6557032"/>
              <a:gd name="connsiteX32615" fmla="*/ 2880857 w 4610101"/>
              <a:gd name="connsiteY32615" fmla="*/ 660478 h 6557032"/>
              <a:gd name="connsiteX32616" fmla="*/ 2605709 w 4610101"/>
              <a:gd name="connsiteY32616" fmla="*/ 660478 h 6557032"/>
              <a:gd name="connsiteX32617" fmla="*/ 2605709 w 4610101"/>
              <a:gd name="connsiteY32617" fmla="*/ 671411 h 6557032"/>
              <a:gd name="connsiteX32618" fmla="*/ 2609353 w 4610101"/>
              <a:gd name="connsiteY32618" fmla="*/ 667767 h 6557032"/>
              <a:gd name="connsiteX32619" fmla="*/ 2605709 w 4610101"/>
              <a:gd name="connsiteY32619" fmla="*/ 660478 h 6557032"/>
              <a:gd name="connsiteX32620" fmla="*/ 1414007 w 4610101"/>
              <a:gd name="connsiteY32620" fmla="*/ 660478 h 6557032"/>
              <a:gd name="connsiteX32621" fmla="*/ 1406719 w 4610101"/>
              <a:gd name="connsiteY32621" fmla="*/ 667767 h 6557032"/>
              <a:gd name="connsiteX32622" fmla="*/ 1414007 w 4610101"/>
              <a:gd name="connsiteY32622" fmla="*/ 660478 h 6557032"/>
              <a:gd name="connsiteX32623" fmla="*/ 1024062 w 4610101"/>
              <a:gd name="connsiteY32623" fmla="*/ 660478 h 6557032"/>
              <a:gd name="connsiteX32624" fmla="*/ 1018596 w 4610101"/>
              <a:gd name="connsiteY32624" fmla="*/ 669589 h 6557032"/>
              <a:gd name="connsiteX32625" fmla="*/ 1024062 w 4610101"/>
              <a:gd name="connsiteY32625" fmla="*/ 660478 h 6557032"/>
              <a:gd name="connsiteX32626" fmla="*/ 816334 w 4610101"/>
              <a:gd name="connsiteY32626" fmla="*/ 660478 h 6557032"/>
              <a:gd name="connsiteX32627" fmla="*/ 810868 w 4610101"/>
              <a:gd name="connsiteY32627" fmla="*/ 667767 h 6557032"/>
              <a:gd name="connsiteX32628" fmla="*/ 816334 w 4610101"/>
              <a:gd name="connsiteY32628" fmla="*/ 660478 h 6557032"/>
              <a:gd name="connsiteX32629" fmla="*/ 652339 w 4610101"/>
              <a:gd name="connsiteY32629" fmla="*/ 660478 h 6557032"/>
              <a:gd name="connsiteX32630" fmla="*/ 676027 w 4610101"/>
              <a:gd name="connsiteY32630" fmla="*/ 678700 h 6557032"/>
              <a:gd name="connsiteX32631" fmla="*/ 652339 w 4610101"/>
              <a:gd name="connsiteY32631" fmla="*/ 660478 h 6557032"/>
              <a:gd name="connsiteX32632" fmla="*/ 586741 w 4610101"/>
              <a:gd name="connsiteY32632" fmla="*/ 660478 h 6557032"/>
              <a:gd name="connsiteX32633" fmla="*/ 584919 w 4610101"/>
              <a:gd name="connsiteY32633" fmla="*/ 669589 h 6557032"/>
              <a:gd name="connsiteX32634" fmla="*/ 586741 w 4610101"/>
              <a:gd name="connsiteY32634" fmla="*/ 660478 h 6557032"/>
              <a:gd name="connsiteX32635" fmla="*/ 488343 w 4610101"/>
              <a:gd name="connsiteY32635" fmla="*/ 660478 h 6557032"/>
              <a:gd name="connsiteX32636" fmla="*/ 490165 w 4610101"/>
              <a:gd name="connsiteY32636" fmla="*/ 664123 h 6557032"/>
              <a:gd name="connsiteX32637" fmla="*/ 488343 w 4610101"/>
              <a:gd name="connsiteY32637" fmla="*/ 660478 h 6557032"/>
              <a:gd name="connsiteX32638" fmla="*/ 413634 w 4610101"/>
              <a:gd name="connsiteY32638" fmla="*/ 660478 h 6557032"/>
              <a:gd name="connsiteX32639" fmla="*/ 419100 w 4610101"/>
              <a:gd name="connsiteY32639" fmla="*/ 664123 h 6557032"/>
              <a:gd name="connsiteX32640" fmla="*/ 413634 w 4610101"/>
              <a:gd name="connsiteY32640" fmla="*/ 660478 h 6557032"/>
              <a:gd name="connsiteX32641" fmla="*/ 397234 w 4610101"/>
              <a:gd name="connsiteY32641" fmla="*/ 660478 h 6557032"/>
              <a:gd name="connsiteX32642" fmla="*/ 400879 w 4610101"/>
              <a:gd name="connsiteY32642" fmla="*/ 665945 h 6557032"/>
              <a:gd name="connsiteX32643" fmla="*/ 397234 w 4610101"/>
              <a:gd name="connsiteY32643" fmla="*/ 660478 h 6557032"/>
              <a:gd name="connsiteX32644" fmla="*/ 385162 w 4610101"/>
              <a:gd name="connsiteY32644" fmla="*/ 660023 h 6557032"/>
              <a:gd name="connsiteX32645" fmla="*/ 380835 w 4610101"/>
              <a:gd name="connsiteY32645" fmla="*/ 662301 h 6557032"/>
              <a:gd name="connsiteX32646" fmla="*/ 386301 w 4610101"/>
              <a:gd name="connsiteY32646" fmla="*/ 665945 h 6557032"/>
              <a:gd name="connsiteX32647" fmla="*/ 388123 w 4610101"/>
              <a:gd name="connsiteY32647" fmla="*/ 660478 h 6557032"/>
              <a:gd name="connsiteX32648" fmla="*/ 385162 w 4610101"/>
              <a:gd name="connsiteY32648" fmla="*/ 660023 h 6557032"/>
              <a:gd name="connsiteX32649" fmla="*/ 3529551 w 4610101"/>
              <a:gd name="connsiteY32649" fmla="*/ 658656 h 6557032"/>
              <a:gd name="connsiteX32650" fmla="*/ 3529551 w 4610101"/>
              <a:gd name="connsiteY32650" fmla="*/ 669589 h 6557032"/>
              <a:gd name="connsiteX32651" fmla="*/ 3535018 w 4610101"/>
              <a:gd name="connsiteY32651" fmla="*/ 667767 h 6557032"/>
              <a:gd name="connsiteX32652" fmla="*/ 3533196 w 4610101"/>
              <a:gd name="connsiteY32652" fmla="*/ 658656 h 6557032"/>
              <a:gd name="connsiteX32653" fmla="*/ 3529551 w 4610101"/>
              <a:gd name="connsiteY32653" fmla="*/ 658656 h 6557032"/>
              <a:gd name="connsiteX32654" fmla="*/ 3489463 w 4610101"/>
              <a:gd name="connsiteY32654" fmla="*/ 658656 h 6557032"/>
              <a:gd name="connsiteX32655" fmla="*/ 3491286 w 4610101"/>
              <a:gd name="connsiteY32655" fmla="*/ 665945 h 6557032"/>
              <a:gd name="connsiteX32656" fmla="*/ 3474886 w 4610101"/>
              <a:gd name="connsiteY32656" fmla="*/ 660478 h 6557032"/>
              <a:gd name="connsiteX32657" fmla="*/ 3500397 w 4610101"/>
              <a:gd name="connsiteY32657" fmla="*/ 675056 h 6557032"/>
              <a:gd name="connsiteX32658" fmla="*/ 3502219 w 4610101"/>
              <a:gd name="connsiteY32658" fmla="*/ 682345 h 6557032"/>
              <a:gd name="connsiteX32659" fmla="*/ 3509507 w 4610101"/>
              <a:gd name="connsiteY32659" fmla="*/ 680522 h 6557032"/>
              <a:gd name="connsiteX32660" fmla="*/ 3505863 w 4610101"/>
              <a:gd name="connsiteY32660" fmla="*/ 678700 h 6557032"/>
              <a:gd name="connsiteX32661" fmla="*/ 3507685 w 4610101"/>
              <a:gd name="connsiteY32661" fmla="*/ 676878 h 6557032"/>
              <a:gd name="connsiteX32662" fmla="*/ 3513152 w 4610101"/>
              <a:gd name="connsiteY32662" fmla="*/ 678700 h 6557032"/>
              <a:gd name="connsiteX32663" fmla="*/ 3502219 w 4610101"/>
              <a:gd name="connsiteY32663" fmla="*/ 662301 h 6557032"/>
              <a:gd name="connsiteX32664" fmla="*/ 3494930 w 4610101"/>
              <a:gd name="connsiteY32664" fmla="*/ 658656 h 6557032"/>
              <a:gd name="connsiteX32665" fmla="*/ 3489463 w 4610101"/>
              <a:gd name="connsiteY32665" fmla="*/ 658656 h 6557032"/>
              <a:gd name="connsiteX32666" fmla="*/ 2541933 w 4610101"/>
              <a:gd name="connsiteY32666" fmla="*/ 658656 h 6557032"/>
              <a:gd name="connsiteX32667" fmla="*/ 2543755 w 4610101"/>
              <a:gd name="connsiteY32667" fmla="*/ 675056 h 6557032"/>
              <a:gd name="connsiteX32668" fmla="*/ 2552866 w 4610101"/>
              <a:gd name="connsiteY32668" fmla="*/ 665945 h 6557032"/>
              <a:gd name="connsiteX32669" fmla="*/ 2541933 w 4610101"/>
              <a:gd name="connsiteY32669" fmla="*/ 658656 h 6557032"/>
              <a:gd name="connsiteX32670" fmla="*/ 1364809 w 4610101"/>
              <a:gd name="connsiteY32670" fmla="*/ 658656 h 6557032"/>
              <a:gd name="connsiteX32671" fmla="*/ 1355698 w 4610101"/>
              <a:gd name="connsiteY32671" fmla="*/ 669589 h 6557032"/>
              <a:gd name="connsiteX32672" fmla="*/ 1364809 w 4610101"/>
              <a:gd name="connsiteY32672" fmla="*/ 658656 h 6557032"/>
              <a:gd name="connsiteX32673" fmla="*/ 1310143 w 4610101"/>
              <a:gd name="connsiteY32673" fmla="*/ 658656 h 6557032"/>
              <a:gd name="connsiteX32674" fmla="*/ 1302855 w 4610101"/>
              <a:gd name="connsiteY32674" fmla="*/ 673234 h 6557032"/>
              <a:gd name="connsiteX32675" fmla="*/ 1304677 w 4610101"/>
              <a:gd name="connsiteY32675" fmla="*/ 664123 h 6557032"/>
              <a:gd name="connsiteX32676" fmla="*/ 1310143 w 4610101"/>
              <a:gd name="connsiteY32676" fmla="*/ 658656 h 6557032"/>
              <a:gd name="connsiteX32677" fmla="*/ 1275522 w 4610101"/>
              <a:gd name="connsiteY32677" fmla="*/ 658656 h 6557032"/>
              <a:gd name="connsiteX32678" fmla="*/ 1271878 w 4610101"/>
              <a:gd name="connsiteY32678" fmla="*/ 660478 h 6557032"/>
              <a:gd name="connsiteX32679" fmla="*/ 1275522 w 4610101"/>
              <a:gd name="connsiteY32679" fmla="*/ 660478 h 6557032"/>
              <a:gd name="connsiteX32680" fmla="*/ 1240901 w 4610101"/>
              <a:gd name="connsiteY32680" fmla="*/ 658656 h 6557032"/>
              <a:gd name="connsiteX32681" fmla="*/ 1237256 w 4610101"/>
              <a:gd name="connsiteY32681" fmla="*/ 662301 h 6557032"/>
              <a:gd name="connsiteX32682" fmla="*/ 1248189 w 4610101"/>
              <a:gd name="connsiteY32682" fmla="*/ 664123 h 6557032"/>
              <a:gd name="connsiteX32683" fmla="*/ 1242723 w 4610101"/>
              <a:gd name="connsiteY32683" fmla="*/ 658656 h 6557032"/>
              <a:gd name="connsiteX32684" fmla="*/ 1239080 w 4610101"/>
              <a:gd name="connsiteY32684" fmla="*/ 662301 h 6557032"/>
              <a:gd name="connsiteX32685" fmla="*/ 1240901 w 4610101"/>
              <a:gd name="connsiteY32685" fmla="*/ 658656 h 6557032"/>
              <a:gd name="connsiteX32686" fmla="*/ 1200814 w 4610101"/>
              <a:gd name="connsiteY32686" fmla="*/ 658656 h 6557032"/>
              <a:gd name="connsiteX32687" fmla="*/ 1186353 w 4610101"/>
              <a:gd name="connsiteY32687" fmla="*/ 669902 h 6557032"/>
              <a:gd name="connsiteX32688" fmla="*/ 1186236 w 4610101"/>
              <a:gd name="connsiteY32688" fmla="*/ 669589 h 6557032"/>
              <a:gd name="connsiteX32689" fmla="*/ 1185821 w 4610101"/>
              <a:gd name="connsiteY32689" fmla="*/ 670317 h 6557032"/>
              <a:gd name="connsiteX32690" fmla="*/ 1184414 w 4610101"/>
              <a:gd name="connsiteY32690" fmla="*/ 671411 h 6557032"/>
              <a:gd name="connsiteX32691" fmla="*/ 1185325 w 4610101"/>
              <a:gd name="connsiteY32691" fmla="*/ 671184 h 6557032"/>
              <a:gd name="connsiteX32692" fmla="*/ 1185821 w 4610101"/>
              <a:gd name="connsiteY32692" fmla="*/ 670317 h 6557032"/>
              <a:gd name="connsiteX32693" fmla="*/ 1186353 w 4610101"/>
              <a:gd name="connsiteY32693" fmla="*/ 669902 h 6557032"/>
              <a:gd name="connsiteX32694" fmla="*/ 1186919 w 4610101"/>
              <a:gd name="connsiteY32694" fmla="*/ 671412 h 6557032"/>
              <a:gd name="connsiteX32695" fmla="*/ 1186236 w 4610101"/>
              <a:gd name="connsiteY32695" fmla="*/ 673234 h 6557032"/>
              <a:gd name="connsiteX32696" fmla="*/ 1191703 w 4610101"/>
              <a:gd name="connsiteY32696" fmla="*/ 674601 h 6557032"/>
              <a:gd name="connsiteX32697" fmla="*/ 1193333 w 4610101"/>
              <a:gd name="connsiteY32697" fmla="*/ 674193 h 6557032"/>
              <a:gd name="connsiteX32698" fmla="*/ 1190563 w 4610101"/>
              <a:gd name="connsiteY32698" fmla="*/ 675512 h 6557032"/>
              <a:gd name="connsiteX32699" fmla="*/ 1189880 w 4610101"/>
              <a:gd name="connsiteY32699" fmla="*/ 680522 h 6557032"/>
              <a:gd name="connsiteX32700" fmla="*/ 1194925 w 4610101"/>
              <a:gd name="connsiteY32700" fmla="*/ 673795 h 6557032"/>
              <a:gd name="connsiteX32701" fmla="*/ 1197169 w 4610101"/>
              <a:gd name="connsiteY32701" fmla="*/ 673234 h 6557032"/>
              <a:gd name="connsiteX32702" fmla="*/ 1200814 w 4610101"/>
              <a:gd name="connsiteY32702" fmla="*/ 658656 h 6557032"/>
              <a:gd name="connsiteX32703" fmla="*/ 929309 w 4610101"/>
              <a:gd name="connsiteY32703" fmla="*/ 658656 h 6557032"/>
              <a:gd name="connsiteX32704" fmla="*/ 931131 w 4610101"/>
              <a:gd name="connsiteY32704" fmla="*/ 660478 h 6557032"/>
              <a:gd name="connsiteX32705" fmla="*/ 929309 w 4610101"/>
              <a:gd name="connsiteY32705" fmla="*/ 658656 h 6557032"/>
              <a:gd name="connsiteX32706" fmla="*/ 510209 w 4610101"/>
              <a:gd name="connsiteY32706" fmla="*/ 658656 h 6557032"/>
              <a:gd name="connsiteX32707" fmla="*/ 519320 w 4610101"/>
              <a:gd name="connsiteY32707" fmla="*/ 673234 h 6557032"/>
              <a:gd name="connsiteX32708" fmla="*/ 510209 w 4610101"/>
              <a:gd name="connsiteY32708" fmla="*/ 658656 h 6557032"/>
              <a:gd name="connsiteX32709" fmla="*/ 475589 w 4610101"/>
              <a:gd name="connsiteY32709" fmla="*/ 658656 h 6557032"/>
              <a:gd name="connsiteX32710" fmla="*/ 475589 w 4610101"/>
              <a:gd name="connsiteY32710" fmla="*/ 664123 h 6557032"/>
              <a:gd name="connsiteX32711" fmla="*/ 477410 w 4610101"/>
              <a:gd name="connsiteY32711" fmla="*/ 662301 h 6557032"/>
              <a:gd name="connsiteX32712" fmla="*/ 481054 w 4610101"/>
              <a:gd name="connsiteY32712" fmla="*/ 673234 h 6557032"/>
              <a:gd name="connsiteX32713" fmla="*/ 475589 w 4610101"/>
              <a:gd name="connsiteY32713" fmla="*/ 658656 h 6557032"/>
              <a:gd name="connsiteX32714" fmla="*/ 440966 w 4610101"/>
              <a:gd name="connsiteY32714" fmla="*/ 658656 h 6557032"/>
              <a:gd name="connsiteX32715" fmla="*/ 442789 w 4610101"/>
              <a:gd name="connsiteY32715" fmla="*/ 665945 h 6557032"/>
              <a:gd name="connsiteX32716" fmla="*/ 440966 w 4610101"/>
              <a:gd name="connsiteY32716" fmla="*/ 658656 h 6557032"/>
              <a:gd name="connsiteX32717" fmla="*/ 3591798 w 4610101"/>
              <a:gd name="connsiteY32717" fmla="*/ 658480 h 6557032"/>
              <a:gd name="connsiteX32718" fmla="*/ 3595150 w 4610101"/>
              <a:gd name="connsiteY32718" fmla="*/ 658656 h 6557032"/>
              <a:gd name="connsiteX32719" fmla="*/ 3595096 w 4610101"/>
              <a:gd name="connsiteY32719" fmla="*/ 659037 h 6557032"/>
              <a:gd name="connsiteX32720" fmla="*/ 3594011 w 4610101"/>
              <a:gd name="connsiteY32720" fmla="*/ 659112 h 6557032"/>
              <a:gd name="connsiteX32721" fmla="*/ 2892930 w 4610101"/>
              <a:gd name="connsiteY32721" fmla="*/ 657974 h 6557032"/>
              <a:gd name="connsiteX32722" fmla="*/ 2889968 w 4610101"/>
              <a:gd name="connsiteY32722" fmla="*/ 658656 h 6557032"/>
              <a:gd name="connsiteX32723" fmla="*/ 2882680 w 4610101"/>
              <a:gd name="connsiteY32723" fmla="*/ 671411 h 6557032"/>
              <a:gd name="connsiteX32724" fmla="*/ 2897257 w 4610101"/>
              <a:gd name="connsiteY32724" fmla="*/ 675056 h 6557032"/>
              <a:gd name="connsiteX32725" fmla="*/ 2910012 w 4610101"/>
              <a:gd name="connsiteY32725" fmla="*/ 689633 h 6557032"/>
              <a:gd name="connsiteX32726" fmla="*/ 2920945 w 4610101"/>
              <a:gd name="connsiteY32726" fmla="*/ 691455 h 6557032"/>
              <a:gd name="connsiteX32727" fmla="*/ 2906368 w 4610101"/>
              <a:gd name="connsiteY32727" fmla="*/ 671411 h 6557032"/>
              <a:gd name="connsiteX32728" fmla="*/ 2908190 w 4610101"/>
              <a:gd name="connsiteY32728" fmla="*/ 684167 h 6557032"/>
              <a:gd name="connsiteX32729" fmla="*/ 2902724 w 4610101"/>
              <a:gd name="connsiteY32729" fmla="*/ 684167 h 6557032"/>
              <a:gd name="connsiteX32730" fmla="*/ 2902724 w 4610101"/>
              <a:gd name="connsiteY32730" fmla="*/ 675056 h 6557032"/>
              <a:gd name="connsiteX32731" fmla="*/ 2899079 w 4610101"/>
              <a:gd name="connsiteY32731" fmla="*/ 676878 h 6557032"/>
              <a:gd name="connsiteX32732" fmla="*/ 2891790 w 4610101"/>
              <a:gd name="connsiteY32732" fmla="*/ 664123 h 6557032"/>
              <a:gd name="connsiteX32733" fmla="*/ 2897257 w 4610101"/>
              <a:gd name="connsiteY32733" fmla="*/ 658656 h 6557032"/>
              <a:gd name="connsiteX32734" fmla="*/ 2892930 w 4610101"/>
              <a:gd name="connsiteY32734" fmla="*/ 657974 h 6557032"/>
              <a:gd name="connsiteX32735" fmla="*/ 3589921 w 4610101"/>
              <a:gd name="connsiteY32735" fmla="*/ 657944 h 6557032"/>
              <a:gd name="connsiteX32736" fmla="*/ 3591798 w 4610101"/>
              <a:gd name="connsiteY32736" fmla="*/ 658480 h 6557032"/>
              <a:gd name="connsiteX32737" fmla="*/ 3590822 w 4610101"/>
              <a:gd name="connsiteY32737" fmla="*/ 658429 h 6557032"/>
              <a:gd name="connsiteX32738" fmla="*/ 3587861 w 4610101"/>
              <a:gd name="connsiteY32738" fmla="*/ 656834 h 6557032"/>
              <a:gd name="connsiteX32739" fmla="*/ 3589921 w 4610101"/>
              <a:gd name="connsiteY32739" fmla="*/ 657944 h 6557032"/>
              <a:gd name="connsiteX32740" fmla="*/ 3588037 w 4610101"/>
              <a:gd name="connsiteY32740" fmla="*/ 657405 h 6557032"/>
              <a:gd name="connsiteX32741" fmla="*/ 2917301 w 4610101"/>
              <a:gd name="connsiteY32741" fmla="*/ 656834 h 6557032"/>
              <a:gd name="connsiteX32742" fmla="*/ 2915479 w 4610101"/>
              <a:gd name="connsiteY32742" fmla="*/ 662301 h 6557032"/>
              <a:gd name="connsiteX32743" fmla="*/ 2920945 w 4610101"/>
              <a:gd name="connsiteY32743" fmla="*/ 660478 h 6557032"/>
              <a:gd name="connsiteX32744" fmla="*/ 2917301 w 4610101"/>
              <a:gd name="connsiteY32744" fmla="*/ 656834 h 6557032"/>
              <a:gd name="connsiteX32745" fmla="*/ 2585665 w 4610101"/>
              <a:gd name="connsiteY32745" fmla="*/ 656834 h 6557032"/>
              <a:gd name="connsiteX32746" fmla="*/ 2569266 w 4610101"/>
              <a:gd name="connsiteY32746" fmla="*/ 662301 h 6557032"/>
              <a:gd name="connsiteX32747" fmla="*/ 2596598 w 4610101"/>
              <a:gd name="connsiteY32747" fmla="*/ 671411 h 6557032"/>
              <a:gd name="connsiteX32748" fmla="*/ 2585665 w 4610101"/>
              <a:gd name="connsiteY32748" fmla="*/ 656834 h 6557032"/>
              <a:gd name="connsiteX32749" fmla="*/ 1302855 w 4610101"/>
              <a:gd name="connsiteY32749" fmla="*/ 656834 h 6557032"/>
              <a:gd name="connsiteX32750" fmla="*/ 1303176 w 4610101"/>
              <a:gd name="connsiteY32750" fmla="*/ 658764 h 6557032"/>
              <a:gd name="connsiteX32751" fmla="*/ 1303083 w 4610101"/>
              <a:gd name="connsiteY32751" fmla="*/ 658656 h 6557032"/>
              <a:gd name="connsiteX32752" fmla="*/ 1302855 w 4610101"/>
              <a:gd name="connsiteY32752" fmla="*/ 656834 h 6557032"/>
              <a:gd name="connsiteX32753" fmla="*/ 1259123 w 4610101"/>
              <a:gd name="connsiteY32753" fmla="*/ 656834 h 6557032"/>
              <a:gd name="connsiteX32754" fmla="*/ 1251834 w 4610101"/>
              <a:gd name="connsiteY32754" fmla="*/ 662301 h 6557032"/>
              <a:gd name="connsiteX32755" fmla="*/ 1253656 w 4610101"/>
              <a:gd name="connsiteY32755" fmla="*/ 667767 h 6557032"/>
              <a:gd name="connsiteX32756" fmla="*/ 1259123 w 4610101"/>
              <a:gd name="connsiteY32756" fmla="*/ 656834 h 6557032"/>
              <a:gd name="connsiteX32757" fmla="*/ 1213568 w 4610101"/>
              <a:gd name="connsiteY32757" fmla="*/ 656834 h 6557032"/>
              <a:gd name="connsiteX32758" fmla="*/ 1204457 w 4610101"/>
              <a:gd name="connsiteY32758" fmla="*/ 660478 h 6557032"/>
              <a:gd name="connsiteX32759" fmla="*/ 1208102 w 4610101"/>
              <a:gd name="connsiteY32759" fmla="*/ 665945 h 6557032"/>
              <a:gd name="connsiteX32760" fmla="*/ 1213568 w 4610101"/>
              <a:gd name="connsiteY32760" fmla="*/ 656834 h 6557032"/>
              <a:gd name="connsiteX32761" fmla="*/ 1075083 w 4610101"/>
              <a:gd name="connsiteY32761" fmla="*/ 656834 h 6557032"/>
              <a:gd name="connsiteX32762" fmla="*/ 1053217 w 4610101"/>
              <a:gd name="connsiteY32762" fmla="*/ 667767 h 6557032"/>
              <a:gd name="connsiteX32763" fmla="*/ 1075083 w 4610101"/>
              <a:gd name="connsiteY32763" fmla="*/ 656834 h 6557032"/>
              <a:gd name="connsiteX32764" fmla="*/ 903799 w 4610101"/>
              <a:gd name="connsiteY32764" fmla="*/ 656834 h 6557032"/>
              <a:gd name="connsiteX32765" fmla="*/ 896510 w 4610101"/>
              <a:gd name="connsiteY32765" fmla="*/ 675056 h 6557032"/>
              <a:gd name="connsiteX32766" fmla="*/ 901976 w 4610101"/>
              <a:gd name="connsiteY32766" fmla="*/ 667767 h 6557032"/>
              <a:gd name="connsiteX32767" fmla="*/ 901976 w 4610101"/>
              <a:gd name="connsiteY32767" fmla="*/ 669589 h 6557032"/>
              <a:gd name="connsiteX32768" fmla="*/ 903799 w 4610101"/>
              <a:gd name="connsiteY32768" fmla="*/ 656834 h 6557032"/>
              <a:gd name="connsiteX32769" fmla="*/ 557586 w 4610101"/>
              <a:gd name="connsiteY32769" fmla="*/ 656834 h 6557032"/>
              <a:gd name="connsiteX32770" fmla="*/ 557586 w 4610101"/>
              <a:gd name="connsiteY32770" fmla="*/ 662301 h 6557032"/>
              <a:gd name="connsiteX32771" fmla="*/ 561230 w 4610101"/>
              <a:gd name="connsiteY32771" fmla="*/ 660478 h 6557032"/>
              <a:gd name="connsiteX32772" fmla="*/ 557586 w 4610101"/>
              <a:gd name="connsiteY32772" fmla="*/ 656834 h 6557032"/>
              <a:gd name="connsiteX32773" fmla="*/ 318882 w 4610101"/>
              <a:gd name="connsiteY32773" fmla="*/ 656834 h 6557032"/>
              <a:gd name="connsiteX32774" fmla="*/ 333458 w 4610101"/>
              <a:gd name="connsiteY32774" fmla="*/ 676878 h 6557032"/>
              <a:gd name="connsiteX32775" fmla="*/ 318882 w 4610101"/>
              <a:gd name="connsiteY32775" fmla="*/ 656834 h 6557032"/>
              <a:gd name="connsiteX32776" fmla="*/ 194973 w 4610101"/>
              <a:gd name="connsiteY32776" fmla="*/ 656834 h 6557032"/>
              <a:gd name="connsiteX32777" fmla="*/ 200439 w 4610101"/>
              <a:gd name="connsiteY32777" fmla="*/ 669589 h 6557032"/>
              <a:gd name="connsiteX32778" fmla="*/ 194973 w 4610101"/>
              <a:gd name="connsiteY32778" fmla="*/ 656834 h 6557032"/>
              <a:gd name="connsiteX32779" fmla="*/ 3374666 w 4610101"/>
              <a:gd name="connsiteY32779" fmla="*/ 655012 h 6557032"/>
              <a:gd name="connsiteX32780" fmla="*/ 3374666 w 4610101"/>
              <a:gd name="connsiteY32780" fmla="*/ 658656 h 6557032"/>
              <a:gd name="connsiteX32781" fmla="*/ 3380133 w 4610101"/>
              <a:gd name="connsiteY32781" fmla="*/ 655012 h 6557032"/>
              <a:gd name="connsiteX32782" fmla="*/ 3374666 w 4610101"/>
              <a:gd name="connsiteY32782" fmla="*/ 655012 h 6557032"/>
              <a:gd name="connsiteX32783" fmla="*/ 2521889 w 4610101"/>
              <a:gd name="connsiteY32783" fmla="*/ 655012 h 6557032"/>
              <a:gd name="connsiteX32784" fmla="*/ 2518245 w 4610101"/>
              <a:gd name="connsiteY32784" fmla="*/ 660478 h 6557032"/>
              <a:gd name="connsiteX32785" fmla="*/ 2525534 w 4610101"/>
              <a:gd name="connsiteY32785" fmla="*/ 665945 h 6557032"/>
              <a:gd name="connsiteX32786" fmla="*/ 2521889 w 4610101"/>
              <a:gd name="connsiteY32786" fmla="*/ 655012 h 6557032"/>
              <a:gd name="connsiteX32787" fmla="*/ 1403074 w 4610101"/>
              <a:gd name="connsiteY32787" fmla="*/ 655012 h 6557032"/>
              <a:gd name="connsiteX32788" fmla="*/ 1392141 w 4610101"/>
              <a:gd name="connsiteY32788" fmla="*/ 665945 h 6557032"/>
              <a:gd name="connsiteX32789" fmla="*/ 1395787 w 4610101"/>
              <a:gd name="connsiteY32789" fmla="*/ 664123 h 6557032"/>
              <a:gd name="connsiteX32790" fmla="*/ 1403074 w 4610101"/>
              <a:gd name="connsiteY32790" fmla="*/ 655012 h 6557032"/>
              <a:gd name="connsiteX32791" fmla="*/ 743447 w 4610101"/>
              <a:gd name="connsiteY32791" fmla="*/ 655012 h 6557032"/>
              <a:gd name="connsiteX32792" fmla="*/ 758025 w 4610101"/>
              <a:gd name="connsiteY32792" fmla="*/ 662301 h 6557032"/>
              <a:gd name="connsiteX32793" fmla="*/ 750737 w 4610101"/>
              <a:gd name="connsiteY32793" fmla="*/ 658656 h 6557032"/>
              <a:gd name="connsiteX32794" fmla="*/ 754380 w 4610101"/>
              <a:gd name="connsiteY32794" fmla="*/ 656834 h 6557032"/>
              <a:gd name="connsiteX32795" fmla="*/ 743447 w 4610101"/>
              <a:gd name="connsiteY32795" fmla="*/ 655012 h 6557032"/>
              <a:gd name="connsiteX32796" fmla="*/ 628650 w 4610101"/>
              <a:gd name="connsiteY32796" fmla="*/ 655012 h 6557032"/>
              <a:gd name="connsiteX32797" fmla="*/ 626828 w 4610101"/>
              <a:gd name="connsiteY32797" fmla="*/ 660478 h 6557032"/>
              <a:gd name="connsiteX32798" fmla="*/ 632296 w 4610101"/>
              <a:gd name="connsiteY32798" fmla="*/ 658656 h 6557032"/>
              <a:gd name="connsiteX32799" fmla="*/ 628650 w 4610101"/>
              <a:gd name="connsiteY32799" fmla="*/ 655012 h 6557032"/>
              <a:gd name="connsiteX32800" fmla="*/ 626828 w 4610101"/>
              <a:gd name="connsiteY32800" fmla="*/ 655012 h 6557032"/>
              <a:gd name="connsiteX32801" fmla="*/ 623185 w 4610101"/>
              <a:gd name="connsiteY32801" fmla="*/ 662301 h 6557032"/>
              <a:gd name="connsiteX32802" fmla="*/ 626828 w 4610101"/>
              <a:gd name="connsiteY32802" fmla="*/ 655012 h 6557032"/>
              <a:gd name="connsiteX32803" fmla="*/ 610429 w 4610101"/>
              <a:gd name="connsiteY32803" fmla="*/ 655012 h 6557032"/>
              <a:gd name="connsiteX32804" fmla="*/ 606784 w 4610101"/>
              <a:gd name="connsiteY32804" fmla="*/ 660478 h 6557032"/>
              <a:gd name="connsiteX32805" fmla="*/ 610429 w 4610101"/>
              <a:gd name="connsiteY32805" fmla="*/ 655012 h 6557032"/>
              <a:gd name="connsiteX32806" fmla="*/ 140308 w 4610101"/>
              <a:gd name="connsiteY32806" fmla="*/ 655012 h 6557032"/>
              <a:gd name="connsiteX32807" fmla="*/ 143952 w 4610101"/>
              <a:gd name="connsiteY32807" fmla="*/ 662301 h 6557032"/>
              <a:gd name="connsiteX32808" fmla="*/ 149419 w 4610101"/>
              <a:gd name="connsiteY32808" fmla="*/ 678700 h 6557032"/>
              <a:gd name="connsiteX32809" fmla="*/ 149419 w 4610101"/>
              <a:gd name="connsiteY32809" fmla="*/ 676878 h 6557032"/>
              <a:gd name="connsiteX32810" fmla="*/ 154885 w 4610101"/>
              <a:gd name="connsiteY32810" fmla="*/ 678700 h 6557032"/>
              <a:gd name="connsiteX32811" fmla="*/ 143952 w 4610101"/>
              <a:gd name="connsiteY32811" fmla="*/ 662301 h 6557032"/>
              <a:gd name="connsiteX32812" fmla="*/ 145774 w 4610101"/>
              <a:gd name="connsiteY32812" fmla="*/ 664123 h 6557032"/>
              <a:gd name="connsiteX32813" fmla="*/ 140308 w 4610101"/>
              <a:gd name="connsiteY32813" fmla="*/ 655012 h 6557032"/>
              <a:gd name="connsiteX32814" fmla="*/ 685024 w 4610101"/>
              <a:gd name="connsiteY32814" fmla="*/ 654030 h 6557032"/>
              <a:gd name="connsiteX32815" fmla="*/ 685138 w 4610101"/>
              <a:gd name="connsiteY32815" fmla="*/ 654329 h 6557032"/>
              <a:gd name="connsiteX32816" fmla="*/ 681974 w 4610101"/>
              <a:gd name="connsiteY32816" fmla="*/ 659666 h 6557032"/>
              <a:gd name="connsiteX32817" fmla="*/ 681493 w 4610101"/>
              <a:gd name="connsiteY32817" fmla="*/ 658885 h 6557032"/>
              <a:gd name="connsiteX32818" fmla="*/ 3509507 w 4610101"/>
              <a:gd name="connsiteY32818" fmla="*/ 653190 h 6557032"/>
              <a:gd name="connsiteX32819" fmla="*/ 3507685 w 4610101"/>
              <a:gd name="connsiteY32819" fmla="*/ 660478 h 6557032"/>
              <a:gd name="connsiteX32820" fmla="*/ 3516796 w 4610101"/>
              <a:gd name="connsiteY32820" fmla="*/ 658656 h 6557032"/>
              <a:gd name="connsiteX32821" fmla="*/ 3509507 w 4610101"/>
              <a:gd name="connsiteY32821" fmla="*/ 653190 h 6557032"/>
              <a:gd name="connsiteX32822" fmla="*/ 3398355 w 4610101"/>
              <a:gd name="connsiteY32822" fmla="*/ 653190 h 6557032"/>
              <a:gd name="connsiteX32823" fmla="*/ 3371022 w 4610101"/>
              <a:gd name="connsiteY32823" fmla="*/ 667767 h 6557032"/>
              <a:gd name="connsiteX32824" fmla="*/ 3347334 w 4610101"/>
              <a:gd name="connsiteY32824" fmla="*/ 673234 h 6557032"/>
              <a:gd name="connsiteX32825" fmla="*/ 3345512 w 4610101"/>
              <a:gd name="connsiteY32825" fmla="*/ 669589 h 6557032"/>
              <a:gd name="connsiteX32826" fmla="*/ 3334579 w 4610101"/>
              <a:gd name="connsiteY32826" fmla="*/ 673234 h 6557032"/>
              <a:gd name="connsiteX32827" fmla="*/ 3327290 w 4610101"/>
              <a:gd name="connsiteY32827" fmla="*/ 687811 h 6557032"/>
              <a:gd name="connsiteX32828" fmla="*/ 3332756 w 4610101"/>
              <a:gd name="connsiteY32828" fmla="*/ 687811 h 6557032"/>
              <a:gd name="connsiteX32829" fmla="*/ 3330934 w 4610101"/>
              <a:gd name="connsiteY32829" fmla="*/ 680522 h 6557032"/>
              <a:gd name="connsiteX32830" fmla="*/ 3332756 w 4610101"/>
              <a:gd name="connsiteY32830" fmla="*/ 689633 h 6557032"/>
              <a:gd name="connsiteX32831" fmla="*/ 3321824 w 4610101"/>
              <a:gd name="connsiteY32831" fmla="*/ 682345 h 6557032"/>
              <a:gd name="connsiteX32832" fmla="*/ 3305424 w 4610101"/>
              <a:gd name="connsiteY32832" fmla="*/ 680522 h 6557032"/>
              <a:gd name="connsiteX32833" fmla="*/ 3303602 w 4610101"/>
              <a:gd name="connsiteY32833" fmla="*/ 687811 h 6557032"/>
              <a:gd name="connsiteX32834" fmla="*/ 3299957 w 4610101"/>
              <a:gd name="connsiteY32834" fmla="*/ 680522 h 6557032"/>
              <a:gd name="connsiteX32835" fmla="*/ 3292669 w 4610101"/>
              <a:gd name="connsiteY32835" fmla="*/ 680522 h 6557032"/>
              <a:gd name="connsiteX32836" fmla="*/ 3289024 w 4610101"/>
              <a:gd name="connsiteY32836" fmla="*/ 685989 h 6557032"/>
              <a:gd name="connsiteX32837" fmla="*/ 3276269 w 4610101"/>
              <a:gd name="connsiteY32837" fmla="*/ 696922 h 6557032"/>
              <a:gd name="connsiteX32838" fmla="*/ 3272625 w 4610101"/>
              <a:gd name="connsiteY32838" fmla="*/ 695100 h 6557032"/>
              <a:gd name="connsiteX32839" fmla="*/ 3268980 w 4610101"/>
              <a:gd name="connsiteY32839" fmla="*/ 678700 h 6557032"/>
              <a:gd name="connsiteX32840" fmla="*/ 3261692 w 4610101"/>
              <a:gd name="connsiteY32840" fmla="*/ 678700 h 6557032"/>
              <a:gd name="connsiteX32841" fmla="*/ 3261692 w 4610101"/>
              <a:gd name="connsiteY32841" fmla="*/ 676878 h 6557032"/>
              <a:gd name="connsiteX32842" fmla="*/ 3258047 w 4610101"/>
              <a:gd name="connsiteY32842" fmla="*/ 678700 h 6557032"/>
              <a:gd name="connsiteX32843" fmla="*/ 3248937 w 4610101"/>
              <a:gd name="connsiteY32843" fmla="*/ 669589 h 6557032"/>
              <a:gd name="connsiteX32844" fmla="*/ 3223426 w 4610101"/>
              <a:gd name="connsiteY32844" fmla="*/ 675056 h 6557032"/>
              <a:gd name="connsiteX32845" fmla="*/ 3247114 w 4610101"/>
              <a:gd name="connsiteY32845" fmla="*/ 716966 h 6557032"/>
              <a:gd name="connsiteX32846" fmla="*/ 3245292 w 4610101"/>
              <a:gd name="connsiteY32846" fmla="*/ 726077 h 6557032"/>
              <a:gd name="connsiteX32847" fmla="*/ 3250759 w 4610101"/>
              <a:gd name="connsiteY32847" fmla="*/ 727899 h 6557032"/>
              <a:gd name="connsiteX32848" fmla="*/ 3258047 w 4610101"/>
              <a:gd name="connsiteY32848" fmla="*/ 740654 h 6557032"/>
              <a:gd name="connsiteX32849" fmla="*/ 3274447 w 4610101"/>
              <a:gd name="connsiteY32849" fmla="*/ 738832 h 6557032"/>
              <a:gd name="connsiteX32850" fmla="*/ 3263514 w 4610101"/>
              <a:gd name="connsiteY32850" fmla="*/ 749765 h 6557032"/>
              <a:gd name="connsiteX32851" fmla="*/ 3278091 w 4610101"/>
              <a:gd name="connsiteY32851" fmla="*/ 758876 h 6557032"/>
              <a:gd name="connsiteX32852" fmla="*/ 3287202 w 4610101"/>
              <a:gd name="connsiteY32852" fmla="*/ 753409 h 6557032"/>
              <a:gd name="connsiteX32853" fmla="*/ 3287202 w 4610101"/>
              <a:gd name="connsiteY32853" fmla="*/ 762520 h 6557032"/>
              <a:gd name="connsiteX32854" fmla="*/ 3296313 w 4610101"/>
              <a:gd name="connsiteY32854" fmla="*/ 758876 h 6557032"/>
              <a:gd name="connsiteX32855" fmla="*/ 3290847 w 4610101"/>
              <a:gd name="connsiteY32855" fmla="*/ 755231 h 6557032"/>
              <a:gd name="connsiteX32856" fmla="*/ 3301780 w 4610101"/>
              <a:gd name="connsiteY32856" fmla="*/ 737010 h 6557032"/>
              <a:gd name="connsiteX32857" fmla="*/ 3345512 w 4610101"/>
              <a:gd name="connsiteY32857" fmla="*/ 722432 h 6557032"/>
              <a:gd name="connsiteX32858" fmla="*/ 3338223 w 4610101"/>
              <a:gd name="connsiteY32858" fmla="*/ 700566 h 6557032"/>
              <a:gd name="connsiteX32859" fmla="*/ 3350978 w 4610101"/>
              <a:gd name="connsiteY32859" fmla="*/ 707855 h 6557032"/>
              <a:gd name="connsiteX32860" fmla="*/ 3349156 w 4610101"/>
              <a:gd name="connsiteY32860" fmla="*/ 718788 h 6557032"/>
              <a:gd name="connsiteX32861" fmla="*/ 3360089 w 4610101"/>
              <a:gd name="connsiteY32861" fmla="*/ 700566 h 6557032"/>
              <a:gd name="connsiteX32862" fmla="*/ 3371022 w 4610101"/>
              <a:gd name="connsiteY32862" fmla="*/ 698744 h 6557032"/>
              <a:gd name="connsiteX32863" fmla="*/ 3371450 w 4610101"/>
              <a:gd name="connsiteY32863" fmla="*/ 703870 h 6557032"/>
              <a:gd name="connsiteX32864" fmla="*/ 3371022 w 4610101"/>
              <a:gd name="connsiteY32864" fmla="*/ 704211 h 6557032"/>
              <a:gd name="connsiteX32865" fmla="*/ 3371271 w 4610101"/>
              <a:gd name="connsiteY32865" fmla="*/ 704708 h 6557032"/>
              <a:gd name="connsiteX32866" fmla="*/ 3369200 w 4610101"/>
              <a:gd name="connsiteY32866" fmla="*/ 709677 h 6557032"/>
              <a:gd name="connsiteX32867" fmla="*/ 3372844 w 4610101"/>
              <a:gd name="connsiteY32867" fmla="*/ 707855 h 6557032"/>
              <a:gd name="connsiteX32868" fmla="*/ 3371271 w 4610101"/>
              <a:gd name="connsiteY32868" fmla="*/ 704708 h 6557032"/>
              <a:gd name="connsiteX32869" fmla="*/ 3371478 w 4610101"/>
              <a:gd name="connsiteY32869" fmla="*/ 704211 h 6557032"/>
              <a:gd name="connsiteX32870" fmla="*/ 3371450 w 4610101"/>
              <a:gd name="connsiteY32870" fmla="*/ 703870 h 6557032"/>
              <a:gd name="connsiteX32871" fmla="*/ 3380133 w 4610101"/>
              <a:gd name="connsiteY32871" fmla="*/ 696922 h 6557032"/>
              <a:gd name="connsiteX32872" fmla="*/ 3378311 w 4610101"/>
              <a:gd name="connsiteY32872" fmla="*/ 680522 h 6557032"/>
              <a:gd name="connsiteX32873" fmla="*/ 3372844 w 4610101"/>
              <a:gd name="connsiteY32873" fmla="*/ 678700 h 6557032"/>
              <a:gd name="connsiteX32874" fmla="*/ 3371022 w 4610101"/>
              <a:gd name="connsiteY32874" fmla="*/ 667767 h 6557032"/>
              <a:gd name="connsiteX32875" fmla="*/ 3383777 w 4610101"/>
              <a:gd name="connsiteY32875" fmla="*/ 671411 h 6557032"/>
              <a:gd name="connsiteX32876" fmla="*/ 3383777 w 4610101"/>
              <a:gd name="connsiteY32876" fmla="*/ 678700 h 6557032"/>
              <a:gd name="connsiteX32877" fmla="*/ 3392888 w 4610101"/>
              <a:gd name="connsiteY32877" fmla="*/ 680522 h 6557032"/>
              <a:gd name="connsiteX32878" fmla="*/ 3400177 w 4610101"/>
              <a:gd name="connsiteY32878" fmla="*/ 658656 h 6557032"/>
              <a:gd name="connsiteX32879" fmla="*/ 3398355 w 4610101"/>
              <a:gd name="connsiteY32879" fmla="*/ 653190 h 6557032"/>
              <a:gd name="connsiteX32880" fmla="*/ 2822548 w 4610101"/>
              <a:gd name="connsiteY32880" fmla="*/ 653190 h 6557032"/>
              <a:gd name="connsiteX32881" fmla="*/ 2826192 w 4610101"/>
              <a:gd name="connsiteY32881" fmla="*/ 662301 h 6557032"/>
              <a:gd name="connsiteX32882" fmla="*/ 2822548 w 4610101"/>
              <a:gd name="connsiteY32882" fmla="*/ 653190 h 6557032"/>
              <a:gd name="connsiteX32883" fmla="*/ 2762416 w 4610101"/>
              <a:gd name="connsiteY32883" fmla="*/ 653190 h 6557032"/>
              <a:gd name="connsiteX32884" fmla="*/ 2769341 w 4610101"/>
              <a:gd name="connsiteY32884" fmla="*/ 656291 h 6557032"/>
              <a:gd name="connsiteX32885" fmla="*/ 2771527 w 4610101"/>
              <a:gd name="connsiteY32885" fmla="*/ 667767 h 6557032"/>
              <a:gd name="connsiteX32886" fmla="*/ 2766789 w 4610101"/>
              <a:gd name="connsiteY32886" fmla="*/ 667767 h 6557032"/>
              <a:gd name="connsiteX32887" fmla="*/ 2332383 w 4610101"/>
              <a:gd name="connsiteY32887" fmla="*/ 653190 h 6557032"/>
              <a:gd name="connsiteX32888" fmla="*/ 2337850 w 4610101"/>
              <a:gd name="connsiteY32888" fmla="*/ 678700 h 6557032"/>
              <a:gd name="connsiteX32889" fmla="*/ 2332383 w 4610101"/>
              <a:gd name="connsiteY32889" fmla="*/ 653190 h 6557032"/>
              <a:gd name="connsiteX32890" fmla="*/ 1439518 w 4610101"/>
              <a:gd name="connsiteY32890" fmla="*/ 653190 h 6557032"/>
              <a:gd name="connsiteX32891" fmla="*/ 1432229 w 4610101"/>
              <a:gd name="connsiteY32891" fmla="*/ 665945 h 6557032"/>
              <a:gd name="connsiteX32892" fmla="*/ 1439518 w 4610101"/>
              <a:gd name="connsiteY32892" fmla="*/ 653190 h 6557032"/>
              <a:gd name="connsiteX32893" fmla="*/ 1341120 w 4610101"/>
              <a:gd name="connsiteY32893" fmla="*/ 653190 h 6557032"/>
              <a:gd name="connsiteX32894" fmla="*/ 1332009 w 4610101"/>
              <a:gd name="connsiteY32894" fmla="*/ 658656 h 6557032"/>
              <a:gd name="connsiteX32895" fmla="*/ 1326543 w 4610101"/>
              <a:gd name="connsiteY32895" fmla="*/ 685989 h 6557032"/>
              <a:gd name="connsiteX32896" fmla="*/ 1335654 w 4610101"/>
              <a:gd name="connsiteY32896" fmla="*/ 673234 h 6557032"/>
              <a:gd name="connsiteX32897" fmla="*/ 1335654 w 4610101"/>
              <a:gd name="connsiteY32897" fmla="*/ 675056 h 6557032"/>
              <a:gd name="connsiteX32898" fmla="*/ 1341120 w 4610101"/>
              <a:gd name="connsiteY32898" fmla="*/ 653190 h 6557032"/>
              <a:gd name="connsiteX32899" fmla="*/ 1297388 w 4610101"/>
              <a:gd name="connsiteY32899" fmla="*/ 653190 h 6557032"/>
              <a:gd name="connsiteX32900" fmla="*/ 1291922 w 4610101"/>
              <a:gd name="connsiteY32900" fmla="*/ 660478 h 6557032"/>
              <a:gd name="connsiteX32901" fmla="*/ 1277344 w 4610101"/>
              <a:gd name="connsiteY32901" fmla="*/ 680522 h 6557032"/>
              <a:gd name="connsiteX32902" fmla="*/ 1288277 w 4610101"/>
              <a:gd name="connsiteY32902" fmla="*/ 676878 h 6557032"/>
              <a:gd name="connsiteX32903" fmla="*/ 1297388 w 4610101"/>
              <a:gd name="connsiteY32903" fmla="*/ 653190 h 6557032"/>
              <a:gd name="connsiteX32904" fmla="*/ 1246367 w 4610101"/>
              <a:gd name="connsiteY32904" fmla="*/ 653190 h 6557032"/>
              <a:gd name="connsiteX32905" fmla="*/ 1242723 w 4610101"/>
              <a:gd name="connsiteY32905" fmla="*/ 655012 h 6557032"/>
              <a:gd name="connsiteX32906" fmla="*/ 1250012 w 4610101"/>
              <a:gd name="connsiteY32906" fmla="*/ 662301 h 6557032"/>
              <a:gd name="connsiteX32907" fmla="*/ 1246367 w 4610101"/>
              <a:gd name="connsiteY32907" fmla="*/ 653190 h 6557032"/>
              <a:gd name="connsiteX32908" fmla="*/ 1186236 w 4610101"/>
              <a:gd name="connsiteY32908" fmla="*/ 653190 h 6557032"/>
              <a:gd name="connsiteX32909" fmla="*/ 1182592 w 4610101"/>
              <a:gd name="connsiteY32909" fmla="*/ 658656 h 6557032"/>
              <a:gd name="connsiteX32910" fmla="*/ 1186236 w 4610101"/>
              <a:gd name="connsiteY32910" fmla="*/ 653190 h 6557032"/>
              <a:gd name="connsiteX32911" fmla="*/ 1115171 w 4610101"/>
              <a:gd name="connsiteY32911" fmla="*/ 653190 h 6557032"/>
              <a:gd name="connsiteX32912" fmla="*/ 1096949 w 4610101"/>
              <a:gd name="connsiteY32912" fmla="*/ 676878 h 6557032"/>
              <a:gd name="connsiteX32913" fmla="*/ 1113349 w 4610101"/>
              <a:gd name="connsiteY32913" fmla="*/ 658656 h 6557032"/>
              <a:gd name="connsiteX32914" fmla="*/ 1115171 w 4610101"/>
              <a:gd name="connsiteY32914" fmla="*/ 653190 h 6557032"/>
              <a:gd name="connsiteX32915" fmla="*/ 1100593 w 4610101"/>
              <a:gd name="connsiteY32915" fmla="*/ 653190 h 6557032"/>
              <a:gd name="connsiteX32916" fmla="*/ 1095127 w 4610101"/>
              <a:gd name="connsiteY32916" fmla="*/ 658656 h 6557032"/>
              <a:gd name="connsiteX32917" fmla="*/ 1096949 w 4610101"/>
              <a:gd name="connsiteY32917" fmla="*/ 656834 h 6557032"/>
              <a:gd name="connsiteX32918" fmla="*/ 1096949 w 4610101"/>
              <a:gd name="connsiteY32918" fmla="*/ 662301 h 6557032"/>
              <a:gd name="connsiteX32919" fmla="*/ 1100593 w 4610101"/>
              <a:gd name="connsiteY32919" fmla="*/ 653190 h 6557032"/>
              <a:gd name="connsiteX32920" fmla="*/ 444611 w 4610101"/>
              <a:gd name="connsiteY32920" fmla="*/ 653190 h 6557032"/>
              <a:gd name="connsiteX32921" fmla="*/ 459188 w 4610101"/>
              <a:gd name="connsiteY32921" fmla="*/ 667767 h 6557032"/>
              <a:gd name="connsiteX32922" fmla="*/ 444611 w 4610101"/>
              <a:gd name="connsiteY32922" fmla="*/ 653190 h 6557032"/>
              <a:gd name="connsiteX32923" fmla="*/ 415456 w 4610101"/>
              <a:gd name="connsiteY32923" fmla="*/ 653190 h 6557032"/>
              <a:gd name="connsiteX32924" fmla="*/ 424567 w 4610101"/>
              <a:gd name="connsiteY32924" fmla="*/ 664123 h 6557032"/>
              <a:gd name="connsiteX32925" fmla="*/ 415456 w 4610101"/>
              <a:gd name="connsiteY32925" fmla="*/ 653190 h 6557032"/>
              <a:gd name="connsiteX32926" fmla="*/ 493582 w 4610101"/>
              <a:gd name="connsiteY32926" fmla="*/ 652962 h 6557032"/>
              <a:gd name="connsiteX32927" fmla="*/ 490165 w 4610101"/>
              <a:gd name="connsiteY32927" fmla="*/ 655012 h 6557032"/>
              <a:gd name="connsiteX32928" fmla="*/ 493809 w 4610101"/>
              <a:gd name="connsiteY32928" fmla="*/ 658656 h 6557032"/>
              <a:gd name="connsiteX32929" fmla="*/ 495632 w 4610101"/>
              <a:gd name="connsiteY32929" fmla="*/ 655012 h 6557032"/>
              <a:gd name="connsiteX32930" fmla="*/ 493582 w 4610101"/>
              <a:gd name="connsiteY32930" fmla="*/ 652962 h 6557032"/>
              <a:gd name="connsiteX32931" fmla="*/ 3592645 w 4610101"/>
              <a:gd name="connsiteY32931" fmla="*/ 652962 h 6557032"/>
              <a:gd name="connsiteX32932" fmla="*/ 3586039 w 4610101"/>
              <a:gd name="connsiteY32932" fmla="*/ 656834 h 6557032"/>
              <a:gd name="connsiteX32933" fmla="*/ 3588037 w 4610101"/>
              <a:gd name="connsiteY32933" fmla="*/ 657405 h 6557032"/>
              <a:gd name="connsiteX32934" fmla="*/ 3588772 w 4610101"/>
              <a:gd name="connsiteY32934" fmla="*/ 659795 h 6557032"/>
              <a:gd name="connsiteX32935" fmla="*/ 3589683 w 4610101"/>
              <a:gd name="connsiteY32935" fmla="*/ 664123 h 6557032"/>
              <a:gd name="connsiteX32936" fmla="*/ 3594467 w 4610101"/>
              <a:gd name="connsiteY32936" fmla="*/ 663440 h 6557032"/>
              <a:gd name="connsiteX32937" fmla="*/ 3595096 w 4610101"/>
              <a:gd name="connsiteY32937" fmla="*/ 659037 h 6557032"/>
              <a:gd name="connsiteX32938" fmla="*/ 3600616 w 4610101"/>
              <a:gd name="connsiteY32938" fmla="*/ 658656 h 6557032"/>
              <a:gd name="connsiteX32939" fmla="*/ 3592645 w 4610101"/>
              <a:gd name="connsiteY32939" fmla="*/ 652962 h 6557032"/>
              <a:gd name="connsiteX32940" fmla="*/ 1412185 w 4610101"/>
              <a:gd name="connsiteY32940" fmla="*/ 651368 h 6557032"/>
              <a:gd name="connsiteX32941" fmla="*/ 1404896 w 4610101"/>
              <a:gd name="connsiteY32941" fmla="*/ 661572 h 6557032"/>
              <a:gd name="connsiteX32942" fmla="*/ 1404896 w 4610101"/>
              <a:gd name="connsiteY32942" fmla="*/ 658656 h 6557032"/>
              <a:gd name="connsiteX32943" fmla="*/ 1403074 w 4610101"/>
              <a:gd name="connsiteY32943" fmla="*/ 664123 h 6557032"/>
              <a:gd name="connsiteX32944" fmla="*/ 1404896 w 4610101"/>
              <a:gd name="connsiteY32944" fmla="*/ 661572 h 6557032"/>
              <a:gd name="connsiteX32945" fmla="*/ 1404896 w 4610101"/>
              <a:gd name="connsiteY32945" fmla="*/ 665945 h 6557032"/>
              <a:gd name="connsiteX32946" fmla="*/ 1412185 w 4610101"/>
              <a:gd name="connsiteY32946" fmla="*/ 651368 h 6557032"/>
              <a:gd name="connsiteX32947" fmla="*/ 1326543 w 4610101"/>
              <a:gd name="connsiteY32947" fmla="*/ 651368 h 6557032"/>
              <a:gd name="connsiteX32948" fmla="*/ 1319254 w 4610101"/>
              <a:gd name="connsiteY32948" fmla="*/ 662301 h 6557032"/>
              <a:gd name="connsiteX32949" fmla="*/ 1330188 w 4610101"/>
              <a:gd name="connsiteY32949" fmla="*/ 656834 h 6557032"/>
              <a:gd name="connsiteX32950" fmla="*/ 1326543 w 4610101"/>
              <a:gd name="connsiteY32950" fmla="*/ 651368 h 6557032"/>
              <a:gd name="connsiteX32951" fmla="*/ 1107882 w 4610101"/>
              <a:gd name="connsiteY32951" fmla="*/ 651368 h 6557032"/>
              <a:gd name="connsiteX32952" fmla="*/ 1104238 w 4610101"/>
              <a:gd name="connsiteY32952" fmla="*/ 656834 h 6557032"/>
              <a:gd name="connsiteX32953" fmla="*/ 1107882 w 4610101"/>
              <a:gd name="connsiteY32953" fmla="*/ 651368 h 6557032"/>
              <a:gd name="connsiteX32954" fmla="*/ 1022240 w 4610101"/>
              <a:gd name="connsiteY32954" fmla="*/ 651368 h 6557032"/>
              <a:gd name="connsiteX32955" fmla="*/ 1018483 w 4610101"/>
              <a:gd name="connsiteY32955" fmla="*/ 662637 h 6557032"/>
              <a:gd name="connsiteX32956" fmla="*/ 1018368 w 4610101"/>
              <a:gd name="connsiteY32956" fmla="*/ 662757 h 6557032"/>
              <a:gd name="connsiteX32957" fmla="*/ 1014951 w 4610101"/>
              <a:gd name="connsiteY32957" fmla="*/ 673234 h 6557032"/>
              <a:gd name="connsiteX32958" fmla="*/ 1018483 w 4610101"/>
              <a:gd name="connsiteY32958" fmla="*/ 662637 h 6557032"/>
              <a:gd name="connsiteX32959" fmla="*/ 1025884 w 4610101"/>
              <a:gd name="connsiteY32959" fmla="*/ 655012 h 6557032"/>
              <a:gd name="connsiteX32960" fmla="*/ 1022240 w 4610101"/>
              <a:gd name="connsiteY32960" fmla="*/ 651368 h 6557032"/>
              <a:gd name="connsiteX32961" fmla="*/ 805401 w 4610101"/>
              <a:gd name="connsiteY32961" fmla="*/ 651368 h 6557032"/>
              <a:gd name="connsiteX32962" fmla="*/ 807223 w 4610101"/>
              <a:gd name="connsiteY32962" fmla="*/ 665945 h 6557032"/>
              <a:gd name="connsiteX32963" fmla="*/ 805401 w 4610101"/>
              <a:gd name="connsiteY32963" fmla="*/ 651368 h 6557032"/>
              <a:gd name="connsiteX32964" fmla="*/ 652339 w 4610101"/>
              <a:gd name="connsiteY32964" fmla="*/ 651368 h 6557032"/>
              <a:gd name="connsiteX32965" fmla="*/ 650516 w 4610101"/>
              <a:gd name="connsiteY32965" fmla="*/ 653190 h 6557032"/>
              <a:gd name="connsiteX32966" fmla="*/ 655983 w 4610101"/>
              <a:gd name="connsiteY32966" fmla="*/ 656834 h 6557032"/>
              <a:gd name="connsiteX32967" fmla="*/ 652339 w 4610101"/>
              <a:gd name="connsiteY32967" fmla="*/ 651368 h 6557032"/>
              <a:gd name="connsiteX32968" fmla="*/ 337102 w 4610101"/>
              <a:gd name="connsiteY32968" fmla="*/ 651368 h 6557032"/>
              <a:gd name="connsiteX32969" fmla="*/ 344391 w 4610101"/>
              <a:gd name="connsiteY32969" fmla="*/ 658656 h 6557032"/>
              <a:gd name="connsiteX32970" fmla="*/ 346213 w 4610101"/>
              <a:gd name="connsiteY32970" fmla="*/ 655012 h 6557032"/>
              <a:gd name="connsiteX32971" fmla="*/ 337102 w 4610101"/>
              <a:gd name="connsiteY32971" fmla="*/ 651368 h 6557032"/>
              <a:gd name="connsiteX32972" fmla="*/ 333458 w 4610101"/>
              <a:gd name="connsiteY32972" fmla="*/ 651368 h 6557032"/>
              <a:gd name="connsiteX32973" fmla="*/ 338926 w 4610101"/>
              <a:gd name="connsiteY32973" fmla="*/ 660478 h 6557032"/>
              <a:gd name="connsiteX32974" fmla="*/ 337102 w 4610101"/>
              <a:gd name="connsiteY32974" fmla="*/ 655012 h 6557032"/>
              <a:gd name="connsiteX32975" fmla="*/ 333458 w 4610101"/>
              <a:gd name="connsiteY32975" fmla="*/ 651368 h 6557032"/>
              <a:gd name="connsiteX32976" fmla="*/ 1056541 w 4610101"/>
              <a:gd name="connsiteY32976" fmla="*/ 650939 h 6557032"/>
              <a:gd name="connsiteX32977" fmla="*/ 1055040 w 4610101"/>
              <a:gd name="connsiteY32977" fmla="*/ 653190 h 6557032"/>
              <a:gd name="connsiteX32978" fmla="*/ 1055195 w 4610101"/>
              <a:gd name="connsiteY32978" fmla="*/ 652587 h 6557032"/>
              <a:gd name="connsiteX32979" fmla="*/ 3381955 w 4610101"/>
              <a:gd name="connsiteY32979" fmla="*/ 649545 h 6557032"/>
              <a:gd name="connsiteX32980" fmla="*/ 3380133 w 4610101"/>
              <a:gd name="connsiteY32980" fmla="*/ 653190 h 6557032"/>
              <a:gd name="connsiteX32981" fmla="*/ 3389244 w 4610101"/>
              <a:gd name="connsiteY32981" fmla="*/ 655012 h 6557032"/>
              <a:gd name="connsiteX32982" fmla="*/ 3387422 w 4610101"/>
              <a:gd name="connsiteY32982" fmla="*/ 649545 h 6557032"/>
              <a:gd name="connsiteX32983" fmla="*/ 3381955 w 4610101"/>
              <a:gd name="connsiteY32983" fmla="*/ 649545 h 6557032"/>
              <a:gd name="connsiteX32984" fmla="*/ 2616642 w 4610101"/>
              <a:gd name="connsiteY32984" fmla="*/ 649545 h 6557032"/>
              <a:gd name="connsiteX32985" fmla="*/ 2616642 w 4610101"/>
              <a:gd name="connsiteY32985" fmla="*/ 658656 h 6557032"/>
              <a:gd name="connsiteX32986" fmla="*/ 2620287 w 4610101"/>
              <a:gd name="connsiteY32986" fmla="*/ 655012 h 6557032"/>
              <a:gd name="connsiteX32987" fmla="*/ 2616642 w 4610101"/>
              <a:gd name="connsiteY32987" fmla="*/ 649545 h 6557032"/>
              <a:gd name="connsiteX32988" fmla="*/ 2563799 w 4610101"/>
              <a:gd name="connsiteY32988" fmla="*/ 649545 h 6557032"/>
              <a:gd name="connsiteX32989" fmla="*/ 2560155 w 4610101"/>
              <a:gd name="connsiteY32989" fmla="*/ 662301 h 6557032"/>
              <a:gd name="connsiteX32990" fmla="*/ 2565621 w 4610101"/>
              <a:gd name="connsiteY32990" fmla="*/ 662301 h 6557032"/>
              <a:gd name="connsiteX32991" fmla="*/ 2563799 w 4610101"/>
              <a:gd name="connsiteY32991" fmla="*/ 649545 h 6557032"/>
              <a:gd name="connsiteX32992" fmla="*/ 2545577 w 4610101"/>
              <a:gd name="connsiteY32992" fmla="*/ 649545 h 6557032"/>
              <a:gd name="connsiteX32993" fmla="*/ 2542302 w 4610101"/>
              <a:gd name="connsiteY32993" fmla="*/ 651380 h 6557032"/>
              <a:gd name="connsiteX32994" fmla="*/ 2541933 w 4610101"/>
              <a:gd name="connsiteY32994" fmla="*/ 651368 h 6557032"/>
              <a:gd name="connsiteX32995" fmla="*/ 2545577 w 4610101"/>
              <a:gd name="connsiteY32995" fmla="*/ 649545 h 6557032"/>
              <a:gd name="connsiteX32996" fmla="*/ 519320 w 4610101"/>
              <a:gd name="connsiteY32996" fmla="*/ 649545 h 6557032"/>
              <a:gd name="connsiteX32997" fmla="*/ 517498 w 4610101"/>
              <a:gd name="connsiteY32997" fmla="*/ 651368 h 6557032"/>
              <a:gd name="connsiteX32998" fmla="*/ 519320 w 4610101"/>
              <a:gd name="connsiteY32998" fmla="*/ 649545 h 6557032"/>
              <a:gd name="connsiteX32999" fmla="*/ 360791 w 4610101"/>
              <a:gd name="connsiteY32999" fmla="*/ 649545 h 6557032"/>
              <a:gd name="connsiteX33000" fmla="*/ 358969 w 4610101"/>
              <a:gd name="connsiteY33000" fmla="*/ 655012 h 6557032"/>
              <a:gd name="connsiteX33001" fmla="*/ 362613 w 4610101"/>
              <a:gd name="connsiteY33001" fmla="*/ 655012 h 6557032"/>
              <a:gd name="connsiteX33002" fmla="*/ 360791 w 4610101"/>
              <a:gd name="connsiteY33002" fmla="*/ 649545 h 6557032"/>
              <a:gd name="connsiteX33003" fmla="*/ 198617 w 4610101"/>
              <a:gd name="connsiteY33003" fmla="*/ 649545 h 6557032"/>
              <a:gd name="connsiteX33004" fmla="*/ 211372 w 4610101"/>
              <a:gd name="connsiteY33004" fmla="*/ 671411 h 6557032"/>
              <a:gd name="connsiteX33005" fmla="*/ 198617 w 4610101"/>
              <a:gd name="connsiteY33005" fmla="*/ 649545 h 6557032"/>
              <a:gd name="connsiteX33006" fmla="*/ 1210379 w 4610101"/>
              <a:gd name="connsiteY33006" fmla="*/ 648407 h 6557032"/>
              <a:gd name="connsiteX33007" fmla="*/ 1208102 w 4610101"/>
              <a:gd name="connsiteY33007" fmla="*/ 655012 h 6557032"/>
              <a:gd name="connsiteX33008" fmla="*/ 1215390 w 4610101"/>
              <a:gd name="connsiteY33008" fmla="*/ 651368 h 6557032"/>
              <a:gd name="connsiteX33009" fmla="*/ 1219036 w 4610101"/>
              <a:gd name="connsiteY33009" fmla="*/ 660478 h 6557032"/>
              <a:gd name="connsiteX33010" fmla="*/ 1220858 w 4610101"/>
              <a:gd name="connsiteY33010" fmla="*/ 658656 h 6557032"/>
              <a:gd name="connsiteX33011" fmla="*/ 1217213 w 4610101"/>
              <a:gd name="connsiteY33011" fmla="*/ 669589 h 6557032"/>
              <a:gd name="connsiteX33012" fmla="*/ 1235434 w 4610101"/>
              <a:gd name="connsiteY33012" fmla="*/ 653190 h 6557032"/>
              <a:gd name="connsiteX33013" fmla="*/ 1215390 w 4610101"/>
              <a:gd name="connsiteY33013" fmla="*/ 651368 h 6557032"/>
              <a:gd name="connsiteX33014" fmla="*/ 1210379 w 4610101"/>
              <a:gd name="connsiteY33014" fmla="*/ 648407 h 6557032"/>
              <a:gd name="connsiteX33015" fmla="*/ 3596972 w 4610101"/>
              <a:gd name="connsiteY33015" fmla="*/ 647723 h 6557032"/>
              <a:gd name="connsiteX33016" fmla="*/ 3602438 w 4610101"/>
              <a:gd name="connsiteY33016" fmla="*/ 653190 h 6557032"/>
              <a:gd name="connsiteX33017" fmla="*/ 3595150 w 4610101"/>
              <a:gd name="connsiteY33017" fmla="*/ 651368 h 6557032"/>
              <a:gd name="connsiteX33018" fmla="*/ 3596972 w 4610101"/>
              <a:gd name="connsiteY33018" fmla="*/ 647723 h 6557032"/>
              <a:gd name="connsiteX33019" fmla="*/ 3208849 w 4610101"/>
              <a:gd name="connsiteY33019" fmla="*/ 647723 h 6557032"/>
              <a:gd name="connsiteX33020" fmla="*/ 3203382 w 4610101"/>
              <a:gd name="connsiteY33020" fmla="*/ 655012 h 6557032"/>
              <a:gd name="connsiteX33021" fmla="*/ 3208849 w 4610101"/>
              <a:gd name="connsiteY33021" fmla="*/ 647723 h 6557032"/>
              <a:gd name="connsiteX33022" fmla="*/ 2866280 w 4610101"/>
              <a:gd name="connsiteY33022" fmla="*/ 647723 h 6557032"/>
              <a:gd name="connsiteX33023" fmla="*/ 2857169 w 4610101"/>
              <a:gd name="connsiteY33023" fmla="*/ 653190 h 6557032"/>
              <a:gd name="connsiteX33024" fmla="*/ 2869924 w 4610101"/>
              <a:gd name="connsiteY33024" fmla="*/ 656834 h 6557032"/>
              <a:gd name="connsiteX33025" fmla="*/ 2866280 w 4610101"/>
              <a:gd name="connsiteY33025" fmla="*/ 647723 h 6557032"/>
              <a:gd name="connsiteX33026" fmla="*/ 1386676 w 4610101"/>
              <a:gd name="connsiteY33026" fmla="*/ 647723 h 6557032"/>
              <a:gd name="connsiteX33027" fmla="*/ 1375743 w 4610101"/>
              <a:gd name="connsiteY33027" fmla="*/ 662301 h 6557032"/>
              <a:gd name="connsiteX33028" fmla="*/ 1388497 w 4610101"/>
              <a:gd name="connsiteY33028" fmla="*/ 653190 h 6557032"/>
              <a:gd name="connsiteX33029" fmla="*/ 1386676 w 4610101"/>
              <a:gd name="connsiteY33029" fmla="*/ 647723 h 6557032"/>
              <a:gd name="connsiteX33030" fmla="*/ 1353876 w 4610101"/>
              <a:gd name="connsiteY33030" fmla="*/ 647723 h 6557032"/>
              <a:gd name="connsiteX33031" fmla="*/ 1344765 w 4610101"/>
              <a:gd name="connsiteY33031" fmla="*/ 660478 h 6557032"/>
              <a:gd name="connsiteX33032" fmla="*/ 1353876 w 4610101"/>
              <a:gd name="connsiteY33032" fmla="*/ 647723 h 6557032"/>
              <a:gd name="connsiteX33033" fmla="*/ 1321077 w 4610101"/>
              <a:gd name="connsiteY33033" fmla="*/ 647723 h 6557032"/>
              <a:gd name="connsiteX33034" fmla="*/ 1308321 w 4610101"/>
              <a:gd name="connsiteY33034" fmla="*/ 669589 h 6557032"/>
              <a:gd name="connsiteX33035" fmla="*/ 1310143 w 4610101"/>
              <a:gd name="connsiteY33035" fmla="*/ 673234 h 6557032"/>
              <a:gd name="connsiteX33036" fmla="*/ 1313788 w 4610101"/>
              <a:gd name="connsiteY33036" fmla="*/ 669589 h 6557032"/>
              <a:gd name="connsiteX33037" fmla="*/ 1310143 w 4610101"/>
              <a:gd name="connsiteY33037" fmla="*/ 667767 h 6557032"/>
              <a:gd name="connsiteX33038" fmla="*/ 1311966 w 4610101"/>
              <a:gd name="connsiteY33038" fmla="*/ 664123 h 6557032"/>
              <a:gd name="connsiteX33039" fmla="*/ 1313788 w 4610101"/>
              <a:gd name="connsiteY33039" fmla="*/ 667767 h 6557032"/>
              <a:gd name="connsiteX33040" fmla="*/ 1321077 w 4610101"/>
              <a:gd name="connsiteY33040" fmla="*/ 647723 h 6557032"/>
              <a:gd name="connsiteX33041" fmla="*/ 1304677 w 4610101"/>
              <a:gd name="connsiteY33041" fmla="*/ 647723 h 6557032"/>
              <a:gd name="connsiteX33042" fmla="*/ 1301033 w 4610101"/>
              <a:gd name="connsiteY33042" fmla="*/ 662301 h 6557032"/>
              <a:gd name="connsiteX33043" fmla="*/ 1303311 w 4610101"/>
              <a:gd name="connsiteY33043" fmla="*/ 659568 h 6557032"/>
              <a:gd name="connsiteX33044" fmla="*/ 1303176 w 4610101"/>
              <a:gd name="connsiteY33044" fmla="*/ 658764 h 6557032"/>
              <a:gd name="connsiteX33045" fmla="*/ 1304677 w 4610101"/>
              <a:gd name="connsiteY33045" fmla="*/ 660478 h 6557032"/>
              <a:gd name="connsiteX33046" fmla="*/ 1310143 w 4610101"/>
              <a:gd name="connsiteY33046" fmla="*/ 656834 h 6557032"/>
              <a:gd name="connsiteX33047" fmla="*/ 1304677 w 4610101"/>
              <a:gd name="connsiteY33047" fmla="*/ 647723 h 6557032"/>
              <a:gd name="connsiteX33048" fmla="*/ 1193525 w 4610101"/>
              <a:gd name="connsiteY33048" fmla="*/ 647723 h 6557032"/>
              <a:gd name="connsiteX33049" fmla="*/ 1180769 w 4610101"/>
              <a:gd name="connsiteY33049" fmla="*/ 660478 h 6557032"/>
              <a:gd name="connsiteX33050" fmla="*/ 1195346 w 4610101"/>
              <a:gd name="connsiteY33050" fmla="*/ 656834 h 6557032"/>
              <a:gd name="connsiteX33051" fmla="*/ 1202636 w 4610101"/>
              <a:gd name="connsiteY33051" fmla="*/ 656834 h 6557032"/>
              <a:gd name="connsiteX33052" fmla="*/ 1193525 w 4610101"/>
              <a:gd name="connsiteY33052" fmla="*/ 647723 h 6557032"/>
              <a:gd name="connsiteX33053" fmla="*/ 1169836 w 4610101"/>
              <a:gd name="connsiteY33053" fmla="*/ 647723 h 6557032"/>
              <a:gd name="connsiteX33054" fmla="*/ 1158903 w 4610101"/>
              <a:gd name="connsiteY33054" fmla="*/ 658656 h 6557032"/>
              <a:gd name="connsiteX33055" fmla="*/ 1155259 w 4610101"/>
              <a:gd name="connsiteY33055" fmla="*/ 671411 h 6557032"/>
              <a:gd name="connsiteX33056" fmla="*/ 1169836 w 4610101"/>
              <a:gd name="connsiteY33056" fmla="*/ 647723 h 6557032"/>
              <a:gd name="connsiteX33057" fmla="*/ 1091484 w 4610101"/>
              <a:gd name="connsiteY33057" fmla="*/ 647723 h 6557032"/>
              <a:gd name="connsiteX33058" fmla="*/ 1093305 w 4610101"/>
              <a:gd name="connsiteY33058" fmla="*/ 651368 h 6557032"/>
              <a:gd name="connsiteX33059" fmla="*/ 1091484 w 4610101"/>
              <a:gd name="connsiteY33059" fmla="*/ 647723 h 6557032"/>
              <a:gd name="connsiteX33060" fmla="*/ 1025884 w 4610101"/>
              <a:gd name="connsiteY33060" fmla="*/ 647723 h 6557032"/>
              <a:gd name="connsiteX33061" fmla="*/ 1025884 w 4610101"/>
              <a:gd name="connsiteY33061" fmla="*/ 653190 h 6557032"/>
              <a:gd name="connsiteX33062" fmla="*/ 1025884 w 4610101"/>
              <a:gd name="connsiteY33062" fmla="*/ 647723 h 6557032"/>
              <a:gd name="connsiteX33063" fmla="*/ 945709 w 4610101"/>
              <a:gd name="connsiteY33063" fmla="*/ 647723 h 6557032"/>
              <a:gd name="connsiteX33064" fmla="*/ 932953 w 4610101"/>
              <a:gd name="connsiteY33064" fmla="*/ 662301 h 6557032"/>
              <a:gd name="connsiteX33065" fmla="*/ 938420 w 4610101"/>
              <a:gd name="connsiteY33065" fmla="*/ 655012 h 6557032"/>
              <a:gd name="connsiteX33066" fmla="*/ 942064 w 4610101"/>
              <a:gd name="connsiteY33066" fmla="*/ 660478 h 6557032"/>
              <a:gd name="connsiteX33067" fmla="*/ 945709 w 4610101"/>
              <a:gd name="connsiteY33067" fmla="*/ 647723 h 6557032"/>
              <a:gd name="connsiteX33068" fmla="*/ 659627 w 4610101"/>
              <a:gd name="connsiteY33068" fmla="*/ 647723 h 6557032"/>
              <a:gd name="connsiteX33069" fmla="*/ 661449 w 4610101"/>
              <a:gd name="connsiteY33069" fmla="*/ 658656 h 6557032"/>
              <a:gd name="connsiteX33070" fmla="*/ 659627 w 4610101"/>
              <a:gd name="connsiteY33070" fmla="*/ 647723 h 6557032"/>
              <a:gd name="connsiteX33071" fmla="*/ 368079 w 4610101"/>
              <a:gd name="connsiteY33071" fmla="*/ 647723 h 6557032"/>
              <a:gd name="connsiteX33072" fmla="*/ 373546 w 4610101"/>
              <a:gd name="connsiteY33072" fmla="*/ 656834 h 6557032"/>
              <a:gd name="connsiteX33073" fmla="*/ 368079 w 4610101"/>
              <a:gd name="connsiteY33073" fmla="*/ 647723 h 6557032"/>
              <a:gd name="connsiteX33074" fmla="*/ 1266820 w 4610101"/>
              <a:gd name="connsiteY33074" fmla="*/ 647246 h 6557032"/>
              <a:gd name="connsiteX33075" fmla="*/ 1266836 w 4610101"/>
              <a:gd name="connsiteY33075" fmla="*/ 647298 h 6557032"/>
              <a:gd name="connsiteX33076" fmla="*/ 1266411 w 4610101"/>
              <a:gd name="connsiteY33076" fmla="*/ 647723 h 6557032"/>
              <a:gd name="connsiteX33077" fmla="*/ 65787 w 4610101"/>
              <a:gd name="connsiteY33077" fmla="*/ 646176 h 6557032"/>
              <a:gd name="connsiteX33078" fmla="*/ 77721 w 4610101"/>
              <a:gd name="connsiteY33078" fmla="*/ 662445 h 6557032"/>
              <a:gd name="connsiteX33079" fmla="*/ 70154 w 4610101"/>
              <a:gd name="connsiteY33079" fmla="*/ 654101 h 6557032"/>
              <a:gd name="connsiteX33080" fmla="*/ 2791571 w 4610101"/>
              <a:gd name="connsiteY33080" fmla="*/ 645901 h 6557032"/>
              <a:gd name="connsiteX33081" fmla="*/ 2813437 w 4610101"/>
              <a:gd name="connsiteY33081" fmla="*/ 655012 h 6557032"/>
              <a:gd name="connsiteX33082" fmla="*/ 2791571 w 4610101"/>
              <a:gd name="connsiteY33082" fmla="*/ 645901 h 6557032"/>
              <a:gd name="connsiteX33083" fmla="*/ 2780638 w 4610101"/>
              <a:gd name="connsiteY33083" fmla="*/ 645901 h 6557032"/>
              <a:gd name="connsiteX33084" fmla="*/ 2797037 w 4610101"/>
              <a:gd name="connsiteY33084" fmla="*/ 680522 h 6557032"/>
              <a:gd name="connsiteX33085" fmla="*/ 2795215 w 4610101"/>
              <a:gd name="connsiteY33085" fmla="*/ 671411 h 6557032"/>
              <a:gd name="connsiteX33086" fmla="*/ 2820726 w 4610101"/>
              <a:gd name="connsiteY33086" fmla="*/ 687811 h 6557032"/>
              <a:gd name="connsiteX33087" fmla="*/ 2824370 w 4610101"/>
              <a:gd name="connsiteY33087" fmla="*/ 682345 h 6557032"/>
              <a:gd name="connsiteX33088" fmla="*/ 2818903 w 4610101"/>
              <a:gd name="connsiteY33088" fmla="*/ 665945 h 6557032"/>
              <a:gd name="connsiteX33089" fmla="*/ 2807971 w 4610101"/>
              <a:gd name="connsiteY33089" fmla="*/ 673234 h 6557032"/>
              <a:gd name="connsiteX33090" fmla="*/ 2804326 w 4610101"/>
              <a:gd name="connsiteY33090" fmla="*/ 664123 h 6557032"/>
              <a:gd name="connsiteX33091" fmla="*/ 2797037 w 4610101"/>
              <a:gd name="connsiteY33091" fmla="*/ 665945 h 6557032"/>
              <a:gd name="connsiteX33092" fmla="*/ 2787927 w 4610101"/>
              <a:gd name="connsiteY33092" fmla="*/ 645901 h 6557032"/>
              <a:gd name="connsiteX33093" fmla="*/ 2780638 w 4610101"/>
              <a:gd name="connsiteY33093" fmla="*/ 645901 h 6557032"/>
              <a:gd name="connsiteX33094" fmla="*/ 2591132 w 4610101"/>
              <a:gd name="connsiteY33094" fmla="*/ 645901 h 6557032"/>
              <a:gd name="connsiteX33095" fmla="*/ 2587487 w 4610101"/>
              <a:gd name="connsiteY33095" fmla="*/ 649545 h 6557032"/>
              <a:gd name="connsiteX33096" fmla="*/ 2594776 w 4610101"/>
              <a:gd name="connsiteY33096" fmla="*/ 662301 h 6557032"/>
              <a:gd name="connsiteX33097" fmla="*/ 2591132 w 4610101"/>
              <a:gd name="connsiteY33097" fmla="*/ 645901 h 6557032"/>
              <a:gd name="connsiteX33098" fmla="*/ 1362987 w 4610101"/>
              <a:gd name="connsiteY33098" fmla="*/ 645901 h 6557032"/>
              <a:gd name="connsiteX33099" fmla="*/ 1342942 w 4610101"/>
              <a:gd name="connsiteY33099" fmla="*/ 671411 h 6557032"/>
              <a:gd name="connsiteX33100" fmla="*/ 1362987 w 4610101"/>
              <a:gd name="connsiteY33100" fmla="*/ 645901 h 6557032"/>
              <a:gd name="connsiteX33101" fmla="*/ 1266411 w 4610101"/>
              <a:gd name="connsiteY33101" fmla="*/ 645901 h 6557032"/>
              <a:gd name="connsiteX33102" fmla="*/ 1267697 w 4610101"/>
              <a:gd name="connsiteY33102" fmla="*/ 646115 h 6557032"/>
              <a:gd name="connsiteX33103" fmla="*/ 1267723 w 4610101"/>
              <a:gd name="connsiteY33103" fmla="*/ 646193 h 6557032"/>
              <a:gd name="connsiteX33104" fmla="*/ 1266820 w 4610101"/>
              <a:gd name="connsiteY33104" fmla="*/ 647246 h 6557032"/>
              <a:gd name="connsiteX33105" fmla="*/ 1255478 w 4610101"/>
              <a:gd name="connsiteY33105" fmla="*/ 645901 h 6557032"/>
              <a:gd name="connsiteX33106" fmla="*/ 1251834 w 4610101"/>
              <a:gd name="connsiteY33106" fmla="*/ 660478 h 6557032"/>
              <a:gd name="connsiteX33107" fmla="*/ 1259123 w 4610101"/>
              <a:gd name="connsiteY33107" fmla="*/ 653190 h 6557032"/>
              <a:gd name="connsiteX33108" fmla="*/ 1255478 w 4610101"/>
              <a:gd name="connsiteY33108" fmla="*/ 645901 h 6557032"/>
              <a:gd name="connsiteX33109" fmla="*/ 1244545 w 4610101"/>
              <a:gd name="connsiteY33109" fmla="*/ 645901 h 6557032"/>
              <a:gd name="connsiteX33110" fmla="*/ 1237256 w 4610101"/>
              <a:gd name="connsiteY33110" fmla="*/ 649545 h 6557032"/>
              <a:gd name="connsiteX33111" fmla="*/ 1240901 w 4610101"/>
              <a:gd name="connsiteY33111" fmla="*/ 653190 h 6557032"/>
              <a:gd name="connsiteX33112" fmla="*/ 1244545 w 4610101"/>
              <a:gd name="connsiteY33112" fmla="*/ 645901 h 6557032"/>
              <a:gd name="connsiteX33113" fmla="*/ 1071439 w 4610101"/>
              <a:gd name="connsiteY33113" fmla="*/ 645901 h 6557032"/>
              <a:gd name="connsiteX33114" fmla="*/ 1070463 w 4610101"/>
              <a:gd name="connsiteY33114" fmla="*/ 647073 h 6557032"/>
              <a:gd name="connsiteX33115" fmla="*/ 1068863 w 4610101"/>
              <a:gd name="connsiteY33115" fmla="*/ 646007 h 6557032"/>
              <a:gd name="connsiteX33116" fmla="*/ 911087 w 4610101"/>
              <a:gd name="connsiteY33116" fmla="*/ 645901 h 6557032"/>
              <a:gd name="connsiteX33117" fmla="*/ 909265 w 4610101"/>
              <a:gd name="connsiteY33117" fmla="*/ 653190 h 6557032"/>
              <a:gd name="connsiteX33118" fmla="*/ 911087 w 4610101"/>
              <a:gd name="connsiteY33118" fmla="*/ 645901 h 6557032"/>
              <a:gd name="connsiteX33119" fmla="*/ 887399 w 4610101"/>
              <a:gd name="connsiteY33119" fmla="*/ 645901 h 6557032"/>
              <a:gd name="connsiteX33120" fmla="*/ 880111 w 4610101"/>
              <a:gd name="connsiteY33120" fmla="*/ 660478 h 6557032"/>
              <a:gd name="connsiteX33121" fmla="*/ 891043 w 4610101"/>
              <a:gd name="connsiteY33121" fmla="*/ 647723 h 6557032"/>
              <a:gd name="connsiteX33122" fmla="*/ 887399 w 4610101"/>
              <a:gd name="connsiteY33122" fmla="*/ 645901 h 6557032"/>
              <a:gd name="connsiteX33123" fmla="*/ 805401 w 4610101"/>
              <a:gd name="connsiteY33123" fmla="*/ 645901 h 6557032"/>
              <a:gd name="connsiteX33124" fmla="*/ 809046 w 4610101"/>
              <a:gd name="connsiteY33124" fmla="*/ 653190 h 6557032"/>
              <a:gd name="connsiteX33125" fmla="*/ 807223 w 4610101"/>
              <a:gd name="connsiteY33125" fmla="*/ 645901 h 6557032"/>
              <a:gd name="connsiteX33126" fmla="*/ 805401 w 4610101"/>
              <a:gd name="connsiteY33126" fmla="*/ 645901 h 6557032"/>
              <a:gd name="connsiteX33127" fmla="*/ 606784 w 4610101"/>
              <a:gd name="connsiteY33127" fmla="*/ 645901 h 6557032"/>
              <a:gd name="connsiteX33128" fmla="*/ 603140 w 4610101"/>
              <a:gd name="connsiteY33128" fmla="*/ 658656 h 6557032"/>
              <a:gd name="connsiteX33129" fmla="*/ 606784 w 4610101"/>
              <a:gd name="connsiteY33129" fmla="*/ 645901 h 6557032"/>
              <a:gd name="connsiteX33130" fmla="*/ 561230 w 4610101"/>
              <a:gd name="connsiteY33130" fmla="*/ 645901 h 6557032"/>
              <a:gd name="connsiteX33131" fmla="*/ 561230 w 4610101"/>
              <a:gd name="connsiteY33131" fmla="*/ 651368 h 6557032"/>
              <a:gd name="connsiteX33132" fmla="*/ 561230 w 4610101"/>
              <a:gd name="connsiteY33132" fmla="*/ 645901 h 6557032"/>
              <a:gd name="connsiteX33133" fmla="*/ 502920 w 4610101"/>
              <a:gd name="connsiteY33133" fmla="*/ 645901 h 6557032"/>
              <a:gd name="connsiteX33134" fmla="*/ 506565 w 4610101"/>
              <a:gd name="connsiteY33134" fmla="*/ 655012 h 6557032"/>
              <a:gd name="connsiteX33135" fmla="*/ 502920 w 4610101"/>
              <a:gd name="connsiteY33135" fmla="*/ 645901 h 6557032"/>
              <a:gd name="connsiteX33136" fmla="*/ 455544 w 4610101"/>
              <a:gd name="connsiteY33136" fmla="*/ 645901 h 6557032"/>
              <a:gd name="connsiteX33137" fmla="*/ 461010 w 4610101"/>
              <a:gd name="connsiteY33137" fmla="*/ 655012 h 6557032"/>
              <a:gd name="connsiteX33138" fmla="*/ 455544 w 4610101"/>
              <a:gd name="connsiteY33138" fmla="*/ 645901 h 6557032"/>
              <a:gd name="connsiteX33139" fmla="*/ 444611 w 4610101"/>
              <a:gd name="connsiteY33139" fmla="*/ 645901 h 6557032"/>
              <a:gd name="connsiteX33140" fmla="*/ 448256 w 4610101"/>
              <a:gd name="connsiteY33140" fmla="*/ 649545 h 6557032"/>
              <a:gd name="connsiteX33141" fmla="*/ 444611 w 4610101"/>
              <a:gd name="connsiteY33141" fmla="*/ 645901 h 6557032"/>
              <a:gd name="connsiteX33142" fmla="*/ 320703 w 4610101"/>
              <a:gd name="connsiteY33142" fmla="*/ 645901 h 6557032"/>
              <a:gd name="connsiteX33143" fmla="*/ 348037 w 4610101"/>
              <a:gd name="connsiteY33143" fmla="*/ 685989 h 6557032"/>
              <a:gd name="connsiteX33144" fmla="*/ 326169 w 4610101"/>
              <a:gd name="connsiteY33144" fmla="*/ 655012 h 6557032"/>
              <a:gd name="connsiteX33145" fmla="*/ 331636 w 4610101"/>
              <a:gd name="connsiteY33145" fmla="*/ 653190 h 6557032"/>
              <a:gd name="connsiteX33146" fmla="*/ 320703 w 4610101"/>
              <a:gd name="connsiteY33146" fmla="*/ 645901 h 6557032"/>
              <a:gd name="connsiteX33147" fmla="*/ 2962855 w 4610101"/>
              <a:gd name="connsiteY33147" fmla="*/ 644079 h 6557032"/>
              <a:gd name="connsiteX33148" fmla="*/ 2962858 w 4610101"/>
              <a:gd name="connsiteY33148" fmla="*/ 644083 h 6557032"/>
              <a:gd name="connsiteX33149" fmla="*/ 2966500 w 4610101"/>
              <a:gd name="connsiteY33149" fmla="*/ 649545 h 6557032"/>
              <a:gd name="connsiteX33150" fmla="*/ 2962855 w 4610101"/>
              <a:gd name="connsiteY33150" fmla="*/ 644079 h 6557032"/>
              <a:gd name="connsiteX33151" fmla="*/ 1432229 w 4610101"/>
              <a:gd name="connsiteY33151" fmla="*/ 644079 h 6557032"/>
              <a:gd name="connsiteX33152" fmla="*/ 1417652 w 4610101"/>
              <a:gd name="connsiteY33152" fmla="*/ 658656 h 6557032"/>
              <a:gd name="connsiteX33153" fmla="*/ 1432229 w 4610101"/>
              <a:gd name="connsiteY33153" fmla="*/ 644079 h 6557032"/>
              <a:gd name="connsiteX33154" fmla="*/ 1390319 w 4610101"/>
              <a:gd name="connsiteY33154" fmla="*/ 644079 h 6557032"/>
              <a:gd name="connsiteX33155" fmla="*/ 1388497 w 4610101"/>
              <a:gd name="connsiteY33155" fmla="*/ 647723 h 6557032"/>
              <a:gd name="connsiteX33156" fmla="*/ 1388497 w 4610101"/>
              <a:gd name="connsiteY33156" fmla="*/ 649545 h 6557032"/>
              <a:gd name="connsiteX33157" fmla="*/ 1390319 w 4610101"/>
              <a:gd name="connsiteY33157" fmla="*/ 644079 h 6557032"/>
              <a:gd name="connsiteX33158" fmla="*/ 1229969 w 4610101"/>
              <a:gd name="connsiteY33158" fmla="*/ 644079 h 6557032"/>
              <a:gd name="connsiteX33159" fmla="*/ 1231790 w 4610101"/>
              <a:gd name="connsiteY33159" fmla="*/ 647723 h 6557032"/>
              <a:gd name="connsiteX33160" fmla="*/ 1233612 w 4610101"/>
              <a:gd name="connsiteY33160" fmla="*/ 645901 h 6557032"/>
              <a:gd name="connsiteX33161" fmla="*/ 1229969 w 4610101"/>
              <a:gd name="connsiteY33161" fmla="*/ 644079 h 6557032"/>
              <a:gd name="connsiteX33162" fmla="*/ 1197169 w 4610101"/>
              <a:gd name="connsiteY33162" fmla="*/ 644079 h 6557032"/>
              <a:gd name="connsiteX33163" fmla="*/ 1193525 w 4610101"/>
              <a:gd name="connsiteY33163" fmla="*/ 645901 h 6557032"/>
              <a:gd name="connsiteX33164" fmla="*/ 1198991 w 4610101"/>
              <a:gd name="connsiteY33164" fmla="*/ 651368 h 6557032"/>
              <a:gd name="connsiteX33165" fmla="*/ 1198991 w 4610101"/>
              <a:gd name="connsiteY33165" fmla="*/ 647723 h 6557032"/>
              <a:gd name="connsiteX33166" fmla="*/ 1202636 w 4610101"/>
              <a:gd name="connsiteY33166" fmla="*/ 653190 h 6557032"/>
              <a:gd name="connsiteX33167" fmla="*/ 1206279 w 4610101"/>
              <a:gd name="connsiteY33167" fmla="*/ 645901 h 6557032"/>
              <a:gd name="connsiteX33168" fmla="*/ 1202636 w 4610101"/>
              <a:gd name="connsiteY33168" fmla="*/ 644079 h 6557032"/>
              <a:gd name="connsiteX33169" fmla="*/ 1202636 w 4610101"/>
              <a:gd name="connsiteY33169" fmla="*/ 651368 h 6557032"/>
              <a:gd name="connsiteX33170" fmla="*/ 1197169 w 4610101"/>
              <a:gd name="connsiteY33170" fmla="*/ 644079 h 6557032"/>
              <a:gd name="connsiteX33171" fmla="*/ 798112 w 4610101"/>
              <a:gd name="connsiteY33171" fmla="*/ 644079 h 6557032"/>
              <a:gd name="connsiteX33172" fmla="*/ 799935 w 4610101"/>
              <a:gd name="connsiteY33172" fmla="*/ 645901 h 6557032"/>
              <a:gd name="connsiteX33173" fmla="*/ 796290 w 4610101"/>
              <a:gd name="connsiteY33173" fmla="*/ 645901 h 6557032"/>
              <a:gd name="connsiteX33174" fmla="*/ 798112 w 4610101"/>
              <a:gd name="connsiteY33174" fmla="*/ 644079 h 6557032"/>
              <a:gd name="connsiteX33175" fmla="*/ 750737 w 4610101"/>
              <a:gd name="connsiteY33175" fmla="*/ 644079 h 6557032"/>
              <a:gd name="connsiteX33176" fmla="*/ 754380 w 4610101"/>
              <a:gd name="connsiteY33176" fmla="*/ 649545 h 6557032"/>
              <a:gd name="connsiteX33177" fmla="*/ 750737 w 4610101"/>
              <a:gd name="connsiteY33177" fmla="*/ 644079 h 6557032"/>
              <a:gd name="connsiteX33178" fmla="*/ 668738 w 4610101"/>
              <a:gd name="connsiteY33178" fmla="*/ 644079 h 6557032"/>
              <a:gd name="connsiteX33179" fmla="*/ 666916 w 4610101"/>
              <a:gd name="connsiteY33179" fmla="*/ 651368 h 6557032"/>
              <a:gd name="connsiteX33180" fmla="*/ 670560 w 4610101"/>
              <a:gd name="connsiteY33180" fmla="*/ 651368 h 6557032"/>
              <a:gd name="connsiteX33181" fmla="*/ 665094 w 4610101"/>
              <a:gd name="connsiteY33181" fmla="*/ 660478 h 6557032"/>
              <a:gd name="connsiteX33182" fmla="*/ 688782 w 4610101"/>
              <a:gd name="connsiteY33182" fmla="*/ 673234 h 6557032"/>
              <a:gd name="connsiteX33183" fmla="*/ 670560 w 4610101"/>
              <a:gd name="connsiteY33183" fmla="*/ 645901 h 6557032"/>
              <a:gd name="connsiteX33184" fmla="*/ 668738 w 4610101"/>
              <a:gd name="connsiteY33184" fmla="*/ 647723 h 6557032"/>
              <a:gd name="connsiteX33185" fmla="*/ 668738 w 4610101"/>
              <a:gd name="connsiteY33185" fmla="*/ 644079 h 6557032"/>
              <a:gd name="connsiteX33186" fmla="*/ 594030 w 4610101"/>
              <a:gd name="connsiteY33186" fmla="*/ 644079 h 6557032"/>
              <a:gd name="connsiteX33187" fmla="*/ 595852 w 4610101"/>
              <a:gd name="connsiteY33187" fmla="*/ 651368 h 6557032"/>
              <a:gd name="connsiteX33188" fmla="*/ 597673 w 4610101"/>
              <a:gd name="connsiteY33188" fmla="*/ 649545 h 6557032"/>
              <a:gd name="connsiteX33189" fmla="*/ 594030 w 4610101"/>
              <a:gd name="connsiteY33189" fmla="*/ 644079 h 6557032"/>
              <a:gd name="connsiteX33190" fmla="*/ 424567 w 4610101"/>
              <a:gd name="connsiteY33190" fmla="*/ 644079 h 6557032"/>
              <a:gd name="connsiteX33191" fmla="*/ 430034 w 4610101"/>
              <a:gd name="connsiteY33191" fmla="*/ 658656 h 6557032"/>
              <a:gd name="connsiteX33192" fmla="*/ 424567 w 4610101"/>
              <a:gd name="connsiteY33192" fmla="*/ 649545 h 6557032"/>
              <a:gd name="connsiteX33193" fmla="*/ 428211 w 4610101"/>
              <a:gd name="connsiteY33193" fmla="*/ 649545 h 6557032"/>
              <a:gd name="connsiteX33194" fmla="*/ 424567 w 4610101"/>
              <a:gd name="connsiteY33194" fmla="*/ 644079 h 6557032"/>
              <a:gd name="connsiteX33195" fmla="*/ 411812 w 4610101"/>
              <a:gd name="connsiteY33195" fmla="*/ 644079 h 6557032"/>
              <a:gd name="connsiteX33196" fmla="*/ 417188 w 4610101"/>
              <a:gd name="connsiteY33196" fmla="*/ 651249 h 6557032"/>
              <a:gd name="connsiteX33197" fmla="*/ 417191 w 4610101"/>
              <a:gd name="connsiteY33197" fmla="*/ 651303 h 6557032"/>
              <a:gd name="connsiteX33198" fmla="*/ 413633 w 4610101"/>
              <a:gd name="connsiteY33198" fmla="*/ 648635 h 6557032"/>
              <a:gd name="connsiteX33199" fmla="*/ 410799 w 4610101"/>
              <a:gd name="connsiteY33199" fmla="*/ 645092 h 6557032"/>
              <a:gd name="connsiteX33200" fmla="*/ 236883 w 4610101"/>
              <a:gd name="connsiteY33200" fmla="*/ 644079 h 6557032"/>
              <a:gd name="connsiteX33201" fmla="*/ 242349 w 4610101"/>
              <a:gd name="connsiteY33201" fmla="*/ 662301 h 6557032"/>
              <a:gd name="connsiteX33202" fmla="*/ 236883 w 4610101"/>
              <a:gd name="connsiteY33202" fmla="*/ 644079 h 6557032"/>
              <a:gd name="connsiteX33203" fmla="*/ 165818 w 4610101"/>
              <a:gd name="connsiteY33203" fmla="*/ 644079 h 6557032"/>
              <a:gd name="connsiteX33204" fmla="*/ 169132 w 4610101"/>
              <a:gd name="connsiteY33204" fmla="*/ 645736 h 6557032"/>
              <a:gd name="connsiteX33205" fmla="*/ 173107 w 4610101"/>
              <a:gd name="connsiteY33205" fmla="*/ 655012 h 6557032"/>
              <a:gd name="connsiteX33206" fmla="*/ 168325 w 4610101"/>
              <a:gd name="connsiteY33206" fmla="*/ 648257 h 6557032"/>
              <a:gd name="connsiteX33207" fmla="*/ 1220858 w 4610101"/>
              <a:gd name="connsiteY33207" fmla="*/ 643168 h 6557032"/>
              <a:gd name="connsiteX33208" fmla="*/ 1211747 w 4610101"/>
              <a:gd name="connsiteY33208" fmla="*/ 644079 h 6557032"/>
              <a:gd name="connsiteX33209" fmla="*/ 1229969 w 4610101"/>
              <a:gd name="connsiteY33209" fmla="*/ 647723 h 6557032"/>
              <a:gd name="connsiteX33210" fmla="*/ 1220858 w 4610101"/>
              <a:gd name="connsiteY33210" fmla="*/ 643168 h 6557032"/>
              <a:gd name="connsiteX33211" fmla="*/ 3265336 w 4610101"/>
              <a:gd name="connsiteY33211" fmla="*/ 642257 h 6557032"/>
              <a:gd name="connsiteX33212" fmla="*/ 3261692 w 4610101"/>
              <a:gd name="connsiteY33212" fmla="*/ 649545 h 6557032"/>
              <a:gd name="connsiteX33213" fmla="*/ 3265336 w 4610101"/>
              <a:gd name="connsiteY33213" fmla="*/ 642257 h 6557032"/>
              <a:gd name="connsiteX33214" fmla="*/ 2880857 w 4610101"/>
              <a:gd name="connsiteY33214" fmla="*/ 642257 h 6557032"/>
              <a:gd name="connsiteX33215" fmla="*/ 2875391 w 4610101"/>
              <a:gd name="connsiteY33215" fmla="*/ 644079 h 6557032"/>
              <a:gd name="connsiteX33216" fmla="*/ 2880857 w 4610101"/>
              <a:gd name="connsiteY33216" fmla="*/ 642257 h 6557032"/>
              <a:gd name="connsiteX33217" fmla="*/ 1454095 w 4610101"/>
              <a:gd name="connsiteY33217" fmla="*/ 642257 h 6557032"/>
              <a:gd name="connsiteX33218" fmla="*/ 1449995 w 4610101"/>
              <a:gd name="connsiteY33218" fmla="*/ 649318 h 6557032"/>
              <a:gd name="connsiteX33219" fmla="*/ 1448365 w 4610101"/>
              <a:gd name="connsiteY33219" fmla="*/ 650676 h 6557032"/>
              <a:gd name="connsiteX33220" fmla="*/ 1437696 w 4610101"/>
              <a:gd name="connsiteY33220" fmla="*/ 642257 h 6557032"/>
              <a:gd name="connsiteX33221" fmla="*/ 1434051 w 4610101"/>
              <a:gd name="connsiteY33221" fmla="*/ 647723 h 6557032"/>
              <a:gd name="connsiteX33222" fmla="*/ 1437696 w 4610101"/>
              <a:gd name="connsiteY33222" fmla="*/ 642257 h 6557032"/>
              <a:gd name="connsiteX33223" fmla="*/ 1366632 w 4610101"/>
              <a:gd name="connsiteY33223" fmla="*/ 642257 h 6557032"/>
              <a:gd name="connsiteX33224" fmla="*/ 1370275 w 4610101"/>
              <a:gd name="connsiteY33224" fmla="*/ 656834 h 6557032"/>
              <a:gd name="connsiteX33225" fmla="*/ 1366632 w 4610101"/>
              <a:gd name="connsiteY33225" fmla="*/ 642257 h 6557032"/>
              <a:gd name="connsiteX33226" fmla="*/ 1319254 w 4610101"/>
              <a:gd name="connsiteY33226" fmla="*/ 642257 h 6557032"/>
              <a:gd name="connsiteX33227" fmla="*/ 1313788 w 4610101"/>
              <a:gd name="connsiteY33227" fmla="*/ 649545 h 6557032"/>
              <a:gd name="connsiteX33228" fmla="*/ 1319254 w 4610101"/>
              <a:gd name="connsiteY33228" fmla="*/ 642257 h 6557032"/>
              <a:gd name="connsiteX33229" fmla="*/ 1306499 w 4610101"/>
              <a:gd name="connsiteY33229" fmla="*/ 642257 h 6557032"/>
              <a:gd name="connsiteX33230" fmla="*/ 1304677 w 4610101"/>
              <a:gd name="connsiteY33230" fmla="*/ 644079 h 6557032"/>
              <a:gd name="connsiteX33231" fmla="*/ 1308321 w 4610101"/>
              <a:gd name="connsiteY33231" fmla="*/ 644079 h 6557032"/>
              <a:gd name="connsiteX33232" fmla="*/ 1306499 w 4610101"/>
              <a:gd name="connsiteY33232" fmla="*/ 642257 h 6557032"/>
              <a:gd name="connsiteX33233" fmla="*/ 1266411 w 4610101"/>
              <a:gd name="connsiteY33233" fmla="*/ 642257 h 6557032"/>
              <a:gd name="connsiteX33234" fmla="*/ 1260945 w 4610101"/>
              <a:gd name="connsiteY33234" fmla="*/ 651368 h 6557032"/>
              <a:gd name="connsiteX33235" fmla="*/ 1266411 w 4610101"/>
              <a:gd name="connsiteY33235" fmla="*/ 651368 h 6557032"/>
              <a:gd name="connsiteX33236" fmla="*/ 1268233 w 4610101"/>
              <a:gd name="connsiteY33236" fmla="*/ 655012 h 6557032"/>
              <a:gd name="connsiteX33237" fmla="*/ 1268005 w 4610101"/>
              <a:gd name="connsiteY33237" fmla="*/ 651140 h 6557032"/>
              <a:gd name="connsiteX33238" fmla="*/ 1266836 w 4610101"/>
              <a:gd name="connsiteY33238" fmla="*/ 647298 h 6557032"/>
              <a:gd name="connsiteX33239" fmla="*/ 1267777 w 4610101"/>
              <a:gd name="connsiteY33239" fmla="*/ 646357 h 6557032"/>
              <a:gd name="connsiteX33240" fmla="*/ 1267723 w 4610101"/>
              <a:gd name="connsiteY33240" fmla="*/ 646193 h 6557032"/>
              <a:gd name="connsiteX33241" fmla="*/ 1267778 w 4610101"/>
              <a:gd name="connsiteY33241" fmla="*/ 646129 h 6557032"/>
              <a:gd name="connsiteX33242" fmla="*/ 1267697 w 4610101"/>
              <a:gd name="connsiteY33242" fmla="*/ 646115 h 6557032"/>
              <a:gd name="connsiteX33243" fmla="*/ 193151 w 4610101"/>
              <a:gd name="connsiteY33243" fmla="*/ 642257 h 6557032"/>
              <a:gd name="connsiteX33244" fmla="*/ 200439 w 4610101"/>
              <a:gd name="connsiteY33244" fmla="*/ 658656 h 6557032"/>
              <a:gd name="connsiteX33245" fmla="*/ 193151 w 4610101"/>
              <a:gd name="connsiteY33245" fmla="*/ 642257 h 6557032"/>
              <a:gd name="connsiteX33246" fmla="*/ 3538662 w 4610101"/>
              <a:gd name="connsiteY33246" fmla="*/ 640435 h 6557032"/>
              <a:gd name="connsiteX33247" fmla="*/ 3536840 w 4610101"/>
              <a:gd name="connsiteY33247" fmla="*/ 645901 h 6557032"/>
              <a:gd name="connsiteX33248" fmla="*/ 3529551 w 4610101"/>
              <a:gd name="connsiteY33248" fmla="*/ 642257 h 6557032"/>
              <a:gd name="connsiteX33249" fmla="*/ 3529551 w 4610101"/>
              <a:gd name="connsiteY33249" fmla="*/ 653190 h 6557032"/>
              <a:gd name="connsiteX33250" fmla="*/ 3535018 w 4610101"/>
              <a:gd name="connsiteY33250" fmla="*/ 649545 h 6557032"/>
              <a:gd name="connsiteX33251" fmla="*/ 3540484 w 4610101"/>
              <a:gd name="connsiteY33251" fmla="*/ 664123 h 6557032"/>
              <a:gd name="connsiteX33252" fmla="*/ 3542306 w 4610101"/>
              <a:gd name="connsiteY33252" fmla="*/ 678700 h 6557032"/>
              <a:gd name="connsiteX33253" fmla="*/ 3535018 w 4610101"/>
              <a:gd name="connsiteY33253" fmla="*/ 675056 h 6557032"/>
              <a:gd name="connsiteX33254" fmla="*/ 3536840 w 4610101"/>
              <a:gd name="connsiteY33254" fmla="*/ 682345 h 6557032"/>
              <a:gd name="connsiteX33255" fmla="*/ 3553240 w 4610101"/>
              <a:gd name="connsiteY33255" fmla="*/ 684167 h 6557032"/>
              <a:gd name="connsiteX33256" fmla="*/ 3545951 w 4610101"/>
              <a:gd name="connsiteY33256" fmla="*/ 682345 h 6557032"/>
              <a:gd name="connsiteX33257" fmla="*/ 3544129 w 4610101"/>
              <a:gd name="connsiteY33257" fmla="*/ 662301 h 6557032"/>
              <a:gd name="connsiteX33258" fmla="*/ 3549595 w 4610101"/>
              <a:gd name="connsiteY33258" fmla="*/ 664123 h 6557032"/>
              <a:gd name="connsiteX33259" fmla="*/ 3551417 w 4610101"/>
              <a:gd name="connsiteY33259" fmla="*/ 645901 h 6557032"/>
              <a:gd name="connsiteX33260" fmla="*/ 3542306 w 4610101"/>
              <a:gd name="connsiteY33260" fmla="*/ 647723 h 6557032"/>
              <a:gd name="connsiteX33261" fmla="*/ 3538662 w 4610101"/>
              <a:gd name="connsiteY33261" fmla="*/ 640435 h 6557032"/>
              <a:gd name="connsiteX33262" fmla="*/ 2760594 w 4610101"/>
              <a:gd name="connsiteY33262" fmla="*/ 640435 h 6557032"/>
              <a:gd name="connsiteX33263" fmla="*/ 2763371 w 4610101"/>
              <a:gd name="connsiteY33263" fmla="*/ 644832 h 6557032"/>
              <a:gd name="connsiteX33264" fmla="*/ 2764238 w 4610101"/>
              <a:gd name="connsiteY33264" fmla="*/ 647723 h 6557032"/>
              <a:gd name="connsiteX33265" fmla="*/ 2760594 w 4610101"/>
              <a:gd name="connsiteY33265" fmla="*/ 643229 h 6557032"/>
              <a:gd name="connsiteX33266" fmla="*/ 2627575 w 4610101"/>
              <a:gd name="connsiteY33266" fmla="*/ 640435 h 6557032"/>
              <a:gd name="connsiteX33267" fmla="*/ 2633042 w 4610101"/>
              <a:gd name="connsiteY33267" fmla="*/ 647723 h 6557032"/>
              <a:gd name="connsiteX33268" fmla="*/ 2627575 w 4610101"/>
              <a:gd name="connsiteY33268" fmla="*/ 640435 h 6557032"/>
              <a:gd name="connsiteX33269" fmla="*/ 2352427 w 4610101"/>
              <a:gd name="connsiteY33269" fmla="*/ 640435 h 6557032"/>
              <a:gd name="connsiteX33270" fmla="*/ 2337850 w 4610101"/>
              <a:gd name="connsiteY33270" fmla="*/ 665945 h 6557032"/>
              <a:gd name="connsiteX33271" fmla="*/ 2339672 w 4610101"/>
              <a:gd name="connsiteY33271" fmla="*/ 655012 h 6557032"/>
              <a:gd name="connsiteX33272" fmla="*/ 2346960 w 4610101"/>
              <a:gd name="connsiteY33272" fmla="*/ 676878 h 6557032"/>
              <a:gd name="connsiteX33273" fmla="*/ 2343316 w 4610101"/>
              <a:gd name="connsiteY33273" fmla="*/ 669589 h 6557032"/>
              <a:gd name="connsiteX33274" fmla="*/ 2356071 w 4610101"/>
              <a:gd name="connsiteY33274" fmla="*/ 693278 h 6557032"/>
              <a:gd name="connsiteX33275" fmla="*/ 2354249 w 4610101"/>
              <a:gd name="connsiteY33275" fmla="*/ 684167 h 6557032"/>
              <a:gd name="connsiteX33276" fmla="*/ 2376115 w 4610101"/>
              <a:gd name="connsiteY33276" fmla="*/ 658656 h 6557032"/>
              <a:gd name="connsiteX33277" fmla="*/ 2368827 w 4610101"/>
              <a:gd name="connsiteY33277" fmla="*/ 645901 h 6557032"/>
              <a:gd name="connsiteX33278" fmla="*/ 2372471 w 4610101"/>
              <a:gd name="connsiteY33278" fmla="*/ 645901 h 6557032"/>
              <a:gd name="connsiteX33279" fmla="*/ 2352427 w 4610101"/>
              <a:gd name="connsiteY33279" fmla="*/ 640435 h 6557032"/>
              <a:gd name="connsiteX33280" fmla="*/ 1423118 w 4610101"/>
              <a:gd name="connsiteY33280" fmla="*/ 640435 h 6557032"/>
              <a:gd name="connsiteX33281" fmla="*/ 1419474 w 4610101"/>
              <a:gd name="connsiteY33281" fmla="*/ 647723 h 6557032"/>
              <a:gd name="connsiteX33282" fmla="*/ 1423118 w 4610101"/>
              <a:gd name="connsiteY33282" fmla="*/ 640435 h 6557032"/>
              <a:gd name="connsiteX33283" fmla="*/ 1195346 w 4610101"/>
              <a:gd name="connsiteY33283" fmla="*/ 640435 h 6557032"/>
              <a:gd name="connsiteX33284" fmla="*/ 1186600 w 4610101"/>
              <a:gd name="connsiteY33284" fmla="*/ 644808 h 6557032"/>
              <a:gd name="connsiteX33285" fmla="*/ 1184414 w 4610101"/>
              <a:gd name="connsiteY33285" fmla="*/ 644079 h 6557032"/>
              <a:gd name="connsiteX33286" fmla="*/ 1186017 w 4610101"/>
              <a:gd name="connsiteY33286" fmla="*/ 645100 h 6557032"/>
              <a:gd name="connsiteX33287" fmla="*/ 1173481 w 4610101"/>
              <a:gd name="connsiteY33287" fmla="*/ 651368 h 6557032"/>
              <a:gd name="connsiteX33288" fmla="*/ 1175303 w 4610101"/>
              <a:gd name="connsiteY33288" fmla="*/ 651368 h 6557032"/>
              <a:gd name="connsiteX33289" fmla="*/ 1162547 w 4610101"/>
              <a:gd name="connsiteY33289" fmla="*/ 664123 h 6557032"/>
              <a:gd name="connsiteX33290" fmla="*/ 1188058 w 4610101"/>
              <a:gd name="connsiteY33290" fmla="*/ 645901 h 6557032"/>
              <a:gd name="connsiteX33291" fmla="*/ 1186919 w 4610101"/>
              <a:gd name="connsiteY33291" fmla="*/ 645674 h 6557032"/>
              <a:gd name="connsiteX33292" fmla="*/ 1186017 w 4610101"/>
              <a:gd name="connsiteY33292" fmla="*/ 645100 h 6557032"/>
              <a:gd name="connsiteX33293" fmla="*/ 1186600 w 4610101"/>
              <a:gd name="connsiteY33293" fmla="*/ 644808 h 6557032"/>
              <a:gd name="connsiteX33294" fmla="*/ 1189880 w 4610101"/>
              <a:gd name="connsiteY33294" fmla="*/ 645901 h 6557032"/>
              <a:gd name="connsiteX33295" fmla="*/ 1195346 w 4610101"/>
              <a:gd name="connsiteY33295" fmla="*/ 640435 h 6557032"/>
              <a:gd name="connsiteX33296" fmla="*/ 1127926 w 4610101"/>
              <a:gd name="connsiteY33296" fmla="*/ 640435 h 6557032"/>
              <a:gd name="connsiteX33297" fmla="*/ 1127926 w 4610101"/>
              <a:gd name="connsiteY33297" fmla="*/ 644079 h 6557032"/>
              <a:gd name="connsiteX33298" fmla="*/ 1127926 w 4610101"/>
              <a:gd name="connsiteY33298" fmla="*/ 640435 h 6557032"/>
              <a:gd name="connsiteX33299" fmla="*/ 841845 w 4610101"/>
              <a:gd name="connsiteY33299" fmla="*/ 640435 h 6557032"/>
              <a:gd name="connsiteX33300" fmla="*/ 836378 w 4610101"/>
              <a:gd name="connsiteY33300" fmla="*/ 647723 h 6557032"/>
              <a:gd name="connsiteX33301" fmla="*/ 841845 w 4610101"/>
              <a:gd name="connsiteY33301" fmla="*/ 640435 h 6557032"/>
              <a:gd name="connsiteX33302" fmla="*/ 761670 w 4610101"/>
              <a:gd name="connsiteY33302" fmla="*/ 640435 h 6557032"/>
              <a:gd name="connsiteX33303" fmla="*/ 767136 w 4610101"/>
              <a:gd name="connsiteY33303" fmla="*/ 653190 h 6557032"/>
              <a:gd name="connsiteX33304" fmla="*/ 761670 w 4610101"/>
              <a:gd name="connsiteY33304" fmla="*/ 640435 h 6557032"/>
              <a:gd name="connsiteX33305" fmla="*/ 657805 w 4610101"/>
              <a:gd name="connsiteY33305" fmla="*/ 640435 h 6557032"/>
              <a:gd name="connsiteX33306" fmla="*/ 655983 w 4610101"/>
              <a:gd name="connsiteY33306" fmla="*/ 647723 h 6557032"/>
              <a:gd name="connsiteX33307" fmla="*/ 661449 w 4610101"/>
              <a:gd name="connsiteY33307" fmla="*/ 644079 h 6557032"/>
              <a:gd name="connsiteX33308" fmla="*/ 657805 w 4610101"/>
              <a:gd name="connsiteY33308" fmla="*/ 640435 h 6557032"/>
              <a:gd name="connsiteX33309" fmla="*/ 479232 w 4610101"/>
              <a:gd name="connsiteY33309" fmla="*/ 640435 h 6557032"/>
              <a:gd name="connsiteX33310" fmla="*/ 486521 w 4610101"/>
              <a:gd name="connsiteY33310" fmla="*/ 653190 h 6557032"/>
              <a:gd name="connsiteX33311" fmla="*/ 479232 w 4610101"/>
              <a:gd name="connsiteY33311" fmla="*/ 640435 h 6557032"/>
              <a:gd name="connsiteX33312" fmla="*/ 455544 w 4610101"/>
              <a:gd name="connsiteY33312" fmla="*/ 640435 h 6557032"/>
              <a:gd name="connsiteX33313" fmla="*/ 462832 w 4610101"/>
              <a:gd name="connsiteY33313" fmla="*/ 645901 h 6557032"/>
              <a:gd name="connsiteX33314" fmla="*/ 455544 w 4610101"/>
              <a:gd name="connsiteY33314" fmla="*/ 640435 h 6557032"/>
              <a:gd name="connsiteX33315" fmla="*/ 220483 w 4610101"/>
              <a:gd name="connsiteY33315" fmla="*/ 640435 h 6557032"/>
              <a:gd name="connsiteX33316" fmla="*/ 224128 w 4610101"/>
              <a:gd name="connsiteY33316" fmla="*/ 656834 h 6557032"/>
              <a:gd name="connsiteX33317" fmla="*/ 245994 w 4610101"/>
              <a:gd name="connsiteY33317" fmla="*/ 687811 h 6557032"/>
              <a:gd name="connsiteX33318" fmla="*/ 220483 w 4610101"/>
              <a:gd name="connsiteY33318" fmla="*/ 640435 h 6557032"/>
              <a:gd name="connsiteX33319" fmla="*/ 138486 w 4610101"/>
              <a:gd name="connsiteY33319" fmla="*/ 640435 h 6557032"/>
              <a:gd name="connsiteX33320" fmla="*/ 147596 w 4610101"/>
              <a:gd name="connsiteY33320" fmla="*/ 655012 h 6557032"/>
              <a:gd name="connsiteX33321" fmla="*/ 145774 w 4610101"/>
              <a:gd name="connsiteY33321" fmla="*/ 655012 h 6557032"/>
              <a:gd name="connsiteX33322" fmla="*/ 162174 w 4610101"/>
              <a:gd name="connsiteY33322" fmla="*/ 678700 h 6557032"/>
              <a:gd name="connsiteX33323" fmla="*/ 167640 w 4610101"/>
              <a:gd name="connsiteY33323" fmla="*/ 682345 h 6557032"/>
              <a:gd name="connsiteX33324" fmla="*/ 160352 w 4610101"/>
              <a:gd name="connsiteY33324" fmla="*/ 665945 h 6557032"/>
              <a:gd name="connsiteX33325" fmla="*/ 173107 w 4610101"/>
              <a:gd name="connsiteY33325" fmla="*/ 678700 h 6557032"/>
              <a:gd name="connsiteX33326" fmla="*/ 138486 w 4610101"/>
              <a:gd name="connsiteY33326" fmla="*/ 640435 h 6557032"/>
              <a:gd name="connsiteX33327" fmla="*/ 125730 w 4610101"/>
              <a:gd name="connsiteY33327" fmla="*/ 640435 h 6557032"/>
              <a:gd name="connsiteX33328" fmla="*/ 142130 w 4610101"/>
              <a:gd name="connsiteY33328" fmla="*/ 676878 h 6557032"/>
              <a:gd name="connsiteX33329" fmla="*/ 149944 w 4610101"/>
              <a:gd name="connsiteY33329" fmla="*/ 693216 h 6557032"/>
              <a:gd name="connsiteX33330" fmla="*/ 147596 w 4610101"/>
              <a:gd name="connsiteY33330" fmla="*/ 691455 h 6557032"/>
              <a:gd name="connsiteX33331" fmla="*/ 151505 w 4610101"/>
              <a:gd name="connsiteY33331" fmla="*/ 696482 h 6557032"/>
              <a:gd name="connsiteX33332" fmla="*/ 162174 w 4610101"/>
              <a:gd name="connsiteY33332" fmla="*/ 718788 h 6557032"/>
              <a:gd name="connsiteX33333" fmla="*/ 156707 w 4610101"/>
              <a:gd name="connsiteY33333" fmla="*/ 706033 h 6557032"/>
              <a:gd name="connsiteX33334" fmla="*/ 160352 w 4610101"/>
              <a:gd name="connsiteY33334" fmla="*/ 707855 h 6557032"/>
              <a:gd name="connsiteX33335" fmla="*/ 151505 w 4610101"/>
              <a:gd name="connsiteY33335" fmla="*/ 696482 h 6557032"/>
              <a:gd name="connsiteX33336" fmla="*/ 149944 w 4610101"/>
              <a:gd name="connsiteY33336" fmla="*/ 693216 h 6557032"/>
              <a:gd name="connsiteX33337" fmla="*/ 154885 w 4610101"/>
              <a:gd name="connsiteY33337" fmla="*/ 696922 h 6557032"/>
              <a:gd name="connsiteX33338" fmla="*/ 149419 w 4610101"/>
              <a:gd name="connsiteY33338" fmla="*/ 684167 h 6557032"/>
              <a:gd name="connsiteX33339" fmla="*/ 149419 w 4610101"/>
              <a:gd name="connsiteY33339" fmla="*/ 689633 h 6557032"/>
              <a:gd name="connsiteX33340" fmla="*/ 142130 w 4610101"/>
              <a:gd name="connsiteY33340" fmla="*/ 676878 h 6557032"/>
              <a:gd name="connsiteX33341" fmla="*/ 141095 w 4610101"/>
              <a:gd name="connsiteY33341" fmla="*/ 672116 h 6557032"/>
              <a:gd name="connsiteX33342" fmla="*/ 143269 w 4610101"/>
              <a:gd name="connsiteY33342" fmla="*/ 675739 h 6557032"/>
              <a:gd name="connsiteX33343" fmla="*/ 149419 w 4610101"/>
              <a:gd name="connsiteY33343" fmla="*/ 682345 h 6557032"/>
              <a:gd name="connsiteX33344" fmla="*/ 125730 w 4610101"/>
              <a:gd name="connsiteY33344" fmla="*/ 640435 h 6557032"/>
              <a:gd name="connsiteX33345" fmla="*/ 2775784 w 4610101"/>
              <a:gd name="connsiteY33345" fmla="*/ 640330 h 6557032"/>
              <a:gd name="connsiteX33346" fmla="*/ 2776993 w 4610101"/>
              <a:gd name="connsiteY33346" fmla="*/ 640435 h 6557032"/>
              <a:gd name="connsiteX33347" fmla="*/ 2777479 w 4610101"/>
              <a:gd name="connsiteY33347" fmla="*/ 643350 h 6557032"/>
              <a:gd name="connsiteX33348" fmla="*/ 2776993 w 4610101"/>
              <a:gd name="connsiteY33348" fmla="*/ 644079 h 6557032"/>
              <a:gd name="connsiteX33349" fmla="*/ 2385682 w 4610101"/>
              <a:gd name="connsiteY33349" fmla="*/ 639751 h 6557032"/>
              <a:gd name="connsiteX33350" fmla="*/ 2381582 w 4610101"/>
              <a:gd name="connsiteY33350" fmla="*/ 642257 h 6557032"/>
              <a:gd name="connsiteX33351" fmla="*/ 2387048 w 4610101"/>
              <a:gd name="connsiteY33351" fmla="*/ 644079 h 6557032"/>
              <a:gd name="connsiteX33352" fmla="*/ 2385682 w 4610101"/>
              <a:gd name="connsiteY33352" fmla="*/ 639751 h 6557032"/>
              <a:gd name="connsiteX33353" fmla="*/ 941812 w 4610101"/>
              <a:gd name="connsiteY33353" fmla="*/ 639144 h 6557032"/>
              <a:gd name="connsiteX33354" fmla="*/ 943886 w 4610101"/>
              <a:gd name="connsiteY33354" fmla="*/ 642257 h 6557032"/>
              <a:gd name="connsiteX33355" fmla="*/ 942018 w 4610101"/>
              <a:gd name="connsiteY33355" fmla="*/ 643191 h 6557032"/>
              <a:gd name="connsiteX33356" fmla="*/ 3254403 w 4610101"/>
              <a:gd name="connsiteY33356" fmla="*/ 638612 h 6557032"/>
              <a:gd name="connsiteX33357" fmla="*/ 3259869 w 4610101"/>
              <a:gd name="connsiteY33357" fmla="*/ 644079 h 6557032"/>
              <a:gd name="connsiteX33358" fmla="*/ 3254403 w 4610101"/>
              <a:gd name="connsiteY33358" fmla="*/ 638612 h 6557032"/>
              <a:gd name="connsiteX33359" fmla="*/ 3053964 w 4610101"/>
              <a:gd name="connsiteY33359" fmla="*/ 638612 h 6557032"/>
              <a:gd name="connsiteX33360" fmla="*/ 3057608 w 4610101"/>
              <a:gd name="connsiteY33360" fmla="*/ 644079 h 6557032"/>
              <a:gd name="connsiteX33361" fmla="*/ 3057608 w 4610101"/>
              <a:gd name="connsiteY33361" fmla="*/ 638612 h 6557032"/>
              <a:gd name="connsiteX33362" fmla="*/ 3053964 w 4610101"/>
              <a:gd name="connsiteY33362" fmla="*/ 638612 h 6557032"/>
              <a:gd name="connsiteX33363" fmla="*/ 2510956 w 4610101"/>
              <a:gd name="connsiteY33363" fmla="*/ 638612 h 6557032"/>
              <a:gd name="connsiteX33364" fmla="*/ 2510956 w 4610101"/>
              <a:gd name="connsiteY33364" fmla="*/ 640435 h 6557032"/>
              <a:gd name="connsiteX33365" fmla="*/ 2514600 w 4610101"/>
              <a:gd name="connsiteY33365" fmla="*/ 642257 h 6557032"/>
              <a:gd name="connsiteX33366" fmla="*/ 2510956 w 4610101"/>
              <a:gd name="connsiteY33366" fmla="*/ 638612 h 6557032"/>
              <a:gd name="connsiteX33367" fmla="*/ 1239080 w 4610101"/>
              <a:gd name="connsiteY33367" fmla="*/ 638612 h 6557032"/>
              <a:gd name="connsiteX33368" fmla="*/ 1237256 w 4610101"/>
              <a:gd name="connsiteY33368" fmla="*/ 642257 h 6557032"/>
              <a:gd name="connsiteX33369" fmla="*/ 1240901 w 4610101"/>
              <a:gd name="connsiteY33369" fmla="*/ 642257 h 6557032"/>
              <a:gd name="connsiteX33370" fmla="*/ 1239080 w 4610101"/>
              <a:gd name="connsiteY33370" fmla="*/ 638612 h 6557032"/>
              <a:gd name="connsiteX33371" fmla="*/ 1146148 w 4610101"/>
              <a:gd name="connsiteY33371" fmla="*/ 638612 h 6557032"/>
              <a:gd name="connsiteX33372" fmla="*/ 1135215 w 4610101"/>
              <a:gd name="connsiteY33372" fmla="*/ 649545 h 6557032"/>
              <a:gd name="connsiteX33373" fmla="*/ 1146148 w 4610101"/>
              <a:gd name="connsiteY33373" fmla="*/ 638612 h 6557032"/>
              <a:gd name="connsiteX33374" fmla="*/ 1098771 w 4610101"/>
              <a:gd name="connsiteY33374" fmla="*/ 638612 h 6557032"/>
              <a:gd name="connsiteX33375" fmla="*/ 1095127 w 4610101"/>
              <a:gd name="connsiteY33375" fmla="*/ 645901 h 6557032"/>
              <a:gd name="connsiteX33376" fmla="*/ 1098771 w 4610101"/>
              <a:gd name="connsiteY33376" fmla="*/ 638612 h 6557032"/>
              <a:gd name="connsiteX33377" fmla="*/ 767136 w 4610101"/>
              <a:gd name="connsiteY33377" fmla="*/ 638612 h 6557032"/>
              <a:gd name="connsiteX33378" fmla="*/ 770781 w 4610101"/>
              <a:gd name="connsiteY33378" fmla="*/ 649545 h 6557032"/>
              <a:gd name="connsiteX33379" fmla="*/ 767136 w 4610101"/>
              <a:gd name="connsiteY33379" fmla="*/ 638612 h 6557032"/>
              <a:gd name="connsiteX33380" fmla="*/ 655983 w 4610101"/>
              <a:gd name="connsiteY33380" fmla="*/ 638612 h 6557032"/>
              <a:gd name="connsiteX33381" fmla="*/ 652339 w 4610101"/>
              <a:gd name="connsiteY33381" fmla="*/ 642257 h 6557032"/>
              <a:gd name="connsiteX33382" fmla="*/ 655983 w 4610101"/>
              <a:gd name="connsiteY33382" fmla="*/ 638612 h 6557032"/>
              <a:gd name="connsiteX33383" fmla="*/ 331636 w 4610101"/>
              <a:gd name="connsiteY33383" fmla="*/ 638612 h 6557032"/>
              <a:gd name="connsiteX33384" fmla="*/ 338926 w 4610101"/>
              <a:gd name="connsiteY33384" fmla="*/ 645901 h 6557032"/>
              <a:gd name="connsiteX33385" fmla="*/ 331636 w 4610101"/>
              <a:gd name="connsiteY33385" fmla="*/ 638612 h 6557032"/>
              <a:gd name="connsiteX33386" fmla="*/ 282438 w 4610101"/>
              <a:gd name="connsiteY33386" fmla="*/ 638612 h 6557032"/>
              <a:gd name="connsiteX33387" fmla="*/ 283803 w 4610101"/>
              <a:gd name="connsiteY33387" fmla="*/ 646813 h 6557032"/>
              <a:gd name="connsiteX33388" fmla="*/ 283463 w 4610101"/>
              <a:gd name="connsiteY33388" fmla="*/ 646129 h 6557032"/>
              <a:gd name="connsiteX33389" fmla="*/ 282666 w 4610101"/>
              <a:gd name="connsiteY33389" fmla="*/ 642712 h 6557032"/>
              <a:gd name="connsiteX33390" fmla="*/ 282438 w 4610101"/>
              <a:gd name="connsiteY33390" fmla="*/ 638612 h 6557032"/>
              <a:gd name="connsiteX33391" fmla="*/ 2757726 w 4610101"/>
              <a:gd name="connsiteY33391" fmla="*/ 637002 h 6557032"/>
              <a:gd name="connsiteX33392" fmla="*/ 2757405 w 4610101"/>
              <a:gd name="connsiteY33392" fmla="*/ 639296 h 6557032"/>
              <a:gd name="connsiteX33393" fmla="*/ 2760594 w 4610101"/>
              <a:gd name="connsiteY33393" fmla="*/ 643229 h 6557032"/>
              <a:gd name="connsiteX33394" fmla="*/ 2760594 w 4610101"/>
              <a:gd name="connsiteY33394" fmla="*/ 647723 h 6557032"/>
              <a:gd name="connsiteX33395" fmla="*/ 2756950 w 4610101"/>
              <a:gd name="connsiteY33395" fmla="*/ 640435 h 6557032"/>
              <a:gd name="connsiteX33396" fmla="*/ 2341494 w 4610101"/>
              <a:gd name="connsiteY33396" fmla="*/ 636790 h 6557032"/>
              <a:gd name="connsiteX33397" fmla="*/ 2334205 w 4610101"/>
              <a:gd name="connsiteY33397" fmla="*/ 640435 h 6557032"/>
              <a:gd name="connsiteX33398" fmla="*/ 2341494 w 4610101"/>
              <a:gd name="connsiteY33398" fmla="*/ 636790 h 6557032"/>
              <a:gd name="connsiteX33399" fmla="*/ 1273700 w 4610101"/>
              <a:gd name="connsiteY33399" fmla="*/ 636790 h 6557032"/>
              <a:gd name="connsiteX33400" fmla="*/ 1271878 w 4610101"/>
              <a:gd name="connsiteY33400" fmla="*/ 647723 h 6557032"/>
              <a:gd name="connsiteX33401" fmla="*/ 1275522 w 4610101"/>
              <a:gd name="connsiteY33401" fmla="*/ 651368 h 6557032"/>
              <a:gd name="connsiteX33402" fmla="*/ 1277344 w 4610101"/>
              <a:gd name="connsiteY33402" fmla="*/ 649545 h 6557032"/>
              <a:gd name="connsiteX33403" fmla="*/ 1278710 w 4610101"/>
              <a:gd name="connsiteY33403" fmla="*/ 652279 h 6557032"/>
              <a:gd name="connsiteX33404" fmla="*/ 1278255 w 4610101"/>
              <a:gd name="connsiteY33404" fmla="*/ 653190 h 6557032"/>
              <a:gd name="connsiteX33405" fmla="*/ 1275522 w 4610101"/>
              <a:gd name="connsiteY33405" fmla="*/ 653190 h 6557032"/>
              <a:gd name="connsiteX33406" fmla="*/ 1277344 w 4610101"/>
              <a:gd name="connsiteY33406" fmla="*/ 655012 h 6557032"/>
              <a:gd name="connsiteX33407" fmla="*/ 1278255 w 4610101"/>
              <a:gd name="connsiteY33407" fmla="*/ 653190 h 6557032"/>
              <a:gd name="connsiteX33408" fmla="*/ 1279166 w 4610101"/>
              <a:gd name="connsiteY33408" fmla="*/ 653190 h 6557032"/>
              <a:gd name="connsiteX33409" fmla="*/ 1278710 w 4610101"/>
              <a:gd name="connsiteY33409" fmla="*/ 652279 h 6557032"/>
              <a:gd name="connsiteX33410" fmla="*/ 1279166 w 4610101"/>
              <a:gd name="connsiteY33410" fmla="*/ 651368 h 6557032"/>
              <a:gd name="connsiteX33411" fmla="*/ 1282811 w 4610101"/>
              <a:gd name="connsiteY33411" fmla="*/ 636790 h 6557032"/>
              <a:gd name="connsiteX33412" fmla="*/ 1273700 w 4610101"/>
              <a:gd name="connsiteY33412" fmla="*/ 636790 h 6557032"/>
              <a:gd name="connsiteX33413" fmla="*/ 1237256 w 4610101"/>
              <a:gd name="connsiteY33413" fmla="*/ 636790 h 6557032"/>
              <a:gd name="connsiteX33414" fmla="*/ 1215390 w 4610101"/>
              <a:gd name="connsiteY33414" fmla="*/ 642257 h 6557032"/>
              <a:gd name="connsiteX33415" fmla="*/ 1231790 w 4610101"/>
              <a:gd name="connsiteY33415" fmla="*/ 642257 h 6557032"/>
              <a:gd name="connsiteX33416" fmla="*/ 1229969 w 4610101"/>
              <a:gd name="connsiteY33416" fmla="*/ 638612 h 6557032"/>
              <a:gd name="connsiteX33417" fmla="*/ 1233612 w 4610101"/>
              <a:gd name="connsiteY33417" fmla="*/ 644079 h 6557032"/>
              <a:gd name="connsiteX33418" fmla="*/ 1237256 w 4610101"/>
              <a:gd name="connsiteY33418" fmla="*/ 636790 h 6557032"/>
              <a:gd name="connsiteX33419" fmla="*/ 1215390 w 4610101"/>
              <a:gd name="connsiteY33419" fmla="*/ 636790 h 6557032"/>
              <a:gd name="connsiteX33420" fmla="*/ 1211747 w 4610101"/>
              <a:gd name="connsiteY33420" fmla="*/ 638612 h 6557032"/>
              <a:gd name="connsiteX33421" fmla="*/ 1213568 w 4610101"/>
              <a:gd name="connsiteY33421" fmla="*/ 640435 h 6557032"/>
              <a:gd name="connsiteX33422" fmla="*/ 1215390 w 4610101"/>
              <a:gd name="connsiteY33422" fmla="*/ 636790 h 6557032"/>
              <a:gd name="connsiteX33423" fmla="*/ 1166192 w 4610101"/>
              <a:gd name="connsiteY33423" fmla="*/ 636790 h 6557032"/>
              <a:gd name="connsiteX33424" fmla="*/ 1158903 w 4610101"/>
              <a:gd name="connsiteY33424" fmla="*/ 655012 h 6557032"/>
              <a:gd name="connsiteX33425" fmla="*/ 1166192 w 4610101"/>
              <a:gd name="connsiteY33425" fmla="*/ 636790 h 6557032"/>
              <a:gd name="connsiteX33426" fmla="*/ 1164370 w 4610101"/>
              <a:gd name="connsiteY33426" fmla="*/ 636790 h 6557032"/>
              <a:gd name="connsiteX33427" fmla="*/ 1157081 w 4610101"/>
              <a:gd name="connsiteY33427" fmla="*/ 645901 h 6557032"/>
              <a:gd name="connsiteX33428" fmla="*/ 1158903 w 4610101"/>
              <a:gd name="connsiteY33428" fmla="*/ 649545 h 6557032"/>
              <a:gd name="connsiteX33429" fmla="*/ 1164370 w 4610101"/>
              <a:gd name="connsiteY33429" fmla="*/ 636790 h 6557032"/>
              <a:gd name="connsiteX33430" fmla="*/ 1157081 w 4610101"/>
              <a:gd name="connsiteY33430" fmla="*/ 636790 h 6557032"/>
              <a:gd name="connsiteX33431" fmla="*/ 1158903 w 4610101"/>
              <a:gd name="connsiteY33431" fmla="*/ 640435 h 6557032"/>
              <a:gd name="connsiteX33432" fmla="*/ 1160725 w 4610101"/>
              <a:gd name="connsiteY33432" fmla="*/ 638612 h 6557032"/>
              <a:gd name="connsiteX33433" fmla="*/ 1157081 w 4610101"/>
              <a:gd name="connsiteY33433" fmla="*/ 636790 h 6557032"/>
              <a:gd name="connsiteX33434" fmla="*/ 1153436 w 4610101"/>
              <a:gd name="connsiteY33434" fmla="*/ 636790 h 6557032"/>
              <a:gd name="connsiteX33435" fmla="*/ 1138859 w 4610101"/>
              <a:gd name="connsiteY33435" fmla="*/ 647723 h 6557032"/>
              <a:gd name="connsiteX33436" fmla="*/ 1140681 w 4610101"/>
              <a:gd name="connsiteY33436" fmla="*/ 649545 h 6557032"/>
              <a:gd name="connsiteX33437" fmla="*/ 1122459 w 4610101"/>
              <a:gd name="connsiteY33437" fmla="*/ 671411 h 6557032"/>
              <a:gd name="connsiteX33438" fmla="*/ 1127926 w 4610101"/>
              <a:gd name="connsiteY33438" fmla="*/ 667767 h 6557032"/>
              <a:gd name="connsiteX33439" fmla="*/ 1126104 w 4610101"/>
              <a:gd name="connsiteY33439" fmla="*/ 669589 h 6557032"/>
              <a:gd name="connsiteX33440" fmla="*/ 1133393 w 4610101"/>
              <a:gd name="connsiteY33440" fmla="*/ 664123 h 6557032"/>
              <a:gd name="connsiteX33441" fmla="*/ 1133393 w 4610101"/>
              <a:gd name="connsiteY33441" fmla="*/ 667767 h 6557032"/>
              <a:gd name="connsiteX33442" fmla="*/ 1142503 w 4610101"/>
              <a:gd name="connsiteY33442" fmla="*/ 656834 h 6557032"/>
              <a:gd name="connsiteX33443" fmla="*/ 1146148 w 4610101"/>
              <a:gd name="connsiteY33443" fmla="*/ 658656 h 6557032"/>
              <a:gd name="connsiteX33444" fmla="*/ 1144326 w 4610101"/>
              <a:gd name="connsiteY33444" fmla="*/ 649545 h 6557032"/>
              <a:gd name="connsiteX33445" fmla="*/ 1149792 w 4610101"/>
              <a:gd name="connsiteY33445" fmla="*/ 655012 h 6557032"/>
              <a:gd name="connsiteX33446" fmla="*/ 1155259 w 4610101"/>
              <a:gd name="connsiteY33446" fmla="*/ 640435 h 6557032"/>
              <a:gd name="connsiteX33447" fmla="*/ 1153436 w 4610101"/>
              <a:gd name="connsiteY33447" fmla="*/ 636790 h 6557032"/>
              <a:gd name="connsiteX33448" fmla="*/ 1100593 w 4610101"/>
              <a:gd name="connsiteY33448" fmla="*/ 636790 h 6557032"/>
              <a:gd name="connsiteX33449" fmla="*/ 1100593 w 4610101"/>
              <a:gd name="connsiteY33449" fmla="*/ 642257 h 6557032"/>
              <a:gd name="connsiteX33450" fmla="*/ 1096949 w 4610101"/>
              <a:gd name="connsiteY33450" fmla="*/ 647723 h 6557032"/>
              <a:gd name="connsiteX33451" fmla="*/ 1102416 w 4610101"/>
              <a:gd name="connsiteY33451" fmla="*/ 642257 h 6557032"/>
              <a:gd name="connsiteX33452" fmla="*/ 1100593 w 4610101"/>
              <a:gd name="connsiteY33452" fmla="*/ 636790 h 6557032"/>
              <a:gd name="connsiteX33453" fmla="*/ 1051395 w 4610101"/>
              <a:gd name="connsiteY33453" fmla="*/ 636790 h 6557032"/>
              <a:gd name="connsiteX33454" fmla="*/ 1045929 w 4610101"/>
              <a:gd name="connsiteY33454" fmla="*/ 645901 h 6557032"/>
              <a:gd name="connsiteX33455" fmla="*/ 1051395 w 4610101"/>
              <a:gd name="connsiteY33455" fmla="*/ 636790 h 6557032"/>
              <a:gd name="connsiteX33456" fmla="*/ 597673 w 4610101"/>
              <a:gd name="connsiteY33456" fmla="*/ 636790 h 6557032"/>
              <a:gd name="connsiteX33457" fmla="*/ 595852 w 4610101"/>
              <a:gd name="connsiteY33457" fmla="*/ 640435 h 6557032"/>
              <a:gd name="connsiteX33458" fmla="*/ 597673 w 4610101"/>
              <a:gd name="connsiteY33458" fmla="*/ 636790 h 6557032"/>
              <a:gd name="connsiteX33459" fmla="*/ 384479 w 4610101"/>
              <a:gd name="connsiteY33459" fmla="*/ 636790 h 6557032"/>
              <a:gd name="connsiteX33460" fmla="*/ 389946 w 4610101"/>
              <a:gd name="connsiteY33460" fmla="*/ 644079 h 6557032"/>
              <a:gd name="connsiteX33461" fmla="*/ 389946 w 4610101"/>
              <a:gd name="connsiteY33461" fmla="*/ 642257 h 6557032"/>
              <a:gd name="connsiteX33462" fmla="*/ 384479 w 4610101"/>
              <a:gd name="connsiteY33462" fmla="*/ 636790 h 6557032"/>
              <a:gd name="connsiteX33463" fmla="*/ 340747 w 4610101"/>
              <a:gd name="connsiteY33463" fmla="*/ 636790 h 6557032"/>
              <a:gd name="connsiteX33464" fmla="*/ 342569 w 4610101"/>
              <a:gd name="connsiteY33464" fmla="*/ 642257 h 6557032"/>
              <a:gd name="connsiteX33465" fmla="*/ 340747 w 4610101"/>
              <a:gd name="connsiteY33465" fmla="*/ 636790 h 6557032"/>
              <a:gd name="connsiteX33466" fmla="*/ 1043665 w 4610101"/>
              <a:gd name="connsiteY33466" fmla="*/ 636515 h 6557032"/>
              <a:gd name="connsiteX33467" fmla="*/ 1043821 w 4610101"/>
              <a:gd name="connsiteY33467" fmla="*/ 638539 h 6557032"/>
              <a:gd name="connsiteX33468" fmla="*/ 1043650 w 4610101"/>
              <a:gd name="connsiteY33468" fmla="*/ 640663 h 6557032"/>
              <a:gd name="connsiteX33469" fmla="*/ 1043359 w 4610101"/>
              <a:gd name="connsiteY33469" fmla="*/ 641309 h 6557032"/>
              <a:gd name="connsiteX33470" fmla="*/ 1042578 w 4610101"/>
              <a:gd name="connsiteY33470" fmla="*/ 640318 h 6557032"/>
              <a:gd name="connsiteX33471" fmla="*/ 2586491 w 4610101"/>
              <a:gd name="connsiteY33471" fmla="*/ 636392 h 6557032"/>
              <a:gd name="connsiteX33472" fmla="*/ 2572910 w 4610101"/>
              <a:gd name="connsiteY33472" fmla="*/ 644079 h 6557032"/>
              <a:gd name="connsiteX33473" fmla="*/ 2591132 w 4610101"/>
              <a:gd name="connsiteY33473" fmla="*/ 642257 h 6557032"/>
              <a:gd name="connsiteX33474" fmla="*/ 2586491 w 4610101"/>
              <a:gd name="connsiteY33474" fmla="*/ 636392 h 6557032"/>
              <a:gd name="connsiteX33475" fmla="*/ 3343690 w 4610101"/>
              <a:gd name="connsiteY33475" fmla="*/ 634968 h 6557032"/>
              <a:gd name="connsiteX33476" fmla="*/ 3354623 w 4610101"/>
              <a:gd name="connsiteY33476" fmla="*/ 638612 h 6557032"/>
              <a:gd name="connsiteX33477" fmla="*/ 3343690 w 4610101"/>
              <a:gd name="connsiteY33477" fmla="*/ 634968 h 6557032"/>
              <a:gd name="connsiteX33478" fmla="*/ 3258047 w 4610101"/>
              <a:gd name="connsiteY33478" fmla="*/ 634968 h 6557032"/>
              <a:gd name="connsiteX33479" fmla="*/ 3263514 w 4610101"/>
              <a:gd name="connsiteY33479" fmla="*/ 640435 h 6557032"/>
              <a:gd name="connsiteX33480" fmla="*/ 3265336 w 4610101"/>
              <a:gd name="connsiteY33480" fmla="*/ 636790 h 6557032"/>
              <a:gd name="connsiteX33481" fmla="*/ 3258047 w 4610101"/>
              <a:gd name="connsiteY33481" fmla="*/ 634968 h 6557032"/>
              <a:gd name="connsiteX33482" fmla="*/ 635939 w 4610101"/>
              <a:gd name="connsiteY33482" fmla="*/ 634968 h 6557032"/>
              <a:gd name="connsiteX33483" fmla="*/ 626828 w 4610101"/>
              <a:gd name="connsiteY33483" fmla="*/ 645901 h 6557032"/>
              <a:gd name="connsiteX33484" fmla="*/ 639583 w 4610101"/>
              <a:gd name="connsiteY33484" fmla="*/ 651368 h 6557032"/>
              <a:gd name="connsiteX33485" fmla="*/ 645050 w 4610101"/>
              <a:gd name="connsiteY33485" fmla="*/ 638612 h 6557032"/>
              <a:gd name="connsiteX33486" fmla="*/ 635939 w 4610101"/>
              <a:gd name="connsiteY33486" fmla="*/ 634968 h 6557032"/>
              <a:gd name="connsiteX33487" fmla="*/ 451899 w 4610101"/>
              <a:gd name="connsiteY33487" fmla="*/ 634968 h 6557032"/>
              <a:gd name="connsiteX33488" fmla="*/ 450077 w 4610101"/>
              <a:gd name="connsiteY33488" fmla="*/ 640435 h 6557032"/>
              <a:gd name="connsiteX33489" fmla="*/ 451899 w 4610101"/>
              <a:gd name="connsiteY33489" fmla="*/ 640435 h 6557032"/>
              <a:gd name="connsiteX33490" fmla="*/ 451899 w 4610101"/>
              <a:gd name="connsiteY33490" fmla="*/ 634968 h 6557032"/>
              <a:gd name="connsiteX33491" fmla="*/ 349858 w 4610101"/>
              <a:gd name="connsiteY33491" fmla="*/ 634968 h 6557032"/>
              <a:gd name="connsiteX33492" fmla="*/ 353502 w 4610101"/>
              <a:gd name="connsiteY33492" fmla="*/ 647723 h 6557032"/>
              <a:gd name="connsiteX33493" fmla="*/ 357146 w 4610101"/>
              <a:gd name="connsiteY33493" fmla="*/ 638612 h 6557032"/>
              <a:gd name="connsiteX33494" fmla="*/ 349858 w 4610101"/>
              <a:gd name="connsiteY33494" fmla="*/ 634968 h 6557032"/>
              <a:gd name="connsiteX33495" fmla="*/ 218661 w 4610101"/>
              <a:gd name="connsiteY33495" fmla="*/ 634968 h 6557032"/>
              <a:gd name="connsiteX33496" fmla="*/ 218739 w 4610101"/>
              <a:gd name="connsiteY33496" fmla="*/ 635202 h 6557032"/>
              <a:gd name="connsiteX33497" fmla="*/ 219298 w 4610101"/>
              <a:gd name="connsiteY33497" fmla="*/ 639799 h 6557032"/>
              <a:gd name="connsiteX33498" fmla="*/ 218661 w 4610101"/>
              <a:gd name="connsiteY33498" fmla="*/ 640435 h 6557032"/>
              <a:gd name="connsiteX33499" fmla="*/ 218661 w 4610101"/>
              <a:gd name="connsiteY33499" fmla="*/ 634968 h 6557032"/>
              <a:gd name="connsiteX33500" fmla="*/ 145774 w 4610101"/>
              <a:gd name="connsiteY33500" fmla="*/ 634968 h 6557032"/>
              <a:gd name="connsiteX33501" fmla="*/ 163996 w 4610101"/>
              <a:gd name="connsiteY33501" fmla="*/ 660478 h 6557032"/>
              <a:gd name="connsiteX33502" fmla="*/ 145774 w 4610101"/>
              <a:gd name="connsiteY33502" fmla="*/ 634968 h 6557032"/>
              <a:gd name="connsiteX33503" fmla="*/ 2951011 w 4610101"/>
              <a:gd name="connsiteY33503" fmla="*/ 634513 h 6557032"/>
              <a:gd name="connsiteX33504" fmla="*/ 2946456 w 4610101"/>
              <a:gd name="connsiteY33504" fmla="*/ 634968 h 6557032"/>
              <a:gd name="connsiteX33505" fmla="*/ 2970144 w 4610101"/>
              <a:gd name="connsiteY33505" fmla="*/ 662301 h 6557032"/>
              <a:gd name="connsiteX33506" fmla="*/ 2969916 w 4610101"/>
              <a:gd name="connsiteY33506" fmla="*/ 651824 h 6557032"/>
              <a:gd name="connsiteX33507" fmla="*/ 2962858 w 4610101"/>
              <a:gd name="connsiteY33507" fmla="*/ 644083 h 6557032"/>
              <a:gd name="connsiteX33508" fmla="*/ 2959211 w 4610101"/>
              <a:gd name="connsiteY33508" fmla="*/ 638612 h 6557032"/>
              <a:gd name="connsiteX33509" fmla="*/ 2955566 w 4610101"/>
              <a:gd name="connsiteY33509" fmla="*/ 636790 h 6557032"/>
              <a:gd name="connsiteX33510" fmla="*/ 2951011 w 4610101"/>
              <a:gd name="connsiteY33510" fmla="*/ 634513 h 6557032"/>
              <a:gd name="connsiteX33511" fmla="*/ 163997 w 4610101"/>
              <a:gd name="connsiteY33511" fmla="*/ 633147 h 6557032"/>
              <a:gd name="connsiteX33512" fmla="*/ 164482 w 4610101"/>
              <a:gd name="connsiteY33512" fmla="*/ 633593 h 6557032"/>
              <a:gd name="connsiteX33513" fmla="*/ 165477 w 4610101"/>
              <a:gd name="connsiteY33513" fmla="*/ 635749 h 6557032"/>
              <a:gd name="connsiteX33514" fmla="*/ 163997 w 4610101"/>
              <a:gd name="connsiteY33514" fmla="*/ 633149 h 6557032"/>
              <a:gd name="connsiteX33515" fmla="*/ 3006587 w 4610101"/>
              <a:gd name="connsiteY33515" fmla="*/ 633146 h 6557032"/>
              <a:gd name="connsiteX33516" fmla="*/ 3010232 w 4610101"/>
              <a:gd name="connsiteY33516" fmla="*/ 640435 h 6557032"/>
              <a:gd name="connsiteX33517" fmla="*/ 3006587 w 4610101"/>
              <a:gd name="connsiteY33517" fmla="*/ 633146 h 6557032"/>
              <a:gd name="connsiteX33518" fmla="*/ 2922767 w 4610101"/>
              <a:gd name="connsiteY33518" fmla="*/ 633146 h 6557032"/>
              <a:gd name="connsiteX33519" fmla="*/ 2924590 w 4610101"/>
              <a:gd name="connsiteY33519" fmla="*/ 640435 h 6557032"/>
              <a:gd name="connsiteX33520" fmla="*/ 2922767 w 4610101"/>
              <a:gd name="connsiteY33520" fmla="*/ 633146 h 6557032"/>
              <a:gd name="connsiteX33521" fmla="*/ 2500023 w 4610101"/>
              <a:gd name="connsiteY33521" fmla="*/ 633146 h 6557032"/>
              <a:gd name="connsiteX33522" fmla="*/ 2503667 w 4610101"/>
              <a:gd name="connsiteY33522" fmla="*/ 636790 h 6557032"/>
              <a:gd name="connsiteX33523" fmla="*/ 2507312 w 4610101"/>
              <a:gd name="connsiteY33523" fmla="*/ 638612 h 6557032"/>
              <a:gd name="connsiteX33524" fmla="*/ 2507312 w 4610101"/>
              <a:gd name="connsiteY33524" fmla="*/ 633146 h 6557032"/>
              <a:gd name="connsiteX33525" fmla="*/ 2500023 w 4610101"/>
              <a:gd name="connsiteY33525" fmla="*/ 633146 h 6557032"/>
              <a:gd name="connsiteX33526" fmla="*/ 1290100 w 4610101"/>
              <a:gd name="connsiteY33526" fmla="*/ 633146 h 6557032"/>
              <a:gd name="connsiteX33527" fmla="*/ 1284633 w 4610101"/>
              <a:gd name="connsiteY33527" fmla="*/ 647723 h 6557032"/>
              <a:gd name="connsiteX33528" fmla="*/ 1282811 w 4610101"/>
              <a:gd name="connsiteY33528" fmla="*/ 655012 h 6557032"/>
              <a:gd name="connsiteX33529" fmla="*/ 1291922 w 4610101"/>
              <a:gd name="connsiteY33529" fmla="*/ 633146 h 6557032"/>
              <a:gd name="connsiteX33530" fmla="*/ 1290100 w 4610101"/>
              <a:gd name="connsiteY33530" fmla="*/ 633146 h 6557032"/>
              <a:gd name="connsiteX33531" fmla="*/ 1195346 w 4610101"/>
              <a:gd name="connsiteY33531" fmla="*/ 633146 h 6557032"/>
              <a:gd name="connsiteX33532" fmla="*/ 1197169 w 4610101"/>
              <a:gd name="connsiteY33532" fmla="*/ 636790 h 6557032"/>
              <a:gd name="connsiteX33533" fmla="*/ 1200814 w 4610101"/>
              <a:gd name="connsiteY33533" fmla="*/ 634968 h 6557032"/>
              <a:gd name="connsiteX33534" fmla="*/ 1195346 w 4610101"/>
              <a:gd name="connsiteY33534" fmla="*/ 633146 h 6557032"/>
              <a:gd name="connsiteX33535" fmla="*/ 1062328 w 4610101"/>
              <a:gd name="connsiteY33535" fmla="*/ 633146 h 6557032"/>
              <a:gd name="connsiteX33536" fmla="*/ 1060506 w 4610101"/>
              <a:gd name="connsiteY33536" fmla="*/ 636790 h 6557032"/>
              <a:gd name="connsiteX33537" fmla="*/ 1062328 w 4610101"/>
              <a:gd name="connsiteY33537" fmla="*/ 633146 h 6557032"/>
              <a:gd name="connsiteX33538" fmla="*/ 1031351 w 4610101"/>
              <a:gd name="connsiteY33538" fmla="*/ 633146 h 6557032"/>
              <a:gd name="connsiteX33539" fmla="*/ 1033173 w 4610101"/>
              <a:gd name="connsiteY33539" fmla="*/ 649545 h 6557032"/>
              <a:gd name="connsiteX33540" fmla="*/ 1031351 w 4610101"/>
              <a:gd name="connsiteY33540" fmla="*/ 633146 h 6557032"/>
              <a:gd name="connsiteX33541" fmla="*/ 883755 w 4610101"/>
              <a:gd name="connsiteY33541" fmla="*/ 633146 h 6557032"/>
              <a:gd name="connsiteX33542" fmla="*/ 876466 w 4610101"/>
              <a:gd name="connsiteY33542" fmla="*/ 649545 h 6557032"/>
              <a:gd name="connsiteX33543" fmla="*/ 878288 w 4610101"/>
              <a:gd name="connsiteY33543" fmla="*/ 640435 h 6557032"/>
              <a:gd name="connsiteX33544" fmla="*/ 883755 w 4610101"/>
              <a:gd name="connsiteY33544" fmla="*/ 633146 h 6557032"/>
              <a:gd name="connsiteX33545" fmla="*/ 728870 w 4610101"/>
              <a:gd name="connsiteY33545" fmla="*/ 633146 h 6557032"/>
              <a:gd name="connsiteX33546" fmla="*/ 745269 w 4610101"/>
              <a:gd name="connsiteY33546" fmla="*/ 642257 h 6557032"/>
              <a:gd name="connsiteX33547" fmla="*/ 736159 w 4610101"/>
              <a:gd name="connsiteY33547" fmla="*/ 634968 h 6557032"/>
              <a:gd name="connsiteX33548" fmla="*/ 736159 w 4610101"/>
              <a:gd name="connsiteY33548" fmla="*/ 638612 h 6557032"/>
              <a:gd name="connsiteX33549" fmla="*/ 728870 w 4610101"/>
              <a:gd name="connsiteY33549" fmla="*/ 633146 h 6557032"/>
              <a:gd name="connsiteX33550" fmla="*/ 590385 w 4610101"/>
              <a:gd name="connsiteY33550" fmla="*/ 633146 h 6557032"/>
              <a:gd name="connsiteX33551" fmla="*/ 590385 w 4610101"/>
              <a:gd name="connsiteY33551" fmla="*/ 640435 h 6557032"/>
              <a:gd name="connsiteX33552" fmla="*/ 588562 w 4610101"/>
              <a:gd name="connsiteY33552" fmla="*/ 642257 h 6557032"/>
              <a:gd name="connsiteX33553" fmla="*/ 584919 w 4610101"/>
              <a:gd name="connsiteY33553" fmla="*/ 638612 h 6557032"/>
              <a:gd name="connsiteX33554" fmla="*/ 586741 w 4610101"/>
              <a:gd name="connsiteY33554" fmla="*/ 645901 h 6557032"/>
              <a:gd name="connsiteX33555" fmla="*/ 590385 w 4610101"/>
              <a:gd name="connsiteY33555" fmla="*/ 640435 h 6557032"/>
              <a:gd name="connsiteX33556" fmla="*/ 592207 w 4610101"/>
              <a:gd name="connsiteY33556" fmla="*/ 636790 h 6557032"/>
              <a:gd name="connsiteX33557" fmla="*/ 590385 w 4610101"/>
              <a:gd name="connsiteY33557" fmla="*/ 633146 h 6557032"/>
              <a:gd name="connsiteX33558" fmla="*/ 424567 w 4610101"/>
              <a:gd name="connsiteY33558" fmla="*/ 633146 h 6557032"/>
              <a:gd name="connsiteX33559" fmla="*/ 426389 w 4610101"/>
              <a:gd name="connsiteY33559" fmla="*/ 640435 h 6557032"/>
              <a:gd name="connsiteX33560" fmla="*/ 424567 w 4610101"/>
              <a:gd name="connsiteY33560" fmla="*/ 633146 h 6557032"/>
              <a:gd name="connsiteX33561" fmla="*/ 284259 w 4610101"/>
              <a:gd name="connsiteY33561" fmla="*/ 633146 h 6557032"/>
              <a:gd name="connsiteX33562" fmla="*/ 285385 w 4610101"/>
              <a:gd name="connsiteY33562" fmla="*/ 633837 h 6557032"/>
              <a:gd name="connsiteX33563" fmla="*/ 284902 w 4610101"/>
              <a:gd name="connsiteY33563" fmla="*/ 639801 h 6557032"/>
              <a:gd name="connsiteX33564" fmla="*/ 284487 w 4610101"/>
              <a:gd name="connsiteY33564" fmla="*/ 637019 h 6557032"/>
              <a:gd name="connsiteX33565" fmla="*/ 284259 w 4610101"/>
              <a:gd name="connsiteY33565" fmla="*/ 633146 h 6557032"/>
              <a:gd name="connsiteX33566" fmla="*/ 163996 w 4610101"/>
              <a:gd name="connsiteY33566" fmla="*/ 633146 h 6557032"/>
              <a:gd name="connsiteX33567" fmla="*/ 163997 w 4610101"/>
              <a:gd name="connsiteY33567" fmla="*/ 633147 h 6557032"/>
              <a:gd name="connsiteX33568" fmla="*/ 163996 w 4610101"/>
              <a:gd name="connsiteY33568" fmla="*/ 633147 h 6557032"/>
              <a:gd name="connsiteX33569" fmla="*/ 3332415 w 4610101"/>
              <a:gd name="connsiteY33569" fmla="*/ 632235 h 6557032"/>
              <a:gd name="connsiteX33570" fmla="*/ 3325468 w 4610101"/>
              <a:gd name="connsiteY33570" fmla="*/ 634968 h 6557032"/>
              <a:gd name="connsiteX33571" fmla="*/ 3329112 w 4610101"/>
              <a:gd name="connsiteY33571" fmla="*/ 640435 h 6557032"/>
              <a:gd name="connsiteX33572" fmla="*/ 3309068 w 4610101"/>
              <a:gd name="connsiteY33572" fmla="*/ 642257 h 6557032"/>
              <a:gd name="connsiteX33573" fmla="*/ 3323646 w 4610101"/>
              <a:gd name="connsiteY33573" fmla="*/ 662301 h 6557032"/>
              <a:gd name="connsiteX33574" fmla="*/ 3332756 w 4610101"/>
              <a:gd name="connsiteY33574" fmla="*/ 664123 h 6557032"/>
              <a:gd name="connsiteX33575" fmla="*/ 3330934 w 4610101"/>
              <a:gd name="connsiteY33575" fmla="*/ 656834 h 6557032"/>
              <a:gd name="connsiteX33576" fmla="*/ 3338223 w 4610101"/>
              <a:gd name="connsiteY33576" fmla="*/ 662301 h 6557032"/>
              <a:gd name="connsiteX33577" fmla="*/ 3340045 w 4610101"/>
              <a:gd name="connsiteY33577" fmla="*/ 647723 h 6557032"/>
              <a:gd name="connsiteX33578" fmla="*/ 3340045 w 4610101"/>
              <a:gd name="connsiteY33578" fmla="*/ 655012 h 6557032"/>
              <a:gd name="connsiteX33579" fmla="*/ 3343690 w 4610101"/>
              <a:gd name="connsiteY33579" fmla="*/ 640435 h 6557032"/>
              <a:gd name="connsiteX33580" fmla="*/ 3332415 w 4610101"/>
              <a:gd name="connsiteY33580" fmla="*/ 632235 h 6557032"/>
              <a:gd name="connsiteX33581" fmla="*/ 3555062 w 4610101"/>
              <a:gd name="connsiteY33581" fmla="*/ 631324 h 6557032"/>
              <a:gd name="connsiteX33582" fmla="*/ 3549595 w 4610101"/>
              <a:gd name="connsiteY33582" fmla="*/ 633146 h 6557032"/>
              <a:gd name="connsiteX33583" fmla="*/ 3556884 w 4610101"/>
              <a:gd name="connsiteY33583" fmla="*/ 634968 h 6557032"/>
              <a:gd name="connsiteX33584" fmla="*/ 3555062 w 4610101"/>
              <a:gd name="connsiteY33584" fmla="*/ 631324 h 6557032"/>
              <a:gd name="connsiteX33585" fmla="*/ 2598421 w 4610101"/>
              <a:gd name="connsiteY33585" fmla="*/ 631324 h 6557032"/>
              <a:gd name="connsiteX33586" fmla="*/ 2598421 w 4610101"/>
              <a:gd name="connsiteY33586" fmla="*/ 638612 h 6557032"/>
              <a:gd name="connsiteX33587" fmla="*/ 2598421 w 4610101"/>
              <a:gd name="connsiteY33587" fmla="*/ 631324 h 6557032"/>
              <a:gd name="connsiteX33588" fmla="*/ 1410363 w 4610101"/>
              <a:gd name="connsiteY33588" fmla="*/ 631324 h 6557032"/>
              <a:gd name="connsiteX33589" fmla="*/ 1401252 w 4610101"/>
              <a:gd name="connsiteY33589" fmla="*/ 653190 h 6557032"/>
              <a:gd name="connsiteX33590" fmla="*/ 1410363 w 4610101"/>
              <a:gd name="connsiteY33590" fmla="*/ 631324 h 6557032"/>
              <a:gd name="connsiteX33591" fmla="*/ 1297388 w 4610101"/>
              <a:gd name="connsiteY33591" fmla="*/ 631324 h 6557032"/>
              <a:gd name="connsiteX33592" fmla="*/ 1291922 w 4610101"/>
              <a:gd name="connsiteY33592" fmla="*/ 644079 h 6557032"/>
              <a:gd name="connsiteX33593" fmla="*/ 1295566 w 4610101"/>
              <a:gd name="connsiteY33593" fmla="*/ 647723 h 6557032"/>
              <a:gd name="connsiteX33594" fmla="*/ 1297388 w 4610101"/>
              <a:gd name="connsiteY33594" fmla="*/ 631324 h 6557032"/>
              <a:gd name="connsiteX33595" fmla="*/ 1073262 w 4610101"/>
              <a:gd name="connsiteY33595" fmla="*/ 631324 h 6557032"/>
              <a:gd name="connsiteX33596" fmla="*/ 1065972 w 4610101"/>
              <a:gd name="connsiteY33596" fmla="*/ 638612 h 6557032"/>
              <a:gd name="connsiteX33597" fmla="*/ 1073262 w 4610101"/>
              <a:gd name="connsiteY33597" fmla="*/ 631324 h 6557032"/>
              <a:gd name="connsiteX33598" fmla="*/ 663272 w 4610101"/>
              <a:gd name="connsiteY33598" fmla="*/ 631324 h 6557032"/>
              <a:gd name="connsiteX33599" fmla="*/ 665094 w 4610101"/>
              <a:gd name="connsiteY33599" fmla="*/ 638612 h 6557032"/>
              <a:gd name="connsiteX33600" fmla="*/ 663272 w 4610101"/>
              <a:gd name="connsiteY33600" fmla="*/ 631324 h 6557032"/>
              <a:gd name="connsiteX33601" fmla="*/ 641407 w 4610101"/>
              <a:gd name="connsiteY33601" fmla="*/ 631324 h 6557032"/>
              <a:gd name="connsiteX33602" fmla="*/ 637761 w 4610101"/>
              <a:gd name="connsiteY33602" fmla="*/ 634968 h 6557032"/>
              <a:gd name="connsiteX33603" fmla="*/ 643228 w 4610101"/>
              <a:gd name="connsiteY33603" fmla="*/ 634968 h 6557032"/>
              <a:gd name="connsiteX33604" fmla="*/ 641407 w 4610101"/>
              <a:gd name="connsiteY33604" fmla="*/ 631324 h 6557032"/>
              <a:gd name="connsiteX33605" fmla="*/ 123908 w 4610101"/>
              <a:gd name="connsiteY33605" fmla="*/ 631324 h 6557032"/>
              <a:gd name="connsiteX33606" fmla="*/ 134841 w 4610101"/>
              <a:gd name="connsiteY33606" fmla="*/ 645901 h 6557032"/>
              <a:gd name="connsiteX33607" fmla="*/ 123908 w 4610101"/>
              <a:gd name="connsiteY33607" fmla="*/ 631324 h 6557032"/>
              <a:gd name="connsiteX33608" fmla="*/ 2374749 w 4610101"/>
              <a:gd name="connsiteY33608" fmla="*/ 631324 h 6557032"/>
              <a:gd name="connsiteX33609" fmla="*/ 2365182 w 4610101"/>
              <a:gd name="connsiteY33609" fmla="*/ 634968 h 6557032"/>
              <a:gd name="connsiteX33610" fmla="*/ 2379760 w 4610101"/>
              <a:gd name="connsiteY33610" fmla="*/ 642257 h 6557032"/>
              <a:gd name="connsiteX33611" fmla="*/ 2381582 w 4610101"/>
              <a:gd name="connsiteY33611" fmla="*/ 633146 h 6557032"/>
              <a:gd name="connsiteX33612" fmla="*/ 2374749 w 4610101"/>
              <a:gd name="connsiteY33612" fmla="*/ 631324 h 6557032"/>
              <a:gd name="connsiteX33613" fmla="*/ 92569 w 4610101"/>
              <a:gd name="connsiteY33613" fmla="*/ 630493 h 6557032"/>
              <a:gd name="connsiteX33614" fmla="*/ 116427 w 4610101"/>
              <a:gd name="connsiteY33614" fmla="*/ 663855 h 6557032"/>
              <a:gd name="connsiteX33615" fmla="*/ 118442 w 4610101"/>
              <a:gd name="connsiteY33615" fmla="*/ 669589 h 6557032"/>
              <a:gd name="connsiteX33616" fmla="*/ 122086 w 4610101"/>
              <a:gd name="connsiteY33616" fmla="*/ 676878 h 6557032"/>
              <a:gd name="connsiteX33617" fmla="*/ 3274447 w 4610101"/>
              <a:gd name="connsiteY33617" fmla="*/ 629501 h 6557032"/>
              <a:gd name="connsiteX33618" fmla="*/ 3276269 w 4610101"/>
              <a:gd name="connsiteY33618" fmla="*/ 631324 h 6557032"/>
              <a:gd name="connsiteX33619" fmla="*/ 3274447 w 4610101"/>
              <a:gd name="connsiteY33619" fmla="*/ 629502 h 6557032"/>
              <a:gd name="connsiteX33620" fmla="*/ 2758772 w 4610101"/>
              <a:gd name="connsiteY33620" fmla="*/ 629501 h 6557032"/>
              <a:gd name="connsiteX33621" fmla="*/ 2759141 w 4610101"/>
              <a:gd name="connsiteY33621" fmla="*/ 630732 h 6557032"/>
              <a:gd name="connsiteX33622" fmla="*/ 2757726 w 4610101"/>
              <a:gd name="connsiteY33622" fmla="*/ 637002 h 6557032"/>
              <a:gd name="connsiteX33623" fmla="*/ 2428958 w 4610101"/>
              <a:gd name="connsiteY33623" fmla="*/ 629501 h 6557032"/>
              <a:gd name="connsiteX33624" fmla="*/ 2425314 w 4610101"/>
              <a:gd name="connsiteY33624" fmla="*/ 636790 h 6557032"/>
              <a:gd name="connsiteX33625" fmla="*/ 2427136 w 4610101"/>
              <a:gd name="connsiteY33625" fmla="*/ 636790 h 6557032"/>
              <a:gd name="connsiteX33626" fmla="*/ 2428958 w 4610101"/>
              <a:gd name="connsiteY33626" fmla="*/ 633146 h 6557032"/>
              <a:gd name="connsiteX33627" fmla="*/ 2428958 w 4610101"/>
              <a:gd name="connsiteY33627" fmla="*/ 629501 h 6557032"/>
              <a:gd name="connsiteX33628" fmla="*/ 2396159 w 4610101"/>
              <a:gd name="connsiteY33628" fmla="*/ 629501 h 6557032"/>
              <a:gd name="connsiteX33629" fmla="*/ 2390693 w 4610101"/>
              <a:gd name="connsiteY33629" fmla="*/ 642257 h 6557032"/>
              <a:gd name="connsiteX33630" fmla="*/ 2394337 w 4610101"/>
              <a:gd name="connsiteY33630" fmla="*/ 642257 h 6557032"/>
              <a:gd name="connsiteX33631" fmla="*/ 2396159 w 4610101"/>
              <a:gd name="connsiteY33631" fmla="*/ 629501 h 6557032"/>
              <a:gd name="connsiteX33632" fmla="*/ 1439518 w 4610101"/>
              <a:gd name="connsiteY33632" fmla="*/ 629501 h 6557032"/>
              <a:gd name="connsiteX33633" fmla="*/ 1435873 w 4610101"/>
              <a:gd name="connsiteY33633" fmla="*/ 634968 h 6557032"/>
              <a:gd name="connsiteX33634" fmla="*/ 1439518 w 4610101"/>
              <a:gd name="connsiteY33634" fmla="*/ 629501 h 6557032"/>
              <a:gd name="connsiteX33635" fmla="*/ 1370275 w 4610101"/>
              <a:gd name="connsiteY33635" fmla="*/ 629501 h 6557032"/>
              <a:gd name="connsiteX33636" fmla="*/ 1366632 w 4610101"/>
              <a:gd name="connsiteY33636" fmla="*/ 634968 h 6557032"/>
              <a:gd name="connsiteX33637" fmla="*/ 1368453 w 4610101"/>
              <a:gd name="connsiteY33637" fmla="*/ 633146 h 6557032"/>
              <a:gd name="connsiteX33638" fmla="*/ 1370275 w 4610101"/>
              <a:gd name="connsiteY33638" fmla="*/ 645901 h 6557032"/>
              <a:gd name="connsiteX33639" fmla="*/ 1370275 w 4610101"/>
              <a:gd name="connsiteY33639" fmla="*/ 629501 h 6557032"/>
              <a:gd name="connsiteX33640" fmla="*/ 512031 w 4610101"/>
              <a:gd name="connsiteY33640" fmla="*/ 629501 h 6557032"/>
              <a:gd name="connsiteX33641" fmla="*/ 508387 w 4610101"/>
              <a:gd name="connsiteY33641" fmla="*/ 636790 h 6557032"/>
              <a:gd name="connsiteX33642" fmla="*/ 513853 w 4610101"/>
              <a:gd name="connsiteY33642" fmla="*/ 640435 h 6557032"/>
              <a:gd name="connsiteX33643" fmla="*/ 512031 w 4610101"/>
              <a:gd name="connsiteY33643" fmla="*/ 629501 h 6557032"/>
              <a:gd name="connsiteX33644" fmla="*/ 406345 w 4610101"/>
              <a:gd name="connsiteY33644" fmla="*/ 629501 h 6557032"/>
              <a:gd name="connsiteX33645" fmla="*/ 409050 w 4610101"/>
              <a:gd name="connsiteY33645" fmla="*/ 634910 h 6557032"/>
              <a:gd name="connsiteX33646" fmla="*/ 406752 w 4610101"/>
              <a:gd name="connsiteY33646" fmla="*/ 632141 h 6557032"/>
              <a:gd name="connsiteX33647" fmla="*/ 313414 w 4610101"/>
              <a:gd name="connsiteY33647" fmla="*/ 629501 h 6557032"/>
              <a:gd name="connsiteX33648" fmla="*/ 327993 w 4610101"/>
              <a:gd name="connsiteY33648" fmla="*/ 644079 h 6557032"/>
              <a:gd name="connsiteX33649" fmla="*/ 327993 w 4610101"/>
              <a:gd name="connsiteY33649" fmla="*/ 638612 h 6557032"/>
              <a:gd name="connsiteX33650" fmla="*/ 313414 w 4610101"/>
              <a:gd name="connsiteY33650" fmla="*/ 629501 h 6557032"/>
              <a:gd name="connsiteX33651" fmla="*/ 1180086 w 4610101"/>
              <a:gd name="connsiteY33651" fmla="*/ 629046 h 6557032"/>
              <a:gd name="connsiteX33652" fmla="*/ 1175303 w 4610101"/>
              <a:gd name="connsiteY33652" fmla="*/ 629501 h 6557032"/>
              <a:gd name="connsiteX33653" fmla="*/ 1180769 w 4610101"/>
              <a:gd name="connsiteY33653" fmla="*/ 631324 h 6557032"/>
              <a:gd name="connsiteX33654" fmla="*/ 1180086 w 4610101"/>
              <a:gd name="connsiteY33654" fmla="*/ 629046 h 6557032"/>
              <a:gd name="connsiteX33655" fmla="*/ 1403074 w 4610101"/>
              <a:gd name="connsiteY33655" fmla="*/ 627679 h 6557032"/>
              <a:gd name="connsiteX33656" fmla="*/ 1399430 w 4610101"/>
              <a:gd name="connsiteY33656" fmla="*/ 634968 h 6557032"/>
              <a:gd name="connsiteX33657" fmla="*/ 1397608 w 4610101"/>
              <a:gd name="connsiteY33657" fmla="*/ 633146 h 6557032"/>
              <a:gd name="connsiteX33658" fmla="*/ 1395787 w 4610101"/>
              <a:gd name="connsiteY33658" fmla="*/ 642257 h 6557032"/>
              <a:gd name="connsiteX33659" fmla="*/ 1401252 w 4610101"/>
              <a:gd name="connsiteY33659" fmla="*/ 640435 h 6557032"/>
              <a:gd name="connsiteX33660" fmla="*/ 1406719 w 4610101"/>
              <a:gd name="connsiteY33660" fmla="*/ 631324 h 6557032"/>
              <a:gd name="connsiteX33661" fmla="*/ 1403074 w 4610101"/>
              <a:gd name="connsiteY33661" fmla="*/ 627679 h 6557032"/>
              <a:gd name="connsiteX33662" fmla="*/ 1191703 w 4610101"/>
              <a:gd name="connsiteY33662" fmla="*/ 627679 h 6557032"/>
              <a:gd name="connsiteX33663" fmla="*/ 1188058 w 4610101"/>
              <a:gd name="connsiteY33663" fmla="*/ 631324 h 6557032"/>
              <a:gd name="connsiteX33664" fmla="*/ 1191703 w 4610101"/>
              <a:gd name="connsiteY33664" fmla="*/ 627679 h 6557032"/>
              <a:gd name="connsiteX33665" fmla="*/ 1137037 w 4610101"/>
              <a:gd name="connsiteY33665" fmla="*/ 627679 h 6557032"/>
              <a:gd name="connsiteX33666" fmla="*/ 1131570 w 4610101"/>
              <a:gd name="connsiteY33666" fmla="*/ 634968 h 6557032"/>
              <a:gd name="connsiteX33667" fmla="*/ 1137037 w 4610101"/>
              <a:gd name="connsiteY33667" fmla="*/ 627679 h 6557032"/>
              <a:gd name="connsiteX33668" fmla="*/ 936598 w 4610101"/>
              <a:gd name="connsiteY33668" fmla="*/ 627679 h 6557032"/>
              <a:gd name="connsiteX33669" fmla="*/ 936442 w 4610101"/>
              <a:gd name="connsiteY33669" fmla="*/ 636691 h 6557032"/>
              <a:gd name="connsiteX33670" fmla="*/ 935231 w 4610101"/>
              <a:gd name="connsiteY33670" fmla="*/ 638157 h 6557032"/>
              <a:gd name="connsiteX33671" fmla="*/ 929309 w 4610101"/>
              <a:gd name="connsiteY33671" fmla="*/ 640435 h 6557032"/>
              <a:gd name="connsiteX33672" fmla="*/ 936504 w 4610101"/>
              <a:gd name="connsiteY33672" fmla="*/ 627737 h 6557032"/>
              <a:gd name="connsiteX33673" fmla="*/ 854600 w 4610101"/>
              <a:gd name="connsiteY33673" fmla="*/ 627679 h 6557032"/>
              <a:gd name="connsiteX33674" fmla="*/ 845489 w 4610101"/>
              <a:gd name="connsiteY33674" fmla="*/ 642257 h 6557032"/>
              <a:gd name="connsiteX33675" fmla="*/ 854600 w 4610101"/>
              <a:gd name="connsiteY33675" fmla="*/ 647723 h 6557032"/>
              <a:gd name="connsiteX33676" fmla="*/ 854600 w 4610101"/>
              <a:gd name="connsiteY33676" fmla="*/ 627679 h 6557032"/>
              <a:gd name="connsiteX33677" fmla="*/ 845489 w 4610101"/>
              <a:gd name="connsiteY33677" fmla="*/ 627679 h 6557032"/>
              <a:gd name="connsiteX33678" fmla="*/ 841845 w 4610101"/>
              <a:gd name="connsiteY33678" fmla="*/ 636790 h 6557032"/>
              <a:gd name="connsiteX33679" fmla="*/ 845489 w 4610101"/>
              <a:gd name="connsiteY33679" fmla="*/ 627679 h 6557032"/>
              <a:gd name="connsiteX33680" fmla="*/ 756203 w 4610101"/>
              <a:gd name="connsiteY33680" fmla="*/ 627679 h 6557032"/>
              <a:gd name="connsiteX33681" fmla="*/ 756203 w 4610101"/>
              <a:gd name="connsiteY33681" fmla="*/ 638612 h 6557032"/>
              <a:gd name="connsiteX33682" fmla="*/ 761670 w 4610101"/>
              <a:gd name="connsiteY33682" fmla="*/ 631324 h 6557032"/>
              <a:gd name="connsiteX33683" fmla="*/ 756203 w 4610101"/>
              <a:gd name="connsiteY33683" fmla="*/ 627679 h 6557032"/>
              <a:gd name="connsiteX33684" fmla="*/ 697893 w 4610101"/>
              <a:gd name="connsiteY33684" fmla="*/ 627679 h 6557032"/>
              <a:gd name="connsiteX33685" fmla="*/ 699715 w 4610101"/>
              <a:gd name="connsiteY33685" fmla="*/ 642257 h 6557032"/>
              <a:gd name="connsiteX33686" fmla="*/ 708826 w 4610101"/>
              <a:gd name="connsiteY33686" fmla="*/ 627679 h 6557032"/>
              <a:gd name="connsiteX33687" fmla="*/ 697893 w 4610101"/>
              <a:gd name="connsiteY33687" fmla="*/ 627679 h 6557032"/>
              <a:gd name="connsiteX33688" fmla="*/ 158529 w 4610101"/>
              <a:gd name="connsiteY33688" fmla="*/ 627679 h 6557032"/>
              <a:gd name="connsiteX33689" fmla="*/ 162174 w 4610101"/>
              <a:gd name="connsiteY33689" fmla="*/ 631324 h 6557032"/>
              <a:gd name="connsiteX33690" fmla="*/ 165818 w 4610101"/>
              <a:gd name="connsiteY33690" fmla="*/ 640435 h 6557032"/>
              <a:gd name="connsiteX33691" fmla="*/ 158529 w 4610101"/>
              <a:gd name="connsiteY33691" fmla="*/ 627679 h 6557032"/>
              <a:gd name="connsiteX33692" fmla="*/ 2771389 w 4610101"/>
              <a:gd name="connsiteY33692" fmla="*/ 627633 h 6557032"/>
              <a:gd name="connsiteX33693" fmla="*/ 2771527 w 4610101"/>
              <a:gd name="connsiteY33693" fmla="*/ 627679 h 6557032"/>
              <a:gd name="connsiteX33694" fmla="*/ 2771414 w 4610101"/>
              <a:gd name="connsiteY33694" fmla="*/ 627980 h 6557032"/>
              <a:gd name="connsiteX33695" fmla="*/ 1225958 w 4610101"/>
              <a:gd name="connsiteY33695" fmla="*/ 626587 h 6557032"/>
              <a:gd name="connsiteX33696" fmla="*/ 1224501 w 4610101"/>
              <a:gd name="connsiteY33696" fmla="*/ 629501 h 6557032"/>
              <a:gd name="connsiteX33697" fmla="*/ 1222585 w 4610101"/>
              <a:gd name="connsiteY33697" fmla="*/ 629354 h 6557032"/>
              <a:gd name="connsiteX33698" fmla="*/ 1224956 w 4610101"/>
              <a:gd name="connsiteY33698" fmla="*/ 627680 h 6557032"/>
              <a:gd name="connsiteX33699" fmla="*/ 2961033 w 4610101"/>
              <a:gd name="connsiteY33699" fmla="*/ 625857 h 6557032"/>
              <a:gd name="connsiteX33700" fmla="*/ 2961033 w 4610101"/>
              <a:gd name="connsiteY33700" fmla="*/ 633146 h 6557032"/>
              <a:gd name="connsiteX33701" fmla="*/ 2990188 w 4610101"/>
              <a:gd name="connsiteY33701" fmla="*/ 653190 h 6557032"/>
              <a:gd name="connsiteX33702" fmla="*/ 2982899 w 4610101"/>
              <a:gd name="connsiteY33702" fmla="*/ 653190 h 6557032"/>
              <a:gd name="connsiteX33703" fmla="*/ 2984721 w 4610101"/>
              <a:gd name="connsiteY33703" fmla="*/ 655012 h 6557032"/>
              <a:gd name="connsiteX33704" fmla="*/ 2975610 w 4610101"/>
              <a:gd name="connsiteY33704" fmla="*/ 658656 h 6557032"/>
              <a:gd name="connsiteX33705" fmla="*/ 2984721 w 4610101"/>
              <a:gd name="connsiteY33705" fmla="*/ 664123 h 6557032"/>
              <a:gd name="connsiteX33706" fmla="*/ 2986543 w 4610101"/>
              <a:gd name="connsiteY33706" fmla="*/ 660478 h 6557032"/>
              <a:gd name="connsiteX33707" fmla="*/ 2992010 w 4610101"/>
              <a:gd name="connsiteY33707" fmla="*/ 664123 h 6557032"/>
              <a:gd name="connsiteX33708" fmla="*/ 2981077 w 4610101"/>
              <a:gd name="connsiteY33708" fmla="*/ 665945 h 6557032"/>
              <a:gd name="connsiteX33709" fmla="*/ 2992010 w 4610101"/>
              <a:gd name="connsiteY33709" fmla="*/ 675056 h 6557032"/>
              <a:gd name="connsiteX33710" fmla="*/ 3001121 w 4610101"/>
              <a:gd name="connsiteY33710" fmla="*/ 675056 h 6557032"/>
              <a:gd name="connsiteX33711" fmla="*/ 3026631 w 4610101"/>
              <a:gd name="connsiteY33711" fmla="*/ 680522 h 6557032"/>
              <a:gd name="connsiteX33712" fmla="*/ 3030276 w 4610101"/>
              <a:gd name="connsiteY33712" fmla="*/ 685989 h 6557032"/>
              <a:gd name="connsiteX33713" fmla="*/ 3033920 w 4610101"/>
              <a:gd name="connsiteY33713" fmla="*/ 684167 h 6557032"/>
              <a:gd name="connsiteX33714" fmla="*/ 3032098 w 4610101"/>
              <a:gd name="connsiteY33714" fmla="*/ 680522 h 6557032"/>
              <a:gd name="connsiteX33715" fmla="*/ 3052142 w 4610101"/>
              <a:gd name="connsiteY33715" fmla="*/ 687811 h 6557032"/>
              <a:gd name="connsiteX33716" fmla="*/ 3053964 w 4610101"/>
              <a:gd name="connsiteY33716" fmla="*/ 684167 h 6557032"/>
              <a:gd name="connsiteX33717" fmla="*/ 3044853 w 4610101"/>
              <a:gd name="connsiteY33717" fmla="*/ 675056 h 6557032"/>
              <a:gd name="connsiteX33718" fmla="*/ 3077652 w 4610101"/>
              <a:gd name="connsiteY33718" fmla="*/ 680522 h 6557032"/>
              <a:gd name="connsiteX33719" fmla="*/ 3075830 w 4610101"/>
              <a:gd name="connsiteY33719" fmla="*/ 684167 h 6557032"/>
              <a:gd name="connsiteX33720" fmla="*/ 3081297 w 4610101"/>
              <a:gd name="connsiteY33720" fmla="*/ 680522 h 6557032"/>
              <a:gd name="connsiteX33721" fmla="*/ 3081297 w 4610101"/>
              <a:gd name="connsiteY33721" fmla="*/ 684167 h 6557032"/>
              <a:gd name="connsiteX33722" fmla="*/ 3092230 w 4610101"/>
              <a:gd name="connsiteY33722" fmla="*/ 673234 h 6557032"/>
              <a:gd name="connsiteX33723" fmla="*/ 3097696 w 4610101"/>
              <a:gd name="connsiteY33723" fmla="*/ 678700 h 6557032"/>
              <a:gd name="connsiteX33724" fmla="*/ 3112274 w 4610101"/>
              <a:gd name="connsiteY33724" fmla="*/ 678700 h 6557032"/>
              <a:gd name="connsiteX33725" fmla="*/ 3126851 w 4610101"/>
              <a:gd name="connsiteY33725" fmla="*/ 667767 h 6557032"/>
              <a:gd name="connsiteX33726" fmla="*/ 3108629 w 4610101"/>
              <a:gd name="connsiteY33726" fmla="*/ 653190 h 6557032"/>
              <a:gd name="connsiteX33727" fmla="*/ 3112274 w 4610101"/>
              <a:gd name="connsiteY33727" fmla="*/ 647723 h 6557032"/>
              <a:gd name="connsiteX33728" fmla="*/ 3132317 w 4610101"/>
              <a:gd name="connsiteY33728" fmla="*/ 658656 h 6557032"/>
              <a:gd name="connsiteX33729" fmla="*/ 3128673 w 4610101"/>
              <a:gd name="connsiteY33729" fmla="*/ 649545 h 6557032"/>
              <a:gd name="connsiteX33730" fmla="*/ 3130495 w 4610101"/>
              <a:gd name="connsiteY33730" fmla="*/ 655012 h 6557032"/>
              <a:gd name="connsiteX33731" fmla="*/ 3110451 w 4610101"/>
              <a:gd name="connsiteY33731" fmla="*/ 644079 h 6557032"/>
              <a:gd name="connsiteX33732" fmla="*/ 3075830 w 4610101"/>
              <a:gd name="connsiteY33732" fmla="*/ 644079 h 6557032"/>
              <a:gd name="connsiteX33733" fmla="*/ 3068541 w 4610101"/>
              <a:gd name="connsiteY33733" fmla="*/ 640435 h 6557032"/>
              <a:gd name="connsiteX33734" fmla="*/ 3074008 w 4610101"/>
              <a:gd name="connsiteY33734" fmla="*/ 649545 h 6557032"/>
              <a:gd name="connsiteX33735" fmla="*/ 3094052 w 4610101"/>
              <a:gd name="connsiteY33735" fmla="*/ 651368 h 6557032"/>
              <a:gd name="connsiteX33736" fmla="*/ 3095874 w 4610101"/>
              <a:gd name="connsiteY33736" fmla="*/ 667767 h 6557032"/>
              <a:gd name="connsiteX33737" fmla="*/ 3079474 w 4610101"/>
              <a:gd name="connsiteY33737" fmla="*/ 675056 h 6557032"/>
              <a:gd name="connsiteX33738" fmla="*/ 3077652 w 4610101"/>
              <a:gd name="connsiteY33738" fmla="*/ 660478 h 6557032"/>
              <a:gd name="connsiteX33739" fmla="*/ 3083119 w 4610101"/>
              <a:gd name="connsiteY33739" fmla="*/ 660478 h 6557032"/>
              <a:gd name="connsiteX33740" fmla="*/ 3048497 w 4610101"/>
              <a:gd name="connsiteY33740" fmla="*/ 653190 h 6557032"/>
              <a:gd name="connsiteX33741" fmla="*/ 3024809 w 4610101"/>
              <a:gd name="connsiteY33741" fmla="*/ 638612 h 6557032"/>
              <a:gd name="connsiteX33742" fmla="*/ 3026631 w 4610101"/>
              <a:gd name="connsiteY33742" fmla="*/ 644079 h 6557032"/>
              <a:gd name="connsiteX33743" fmla="*/ 3022987 w 4610101"/>
              <a:gd name="connsiteY33743" fmla="*/ 644079 h 6557032"/>
              <a:gd name="connsiteX33744" fmla="*/ 3010232 w 4610101"/>
              <a:gd name="connsiteY33744" fmla="*/ 636790 h 6557032"/>
              <a:gd name="connsiteX33745" fmla="*/ 3026631 w 4610101"/>
              <a:gd name="connsiteY33745" fmla="*/ 658656 h 6557032"/>
              <a:gd name="connsiteX33746" fmla="*/ 3019343 w 4610101"/>
              <a:gd name="connsiteY33746" fmla="*/ 662301 h 6557032"/>
              <a:gd name="connsiteX33747" fmla="*/ 3006587 w 4610101"/>
              <a:gd name="connsiteY33747" fmla="*/ 644079 h 6557032"/>
              <a:gd name="connsiteX33748" fmla="*/ 3006587 w 4610101"/>
              <a:gd name="connsiteY33748" fmla="*/ 660478 h 6557032"/>
              <a:gd name="connsiteX33749" fmla="*/ 3001121 w 4610101"/>
              <a:gd name="connsiteY33749" fmla="*/ 658656 h 6557032"/>
              <a:gd name="connsiteX33750" fmla="*/ 3002943 w 4610101"/>
              <a:gd name="connsiteY33750" fmla="*/ 671411 h 6557032"/>
              <a:gd name="connsiteX33751" fmla="*/ 2992010 w 4610101"/>
              <a:gd name="connsiteY33751" fmla="*/ 664123 h 6557032"/>
              <a:gd name="connsiteX33752" fmla="*/ 2995654 w 4610101"/>
              <a:gd name="connsiteY33752" fmla="*/ 658656 h 6557032"/>
              <a:gd name="connsiteX33753" fmla="*/ 2990188 w 4610101"/>
              <a:gd name="connsiteY33753" fmla="*/ 655012 h 6557032"/>
              <a:gd name="connsiteX33754" fmla="*/ 2986543 w 4610101"/>
              <a:gd name="connsiteY33754" fmla="*/ 642257 h 6557032"/>
              <a:gd name="connsiteX33755" fmla="*/ 2995654 w 4610101"/>
              <a:gd name="connsiteY33755" fmla="*/ 642257 h 6557032"/>
              <a:gd name="connsiteX33756" fmla="*/ 2984721 w 4610101"/>
              <a:gd name="connsiteY33756" fmla="*/ 627679 h 6557032"/>
              <a:gd name="connsiteX33757" fmla="*/ 2961033 w 4610101"/>
              <a:gd name="connsiteY33757" fmla="*/ 625857 h 6557032"/>
              <a:gd name="connsiteX33758" fmla="*/ 2578377 w 4610101"/>
              <a:gd name="connsiteY33758" fmla="*/ 625857 h 6557032"/>
              <a:gd name="connsiteX33759" fmla="*/ 2572910 w 4610101"/>
              <a:gd name="connsiteY33759" fmla="*/ 636790 h 6557032"/>
              <a:gd name="connsiteX33760" fmla="*/ 2580199 w 4610101"/>
              <a:gd name="connsiteY33760" fmla="*/ 636790 h 6557032"/>
              <a:gd name="connsiteX33761" fmla="*/ 2578377 w 4610101"/>
              <a:gd name="connsiteY33761" fmla="*/ 625857 h 6557032"/>
              <a:gd name="connsiteX33762" fmla="*/ 1291922 w 4610101"/>
              <a:gd name="connsiteY33762" fmla="*/ 625857 h 6557032"/>
              <a:gd name="connsiteX33763" fmla="*/ 1291922 w 4610101"/>
              <a:gd name="connsiteY33763" fmla="*/ 631324 h 6557032"/>
              <a:gd name="connsiteX33764" fmla="*/ 1293744 w 4610101"/>
              <a:gd name="connsiteY33764" fmla="*/ 627679 h 6557032"/>
              <a:gd name="connsiteX33765" fmla="*/ 1291922 w 4610101"/>
              <a:gd name="connsiteY33765" fmla="*/ 625857 h 6557032"/>
              <a:gd name="connsiteX33766" fmla="*/ 1200814 w 4610101"/>
              <a:gd name="connsiteY33766" fmla="*/ 625857 h 6557032"/>
              <a:gd name="connsiteX33767" fmla="*/ 1198991 w 4610101"/>
              <a:gd name="connsiteY33767" fmla="*/ 629501 h 6557032"/>
              <a:gd name="connsiteX33768" fmla="*/ 1200814 w 4610101"/>
              <a:gd name="connsiteY33768" fmla="*/ 625857 h 6557032"/>
              <a:gd name="connsiteX33769" fmla="*/ 1118815 w 4610101"/>
              <a:gd name="connsiteY33769" fmla="*/ 625857 h 6557032"/>
              <a:gd name="connsiteX33770" fmla="*/ 1116993 w 4610101"/>
              <a:gd name="connsiteY33770" fmla="*/ 642257 h 6557032"/>
              <a:gd name="connsiteX33771" fmla="*/ 1122459 w 4610101"/>
              <a:gd name="connsiteY33771" fmla="*/ 638612 h 6557032"/>
              <a:gd name="connsiteX33772" fmla="*/ 1118815 w 4610101"/>
              <a:gd name="connsiteY33772" fmla="*/ 625857 h 6557032"/>
              <a:gd name="connsiteX33773" fmla="*/ 1040462 w 4610101"/>
              <a:gd name="connsiteY33773" fmla="*/ 625857 h 6557032"/>
              <a:gd name="connsiteX33774" fmla="*/ 1038639 w 4610101"/>
              <a:gd name="connsiteY33774" fmla="*/ 634968 h 6557032"/>
              <a:gd name="connsiteX33775" fmla="*/ 1038200 w 4610101"/>
              <a:gd name="connsiteY33775" fmla="*/ 634684 h 6557032"/>
              <a:gd name="connsiteX33776" fmla="*/ 907444 w 4610101"/>
              <a:gd name="connsiteY33776" fmla="*/ 625857 h 6557032"/>
              <a:gd name="connsiteX33777" fmla="*/ 905621 w 4610101"/>
              <a:gd name="connsiteY33777" fmla="*/ 633146 h 6557032"/>
              <a:gd name="connsiteX33778" fmla="*/ 907444 w 4610101"/>
              <a:gd name="connsiteY33778" fmla="*/ 625857 h 6557032"/>
              <a:gd name="connsiteX33779" fmla="*/ 736159 w 4610101"/>
              <a:gd name="connsiteY33779" fmla="*/ 625857 h 6557032"/>
              <a:gd name="connsiteX33780" fmla="*/ 741626 w 4610101"/>
              <a:gd name="connsiteY33780" fmla="*/ 633146 h 6557032"/>
              <a:gd name="connsiteX33781" fmla="*/ 736159 w 4610101"/>
              <a:gd name="connsiteY33781" fmla="*/ 625857 h 6557032"/>
              <a:gd name="connsiteX33782" fmla="*/ 717937 w 4610101"/>
              <a:gd name="connsiteY33782" fmla="*/ 625857 h 6557032"/>
              <a:gd name="connsiteX33783" fmla="*/ 719759 w 4610101"/>
              <a:gd name="connsiteY33783" fmla="*/ 629501 h 6557032"/>
              <a:gd name="connsiteX33784" fmla="*/ 710648 w 4610101"/>
              <a:gd name="connsiteY33784" fmla="*/ 627679 h 6557032"/>
              <a:gd name="connsiteX33785" fmla="*/ 699715 w 4610101"/>
              <a:gd name="connsiteY33785" fmla="*/ 669589 h 6557032"/>
              <a:gd name="connsiteX33786" fmla="*/ 705182 w 4610101"/>
              <a:gd name="connsiteY33786" fmla="*/ 660478 h 6557032"/>
              <a:gd name="connsiteX33787" fmla="*/ 699715 w 4610101"/>
              <a:gd name="connsiteY33787" fmla="*/ 675056 h 6557032"/>
              <a:gd name="connsiteX33788" fmla="*/ 717937 w 4610101"/>
              <a:gd name="connsiteY33788" fmla="*/ 669589 h 6557032"/>
              <a:gd name="connsiteX33789" fmla="*/ 710648 w 4610101"/>
              <a:gd name="connsiteY33789" fmla="*/ 665945 h 6557032"/>
              <a:gd name="connsiteX33790" fmla="*/ 714293 w 4610101"/>
              <a:gd name="connsiteY33790" fmla="*/ 658656 h 6557032"/>
              <a:gd name="connsiteX33791" fmla="*/ 716115 w 4610101"/>
              <a:gd name="connsiteY33791" fmla="*/ 662301 h 6557032"/>
              <a:gd name="connsiteX33792" fmla="*/ 719759 w 4610101"/>
              <a:gd name="connsiteY33792" fmla="*/ 656834 h 6557032"/>
              <a:gd name="connsiteX33793" fmla="*/ 725522 w 4610101"/>
              <a:gd name="connsiteY33793" fmla="*/ 664632 h 6557032"/>
              <a:gd name="connsiteX33794" fmla="*/ 723404 w 4610101"/>
              <a:gd name="connsiteY33794" fmla="*/ 664123 h 6557032"/>
              <a:gd name="connsiteX33795" fmla="*/ 750737 w 4610101"/>
              <a:gd name="connsiteY33795" fmla="*/ 676878 h 6557032"/>
              <a:gd name="connsiteX33796" fmla="*/ 730692 w 4610101"/>
              <a:gd name="connsiteY33796" fmla="*/ 669589 h 6557032"/>
              <a:gd name="connsiteX33797" fmla="*/ 729941 w 4610101"/>
              <a:gd name="connsiteY33797" fmla="*/ 667660 h 6557032"/>
              <a:gd name="connsiteX33798" fmla="*/ 743447 w 4610101"/>
              <a:gd name="connsiteY33798" fmla="*/ 669589 h 6557032"/>
              <a:gd name="connsiteX33799" fmla="*/ 737981 w 4610101"/>
              <a:gd name="connsiteY33799" fmla="*/ 665945 h 6557032"/>
              <a:gd name="connsiteX33800" fmla="*/ 765313 w 4610101"/>
              <a:gd name="connsiteY33800" fmla="*/ 676878 h 6557032"/>
              <a:gd name="connsiteX33801" fmla="*/ 732515 w 4610101"/>
              <a:gd name="connsiteY33801" fmla="*/ 655012 h 6557032"/>
              <a:gd name="connsiteX33802" fmla="*/ 734336 w 4610101"/>
              <a:gd name="connsiteY33802" fmla="*/ 653190 h 6557032"/>
              <a:gd name="connsiteX33803" fmla="*/ 728870 w 4610101"/>
              <a:gd name="connsiteY33803" fmla="*/ 649545 h 6557032"/>
              <a:gd name="connsiteX33804" fmla="*/ 734336 w 4610101"/>
              <a:gd name="connsiteY33804" fmla="*/ 649545 h 6557032"/>
              <a:gd name="connsiteX33805" fmla="*/ 737981 w 4610101"/>
              <a:gd name="connsiteY33805" fmla="*/ 649545 h 6557032"/>
              <a:gd name="connsiteX33806" fmla="*/ 717937 w 4610101"/>
              <a:gd name="connsiteY33806" fmla="*/ 638612 h 6557032"/>
              <a:gd name="connsiteX33807" fmla="*/ 739803 w 4610101"/>
              <a:gd name="connsiteY33807" fmla="*/ 645901 h 6557032"/>
              <a:gd name="connsiteX33808" fmla="*/ 717937 w 4610101"/>
              <a:gd name="connsiteY33808" fmla="*/ 631324 h 6557032"/>
              <a:gd name="connsiteX33809" fmla="*/ 725226 w 4610101"/>
              <a:gd name="connsiteY33809" fmla="*/ 627679 h 6557032"/>
              <a:gd name="connsiteX33810" fmla="*/ 717937 w 4610101"/>
              <a:gd name="connsiteY33810" fmla="*/ 625857 h 6557032"/>
              <a:gd name="connsiteX33811" fmla="*/ 692426 w 4610101"/>
              <a:gd name="connsiteY33811" fmla="*/ 625857 h 6557032"/>
              <a:gd name="connsiteX33812" fmla="*/ 686960 w 4610101"/>
              <a:gd name="connsiteY33812" fmla="*/ 651368 h 6557032"/>
              <a:gd name="connsiteX33813" fmla="*/ 685024 w 4610101"/>
              <a:gd name="connsiteY33813" fmla="*/ 654030 h 6557032"/>
              <a:gd name="connsiteX33814" fmla="*/ 683316 w 4610101"/>
              <a:gd name="connsiteY33814" fmla="*/ 649545 h 6557032"/>
              <a:gd name="connsiteX33815" fmla="*/ 679671 w 4610101"/>
              <a:gd name="connsiteY33815" fmla="*/ 633146 h 6557032"/>
              <a:gd name="connsiteX33816" fmla="*/ 686960 w 4610101"/>
              <a:gd name="connsiteY33816" fmla="*/ 636790 h 6557032"/>
              <a:gd name="connsiteX33817" fmla="*/ 690604 w 4610101"/>
              <a:gd name="connsiteY33817" fmla="*/ 627679 h 6557032"/>
              <a:gd name="connsiteX33818" fmla="*/ 679671 w 4610101"/>
              <a:gd name="connsiteY33818" fmla="*/ 627679 h 6557032"/>
              <a:gd name="connsiteX33819" fmla="*/ 681493 w 4610101"/>
              <a:gd name="connsiteY33819" fmla="*/ 660478 h 6557032"/>
              <a:gd name="connsiteX33820" fmla="*/ 681974 w 4610101"/>
              <a:gd name="connsiteY33820" fmla="*/ 659666 h 6557032"/>
              <a:gd name="connsiteX33821" fmla="*/ 686960 w 4610101"/>
              <a:gd name="connsiteY33821" fmla="*/ 667767 h 6557032"/>
              <a:gd name="connsiteX33822" fmla="*/ 688782 w 4610101"/>
              <a:gd name="connsiteY33822" fmla="*/ 656834 h 6557032"/>
              <a:gd name="connsiteX33823" fmla="*/ 692426 w 4610101"/>
              <a:gd name="connsiteY33823" fmla="*/ 658656 h 6557032"/>
              <a:gd name="connsiteX33824" fmla="*/ 692426 w 4610101"/>
              <a:gd name="connsiteY33824" fmla="*/ 625857 h 6557032"/>
              <a:gd name="connsiteX33825" fmla="*/ 338926 w 4610101"/>
              <a:gd name="connsiteY33825" fmla="*/ 625857 h 6557032"/>
              <a:gd name="connsiteX33826" fmla="*/ 346213 w 4610101"/>
              <a:gd name="connsiteY33826" fmla="*/ 631324 h 6557032"/>
              <a:gd name="connsiteX33827" fmla="*/ 344391 w 4610101"/>
              <a:gd name="connsiteY33827" fmla="*/ 625857 h 6557032"/>
              <a:gd name="connsiteX33828" fmla="*/ 338926 w 4610101"/>
              <a:gd name="connsiteY33828" fmla="*/ 625857 h 6557032"/>
              <a:gd name="connsiteX33829" fmla="*/ 331636 w 4610101"/>
              <a:gd name="connsiteY33829" fmla="*/ 625857 h 6557032"/>
              <a:gd name="connsiteX33830" fmla="*/ 338926 w 4610101"/>
              <a:gd name="connsiteY33830" fmla="*/ 638612 h 6557032"/>
              <a:gd name="connsiteX33831" fmla="*/ 331636 w 4610101"/>
              <a:gd name="connsiteY33831" fmla="*/ 625857 h 6557032"/>
              <a:gd name="connsiteX33832" fmla="*/ 2902724 w 4610101"/>
              <a:gd name="connsiteY33832" fmla="*/ 624035 h 6557032"/>
              <a:gd name="connsiteX33833" fmla="*/ 2900901 w 4610101"/>
              <a:gd name="connsiteY33833" fmla="*/ 629501 h 6557032"/>
              <a:gd name="connsiteX33834" fmla="*/ 2893613 w 4610101"/>
              <a:gd name="connsiteY33834" fmla="*/ 625857 h 6557032"/>
              <a:gd name="connsiteX33835" fmla="*/ 2902724 w 4610101"/>
              <a:gd name="connsiteY33835" fmla="*/ 636790 h 6557032"/>
              <a:gd name="connsiteX33836" fmla="*/ 2908190 w 4610101"/>
              <a:gd name="connsiteY33836" fmla="*/ 631324 h 6557032"/>
              <a:gd name="connsiteX33837" fmla="*/ 2902724 w 4610101"/>
              <a:gd name="connsiteY33837" fmla="*/ 624035 h 6557032"/>
              <a:gd name="connsiteX33838" fmla="*/ 1434051 w 4610101"/>
              <a:gd name="connsiteY33838" fmla="*/ 624035 h 6557032"/>
              <a:gd name="connsiteX33839" fmla="*/ 1430407 w 4610101"/>
              <a:gd name="connsiteY33839" fmla="*/ 625857 h 6557032"/>
              <a:gd name="connsiteX33840" fmla="*/ 1432229 w 4610101"/>
              <a:gd name="connsiteY33840" fmla="*/ 631324 h 6557032"/>
              <a:gd name="connsiteX33841" fmla="*/ 1428585 w 4610101"/>
              <a:gd name="connsiteY33841" fmla="*/ 636790 h 6557032"/>
              <a:gd name="connsiteX33842" fmla="*/ 1432229 w 4610101"/>
              <a:gd name="connsiteY33842" fmla="*/ 634968 h 6557032"/>
              <a:gd name="connsiteX33843" fmla="*/ 1432229 w 4610101"/>
              <a:gd name="connsiteY33843" fmla="*/ 631324 h 6557032"/>
              <a:gd name="connsiteX33844" fmla="*/ 1434051 w 4610101"/>
              <a:gd name="connsiteY33844" fmla="*/ 624035 h 6557032"/>
              <a:gd name="connsiteX33845" fmla="*/ 643228 w 4610101"/>
              <a:gd name="connsiteY33845" fmla="*/ 624035 h 6557032"/>
              <a:gd name="connsiteX33846" fmla="*/ 648694 w 4610101"/>
              <a:gd name="connsiteY33846" fmla="*/ 636790 h 6557032"/>
              <a:gd name="connsiteX33847" fmla="*/ 646872 w 4610101"/>
              <a:gd name="connsiteY33847" fmla="*/ 629501 h 6557032"/>
              <a:gd name="connsiteX33848" fmla="*/ 650516 w 4610101"/>
              <a:gd name="connsiteY33848" fmla="*/ 633146 h 6557032"/>
              <a:gd name="connsiteX33849" fmla="*/ 643228 w 4610101"/>
              <a:gd name="connsiteY33849" fmla="*/ 624035 h 6557032"/>
              <a:gd name="connsiteX33850" fmla="*/ 628650 w 4610101"/>
              <a:gd name="connsiteY33850" fmla="*/ 624035 h 6557032"/>
              <a:gd name="connsiteX33851" fmla="*/ 629105 w 4610101"/>
              <a:gd name="connsiteY33851" fmla="*/ 624946 h 6557032"/>
              <a:gd name="connsiteX33852" fmla="*/ 628315 w 4610101"/>
              <a:gd name="connsiteY33852" fmla="*/ 625262 h 6557032"/>
              <a:gd name="connsiteX33853" fmla="*/ 590385 w 4610101"/>
              <a:gd name="connsiteY33853" fmla="*/ 624035 h 6557032"/>
              <a:gd name="connsiteX33854" fmla="*/ 586741 w 4610101"/>
              <a:gd name="connsiteY33854" fmla="*/ 627679 h 6557032"/>
              <a:gd name="connsiteX33855" fmla="*/ 594030 w 4610101"/>
              <a:gd name="connsiteY33855" fmla="*/ 631324 h 6557032"/>
              <a:gd name="connsiteX33856" fmla="*/ 590385 w 4610101"/>
              <a:gd name="connsiteY33856" fmla="*/ 624035 h 6557032"/>
              <a:gd name="connsiteX33857" fmla="*/ 504743 w 4610101"/>
              <a:gd name="connsiteY33857" fmla="*/ 624035 h 6557032"/>
              <a:gd name="connsiteX33858" fmla="*/ 502920 w 4610101"/>
              <a:gd name="connsiteY33858" fmla="*/ 634968 h 6557032"/>
              <a:gd name="connsiteX33859" fmla="*/ 504743 w 4610101"/>
              <a:gd name="connsiteY33859" fmla="*/ 624035 h 6557032"/>
              <a:gd name="connsiteX33860" fmla="*/ 475589 w 4610101"/>
              <a:gd name="connsiteY33860" fmla="*/ 624035 h 6557032"/>
              <a:gd name="connsiteX33861" fmla="*/ 486521 w 4610101"/>
              <a:gd name="connsiteY33861" fmla="*/ 638612 h 6557032"/>
              <a:gd name="connsiteX33862" fmla="*/ 486521 w 4610101"/>
              <a:gd name="connsiteY33862" fmla="*/ 631324 h 6557032"/>
              <a:gd name="connsiteX33863" fmla="*/ 475589 w 4610101"/>
              <a:gd name="connsiteY33863" fmla="*/ 624035 h 6557032"/>
              <a:gd name="connsiteX33864" fmla="*/ 455544 w 4610101"/>
              <a:gd name="connsiteY33864" fmla="*/ 624035 h 6557032"/>
              <a:gd name="connsiteX33865" fmla="*/ 453722 w 4610101"/>
              <a:gd name="connsiteY33865" fmla="*/ 634968 h 6557032"/>
              <a:gd name="connsiteX33866" fmla="*/ 459188 w 4610101"/>
              <a:gd name="connsiteY33866" fmla="*/ 636790 h 6557032"/>
              <a:gd name="connsiteX33867" fmla="*/ 455544 w 4610101"/>
              <a:gd name="connsiteY33867" fmla="*/ 624035 h 6557032"/>
              <a:gd name="connsiteX33868" fmla="*/ 349858 w 4610101"/>
              <a:gd name="connsiteY33868" fmla="*/ 624035 h 6557032"/>
              <a:gd name="connsiteX33869" fmla="*/ 358969 w 4610101"/>
              <a:gd name="connsiteY33869" fmla="*/ 634968 h 6557032"/>
              <a:gd name="connsiteX33870" fmla="*/ 349858 w 4610101"/>
              <a:gd name="connsiteY33870" fmla="*/ 624035 h 6557032"/>
              <a:gd name="connsiteX33871" fmla="*/ 306126 w 4610101"/>
              <a:gd name="connsiteY33871" fmla="*/ 624035 h 6557032"/>
              <a:gd name="connsiteX33872" fmla="*/ 313414 w 4610101"/>
              <a:gd name="connsiteY33872" fmla="*/ 640435 h 6557032"/>
              <a:gd name="connsiteX33873" fmla="*/ 306126 w 4610101"/>
              <a:gd name="connsiteY33873" fmla="*/ 624035 h 6557032"/>
              <a:gd name="connsiteX33874" fmla="*/ 2565621 w 4610101"/>
              <a:gd name="connsiteY33874" fmla="*/ 622213 h 6557032"/>
              <a:gd name="connsiteX33875" fmla="*/ 2551044 w 4610101"/>
              <a:gd name="connsiteY33875" fmla="*/ 642257 h 6557032"/>
              <a:gd name="connsiteX33876" fmla="*/ 2534644 w 4610101"/>
              <a:gd name="connsiteY33876" fmla="*/ 636790 h 6557032"/>
              <a:gd name="connsiteX33877" fmla="*/ 2534644 w 4610101"/>
              <a:gd name="connsiteY33877" fmla="*/ 645901 h 6557032"/>
              <a:gd name="connsiteX33878" fmla="*/ 2529178 w 4610101"/>
              <a:gd name="connsiteY33878" fmla="*/ 640435 h 6557032"/>
              <a:gd name="connsiteX33879" fmla="*/ 2538289 w 4610101"/>
              <a:gd name="connsiteY33879" fmla="*/ 658656 h 6557032"/>
              <a:gd name="connsiteX33880" fmla="*/ 2539883 w 4610101"/>
              <a:gd name="connsiteY33880" fmla="*/ 652734 h 6557032"/>
              <a:gd name="connsiteX33881" fmla="*/ 2542302 w 4610101"/>
              <a:gd name="connsiteY33881" fmla="*/ 651380 h 6557032"/>
              <a:gd name="connsiteX33882" fmla="*/ 2549450 w 4610101"/>
              <a:gd name="connsiteY33882" fmla="*/ 651596 h 6557032"/>
              <a:gd name="connsiteX33883" fmla="*/ 2558332 w 4610101"/>
              <a:gd name="connsiteY33883" fmla="*/ 647723 h 6557032"/>
              <a:gd name="connsiteX33884" fmla="*/ 2558332 w 4610101"/>
              <a:gd name="connsiteY33884" fmla="*/ 642257 h 6557032"/>
              <a:gd name="connsiteX33885" fmla="*/ 2560155 w 4610101"/>
              <a:gd name="connsiteY33885" fmla="*/ 644079 h 6557032"/>
              <a:gd name="connsiteX33886" fmla="*/ 2571088 w 4610101"/>
              <a:gd name="connsiteY33886" fmla="*/ 640435 h 6557032"/>
              <a:gd name="connsiteX33887" fmla="*/ 2565621 w 4610101"/>
              <a:gd name="connsiteY33887" fmla="*/ 622213 h 6557032"/>
              <a:gd name="connsiteX33888" fmla="*/ 2337850 w 4610101"/>
              <a:gd name="connsiteY33888" fmla="*/ 622213 h 6557032"/>
              <a:gd name="connsiteX33889" fmla="*/ 2334205 w 4610101"/>
              <a:gd name="connsiteY33889" fmla="*/ 629501 h 6557032"/>
              <a:gd name="connsiteX33890" fmla="*/ 2337850 w 4610101"/>
              <a:gd name="connsiteY33890" fmla="*/ 622213 h 6557032"/>
              <a:gd name="connsiteX33891" fmla="*/ 1410363 w 4610101"/>
              <a:gd name="connsiteY33891" fmla="*/ 622213 h 6557032"/>
              <a:gd name="connsiteX33892" fmla="*/ 1412185 w 4610101"/>
              <a:gd name="connsiteY33892" fmla="*/ 624035 h 6557032"/>
              <a:gd name="connsiteX33893" fmla="*/ 1410363 w 4610101"/>
              <a:gd name="connsiteY33893" fmla="*/ 622213 h 6557032"/>
              <a:gd name="connsiteX33894" fmla="*/ 1089660 w 4610101"/>
              <a:gd name="connsiteY33894" fmla="*/ 622213 h 6557032"/>
              <a:gd name="connsiteX33895" fmla="*/ 1095582 w 4610101"/>
              <a:gd name="connsiteY33895" fmla="*/ 626313 h 6557032"/>
              <a:gd name="connsiteX33896" fmla="*/ 1096221 w 4610101"/>
              <a:gd name="connsiteY33896" fmla="*/ 627681 h 6557032"/>
              <a:gd name="connsiteX33897" fmla="*/ 697893 w 4610101"/>
              <a:gd name="connsiteY33897" fmla="*/ 622213 h 6557032"/>
              <a:gd name="connsiteX33898" fmla="*/ 707004 w 4610101"/>
              <a:gd name="connsiteY33898" fmla="*/ 625857 h 6557032"/>
              <a:gd name="connsiteX33899" fmla="*/ 697893 w 4610101"/>
              <a:gd name="connsiteY33899" fmla="*/ 622213 h 6557032"/>
              <a:gd name="connsiteX33900" fmla="*/ 641407 w 4610101"/>
              <a:gd name="connsiteY33900" fmla="*/ 622213 h 6557032"/>
              <a:gd name="connsiteX33901" fmla="*/ 637761 w 4610101"/>
              <a:gd name="connsiteY33901" fmla="*/ 624035 h 6557032"/>
              <a:gd name="connsiteX33902" fmla="*/ 641407 w 4610101"/>
              <a:gd name="connsiteY33902" fmla="*/ 622213 h 6557032"/>
              <a:gd name="connsiteX33903" fmla="*/ 559408 w 4610101"/>
              <a:gd name="connsiteY33903" fmla="*/ 622213 h 6557032"/>
              <a:gd name="connsiteX33904" fmla="*/ 555763 w 4610101"/>
              <a:gd name="connsiteY33904" fmla="*/ 629501 h 6557032"/>
              <a:gd name="connsiteX33905" fmla="*/ 559408 w 4610101"/>
              <a:gd name="connsiteY33905" fmla="*/ 634968 h 6557032"/>
              <a:gd name="connsiteX33906" fmla="*/ 559408 w 4610101"/>
              <a:gd name="connsiteY33906" fmla="*/ 627679 h 6557032"/>
              <a:gd name="connsiteX33907" fmla="*/ 559408 w 4610101"/>
              <a:gd name="connsiteY33907" fmla="*/ 622213 h 6557032"/>
              <a:gd name="connsiteX33908" fmla="*/ 535719 w 4610101"/>
              <a:gd name="connsiteY33908" fmla="*/ 622213 h 6557032"/>
              <a:gd name="connsiteX33909" fmla="*/ 541186 w 4610101"/>
              <a:gd name="connsiteY33909" fmla="*/ 636790 h 6557032"/>
              <a:gd name="connsiteX33910" fmla="*/ 535719 w 4610101"/>
              <a:gd name="connsiteY33910" fmla="*/ 622213 h 6557032"/>
              <a:gd name="connsiteX33911" fmla="*/ 526609 w 4610101"/>
              <a:gd name="connsiteY33911" fmla="*/ 622213 h 6557032"/>
              <a:gd name="connsiteX33912" fmla="*/ 532075 w 4610101"/>
              <a:gd name="connsiteY33912" fmla="*/ 627679 h 6557032"/>
              <a:gd name="connsiteX33913" fmla="*/ 526609 w 4610101"/>
              <a:gd name="connsiteY33913" fmla="*/ 622213 h 6557032"/>
              <a:gd name="connsiteX33914" fmla="*/ 459188 w 4610101"/>
              <a:gd name="connsiteY33914" fmla="*/ 622213 h 6557032"/>
              <a:gd name="connsiteX33915" fmla="*/ 481054 w 4610101"/>
              <a:gd name="connsiteY33915" fmla="*/ 649545 h 6557032"/>
              <a:gd name="connsiteX33916" fmla="*/ 459188 w 4610101"/>
              <a:gd name="connsiteY33916" fmla="*/ 622213 h 6557032"/>
              <a:gd name="connsiteX33917" fmla="*/ 101564 w 4610101"/>
              <a:gd name="connsiteY33917" fmla="*/ 621555 h 6557032"/>
              <a:gd name="connsiteX33918" fmla="*/ 105230 w 4610101"/>
              <a:gd name="connsiteY33918" fmla="*/ 629473 h 6557032"/>
              <a:gd name="connsiteX33919" fmla="*/ 116619 w 4610101"/>
              <a:gd name="connsiteY33919" fmla="*/ 664123 h 6557032"/>
              <a:gd name="connsiteX33920" fmla="*/ 116427 w 4610101"/>
              <a:gd name="connsiteY33920" fmla="*/ 663855 h 6557032"/>
              <a:gd name="connsiteX33921" fmla="*/ 106597 w 4610101"/>
              <a:gd name="connsiteY33921" fmla="*/ 635879 h 6557032"/>
              <a:gd name="connsiteX33922" fmla="*/ 3232537 w 4610101"/>
              <a:gd name="connsiteY33922" fmla="*/ 620391 h 6557032"/>
              <a:gd name="connsiteX33923" fmla="*/ 3237812 w 4610101"/>
              <a:gd name="connsiteY33923" fmla="*/ 622501 h 6557032"/>
              <a:gd name="connsiteX33924" fmla="*/ 3237776 w 4610101"/>
              <a:gd name="connsiteY33924" fmla="*/ 622897 h 6557032"/>
              <a:gd name="connsiteX33925" fmla="*/ 3241648 w 4610101"/>
              <a:gd name="connsiteY33925" fmla="*/ 624035 h 6557032"/>
              <a:gd name="connsiteX33926" fmla="*/ 3237812 w 4610101"/>
              <a:gd name="connsiteY33926" fmla="*/ 622501 h 6557032"/>
              <a:gd name="connsiteX33927" fmla="*/ 3238003 w 4610101"/>
              <a:gd name="connsiteY33927" fmla="*/ 620391 h 6557032"/>
              <a:gd name="connsiteX33928" fmla="*/ 3232537 w 4610101"/>
              <a:gd name="connsiteY33928" fmla="*/ 620391 h 6557032"/>
              <a:gd name="connsiteX33929" fmla="*/ 3225248 w 4610101"/>
              <a:gd name="connsiteY33929" fmla="*/ 620391 h 6557032"/>
              <a:gd name="connsiteX33930" fmla="*/ 3227071 w 4610101"/>
              <a:gd name="connsiteY33930" fmla="*/ 625857 h 6557032"/>
              <a:gd name="connsiteX33931" fmla="*/ 3225248 w 4610101"/>
              <a:gd name="connsiteY33931" fmla="*/ 620391 h 6557032"/>
              <a:gd name="connsiteX33932" fmla="*/ 3055786 w 4610101"/>
              <a:gd name="connsiteY33932" fmla="*/ 620391 h 6557032"/>
              <a:gd name="connsiteX33933" fmla="*/ 3064897 w 4610101"/>
              <a:gd name="connsiteY33933" fmla="*/ 629501 h 6557032"/>
              <a:gd name="connsiteX33934" fmla="*/ 3055786 w 4610101"/>
              <a:gd name="connsiteY33934" fmla="*/ 620391 h 6557032"/>
              <a:gd name="connsiteX33935" fmla="*/ 2879035 w 4610101"/>
              <a:gd name="connsiteY33935" fmla="*/ 620391 h 6557032"/>
              <a:gd name="connsiteX33936" fmla="*/ 2869924 w 4610101"/>
              <a:gd name="connsiteY33936" fmla="*/ 644079 h 6557032"/>
              <a:gd name="connsiteX33937" fmla="*/ 2882680 w 4610101"/>
              <a:gd name="connsiteY33937" fmla="*/ 633146 h 6557032"/>
              <a:gd name="connsiteX33938" fmla="*/ 2879035 w 4610101"/>
              <a:gd name="connsiteY33938" fmla="*/ 620391 h 6557032"/>
              <a:gd name="connsiteX33939" fmla="*/ 1055040 w 4610101"/>
              <a:gd name="connsiteY33939" fmla="*/ 620391 h 6557032"/>
              <a:gd name="connsiteX33940" fmla="*/ 1055950 w 4610101"/>
              <a:gd name="connsiteY33940" fmla="*/ 620999 h 6557032"/>
              <a:gd name="connsiteX33941" fmla="*/ 1055040 w 4610101"/>
              <a:gd name="connsiteY33941" fmla="*/ 622213 h 6557032"/>
              <a:gd name="connsiteX33942" fmla="*/ 1054431 w 4610101"/>
              <a:gd name="connsiteY33942" fmla="*/ 621606 h 6557032"/>
              <a:gd name="connsiteX33943" fmla="*/ 712470 w 4610101"/>
              <a:gd name="connsiteY33943" fmla="*/ 620391 h 6557032"/>
              <a:gd name="connsiteX33944" fmla="*/ 716115 w 4610101"/>
              <a:gd name="connsiteY33944" fmla="*/ 622213 h 6557032"/>
              <a:gd name="connsiteX33945" fmla="*/ 712470 w 4610101"/>
              <a:gd name="connsiteY33945" fmla="*/ 620391 h 6557032"/>
              <a:gd name="connsiteX33946" fmla="*/ 519320 w 4610101"/>
              <a:gd name="connsiteY33946" fmla="*/ 620391 h 6557032"/>
              <a:gd name="connsiteX33947" fmla="*/ 515676 w 4610101"/>
              <a:gd name="connsiteY33947" fmla="*/ 625857 h 6557032"/>
              <a:gd name="connsiteX33948" fmla="*/ 513853 w 4610101"/>
              <a:gd name="connsiteY33948" fmla="*/ 624035 h 6557032"/>
              <a:gd name="connsiteX33949" fmla="*/ 515676 w 4610101"/>
              <a:gd name="connsiteY33949" fmla="*/ 629501 h 6557032"/>
              <a:gd name="connsiteX33950" fmla="*/ 519320 w 4610101"/>
              <a:gd name="connsiteY33950" fmla="*/ 620391 h 6557032"/>
              <a:gd name="connsiteX33951" fmla="*/ 399056 w 4610101"/>
              <a:gd name="connsiteY33951" fmla="*/ 620391 h 6557032"/>
              <a:gd name="connsiteX33952" fmla="*/ 399056 w 4610101"/>
              <a:gd name="connsiteY33952" fmla="*/ 633146 h 6557032"/>
              <a:gd name="connsiteX33953" fmla="*/ 399056 w 4610101"/>
              <a:gd name="connsiteY33953" fmla="*/ 620391 h 6557032"/>
              <a:gd name="connsiteX33954" fmla="*/ 369902 w 4610101"/>
              <a:gd name="connsiteY33954" fmla="*/ 620391 h 6557032"/>
              <a:gd name="connsiteX33955" fmla="*/ 369902 w 4610101"/>
              <a:gd name="connsiteY33955" fmla="*/ 624035 h 6557032"/>
              <a:gd name="connsiteX33956" fmla="*/ 369902 w 4610101"/>
              <a:gd name="connsiteY33956" fmla="*/ 620391 h 6557032"/>
              <a:gd name="connsiteX33957" fmla="*/ 366257 w 4610101"/>
              <a:gd name="connsiteY33957" fmla="*/ 620391 h 6557032"/>
              <a:gd name="connsiteX33958" fmla="*/ 369902 w 4610101"/>
              <a:gd name="connsiteY33958" fmla="*/ 627679 h 6557032"/>
              <a:gd name="connsiteX33959" fmla="*/ 366257 w 4610101"/>
              <a:gd name="connsiteY33959" fmla="*/ 620391 h 6557032"/>
              <a:gd name="connsiteX33960" fmla="*/ 3538662 w 4610101"/>
              <a:gd name="connsiteY33960" fmla="*/ 618568 h 6557032"/>
              <a:gd name="connsiteX33961" fmla="*/ 3538662 w 4610101"/>
              <a:gd name="connsiteY33961" fmla="*/ 627679 h 6557032"/>
              <a:gd name="connsiteX33962" fmla="*/ 3547773 w 4610101"/>
              <a:gd name="connsiteY33962" fmla="*/ 631324 h 6557032"/>
              <a:gd name="connsiteX33963" fmla="*/ 3538662 w 4610101"/>
              <a:gd name="connsiteY33963" fmla="*/ 618568 h 6557032"/>
              <a:gd name="connsiteX33964" fmla="*/ 3270803 w 4610101"/>
              <a:gd name="connsiteY33964" fmla="*/ 618568 h 6557032"/>
              <a:gd name="connsiteX33965" fmla="*/ 3259869 w 4610101"/>
              <a:gd name="connsiteY33965" fmla="*/ 627679 h 6557032"/>
              <a:gd name="connsiteX33966" fmla="*/ 3272625 w 4610101"/>
              <a:gd name="connsiteY33966" fmla="*/ 622213 h 6557032"/>
              <a:gd name="connsiteX33967" fmla="*/ 3270803 w 4610101"/>
              <a:gd name="connsiteY33967" fmla="*/ 618568 h 6557032"/>
              <a:gd name="connsiteX33968" fmla="*/ 2767882 w 4610101"/>
              <a:gd name="connsiteY33968" fmla="*/ 618568 h 6557032"/>
              <a:gd name="connsiteX33969" fmla="*/ 2771071 w 4610101"/>
              <a:gd name="connsiteY33969" fmla="*/ 623352 h 6557032"/>
              <a:gd name="connsiteX33970" fmla="*/ 2771389 w 4610101"/>
              <a:gd name="connsiteY33970" fmla="*/ 627633 h 6557032"/>
              <a:gd name="connsiteX33971" fmla="*/ 2766060 w 4610101"/>
              <a:gd name="connsiteY33971" fmla="*/ 625857 h 6557032"/>
              <a:gd name="connsiteX33972" fmla="*/ 2766060 w 4610101"/>
              <a:gd name="connsiteY33972" fmla="*/ 629501 h 6557032"/>
              <a:gd name="connsiteX33973" fmla="*/ 2770161 w 4610101"/>
              <a:gd name="connsiteY33973" fmla="*/ 631324 h 6557032"/>
              <a:gd name="connsiteX33974" fmla="*/ 2771414 w 4610101"/>
              <a:gd name="connsiteY33974" fmla="*/ 627980 h 6557032"/>
              <a:gd name="connsiteX33975" fmla="*/ 2771527 w 4610101"/>
              <a:gd name="connsiteY33975" fmla="*/ 629501 h 6557032"/>
              <a:gd name="connsiteX33976" fmla="*/ 2773349 w 4610101"/>
              <a:gd name="connsiteY33976" fmla="*/ 627679 h 6557032"/>
              <a:gd name="connsiteX33977" fmla="*/ 2776993 w 4610101"/>
              <a:gd name="connsiteY33977" fmla="*/ 633146 h 6557032"/>
              <a:gd name="connsiteX33978" fmla="*/ 2769705 w 4610101"/>
              <a:gd name="connsiteY33978" fmla="*/ 636790 h 6557032"/>
              <a:gd name="connsiteX33979" fmla="*/ 2774716 w 4610101"/>
              <a:gd name="connsiteY33979" fmla="*/ 637019 h 6557032"/>
              <a:gd name="connsiteX33980" fmla="*/ 2775784 w 4610101"/>
              <a:gd name="connsiteY33980" fmla="*/ 640330 h 6557032"/>
              <a:gd name="connsiteX33981" fmla="*/ 2771755 w 4610101"/>
              <a:gd name="connsiteY33981" fmla="*/ 639979 h 6557032"/>
              <a:gd name="connsiteX33982" fmla="*/ 2767882 w 4610101"/>
              <a:gd name="connsiteY33982" fmla="*/ 636790 h 6557032"/>
              <a:gd name="connsiteX33983" fmla="*/ 2778816 w 4610101"/>
              <a:gd name="connsiteY33983" fmla="*/ 651368 h 6557032"/>
              <a:gd name="connsiteX33984" fmla="*/ 2777479 w 4610101"/>
              <a:gd name="connsiteY33984" fmla="*/ 643350 h 6557032"/>
              <a:gd name="connsiteX33985" fmla="*/ 2781093 w 4610101"/>
              <a:gd name="connsiteY33985" fmla="*/ 637929 h 6557032"/>
              <a:gd name="connsiteX33986" fmla="*/ 2787927 w 4610101"/>
              <a:gd name="connsiteY33986" fmla="*/ 638612 h 6557032"/>
              <a:gd name="connsiteX33987" fmla="*/ 2786104 w 4610101"/>
              <a:gd name="connsiteY33987" fmla="*/ 624035 h 6557032"/>
              <a:gd name="connsiteX33988" fmla="*/ 2789749 w 4610101"/>
              <a:gd name="connsiteY33988" fmla="*/ 638612 h 6557032"/>
              <a:gd name="connsiteX33989" fmla="*/ 2795215 w 4610101"/>
              <a:gd name="connsiteY33989" fmla="*/ 634968 h 6557032"/>
              <a:gd name="connsiteX33990" fmla="*/ 2778816 w 4610101"/>
              <a:gd name="connsiteY33990" fmla="*/ 618568 h 6557032"/>
              <a:gd name="connsiteX33991" fmla="*/ 2780638 w 4610101"/>
              <a:gd name="connsiteY33991" fmla="*/ 625857 h 6557032"/>
              <a:gd name="connsiteX33992" fmla="*/ 2775171 w 4610101"/>
              <a:gd name="connsiteY33992" fmla="*/ 620391 h 6557032"/>
              <a:gd name="connsiteX33993" fmla="*/ 2767882 w 4610101"/>
              <a:gd name="connsiteY33993" fmla="*/ 618568 h 6557032"/>
              <a:gd name="connsiteX33994" fmla="*/ 2430780 w 4610101"/>
              <a:gd name="connsiteY33994" fmla="*/ 618568 h 6557032"/>
              <a:gd name="connsiteX33995" fmla="*/ 2430780 w 4610101"/>
              <a:gd name="connsiteY33995" fmla="*/ 625857 h 6557032"/>
              <a:gd name="connsiteX33996" fmla="*/ 2430780 w 4610101"/>
              <a:gd name="connsiteY33996" fmla="*/ 618568 h 6557032"/>
              <a:gd name="connsiteX33997" fmla="*/ 2414381 w 4610101"/>
              <a:gd name="connsiteY33997" fmla="*/ 618568 h 6557032"/>
              <a:gd name="connsiteX33998" fmla="*/ 2396159 w 4610101"/>
              <a:gd name="connsiteY33998" fmla="*/ 625857 h 6557032"/>
              <a:gd name="connsiteX33999" fmla="*/ 2397981 w 4610101"/>
              <a:gd name="connsiteY33999" fmla="*/ 636790 h 6557032"/>
              <a:gd name="connsiteX34000" fmla="*/ 2403448 w 4610101"/>
              <a:gd name="connsiteY34000" fmla="*/ 636790 h 6557032"/>
              <a:gd name="connsiteX34001" fmla="*/ 2414381 w 4610101"/>
              <a:gd name="connsiteY34001" fmla="*/ 618568 h 6557032"/>
              <a:gd name="connsiteX34002" fmla="*/ 1406719 w 4610101"/>
              <a:gd name="connsiteY34002" fmla="*/ 618568 h 6557032"/>
              <a:gd name="connsiteX34003" fmla="*/ 1404896 w 4610101"/>
              <a:gd name="connsiteY34003" fmla="*/ 624035 h 6557032"/>
              <a:gd name="connsiteX34004" fmla="*/ 1406719 w 4610101"/>
              <a:gd name="connsiteY34004" fmla="*/ 618568 h 6557032"/>
              <a:gd name="connsiteX34005" fmla="*/ 630472 w 4610101"/>
              <a:gd name="connsiteY34005" fmla="*/ 618568 h 6557032"/>
              <a:gd name="connsiteX34006" fmla="*/ 626828 w 4610101"/>
              <a:gd name="connsiteY34006" fmla="*/ 625857 h 6557032"/>
              <a:gd name="connsiteX34007" fmla="*/ 628315 w 4610101"/>
              <a:gd name="connsiteY34007" fmla="*/ 625262 h 6557032"/>
              <a:gd name="connsiteX34008" fmla="*/ 623185 w 4610101"/>
              <a:gd name="connsiteY34008" fmla="*/ 644079 h 6557032"/>
              <a:gd name="connsiteX34009" fmla="*/ 630472 w 4610101"/>
              <a:gd name="connsiteY34009" fmla="*/ 618568 h 6557032"/>
              <a:gd name="connsiteX34010" fmla="*/ 594030 w 4610101"/>
              <a:gd name="connsiteY34010" fmla="*/ 618568 h 6557032"/>
              <a:gd name="connsiteX34011" fmla="*/ 594030 w 4610101"/>
              <a:gd name="connsiteY34011" fmla="*/ 624035 h 6557032"/>
              <a:gd name="connsiteX34012" fmla="*/ 594030 w 4610101"/>
              <a:gd name="connsiteY34012" fmla="*/ 618568 h 6557032"/>
              <a:gd name="connsiteX34013" fmla="*/ 470121 w 4610101"/>
              <a:gd name="connsiteY34013" fmla="*/ 618568 h 6557032"/>
              <a:gd name="connsiteX34014" fmla="*/ 486521 w 4610101"/>
              <a:gd name="connsiteY34014" fmla="*/ 640435 h 6557032"/>
              <a:gd name="connsiteX34015" fmla="*/ 470121 w 4610101"/>
              <a:gd name="connsiteY34015" fmla="*/ 618568 h 6557032"/>
              <a:gd name="connsiteX34016" fmla="*/ 435500 w 4610101"/>
              <a:gd name="connsiteY34016" fmla="*/ 618568 h 6557032"/>
              <a:gd name="connsiteX34017" fmla="*/ 437550 w 4610101"/>
              <a:gd name="connsiteY34017" fmla="*/ 621302 h 6557032"/>
              <a:gd name="connsiteX34018" fmla="*/ 436981 w 4610101"/>
              <a:gd name="connsiteY34018" fmla="*/ 622061 h 6557032"/>
              <a:gd name="connsiteX34019" fmla="*/ 435500 w 4610101"/>
              <a:gd name="connsiteY34019" fmla="*/ 620708 h 6557032"/>
              <a:gd name="connsiteX34020" fmla="*/ 664866 w 4610101"/>
              <a:gd name="connsiteY34020" fmla="*/ 618113 h 6557032"/>
              <a:gd name="connsiteX34021" fmla="*/ 659627 w 4610101"/>
              <a:gd name="connsiteY34021" fmla="*/ 624035 h 6557032"/>
              <a:gd name="connsiteX34022" fmla="*/ 663272 w 4610101"/>
              <a:gd name="connsiteY34022" fmla="*/ 625857 h 6557032"/>
              <a:gd name="connsiteX34023" fmla="*/ 664866 w 4610101"/>
              <a:gd name="connsiteY34023" fmla="*/ 618113 h 6557032"/>
              <a:gd name="connsiteX34024" fmla="*/ 1318343 w 4610101"/>
              <a:gd name="connsiteY34024" fmla="*/ 617658 h 6557032"/>
              <a:gd name="connsiteX34025" fmla="*/ 1319254 w 4610101"/>
              <a:gd name="connsiteY34025" fmla="*/ 620391 h 6557032"/>
              <a:gd name="connsiteX34026" fmla="*/ 1311282 w 4610101"/>
              <a:gd name="connsiteY34026" fmla="*/ 630641 h 6557032"/>
              <a:gd name="connsiteX34027" fmla="*/ 1310293 w 4610101"/>
              <a:gd name="connsiteY34027" fmla="*/ 631562 h 6557032"/>
              <a:gd name="connsiteX34028" fmla="*/ 460413 w 4610101"/>
              <a:gd name="connsiteY34028" fmla="*/ 617563 h 6557032"/>
              <a:gd name="connsiteX34029" fmla="*/ 464536 w 4610101"/>
              <a:gd name="connsiteY34029" fmla="*/ 620312 h 6557032"/>
              <a:gd name="connsiteX34030" fmla="*/ 464536 w 4610101"/>
              <a:gd name="connsiteY34030" fmla="*/ 620316 h 6557032"/>
              <a:gd name="connsiteX34031" fmla="*/ 460327 w 4610101"/>
              <a:gd name="connsiteY34031" fmla="*/ 617658 h 6557032"/>
              <a:gd name="connsiteX34032" fmla="*/ 3048497 w 4610101"/>
              <a:gd name="connsiteY34032" fmla="*/ 616746 h 6557032"/>
              <a:gd name="connsiteX34033" fmla="*/ 3050319 w 4610101"/>
              <a:gd name="connsiteY34033" fmla="*/ 631324 h 6557032"/>
              <a:gd name="connsiteX34034" fmla="*/ 3048497 w 4610101"/>
              <a:gd name="connsiteY34034" fmla="*/ 616746 h 6557032"/>
              <a:gd name="connsiteX34035" fmla="*/ 1335654 w 4610101"/>
              <a:gd name="connsiteY34035" fmla="*/ 616746 h 6557032"/>
              <a:gd name="connsiteX34036" fmla="*/ 1330188 w 4610101"/>
              <a:gd name="connsiteY34036" fmla="*/ 629501 h 6557032"/>
              <a:gd name="connsiteX34037" fmla="*/ 1324721 w 4610101"/>
              <a:gd name="connsiteY34037" fmla="*/ 645901 h 6557032"/>
              <a:gd name="connsiteX34038" fmla="*/ 1332009 w 4610101"/>
              <a:gd name="connsiteY34038" fmla="*/ 627679 h 6557032"/>
              <a:gd name="connsiteX34039" fmla="*/ 1335654 w 4610101"/>
              <a:gd name="connsiteY34039" fmla="*/ 616746 h 6557032"/>
              <a:gd name="connsiteX34040" fmla="*/ 1301033 w 4610101"/>
              <a:gd name="connsiteY34040" fmla="*/ 616746 h 6557032"/>
              <a:gd name="connsiteX34041" fmla="*/ 1293744 w 4610101"/>
              <a:gd name="connsiteY34041" fmla="*/ 620391 h 6557032"/>
              <a:gd name="connsiteX34042" fmla="*/ 1297388 w 4610101"/>
              <a:gd name="connsiteY34042" fmla="*/ 622213 h 6557032"/>
              <a:gd name="connsiteX34043" fmla="*/ 1301033 w 4610101"/>
              <a:gd name="connsiteY34043" fmla="*/ 616746 h 6557032"/>
              <a:gd name="connsiteX34044" fmla="*/ 1284633 w 4610101"/>
              <a:gd name="connsiteY34044" fmla="*/ 616746 h 6557032"/>
              <a:gd name="connsiteX34045" fmla="*/ 1273700 w 4610101"/>
              <a:gd name="connsiteY34045" fmla="*/ 633146 h 6557032"/>
              <a:gd name="connsiteX34046" fmla="*/ 1282811 w 4610101"/>
              <a:gd name="connsiteY34046" fmla="*/ 631324 h 6557032"/>
              <a:gd name="connsiteX34047" fmla="*/ 1286455 w 4610101"/>
              <a:gd name="connsiteY34047" fmla="*/ 633146 h 6557032"/>
              <a:gd name="connsiteX34048" fmla="*/ 1288277 w 4610101"/>
              <a:gd name="connsiteY34048" fmla="*/ 625857 h 6557032"/>
              <a:gd name="connsiteX34049" fmla="*/ 1273700 w 4610101"/>
              <a:gd name="connsiteY34049" fmla="*/ 633146 h 6557032"/>
              <a:gd name="connsiteX34050" fmla="*/ 1277344 w 4610101"/>
              <a:gd name="connsiteY34050" fmla="*/ 624035 h 6557032"/>
              <a:gd name="connsiteX34051" fmla="*/ 1277344 w 4610101"/>
              <a:gd name="connsiteY34051" fmla="*/ 629501 h 6557032"/>
              <a:gd name="connsiteX34052" fmla="*/ 1282811 w 4610101"/>
              <a:gd name="connsiteY34052" fmla="*/ 625857 h 6557032"/>
              <a:gd name="connsiteX34053" fmla="*/ 1280989 w 4610101"/>
              <a:gd name="connsiteY34053" fmla="*/ 622213 h 6557032"/>
              <a:gd name="connsiteX34054" fmla="*/ 1284633 w 4610101"/>
              <a:gd name="connsiteY34054" fmla="*/ 620391 h 6557032"/>
              <a:gd name="connsiteX34055" fmla="*/ 1284633 w 4610101"/>
              <a:gd name="connsiteY34055" fmla="*/ 624035 h 6557032"/>
              <a:gd name="connsiteX34056" fmla="*/ 1290100 w 4610101"/>
              <a:gd name="connsiteY34056" fmla="*/ 620391 h 6557032"/>
              <a:gd name="connsiteX34057" fmla="*/ 1284633 w 4610101"/>
              <a:gd name="connsiteY34057" fmla="*/ 616746 h 6557032"/>
              <a:gd name="connsiteX34058" fmla="*/ 1257300 w 4610101"/>
              <a:gd name="connsiteY34058" fmla="*/ 616746 h 6557032"/>
              <a:gd name="connsiteX34059" fmla="*/ 1257300 w 4610101"/>
              <a:gd name="connsiteY34059" fmla="*/ 622213 h 6557032"/>
              <a:gd name="connsiteX34060" fmla="*/ 1259123 w 4610101"/>
              <a:gd name="connsiteY34060" fmla="*/ 620391 h 6557032"/>
              <a:gd name="connsiteX34061" fmla="*/ 1257300 w 4610101"/>
              <a:gd name="connsiteY34061" fmla="*/ 629501 h 6557032"/>
              <a:gd name="connsiteX34062" fmla="*/ 1260945 w 4610101"/>
              <a:gd name="connsiteY34062" fmla="*/ 627679 h 6557032"/>
              <a:gd name="connsiteX34063" fmla="*/ 1260945 w 4610101"/>
              <a:gd name="connsiteY34063" fmla="*/ 631324 h 6557032"/>
              <a:gd name="connsiteX34064" fmla="*/ 1264589 w 4610101"/>
              <a:gd name="connsiteY34064" fmla="*/ 625857 h 6557032"/>
              <a:gd name="connsiteX34065" fmla="*/ 1257300 w 4610101"/>
              <a:gd name="connsiteY34065" fmla="*/ 616746 h 6557032"/>
              <a:gd name="connsiteX34066" fmla="*/ 1229969 w 4610101"/>
              <a:gd name="connsiteY34066" fmla="*/ 616746 h 6557032"/>
              <a:gd name="connsiteX34067" fmla="*/ 1229969 w 4610101"/>
              <a:gd name="connsiteY34067" fmla="*/ 622213 h 6557032"/>
              <a:gd name="connsiteX34068" fmla="*/ 1225958 w 4610101"/>
              <a:gd name="connsiteY34068" fmla="*/ 626587 h 6557032"/>
              <a:gd name="connsiteX34069" fmla="*/ 1226323 w 4610101"/>
              <a:gd name="connsiteY34069" fmla="*/ 625857 h 6557032"/>
              <a:gd name="connsiteX34070" fmla="*/ 1224501 w 4610101"/>
              <a:gd name="connsiteY34070" fmla="*/ 624035 h 6557032"/>
              <a:gd name="connsiteX34071" fmla="*/ 1215390 w 4610101"/>
              <a:gd name="connsiteY34071" fmla="*/ 631324 h 6557032"/>
              <a:gd name="connsiteX34072" fmla="*/ 1218579 w 4610101"/>
              <a:gd name="connsiteY34072" fmla="*/ 629046 h 6557032"/>
              <a:gd name="connsiteX34073" fmla="*/ 1222585 w 4610101"/>
              <a:gd name="connsiteY34073" fmla="*/ 629354 h 6557032"/>
              <a:gd name="connsiteX34074" fmla="*/ 1217213 w 4610101"/>
              <a:gd name="connsiteY34074" fmla="*/ 633146 h 6557032"/>
              <a:gd name="connsiteX34075" fmla="*/ 1239080 w 4610101"/>
              <a:gd name="connsiteY34075" fmla="*/ 633146 h 6557032"/>
              <a:gd name="connsiteX34076" fmla="*/ 1229969 w 4610101"/>
              <a:gd name="connsiteY34076" fmla="*/ 616746 h 6557032"/>
              <a:gd name="connsiteX34077" fmla="*/ 1175303 w 4610101"/>
              <a:gd name="connsiteY34077" fmla="*/ 616746 h 6557032"/>
              <a:gd name="connsiteX34078" fmla="*/ 1157081 w 4610101"/>
              <a:gd name="connsiteY34078" fmla="*/ 631324 h 6557032"/>
              <a:gd name="connsiteX34079" fmla="*/ 1173481 w 4610101"/>
              <a:gd name="connsiteY34079" fmla="*/ 627679 h 6557032"/>
              <a:gd name="connsiteX34080" fmla="*/ 1171658 w 4610101"/>
              <a:gd name="connsiteY34080" fmla="*/ 624035 h 6557032"/>
              <a:gd name="connsiteX34081" fmla="*/ 1175303 w 4610101"/>
              <a:gd name="connsiteY34081" fmla="*/ 625857 h 6557032"/>
              <a:gd name="connsiteX34082" fmla="*/ 1175303 w 4610101"/>
              <a:gd name="connsiteY34082" fmla="*/ 616746 h 6557032"/>
              <a:gd name="connsiteX34083" fmla="*/ 1116993 w 4610101"/>
              <a:gd name="connsiteY34083" fmla="*/ 616746 h 6557032"/>
              <a:gd name="connsiteX34084" fmla="*/ 1109704 w 4610101"/>
              <a:gd name="connsiteY34084" fmla="*/ 629501 h 6557032"/>
              <a:gd name="connsiteX34085" fmla="*/ 1116993 w 4610101"/>
              <a:gd name="connsiteY34085" fmla="*/ 616746 h 6557032"/>
              <a:gd name="connsiteX34086" fmla="*/ 603140 w 4610101"/>
              <a:gd name="connsiteY34086" fmla="*/ 616746 h 6557032"/>
              <a:gd name="connsiteX34087" fmla="*/ 599496 w 4610101"/>
              <a:gd name="connsiteY34087" fmla="*/ 627679 h 6557032"/>
              <a:gd name="connsiteX34088" fmla="*/ 599496 w 4610101"/>
              <a:gd name="connsiteY34088" fmla="*/ 625857 h 6557032"/>
              <a:gd name="connsiteX34089" fmla="*/ 597673 w 4610101"/>
              <a:gd name="connsiteY34089" fmla="*/ 633146 h 6557032"/>
              <a:gd name="connsiteX34090" fmla="*/ 599496 w 4610101"/>
              <a:gd name="connsiteY34090" fmla="*/ 631324 h 6557032"/>
              <a:gd name="connsiteX34091" fmla="*/ 610429 w 4610101"/>
              <a:gd name="connsiteY34091" fmla="*/ 638612 h 6557032"/>
              <a:gd name="connsiteX34092" fmla="*/ 603140 w 4610101"/>
              <a:gd name="connsiteY34092" fmla="*/ 616746 h 6557032"/>
              <a:gd name="connsiteX34093" fmla="*/ 306126 w 4610101"/>
              <a:gd name="connsiteY34093" fmla="*/ 616746 h 6557032"/>
              <a:gd name="connsiteX34094" fmla="*/ 309771 w 4610101"/>
              <a:gd name="connsiteY34094" fmla="*/ 622213 h 6557032"/>
              <a:gd name="connsiteX34095" fmla="*/ 306126 w 4610101"/>
              <a:gd name="connsiteY34095" fmla="*/ 616746 h 6557032"/>
              <a:gd name="connsiteX34096" fmla="*/ 297015 w 4610101"/>
              <a:gd name="connsiteY34096" fmla="*/ 616746 h 6557032"/>
              <a:gd name="connsiteX34097" fmla="*/ 302481 w 4610101"/>
              <a:gd name="connsiteY34097" fmla="*/ 627679 h 6557032"/>
              <a:gd name="connsiteX34098" fmla="*/ 297015 w 4610101"/>
              <a:gd name="connsiteY34098" fmla="*/ 616746 h 6557032"/>
              <a:gd name="connsiteX34099" fmla="*/ 218675 w 4610101"/>
              <a:gd name="connsiteY34099" fmla="*/ 616680 h 6557032"/>
              <a:gd name="connsiteX34100" fmla="*/ 219572 w 4610101"/>
              <a:gd name="connsiteY34100" fmla="*/ 618540 h 6557032"/>
              <a:gd name="connsiteX34101" fmla="*/ 217448 w 4610101"/>
              <a:gd name="connsiteY34101" fmla="*/ 622810 h 6557032"/>
              <a:gd name="connsiteX34102" fmla="*/ 400879 w 4610101"/>
              <a:gd name="connsiteY34102" fmla="*/ 616201 h 6557032"/>
              <a:gd name="connsiteX34103" fmla="*/ 401335 w 4610101"/>
              <a:gd name="connsiteY34103" fmla="*/ 617430 h 6557032"/>
              <a:gd name="connsiteX34104" fmla="*/ 401052 w 4610101"/>
              <a:gd name="connsiteY34104" fmla="*/ 620391 h 6557032"/>
              <a:gd name="connsiteX34105" fmla="*/ 400879 w 4610101"/>
              <a:gd name="connsiteY34105" fmla="*/ 620391 h 6557032"/>
              <a:gd name="connsiteX34106" fmla="*/ 2480161 w 4610101"/>
              <a:gd name="connsiteY34106" fmla="*/ 615836 h 6557032"/>
              <a:gd name="connsiteX34107" fmla="*/ 2480207 w 4610101"/>
              <a:gd name="connsiteY34107" fmla="*/ 617430 h 6557032"/>
              <a:gd name="connsiteX34108" fmla="*/ 2481801 w 4610101"/>
              <a:gd name="connsiteY34108" fmla="*/ 624035 h 6557032"/>
              <a:gd name="connsiteX34109" fmla="*/ 2479751 w 4610101"/>
              <a:gd name="connsiteY34109" fmla="*/ 616974 h 6557032"/>
              <a:gd name="connsiteX34110" fmla="*/ 3214315 w 4610101"/>
              <a:gd name="connsiteY34110" fmla="*/ 614924 h 6557032"/>
              <a:gd name="connsiteX34111" fmla="*/ 3188805 w 4610101"/>
              <a:gd name="connsiteY34111" fmla="*/ 616746 h 6557032"/>
              <a:gd name="connsiteX34112" fmla="*/ 3181516 w 4610101"/>
              <a:gd name="connsiteY34112" fmla="*/ 627679 h 6557032"/>
              <a:gd name="connsiteX34113" fmla="*/ 3188805 w 4610101"/>
              <a:gd name="connsiteY34113" fmla="*/ 629501 h 6557032"/>
              <a:gd name="connsiteX34114" fmla="*/ 3186982 w 4610101"/>
              <a:gd name="connsiteY34114" fmla="*/ 624035 h 6557032"/>
              <a:gd name="connsiteX34115" fmla="*/ 3194271 w 4610101"/>
              <a:gd name="connsiteY34115" fmla="*/ 629501 h 6557032"/>
              <a:gd name="connsiteX34116" fmla="*/ 3190627 w 4610101"/>
              <a:gd name="connsiteY34116" fmla="*/ 638612 h 6557032"/>
              <a:gd name="connsiteX34117" fmla="*/ 3205204 w 4610101"/>
              <a:gd name="connsiteY34117" fmla="*/ 634968 h 6557032"/>
              <a:gd name="connsiteX34118" fmla="*/ 3203382 w 4610101"/>
              <a:gd name="connsiteY34118" fmla="*/ 624035 h 6557032"/>
              <a:gd name="connsiteX34119" fmla="*/ 3219782 w 4610101"/>
              <a:gd name="connsiteY34119" fmla="*/ 622213 h 6557032"/>
              <a:gd name="connsiteX34120" fmla="*/ 3214315 w 4610101"/>
              <a:gd name="connsiteY34120" fmla="*/ 614924 h 6557032"/>
              <a:gd name="connsiteX34121" fmla="*/ 3028453 w 4610101"/>
              <a:gd name="connsiteY34121" fmla="*/ 614924 h 6557032"/>
              <a:gd name="connsiteX34122" fmla="*/ 3028455 w 4610101"/>
              <a:gd name="connsiteY34122" fmla="*/ 614924 h 6557032"/>
              <a:gd name="connsiteX34123" fmla="*/ 3028453 w 4610101"/>
              <a:gd name="connsiteY34123" fmla="*/ 614926 h 6557032"/>
              <a:gd name="connsiteX34124" fmla="*/ 2880857 w 4610101"/>
              <a:gd name="connsiteY34124" fmla="*/ 614924 h 6557032"/>
              <a:gd name="connsiteX34125" fmla="*/ 2882680 w 4610101"/>
              <a:gd name="connsiteY34125" fmla="*/ 622213 h 6557032"/>
              <a:gd name="connsiteX34126" fmla="*/ 2880857 w 4610101"/>
              <a:gd name="connsiteY34126" fmla="*/ 614924 h 6557032"/>
              <a:gd name="connsiteX34127" fmla="*/ 2376115 w 4610101"/>
              <a:gd name="connsiteY34127" fmla="*/ 614924 h 6557032"/>
              <a:gd name="connsiteX34128" fmla="*/ 2368827 w 4610101"/>
              <a:gd name="connsiteY34128" fmla="*/ 624035 h 6557032"/>
              <a:gd name="connsiteX34129" fmla="*/ 2376115 w 4610101"/>
              <a:gd name="connsiteY34129" fmla="*/ 614924 h 6557032"/>
              <a:gd name="connsiteX34130" fmla="*/ 2137410 w 4610101"/>
              <a:gd name="connsiteY34130" fmla="*/ 614924 h 6557032"/>
              <a:gd name="connsiteX34131" fmla="*/ 2139233 w 4610101"/>
              <a:gd name="connsiteY34131" fmla="*/ 620391 h 6557032"/>
              <a:gd name="connsiteX34132" fmla="*/ 2137376 w 4610101"/>
              <a:gd name="connsiteY34132" fmla="*/ 614963 h 6557032"/>
              <a:gd name="connsiteX34133" fmla="*/ 1122459 w 4610101"/>
              <a:gd name="connsiteY34133" fmla="*/ 614924 h 6557032"/>
              <a:gd name="connsiteX34134" fmla="*/ 1116993 w 4610101"/>
              <a:gd name="connsiteY34134" fmla="*/ 624035 h 6557032"/>
              <a:gd name="connsiteX34135" fmla="*/ 1122231 w 4610101"/>
              <a:gd name="connsiteY34135" fmla="*/ 621302 h 6557032"/>
              <a:gd name="connsiteX34136" fmla="*/ 1126104 w 4610101"/>
              <a:gd name="connsiteY34136" fmla="*/ 618569 h 6557032"/>
              <a:gd name="connsiteX34137" fmla="*/ 1127926 w 4610101"/>
              <a:gd name="connsiteY34137" fmla="*/ 620391 h 6557032"/>
              <a:gd name="connsiteX34138" fmla="*/ 1127926 w 4610101"/>
              <a:gd name="connsiteY34138" fmla="*/ 629501 h 6557032"/>
              <a:gd name="connsiteX34139" fmla="*/ 1131570 w 4610101"/>
              <a:gd name="connsiteY34139" fmla="*/ 625857 h 6557032"/>
              <a:gd name="connsiteX34140" fmla="*/ 1131570 w 4610101"/>
              <a:gd name="connsiteY34140" fmla="*/ 622213 h 6557032"/>
              <a:gd name="connsiteX34141" fmla="*/ 1129748 w 4610101"/>
              <a:gd name="connsiteY34141" fmla="*/ 618568 h 6557032"/>
              <a:gd name="connsiteX34142" fmla="*/ 1127926 w 4610101"/>
              <a:gd name="connsiteY34142" fmla="*/ 620391 h 6557032"/>
              <a:gd name="connsiteX34143" fmla="*/ 1126104 w 4610101"/>
              <a:gd name="connsiteY34143" fmla="*/ 618568 h 6557032"/>
              <a:gd name="connsiteX34144" fmla="*/ 1126104 w 4610101"/>
              <a:gd name="connsiteY34144" fmla="*/ 618569 h 6557032"/>
              <a:gd name="connsiteX34145" fmla="*/ 1124282 w 4610101"/>
              <a:gd name="connsiteY34145" fmla="*/ 616746 h 6557032"/>
              <a:gd name="connsiteX34146" fmla="*/ 1122459 w 4610101"/>
              <a:gd name="connsiteY34146" fmla="*/ 614924 h 6557032"/>
              <a:gd name="connsiteX34147" fmla="*/ 1093305 w 4610101"/>
              <a:gd name="connsiteY34147" fmla="*/ 614924 h 6557032"/>
              <a:gd name="connsiteX34148" fmla="*/ 1091484 w 4610101"/>
              <a:gd name="connsiteY34148" fmla="*/ 618568 h 6557032"/>
              <a:gd name="connsiteX34149" fmla="*/ 1082373 w 4610101"/>
              <a:gd name="connsiteY34149" fmla="*/ 618568 h 6557032"/>
              <a:gd name="connsiteX34150" fmla="*/ 1065972 w 4610101"/>
              <a:gd name="connsiteY34150" fmla="*/ 644079 h 6557032"/>
              <a:gd name="connsiteX34151" fmla="*/ 1068863 w 4610101"/>
              <a:gd name="connsiteY34151" fmla="*/ 646007 h 6557032"/>
              <a:gd name="connsiteX34152" fmla="*/ 1060278 w 4610101"/>
              <a:gd name="connsiteY34152" fmla="*/ 646357 h 6557032"/>
              <a:gd name="connsiteX34153" fmla="*/ 1056541 w 4610101"/>
              <a:gd name="connsiteY34153" fmla="*/ 650939 h 6557032"/>
              <a:gd name="connsiteX34154" fmla="*/ 1062328 w 4610101"/>
              <a:gd name="connsiteY34154" fmla="*/ 642257 h 6557032"/>
              <a:gd name="connsiteX34155" fmla="*/ 1056633 w 4610101"/>
              <a:gd name="connsiteY34155" fmla="*/ 647040 h 6557032"/>
              <a:gd name="connsiteX34156" fmla="*/ 1055195 w 4610101"/>
              <a:gd name="connsiteY34156" fmla="*/ 652587 h 6557032"/>
              <a:gd name="connsiteX34157" fmla="*/ 1053217 w 4610101"/>
              <a:gd name="connsiteY34157" fmla="*/ 655012 h 6557032"/>
              <a:gd name="connsiteX34158" fmla="*/ 1062328 w 4610101"/>
              <a:gd name="connsiteY34158" fmla="*/ 655012 h 6557032"/>
              <a:gd name="connsiteX34159" fmla="*/ 1055040 w 4610101"/>
              <a:gd name="connsiteY34159" fmla="*/ 664123 h 6557032"/>
              <a:gd name="connsiteX34160" fmla="*/ 1078727 w 4610101"/>
              <a:gd name="connsiteY34160" fmla="*/ 651368 h 6557032"/>
              <a:gd name="connsiteX34161" fmla="*/ 1075083 w 4610101"/>
              <a:gd name="connsiteY34161" fmla="*/ 649545 h 6557032"/>
              <a:gd name="connsiteX34162" fmla="*/ 1062328 w 4610101"/>
              <a:gd name="connsiteY34162" fmla="*/ 656834 h 6557032"/>
              <a:gd name="connsiteX34163" fmla="*/ 1070463 w 4610101"/>
              <a:gd name="connsiteY34163" fmla="*/ 647073 h 6557032"/>
              <a:gd name="connsiteX34164" fmla="*/ 1071439 w 4610101"/>
              <a:gd name="connsiteY34164" fmla="*/ 647723 h 6557032"/>
              <a:gd name="connsiteX34165" fmla="*/ 1078727 w 4610101"/>
              <a:gd name="connsiteY34165" fmla="*/ 636790 h 6557032"/>
              <a:gd name="connsiteX34166" fmla="*/ 1073262 w 4610101"/>
              <a:gd name="connsiteY34166" fmla="*/ 645901 h 6557032"/>
              <a:gd name="connsiteX34167" fmla="*/ 1082373 w 4610101"/>
              <a:gd name="connsiteY34167" fmla="*/ 649545 h 6557032"/>
              <a:gd name="connsiteX34168" fmla="*/ 1084194 w 4610101"/>
              <a:gd name="connsiteY34168" fmla="*/ 644079 h 6557032"/>
              <a:gd name="connsiteX34169" fmla="*/ 1087838 w 4610101"/>
              <a:gd name="connsiteY34169" fmla="*/ 642257 h 6557032"/>
              <a:gd name="connsiteX34170" fmla="*/ 1084194 w 4610101"/>
              <a:gd name="connsiteY34170" fmla="*/ 644079 h 6557032"/>
              <a:gd name="connsiteX34171" fmla="*/ 1084194 w 4610101"/>
              <a:gd name="connsiteY34171" fmla="*/ 638612 h 6557032"/>
              <a:gd name="connsiteX34172" fmla="*/ 1098771 w 4610101"/>
              <a:gd name="connsiteY34172" fmla="*/ 633146 h 6557032"/>
              <a:gd name="connsiteX34173" fmla="*/ 1096221 w 4610101"/>
              <a:gd name="connsiteY34173" fmla="*/ 627681 h 6557032"/>
              <a:gd name="connsiteX34174" fmla="*/ 1100593 w 4610101"/>
              <a:gd name="connsiteY34174" fmla="*/ 631324 h 6557032"/>
              <a:gd name="connsiteX34175" fmla="*/ 1096949 w 4610101"/>
              <a:gd name="connsiteY34175" fmla="*/ 620391 h 6557032"/>
              <a:gd name="connsiteX34176" fmla="*/ 1102416 w 4610101"/>
              <a:gd name="connsiteY34176" fmla="*/ 620391 h 6557032"/>
              <a:gd name="connsiteX34177" fmla="*/ 1093305 w 4610101"/>
              <a:gd name="connsiteY34177" fmla="*/ 614924 h 6557032"/>
              <a:gd name="connsiteX34178" fmla="*/ 918376 w 4610101"/>
              <a:gd name="connsiteY34178" fmla="*/ 614924 h 6557032"/>
              <a:gd name="connsiteX34179" fmla="*/ 912909 w 4610101"/>
              <a:gd name="connsiteY34179" fmla="*/ 629501 h 6557032"/>
              <a:gd name="connsiteX34180" fmla="*/ 918376 w 4610101"/>
              <a:gd name="connsiteY34180" fmla="*/ 620391 h 6557032"/>
              <a:gd name="connsiteX34181" fmla="*/ 918376 w 4610101"/>
              <a:gd name="connsiteY34181" fmla="*/ 614924 h 6557032"/>
              <a:gd name="connsiteX34182" fmla="*/ 869177 w 4610101"/>
              <a:gd name="connsiteY34182" fmla="*/ 614924 h 6557032"/>
              <a:gd name="connsiteX34183" fmla="*/ 860066 w 4610101"/>
              <a:gd name="connsiteY34183" fmla="*/ 622213 h 6557032"/>
              <a:gd name="connsiteX34184" fmla="*/ 861889 w 4610101"/>
              <a:gd name="connsiteY34184" fmla="*/ 636790 h 6557032"/>
              <a:gd name="connsiteX34185" fmla="*/ 869177 w 4610101"/>
              <a:gd name="connsiteY34185" fmla="*/ 614924 h 6557032"/>
              <a:gd name="connsiteX34186" fmla="*/ 634117 w 4610101"/>
              <a:gd name="connsiteY34186" fmla="*/ 614924 h 6557032"/>
              <a:gd name="connsiteX34187" fmla="*/ 639583 w 4610101"/>
              <a:gd name="connsiteY34187" fmla="*/ 620391 h 6557032"/>
              <a:gd name="connsiteX34188" fmla="*/ 634117 w 4610101"/>
              <a:gd name="connsiteY34188" fmla="*/ 614924 h 6557032"/>
              <a:gd name="connsiteX34189" fmla="*/ 462832 w 4610101"/>
              <a:gd name="connsiteY34189" fmla="*/ 614924 h 6557032"/>
              <a:gd name="connsiteX34190" fmla="*/ 460413 w 4610101"/>
              <a:gd name="connsiteY34190" fmla="*/ 617563 h 6557032"/>
              <a:gd name="connsiteX34191" fmla="*/ 459188 w 4610101"/>
              <a:gd name="connsiteY34191" fmla="*/ 616746 h 6557032"/>
              <a:gd name="connsiteX34192" fmla="*/ 464655 w 4610101"/>
              <a:gd name="connsiteY34192" fmla="*/ 622213 h 6557032"/>
              <a:gd name="connsiteX34193" fmla="*/ 464536 w 4610101"/>
              <a:gd name="connsiteY34193" fmla="*/ 620316 h 6557032"/>
              <a:gd name="connsiteX34194" fmla="*/ 464655 w 4610101"/>
              <a:gd name="connsiteY34194" fmla="*/ 620391 h 6557032"/>
              <a:gd name="connsiteX34195" fmla="*/ 464536 w 4610101"/>
              <a:gd name="connsiteY34195" fmla="*/ 620312 h 6557032"/>
              <a:gd name="connsiteX34196" fmla="*/ 464427 w 4610101"/>
              <a:gd name="connsiteY34196" fmla="*/ 618569 h 6557032"/>
              <a:gd name="connsiteX34197" fmla="*/ 462832 w 4610101"/>
              <a:gd name="connsiteY34197" fmla="*/ 614924 h 6557032"/>
              <a:gd name="connsiteX34198" fmla="*/ 313414 w 4610101"/>
              <a:gd name="connsiteY34198" fmla="*/ 614924 h 6557032"/>
              <a:gd name="connsiteX34199" fmla="*/ 335280 w 4610101"/>
              <a:gd name="connsiteY34199" fmla="*/ 638612 h 6557032"/>
              <a:gd name="connsiteX34200" fmla="*/ 318882 w 4610101"/>
              <a:gd name="connsiteY34200" fmla="*/ 618568 h 6557032"/>
              <a:gd name="connsiteX34201" fmla="*/ 322525 w 4610101"/>
              <a:gd name="connsiteY34201" fmla="*/ 629501 h 6557032"/>
              <a:gd name="connsiteX34202" fmla="*/ 313414 w 4610101"/>
              <a:gd name="connsiteY34202" fmla="*/ 614924 h 6557032"/>
              <a:gd name="connsiteX34203" fmla="*/ 72887 w 4610101"/>
              <a:gd name="connsiteY34203" fmla="*/ 614924 h 6557032"/>
              <a:gd name="connsiteX34204" fmla="*/ 74707 w 4610101"/>
              <a:gd name="connsiteY34204" fmla="*/ 620385 h 6557032"/>
              <a:gd name="connsiteX34205" fmla="*/ 74709 w 4610101"/>
              <a:gd name="connsiteY34205" fmla="*/ 620391 h 6557032"/>
              <a:gd name="connsiteX34206" fmla="*/ 72887 w 4610101"/>
              <a:gd name="connsiteY34206" fmla="*/ 614924 h 6557032"/>
              <a:gd name="connsiteX34207" fmla="*/ 903343 w 4610101"/>
              <a:gd name="connsiteY34207" fmla="*/ 614697 h 6557032"/>
              <a:gd name="connsiteX34208" fmla="*/ 900154 w 4610101"/>
              <a:gd name="connsiteY34208" fmla="*/ 616746 h 6557032"/>
              <a:gd name="connsiteX34209" fmla="*/ 891043 w 4610101"/>
              <a:gd name="connsiteY34209" fmla="*/ 625857 h 6557032"/>
              <a:gd name="connsiteX34210" fmla="*/ 905621 w 4610101"/>
              <a:gd name="connsiteY34210" fmla="*/ 624035 h 6557032"/>
              <a:gd name="connsiteX34211" fmla="*/ 903799 w 4610101"/>
              <a:gd name="connsiteY34211" fmla="*/ 620391 h 6557032"/>
              <a:gd name="connsiteX34212" fmla="*/ 901976 w 4610101"/>
              <a:gd name="connsiteY34212" fmla="*/ 622213 h 6557032"/>
              <a:gd name="connsiteX34213" fmla="*/ 900154 w 4610101"/>
              <a:gd name="connsiteY34213" fmla="*/ 616746 h 6557032"/>
              <a:gd name="connsiteX34214" fmla="*/ 903799 w 4610101"/>
              <a:gd name="connsiteY34214" fmla="*/ 616746 h 6557032"/>
              <a:gd name="connsiteX34215" fmla="*/ 903343 w 4610101"/>
              <a:gd name="connsiteY34215" fmla="*/ 614697 h 6557032"/>
              <a:gd name="connsiteX34216" fmla="*/ 177264 w 4610101"/>
              <a:gd name="connsiteY34216" fmla="*/ 613911 h 6557032"/>
              <a:gd name="connsiteX34217" fmla="*/ 178288 w 4610101"/>
              <a:gd name="connsiteY34217" fmla="*/ 615178 h 6557032"/>
              <a:gd name="connsiteX34218" fmla="*/ 178573 w 4610101"/>
              <a:gd name="connsiteY34218" fmla="*/ 616746 h 6557032"/>
              <a:gd name="connsiteX34219" fmla="*/ 2868102 w 4610101"/>
              <a:gd name="connsiteY34219" fmla="*/ 613103 h 6557032"/>
              <a:gd name="connsiteX34220" fmla="*/ 2864458 w 4610101"/>
              <a:gd name="connsiteY34220" fmla="*/ 620391 h 6557032"/>
              <a:gd name="connsiteX34221" fmla="*/ 2868102 w 4610101"/>
              <a:gd name="connsiteY34221" fmla="*/ 613103 h 6557032"/>
              <a:gd name="connsiteX34222" fmla="*/ 2315983 w 4610101"/>
              <a:gd name="connsiteY34222" fmla="*/ 613103 h 6557032"/>
              <a:gd name="connsiteX34223" fmla="*/ 2317806 w 4610101"/>
              <a:gd name="connsiteY34223" fmla="*/ 620391 h 6557032"/>
              <a:gd name="connsiteX34224" fmla="*/ 2315983 w 4610101"/>
              <a:gd name="connsiteY34224" fmla="*/ 613103 h 6557032"/>
              <a:gd name="connsiteX34225" fmla="*/ 1146148 w 4610101"/>
              <a:gd name="connsiteY34225" fmla="*/ 613103 h 6557032"/>
              <a:gd name="connsiteX34226" fmla="*/ 1137037 w 4610101"/>
              <a:gd name="connsiteY34226" fmla="*/ 629501 h 6557032"/>
              <a:gd name="connsiteX34227" fmla="*/ 1146148 w 4610101"/>
              <a:gd name="connsiteY34227" fmla="*/ 613103 h 6557032"/>
              <a:gd name="connsiteX34228" fmla="*/ 1073262 w 4610101"/>
              <a:gd name="connsiteY34228" fmla="*/ 613103 h 6557032"/>
              <a:gd name="connsiteX34229" fmla="*/ 1075083 w 4610101"/>
              <a:gd name="connsiteY34229" fmla="*/ 620391 h 6557032"/>
              <a:gd name="connsiteX34230" fmla="*/ 1078727 w 4610101"/>
              <a:gd name="connsiteY34230" fmla="*/ 616746 h 6557032"/>
              <a:gd name="connsiteX34231" fmla="*/ 1073262 w 4610101"/>
              <a:gd name="connsiteY34231" fmla="*/ 613103 h 6557032"/>
              <a:gd name="connsiteX34232" fmla="*/ 1053217 w 4610101"/>
              <a:gd name="connsiteY34232" fmla="*/ 613103 h 6557032"/>
              <a:gd name="connsiteX34233" fmla="*/ 1058757 w 4610101"/>
              <a:gd name="connsiteY34233" fmla="*/ 617257 h 6557032"/>
              <a:gd name="connsiteX34234" fmla="*/ 1056477 w 4610101"/>
              <a:gd name="connsiteY34234" fmla="*/ 620295 h 6557032"/>
              <a:gd name="connsiteX34235" fmla="*/ 1055040 w 4610101"/>
              <a:gd name="connsiteY34235" fmla="*/ 620391 h 6557032"/>
              <a:gd name="connsiteX34236" fmla="*/ 1053824 w 4610101"/>
              <a:gd name="connsiteY34236" fmla="*/ 620999 h 6557032"/>
              <a:gd name="connsiteX34237" fmla="*/ 1053217 w 4610101"/>
              <a:gd name="connsiteY34237" fmla="*/ 620391 h 6557032"/>
              <a:gd name="connsiteX34238" fmla="*/ 1052611 w 4610101"/>
              <a:gd name="connsiteY34238" fmla="*/ 621606 h 6557032"/>
              <a:gd name="connsiteX34239" fmla="*/ 1051395 w 4610101"/>
              <a:gd name="connsiteY34239" fmla="*/ 622213 h 6557032"/>
              <a:gd name="connsiteX34240" fmla="*/ 1053217 w 4610101"/>
              <a:gd name="connsiteY34240" fmla="*/ 613103 h 6557032"/>
              <a:gd name="connsiteX34241" fmla="*/ 677849 w 4610101"/>
              <a:gd name="connsiteY34241" fmla="*/ 613103 h 6557032"/>
              <a:gd name="connsiteX34242" fmla="*/ 674205 w 4610101"/>
              <a:gd name="connsiteY34242" fmla="*/ 616746 h 6557032"/>
              <a:gd name="connsiteX34243" fmla="*/ 681493 w 4610101"/>
              <a:gd name="connsiteY34243" fmla="*/ 618568 h 6557032"/>
              <a:gd name="connsiteX34244" fmla="*/ 677849 w 4610101"/>
              <a:gd name="connsiteY34244" fmla="*/ 613103 h 6557032"/>
              <a:gd name="connsiteX34245" fmla="*/ 623185 w 4610101"/>
              <a:gd name="connsiteY34245" fmla="*/ 613103 h 6557032"/>
              <a:gd name="connsiteX34246" fmla="*/ 619539 w 4610101"/>
              <a:gd name="connsiteY34246" fmla="*/ 620391 h 6557032"/>
              <a:gd name="connsiteX34247" fmla="*/ 623185 w 4610101"/>
              <a:gd name="connsiteY34247" fmla="*/ 613103 h 6557032"/>
              <a:gd name="connsiteX34248" fmla="*/ 116619 w 4610101"/>
              <a:gd name="connsiteY34248" fmla="*/ 613103 h 6557032"/>
              <a:gd name="connsiteX34249" fmla="*/ 125730 w 4610101"/>
              <a:gd name="connsiteY34249" fmla="*/ 629501 h 6557032"/>
              <a:gd name="connsiteX34250" fmla="*/ 116619 w 4610101"/>
              <a:gd name="connsiteY34250" fmla="*/ 613103 h 6557032"/>
              <a:gd name="connsiteX34251" fmla="*/ 3306449 w 4610101"/>
              <a:gd name="connsiteY34251" fmla="*/ 613074 h 6557032"/>
              <a:gd name="connsiteX34252" fmla="*/ 3272625 w 4610101"/>
              <a:gd name="connsiteY34252" fmla="*/ 627679 h 6557032"/>
              <a:gd name="connsiteX34253" fmla="*/ 3274447 w 4610101"/>
              <a:gd name="connsiteY34253" fmla="*/ 629502 h 6557032"/>
              <a:gd name="connsiteX34254" fmla="*/ 3272625 w 4610101"/>
              <a:gd name="connsiteY34254" fmla="*/ 644079 h 6557032"/>
              <a:gd name="connsiteX34255" fmla="*/ 3279913 w 4610101"/>
              <a:gd name="connsiteY34255" fmla="*/ 644079 h 6557032"/>
              <a:gd name="connsiteX34256" fmla="*/ 3292669 w 4610101"/>
              <a:gd name="connsiteY34256" fmla="*/ 633146 h 6557032"/>
              <a:gd name="connsiteX34257" fmla="*/ 3296313 w 4610101"/>
              <a:gd name="connsiteY34257" fmla="*/ 638612 h 6557032"/>
              <a:gd name="connsiteX34258" fmla="*/ 3294491 w 4610101"/>
              <a:gd name="connsiteY34258" fmla="*/ 642257 h 6557032"/>
              <a:gd name="connsiteX34259" fmla="*/ 3289024 w 4610101"/>
              <a:gd name="connsiteY34259" fmla="*/ 640435 h 6557032"/>
              <a:gd name="connsiteX34260" fmla="*/ 3289024 w 4610101"/>
              <a:gd name="connsiteY34260" fmla="*/ 647723 h 6557032"/>
              <a:gd name="connsiteX34261" fmla="*/ 3296313 w 4610101"/>
              <a:gd name="connsiteY34261" fmla="*/ 647723 h 6557032"/>
              <a:gd name="connsiteX34262" fmla="*/ 3298135 w 4610101"/>
              <a:gd name="connsiteY34262" fmla="*/ 640435 h 6557032"/>
              <a:gd name="connsiteX34263" fmla="*/ 3301780 w 4610101"/>
              <a:gd name="connsiteY34263" fmla="*/ 640435 h 6557032"/>
              <a:gd name="connsiteX34264" fmla="*/ 3299957 w 4610101"/>
              <a:gd name="connsiteY34264" fmla="*/ 634968 h 6557032"/>
              <a:gd name="connsiteX34265" fmla="*/ 3330934 w 4610101"/>
              <a:gd name="connsiteY34265" fmla="*/ 627679 h 6557032"/>
              <a:gd name="connsiteX34266" fmla="*/ 3325468 w 4610101"/>
              <a:gd name="connsiteY34266" fmla="*/ 618568 h 6557032"/>
              <a:gd name="connsiteX34267" fmla="*/ 3318179 w 4610101"/>
              <a:gd name="connsiteY34267" fmla="*/ 620391 h 6557032"/>
              <a:gd name="connsiteX34268" fmla="*/ 3306449 w 4610101"/>
              <a:gd name="connsiteY34268" fmla="*/ 613074 h 6557032"/>
              <a:gd name="connsiteX34269" fmla="*/ 2997477 w 4610101"/>
              <a:gd name="connsiteY34269" fmla="*/ 612360 h 6557032"/>
              <a:gd name="connsiteX34270" fmla="*/ 2997477 w 4610101"/>
              <a:gd name="connsiteY34270" fmla="*/ 613103 h 6557032"/>
              <a:gd name="connsiteX34271" fmla="*/ 2996195 w 4610101"/>
              <a:gd name="connsiteY34271" fmla="*/ 612740 h 6557032"/>
              <a:gd name="connsiteX34272" fmla="*/ 330624 w 4610101"/>
              <a:gd name="connsiteY34272" fmla="*/ 611281 h 6557032"/>
              <a:gd name="connsiteX34273" fmla="*/ 331636 w 4610101"/>
              <a:gd name="connsiteY34273" fmla="*/ 613103 h 6557032"/>
              <a:gd name="connsiteX34274" fmla="*/ 331275 w 4610101"/>
              <a:gd name="connsiteY34274" fmla="*/ 612793 h 6557032"/>
              <a:gd name="connsiteX34275" fmla="*/ 3457803 w 4610101"/>
              <a:gd name="connsiteY34275" fmla="*/ 611280 h 6557032"/>
              <a:gd name="connsiteX34276" fmla="*/ 3454842 w 4610101"/>
              <a:gd name="connsiteY34276" fmla="*/ 616746 h 6557032"/>
              <a:gd name="connsiteX34277" fmla="*/ 3462131 w 4610101"/>
              <a:gd name="connsiteY34277" fmla="*/ 611280 h 6557032"/>
              <a:gd name="connsiteX34278" fmla="*/ 3457803 w 4610101"/>
              <a:gd name="connsiteY34278" fmla="*/ 611280 h 6557032"/>
              <a:gd name="connsiteX34279" fmla="*/ 3361911 w 4610101"/>
              <a:gd name="connsiteY34279" fmla="*/ 611280 h 6557032"/>
              <a:gd name="connsiteX34280" fmla="*/ 3358267 w 4610101"/>
              <a:gd name="connsiteY34280" fmla="*/ 622213 h 6557032"/>
              <a:gd name="connsiteX34281" fmla="*/ 3361911 w 4610101"/>
              <a:gd name="connsiteY34281" fmla="*/ 611280 h 6557032"/>
              <a:gd name="connsiteX34282" fmla="*/ 2933700 w 4610101"/>
              <a:gd name="connsiteY34282" fmla="*/ 611280 h 6557032"/>
              <a:gd name="connsiteX34283" fmla="*/ 2946456 w 4610101"/>
              <a:gd name="connsiteY34283" fmla="*/ 629501 h 6557032"/>
              <a:gd name="connsiteX34284" fmla="*/ 2953744 w 4610101"/>
              <a:gd name="connsiteY34284" fmla="*/ 620391 h 6557032"/>
              <a:gd name="connsiteX34285" fmla="*/ 2933700 w 4610101"/>
              <a:gd name="connsiteY34285" fmla="*/ 611280 h 6557032"/>
              <a:gd name="connsiteX34286" fmla="*/ 2800682 w 4610101"/>
              <a:gd name="connsiteY34286" fmla="*/ 611280 h 6557032"/>
              <a:gd name="connsiteX34287" fmla="*/ 2817081 w 4610101"/>
              <a:gd name="connsiteY34287" fmla="*/ 636790 h 6557032"/>
              <a:gd name="connsiteX34288" fmla="*/ 2800682 w 4610101"/>
              <a:gd name="connsiteY34288" fmla="*/ 638612 h 6557032"/>
              <a:gd name="connsiteX34289" fmla="*/ 2811615 w 4610101"/>
              <a:gd name="connsiteY34289" fmla="*/ 651368 h 6557032"/>
              <a:gd name="connsiteX34290" fmla="*/ 2817081 w 4610101"/>
              <a:gd name="connsiteY34290" fmla="*/ 640435 h 6557032"/>
              <a:gd name="connsiteX34291" fmla="*/ 2822548 w 4610101"/>
              <a:gd name="connsiteY34291" fmla="*/ 647723 h 6557032"/>
              <a:gd name="connsiteX34292" fmla="*/ 2826192 w 4610101"/>
              <a:gd name="connsiteY34292" fmla="*/ 634968 h 6557032"/>
              <a:gd name="connsiteX34293" fmla="*/ 2826192 w 4610101"/>
              <a:gd name="connsiteY34293" fmla="*/ 638612 h 6557032"/>
              <a:gd name="connsiteX34294" fmla="*/ 2831659 w 4610101"/>
              <a:gd name="connsiteY34294" fmla="*/ 634968 h 6557032"/>
              <a:gd name="connsiteX34295" fmla="*/ 2848058 w 4610101"/>
              <a:gd name="connsiteY34295" fmla="*/ 645901 h 6557032"/>
              <a:gd name="connsiteX34296" fmla="*/ 2838947 w 4610101"/>
              <a:gd name="connsiteY34296" fmla="*/ 629501 h 6557032"/>
              <a:gd name="connsiteX34297" fmla="*/ 2835303 w 4610101"/>
              <a:gd name="connsiteY34297" fmla="*/ 627679 h 6557032"/>
              <a:gd name="connsiteX34298" fmla="*/ 2833481 w 4610101"/>
              <a:gd name="connsiteY34298" fmla="*/ 614924 h 6557032"/>
              <a:gd name="connsiteX34299" fmla="*/ 2833481 w 4610101"/>
              <a:gd name="connsiteY34299" fmla="*/ 620391 h 6557032"/>
              <a:gd name="connsiteX34300" fmla="*/ 2815259 w 4610101"/>
              <a:gd name="connsiteY34300" fmla="*/ 625857 h 6557032"/>
              <a:gd name="connsiteX34301" fmla="*/ 2807971 w 4610101"/>
              <a:gd name="connsiteY34301" fmla="*/ 614924 h 6557032"/>
              <a:gd name="connsiteX34302" fmla="*/ 2807971 w 4610101"/>
              <a:gd name="connsiteY34302" fmla="*/ 622213 h 6557032"/>
              <a:gd name="connsiteX34303" fmla="*/ 2804326 w 4610101"/>
              <a:gd name="connsiteY34303" fmla="*/ 616746 h 6557032"/>
              <a:gd name="connsiteX34304" fmla="*/ 2802504 w 4610101"/>
              <a:gd name="connsiteY34304" fmla="*/ 618568 h 6557032"/>
              <a:gd name="connsiteX34305" fmla="*/ 2800682 w 4610101"/>
              <a:gd name="connsiteY34305" fmla="*/ 611280 h 6557032"/>
              <a:gd name="connsiteX34306" fmla="*/ 1304677 w 4610101"/>
              <a:gd name="connsiteY34306" fmla="*/ 611280 h 6557032"/>
              <a:gd name="connsiteX34307" fmla="*/ 1299210 w 4610101"/>
              <a:gd name="connsiteY34307" fmla="*/ 624035 h 6557032"/>
              <a:gd name="connsiteX34308" fmla="*/ 1304677 w 4610101"/>
              <a:gd name="connsiteY34308" fmla="*/ 611280 h 6557032"/>
              <a:gd name="connsiteX34309" fmla="*/ 1122459 w 4610101"/>
              <a:gd name="connsiteY34309" fmla="*/ 611280 h 6557032"/>
              <a:gd name="connsiteX34310" fmla="*/ 1118815 w 4610101"/>
              <a:gd name="connsiteY34310" fmla="*/ 614924 h 6557032"/>
              <a:gd name="connsiteX34311" fmla="*/ 1122459 w 4610101"/>
              <a:gd name="connsiteY34311" fmla="*/ 611280 h 6557032"/>
              <a:gd name="connsiteX34312" fmla="*/ 1086016 w 4610101"/>
              <a:gd name="connsiteY34312" fmla="*/ 611280 h 6557032"/>
              <a:gd name="connsiteX34313" fmla="*/ 1082373 w 4610101"/>
              <a:gd name="connsiteY34313" fmla="*/ 614924 h 6557032"/>
              <a:gd name="connsiteX34314" fmla="*/ 1087838 w 4610101"/>
              <a:gd name="connsiteY34314" fmla="*/ 613103 h 6557032"/>
              <a:gd name="connsiteX34315" fmla="*/ 1084194 w 4610101"/>
              <a:gd name="connsiteY34315" fmla="*/ 613103 h 6557032"/>
              <a:gd name="connsiteX34316" fmla="*/ 1086016 w 4610101"/>
              <a:gd name="connsiteY34316" fmla="*/ 611280 h 6557032"/>
              <a:gd name="connsiteX34317" fmla="*/ 663272 w 4610101"/>
              <a:gd name="connsiteY34317" fmla="*/ 611280 h 6557032"/>
              <a:gd name="connsiteX34318" fmla="*/ 666916 w 4610101"/>
              <a:gd name="connsiteY34318" fmla="*/ 614924 h 6557032"/>
              <a:gd name="connsiteX34319" fmla="*/ 663272 w 4610101"/>
              <a:gd name="connsiteY34319" fmla="*/ 611280 h 6557032"/>
              <a:gd name="connsiteX34320" fmla="*/ 657805 w 4610101"/>
              <a:gd name="connsiteY34320" fmla="*/ 611280 h 6557032"/>
              <a:gd name="connsiteX34321" fmla="*/ 654161 w 4610101"/>
              <a:gd name="connsiteY34321" fmla="*/ 613103 h 6557032"/>
              <a:gd name="connsiteX34322" fmla="*/ 657385 w 4610101"/>
              <a:gd name="connsiteY34322" fmla="*/ 616326 h 6557032"/>
              <a:gd name="connsiteX34323" fmla="*/ 657350 w 4610101"/>
              <a:gd name="connsiteY34323" fmla="*/ 616746 h 6557032"/>
              <a:gd name="connsiteX34324" fmla="*/ 654161 w 4610101"/>
              <a:gd name="connsiteY34324" fmla="*/ 616746 h 6557032"/>
              <a:gd name="connsiteX34325" fmla="*/ 650516 w 4610101"/>
              <a:gd name="connsiteY34325" fmla="*/ 616746 h 6557032"/>
              <a:gd name="connsiteX34326" fmla="*/ 655983 w 4610101"/>
              <a:gd name="connsiteY34326" fmla="*/ 633146 h 6557032"/>
              <a:gd name="connsiteX34327" fmla="*/ 657350 w 4610101"/>
              <a:gd name="connsiteY34327" fmla="*/ 616746 h 6557032"/>
              <a:gd name="connsiteX34328" fmla="*/ 657805 w 4610101"/>
              <a:gd name="connsiteY34328" fmla="*/ 616746 h 6557032"/>
              <a:gd name="connsiteX34329" fmla="*/ 657385 w 4610101"/>
              <a:gd name="connsiteY34329" fmla="*/ 616326 h 6557032"/>
              <a:gd name="connsiteX34330" fmla="*/ 597673 w 4610101"/>
              <a:gd name="connsiteY34330" fmla="*/ 611280 h 6557032"/>
              <a:gd name="connsiteX34331" fmla="*/ 597673 w 4610101"/>
              <a:gd name="connsiteY34331" fmla="*/ 620391 h 6557032"/>
              <a:gd name="connsiteX34332" fmla="*/ 597673 w 4610101"/>
              <a:gd name="connsiteY34332" fmla="*/ 611280 h 6557032"/>
              <a:gd name="connsiteX34333" fmla="*/ 524786 w 4610101"/>
              <a:gd name="connsiteY34333" fmla="*/ 611280 h 6557032"/>
              <a:gd name="connsiteX34334" fmla="*/ 521142 w 4610101"/>
              <a:gd name="connsiteY34334" fmla="*/ 616746 h 6557032"/>
              <a:gd name="connsiteX34335" fmla="*/ 526609 w 4610101"/>
              <a:gd name="connsiteY34335" fmla="*/ 613103 h 6557032"/>
              <a:gd name="connsiteX34336" fmla="*/ 524786 w 4610101"/>
              <a:gd name="connsiteY34336" fmla="*/ 611280 h 6557032"/>
              <a:gd name="connsiteX34337" fmla="*/ 479232 w 4610101"/>
              <a:gd name="connsiteY34337" fmla="*/ 611280 h 6557032"/>
              <a:gd name="connsiteX34338" fmla="*/ 482876 w 4610101"/>
              <a:gd name="connsiteY34338" fmla="*/ 620391 h 6557032"/>
              <a:gd name="connsiteX34339" fmla="*/ 479232 w 4610101"/>
              <a:gd name="connsiteY34339" fmla="*/ 611280 h 6557032"/>
              <a:gd name="connsiteX34340" fmla="*/ 400879 w 4610101"/>
              <a:gd name="connsiteY34340" fmla="*/ 611280 h 6557032"/>
              <a:gd name="connsiteX34341" fmla="*/ 400879 w 4610101"/>
              <a:gd name="connsiteY34341" fmla="*/ 616201 h 6557032"/>
              <a:gd name="connsiteX34342" fmla="*/ 399707 w 4610101"/>
              <a:gd name="connsiteY34342" fmla="*/ 613038 h 6557032"/>
              <a:gd name="connsiteX34343" fmla="*/ 2458175 w 4610101"/>
              <a:gd name="connsiteY34343" fmla="*/ 610908 h 6557032"/>
              <a:gd name="connsiteX34344" fmla="*/ 2458113 w 4610101"/>
              <a:gd name="connsiteY34344" fmla="*/ 611280 h 6557032"/>
              <a:gd name="connsiteX34345" fmla="*/ 2450841 w 4610101"/>
              <a:gd name="connsiteY34345" fmla="*/ 616516 h 6557032"/>
              <a:gd name="connsiteX34346" fmla="*/ 2453330 w 4610101"/>
              <a:gd name="connsiteY34346" fmla="*/ 613103 h 6557032"/>
              <a:gd name="connsiteX34347" fmla="*/ 279037 w 4610101"/>
              <a:gd name="connsiteY34347" fmla="*/ 610047 h 6557032"/>
              <a:gd name="connsiteX34348" fmla="*/ 286082 w 4610101"/>
              <a:gd name="connsiteY34348" fmla="*/ 618568 h 6557032"/>
              <a:gd name="connsiteX34349" fmla="*/ 282171 w 4610101"/>
              <a:gd name="connsiteY34349" fmla="*/ 617591 h 6557032"/>
              <a:gd name="connsiteX34350" fmla="*/ 880111 w 4610101"/>
              <a:gd name="connsiteY34350" fmla="*/ 609459 h 6557032"/>
              <a:gd name="connsiteX34351" fmla="*/ 869177 w 4610101"/>
              <a:gd name="connsiteY34351" fmla="*/ 640435 h 6557032"/>
              <a:gd name="connsiteX34352" fmla="*/ 883755 w 4610101"/>
              <a:gd name="connsiteY34352" fmla="*/ 624035 h 6557032"/>
              <a:gd name="connsiteX34353" fmla="*/ 880111 w 4610101"/>
              <a:gd name="connsiteY34353" fmla="*/ 609459 h 6557032"/>
              <a:gd name="connsiteX34354" fmla="*/ 841845 w 4610101"/>
              <a:gd name="connsiteY34354" fmla="*/ 609459 h 6557032"/>
              <a:gd name="connsiteX34355" fmla="*/ 836378 w 4610101"/>
              <a:gd name="connsiteY34355" fmla="*/ 616746 h 6557032"/>
              <a:gd name="connsiteX34356" fmla="*/ 838200 w 4610101"/>
              <a:gd name="connsiteY34356" fmla="*/ 616746 h 6557032"/>
              <a:gd name="connsiteX34357" fmla="*/ 836378 w 4610101"/>
              <a:gd name="connsiteY34357" fmla="*/ 625857 h 6557032"/>
              <a:gd name="connsiteX34358" fmla="*/ 838200 w 4610101"/>
              <a:gd name="connsiteY34358" fmla="*/ 616746 h 6557032"/>
              <a:gd name="connsiteX34359" fmla="*/ 841845 w 4610101"/>
              <a:gd name="connsiteY34359" fmla="*/ 614924 h 6557032"/>
              <a:gd name="connsiteX34360" fmla="*/ 841845 w 4610101"/>
              <a:gd name="connsiteY34360" fmla="*/ 609459 h 6557032"/>
              <a:gd name="connsiteX34361" fmla="*/ 488343 w 4610101"/>
              <a:gd name="connsiteY34361" fmla="*/ 609459 h 6557032"/>
              <a:gd name="connsiteX34362" fmla="*/ 490165 w 4610101"/>
              <a:gd name="connsiteY34362" fmla="*/ 620391 h 6557032"/>
              <a:gd name="connsiteX34363" fmla="*/ 495632 w 4610101"/>
              <a:gd name="connsiteY34363" fmla="*/ 614924 h 6557032"/>
              <a:gd name="connsiteX34364" fmla="*/ 488343 w 4610101"/>
              <a:gd name="connsiteY34364" fmla="*/ 609459 h 6557032"/>
              <a:gd name="connsiteX34365" fmla="*/ 379012 w 4610101"/>
              <a:gd name="connsiteY34365" fmla="*/ 609459 h 6557032"/>
              <a:gd name="connsiteX34366" fmla="*/ 379012 w 4610101"/>
              <a:gd name="connsiteY34366" fmla="*/ 622213 h 6557032"/>
              <a:gd name="connsiteX34367" fmla="*/ 379012 w 4610101"/>
              <a:gd name="connsiteY34367" fmla="*/ 609459 h 6557032"/>
              <a:gd name="connsiteX34368" fmla="*/ 278793 w 4610101"/>
              <a:gd name="connsiteY34368" fmla="*/ 609459 h 6557032"/>
              <a:gd name="connsiteX34369" fmla="*/ 279037 w 4610101"/>
              <a:gd name="connsiteY34369" fmla="*/ 610047 h 6557032"/>
              <a:gd name="connsiteX34370" fmla="*/ 278898 w 4610101"/>
              <a:gd name="connsiteY34370" fmla="*/ 609878 h 6557032"/>
              <a:gd name="connsiteX34371" fmla="*/ 1234345 w 4610101"/>
              <a:gd name="connsiteY34371" fmla="*/ 609417 h 6557032"/>
              <a:gd name="connsiteX34372" fmla="*/ 1234028 w 4610101"/>
              <a:gd name="connsiteY34372" fmla="*/ 610221 h 6557032"/>
              <a:gd name="connsiteX34373" fmla="*/ 1233612 w 4610101"/>
              <a:gd name="connsiteY34373" fmla="*/ 609459 h 6557032"/>
              <a:gd name="connsiteX34374" fmla="*/ 1243316 w 4610101"/>
              <a:gd name="connsiteY34374" fmla="*/ 608166 h 6557032"/>
              <a:gd name="connsiteX34375" fmla="*/ 1240901 w 4610101"/>
              <a:gd name="connsiteY34375" fmla="*/ 611280 h 6557032"/>
              <a:gd name="connsiteX34376" fmla="*/ 1240685 w 4610101"/>
              <a:gd name="connsiteY34376" fmla="*/ 609054 h 6557032"/>
              <a:gd name="connsiteX34377" fmla="*/ 1241584 w 4610101"/>
              <a:gd name="connsiteY34377" fmla="*/ 609003 h 6557032"/>
              <a:gd name="connsiteX34378" fmla="*/ 78055 w 4610101"/>
              <a:gd name="connsiteY34378" fmla="*/ 607686 h 6557032"/>
              <a:gd name="connsiteX34379" fmla="*/ 92569 w 4610101"/>
              <a:gd name="connsiteY34379" fmla="*/ 630493 h 6557032"/>
              <a:gd name="connsiteX34380" fmla="*/ 89742 w 4610101"/>
              <a:gd name="connsiteY34380" fmla="*/ 626541 h 6557032"/>
              <a:gd name="connsiteX34381" fmla="*/ 3482175 w 4610101"/>
              <a:gd name="connsiteY34381" fmla="*/ 607635 h 6557032"/>
              <a:gd name="connsiteX34382" fmla="*/ 3493108 w 4610101"/>
              <a:gd name="connsiteY34382" fmla="*/ 616746 h 6557032"/>
              <a:gd name="connsiteX34383" fmla="*/ 3494930 w 4610101"/>
              <a:gd name="connsiteY34383" fmla="*/ 613103 h 6557032"/>
              <a:gd name="connsiteX34384" fmla="*/ 3493108 w 4610101"/>
              <a:gd name="connsiteY34384" fmla="*/ 613103 h 6557032"/>
              <a:gd name="connsiteX34385" fmla="*/ 3482175 w 4610101"/>
              <a:gd name="connsiteY34385" fmla="*/ 607635 h 6557032"/>
              <a:gd name="connsiteX34386" fmla="*/ 2540111 w 4610101"/>
              <a:gd name="connsiteY34386" fmla="*/ 607635 h 6557032"/>
              <a:gd name="connsiteX34387" fmla="*/ 2536466 w 4610101"/>
              <a:gd name="connsiteY34387" fmla="*/ 616746 h 6557032"/>
              <a:gd name="connsiteX34388" fmla="*/ 2547400 w 4610101"/>
              <a:gd name="connsiteY34388" fmla="*/ 614924 h 6557032"/>
              <a:gd name="connsiteX34389" fmla="*/ 2540111 w 4610101"/>
              <a:gd name="connsiteY34389" fmla="*/ 607635 h 6557032"/>
              <a:gd name="connsiteX34390" fmla="*/ 2405270 w 4610101"/>
              <a:gd name="connsiteY34390" fmla="*/ 607635 h 6557032"/>
              <a:gd name="connsiteX34391" fmla="*/ 2407092 w 4610101"/>
              <a:gd name="connsiteY34391" fmla="*/ 614924 h 6557032"/>
              <a:gd name="connsiteX34392" fmla="*/ 2408914 w 4610101"/>
              <a:gd name="connsiteY34392" fmla="*/ 609459 h 6557032"/>
              <a:gd name="connsiteX34393" fmla="*/ 2405270 w 4610101"/>
              <a:gd name="connsiteY34393" fmla="*/ 607635 h 6557032"/>
              <a:gd name="connsiteX34394" fmla="*/ 2385226 w 4610101"/>
              <a:gd name="connsiteY34394" fmla="*/ 607635 h 6557032"/>
              <a:gd name="connsiteX34395" fmla="*/ 2383404 w 4610101"/>
              <a:gd name="connsiteY34395" fmla="*/ 620391 h 6557032"/>
              <a:gd name="connsiteX34396" fmla="*/ 2385226 w 4610101"/>
              <a:gd name="connsiteY34396" fmla="*/ 607635 h 6557032"/>
              <a:gd name="connsiteX34397" fmla="*/ 1301033 w 4610101"/>
              <a:gd name="connsiteY34397" fmla="*/ 607635 h 6557032"/>
              <a:gd name="connsiteX34398" fmla="*/ 1299210 w 4610101"/>
              <a:gd name="connsiteY34398" fmla="*/ 616746 h 6557032"/>
              <a:gd name="connsiteX34399" fmla="*/ 1301033 w 4610101"/>
              <a:gd name="connsiteY34399" fmla="*/ 607635 h 6557032"/>
              <a:gd name="connsiteX34400" fmla="*/ 1293744 w 4610101"/>
              <a:gd name="connsiteY34400" fmla="*/ 607635 h 6557032"/>
              <a:gd name="connsiteX34401" fmla="*/ 1293516 w 4610101"/>
              <a:gd name="connsiteY34401" fmla="*/ 610369 h 6557032"/>
              <a:gd name="connsiteX34402" fmla="*/ 1293274 w 4610101"/>
              <a:gd name="connsiteY34402" fmla="*/ 610786 h 6557032"/>
              <a:gd name="connsiteX34403" fmla="*/ 1293077 w 4610101"/>
              <a:gd name="connsiteY34403" fmla="*/ 608302 h 6557032"/>
              <a:gd name="connsiteX34404" fmla="*/ 927487 w 4610101"/>
              <a:gd name="connsiteY34404" fmla="*/ 607635 h 6557032"/>
              <a:gd name="connsiteX34405" fmla="*/ 923843 w 4610101"/>
              <a:gd name="connsiteY34405" fmla="*/ 609459 h 6557032"/>
              <a:gd name="connsiteX34406" fmla="*/ 922020 w 4610101"/>
              <a:gd name="connsiteY34406" fmla="*/ 622213 h 6557032"/>
              <a:gd name="connsiteX34407" fmla="*/ 927487 w 4610101"/>
              <a:gd name="connsiteY34407" fmla="*/ 607635 h 6557032"/>
              <a:gd name="connsiteX34408" fmla="*/ 869177 w 4610101"/>
              <a:gd name="connsiteY34408" fmla="*/ 607635 h 6557032"/>
              <a:gd name="connsiteX34409" fmla="*/ 860066 w 4610101"/>
              <a:gd name="connsiteY34409" fmla="*/ 616746 h 6557032"/>
              <a:gd name="connsiteX34410" fmla="*/ 869177 w 4610101"/>
              <a:gd name="connsiteY34410" fmla="*/ 607635 h 6557032"/>
              <a:gd name="connsiteX34411" fmla="*/ 710648 w 4610101"/>
              <a:gd name="connsiteY34411" fmla="*/ 607635 h 6557032"/>
              <a:gd name="connsiteX34412" fmla="*/ 732515 w 4610101"/>
              <a:gd name="connsiteY34412" fmla="*/ 627679 h 6557032"/>
              <a:gd name="connsiteX34413" fmla="*/ 723404 w 4610101"/>
              <a:gd name="connsiteY34413" fmla="*/ 622213 h 6557032"/>
              <a:gd name="connsiteX34414" fmla="*/ 728870 w 4610101"/>
              <a:gd name="connsiteY34414" fmla="*/ 622213 h 6557032"/>
              <a:gd name="connsiteX34415" fmla="*/ 710648 w 4610101"/>
              <a:gd name="connsiteY34415" fmla="*/ 607635 h 6557032"/>
              <a:gd name="connsiteX34416" fmla="*/ 3238232 w 4610101"/>
              <a:gd name="connsiteY34416" fmla="*/ 605814 h 6557032"/>
              <a:gd name="connsiteX34417" fmla="*/ 3228893 w 4610101"/>
              <a:gd name="connsiteY34417" fmla="*/ 607635 h 6557032"/>
              <a:gd name="connsiteX34418" fmla="*/ 3243470 w 4610101"/>
              <a:gd name="connsiteY34418" fmla="*/ 609459 h 6557032"/>
              <a:gd name="connsiteX34419" fmla="*/ 3238232 w 4610101"/>
              <a:gd name="connsiteY34419" fmla="*/ 605814 h 6557032"/>
              <a:gd name="connsiteX34420" fmla="*/ 2396159 w 4610101"/>
              <a:gd name="connsiteY34420" fmla="*/ 605813 h 6557032"/>
              <a:gd name="connsiteX34421" fmla="*/ 2394337 w 4610101"/>
              <a:gd name="connsiteY34421" fmla="*/ 618568 h 6557032"/>
              <a:gd name="connsiteX34422" fmla="*/ 2403448 w 4610101"/>
              <a:gd name="connsiteY34422" fmla="*/ 616746 h 6557032"/>
              <a:gd name="connsiteX34423" fmla="*/ 2396159 w 4610101"/>
              <a:gd name="connsiteY34423" fmla="*/ 605813 h 6557032"/>
              <a:gd name="connsiteX34424" fmla="*/ 1419474 w 4610101"/>
              <a:gd name="connsiteY34424" fmla="*/ 605813 h 6557032"/>
              <a:gd name="connsiteX34425" fmla="*/ 1408541 w 4610101"/>
              <a:gd name="connsiteY34425" fmla="*/ 613103 h 6557032"/>
              <a:gd name="connsiteX34426" fmla="*/ 1408541 w 4610101"/>
              <a:gd name="connsiteY34426" fmla="*/ 616746 h 6557032"/>
              <a:gd name="connsiteX34427" fmla="*/ 1410363 w 4610101"/>
              <a:gd name="connsiteY34427" fmla="*/ 620391 h 6557032"/>
              <a:gd name="connsiteX34428" fmla="*/ 1412185 w 4610101"/>
              <a:gd name="connsiteY34428" fmla="*/ 613103 h 6557032"/>
              <a:gd name="connsiteX34429" fmla="*/ 1415829 w 4610101"/>
              <a:gd name="connsiteY34429" fmla="*/ 613103 h 6557032"/>
              <a:gd name="connsiteX34430" fmla="*/ 1416369 w 4610101"/>
              <a:gd name="connsiteY34430" fmla="*/ 616881 h 6557032"/>
              <a:gd name="connsiteX34431" fmla="*/ 1415829 w 4610101"/>
              <a:gd name="connsiteY34431" fmla="*/ 616746 h 6557032"/>
              <a:gd name="connsiteX34432" fmla="*/ 1417044 w 4610101"/>
              <a:gd name="connsiteY34432" fmla="*/ 621602 h 6557032"/>
              <a:gd name="connsiteX34433" fmla="*/ 1417424 w 4610101"/>
              <a:gd name="connsiteY34433" fmla="*/ 624263 h 6557032"/>
              <a:gd name="connsiteX34434" fmla="*/ 1415829 w 4610101"/>
              <a:gd name="connsiteY34434" fmla="*/ 625857 h 6557032"/>
              <a:gd name="connsiteX34435" fmla="*/ 1418089 w 4610101"/>
              <a:gd name="connsiteY34435" fmla="*/ 628913 h 6557032"/>
              <a:gd name="connsiteX34436" fmla="*/ 1419143 w 4610101"/>
              <a:gd name="connsiteY34436" fmla="*/ 636294 h 6557032"/>
              <a:gd name="connsiteX34437" fmla="*/ 1417652 w 4610101"/>
              <a:gd name="connsiteY34437" fmla="*/ 642257 h 6557032"/>
              <a:gd name="connsiteX34438" fmla="*/ 1419474 w 4610101"/>
              <a:gd name="connsiteY34438" fmla="*/ 638612 h 6557032"/>
              <a:gd name="connsiteX34439" fmla="*/ 1419143 w 4610101"/>
              <a:gd name="connsiteY34439" fmla="*/ 636294 h 6557032"/>
              <a:gd name="connsiteX34440" fmla="*/ 1419474 w 4610101"/>
              <a:gd name="connsiteY34440" fmla="*/ 634968 h 6557032"/>
              <a:gd name="connsiteX34441" fmla="*/ 1419702 w 4610101"/>
              <a:gd name="connsiteY34441" fmla="*/ 631096 h 6557032"/>
              <a:gd name="connsiteX34442" fmla="*/ 1418089 w 4610101"/>
              <a:gd name="connsiteY34442" fmla="*/ 628913 h 6557032"/>
              <a:gd name="connsiteX34443" fmla="*/ 1417424 w 4610101"/>
              <a:gd name="connsiteY34443" fmla="*/ 624263 h 6557032"/>
              <a:gd name="connsiteX34444" fmla="*/ 1417652 w 4610101"/>
              <a:gd name="connsiteY34444" fmla="*/ 624035 h 6557032"/>
              <a:gd name="connsiteX34445" fmla="*/ 1417044 w 4610101"/>
              <a:gd name="connsiteY34445" fmla="*/ 621602 h 6557032"/>
              <a:gd name="connsiteX34446" fmla="*/ 1416369 w 4610101"/>
              <a:gd name="connsiteY34446" fmla="*/ 616881 h 6557032"/>
              <a:gd name="connsiteX34447" fmla="*/ 1417652 w 4610101"/>
              <a:gd name="connsiteY34447" fmla="*/ 617202 h 6557032"/>
              <a:gd name="connsiteX34448" fmla="*/ 1419474 w 4610101"/>
              <a:gd name="connsiteY34448" fmla="*/ 620391 h 6557032"/>
              <a:gd name="connsiteX34449" fmla="*/ 1419474 w 4610101"/>
              <a:gd name="connsiteY34449" fmla="*/ 605813 h 6557032"/>
              <a:gd name="connsiteX34450" fmla="*/ 1404896 w 4610101"/>
              <a:gd name="connsiteY34450" fmla="*/ 605813 h 6557032"/>
              <a:gd name="connsiteX34451" fmla="*/ 1405807 w 4610101"/>
              <a:gd name="connsiteY34451" fmla="*/ 605813 h 6557032"/>
              <a:gd name="connsiteX34452" fmla="*/ 1404896 w 4610101"/>
              <a:gd name="connsiteY34452" fmla="*/ 607635 h 6557032"/>
              <a:gd name="connsiteX34453" fmla="*/ 1355698 w 4610101"/>
              <a:gd name="connsiteY34453" fmla="*/ 605813 h 6557032"/>
              <a:gd name="connsiteX34454" fmla="*/ 1361164 w 4610101"/>
              <a:gd name="connsiteY34454" fmla="*/ 611280 h 6557032"/>
              <a:gd name="connsiteX34455" fmla="*/ 1359342 w 4610101"/>
              <a:gd name="connsiteY34455" fmla="*/ 614924 h 6557032"/>
              <a:gd name="connsiteX34456" fmla="*/ 1355698 w 4610101"/>
              <a:gd name="connsiteY34456" fmla="*/ 605813 h 6557032"/>
              <a:gd name="connsiteX34457" fmla="*/ 1275522 w 4610101"/>
              <a:gd name="connsiteY34457" fmla="*/ 605813 h 6557032"/>
              <a:gd name="connsiteX34458" fmla="*/ 1271878 w 4610101"/>
              <a:gd name="connsiteY34458" fmla="*/ 622213 h 6557032"/>
              <a:gd name="connsiteX34459" fmla="*/ 1277344 w 4610101"/>
              <a:gd name="connsiteY34459" fmla="*/ 618568 h 6557032"/>
              <a:gd name="connsiteX34460" fmla="*/ 1273700 w 4610101"/>
              <a:gd name="connsiteY34460" fmla="*/ 611280 h 6557032"/>
              <a:gd name="connsiteX34461" fmla="*/ 1279166 w 4610101"/>
              <a:gd name="connsiteY34461" fmla="*/ 611280 h 6557032"/>
              <a:gd name="connsiteX34462" fmla="*/ 1275522 w 4610101"/>
              <a:gd name="connsiteY34462" fmla="*/ 605813 h 6557032"/>
              <a:gd name="connsiteX34463" fmla="*/ 1147970 w 4610101"/>
              <a:gd name="connsiteY34463" fmla="*/ 605813 h 6557032"/>
              <a:gd name="connsiteX34464" fmla="*/ 1146148 w 4610101"/>
              <a:gd name="connsiteY34464" fmla="*/ 609459 h 6557032"/>
              <a:gd name="connsiteX34465" fmla="*/ 1147970 w 4610101"/>
              <a:gd name="connsiteY34465" fmla="*/ 605813 h 6557032"/>
              <a:gd name="connsiteX34466" fmla="*/ 1137037 w 4610101"/>
              <a:gd name="connsiteY34466" fmla="*/ 605813 h 6557032"/>
              <a:gd name="connsiteX34467" fmla="*/ 1127926 w 4610101"/>
              <a:gd name="connsiteY34467" fmla="*/ 614924 h 6557032"/>
              <a:gd name="connsiteX34468" fmla="*/ 1137037 w 4610101"/>
              <a:gd name="connsiteY34468" fmla="*/ 605813 h 6557032"/>
              <a:gd name="connsiteX34469" fmla="*/ 821801 w 4610101"/>
              <a:gd name="connsiteY34469" fmla="*/ 605813 h 6557032"/>
              <a:gd name="connsiteX34470" fmla="*/ 819979 w 4610101"/>
              <a:gd name="connsiteY34470" fmla="*/ 614924 h 6557032"/>
              <a:gd name="connsiteX34471" fmla="*/ 823623 w 4610101"/>
              <a:gd name="connsiteY34471" fmla="*/ 618568 h 6557032"/>
              <a:gd name="connsiteX34472" fmla="*/ 823623 w 4610101"/>
              <a:gd name="connsiteY34472" fmla="*/ 614924 h 6557032"/>
              <a:gd name="connsiteX34473" fmla="*/ 819979 w 4610101"/>
              <a:gd name="connsiteY34473" fmla="*/ 614924 h 6557032"/>
              <a:gd name="connsiteX34474" fmla="*/ 823623 w 4610101"/>
              <a:gd name="connsiteY34474" fmla="*/ 611280 h 6557032"/>
              <a:gd name="connsiteX34475" fmla="*/ 821801 w 4610101"/>
              <a:gd name="connsiteY34475" fmla="*/ 605813 h 6557032"/>
              <a:gd name="connsiteX34476" fmla="*/ 512031 w 4610101"/>
              <a:gd name="connsiteY34476" fmla="*/ 605813 h 6557032"/>
              <a:gd name="connsiteX34477" fmla="*/ 508387 w 4610101"/>
              <a:gd name="connsiteY34477" fmla="*/ 609459 h 6557032"/>
              <a:gd name="connsiteX34478" fmla="*/ 513853 w 4610101"/>
              <a:gd name="connsiteY34478" fmla="*/ 613103 h 6557032"/>
              <a:gd name="connsiteX34479" fmla="*/ 515676 w 4610101"/>
              <a:gd name="connsiteY34479" fmla="*/ 609459 h 6557032"/>
              <a:gd name="connsiteX34480" fmla="*/ 512031 w 4610101"/>
              <a:gd name="connsiteY34480" fmla="*/ 605813 h 6557032"/>
              <a:gd name="connsiteX34481" fmla="*/ 386301 w 4610101"/>
              <a:gd name="connsiteY34481" fmla="*/ 605813 h 6557032"/>
              <a:gd name="connsiteX34482" fmla="*/ 388123 w 4610101"/>
              <a:gd name="connsiteY34482" fmla="*/ 609459 h 6557032"/>
              <a:gd name="connsiteX34483" fmla="*/ 386301 w 4610101"/>
              <a:gd name="connsiteY34483" fmla="*/ 605813 h 6557032"/>
              <a:gd name="connsiteX34484" fmla="*/ 1080549 w 4610101"/>
              <a:gd name="connsiteY34484" fmla="*/ 604904 h 6557032"/>
              <a:gd name="connsiteX34485" fmla="*/ 1080549 w 4610101"/>
              <a:gd name="connsiteY34485" fmla="*/ 607635 h 6557032"/>
              <a:gd name="connsiteX34486" fmla="*/ 1079288 w 4610101"/>
              <a:gd name="connsiteY34486" fmla="*/ 606795 h 6557032"/>
              <a:gd name="connsiteX34487" fmla="*/ 2762416 w 4610101"/>
              <a:gd name="connsiteY34487" fmla="*/ 604903 h 6557032"/>
              <a:gd name="connsiteX34488" fmla="*/ 2762645 w 4610101"/>
              <a:gd name="connsiteY34488" fmla="*/ 605246 h 6557032"/>
              <a:gd name="connsiteX34489" fmla="*/ 2762717 w 4610101"/>
              <a:gd name="connsiteY34489" fmla="*/ 605981 h 6557032"/>
              <a:gd name="connsiteX34490" fmla="*/ 2762416 w 4610101"/>
              <a:gd name="connsiteY34490" fmla="*/ 605813 h 6557032"/>
              <a:gd name="connsiteX34491" fmla="*/ 1191342 w 4610101"/>
              <a:gd name="connsiteY34491" fmla="*/ 604724 h 6557032"/>
              <a:gd name="connsiteX34492" fmla="*/ 1189504 w 4610101"/>
              <a:gd name="connsiteY34492" fmla="*/ 617784 h 6557032"/>
              <a:gd name="connsiteX34493" fmla="*/ 1189241 w 4610101"/>
              <a:gd name="connsiteY34493" fmla="*/ 618505 h 6557032"/>
              <a:gd name="connsiteX34494" fmla="*/ 1188264 w 4610101"/>
              <a:gd name="connsiteY34494" fmla="*/ 619375 h 6557032"/>
              <a:gd name="connsiteX34495" fmla="*/ 1191019 w 4610101"/>
              <a:gd name="connsiteY34495" fmla="*/ 605814 h 6557032"/>
              <a:gd name="connsiteX34496" fmla="*/ 3471242 w 4610101"/>
              <a:gd name="connsiteY34496" fmla="*/ 603991 h 6557032"/>
              <a:gd name="connsiteX34497" fmla="*/ 3463953 w 4610101"/>
              <a:gd name="connsiteY34497" fmla="*/ 611280 h 6557032"/>
              <a:gd name="connsiteX34498" fmla="*/ 3465775 w 4610101"/>
              <a:gd name="connsiteY34498" fmla="*/ 618568 h 6557032"/>
              <a:gd name="connsiteX34499" fmla="*/ 3474886 w 4610101"/>
              <a:gd name="connsiteY34499" fmla="*/ 613103 h 6557032"/>
              <a:gd name="connsiteX34500" fmla="*/ 3471242 w 4610101"/>
              <a:gd name="connsiteY34500" fmla="*/ 603991 h 6557032"/>
              <a:gd name="connsiteX34501" fmla="*/ 3369200 w 4610101"/>
              <a:gd name="connsiteY34501" fmla="*/ 603991 h 6557032"/>
              <a:gd name="connsiteX34502" fmla="*/ 3361911 w 4610101"/>
              <a:gd name="connsiteY34502" fmla="*/ 609459 h 6557032"/>
              <a:gd name="connsiteX34503" fmla="*/ 3367378 w 4610101"/>
              <a:gd name="connsiteY34503" fmla="*/ 609459 h 6557032"/>
              <a:gd name="connsiteX34504" fmla="*/ 3369200 w 4610101"/>
              <a:gd name="connsiteY34504" fmla="*/ 603991 h 6557032"/>
              <a:gd name="connsiteX34505" fmla="*/ 2975610 w 4610101"/>
              <a:gd name="connsiteY34505" fmla="*/ 603991 h 6557032"/>
              <a:gd name="connsiteX34506" fmla="*/ 2964677 w 4610101"/>
              <a:gd name="connsiteY34506" fmla="*/ 616746 h 6557032"/>
              <a:gd name="connsiteX34507" fmla="*/ 2975383 w 4610101"/>
              <a:gd name="connsiteY34507" fmla="*/ 614241 h 6557032"/>
              <a:gd name="connsiteX34508" fmla="*/ 2978687 w 4610101"/>
              <a:gd name="connsiteY34508" fmla="*/ 608606 h 6557032"/>
              <a:gd name="connsiteX34509" fmla="*/ 2979255 w 4610101"/>
              <a:gd name="connsiteY34509" fmla="*/ 609459 h 6557032"/>
              <a:gd name="connsiteX34510" fmla="*/ 2979255 w 4610101"/>
              <a:gd name="connsiteY34510" fmla="*/ 607635 h 6557032"/>
              <a:gd name="connsiteX34511" fmla="*/ 2978687 w 4610101"/>
              <a:gd name="connsiteY34511" fmla="*/ 608606 h 6557032"/>
              <a:gd name="connsiteX34512" fmla="*/ 2944634 w 4610101"/>
              <a:gd name="connsiteY34512" fmla="*/ 603991 h 6557032"/>
              <a:gd name="connsiteX34513" fmla="*/ 2957389 w 4610101"/>
              <a:gd name="connsiteY34513" fmla="*/ 609459 h 6557032"/>
              <a:gd name="connsiteX34514" fmla="*/ 2944634 w 4610101"/>
              <a:gd name="connsiteY34514" fmla="*/ 603991 h 6557032"/>
              <a:gd name="connsiteX34515" fmla="*/ 668738 w 4610101"/>
              <a:gd name="connsiteY34515" fmla="*/ 603991 h 6557032"/>
              <a:gd name="connsiteX34516" fmla="*/ 670560 w 4610101"/>
              <a:gd name="connsiteY34516" fmla="*/ 616746 h 6557032"/>
              <a:gd name="connsiteX34517" fmla="*/ 674205 w 4610101"/>
              <a:gd name="connsiteY34517" fmla="*/ 613103 h 6557032"/>
              <a:gd name="connsiteX34518" fmla="*/ 668738 w 4610101"/>
              <a:gd name="connsiteY34518" fmla="*/ 603991 h 6557032"/>
              <a:gd name="connsiteX34519" fmla="*/ 461010 w 4610101"/>
              <a:gd name="connsiteY34519" fmla="*/ 603991 h 6557032"/>
              <a:gd name="connsiteX34520" fmla="*/ 466478 w 4610101"/>
              <a:gd name="connsiteY34520" fmla="*/ 613103 h 6557032"/>
              <a:gd name="connsiteX34521" fmla="*/ 461010 w 4610101"/>
              <a:gd name="connsiteY34521" fmla="*/ 603991 h 6557032"/>
              <a:gd name="connsiteX34522" fmla="*/ 340747 w 4610101"/>
              <a:gd name="connsiteY34522" fmla="*/ 603991 h 6557032"/>
              <a:gd name="connsiteX34523" fmla="*/ 346213 w 4610101"/>
              <a:gd name="connsiteY34523" fmla="*/ 611280 h 6557032"/>
              <a:gd name="connsiteX34524" fmla="*/ 344391 w 4610101"/>
              <a:gd name="connsiteY34524" fmla="*/ 607635 h 6557032"/>
              <a:gd name="connsiteX34525" fmla="*/ 348037 w 4610101"/>
              <a:gd name="connsiteY34525" fmla="*/ 611280 h 6557032"/>
              <a:gd name="connsiteX34526" fmla="*/ 346213 w 4610101"/>
              <a:gd name="connsiteY34526" fmla="*/ 605813 h 6557032"/>
              <a:gd name="connsiteX34527" fmla="*/ 340747 w 4610101"/>
              <a:gd name="connsiteY34527" fmla="*/ 603991 h 6557032"/>
              <a:gd name="connsiteX34528" fmla="*/ 304303 w 4610101"/>
              <a:gd name="connsiteY34528" fmla="*/ 603991 h 6557032"/>
              <a:gd name="connsiteX34529" fmla="*/ 307948 w 4610101"/>
              <a:gd name="connsiteY34529" fmla="*/ 611280 h 6557032"/>
              <a:gd name="connsiteX34530" fmla="*/ 309771 w 4610101"/>
              <a:gd name="connsiteY34530" fmla="*/ 605813 h 6557032"/>
              <a:gd name="connsiteX34531" fmla="*/ 304303 w 4610101"/>
              <a:gd name="connsiteY34531" fmla="*/ 603991 h 6557032"/>
              <a:gd name="connsiteX34532" fmla="*/ 2997072 w 4610101"/>
              <a:gd name="connsiteY34532" fmla="*/ 603876 h 6557032"/>
              <a:gd name="connsiteX34533" fmla="*/ 2997477 w 4610101"/>
              <a:gd name="connsiteY34533" fmla="*/ 603991 h 6557032"/>
              <a:gd name="connsiteX34534" fmla="*/ 2997477 w 4610101"/>
              <a:gd name="connsiteY34534" fmla="*/ 604304 h 6557032"/>
              <a:gd name="connsiteX34535" fmla="*/ 2856942 w 4610101"/>
              <a:gd name="connsiteY34535" fmla="*/ 603166 h 6557032"/>
              <a:gd name="connsiteX34536" fmla="*/ 2842592 w 4610101"/>
              <a:gd name="connsiteY34536" fmla="*/ 616746 h 6557032"/>
              <a:gd name="connsiteX34537" fmla="*/ 2866280 w 4610101"/>
              <a:gd name="connsiteY34537" fmla="*/ 642257 h 6557032"/>
              <a:gd name="connsiteX34538" fmla="*/ 2862636 w 4610101"/>
              <a:gd name="connsiteY34538" fmla="*/ 618568 h 6557032"/>
              <a:gd name="connsiteX34539" fmla="*/ 2860813 w 4610101"/>
              <a:gd name="connsiteY34539" fmla="*/ 624035 h 6557032"/>
              <a:gd name="connsiteX34540" fmla="*/ 2860813 w 4610101"/>
              <a:gd name="connsiteY34540" fmla="*/ 613103 h 6557032"/>
              <a:gd name="connsiteX34541" fmla="*/ 2851703 w 4610101"/>
              <a:gd name="connsiteY34541" fmla="*/ 609459 h 6557032"/>
              <a:gd name="connsiteX34542" fmla="*/ 2862636 w 4610101"/>
              <a:gd name="connsiteY34542" fmla="*/ 607635 h 6557032"/>
              <a:gd name="connsiteX34543" fmla="*/ 2856942 w 4610101"/>
              <a:gd name="connsiteY34543" fmla="*/ 603166 h 6557032"/>
              <a:gd name="connsiteX34544" fmla="*/ 3516796 w 4610101"/>
              <a:gd name="connsiteY34544" fmla="*/ 602169 h 6557032"/>
              <a:gd name="connsiteX34545" fmla="*/ 3518618 w 4610101"/>
              <a:gd name="connsiteY34545" fmla="*/ 616746 h 6557032"/>
              <a:gd name="connsiteX34546" fmla="*/ 3527729 w 4610101"/>
              <a:gd name="connsiteY34546" fmla="*/ 614924 h 6557032"/>
              <a:gd name="connsiteX34547" fmla="*/ 3516796 w 4610101"/>
              <a:gd name="connsiteY34547" fmla="*/ 602169 h 6557032"/>
              <a:gd name="connsiteX34548" fmla="*/ 3283558 w 4610101"/>
              <a:gd name="connsiteY34548" fmla="*/ 602169 h 6557032"/>
              <a:gd name="connsiteX34549" fmla="*/ 3283558 w 4610101"/>
              <a:gd name="connsiteY34549" fmla="*/ 611280 h 6557032"/>
              <a:gd name="connsiteX34550" fmla="*/ 3283558 w 4610101"/>
              <a:gd name="connsiteY34550" fmla="*/ 602169 h 6557032"/>
              <a:gd name="connsiteX34551" fmla="*/ 2961033 w 4610101"/>
              <a:gd name="connsiteY34551" fmla="*/ 602169 h 6557032"/>
              <a:gd name="connsiteX34552" fmla="*/ 2961033 w 4610101"/>
              <a:gd name="connsiteY34552" fmla="*/ 609459 h 6557032"/>
              <a:gd name="connsiteX34553" fmla="*/ 2961033 w 4610101"/>
              <a:gd name="connsiteY34553" fmla="*/ 602169 h 6557032"/>
              <a:gd name="connsiteX34554" fmla="*/ 1415829 w 4610101"/>
              <a:gd name="connsiteY34554" fmla="*/ 602169 h 6557032"/>
              <a:gd name="connsiteX34555" fmla="*/ 1412185 w 4610101"/>
              <a:gd name="connsiteY34555" fmla="*/ 605813 h 6557032"/>
              <a:gd name="connsiteX34556" fmla="*/ 1415829 w 4610101"/>
              <a:gd name="connsiteY34556" fmla="*/ 602169 h 6557032"/>
              <a:gd name="connsiteX34557" fmla="*/ 1299210 w 4610101"/>
              <a:gd name="connsiteY34557" fmla="*/ 602169 h 6557032"/>
              <a:gd name="connsiteX34558" fmla="*/ 1293062 w 4610101"/>
              <a:gd name="connsiteY34558" fmla="*/ 608091 h 6557032"/>
              <a:gd name="connsiteX34559" fmla="*/ 1293077 w 4610101"/>
              <a:gd name="connsiteY34559" fmla="*/ 608302 h 6557032"/>
              <a:gd name="connsiteX34560" fmla="*/ 1288277 w 4610101"/>
              <a:gd name="connsiteY34560" fmla="*/ 613103 h 6557032"/>
              <a:gd name="connsiteX34561" fmla="*/ 1291922 w 4610101"/>
              <a:gd name="connsiteY34561" fmla="*/ 613103 h 6557032"/>
              <a:gd name="connsiteX34562" fmla="*/ 1293274 w 4610101"/>
              <a:gd name="connsiteY34562" fmla="*/ 610786 h 6557032"/>
              <a:gd name="connsiteX34563" fmla="*/ 1293744 w 4610101"/>
              <a:gd name="connsiteY34563" fmla="*/ 616746 h 6557032"/>
              <a:gd name="connsiteX34564" fmla="*/ 1299210 w 4610101"/>
              <a:gd name="connsiteY34564" fmla="*/ 602169 h 6557032"/>
              <a:gd name="connsiteX34565" fmla="*/ 1275522 w 4610101"/>
              <a:gd name="connsiteY34565" fmla="*/ 602169 h 6557032"/>
              <a:gd name="connsiteX34566" fmla="*/ 1277344 w 4610101"/>
              <a:gd name="connsiteY34566" fmla="*/ 607635 h 6557032"/>
              <a:gd name="connsiteX34567" fmla="*/ 1280989 w 4610101"/>
              <a:gd name="connsiteY34567" fmla="*/ 614924 h 6557032"/>
              <a:gd name="connsiteX34568" fmla="*/ 1286455 w 4610101"/>
              <a:gd name="connsiteY34568" fmla="*/ 611280 h 6557032"/>
              <a:gd name="connsiteX34569" fmla="*/ 1280989 w 4610101"/>
              <a:gd name="connsiteY34569" fmla="*/ 605813 h 6557032"/>
              <a:gd name="connsiteX34570" fmla="*/ 1286455 w 4610101"/>
              <a:gd name="connsiteY34570" fmla="*/ 605813 h 6557032"/>
              <a:gd name="connsiteX34571" fmla="*/ 1275522 w 4610101"/>
              <a:gd name="connsiteY34571" fmla="*/ 602169 h 6557032"/>
              <a:gd name="connsiteX34572" fmla="*/ 1080549 w 4610101"/>
              <a:gd name="connsiteY34572" fmla="*/ 602169 h 6557032"/>
              <a:gd name="connsiteX34573" fmla="*/ 1082373 w 4610101"/>
              <a:gd name="connsiteY34573" fmla="*/ 602169 h 6557032"/>
              <a:gd name="connsiteX34574" fmla="*/ 1080549 w 4610101"/>
              <a:gd name="connsiteY34574" fmla="*/ 604904 h 6557032"/>
              <a:gd name="connsiteX34575" fmla="*/ 916555 w 4610101"/>
              <a:gd name="connsiteY34575" fmla="*/ 602169 h 6557032"/>
              <a:gd name="connsiteX34576" fmla="*/ 905621 w 4610101"/>
              <a:gd name="connsiteY34576" fmla="*/ 620391 h 6557032"/>
              <a:gd name="connsiteX34577" fmla="*/ 916555 w 4610101"/>
              <a:gd name="connsiteY34577" fmla="*/ 602169 h 6557032"/>
              <a:gd name="connsiteX34578" fmla="*/ 530253 w 4610101"/>
              <a:gd name="connsiteY34578" fmla="*/ 602169 h 6557032"/>
              <a:gd name="connsiteX34579" fmla="*/ 528431 w 4610101"/>
              <a:gd name="connsiteY34579" fmla="*/ 613103 h 6557032"/>
              <a:gd name="connsiteX34580" fmla="*/ 535719 w 4610101"/>
              <a:gd name="connsiteY34580" fmla="*/ 616746 h 6557032"/>
              <a:gd name="connsiteX34581" fmla="*/ 533897 w 4610101"/>
              <a:gd name="connsiteY34581" fmla="*/ 609459 h 6557032"/>
              <a:gd name="connsiteX34582" fmla="*/ 528431 w 4610101"/>
              <a:gd name="connsiteY34582" fmla="*/ 613103 h 6557032"/>
              <a:gd name="connsiteX34583" fmla="*/ 530253 w 4610101"/>
              <a:gd name="connsiteY34583" fmla="*/ 605813 h 6557032"/>
              <a:gd name="connsiteX34584" fmla="*/ 532075 w 4610101"/>
              <a:gd name="connsiteY34584" fmla="*/ 609459 h 6557032"/>
              <a:gd name="connsiteX34585" fmla="*/ 530253 w 4610101"/>
              <a:gd name="connsiteY34585" fmla="*/ 602169 h 6557032"/>
              <a:gd name="connsiteX34586" fmla="*/ 457367 w 4610101"/>
              <a:gd name="connsiteY34586" fmla="*/ 602169 h 6557032"/>
              <a:gd name="connsiteX34587" fmla="*/ 459188 w 4610101"/>
              <a:gd name="connsiteY34587" fmla="*/ 607635 h 6557032"/>
              <a:gd name="connsiteX34588" fmla="*/ 457367 w 4610101"/>
              <a:gd name="connsiteY34588" fmla="*/ 602169 h 6557032"/>
              <a:gd name="connsiteX34589" fmla="*/ 400879 w 4610101"/>
              <a:gd name="connsiteY34589" fmla="*/ 602169 h 6557032"/>
              <a:gd name="connsiteX34590" fmla="*/ 399056 w 4610101"/>
              <a:gd name="connsiteY34590" fmla="*/ 611280 h 6557032"/>
              <a:gd name="connsiteX34591" fmla="*/ 399707 w 4610101"/>
              <a:gd name="connsiteY34591" fmla="*/ 613038 h 6557032"/>
              <a:gd name="connsiteX34592" fmla="*/ 398061 w 4610101"/>
              <a:gd name="connsiteY34592" fmla="*/ 615506 h 6557032"/>
              <a:gd name="connsiteX34593" fmla="*/ 396893 w 4610101"/>
              <a:gd name="connsiteY34593" fmla="*/ 612724 h 6557032"/>
              <a:gd name="connsiteX34594" fmla="*/ 396647 w 4610101"/>
              <a:gd name="connsiteY34594" fmla="*/ 609826 h 6557032"/>
              <a:gd name="connsiteX34595" fmla="*/ 272054 w 4610101"/>
              <a:gd name="connsiteY34595" fmla="*/ 601598 h 6557032"/>
              <a:gd name="connsiteX34596" fmla="*/ 278898 w 4610101"/>
              <a:gd name="connsiteY34596" fmla="*/ 609878 h 6557032"/>
              <a:gd name="connsiteX34597" fmla="*/ 280615 w 4610101"/>
              <a:gd name="connsiteY34597" fmla="*/ 616746 h 6557032"/>
              <a:gd name="connsiteX34598" fmla="*/ 3303602 w 4610101"/>
              <a:gd name="connsiteY34598" fmla="*/ 600347 h 6557032"/>
              <a:gd name="connsiteX34599" fmla="*/ 3296313 w 4610101"/>
              <a:gd name="connsiteY34599" fmla="*/ 605813 h 6557032"/>
              <a:gd name="connsiteX34600" fmla="*/ 3303602 w 4610101"/>
              <a:gd name="connsiteY34600" fmla="*/ 603991 h 6557032"/>
              <a:gd name="connsiteX34601" fmla="*/ 3329112 w 4610101"/>
              <a:gd name="connsiteY34601" fmla="*/ 607635 h 6557032"/>
              <a:gd name="connsiteX34602" fmla="*/ 3329112 w 4610101"/>
              <a:gd name="connsiteY34602" fmla="*/ 603991 h 6557032"/>
              <a:gd name="connsiteX34603" fmla="*/ 3303602 w 4610101"/>
              <a:gd name="connsiteY34603" fmla="*/ 603991 h 6557032"/>
              <a:gd name="connsiteX34604" fmla="*/ 3303602 w 4610101"/>
              <a:gd name="connsiteY34604" fmla="*/ 600347 h 6557032"/>
              <a:gd name="connsiteX34605" fmla="*/ 2534644 w 4610101"/>
              <a:gd name="connsiteY34605" fmla="*/ 600347 h 6557032"/>
              <a:gd name="connsiteX34606" fmla="*/ 2529178 w 4610101"/>
              <a:gd name="connsiteY34606" fmla="*/ 618568 h 6557032"/>
              <a:gd name="connsiteX34607" fmla="*/ 2534644 w 4610101"/>
              <a:gd name="connsiteY34607" fmla="*/ 607635 h 6557032"/>
              <a:gd name="connsiteX34608" fmla="*/ 2534644 w 4610101"/>
              <a:gd name="connsiteY34608" fmla="*/ 600347 h 6557032"/>
              <a:gd name="connsiteX34609" fmla="*/ 1173481 w 4610101"/>
              <a:gd name="connsiteY34609" fmla="*/ 600347 h 6557032"/>
              <a:gd name="connsiteX34610" fmla="*/ 1168014 w 4610101"/>
              <a:gd name="connsiteY34610" fmla="*/ 607635 h 6557032"/>
              <a:gd name="connsiteX34611" fmla="*/ 1173481 w 4610101"/>
              <a:gd name="connsiteY34611" fmla="*/ 600347 h 6557032"/>
              <a:gd name="connsiteX34612" fmla="*/ 714293 w 4610101"/>
              <a:gd name="connsiteY34612" fmla="*/ 600347 h 6557032"/>
              <a:gd name="connsiteX34613" fmla="*/ 739803 w 4610101"/>
              <a:gd name="connsiteY34613" fmla="*/ 622213 h 6557032"/>
              <a:gd name="connsiteX34614" fmla="*/ 714293 w 4610101"/>
              <a:gd name="connsiteY34614" fmla="*/ 600347 h 6557032"/>
              <a:gd name="connsiteX34615" fmla="*/ 686960 w 4610101"/>
              <a:gd name="connsiteY34615" fmla="*/ 600347 h 6557032"/>
              <a:gd name="connsiteX34616" fmla="*/ 683316 w 4610101"/>
              <a:gd name="connsiteY34616" fmla="*/ 613103 h 6557032"/>
              <a:gd name="connsiteX34617" fmla="*/ 688782 w 4610101"/>
              <a:gd name="connsiteY34617" fmla="*/ 603991 h 6557032"/>
              <a:gd name="connsiteX34618" fmla="*/ 696071 w 4610101"/>
              <a:gd name="connsiteY34618" fmla="*/ 622213 h 6557032"/>
              <a:gd name="connsiteX34619" fmla="*/ 692654 w 4610101"/>
              <a:gd name="connsiteY34619" fmla="*/ 611280 h 6557032"/>
              <a:gd name="connsiteX34620" fmla="*/ 690827 w 4610101"/>
              <a:gd name="connsiteY34620" fmla="*/ 601537 h 6557032"/>
              <a:gd name="connsiteX34621" fmla="*/ 691255 w 4610101"/>
              <a:gd name="connsiteY34621" fmla="*/ 601669 h 6557032"/>
              <a:gd name="connsiteX34622" fmla="*/ 698348 w 4610101"/>
              <a:gd name="connsiteY34622" fmla="*/ 616063 h 6557032"/>
              <a:gd name="connsiteX34623" fmla="*/ 708826 w 4610101"/>
              <a:gd name="connsiteY34623" fmla="*/ 616746 h 6557032"/>
              <a:gd name="connsiteX34624" fmla="*/ 694249 w 4610101"/>
              <a:gd name="connsiteY34624" fmla="*/ 605813 h 6557032"/>
              <a:gd name="connsiteX34625" fmla="*/ 707004 w 4610101"/>
              <a:gd name="connsiteY34625" fmla="*/ 614924 h 6557032"/>
              <a:gd name="connsiteX34626" fmla="*/ 701765 w 4610101"/>
              <a:gd name="connsiteY34626" fmla="*/ 604903 h 6557032"/>
              <a:gd name="connsiteX34627" fmla="*/ 691255 w 4610101"/>
              <a:gd name="connsiteY34627" fmla="*/ 601669 h 6557032"/>
              <a:gd name="connsiteX34628" fmla="*/ 690604 w 4610101"/>
              <a:gd name="connsiteY34628" fmla="*/ 600347 h 6557032"/>
              <a:gd name="connsiteX34629" fmla="*/ 690827 w 4610101"/>
              <a:gd name="connsiteY34629" fmla="*/ 601537 h 6557032"/>
              <a:gd name="connsiteX34630" fmla="*/ 683316 w 4610101"/>
              <a:gd name="connsiteY34630" fmla="*/ 600347 h 6557032"/>
              <a:gd name="connsiteX34631" fmla="*/ 677849 w 4610101"/>
              <a:gd name="connsiteY34631" fmla="*/ 607635 h 6557032"/>
              <a:gd name="connsiteX34632" fmla="*/ 683316 w 4610101"/>
              <a:gd name="connsiteY34632" fmla="*/ 600347 h 6557032"/>
              <a:gd name="connsiteX34633" fmla="*/ 466478 w 4610101"/>
              <a:gd name="connsiteY34633" fmla="*/ 600347 h 6557032"/>
              <a:gd name="connsiteX34634" fmla="*/ 475589 w 4610101"/>
              <a:gd name="connsiteY34634" fmla="*/ 609459 h 6557032"/>
              <a:gd name="connsiteX34635" fmla="*/ 473766 w 4610101"/>
              <a:gd name="connsiteY34635" fmla="*/ 602169 h 6557032"/>
              <a:gd name="connsiteX34636" fmla="*/ 466478 w 4610101"/>
              <a:gd name="connsiteY34636" fmla="*/ 600347 h 6557032"/>
              <a:gd name="connsiteX34637" fmla="*/ 211372 w 4610101"/>
              <a:gd name="connsiteY34637" fmla="*/ 600347 h 6557032"/>
              <a:gd name="connsiteX34638" fmla="*/ 219379 w 4610101"/>
              <a:gd name="connsiteY34638" fmla="*/ 613158 h 6557032"/>
              <a:gd name="connsiteX34639" fmla="*/ 218675 w 4610101"/>
              <a:gd name="connsiteY34639" fmla="*/ 616680 h 6557032"/>
              <a:gd name="connsiteX34640" fmla="*/ 216839 w 4610101"/>
              <a:gd name="connsiteY34640" fmla="*/ 612875 h 6557032"/>
              <a:gd name="connsiteX34641" fmla="*/ 211372 w 4610101"/>
              <a:gd name="connsiteY34641" fmla="*/ 600347 h 6557032"/>
              <a:gd name="connsiteX34642" fmla="*/ 173107 w 4610101"/>
              <a:gd name="connsiteY34642" fmla="*/ 600347 h 6557032"/>
              <a:gd name="connsiteX34643" fmla="*/ 177207 w 4610101"/>
              <a:gd name="connsiteY34643" fmla="*/ 609230 h 6557032"/>
              <a:gd name="connsiteX34644" fmla="*/ 177340 w 4610101"/>
              <a:gd name="connsiteY34644" fmla="*/ 609961 h 6557032"/>
              <a:gd name="connsiteX34645" fmla="*/ 174254 w 4610101"/>
              <a:gd name="connsiteY34645" fmla="*/ 606659 h 6557032"/>
              <a:gd name="connsiteX34646" fmla="*/ 3355306 w 4610101"/>
              <a:gd name="connsiteY34646" fmla="*/ 599664 h 6557032"/>
              <a:gd name="connsiteX34647" fmla="*/ 3352800 w 4610101"/>
              <a:gd name="connsiteY34647" fmla="*/ 605813 h 6557032"/>
              <a:gd name="connsiteX34648" fmla="*/ 3361911 w 4610101"/>
              <a:gd name="connsiteY34648" fmla="*/ 600347 h 6557032"/>
              <a:gd name="connsiteX34649" fmla="*/ 3355306 w 4610101"/>
              <a:gd name="connsiteY34649" fmla="*/ 599664 h 6557032"/>
              <a:gd name="connsiteX34650" fmla="*/ 1251834 w 4610101"/>
              <a:gd name="connsiteY34650" fmla="*/ 598524 h 6557032"/>
              <a:gd name="connsiteX34651" fmla="*/ 1253656 w 4610101"/>
              <a:gd name="connsiteY34651" fmla="*/ 602169 h 6557032"/>
              <a:gd name="connsiteX34652" fmla="*/ 1251834 w 4610101"/>
              <a:gd name="connsiteY34652" fmla="*/ 600347 h 6557032"/>
              <a:gd name="connsiteX34653" fmla="*/ 1248189 w 4610101"/>
              <a:gd name="connsiteY34653" fmla="*/ 605813 h 6557032"/>
              <a:gd name="connsiteX34654" fmla="*/ 1243316 w 4610101"/>
              <a:gd name="connsiteY34654" fmla="*/ 608166 h 6557032"/>
              <a:gd name="connsiteX34655" fmla="*/ 1248357 w 4610101"/>
              <a:gd name="connsiteY34655" fmla="*/ 601665 h 6557032"/>
              <a:gd name="connsiteX34656" fmla="*/ 1248189 w 4610101"/>
              <a:gd name="connsiteY34656" fmla="*/ 602169 h 6557032"/>
              <a:gd name="connsiteX34657" fmla="*/ 3165116 w 4610101"/>
              <a:gd name="connsiteY34657" fmla="*/ 598524 h 6557032"/>
              <a:gd name="connsiteX34658" fmla="*/ 3165116 w 4610101"/>
              <a:gd name="connsiteY34658" fmla="*/ 607635 h 6557032"/>
              <a:gd name="connsiteX34659" fmla="*/ 3165116 w 4610101"/>
              <a:gd name="connsiteY34659" fmla="*/ 598524 h 6557032"/>
              <a:gd name="connsiteX34660" fmla="*/ 2421669 w 4610101"/>
              <a:gd name="connsiteY34660" fmla="*/ 598524 h 6557032"/>
              <a:gd name="connsiteX34661" fmla="*/ 2412559 w 4610101"/>
              <a:gd name="connsiteY34661" fmla="*/ 600347 h 6557032"/>
              <a:gd name="connsiteX34662" fmla="*/ 2410737 w 4610101"/>
              <a:gd name="connsiteY34662" fmla="*/ 609459 h 6557032"/>
              <a:gd name="connsiteX34663" fmla="*/ 2421669 w 4610101"/>
              <a:gd name="connsiteY34663" fmla="*/ 598524 h 6557032"/>
              <a:gd name="connsiteX34664" fmla="*/ 2374293 w 4610101"/>
              <a:gd name="connsiteY34664" fmla="*/ 598524 h 6557032"/>
              <a:gd name="connsiteX34665" fmla="*/ 2372471 w 4610101"/>
              <a:gd name="connsiteY34665" fmla="*/ 605813 h 6557032"/>
              <a:gd name="connsiteX34666" fmla="*/ 2376115 w 4610101"/>
              <a:gd name="connsiteY34666" fmla="*/ 603991 h 6557032"/>
              <a:gd name="connsiteX34667" fmla="*/ 2374293 w 4610101"/>
              <a:gd name="connsiteY34667" fmla="*/ 598524 h 6557032"/>
              <a:gd name="connsiteX34668" fmla="*/ 1240901 w 4610101"/>
              <a:gd name="connsiteY34668" fmla="*/ 598524 h 6557032"/>
              <a:gd name="connsiteX34669" fmla="*/ 1240217 w 4610101"/>
              <a:gd name="connsiteY34669" fmla="*/ 604219 h 6557032"/>
              <a:gd name="connsiteX34670" fmla="*/ 1240685 w 4610101"/>
              <a:gd name="connsiteY34670" fmla="*/ 609054 h 6557032"/>
              <a:gd name="connsiteX34671" fmla="*/ 1234345 w 4610101"/>
              <a:gd name="connsiteY34671" fmla="*/ 609417 h 6557032"/>
              <a:gd name="connsiteX34672" fmla="*/ 1236117 w 4610101"/>
              <a:gd name="connsiteY34672" fmla="*/ 604903 h 6557032"/>
              <a:gd name="connsiteX34673" fmla="*/ 1237256 w 4610101"/>
              <a:gd name="connsiteY34673" fmla="*/ 603991 h 6557032"/>
              <a:gd name="connsiteX34674" fmla="*/ 1240901 w 4610101"/>
              <a:gd name="connsiteY34674" fmla="*/ 598524 h 6557032"/>
              <a:gd name="connsiteX34675" fmla="*/ 734336 w 4610101"/>
              <a:gd name="connsiteY34675" fmla="*/ 598524 h 6557032"/>
              <a:gd name="connsiteX34676" fmla="*/ 737981 w 4610101"/>
              <a:gd name="connsiteY34676" fmla="*/ 602169 h 6557032"/>
              <a:gd name="connsiteX34677" fmla="*/ 734336 w 4610101"/>
              <a:gd name="connsiteY34677" fmla="*/ 598524 h 6557032"/>
              <a:gd name="connsiteX34678" fmla="*/ 493809 w 4610101"/>
              <a:gd name="connsiteY34678" fmla="*/ 598524 h 6557032"/>
              <a:gd name="connsiteX34679" fmla="*/ 499276 w 4610101"/>
              <a:gd name="connsiteY34679" fmla="*/ 603991 h 6557032"/>
              <a:gd name="connsiteX34680" fmla="*/ 493809 w 4610101"/>
              <a:gd name="connsiteY34680" fmla="*/ 598524 h 6557032"/>
              <a:gd name="connsiteX34681" fmla="*/ 315236 w 4610101"/>
              <a:gd name="connsiteY34681" fmla="*/ 598524 h 6557032"/>
              <a:gd name="connsiteX34682" fmla="*/ 327993 w 4610101"/>
              <a:gd name="connsiteY34682" fmla="*/ 622213 h 6557032"/>
              <a:gd name="connsiteX34683" fmla="*/ 326169 w 4610101"/>
              <a:gd name="connsiteY34683" fmla="*/ 620391 h 6557032"/>
              <a:gd name="connsiteX34684" fmla="*/ 329814 w 4610101"/>
              <a:gd name="connsiteY34684" fmla="*/ 616746 h 6557032"/>
              <a:gd name="connsiteX34685" fmla="*/ 315236 w 4610101"/>
              <a:gd name="connsiteY34685" fmla="*/ 598524 h 6557032"/>
              <a:gd name="connsiteX34686" fmla="*/ 222306 w 4610101"/>
              <a:gd name="connsiteY34686" fmla="*/ 598524 h 6557032"/>
              <a:gd name="connsiteX34687" fmla="*/ 223350 w 4610101"/>
              <a:gd name="connsiteY34687" fmla="*/ 603459 h 6557032"/>
              <a:gd name="connsiteX34688" fmla="*/ 220483 w 4610101"/>
              <a:gd name="connsiteY34688" fmla="*/ 614924 h 6557032"/>
              <a:gd name="connsiteX34689" fmla="*/ 219379 w 4610101"/>
              <a:gd name="connsiteY34689" fmla="*/ 613158 h 6557032"/>
              <a:gd name="connsiteX34690" fmla="*/ 1251834 w 4610101"/>
              <a:gd name="connsiteY34690" fmla="*/ 598524 h 6557032"/>
              <a:gd name="connsiteX34691" fmla="*/ 1251834 w 4610101"/>
              <a:gd name="connsiteY34691" fmla="*/ 598524 h 6557032"/>
              <a:gd name="connsiteX34692" fmla="*/ 1251834 w 4610101"/>
              <a:gd name="connsiteY34692" fmla="*/ 598524 h 6557032"/>
              <a:gd name="connsiteX34693" fmla="*/ 1249631 w 4610101"/>
              <a:gd name="connsiteY34693" fmla="*/ 598044 h 6557032"/>
              <a:gd name="connsiteX34694" fmla="*/ 1249556 w 4610101"/>
              <a:gd name="connsiteY34694" fmla="*/ 600119 h 6557032"/>
              <a:gd name="connsiteX34695" fmla="*/ 1248357 w 4610101"/>
              <a:gd name="connsiteY34695" fmla="*/ 601665 h 6557032"/>
              <a:gd name="connsiteX34696" fmla="*/ 1249556 w 4610101"/>
              <a:gd name="connsiteY34696" fmla="*/ 598069 h 6557032"/>
              <a:gd name="connsiteX34697" fmla="*/ 2092252 w 4610101"/>
              <a:gd name="connsiteY34697" fmla="*/ 597574 h 6557032"/>
              <a:gd name="connsiteX34698" fmla="*/ 2094851 w 4610101"/>
              <a:gd name="connsiteY34698" fmla="*/ 599306 h 6557032"/>
              <a:gd name="connsiteX34699" fmla="*/ 2093679 w 4610101"/>
              <a:gd name="connsiteY34699" fmla="*/ 603991 h 6557032"/>
              <a:gd name="connsiteX34700" fmla="*/ 2091629 w 4610101"/>
              <a:gd name="connsiteY34700" fmla="*/ 598753 h 6557032"/>
              <a:gd name="connsiteX34701" fmla="*/ 2363360 w 4610101"/>
              <a:gd name="connsiteY34701" fmla="*/ 596702 h 6557032"/>
              <a:gd name="connsiteX34702" fmla="*/ 2361538 w 4610101"/>
              <a:gd name="connsiteY34702" fmla="*/ 609459 h 6557032"/>
              <a:gd name="connsiteX34703" fmla="*/ 2367004 w 4610101"/>
              <a:gd name="connsiteY34703" fmla="*/ 609459 h 6557032"/>
              <a:gd name="connsiteX34704" fmla="*/ 2363360 w 4610101"/>
              <a:gd name="connsiteY34704" fmla="*/ 596702 h 6557032"/>
              <a:gd name="connsiteX34705" fmla="*/ 1424940 w 4610101"/>
              <a:gd name="connsiteY34705" fmla="*/ 596702 h 6557032"/>
              <a:gd name="connsiteX34706" fmla="*/ 1430407 w 4610101"/>
              <a:gd name="connsiteY34706" fmla="*/ 600347 h 6557032"/>
              <a:gd name="connsiteX34707" fmla="*/ 1424940 w 4610101"/>
              <a:gd name="connsiteY34707" fmla="*/ 596702 h 6557032"/>
              <a:gd name="connsiteX34708" fmla="*/ 1158903 w 4610101"/>
              <a:gd name="connsiteY34708" fmla="*/ 596702 h 6557032"/>
              <a:gd name="connsiteX34709" fmla="*/ 1151614 w 4610101"/>
              <a:gd name="connsiteY34709" fmla="*/ 607635 h 6557032"/>
              <a:gd name="connsiteX34710" fmla="*/ 1158903 w 4610101"/>
              <a:gd name="connsiteY34710" fmla="*/ 596702 h 6557032"/>
              <a:gd name="connsiteX34711" fmla="*/ 654161 w 4610101"/>
              <a:gd name="connsiteY34711" fmla="*/ 596702 h 6557032"/>
              <a:gd name="connsiteX34712" fmla="*/ 655983 w 4610101"/>
              <a:gd name="connsiteY34712" fmla="*/ 603991 h 6557032"/>
              <a:gd name="connsiteX34713" fmla="*/ 654161 w 4610101"/>
              <a:gd name="connsiteY34713" fmla="*/ 596702 h 6557032"/>
              <a:gd name="connsiteX34714" fmla="*/ 650516 w 4610101"/>
              <a:gd name="connsiteY34714" fmla="*/ 596702 h 6557032"/>
              <a:gd name="connsiteX34715" fmla="*/ 646872 w 4610101"/>
              <a:gd name="connsiteY34715" fmla="*/ 613103 h 6557032"/>
              <a:gd name="connsiteX34716" fmla="*/ 652339 w 4610101"/>
              <a:gd name="connsiteY34716" fmla="*/ 611280 h 6557032"/>
              <a:gd name="connsiteX34717" fmla="*/ 650516 w 4610101"/>
              <a:gd name="connsiteY34717" fmla="*/ 596702 h 6557032"/>
              <a:gd name="connsiteX34718" fmla="*/ 324347 w 4610101"/>
              <a:gd name="connsiteY34718" fmla="*/ 596702 h 6557032"/>
              <a:gd name="connsiteX34719" fmla="*/ 330624 w 4610101"/>
              <a:gd name="connsiteY34719" fmla="*/ 611281 h 6557032"/>
              <a:gd name="connsiteX34720" fmla="*/ 330497 w 4610101"/>
              <a:gd name="connsiteY34720" fmla="*/ 611053 h 6557032"/>
              <a:gd name="connsiteX34721" fmla="*/ 327993 w 4610101"/>
              <a:gd name="connsiteY34721" fmla="*/ 607635 h 6557032"/>
              <a:gd name="connsiteX34722" fmla="*/ 328447 w 4610101"/>
              <a:gd name="connsiteY34722" fmla="*/ 610369 h 6557032"/>
              <a:gd name="connsiteX34723" fmla="*/ 331275 w 4610101"/>
              <a:gd name="connsiteY34723" fmla="*/ 612793 h 6557032"/>
              <a:gd name="connsiteX34724" fmla="*/ 331408 w 4610101"/>
              <a:gd name="connsiteY34724" fmla="*/ 613102 h 6557032"/>
              <a:gd name="connsiteX34725" fmla="*/ 342569 w 4610101"/>
              <a:gd name="connsiteY34725" fmla="*/ 624035 h 6557032"/>
              <a:gd name="connsiteX34726" fmla="*/ 333458 w 4610101"/>
              <a:gd name="connsiteY34726" fmla="*/ 613103 h 6557032"/>
              <a:gd name="connsiteX34727" fmla="*/ 340747 w 4610101"/>
              <a:gd name="connsiteY34727" fmla="*/ 616746 h 6557032"/>
              <a:gd name="connsiteX34728" fmla="*/ 324347 w 4610101"/>
              <a:gd name="connsiteY34728" fmla="*/ 596702 h 6557032"/>
              <a:gd name="connsiteX34729" fmla="*/ 2758336 w 4610101"/>
              <a:gd name="connsiteY34729" fmla="*/ 595164 h 6557032"/>
              <a:gd name="connsiteX34730" fmla="*/ 2762075 w 4610101"/>
              <a:gd name="connsiteY34730" fmla="*/ 599436 h 6557032"/>
              <a:gd name="connsiteX34731" fmla="*/ 2762416 w 4610101"/>
              <a:gd name="connsiteY34731" fmla="*/ 602914 h 6557032"/>
              <a:gd name="connsiteX34732" fmla="*/ 2762416 w 4610101"/>
              <a:gd name="connsiteY34732" fmla="*/ 604903 h 6557032"/>
              <a:gd name="connsiteX34733" fmla="*/ 2761050 w 4610101"/>
              <a:gd name="connsiteY34733" fmla="*/ 602853 h 6557032"/>
              <a:gd name="connsiteX34734" fmla="*/ 3083119 w 4610101"/>
              <a:gd name="connsiteY34734" fmla="*/ 594880 h 6557032"/>
              <a:gd name="connsiteX34735" fmla="*/ 3083119 w 4610101"/>
              <a:gd name="connsiteY34735" fmla="*/ 602169 h 6557032"/>
              <a:gd name="connsiteX34736" fmla="*/ 3083119 w 4610101"/>
              <a:gd name="connsiteY34736" fmla="*/ 594880 h 6557032"/>
              <a:gd name="connsiteX34737" fmla="*/ 2512778 w 4610101"/>
              <a:gd name="connsiteY34737" fmla="*/ 594880 h 6557032"/>
              <a:gd name="connsiteX34738" fmla="*/ 2509134 w 4610101"/>
              <a:gd name="connsiteY34738" fmla="*/ 616746 h 6557032"/>
              <a:gd name="connsiteX34739" fmla="*/ 2512778 w 4610101"/>
              <a:gd name="connsiteY34739" fmla="*/ 614924 h 6557032"/>
              <a:gd name="connsiteX34740" fmla="*/ 2514600 w 4610101"/>
              <a:gd name="connsiteY34740" fmla="*/ 620391 h 6557032"/>
              <a:gd name="connsiteX34741" fmla="*/ 2523711 w 4610101"/>
              <a:gd name="connsiteY34741" fmla="*/ 602169 h 6557032"/>
              <a:gd name="connsiteX34742" fmla="*/ 2520067 w 4610101"/>
              <a:gd name="connsiteY34742" fmla="*/ 602169 h 6557032"/>
              <a:gd name="connsiteX34743" fmla="*/ 2520067 w 4610101"/>
              <a:gd name="connsiteY34743" fmla="*/ 611280 h 6557032"/>
              <a:gd name="connsiteX34744" fmla="*/ 2514600 w 4610101"/>
              <a:gd name="connsiteY34744" fmla="*/ 596702 h 6557032"/>
              <a:gd name="connsiteX34745" fmla="*/ 2512778 w 4610101"/>
              <a:gd name="connsiteY34745" fmla="*/ 594880 h 6557032"/>
              <a:gd name="connsiteX34746" fmla="*/ 2354249 w 4610101"/>
              <a:gd name="connsiteY34746" fmla="*/ 594880 h 6557032"/>
              <a:gd name="connsiteX34747" fmla="*/ 2352427 w 4610101"/>
              <a:gd name="connsiteY34747" fmla="*/ 603991 h 6557032"/>
              <a:gd name="connsiteX34748" fmla="*/ 2354249 w 4610101"/>
              <a:gd name="connsiteY34748" fmla="*/ 594880 h 6557032"/>
              <a:gd name="connsiteX34749" fmla="*/ 1969770 w 4610101"/>
              <a:gd name="connsiteY34749" fmla="*/ 594880 h 6557032"/>
              <a:gd name="connsiteX34750" fmla="*/ 1960732 w 4610101"/>
              <a:gd name="connsiteY34750" fmla="*/ 607442 h 6557032"/>
              <a:gd name="connsiteX34751" fmla="*/ 1963849 w 4610101"/>
              <a:gd name="connsiteY34751" fmla="*/ 599208 h 6557032"/>
              <a:gd name="connsiteX34752" fmla="*/ 1969770 w 4610101"/>
              <a:gd name="connsiteY34752" fmla="*/ 594880 h 6557032"/>
              <a:gd name="connsiteX34753" fmla="*/ 1255478 w 4610101"/>
              <a:gd name="connsiteY34753" fmla="*/ 594880 h 6557032"/>
              <a:gd name="connsiteX34754" fmla="*/ 1255604 w 4610101"/>
              <a:gd name="connsiteY34754" fmla="*/ 595039 h 6557032"/>
              <a:gd name="connsiteX34755" fmla="*/ 1255478 w 4610101"/>
              <a:gd name="connsiteY34755" fmla="*/ 596702 h 6557032"/>
              <a:gd name="connsiteX34756" fmla="*/ 1255170 w 4610101"/>
              <a:gd name="connsiteY34756" fmla="*/ 596112 h 6557032"/>
              <a:gd name="connsiteX34757" fmla="*/ 1124282 w 4610101"/>
              <a:gd name="connsiteY34757" fmla="*/ 594880 h 6557032"/>
              <a:gd name="connsiteX34758" fmla="*/ 1116993 w 4610101"/>
              <a:gd name="connsiteY34758" fmla="*/ 605813 h 6557032"/>
              <a:gd name="connsiteX34759" fmla="*/ 1124282 w 4610101"/>
              <a:gd name="connsiteY34759" fmla="*/ 594880 h 6557032"/>
              <a:gd name="connsiteX34760" fmla="*/ 767136 w 4610101"/>
              <a:gd name="connsiteY34760" fmla="*/ 594880 h 6557032"/>
              <a:gd name="connsiteX34761" fmla="*/ 765313 w 4610101"/>
              <a:gd name="connsiteY34761" fmla="*/ 598524 h 6557032"/>
              <a:gd name="connsiteX34762" fmla="*/ 779892 w 4610101"/>
              <a:gd name="connsiteY34762" fmla="*/ 603991 h 6557032"/>
              <a:gd name="connsiteX34763" fmla="*/ 767136 w 4610101"/>
              <a:gd name="connsiteY34763" fmla="*/ 594880 h 6557032"/>
              <a:gd name="connsiteX34764" fmla="*/ 743447 w 4610101"/>
              <a:gd name="connsiteY34764" fmla="*/ 594880 h 6557032"/>
              <a:gd name="connsiteX34765" fmla="*/ 745269 w 4610101"/>
              <a:gd name="connsiteY34765" fmla="*/ 611280 h 6557032"/>
              <a:gd name="connsiteX34766" fmla="*/ 743447 w 4610101"/>
              <a:gd name="connsiteY34766" fmla="*/ 594880 h 6557032"/>
              <a:gd name="connsiteX34767" fmla="*/ 668738 w 4610101"/>
              <a:gd name="connsiteY34767" fmla="*/ 594880 h 6557032"/>
              <a:gd name="connsiteX34768" fmla="*/ 670300 w 4610101"/>
              <a:gd name="connsiteY34768" fmla="*/ 599566 h 6557032"/>
              <a:gd name="connsiteX34769" fmla="*/ 668738 w 4610101"/>
              <a:gd name="connsiteY34769" fmla="*/ 598524 h 6557032"/>
              <a:gd name="connsiteX34770" fmla="*/ 672383 w 4610101"/>
              <a:gd name="connsiteY34770" fmla="*/ 605813 h 6557032"/>
              <a:gd name="connsiteX34771" fmla="*/ 670300 w 4610101"/>
              <a:gd name="connsiteY34771" fmla="*/ 599566 h 6557032"/>
              <a:gd name="connsiteX34772" fmla="*/ 674205 w 4610101"/>
              <a:gd name="connsiteY34772" fmla="*/ 602169 h 6557032"/>
              <a:gd name="connsiteX34773" fmla="*/ 676027 w 4610101"/>
              <a:gd name="connsiteY34773" fmla="*/ 598524 h 6557032"/>
              <a:gd name="connsiteX34774" fmla="*/ 668738 w 4610101"/>
              <a:gd name="connsiteY34774" fmla="*/ 594880 h 6557032"/>
              <a:gd name="connsiteX34775" fmla="*/ 444611 w 4610101"/>
              <a:gd name="connsiteY34775" fmla="*/ 594880 h 6557032"/>
              <a:gd name="connsiteX34776" fmla="*/ 453722 w 4610101"/>
              <a:gd name="connsiteY34776" fmla="*/ 614924 h 6557032"/>
              <a:gd name="connsiteX34777" fmla="*/ 446433 w 4610101"/>
              <a:gd name="connsiteY34777" fmla="*/ 600347 h 6557032"/>
              <a:gd name="connsiteX34778" fmla="*/ 451899 w 4610101"/>
              <a:gd name="connsiteY34778" fmla="*/ 603991 h 6557032"/>
              <a:gd name="connsiteX34779" fmla="*/ 444611 w 4610101"/>
              <a:gd name="connsiteY34779" fmla="*/ 594880 h 6557032"/>
              <a:gd name="connsiteX34780" fmla="*/ 364435 w 4610101"/>
              <a:gd name="connsiteY34780" fmla="*/ 594880 h 6557032"/>
              <a:gd name="connsiteX34781" fmla="*/ 366257 w 4610101"/>
              <a:gd name="connsiteY34781" fmla="*/ 598524 h 6557032"/>
              <a:gd name="connsiteX34782" fmla="*/ 364435 w 4610101"/>
              <a:gd name="connsiteY34782" fmla="*/ 594880 h 6557032"/>
              <a:gd name="connsiteX34783" fmla="*/ 307948 w 4610101"/>
              <a:gd name="connsiteY34783" fmla="*/ 594880 h 6557032"/>
              <a:gd name="connsiteX34784" fmla="*/ 307948 w 4610101"/>
              <a:gd name="connsiteY34784" fmla="*/ 603991 h 6557032"/>
              <a:gd name="connsiteX34785" fmla="*/ 307948 w 4610101"/>
              <a:gd name="connsiteY34785" fmla="*/ 594880 h 6557032"/>
              <a:gd name="connsiteX34786" fmla="*/ 1426104 w 4610101"/>
              <a:gd name="connsiteY34786" fmla="*/ 594625 h 6557032"/>
              <a:gd name="connsiteX34787" fmla="*/ 1426080 w 4610101"/>
              <a:gd name="connsiteY34787" fmla="*/ 594880 h 6557032"/>
              <a:gd name="connsiteX34788" fmla="*/ 1425269 w 4610101"/>
              <a:gd name="connsiteY34788" fmla="*/ 596116 h 6557032"/>
              <a:gd name="connsiteX34789" fmla="*/ 1404896 w 4610101"/>
              <a:gd name="connsiteY34789" fmla="*/ 594197 h 6557032"/>
              <a:gd name="connsiteX34790" fmla="*/ 1404896 w 4610101"/>
              <a:gd name="connsiteY34790" fmla="*/ 605813 h 6557032"/>
              <a:gd name="connsiteX34791" fmla="*/ 1403074 w 4610101"/>
              <a:gd name="connsiteY34791" fmla="*/ 605813 h 6557032"/>
              <a:gd name="connsiteX34792" fmla="*/ 1403074 w 4610101"/>
              <a:gd name="connsiteY34792" fmla="*/ 594880 h 6557032"/>
              <a:gd name="connsiteX34793" fmla="*/ 2343316 w 4610101"/>
              <a:gd name="connsiteY34793" fmla="*/ 593058 h 6557032"/>
              <a:gd name="connsiteX34794" fmla="*/ 2345138 w 4610101"/>
              <a:gd name="connsiteY34794" fmla="*/ 609459 h 6557032"/>
              <a:gd name="connsiteX34795" fmla="*/ 2348782 w 4610101"/>
              <a:gd name="connsiteY34795" fmla="*/ 600347 h 6557032"/>
              <a:gd name="connsiteX34796" fmla="*/ 2343316 w 4610101"/>
              <a:gd name="connsiteY34796" fmla="*/ 593058 h 6557032"/>
              <a:gd name="connsiteX34797" fmla="*/ 1306499 w 4610101"/>
              <a:gd name="connsiteY34797" fmla="*/ 593058 h 6557032"/>
              <a:gd name="connsiteX34798" fmla="*/ 1304677 w 4610101"/>
              <a:gd name="connsiteY34798" fmla="*/ 602169 h 6557032"/>
              <a:gd name="connsiteX34799" fmla="*/ 1306499 w 4610101"/>
              <a:gd name="connsiteY34799" fmla="*/ 593058 h 6557032"/>
              <a:gd name="connsiteX34800" fmla="*/ 758025 w 4610101"/>
              <a:gd name="connsiteY34800" fmla="*/ 593058 h 6557032"/>
              <a:gd name="connsiteX34801" fmla="*/ 761670 w 4610101"/>
              <a:gd name="connsiteY34801" fmla="*/ 596702 h 6557032"/>
              <a:gd name="connsiteX34802" fmla="*/ 757249 w 4610101"/>
              <a:gd name="connsiteY34802" fmla="*/ 595772 h 6557032"/>
              <a:gd name="connsiteX34803" fmla="*/ 614074 w 4610101"/>
              <a:gd name="connsiteY34803" fmla="*/ 593058 h 6557032"/>
              <a:gd name="connsiteX34804" fmla="*/ 608169 w 4610101"/>
              <a:gd name="connsiteY34804" fmla="*/ 609459 h 6557032"/>
              <a:gd name="connsiteX34805" fmla="*/ 606784 w 4610101"/>
              <a:gd name="connsiteY34805" fmla="*/ 609459 h 6557032"/>
              <a:gd name="connsiteX34806" fmla="*/ 607819 w 4610101"/>
              <a:gd name="connsiteY34806" fmla="*/ 610430 h 6557032"/>
              <a:gd name="connsiteX34807" fmla="*/ 605873 w 4610101"/>
              <a:gd name="connsiteY34807" fmla="*/ 615835 h 6557032"/>
              <a:gd name="connsiteX34808" fmla="*/ 614074 w 4610101"/>
              <a:gd name="connsiteY34808" fmla="*/ 638612 h 6557032"/>
              <a:gd name="connsiteX34809" fmla="*/ 617945 w 4610101"/>
              <a:gd name="connsiteY34809" fmla="*/ 619936 h 6557032"/>
              <a:gd name="connsiteX34810" fmla="*/ 607819 w 4610101"/>
              <a:gd name="connsiteY34810" fmla="*/ 610430 h 6557032"/>
              <a:gd name="connsiteX34811" fmla="*/ 608169 w 4610101"/>
              <a:gd name="connsiteY34811" fmla="*/ 609459 h 6557032"/>
              <a:gd name="connsiteX34812" fmla="*/ 617717 w 4610101"/>
              <a:gd name="connsiteY34812" fmla="*/ 609459 h 6557032"/>
              <a:gd name="connsiteX34813" fmla="*/ 614074 w 4610101"/>
              <a:gd name="connsiteY34813" fmla="*/ 593058 h 6557032"/>
              <a:gd name="connsiteX34814" fmla="*/ 3391066 w 4610101"/>
              <a:gd name="connsiteY34814" fmla="*/ 591236 h 6557032"/>
              <a:gd name="connsiteX34815" fmla="*/ 3385600 w 4610101"/>
              <a:gd name="connsiteY34815" fmla="*/ 598524 h 6557032"/>
              <a:gd name="connsiteX34816" fmla="*/ 3372844 w 4610101"/>
              <a:gd name="connsiteY34816" fmla="*/ 600347 h 6557032"/>
              <a:gd name="connsiteX34817" fmla="*/ 3376489 w 4610101"/>
              <a:gd name="connsiteY34817" fmla="*/ 611280 h 6557032"/>
              <a:gd name="connsiteX34818" fmla="*/ 3387422 w 4610101"/>
              <a:gd name="connsiteY34818" fmla="*/ 618568 h 6557032"/>
              <a:gd name="connsiteX34819" fmla="*/ 3391066 w 4610101"/>
              <a:gd name="connsiteY34819" fmla="*/ 603991 h 6557032"/>
              <a:gd name="connsiteX34820" fmla="*/ 3398355 w 4610101"/>
              <a:gd name="connsiteY34820" fmla="*/ 636790 h 6557032"/>
              <a:gd name="connsiteX34821" fmla="*/ 3398355 w 4610101"/>
              <a:gd name="connsiteY34821" fmla="*/ 625857 h 6557032"/>
              <a:gd name="connsiteX34822" fmla="*/ 3384461 w 4610101"/>
              <a:gd name="connsiteY34822" fmla="*/ 618569 h 6557032"/>
              <a:gd name="connsiteX34823" fmla="*/ 3378376 w 4610101"/>
              <a:gd name="connsiteY34823" fmla="*/ 624229 h 6557032"/>
              <a:gd name="connsiteX34824" fmla="*/ 3378311 w 4610101"/>
              <a:gd name="connsiteY34824" fmla="*/ 624035 h 6557032"/>
              <a:gd name="connsiteX34825" fmla="*/ 3374666 w 4610101"/>
              <a:gd name="connsiteY34825" fmla="*/ 627679 h 6557032"/>
              <a:gd name="connsiteX34826" fmla="*/ 3378376 w 4610101"/>
              <a:gd name="connsiteY34826" fmla="*/ 624229 h 6557032"/>
              <a:gd name="connsiteX34827" fmla="*/ 3380133 w 4610101"/>
              <a:gd name="connsiteY34827" fmla="*/ 629501 h 6557032"/>
              <a:gd name="connsiteX34828" fmla="*/ 3383777 w 4610101"/>
              <a:gd name="connsiteY34828" fmla="*/ 627679 h 6557032"/>
              <a:gd name="connsiteX34829" fmla="*/ 3374666 w 4610101"/>
              <a:gd name="connsiteY34829" fmla="*/ 642257 h 6557032"/>
              <a:gd name="connsiteX34830" fmla="*/ 3378311 w 4610101"/>
              <a:gd name="connsiteY34830" fmla="*/ 640435 h 6557032"/>
              <a:gd name="connsiteX34831" fmla="*/ 3396532 w 4610101"/>
              <a:gd name="connsiteY34831" fmla="*/ 649545 h 6557032"/>
              <a:gd name="connsiteX34832" fmla="*/ 3416577 w 4610101"/>
              <a:gd name="connsiteY34832" fmla="*/ 640435 h 6557032"/>
              <a:gd name="connsiteX34833" fmla="*/ 3407466 w 4610101"/>
              <a:gd name="connsiteY34833" fmla="*/ 634968 h 6557032"/>
              <a:gd name="connsiteX34834" fmla="*/ 3411110 w 4610101"/>
              <a:gd name="connsiteY34834" fmla="*/ 620391 h 6557032"/>
              <a:gd name="connsiteX34835" fmla="*/ 3423865 w 4610101"/>
              <a:gd name="connsiteY34835" fmla="*/ 627679 h 6557032"/>
              <a:gd name="connsiteX34836" fmla="*/ 3429332 w 4610101"/>
              <a:gd name="connsiteY34836" fmla="*/ 613103 h 6557032"/>
              <a:gd name="connsiteX34837" fmla="*/ 3427510 w 4610101"/>
              <a:gd name="connsiteY34837" fmla="*/ 603991 h 6557032"/>
              <a:gd name="connsiteX34838" fmla="*/ 3423865 w 4610101"/>
              <a:gd name="connsiteY34838" fmla="*/ 600347 h 6557032"/>
              <a:gd name="connsiteX34839" fmla="*/ 3422043 w 4610101"/>
              <a:gd name="connsiteY34839" fmla="*/ 611280 h 6557032"/>
              <a:gd name="connsiteX34840" fmla="*/ 3405643 w 4610101"/>
              <a:gd name="connsiteY34840" fmla="*/ 613103 h 6557032"/>
              <a:gd name="connsiteX34841" fmla="*/ 3405643 w 4610101"/>
              <a:gd name="connsiteY34841" fmla="*/ 602169 h 6557032"/>
              <a:gd name="connsiteX34842" fmla="*/ 3412932 w 4610101"/>
              <a:gd name="connsiteY34842" fmla="*/ 600347 h 6557032"/>
              <a:gd name="connsiteX34843" fmla="*/ 3411110 w 4610101"/>
              <a:gd name="connsiteY34843" fmla="*/ 593058 h 6557032"/>
              <a:gd name="connsiteX34844" fmla="*/ 3396532 w 4610101"/>
              <a:gd name="connsiteY34844" fmla="*/ 591236 h 6557032"/>
              <a:gd name="connsiteX34845" fmla="*/ 3394710 w 4610101"/>
              <a:gd name="connsiteY34845" fmla="*/ 598524 h 6557032"/>
              <a:gd name="connsiteX34846" fmla="*/ 3392888 w 4610101"/>
              <a:gd name="connsiteY34846" fmla="*/ 593058 h 6557032"/>
              <a:gd name="connsiteX34847" fmla="*/ 3389244 w 4610101"/>
              <a:gd name="connsiteY34847" fmla="*/ 596702 h 6557032"/>
              <a:gd name="connsiteX34848" fmla="*/ 3391066 w 4610101"/>
              <a:gd name="connsiteY34848" fmla="*/ 591236 h 6557032"/>
              <a:gd name="connsiteX34849" fmla="*/ 3192449 w 4610101"/>
              <a:gd name="connsiteY34849" fmla="*/ 591236 h 6557032"/>
              <a:gd name="connsiteX34850" fmla="*/ 3186982 w 4610101"/>
              <a:gd name="connsiteY34850" fmla="*/ 607635 h 6557032"/>
              <a:gd name="connsiteX34851" fmla="*/ 3196093 w 4610101"/>
              <a:gd name="connsiteY34851" fmla="*/ 602169 h 6557032"/>
              <a:gd name="connsiteX34852" fmla="*/ 3192449 w 4610101"/>
              <a:gd name="connsiteY34852" fmla="*/ 591236 h 6557032"/>
              <a:gd name="connsiteX34853" fmla="*/ 2915479 w 4610101"/>
              <a:gd name="connsiteY34853" fmla="*/ 591236 h 6557032"/>
              <a:gd name="connsiteX34854" fmla="*/ 2908190 w 4610101"/>
              <a:gd name="connsiteY34854" fmla="*/ 600347 h 6557032"/>
              <a:gd name="connsiteX34855" fmla="*/ 2919123 w 4610101"/>
              <a:gd name="connsiteY34855" fmla="*/ 602169 h 6557032"/>
              <a:gd name="connsiteX34856" fmla="*/ 2915479 w 4610101"/>
              <a:gd name="connsiteY34856" fmla="*/ 594880 h 6557032"/>
              <a:gd name="connsiteX34857" fmla="*/ 2922767 w 4610101"/>
              <a:gd name="connsiteY34857" fmla="*/ 596702 h 6557032"/>
              <a:gd name="connsiteX34858" fmla="*/ 2915479 w 4610101"/>
              <a:gd name="connsiteY34858" fmla="*/ 591236 h 6557032"/>
              <a:gd name="connsiteX34859" fmla="*/ 1404896 w 4610101"/>
              <a:gd name="connsiteY34859" fmla="*/ 591236 h 6557032"/>
              <a:gd name="connsiteX34860" fmla="*/ 1406117 w 4610101"/>
              <a:gd name="connsiteY34860" fmla="*/ 594655 h 6557032"/>
              <a:gd name="connsiteX34861" fmla="*/ 1404896 w 4610101"/>
              <a:gd name="connsiteY34861" fmla="*/ 594197 h 6557032"/>
              <a:gd name="connsiteX34862" fmla="*/ 1111526 w 4610101"/>
              <a:gd name="connsiteY34862" fmla="*/ 591236 h 6557032"/>
              <a:gd name="connsiteX34863" fmla="*/ 1091484 w 4610101"/>
              <a:gd name="connsiteY34863" fmla="*/ 609459 h 6557032"/>
              <a:gd name="connsiteX34864" fmla="*/ 1100593 w 4610101"/>
              <a:gd name="connsiteY34864" fmla="*/ 611280 h 6557032"/>
              <a:gd name="connsiteX34865" fmla="*/ 1096949 w 4610101"/>
              <a:gd name="connsiteY34865" fmla="*/ 616746 h 6557032"/>
              <a:gd name="connsiteX34866" fmla="*/ 1107882 w 4610101"/>
              <a:gd name="connsiteY34866" fmla="*/ 624035 h 6557032"/>
              <a:gd name="connsiteX34867" fmla="*/ 1113349 w 4610101"/>
              <a:gd name="connsiteY34867" fmla="*/ 609459 h 6557032"/>
              <a:gd name="connsiteX34868" fmla="*/ 1106060 w 4610101"/>
              <a:gd name="connsiteY34868" fmla="*/ 609459 h 6557032"/>
              <a:gd name="connsiteX34869" fmla="*/ 1111526 w 4610101"/>
              <a:gd name="connsiteY34869" fmla="*/ 591236 h 6557032"/>
              <a:gd name="connsiteX34870" fmla="*/ 838200 w 4610101"/>
              <a:gd name="connsiteY34870" fmla="*/ 591236 h 6557032"/>
              <a:gd name="connsiteX34871" fmla="*/ 836378 w 4610101"/>
              <a:gd name="connsiteY34871" fmla="*/ 603991 h 6557032"/>
              <a:gd name="connsiteX34872" fmla="*/ 841845 w 4610101"/>
              <a:gd name="connsiteY34872" fmla="*/ 596702 h 6557032"/>
              <a:gd name="connsiteX34873" fmla="*/ 838200 w 4610101"/>
              <a:gd name="connsiteY34873" fmla="*/ 591236 h 6557032"/>
              <a:gd name="connsiteX34874" fmla="*/ 834556 w 4610101"/>
              <a:gd name="connsiteY34874" fmla="*/ 591236 h 6557032"/>
              <a:gd name="connsiteX34875" fmla="*/ 829089 w 4610101"/>
              <a:gd name="connsiteY34875" fmla="*/ 605813 h 6557032"/>
              <a:gd name="connsiteX34876" fmla="*/ 834556 w 4610101"/>
              <a:gd name="connsiteY34876" fmla="*/ 591236 h 6557032"/>
              <a:gd name="connsiteX34877" fmla="*/ 779892 w 4610101"/>
              <a:gd name="connsiteY34877" fmla="*/ 591236 h 6557032"/>
              <a:gd name="connsiteX34878" fmla="*/ 783535 w 4610101"/>
              <a:gd name="connsiteY34878" fmla="*/ 598524 h 6557032"/>
              <a:gd name="connsiteX34879" fmla="*/ 785357 w 4610101"/>
              <a:gd name="connsiteY34879" fmla="*/ 594880 h 6557032"/>
              <a:gd name="connsiteX34880" fmla="*/ 779892 w 4610101"/>
              <a:gd name="connsiteY34880" fmla="*/ 591236 h 6557032"/>
              <a:gd name="connsiteX34881" fmla="*/ 522964 w 4610101"/>
              <a:gd name="connsiteY34881" fmla="*/ 591236 h 6557032"/>
              <a:gd name="connsiteX34882" fmla="*/ 519320 w 4610101"/>
              <a:gd name="connsiteY34882" fmla="*/ 603991 h 6557032"/>
              <a:gd name="connsiteX34883" fmla="*/ 522964 w 4610101"/>
              <a:gd name="connsiteY34883" fmla="*/ 591236 h 6557032"/>
              <a:gd name="connsiteX34884" fmla="*/ 391768 w 4610101"/>
              <a:gd name="connsiteY34884" fmla="*/ 591236 h 6557032"/>
              <a:gd name="connsiteX34885" fmla="*/ 390629 w 4610101"/>
              <a:gd name="connsiteY34885" fmla="*/ 594653 h 6557032"/>
              <a:gd name="connsiteX34886" fmla="*/ 389670 w 4610101"/>
              <a:gd name="connsiteY34886" fmla="*/ 595437 h 6557032"/>
              <a:gd name="connsiteX34887" fmla="*/ 389300 w 4610101"/>
              <a:gd name="connsiteY34887" fmla="*/ 593929 h 6557032"/>
              <a:gd name="connsiteX34888" fmla="*/ 331636 w 4610101"/>
              <a:gd name="connsiteY34888" fmla="*/ 591236 h 6557032"/>
              <a:gd name="connsiteX34889" fmla="*/ 342569 w 4610101"/>
              <a:gd name="connsiteY34889" fmla="*/ 603991 h 6557032"/>
              <a:gd name="connsiteX34890" fmla="*/ 331636 w 4610101"/>
              <a:gd name="connsiteY34890" fmla="*/ 591236 h 6557032"/>
              <a:gd name="connsiteX34891" fmla="*/ 2161099 w 4610101"/>
              <a:gd name="connsiteY34891" fmla="*/ 589435 h 6557032"/>
              <a:gd name="connsiteX34892" fmla="*/ 2166565 w 4610101"/>
              <a:gd name="connsiteY34892" fmla="*/ 600368 h 6557032"/>
              <a:gd name="connsiteX34893" fmla="*/ 2161099 w 4610101"/>
              <a:gd name="connsiteY34893" fmla="*/ 589435 h 6557032"/>
              <a:gd name="connsiteX34894" fmla="*/ 3364645 w 4610101"/>
              <a:gd name="connsiteY34894" fmla="*/ 589414 h 6557032"/>
              <a:gd name="connsiteX34895" fmla="*/ 3360089 w 4610101"/>
              <a:gd name="connsiteY34895" fmla="*/ 593058 h 6557032"/>
              <a:gd name="connsiteX34896" fmla="*/ 3361911 w 4610101"/>
              <a:gd name="connsiteY34896" fmla="*/ 596702 h 6557032"/>
              <a:gd name="connsiteX34897" fmla="*/ 3369200 w 4610101"/>
              <a:gd name="connsiteY34897" fmla="*/ 591236 h 6557032"/>
              <a:gd name="connsiteX34898" fmla="*/ 3364645 w 4610101"/>
              <a:gd name="connsiteY34898" fmla="*/ 589414 h 6557032"/>
              <a:gd name="connsiteX34899" fmla="*/ 1113349 w 4610101"/>
              <a:gd name="connsiteY34899" fmla="*/ 589414 h 6557032"/>
              <a:gd name="connsiteX34900" fmla="*/ 1115171 w 4610101"/>
              <a:gd name="connsiteY34900" fmla="*/ 600347 h 6557032"/>
              <a:gd name="connsiteX34901" fmla="*/ 1113349 w 4610101"/>
              <a:gd name="connsiteY34901" fmla="*/ 589414 h 6557032"/>
              <a:gd name="connsiteX34902" fmla="*/ 1096949 w 4610101"/>
              <a:gd name="connsiteY34902" fmla="*/ 589414 h 6557032"/>
              <a:gd name="connsiteX34903" fmla="*/ 1089660 w 4610101"/>
              <a:gd name="connsiteY34903" fmla="*/ 602169 h 6557032"/>
              <a:gd name="connsiteX34904" fmla="*/ 1102416 w 4610101"/>
              <a:gd name="connsiteY34904" fmla="*/ 591236 h 6557032"/>
              <a:gd name="connsiteX34905" fmla="*/ 1096949 w 4610101"/>
              <a:gd name="connsiteY34905" fmla="*/ 589414 h 6557032"/>
              <a:gd name="connsiteX34906" fmla="*/ 943886 w 4610101"/>
              <a:gd name="connsiteY34906" fmla="*/ 589414 h 6557032"/>
              <a:gd name="connsiteX34907" fmla="*/ 927487 w 4610101"/>
              <a:gd name="connsiteY34907" fmla="*/ 618568 h 6557032"/>
              <a:gd name="connsiteX34908" fmla="*/ 934777 w 4610101"/>
              <a:gd name="connsiteY34908" fmla="*/ 605813 h 6557032"/>
              <a:gd name="connsiteX34909" fmla="*/ 934777 w 4610101"/>
              <a:gd name="connsiteY34909" fmla="*/ 611280 h 6557032"/>
              <a:gd name="connsiteX34910" fmla="*/ 943886 w 4610101"/>
              <a:gd name="connsiteY34910" fmla="*/ 589414 h 6557032"/>
              <a:gd name="connsiteX34911" fmla="*/ 927487 w 4610101"/>
              <a:gd name="connsiteY34911" fmla="*/ 589414 h 6557032"/>
              <a:gd name="connsiteX34912" fmla="*/ 923843 w 4610101"/>
              <a:gd name="connsiteY34912" fmla="*/ 593058 h 6557032"/>
              <a:gd name="connsiteX34913" fmla="*/ 927487 w 4610101"/>
              <a:gd name="connsiteY34913" fmla="*/ 589414 h 6557032"/>
              <a:gd name="connsiteX34914" fmla="*/ 911087 w 4610101"/>
              <a:gd name="connsiteY34914" fmla="*/ 589414 h 6557032"/>
              <a:gd name="connsiteX34915" fmla="*/ 903799 w 4610101"/>
              <a:gd name="connsiteY34915" fmla="*/ 594880 h 6557032"/>
              <a:gd name="connsiteX34916" fmla="*/ 905818 w 4610101"/>
              <a:gd name="connsiteY34916" fmla="*/ 596002 h 6557032"/>
              <a:gd name="connsiteX34917" fmla="*/ 903799 w 4610101"/>
              <a:gd name="connsiteY34917" fmla="*/ 598524 h 6557032"/>
              <a:gd name="connsiteX34918" fmla="*/ 905849 w 4610101"/>
              <a:gd name="connsiteY34918" fmla="*/ 596019 h 6557032"/>
              <a:gd name="connsiteX34919" fmla="*/ 905818 w 4610101"/>
              <a:gd name="connsiteY34919" fmla="*/ 596002 h 6557032"/>
              <a:gd name="connsiteX34920" fmla="*/ 905621 w 4610101"/>
              <a:gd name="connsiteY34920" fmla="*/ 589414 h 6557032"/>
              <a:gd name="connsiteX34921" fmla="*/ 901976 w 4610101"/>
              <a:gd name="connsiteY34921" fmla="*/ 593058 h 6557032"/>
              <a:gd name="connsiteX34922" fmla="*/ 905621 w 4610101"/>
              <a:gd name="connsiteY34922" fmla="*/ 589414 h 6557032"/>
              <a:gd name="connsiteX34923" fmla="*/ 348037 w 4610101"/>
              <a:gd name="connsiteY34923" fmla="*/ 589414 h 6557032"/>
              <a:gd name="connsiteX34924" fmla="*/ 353502 w 4610101"/>
              <a:gd name="connsiteY34924" fmla="*/ 600347 h 6557032"/>
              <a:gd name="connsiteX34925" fmla="*/ 349858 w 4610101"/>
              <a:gd name="connsiteY34925" fmla="*/ 593058 h 6557032"/>
              <a:gd name="connsiteX34926" fmla="*/ 348037 w 4610101"/>
              <a:gd name="connsiteY34926" fmla="*/ 589414 h 6557032"/>
              <a:gd name="connsiteX34927" fmla="*/ 317059 w 4610101"/>
              <a:gd name="connsiteY34927" fmla="*/ 589414 h 6557032"/>
              <a:gd name="connsiteX34928" fmla="*/ 326169 w 4610101"/>
              <a:gd name="connsiteY34928" fmla="*/ 605813 h 6557032"/>
              <a:gd name="connsiteX34929" fmla="*/ 317059 w 4610101"/>
              <a:gd name="connsiteY34929" fmla="*/ 589414 h 6557032"/>
              <a:gd name="connsiteX34930" fmla="*/ 1090086 w 4610101"/>
              <a:gd name="connsiteY34930" fmla="*/ 589206 h 6557032"/>
              <a:gd name="connsiteX34931" fmla="*/ 1090397 w 4610101"/>
              <a:gd name="connsiteY34931" fmla="*/ 590991 h 6557032"/>
              <a:gd name="connsiteX34932" fmla="*/ 1087838 w 4610101"/>
              <a:gd name="connsiteY34932" fmla="*/ 593058 h 6557032"/>
              <a:gd name="connsiteX34933" fmla="*/ 664951 w 4610101"/>
              <a:gd name="connsiteY34933" fmla="*/ 588521 h 6557032"/>
              <a:gd name="connsiteX34934" fmla="*/ 665094 w 4610101"/>
              <a:gd name="connsiteY34934" fmla="*/ 589414 h 6557032"/>
              <a:gd name="connsiteX34935" fmla="*/ 664998 w 4610101"/>
              <a:gd name="connsiteY34935" fmla="*/ 589414 h 6557032"/>
              <a:gd name="connsiteX34936" fmla="*/ 2491595 w 4610101"/>
              <a:gd name="connsiteY34936" fmla="*/ 588048 h 6557032"/>
              <a:gd name="connsiteX34937" fmla="*/ 2487268 w 4610101"/>
              <a:gd name="connsiteY34937" fmla="*/ 589414 h 6557032"/>
              <a:gd name="connsiteX34938" fmla="*/ 2489090 w 4610101"/>
              <a:gd name="connsiteY34938" fmla="*/ 600347 h 6557032"/>
              <a:gd name="connsiteX34939" fmla="*/ 2494556 w 4610101"/>
              <a:gd name="connsiteY34939" fmla="*/ 589414 h 6557032"/>
              <a:gd name="connsiteX34940" fmla="*/ 2491595 w 4610101"/>
              <a:gd name="connsiteY34940" fmla="*/ 588048 h 6557032"/>
              <a:gd name="connsiteX34941" fmla="*/ 3493108 w 4610101"/>
              <a:gd name="connsiteY34941" fmla="*/ 587591 h 6557032"/>
              <a:gd name="connsiteX34942" fmla="*/ 3485819 w 4610101"/>
              <a:gd name="connsiteY34942" fmla="*/ 594880 h 6557032"/>
              <a:gd name="connsiteX34943" fmla="*/ 3491286 w 4610101"/>
              <a:gd name="connsiteY34943" fmla="*/ 596702 h 6557032"/>
              <a:gd name="connsiteX34944" fmla="*/ 3485819 w 4610101"/>
              <a:gd name="connsiteY34944" fmla="*/ 600347 h 6557032"/>
              <a:gd name="connsiteX34945" fmla="*/ 3493108 w 4610101"/>
              <a:gd name="connsiteY34945" fmla="*/ 602169 h 6557032"/>
              <a:gd name="connsiteX34946" fmla="*/ 3493108 w 4610101"/>
              <a:gd name="connsiteY34946" fmla="*/ 587591 h 6557032"/>
              <a:gd name="connsiteX34947" fmla="*/ 2585665 w 4610101"/>
              <a:gd name="connsiteY34947" fmla="*/ 587591 h 6557032"/>
              <a:gd name="connsiteX34948" fmla="*/ 2585665 w 4610101"/>
              <a:gd name="connsiteY34948" fmla="*/ 613103 h 6557032"/>
              <a:gd name="connsiteX34949" fmla="*/ 2583843 w 4610101"/>
              <a:gd name="connsiteY34949" fmla="*/ 602169 h 6557032"/>
              <a:gd name="connsiteX34950" fmla="*/ 2587487 w 4610101"/>
              <a:gd name="connsiteY34950" fmla="*/ 605813 h 6557032"/>
              <a:gd name="connsiteX34951" fmla="*/ 2589310 w 4610101"/>
              <a:gd name="connsiteY34951" fmla="*/ 598524 h 6557032"/>
              <a:gd name="connsiteX34952" fmla="*/ 2585665 w 4610101"/>
              <a:gd name="connsiteY34952" fmla="*/ 602169 h 6557032"/>
              <a:gd name="connsiteX34953" fmla="*/ 2585665 w 4610101"/>
              <a:gd name="connsiteY34953" fmla="*/ 587591 h 6557032"/>
              <a:gd name="connsiteX34954" fmla="*/ 1253656 w 4610101"/>
              <a:gd name="connsiteY34954" fmla="*/ 587591 h 6557032"/>
              <a:gd name="connsiteX34955" fmla="*/ 1255478 w 4610101"/>
              <a:gd name="connsiteY34955" fmla="*/ 594880 h 6557032"/>
              <a:gd name="connsiteX34956" fmla="*/ 1253890 w 4610101"/>
              <a:gd name="connsiteY34956" fmla="*/ 593659 h 6557032"/>
              <a:gd name="connsiteX34957" fmla="*/ 1252766 w 4610101"/>
              <a:gd name="connsiteY34957" fmla="*/ 591505 h 6557032"/>
              <a:gd name="connsiteX34958" fmla="*/ 1250012 w 4610101"/>
              <a:gd name="connsiteY34958" fmla="*/ 587591 h 6557032"/>
              <a:gd name="connsiteX34959" fmla="*/ 1252745 w 4610101"/>
              <a:gd name="connsiteY34959" fmla="*/ 591464 h 6557032"/>
              <a:gd name="connsiteX34960" fmla="*/ 1252766 w 4610101"/>
              <a:gd name="connsiteY34960" fmla="*/ 591505 h 6557032"/>
              <a:gd name="connsiteX34961" fmla="*/ 1252517 w 4610101"/>
              <a:gd name="connsiteY34961" fmla="*/ 592603 h 6557032"/>
              <a:gd name="connsiteX34962" fmla="*/ 1253890 w 4610101"/>
              <a:gd name="connsiteY34962" fmla="*/ 593659 h 6557032"/>
              <a:gd name="connsiteX34963" fmla="*/ 1255170 w 4610101"/>
              <a:gd name="connsiteY34963" fmla="*/ 596112 h 6557032"/>
              <a:gd name="connsiteX34964" fmla="*/ 1255022 w 4610101"/>
              <a:gd name="connsiteY34964" fmla="*/ 596702 h 6557032"/>
              <a:gd name="connsiteX34965" fmla="*/ 1251834 w 4610101"/>
              <a:gd name="connsiteY34965" fmla="*/ 598524 h 6557032"/>
              <a:gd name="connsiteX34966" fmla="*/ 1253656 w 4610101"/>
              <a:gd name="connsiteY34966" fmla="*/ 596702 h 6557032"/>
              <a:gd name="connsiteX34967" fmla="*/ 1249631 w 4610101"/>
              <a:gd name="connsiteY34967" fmla="*/ 598044 h 6557032"/>
              <a:gd name="connsiteX34968" fmla="*/ 878288 w 4610101"/>
              <a:gd name="connsiteY34968" fmla="*/ 587591 h 6557032"/>
              <a:gd name="connsiteX34969" fmla="*/ 871000 w 4610101"/>
              <a:gd name="connsiteY34969" fmla="*/ 600347 h 6557032"/>
              <a:gd name="connsiteX34970" fmla="*/ 880111 w 4610101"/>
              <a:gd name="connsiteY34970" fmla="*/ 591236 h 6557032"/>
              <a:gd name="connsiteX34971" fmla="*/ 878288 w 4610101"/>
              <a:gd name="connsiteY34971" fmla="*/ 587591 h 6557032"/>
              <a:gd name="connsiteX34972" fmla="*/ 860066 w 4610101"/>
              <a:gd name="connsiteY34972" fmla="*/ 587591 h 6557032"/>
              <a:gd name="connsiteX34973" fmla="*/ 845489 w 4610101"/>
              <a:gd name="connsiteY34973" fmla="*/ 602169 h 6557032"/>
              <a:gd name="connsiteX34974" fmla="*/ 849133 w 4610101"/>
              <a:gd name="connsiteY34974" fmla="*/ 596702 h 6557032"/>
              <a:gd name="connsiteX34975" fmla="*/ 849133 w 4610101"/>
              <a:gd name="connsiteY34975" fmla="*/ 614924 h 6557032"/>
              <a:gd name="connsiteX34976" fmla="*/ 856422 w 4610101"/>
              <a:gd name="connsiteY34976" fmla="*/ 605813 h 6557032"/>
              <a:gd name="connsiteX34977" fmla="*/ 852778 w 4610101"/>
              <a:gd name="connsiteY34977" fmla="*/ 622213 h 6557032"/>
              <a:gd name="connsiteX34978" fmla="*/ 860066 w 4610101"/>
              <a:gd name="connsiteY34978" fmla="*/ 587591 h 6557032"/>
              <a:gd name="connsiteX34979" fmla="*/ 548475 w 4610101"/>
              <a:gd name="connsiteY34979" fmla="*/ 587591 h 6557032"/>
              <a:gd name="connsiteX34980" fmla="*/ 550297 w 4610101"/>
              <a:gd name="connsiteY34980" fmla="*/ 602169 h 6557032"/>
              <a:gd name="connsiteX34981" fmla="*/ 555763 w 4610101"/>
              <a:gd name="connsiteY34981" fmla="*/ 600347 h 6557032"/>
              <a:gd name="connsiteX34982" fmla="*/ 548475 w 4610101"/>
              <a:gd name="connsiteY34982" fmla="*/ 587591 h 6557032"/>
              <a:gd name="connsiteX34983" fmla="*/ 3292669 w 4610101"/>
              <a:gd name="connsiteY34983" fmla="*/ 585769 h 6557032"/>
              <a:gd name="connsiteX34984" fmla="*/ 3287202 w 4610101"/>
              <a:gd name="connsiteY34984" fmla="*/ 591236 h 6557032"/>
              <a:gd name="connsiteX34985" fmla="*/ 3283558 w 4610101"/>
              <a:gd name="connsiteY34985" fmla="*/ 587591 h 6557032"/>
              <a:gd name="connsiteX34986" fmla="*/ 3276269 w 4610101"/>
              <a:gd name="connsiteY34986" fmla="*/ 594880 h 6557032"/>
              <a:gd name="connsiteX34987" fmla="*/ 3299957 w 4610101"/>
              <a:gd name="connsiteY34987" fmla="*/ 591236 h 6557032"/>
              <a:gd name="connsiteX34988" fmla="*/ 3292669 w 4610101"/>
              <a:gd name="connsiteY34988" fmla="*/ 585769 h 6557032"/>
              <a:gd name="connsiteX34989" fmla="*/ 3064897 w 4610101"/>
              <a:gd name="connsiteY34989" fmla="*/ 585769 h 6557032"/>
              <a:gd name="connsiteX34990" fmla="*/ 3059430 w 4610101"/>
              <a:gd name="connsiteY34990" fmla="*/ 589414 h 6557032"/>
              <a:gd name="connsiteX34991" fmla="*/ 3053964 w 4610101"/>
              <a:gd name="connsiteY34991" fmla="*/ 598524 h 6557032"/>
              <a:gd name="connsiteX34992" fmla="*/ 3053964 w 4610101"/>
              <a:gd name="connsiteY34992" fmla="*/ 611280 h 6557032"/>
              <a:gd name="connsiteX34993" fmla="*/ 3066719 w 4610101"/>
              <a:gd name="connsiteY34993" fmla="*/ 611280 h 6557032"/>
              <a:gd name="connsiteX34994" fmla="*/ 3066719 w 4610101"/>
              <a:gd name="connsiteY34994" fmla="*/ 605813 h 6557032"/>
              <a:gd name="connsiteX34995" fmla="*/ 3070363 w 4610101"/>
              <a:gd name="connsiteY34995" fmla="*/ 589414 h 6557032"/>
              <a:gd name="connsiteX34996" fmla="*/ 3064897 w 4610101"/>
              <a:gd name="connsiteY34996" fmla="*/ 585769 h 6557032"/>
              <a:gd name="connsiteX34997" fmla="*/ 2875391 w 4610101"/>
              <a:gd name="connsiteY34997" fmla="*/ 585769 h 6557032"/>
              <a:gd name="connsiteX34998" fmla="*/ 2869924 w 4610101"/>
              <a:gd name="connsiteY34998" fmla="*/ 600347 h 6557032"/>
              <a:gd name="connsiteX34999" fmla="*/ 2884502 w 4610101"/>
              <a:gd name="connsiteY34999" fmla="*/ 596702 h 6557032"/>
              <a:gd name="connsiteX35000" fmla="*/ 2886324 w 4610101"/>
              <a:gd name="connsiteY35000" fmla="*/ 600347 h 6557032"/>
              <a:gd name="connsiteX35001" fmla="*/ 2891790 w 4610101"/>
              <a:gd name="connsiteY35001" fmla="*/ 594880 h 6557032"/>
              <a:gd name="connsiteX35002" fmla="*/ 2875391 w 4610101"/>
              <a:gd name="connsiteY35002" fmla="*/ 585769 h 6557032"/>
              <a:gd name="connsiteX35003" fmla="*/ 2121011 w 4610101"/>
              <a:gd name="connsiteY35003" fmla="*/ 585769 h 6557032"/>
              <a:gd name="connsiteX35004" fmla="*/ 2115544 w 4610101"/>
              <a:gd name="connsiteY35004" fmla="*/ 596702 h 6557032"/>
              <a:gd name="connsiteX35005" fmla="*/ 2111900 w 4610101"/>
              <a:gd name="connsiteY35005" fmla="*/ 594880 h 6557032"/>
              <a:gd name="connsiteX35006" fmla="*/ 2115544 w 4610101"/>
              <a:gd name="connsiteY35006" fmla="*/ 607635 h 6557032"/>
              <a:gd name="connsiteX35007" fmla="*/ 2121011 w 4610101"/>
              <a:gd name="connsiteY35007" fmla="*/ 596702 h 6557032"/>
              <a:gd name="connsiteX35008" fmla="*/ 2128300 w 4610101"/>
              <a:gd name="connsiteY35008" fmla="*/ 602169 h 6557032"/>
              <a:gd name="connsiteX35009" fmla="*/ 2121011 w 4610101"/>
              <a:gd name="connsiteY35009" fmla="*/ 585769 h 6557032"/>
              <a:gd name="connsiteX35010" fmla="*/ 909265 w 4610101"/>
              <a:gd name="connsiteY35010" fmla="*/ 585769 h 6557032"/>
              <a:gd name="connsiteX35011" fmla="*/ 905621 w 4610101"/>
              <a:gd name="connsiteY35011" fmla="*/ 591236 h 6557032"/>
              <a:gd name="connsiteX35012" fmla="*/ 911087 w 4610101"/>
              <a:gd name="connsiteY35012" fmla="*/ 587591 h 6557032"/>
              <a:gd name="connsiteX35013" fmla="*/ 909265 w 4610101"/>
              <a:gd name="connsiteY35013" fmla="*/ 585769 h 6557032"/>
              <a:gd name="connsiteX35014" fmla="*/ 696071 w 4610101"/>
              <a:gd name="connsiteY35014" fmla="*/ 585769 h 6557032"/>
              <a:gd name="connsiteX35015" fmla="*/ 690604 w 4610101"/>
              <a:gd name="connsiteY35015" fmla="*/ 593058 h 6557032"/>
              <a:gd name="connsiteX35016" fmla="*/ 716115 w 4610101"/>
              <a:gd name="connsiteY35016" fmla="*/ 605813 h 6557032"/>
              <a:gd name="connsiteX35017" fmla="*/ 697893 w 4610101"/>
              <a:gd name="connsiteY35017" fmla="*/ 598524 h 6557032"/>
              <a:gd name="connsiteX35018" fmla="*/ 708826 w 4610101"/>
              <a:gd name="connsiteY35018" fmla="*/ 600347 h 6557032"/>
              <a:gd name="connsiteX35019" fmla="*/ 696071 w 4610101"/>
              <a:gd name="connsiteY35019" fmla="*/ 585769 h 6557032"/>
              <a:gd name="connsiteX35020" fmla="*/ 654161 w 4610101"/>
              <a:gd name="connsiteY35020" fmla="*/ 585769 h 6557032"/>
              <a:gd name="connsiteX35021" fmla="*/ 650516 w 4610101"/>
              <a:gd name="connsiteY35021" fmla="*/ 593058 h 6557032"/>
              <a:gd name="connsiteX35022" fmla="*/ 657805 w 4610101"/>
              <a:gd name="connsiteY35022" fmla="*/ 593058 h 6557032"/>
              <a:gd name="connsiteX35023" fmla="*/ 654161 w 4610101"/>
              <a:gd name="connsiteY35023" fmla="*/ 585769 h 6557032"/>
              <a:gd name="connsiteX35024" fmla="*/ 588562 w 4610101"/>
              <a:gd name="connsiteY35024" fmla="*/ 585769 h 6557032"/>
              <a:gd name="connsiteX35025" fmla="*/ 584919 w 4610101"/>
              <a:gd name="connsiteY35025" fmla="*/ 589414 h 6557032"/>
              <a:gd name="connsiteX35026" fmla="*/ 588562 w 4610101"/>
              <a:gd name="connsiteY35026" fmla="*/ 585769 h 6557032"/>
              <a:gd name="connsiteX35027" fmla="*/ 255105 w 4610101"/>
              <a:gd name="connsiteY35027" fmla="*/ 585769 h 6557032"/>
              <a:gd name="connsiteX35028" fmla="*/ 270442 w 4610101"/>
              <a:gd name="connsiteY35028" fmla="*/ 598746 h 6557032"/>
              <a:gd name="connsiteX35029" fmla="*/ 272054 w 4610101"/>
              <a:gd name="connsiteY35029" fmla="*/ 601598 h 6557032"/>
              <a:gd name="connsiteX35030" fmla="*/ 271960 w 4610101"/>
              <a:gd name="connsiteY35030" fmla="*/ 601486 h 6557032"/>
              <a:gd name="connsiteX35031" fmla="*/ 255105 w 4610101"/>
              <a:gd name="connsiteY35031" fmla="*/ 585769 h 6557032"/>
              <a:gd name="connsiteX35032" fmla="*/ 3529551 w 4610101"/>
              <a:gd name="connsiteY35032" fmla="*/ 583947 h 6557032"/>
              <a:gd name="connsiteX35033" fmla="*/ 3529551 w 4610101"/>
              <a:gd name="connsiteY35033" fmla="*/ 594880 h 6557032"/>
              <a:gd name="connsiteX35034" fmla="*/ 3529551 w 4610101"/>
              <a:gd name="connsiteY35034" fmla="*/ 583947 h 6557032"/>
              <a:gd name="connsiteX35035" fmla="*/ 2866280 w 4610101"/>
              <a:gd name="connsiteY35035" fmla="*/ 583947 h 6557032"/>
              <a:gd name="connsiteX35036" fmla="*/ 2857169 w 4610101"/>
              <a:gd name="connsiteY35036" fmla="*/ 591236 h 6557032"/>
              <a:gd name="connsiteX35037" fmla="*/ 2862636 w 4610101"/>
              <a:gd name="connsiteY35037" fmla="*/ 594880 h 6557032"/>
              <a:gd name="connsiteX35038" fmla="*/ 2866280 w 4610101"/>
              <a:gd name="connsiteY35038" fmla="*/ 589414 h 6557032"/>
              <a:gd name="connsiteX35039" fmla="*/ 2866280 w 4610101"/>
              <a:gd name="connsiteY35039" fmla="*/ 583947 h 6557032"/>
              <a:gd name="connsiteX35040" fmla="*/ 1109704 w 4610101"/>
              <a:gd name="connsiteY35040" fmla="*/ 583947 h 6557032"/>
              <a:gd name="connsiteX35041" fmla="*/ 1102416 w 4610101"/>
              <a:gd name="connsiteY35041" fmla="*/ 587591 h 6557032"/>
              <a:gd name="connsiteX35042" fmla="*/ 1102416 w 4610101"/>
              <a:gd name="connsiteY35042" fmla="*/ 589414 h 6557032"/>
              <a:gd name="connsiteX35043" fmla="*/ 1109704 w 4610101"/>
              <a:gd name="connsiteY35043" fmla="*/ 583947 h 6557032"/>
              <a:gd name="connsiteX35044" fmla="*/ 798112 w 4610101"/>
              <a:gd name="connsiteY35044" fmla="*/ 583947 h 6557032"/>
              <a:gd name="connsiteX35045" fmla="*/ 799935 w 4610101"/>
              <a:gd name="connsiteY35045" fmla="*/ 593058 h 6557032"/>
              <a:gd name="connsiteX35046" fmla="*/ 798112 w 4610101"/>
              <a:gd name="connsiteY35046" fmla="*/ 583947 h 6557032"/>
              <a:gd name="connsiteX35047" fmla="*/ 770781 w 4610101"/>
              <a:gd name="connsiteY35047" fmla="*/ 583947 h 6557032"/>
              <a:gd name="connsiteX35048" fmla="*/ 770781 w 4610101"/>
              <a:gd name="connsiteY35048" fmla="*/ 591236 h 6557032"/>
              <a:gd name="connsiteX35049" fmla="*/ 770781 w 4610101"/>
              <a:gd name="connsiteY35049" fmla="*/ 583947 h 6557032"/>
              <a:gd name="connsiteX35050" fmla="*/ 776246 w 4610101"/>
              <a:gd name="connsiteY35050" fmla="*/ 594880 h 6557032"/>
              <a:gd name="connsiteX35051" fmla="*/ 770781 w 4610101"/>
              <a:gd name="connsiteY35051" fmla="*/ 583947 h 6557032"/>
              <a:gd name="connsiteX35052" fmla="*/ 701537 w 4610101"/>
              <a:gd name="connsiteY35052" fmla="*/ 583947 h 6557032"/>
              <a:gd name="connsiteX35053" fmla="*/ 725226 w 4610101"/>
              <a:gd name="connsiteY35053" fmla="*/ 600347 h 6557032"/>
              <a:gd name="connsiteX35054" fmla="*/ 701537 w 4610101"/>
              <a:gd name="connsiteY35054" fmla="*/ 583947 h 6557032"/>
              <a:gd name="connsiteX35055" fmla="*/ 546653 w 4610101"/>
              <a:gd name="connsiteY35055" fmla="*/ 583947 h 6557032"/>
              <a:gd name="connsiteX35056" fmla="*/ 544830 w 4610101"/>
              <a:gd name="connsiteY35056" fmla="*/ 589414 h 6557032"/>
              <a:gd name="connsiteX35057" fmla="*/ 548475 w 4610101"/>
              <a:gd name="connsiteY35057" fmla="*/ 585769 h 6557032"/>
              <a:gd name="connsiteX35058" fmla="*/ 546653 w 4610101"/>
              <a:gd name="connsiteY35058" fmla="*/ 583947 h 6557032"/>
              <a:gd name="connsiteX35059" fmla="*/ 501098 w 4610101"/>
              <a:gd name="connsiteY35059" fmla="*/ 583947 h 6557032"/>
              <a:gd name="connsiteX35060" fmla="*/ 504743 w 4610101"/>
              <a:gd name="connsiteY35060" fmla="*/ 593058 h 6557032"/>
              <a:gd name="connsiteX35061" fmla="*/ 502920 w 4610101"/>
              <a:gd name="connsiteY35061" fmla="*/ 583947 h 6557032"/>
              <a:gd name="connsiteX35062" fmla="*/ 501098 w 4610101"/>
              <a:gd name="connsiteY35062" fmla="*/ 583947 h 6557032"/>
              <a:gd name="connsiteX35063" fmla="*/ 439145 w 4610101"/>
              <a:gd name="connsiteY35063" fmla="*/ 583947 h 6557032"/>
              <a:gd name="connsiteX35064" fmla="*/ 446433 w 4610101"/>
              <a:gd name="connsiteY35064" fmla="*/ 589414 h 6557032"/>
              <a:gd name="connsiteX35065" fmla="*/ 439145 w 4610101"/>
              <a:gd name="connsiteY35065" fmla="*/ 583947 h 6557032"/>
              <a:gd name="connsiteX35066" fmla="*/ 153063 w 4610101"/>
              <a:gd name="connsiteY35066" fmla="*/ 583947 h 6557032"/>
              <a:gd name="connsiteX35067" fmla="*/ 160303 w 4610101"/>
              <a:gd name="connsiteY35067" fmla="*/ 592911 h 6557032"/>
              <a:gd name="connsiteX35068" fmla="*/ 160352 w 4610101"/>
              <a:gd name="connsiteY35068" fmla="*/ 593058 h 6557032"/>
              <a:gd name="connsiteX35069" fmla="*/ 153063 w 4610101"/>
              <a:gd name="connsiteY35069" fmla="*/ 583947 h 6557032"/>
              <a:gd name="connsiteX35070" fmla="*/ 664110 w 4610101"/>
              <a:gd name="connsiteY35070" fmla="*/ 583266 h 6557032"/>
              <a:gd name="connsiteX35071" fmla="*/ 664687 w 4610101"/>
              <a:gd name="connsiteY35071" fmla="*/ 583513 h 6557032"/>
              <a:gd name="connsiteX35072" fmla="*/ 664951 w 4610101"/>
              <a:gd name="connsiteY35072" fmla="*/ 588521 h 6557032"/>
              <a:gd name="connsiteX35073" fmla="*/ 3044853 w 4610101"/>
              <a:gd name="connsiteY35073" fmla="*/ 582125 h 6557032"/>
              <a:gd name="connsiteX35074" fmla="*/ 3039387 w 4610101"/>
              <a:gd name="connsiteY35074" fmla="*/ 591236 h 6557032"/>
              <a:gd name="connsiteX35075" fmla="*/ 3052142 w 4610101"/>
              <a:gd name="connsiteY35075" fmla="*/ 585769 h 6557032"/>
              <a:gd name="connsiteX35076" fmla="*/ 3044853 w 4610101"/>
              <a:gd name="connsiteY35076" fmla="*/ 582125 h 6557032"/>
              <a:gd name="connsiteX35077" fmla="*/ 2414381 w 4610101"/>
              <a:gd name="connsiteY35077" fmla="*/ 582125 h 6557032"/>
              <a:gd name="connsiteX35078" fmla="*/ 2412559 w 4610101"/>
              <a:gd name="connsiteY35078" fmla="*/ 593058 h 6557032"/>
              <a:gd name="connsiteX35079" fmla="*/ 2414381 w 4610101"/>
              <a:gd name="connsiteY35079" fmla="*/ 582125 h 6557032"/>
              <a:gd name="connsiteX35080" fmla="*/ 1118815 w 4610101"/>
              <a:gd name="connsiteY35080" fmla="*/ 582125 h 6557032"/>
              <a:gd name="connsiteX35081" fmla="*/ 1113349 w 4610101"/>
              <a:gd name="connsiteY35081" fmla="*/ 587591 h 6557032"/>
              <a:gd name="connsiteX35082" fmla="*/ 1118815 w 4610101"/>
              <a:gd name="connsiteY35082" fmla="*/ 594880 h 6557032"/>
              <a:gd name="connsiteX35083" fmla="*/ 1120637 w 4610101"/>
              <a:gd name="connsiteY35083" fmla="*/ 591236 h 6557032"/>
              <a:gd name="connsiteX35084" fmla="*/ 1118815 w 4610101"/>
              <a:gd name="connsiteY35084" fmla="*/ 582125 h 6557032"/>
              <a:gd name="connsiteX35085" fmla="*/ 1096949 w 4610101"/>
              <a:gd name="connsiteY35085" fmla="*/ 582125 h 6557032"/>
              <a:gd name="connsiteX35086" fmla="*/ 1095935 w 4610101"/>
              <a:gd name="connsiteY35086" fmla="*/ 584080 h 6557032"/>
              <a:gd name="connsiteX35087" fmla="*/ 1095542 w 4610101"/>
              <a:gd name="connsiteY35087" fmla="*/ 583424 h 6557032"/>
              <a:gd name="connsiteX35088" fmla="*/ 942064 w 4610101"/>
              <a:gd name="connsiteY35088" fmla="*/ 582125 h 6557032"/>
              <a:gd name="connsiteX35089" fmla="*/ 920198 w 4610101"/>
              <a:gd name="connsiteY35089" fmla="*/ 607635 h 6557032"/>
              <a:gd name="connsiteX35090" fmla="*/ 942064 w 4610101"/>
              <a:gd name="connsiteY35090" fmla="*/ 582125 h 6557032"/>
              <a:gd name="connsiteX35091" fmla="*/ 920198 w 4610101"/>
              <a:gd name="connsiteY35091" fmla="*/ 582125 h 6557032"/>
              <a:gd name="connsiteX35092" fmla="*/ 911087 w 4610101"/>
              <a:gd name="connsiteY35092" fmla="*/ 596702 h 6557032"/>
              <a:gd name="connsiteX35093" fmla="*/ 920198 w 4610101"/>
              <a:gd name="connsiteY35093" fmla="*/ 591236 h 6557032"/>
              <a:gd name="connsiteX35094" fmla="*/ 920198 w 4610101"/>
              <a:gd name="connsiteY35094" fmla="*/ 582125 h 6557032"/>
              <a:gd name="connsiteX35095" fmla="*/ 710648 w 4610101"/>
              <a:gd name="connsiteY35095" fmla="*/ 582125 h 6557032"/>
              <a:gd name="connsiteX35096" fmla="*/ 723404 w 4610101"/>
              <a:gd name="connsiteY35096" fmla="*/ 596702 h 6557032"/>
              <a:gd name="connsiteX35097" fmla="*/ 710648 w 4610101"/>
              <a:gd name="connsiteY35097" fmla="*/ 582125 h 6557032"/>
              <a:gd name="connsiteX35098" fmla="*/ 690604 w 4610101"/>
              <a:gd name="connsiteY35098" fmla="*/ 582125 h 6557032"/>
              <a:gd name="connsiteX35099" fmla="*/ 688782 w 4610101"/>
              <a:gd name="connsiteY35099" fmla="*/ 591236 h 6557032"/>
              <a:gd name="connsiteX35100" fmla="*/ 694249 w 4610101"/>
              <a:gd name="connsiteY35100" fmla="*/ 583947 h 6557032"/>
              <a:gd name="connsiteX35101" fmla="*/ 690604 w 4610101"/>
              <a:gd name="connsiteY35101" fmla="*/ 582125 h 6557032"/>
              <a:gd name="connsiteX35102" fmla="*/ 599496 w 4610101"/>
              <a:gd name="connsiteY35102" fmla="*/ 582125 h 6557032"/>
              <a:gd name="connsiteX35103" fmla="*/ 597673 w 4610101"/>
              <a:gd name="connsiteY35103" fmla="*/ 600347 h 6557032"/>
              <a:gd name="connsiteX35104" fmla="*/ 599496 w 4610101"/>
              <a:gd name="connsiteY35104" fmla="*/ 589414 h 6557032"/>
              <a:gd name="connsiteX35105" fmla="*/ 601318 w 4610101"/>
              <a:gd name="connsiteY35105" fmla="*/ 594880 h 6557032"/>
              <a:gd name="connsiteX35106" fmla="*/ 599496 w 4610101"/>
              <a:gd name="connsiteY35106" fmla="*/ 582125 h 6557032"/>
              <a:gd name="connsiteX35107" fmla="*/ 320703 w 4610101"/>
              <a:gd name="connsiteY35107" fmla="*/ 582125 h 6557032"/>
              <a:gd name="connsiteX35108" fmla="*/ 329814 w 4610101"/>
              <a:gd name="connsiteY35108" fmla="*/ 598524 h 6557032"/>
              <a:gd name="connsiteX35109" fmla="*/ 320703 w 4610101"/>
              <a:gd name="connsiteY35109" fmla="*/ 582125 h 6557032"/>
              <a:gd name="connsiteX35110" fmla="*/ 156707 w 4610101"/>
              <a:gd name="connsiteY35110" fmla="*/ 582125 h 6557032"/>
              <a:gd name="connsiteX35111" fmla="*/ 165590 w 4610101"/>
              <a:gd name="connsiteY35111" fmla="*/ 597386 h 6557032"/>
              <a:gd name="connsiteX35112" fmla="*/ 174254 w 4610101"/>
              <a:gd name="connsiteY35112" fmla="*/ 606659 h 6557032"/>
              <a:gd name="connsiteX35113" fmla="*/ 174473 w 4610101"/>
              <a:gd name="connsiteY35113" fmla="*/ 607864 h 6557032"/>
              <a:gd name="connsiteX35114" fmla="*/ 177264 w 4610101"/>
              <a:gd name="connsiteY35114" fmla="*/ 613911 h 6557032"/>
              <a:gd name="connsiteX35115" fmla="*/ 160303 w 4610101"/>
              <a:gd name="connsiteY35115" fmla="*/ 592911 h 6557032"/>
              <a:gd name="connsiteX35116" fmla="*/ 1208170 w 4610101"/>
              <a:gd name="connsiteY35116" fmla="*/ 582057 h 6557032"/>
              <a:gd name="connsiteX35117" fmla="*/ 1216757 w 4610101"/>
              <a:gd name="connsiteY35117" fmla="*/ 590325 h 6557032"/>
              <a:gd name="connsiteX35118" fmla="*/ 1218533 w 4610101"/>
              <a:gd name="connsiteY35118" fmla="*/ 592525 h 6557032"/>
              <a:gd name="connsiteX35119" fmla="*/ 1216529 w 4610101"/>
              <a:gd name="connsiteY35119" fmla="*/ 591919 h 6557032"/>
              <a:gd name="connsiteX35120" fmla="*/ 1208102 w 4610101"/>
              <a:gd name="connsiteY35120" fmla="*/ 582125 h 6557032"/>
              <a:gd name="connsiteX35121" fmla="*/ 663744 w 4610101"/>
              <a:gd name="connsiteY35121" fmla="*/ 580978 h 6557032"/>
              <a:gd name="connsiteX35122" fmla="*/ 664110 w 4610101"/>
              <a:gd name="connsiteY35122" fmla="*/ 583266 h 6557032"/>
              <a:gd name="connsiteX35123" fmla="*/ 661449 w 4610101"/>
              <a:gd name="connsiteY35123" fmla="*/ 582125 h 6557032"/>
              <a:gd name="connsiteX35124" fmla="*/ 394409 w 4610101"/>
              <a:gd name="connsiteY35124" fmla="*/ 580524 h 6557032"/>
              <a:gd name="connsiteX35125" fmla="*/ 394956 w 4610101"/>
              <a:gd name="connsiteY35125" fmla="*/ 581670 h 6557032"/>
              <a:gd name="connsiteX35126" fmla="*/ 391768 w 4610101"/>
              <a:gd name="connsiteY35126" fmla="*/ 589414 h 6557032"/>
              <a:gd name="connsiteX35127" fmla="*/ 391185 w 4610101"/>
              <a:gd name="connsiteY35127" fmla="*/ 587082 h 6557032"/>
              <a:gd name="connsiteX35128" fmla="*/ 3498574 w 4610101"/>
              <a:gd name="connsiteY35128" fmla="*/ 580303 h 6557032"/>
              <a:gd name="connsiteX35129" fmla="*/ 3498574 w 4610101"/>
              <a:gd name="connsiteY35129" fmla="*/ 587591 h 6557032"/>
              <a:gd name="connsiteX35130" fmla="*/ 3505863 w 4610101"/>
              <a:gd name="connsiteY35130" fmla="*/ 593058 h 6557032"/>
              <a:gd name="connsiteX35131" fmla="*/ 3511330 w 4610101"/>
              <a:gd name="connsiteY35131" fmla="*/ 589414 h 6557032"/>
              <a:gd name="connsiteX35132" fmla="*/ 3505863 w 4610101"/>
              <a:gd name="connsiteY35132" fmla="*/ 587591 h 6557032"/>
              <a:gd name="connsiteX35133" fmla="*/ 3507685 w 4610101"/>
              <a:gd name="connsiteY35133" fmla="*/ 582125 h 6557032"/>
              <a:gd name="connsiteX35134" fmla="*/ 3498574 w 4610101"/>
              <a:gd name="connsiteY35134" fmla="*/ 580303 h 6557032"/>
              <a:gd name="connsiteX35135" fmla="*/ 2359716 w 4610101"/>
              <a:gd name="connsiteY35135" fmla="*/ 580303 h 6557032"/>
              <a:gd name="connsiteX35136" fmla="*/ 2354249 w 4610101"/>
              <a:gd name="connsiteY35136" fmla="*/ 582125 h 6557032"/>
              <a:gd name="connsiteX35137" fmla="*/ 2356071 w 4610101"/>
              <a:gd name="connsiteY35137" fmla="*/ 594880 h 6557032"/>
              <a:gd name="connsiteX35138" fmla="*/ 2359716 w 4610101"/>
              <a:gd name="connsiteY35138" fmla="*/ 593058 h 6557032"/>
              <a:gd name="connsiteX35139" fmla="*/ 2359716 w 4610101"/>
              <a:gd name="connsiteY35139" fmla="*/ 580303 h 6557032"/>
              <a:gd name="connsiteX35140" fmla="*/ 1158903 w 4610101"/>
              <a:gd name="connsiteY35140" fmla="*/ 580303 h 6557032"/>
              <a:gd name="connsiteX35141" fmla="*/ 1157081 w 4610101"/>
              <a:gd name="connsiteY35141" fmla="*/ 585769 h 6557032"/>
              <a:gd name="connsiteX35142" fmla="*/ 1158903 w 4610101"/>
              <a:gd name="connsiteY35142" fmla="*/ 580303 h 6557032"/>
              <a:gd name="connsiteX35143" fmla="*/ 592207 w 4610101"/>
              <a:gd name="connsiteY35143" fmla="*/ 580303 h 6557032"/>
              <a:gd name="connsiteX35144" fmla="*/ 592374 w 4610101"/>
              <a:gd name="connsiteY35144" fmla="*/ 580805 h 6557032"/>
              <a:gd name="connsiteX35145" fmla="*/ 591959 w 4610101"/>
              <a:gd name="connsiteY35145" fmla="*/ 581462 h 6557032"/>
              <a:gd name="connsiteX35146" fmla="*/ 506565 w 4610101"/>
              <a:gd name="connsiteY35146" fmla="*/ 580303 h 6557032"/>
              <a:gd name="connsiteX35147" fmla="*/ 515676 w 4610101"/>
              <a:gd name="connsiteY35147" fmla="*/ 603991 h 6557032"/>
              <a:gd name="connsiteX35148" fmla="*/ 517498 w 4610101"/>
              <a:gd name="connsiteY35148" fmla="*/ 587591 h 6557032"/>
              <a:gd name="connsiteX35149" fmla="*/ 506565 w 4610101"/>
              <a:gd name="connsiteY35149" fmla="*/ 580303 h 6557032"/>
              <a:gd name="connsiteX35150" fmla="*/ 3545951 w 4610101"/>
              <a:gd name="connsiteY35150" fmla="*/ 578481 h 6557032"/>
              <a:gd name="connsiteX35151" fmla="*/ 3546634 w 4610101"/>
              <a:gd name="connsiteY35151" fmla="*/ 582581 h 6557032"/>
              <a:gd name="connsiteX35152" fmla="*/ 3546047 w 4610101"/>
              <a:gd name="connsiteY35152" fmla="*/ 588455 h 6557032"/>
              <a:gd name="connsiteX35153" fmla="*/ 3545496 w 4610101"/>
              <a:gd name="connsiteY35153" fmla="*/ 588731 h 6557032"/>
              <a:gd name="connsiteX35154" fmla="*/ 3543750 w 4610101"/>
              <a:gd name="connsiteY35154" fmla="*/ 586113 h 6557032"/>
              <a:gd name="connsiteX35155" fmla="*/ 3543238 w 4610101"/>
              <a:gd name="connsiteY35155" fmla="*/ 581647 h 6557032"/>
              <a:gd name="connsiteX35156" fmla="*/ 2966500 w 4610101"/>
              <a:gd name="connsiteY35156" fmla="*/ 578481 h 6557032"/>
              <a:gd name="connsiteX35157" fmla="*/ 2959211 w 4610101"/>
              <a:gd name="connsiteY35157" fmla="*/ 583947 h 6557032"/>
              <a:gd name="connsiteX35158" fmla="*/ 2966500 w 4610101"/>
              <a:gd name="connsiteY35158" fmla="*/ 585769 h 6557032"/>
              <a:gd name="connsiteX35159" fmla="*/ 2966500 w 4610101"/>
              <a:gd name="connsiteY35159" fmla="*/ 578481 h 6557032"/>
              <a:gd name="connsiteX35160" fmla="*/ 2487268 w 4610101"/>
              <a:gd name="connsiteY35160" fmla="*/ 578481 h 6557032"/>
              <a:gd name="connsiteX35161" fmla="*/ 2485446 w 4610101"/>
              <a:gd name="connsiteY35161" fmla="*/ 583947 h 6557032"/>
              <a:gd name="connsiteX35162" fmla="*/ 2490912 w 4610101"/>
              <a:gd name="connsiteY35162" fmla="*/ 583947 h 6557032"/>
              <a:gd name="connsiteX35163" fmla="*/ 2487268 w 4610101"/>
              <a:gd name="connsiteY35163" fmla="*/ 578481 h 6557032"/>
              <a:gd name="connsiteX35164" fmla="*/ 2450824 w 4610101"/>
              <a:gd name="connsiteY35164" fmla="*/ 578481 h 6557032"/>
              <a:gd name="connsiteX35165" fmla="*/ 2434425 w 4610101"/>
              <a:gd name="connsiteY35165" fmla="*/ 611280 h 6557032"/>
              <a:gd name="connsiteX35166" fmla="*/ 2428958 w 4610101"/>
              <a:gd name="connsiteY35166" fmla="*/ 614924 h 6557032"/>
              <a:gd name="connsiteX35167" fmla="*/ 2434425 w 4610101"/>
              <a:gd name="connsiteY35167" fmla="*/ 622213 h 6557032"/>
              <a:gd name="connsiteX35168" fmla="*/ 2438069 w 4610101"/>
              <a:gd name="connsiteY35168" fmla="*/ 603991 h 6557032"/>
              <a:gd name="connsiteX35169" fmla="*/ 2441713 w 4610101"/>
              <a:gd name="connsiteY35169" fmla="*/ 614924 h 6557032"/>
              <a:gd name="connsiteX35170" fmla="*/ 2438069 w 4610101"/>
              <a:gd name="connsiteY35170" fmla="*/ 616746 h 6557032"/>
              <a:gd name="connsiteX35171" fmla="*/ 2446724 w 4610101"/>
              <a:gd name="connsiteY35171" fmla="*/ 619480 h 6557032"/>
              <a:gd name="connsiteX35172" fmla="*/ 2450841 w 4610101"/>
              <a:gd name="connsiteY35172" fmla="*/ 616516 h 6557032"/>
              <a:gd name="connsiteX35173" fmla="*/ 2445358 w 4610101"/>
              <a:gd name="connsiteY35173" fmla="*/ 624035 h 6557032"/>
              <a:gd name="connsiteX35174" fmla="*/ 2461757 w 4610101"/>
              <a:gd name="connsiteY35174" fmla="*/ 629501 h 6557032"/>
              <a:gd name="connsiteX35175" fmla="*/ 2469046 w 4610101"/>
              <a:gd name="connsiteY35175" fmla="*/ 614924 h 6557032"/>
              <a:gd name="connsiteX35176" fmla="*/ 2472690 w 4610101"/>
              <a:gd name="connsiteY35176" fmla="*/ 622213 h 6557032"/>
              <a:gd name="connsiteX35177" fmla="*/ 2467224 w 4610101"/>
              <a:gd name="connsiteY35177" fmla="*/ 631324 h 6557032"/>
              <a:gd name="connsiteX35178" fmla="*/ 2470868 w 4610101"/>
              <a:gd name="connsiteY35178" fmla="*/ 631324 h 6557032"/>
              <a:gd name="connsiteX35179" fmla="*/ 2481801 w 4610101"/>
              <a:gd name="connsiteY35179" fmla="*/ 627679 h 6557032"/>
              <a:gd name="connsiteX35180" fmla="*/ 2483624 w 4610101"/>
              <a:gd name="connsiteY35180" fmla="*/ 633146 h 6557032"/>
              <a:gd name="connsiteX35181" fmla="*/ 2483624 w 4610101"/>
              <a:gd name="connsiteY35181" fmla="*/ 631324 h 6557032"/>
              <a:gd name="connsiteX35182" fmla="*/ 2489090 w 4610101"/>
              <a:gd name="connsiteY35182" fmla="*/ 611280 h 6557032"/>
              <a:gd name="connsiteX35183" fmla="*/ 2496379 w 4610101"/>
              <a:gd name="connsiteY35183" fmla="*/ 611280 h 6557032"/>
              <a:gd name="connsiteX35184" fmla="*/ 2494556 w 4610101"/>
              <a:gd name="connsiteY35184" fmla="*/ 602169 h 6557032"/>
              <a:gd name="connsiteX35185" fmla="*/ 2483624 w 4610101"/>
              <a:gd name="connsiteY35185" fmla="*/ 605813 h 6557032"/>
              <a:gd name="connsiteX35186" fmla="*/ 2483624 w 4610101"/>
              <a:gd name="connsiteY35186" fmla="*/ 624035 h 6557032"/>
              <a:gd name="connsiteX35187" fmla="*/ 2481801 w 4610101"/>
              <a:gd name="connsiteY35187" fmla="*/ 611280 h 6557032"/>
              <a:gd name="connsiteX35188" fmla="*/ 2480161 w 4610101"/>
              <a:gd name="connsiteY35188" fmla="*/ 615836 h 6557032"/>
              <a:gd name="connsiteX35189" fmla="*/ 2479979 w 4610101"/>
              <a:gd name="connsiteY35189" fmla="*/ 609459 h 6557032"/>
              <a:gd name="connsiteX35190" fmla="*/ 2469046 w 4610101"/>
              <a:gd name="connsiteY35190" fmla="*/ 607635 h 6557032"/>
              <a:gd name="connsiteX35191" fmla="*/ 2467224 w 4610101"/>
              <a:gd name="connsiteY35191" fmla="*/ 614924 h 6557032"/>
              <a:gd name="connsiteX35192" fmla="*/ 2465402 w 4610101"/>
              <a:gd name="connsiteY35192" fmla="*/ 607635 h 6557032"/>
              <a:gd name="connsiteX35193" fmla="*/ 2458175 w 4610101"/>
              <a:gd name="connsiteY35193" fmla="*/ 610908 h 6557032"/>
              <a:gd name="connsiteX35194" fmla="*/ 2461757 w 4610101"/>
              <a:gd name="connsiteY35194" fmla="*/ 589414 h 6557032"/>
              <a:gd name="connsiteX35195" fmla="*/ 2452647 w 4610101"/>
              <a:gd name="connsiteY35195" fmla="*/ 593058 h 6557032"/>
              <a:gd name="connsiteX35196" fmla="*/ 2452647 w 4610101"/>
              <a:gd name="connsiteY35196" fmla="*/ 585769 h 6557032"/>
              <a:gd name="connsiteX35197" fmla="*/ 2450824 w 4610101"/>
              <a:gd name="connsiteY35197" fmla="*/ 589414 h 6557032"/>
              <a:gd name="connsiteX35198" fmla="*/ 2450824 w 4610101"/>
              <a:gd name="connsiteY35198" fmla="*/ 578481 h 6557032"/>
              <a:gd name="connsiteX35199" fmla="*/ 2077279 w 4610101"/>
              <a:gd name="connsiteY35199" fmla="*/ 578481 h 6557032"/>
              <a:gd name="connsiteX35200" fmla="*/ 2079101 w 4610101"/>
              <a:gd name="connsiteY35200" fmla="*/ 585769 h 6557032"/>
              <a:gd name="connsiteX35201" fmla="*/ 2082745 w 4610101"/>
              <a:gd name="connsiteY35201" fmla="*/ 583947 h 6557032"/>
              <a:gd name="connsiteX35202" fmla="*/ 2077279 w 4610101"/>
              <a:gd name="connsiteY35202" fmla="*/ 578481 h 6557032"/>
              <a:gd name="connsiteX35203" fmla="*/ 852778 w 4610101"/>
              <a:gd name="connsiteY35203" fmla="*/ 578481 h 6557032"/>
              <a:gd name="connsiteX35204" fmla="*/ 853142 w 4610101"/>
              <a:gd name="connsiteY35204" fmla="*/ 578845 h 6557032"/>
              <a:gd name="connsiteX35205" fmla="*/ 851749 w 4610101"/>
              <a:gd name="connsiteY35205" fmla="*/ 580935 h 6557032"/>
              <a:gd name="connsiteX35206" fmla="*/ 588562 w 4610101"/>
              <a:gd name="connsiteY35206" fmla="*/ 578481 h 6557032"/>
              <a:gd name="connsiteX35207" fmla="*/ 583096 w 4610101"/>
              <a:gd name="connsiteY35207" fmla="*/ 582125 h 6557032"/>
              <a:gd name="connsiteX35208" fmla="*/ 588562 w 4610101"/>
              <a:gd name="connsiteY35208" fmla="*/ 580303 h 6557032"/>
              <a:gd name="connsiteX35209" fmla="*/ 588562 w 4610101"/>
              <a:gd name="connsiteY35209" fmla="*/ 578481 h 6557032"/>
              <a:gd name="connsiteX35210" fmla="*/ 395412 w 4610101"/>
              <a:gd name="connsiteY35210" fmla="*/ 578481 h 6557032"/>
              <a:gd name="connsiteX35211" fmla="*/ 394409 w 4610101"/>
              <a:gd name="connsiteY35211" fmla="*/ 580524 h 6557032"/>
              <a:gd name="connsiteX35212" fmla="*/ 393643 w 4610101"/>
              <a:gd name="connsiteY35212" fmla="*/ 578924 h 6557032"/>
              <a:gd name="connsiteX35213" fmla="*/ 2072040 w 4610101"/>
              <a:gd name="connsiteY35213" fmla="*/ 577342 h 6557032"/>
              <a:gd name="connsiteX35214" fmla="*/ 2069990 w 4610101"/>
              <a:gd name="connsiteY35214" fmla="*/ 582125 h 6557032"/>
              <a:gd name="connsiteX35215" fmla="*/ 2075457 w 4610101"/>
              <a:gd name="connsiteY35215" fmla="*/ 582125 h 6557032"/>
              <a:gd name="connsiteX35216" fmla="*/ 2072040 w 4610101"/>
              <a:gd name="connsiteY35216" fmla="*/ 577342 h 6557032"/>
              <a:gd name="connsiteX35217" fmla="*/ 2538289 w 4610101"/>
              <a:gd name="connsiteY35217" fmla="*/ 576658 h 6557032"/>
              <a:gd name="connsiteX35218" fmla="*/ 2540111 w 4610101"/>
              <a:gd name="connsiteY35218" fmla="*/ 582125 h 6557032"/>
              <a:gd name="connsiteX35219" fmla="*/ 2545577 w 4610101"/>
              <a:gd name="connsiteY35219" fmla="*/ 576658 h 6557032"/>
              <a:gd name="connsiteX35220" fmla="*/ 2538289 w 4610101"/>
              <a:gd name="connsiteY35220" fmla="*/ 576658 h 6557032"/>
              <a:gd name="connsiteX35221" fmla="*/ 2421669 w 4610101"/>
              <a:gd name="connsiteY35221" fmla="*/ 576658 h 6557032"/>
              <a:gd name="connsiteX35222" fmla="*/ 2419847 w 4610101"/>
              <a:gd name="connsiteY35222" fmla="*/ 580303 h 6557032"/>
              <a:gd name="connsiteX35223" fmla="*/ 2418025 w 4610101"/>
              <a:gd name="connsiteY35223" fmla="*/ 578481 h 6557032"/>
              <a:gd name="connsiteX35224" fmla="*/ 2419847 w 4610101"/>
              <a:gd name="connsiteY35224" fmla="*/ 583947 h 6557032"/>
              <a:gd name="connsiteX35225" fmla="*/ 2421669 w 4610101"/>
              <a:gd name="connsiteY35225" fmla="*/ 576658 h 6557032"/>
              <a:gd name="connsiteX35226" fmla="*/ 2343316 w 4610101"/>
              <a:gd name="connsiteY35226" fmla="*/ 576658 h 6557032"/>
              <a:gd name="connsiteX35227" fmla="*/ 2343316 w 4610101"/>
              <a:gd name="connsiteY35227" fmla="*/ 578481 h 6557032"/>
              <a:gd name="connsiteX35228" fmla="*/ 2343468 w 4610101"/>
              <a:gd name="connsiteY35228" fmla="*/ 578679 h 6557032"/>
              <a:gd name="connsiteX35229" fmla="*/ 2344000 w 4610101"/>
              <a:gd name="connsiteY35229" fmla="*/ 585770 h 6557032"/>
              <a:gd name="connsiteX35230" fmla="*/ 2348782 w 4610101"/>
              <a:gd name="connsiteY35230" fmla="*/ 594880 h 6557032"/>
              <a:gd name="connsiteX35231" fmla="*/ 2352427 w 4610101"/>
              <a:gd name="connsiteY35231" fmla="*/ 583947 h 6557032"/>
              <a:gd name="connsiteX35232" fmla="*/ 2348555 w 4610101"/>
              <a:gd name="connsiteY35232" fmla="*/ 585314 h 6557032"/>
              <a:gd name="connsiteX35233" fmla="*/ 2343468 w 4610101"/>
              <a:gd name="connsiteY35233" fmla="*/ 578679 h 6557032"/>
              <a:gd name="connsiteX35234" fmla="*/ 2321450 w 4610101"/>
              <a:gd name="connsiteY35234" fmla="*/ 576658 h 6557032"/>
              <a:gd name="connsiteX35235" fmla="*/ 2325094 w 4610101"/>
              <a:gd name="connsiteY35235" fmla="*/ 589414 h 6557032"/>
              <a:gd name="connsiteX35236" fmla="*/ 2328739 w 4610101"/>
              <a:gd name="connsiteY35236" fmla="*/ 582125 h 6557032"/>
              <a:gd name="connsiteX35237" fmla="*/ 2321450 w 4610101"/>
              <a:gd name="connsiteY35237" fmla="*/ 576658 h 6557032"/>
              <a:gd name="connsiteX35238" fmla="*/ 1375743 w 4610101"/>
              <a:gd name="connsiteY35238" fmla="*/ 576658 h 6557032"/>
              <a:gd name="connsiteX35239" fmla="*/ 1377337 w 4610101"/>
              <a:gd name="connsiteY35239" fmla="*/ 578709 h 6557032"/>
              <a:gd name="connsiteX35240" fmla="*/ 1377341 w 4610101"/>
              <a:gd name="connsiteY35240" fmla="*/ 578776 h 6557032"/>
              <a:gd name="connsiteX35241" fmla="*/ 1149792 w 4610101"/>
              <a:gd name="connsiteY35241" fmla="*/ 576658 h 6557032"/>
              <a:gd name="connsiteX35242" fmla="*/ 1153436 w 4610101"/>
              <a:gd name="connsiteY35242" fmla="*/ 582125 h 6557032"/>
              <a:gd name="connsiteX35243" fmla="*/ 1149792 w 4610101"/>
              <a:gd name="connsiteY35243" fmla="*/ 576658 h 6557032"/>
              <a:gd name="connsiteX35244" fmla="*/ 648694 w 4610101"/>
              <a:gd name="connsiteY35244" fmla="*/ 576658 h 6557032"/>
              <a:gd name="connsiteX35245" fmla="*/ 645050 w 4610101"/>
              <a:gd name="connsiteY35245" fmla="*/ 598524 h 6557032"/>
              <a:gd name="connsiteX35246" fmla="*/ 648011 w 4610101"/>
              <a:gd name="connsiteY35246" fmla="*/ 594425 h 6557032"/>
              <a:gd name="connsiteX35247" fmla="*/ 650833 w 4610101"/>
              <a:gd name="connsiteY35247" fmla="*/ 589969 h 6557032"/>
              <a:gd name="connsiteX35248" fmla="*/ 650516 w 4610101"/>
              <a:gd name="connsiteY35248" fmla="*/ 591236 h 6557032"/>
              <a:gd name="connsiteX35249" fmla="*/ 652339 w 4610101"/>
              <a:gd name="connsiteY35249" fmla="*/ 587591 h 6557032"/>
              <a:gd name="connsiteX35250" fmla="*/ 650833 w 4610101"/>
              <a:gd name="connsiteY35250" fmla="*/ 589969 h 6557032"/>
              <a:gd name="connsiteX35251" fmla="*/ 652339 w 4610101"/>
              <a:gd name="connsiteY35251" fmla="*/ 583947 h 6557032"/>
              <a:gd name="connsiteX35252" fmla="*/ 648694 w 4610101"/>
              <a:gd name="connsiteY35252" fmla="*/ 576658 h 6557032"/>
              <a:gd name="connsiteX35253" fmla="*/ 573985 w 4610101"/>
              <a:gd name="connsiteY35253" fmla="*/ 576658 h 6557032"/>
              <a:gd name="connsiteX35254" fmla="*/ 573985 w 4610101"/>
              <a:gd name="connsiteY35254" fmla="*/ 583947 h 6557032"/>
              <a:gd name="connsiteX35255" fmla="*/ 573985 w 4610101"/>
              <a:gd name="connsiteY35255" fmla="*/ 576658 h 6557032"/>
              <a:gd name="connsiteX35256" fmla="*/ 552119 w 4610101"/>
              <a:gd name="connsiteY35256" fmla="*/ 576658 h 6557032"/>
              <a:gd name="connsiteX35257" fmla="*/ 561230 w 4610101"/>
              <a:gd name="connsiteY35257" fmla="*/ 593058 h 6557032"/>
              <a:gd name="connsiteX35258" fmla="*/ 561230 w 4610101"/>
              <a:gd name="connsiteY35258" fmla="*/ 585769 h 6557032"/>
              <a:gd name="connsiteX35259" fmla="*/ 552119 w 4610101"/>
              <a:gd name="connsiteY35259" fmla="*/ 576658 h 6557032"/>
              <a:gd name="connsiteX35260" fmla="*/ 278793 w 4610101"/>
              <a:gd name="connsiteY35260" fmla="*/ 576658 h 6557032"/>
              <a:gd name="connsiteX35261" fmla="*/ 302481 w 4610101"/>
              <a:gd name="connsiteY35261" fmla="*/ 618568 h 6557032"/>
              <a:gd name="connsiteX35262" fmla="*/ 278793 w 4610101"/>
              <a:gd name="connsiteY35262" fmla="*/ 576658 h 6557032"/>
              <a:gd name="connsiteX35263" fmla="*/ 3010232 w 4610101"/>
              <a:gd name="connsiteY35263" fmla="*/ 574836 h 6557032"/>
              <a:gd name="connsiteX35264" fmla="*/ 3010232 w 4610101"/>
              <a:gd name="connsiteY35264" fmla="*/ 582125 h 6557032"/>
              <a:gd name="connsiteX35265" fmla="*/ 2971966 w 4610101"/>
              <a:gd name="connsiteY35265" fmla="*/ 589414 h 6557032"/>
              <a:gd name="connsiteX35266" fmla="*/ 2992010 w 4610101"/>
              <a:gd name="connsiteY35266" fmla="*/ 593058 h 6557032"/>
              <a:gd name="connsiteX35267" fmla="*/ 2993832 w 4610101"/>
              <a:gd name="connsiteY35267" fmla="*/ 587591 h 6557032"/>
              <a:gd name="connsiteX35268" fmla="*/ 2992010 w 4610101"/>
              <a:gd name="connsiteY35268" fmla="*/ 598524 h 6557032"/>
              <a:gd name="connsiteX35269" fmla="*/ 2997072 w 4610101"/>
              <a:gd name="connsiteY35269" fmla="*/ 603876 h 6557032"/>
              <a:gd name="connsiteX35270" fmla="*/ 2991099 w 4610101"/>
              <a:gd name="connsiteY35270" fmla="*/ 602169 h 6557032"/>
              <a:gd name="connsiteX35271" fmla="*/ 2984721 w 4610101"/>
              <a:gd name="connsiteY35271" fmla="*/ 600347 h 6557032"/>
              <a:gd name="connsiteX35272" fmla="*/ 2986999 w 4610101"/>
              <a:gd name="connsiteY35272" fmla="*/ 610141 h 6557032"/>
              <a:gd name="connsiteX35273" fmla="*/ 2996195 w 4610101"/>
              <a:gd name="connsiteY35273" fmla="*/ 612740 h 6557032"/>
              <a:gd name="connsiteX35274" fmla="*/ 2994971 w 4610101"/>
              <a:gd name="connsiteY35274" fmla="*/ 613103 h 6557032"/>
              <a:gd name="connsiteX35275" fmla="*/ 2995654 w 4610101"/>
              <a:gd name="connsiteY35275" fmla="*/ 620391 h 6557032"/>
              <a:gd name="connsiteX35276" fmla="*/ 2977432 w 4610101"/>
              <a:gd name="connsiteY35276" fmla="*/ 618568 h 6557032"/>
              <a:gd name="connsiteX35277" fmla="*/ 3002943 w 4610101"/>
              <a:gd name="connsiteY35277" fmla="*/ 624035 h 6557032"/>
              <a:gd name="connsiteX35278" fmla="*/ 3001121 w 4610101"/>
              <a:gd name="connsiteY35278" fmla="*/ 611280 h 6557032"/>
              <a:gd name="connsiteX35279" fmla="*/ 2997477 w 4610101"/>
              <a:gd name="connsiteY35279" fmla="*/ 612360 h 6557032"/>
              <a:gd name="connsiteX35280" fmla="*/ 2997477 w 4610101"/>
              <a:gd name="connsiteY35280" fmla="*/ 604304 h 6557032"/>
              <a:gd name="connsiteX35281" fmla="*/ 2999982 w 4610101"/>
              <a:gd name="connsiteY35281" fmla="*/ 606952 h 6557032"/>
              <a:gd name="connsiteX35282" fmla="*/ 3006587 w 4610101"/>
              <a:gd name="connsiteY35282" fmla="*/ 616746 h 6557032"/>
              <a:gd name="connsiteX35283" fmla="*/ 3037564 w 4610101"/>
              <a:gd name="connsiteY35283" fmla="*/ 629501 h 6557032"/>
              <a:gd name="connsiteX35284" fmla="*/ 3022987 w 4610101"/>
              <a:gd name="connsiteY35284" fmla="*/ 620391 h 6557032"/>
              <a:gd name="connsiteX35285" fmla="*/ 3028453 w 4610101"/>
              <a:gd name="connsiteY35285" fmla="*/ 614926 h 6557032"/>
              <a:gd name="connsiteX35286" fmla="*/ 3028453 w 4610101"/>
              <a:gd name="connsiteY35286" fmla="*/ 622213 h 6557032"/>
              <a:gd name="connsiteX35287" fmla="*/ 3035742 w 4610101"/>
              <a:gd name="connsiteY35287" fmla="*/ 616746 h 6557032"/>
              <a:gd name="connsiteX35288" fmla="*/ 3033465 w 4610101"/>
              <a:gd name="connsiteY35288" fmla="*/ 615152 h 6557032"/>
              <a:gd name="connsiteX35289" fmla="*/ 3028455 w 4610101"/>
              <a:gd name="connsiteY35289" fmla="*/ 614924 h 6557032"/>
              <a:gd name="connsiteX35290" fmla="*/ 3033920 w 4610101"/>
              <a:gd name="connsiteY35290" fmla="*/ 609459 h 6557032"/>
              <a:gd name="connsiteX35291" fmla="*/ 3035742 w 4610101"/>
              <a:gd name="connsiteY35291" fmla="*/ 614924 h 6557032"/>
              <a:gd name="connsiteX35292" fmla="*/ 3037564 w 4610101"/>
              <a:gd name="connsiteY35292" fmla="*/ 600347 h 6557032"/>
              <a:gd name="connsiteX35293" fmla="*/ 3026631 w 4610101"/>
              <a:gd name="connsiteY35293" fmla="*/ 593058 h 6557032"/>
              <a:gd name="connsiteX35294" fmla="*/ 3029137 w 4610101"/>
              <a:gd name="connsiteY35294" fmla="*/ 591009 h 6557032"/>
              <a:gd name="connsiteX35295" fmla="*/ 3030219 w 4610101"/>
              <a:gd name="connsiteY35295" fmla="*/ 587763 h 6557032"/>
              <a:gd name="connsiteX35296" fmla="*/ 3030825 w 4610101"/>
              <a:gd name="connsiteY35296" fmla="*/ 588140 h 6557032"/>
              <a:gd name="connsiteX35297" fmla="*/ 3041209 w 4610101"/>
              <a:gd name="connsiteY35297" fmla="*/ 598524 h 6557032"/>
              <a:gd name="connsiteX35298" fmla="*/ 3033237 w 4610101"/>
              <a:gd name="connsiteY35298" fmla="*/ 589642 h 6557032"/>
              <a:gd name="connsiteX35299" fmla="*/ 3030825 w 4610101"/>
              <a:gd name="connsiteY35299" fmla="*/ 588140 h 6557032"/>
              <a:gd name="connsiteX35300" fmla="*/ 3030276 w 4610101"/>
              <a:gd name="connsiteY35300" fmla="*/ 587591 h 6557032"/>
              <a:gd name="connsiteX35301" fmla="*/ 3030219 w 4610101"/>
              <a:gd name="connsiteY35301" fmla="*/ 587763 h 6557032"/>
              <a:gd name="connsiteX35302" fmla="*/ 3021165 w 4610101"/>
              <a:gd name="connsiteY35302" fmla="*/ 582125 h 6557032"/>
              <a:gd name="connsiteX35303" fmla="*/ 3024809 w 4610101"/>
              <a:gd name="connsiteY35303" fmla="*/ 580303 h 6557032"/>
              <a:gd name="connsiteX35304" fmla="*/ 3010232 w 4610101"/>
              <a:gd name="connsiteY35304" fmla="*/ 574836 h 6557032"/>
              <a:gd name="connsiteX35305" fmla="*/ 912909 w 4610101"/>
              <a:gd name="connsiteY35305" fmla="*/ 574836 h 6557032"/>
              <a:gd name="connsiteX35306" fmla="*/ 911087 w 4610101"/>
              <a:gd name="connsiteY35306" fmla="*/ 582125 h 6557032"/>
              <a:gd name="connsiteX35307" fmla="*/ 916555 w 4610101"/>
              <a:gd name="connsiteY35307" fmla="*/ 578481 h 6557032"/>
              <a:gd name="connsiteX35308" fmla="*/ 912909 w 4610101"/>
              <a:gd name="connsiteY35308" fmla="*/ 574836 h 6557032"/>
              <a:gd name="connsiteX35309" fmla="*/ 635939 w 4610101"/>
              <a:gd name="connsiteY35309" fmla="*/ 574836 h 6557032"/>
              <a:gd name="connsiteX35310" fmla="*/ 634117 w 4610101"/>
              <a:gd name="connsiteY35310" fmla="*/ 580303 h 6557032"/>
              <a:gd name="connsiteX35311" fmla="*/ 635939 w 4610101"/>
              <a:gd name="connsiteY35311" fmla="*/ 574836 h 6557032"/>
              <a:gd name="connsiteX35312" fmla="*/ 477410 w 4610101"/>
              <a:gd name="connsiteY35312" fmla="*/ 574836 h 6557032"/>
              <a:gd name="connsiteX35313" fmla="*/ 482876 w 4610101"/>
              <a:gd name="connsiteY35313" fmla="*/ 589414 h 6557032"/>
              <a:gd name="connsiteX35314" fmla="*/ 477410 w 4610101"/>
              <a:gd name="connsiteY35314" fmla="*/ 574836 h 6557032"/>
              <a:gd name="connsiteX35315" fmla="*/ 256927 w 4610101"/>
              <a:gd name="connsiteY35315" fmla="*/ 574836 h 6557032"/>
              <a:gd name="connsiteX35316" fmla="*/ 263958 w 4610101"/>
              <a:gd name="connsiteY35316" fmla="*/ 580696 h 6557032"/>
              <a:gd name="connsiteX35317" fmla="*/ 278793 w 4610101"/>
              <a:gd name="connsiteY35317" fmla="*/ 605813 h 6557032"/>
              <a:gd name="connsiteX35318" fmla="*/ 270442 w 4610101"/>
              <a:gd name="connsiteY35318" fmla="*/ 598746 h 6557032"/>
              <a:gd name="connsiteX35319" fmla="*/ 308999 w 4610101"/>
              <a:gd name="connsiteY35319" fmla="*/ 574276 h 6557032"/>
              <a:gd name="connsiteX35320" fmla="*/ 309771 w 4610101"/>
              <a:gd name="connsiteY35320" fmla="*/ 578481 h 6557032"/>
              <a:gd name="connsiteX35321" fmla="*/ 308421 w 4610101"/>
              <a:gd name="connsiteY35321" fmla="*/ 576587 h 6557032"/>
              <a:gd name="connsiteX35322" fmla="*/ 2065505 w 4610101"/>
              <a:gd name="connsiteY35322" fmla="*/ 573295 h 6557032"/>
              <a:gd name="connsiteX35323" fmla="*/ 2066346 w 4610101"/>
              <a:gd name="connsiteY35323" fmla="*/ 573925 h 6557032"/>
              <a:gd name="connsiteX35324" fmla="*/ 2066346 w 4610101"/>
              <a:gd name="connsiteY35324" fmla="*/ 575984 h 6557032"/>
              <a:gd name="connsiteX35325" fmla="*/ 2063840 w 4610101"/>
              <a:gd name="connsiteY35325" fmla="*/ 575520 h 6557032"/>
              <a:gd name="connsiteX35326" fmla="*/ 2060879 w 4610101"/>
              <a:gd name="connsiteY35326" fmla="*/ 577353 h 6557032"/>
              <a:gd name="connsiteX35327" fmla="*/ 2060879 w 4610101"/>
              <a:gd name="connsiteY35327" fmla="*/ 574836 h 6557032"/>
              <a:gd name="connsiteX35328" fmla="*/ 3316357 w 4610101"/>
              <a:gd name="connsiteY35328" fmla="*/ 573014 h 6557032"/>
              <a:gd name="connsiteX35329" fmla="*/ 3310890 w 4610101"/>
              <a:gd name="connsiteY35329" fmla="*/ 578481 h 6557032"/>
              <a:gd name="connsiteX35330" fmla="*/ 3316357 w 4610101"/>
              <a:gd name="connsiteY35330" fmla="*/ 583947 h 6557032"/>
              <a:gd name="connsiteX35331" fmla="*/ 3316357 w 4610101"/>
              <a:gd name="connsiteY35331" fmla="*/ 573014 h 6557032"/>
              <a:gd name="connsiteX35332" fmla="*/ 3172405 w 4610101"/>
              <a:gd name="connsiteY35332" fmla="*/ 573014 h 6557032"/>
              <a:gd name="connsiteX35333" fmla="*/ 3150539 w 4610101"/>
              <a:gd name="connsiteY35333" fmla="*/ 596702 h 6557032"/>
              <a:gd name="connsiteX35334" fmla="*/ 3157828 w 4610101"/>
              <a:gd name="connsiteY35334" fmla="*/ 598524 h 6557032"/>
              <a:gd name="connsiteX35335" fmla="*/ 3159650 w 4610101"/>
              <a:gd name="connsiteY35335" fmla="*/ 587591 h 6557032"/>
              <a:gd name="connsiteX35336" fmla="*/ 3161472 w 4610101"/>
              <a:gd name="connsiteY35336" fmla="*/ 594880 h 6557032"/>
              <a:gd name="connsiteX35337" fmla="*/ 3163294 w 4610101"/>
              <a:gd name="connsiteY35337" fmla="*/ 591236 h 6557032"/>
              <a:gd name="connsiteX35338" fmla="*/ 3165116 w 4610101"/>
              <a:gd name="connsiteY35338" fmla="*/ 596702 h 6557032"/>
              <a:gd name="connsiteX35339" fmla="*/ 3172405 w 4610101"/>
              <a:gd name="connsiteY35339" fmla="*/ 573014 h 6557032"/>
              <a:gd name="connsiteX35340" fmla="*/ 2884502 w 4610101"/>
              <a:gd name="connsiteY35340" fmla="*/ 573014 h 6557032"/>
              <a:gd name="connsiteX35341" fmla="*/ 2882680 w 4610101"/>
              <a:gd name="connsiteY35341" fmla="*/ 585769 h 6557032"/>
              <a:gd name="connsiteX35342" fmla="*/ 2884502 w 4610101"/>
              <a:gd name="connsiteY35342" fmla="*/ 582125 h 6557032"/>
              <a:gd name="connsiteX35343" fmla="*/ 2889968 w 4610101"/>
              <a:gd name="connsiteY35343" fmla="*/ 587591 h 6557032"/>
              <a:gd name="connsiteX35344" fmla="*/ 2889968 w 4610101"/>
              <a:gd name="connsiteY35344" fmla="*/ 582125 h 6557032"/>
              <a:gd name="connsiteX35345" fmla="*/ 2895435 w 4610101"/>
              <a:gd name="connsiteY35345" fmla="*/ 585769 h 6557032"/>
              <a:gd name="connsiteX35346" fmla="*/ 2897257 w 4610101"/>
              <a:gd name="connsiteY35346" fmla="*/ 576658 h 6557032"/>
              <a:gd name="connsiteX35347" fmla="*/ 2884502 w 4610101"/>
              <a:gd name="connsiteY35347" fmla="*/ 573014 h 6557032"/>
              <a:gd name="connsiteX35348" fmla="*/ 2390693 w 4610101"/>
              <a:gd name="connsiteY35348" fmla="*/ 573014 h 6557032"/>
              <a:gd name="connsiteX35349" fmla="*/ 2385226 w 4610101"/>
              <a:gd name="connsiteY35349" fmla="*/ 582125 h 6557032"/>
              <a:gd name="connsiteX35350" fmla="*/ 2381582 w 4610101"/>
              <a:gd name="connsiteY35350" fmla="*/ 574836 h 6557032"/>
              <a:gd name="connsiteX35351" fmla="*/ 2379760 w 4610101"/>
              <a:gd name="connsiteY35351" fmla="*/ 585769 h 6557032"/>
              <a:gd name="connsiteX35352" fmla="*/ 2377937 w 4610101"/>
              <a:gd name="connsiteY35352" fmla="*/ 578481 h 6557032"/>
              <a:gd name="connsiteX35353" fmla="*/ 2377937 w 4610101"/>
              <a:gd name="connsiteY35353" fmla="*/ 602169 h 6557032"/>
              <a:gd name="connsiteX35354" fmla="*/ 2394337 w 4610101"/>
              <a:gd name="connsiteY35354" fmla="*/ 587591 h 6557032"/>
              <a:gd name="connsiteX35355" fmla="*/ 2396159 w 4610101"/>
              <a:gd name="connsiteY35355" fmla="*/ 593058 h 6557032"/>
              <a:gd name="connsiteX35356" fmla="*/ 2390693 w 4610101"/>
              <a:gd name="connsiteY35356" fmla="*/ 573014 h 6557032"/>
              <a:gd name="connsiteX35357" fmla="*/ 1106060 w 4610101"/>
              <a:gd name="connsiteY35357" fmla="*/ 573014 h 6557032"/>
              <a:gd name="connsiteX35358" fmla="*/ 1100593 w 4610101"/>
              <a:gd name="connsiteY35358" fmla="*/ 587591 h 6557032"/>
              <a:gd name="connsiteX35359" fmla="*/ 1106060 w 4610101"/>
              <a:gd name="connsiteY35359" fmla="*/ 573014 h 6557032"/>
              <a:gd name="connsiteX35360" fmla="*/ 945709 w 4610101"/>
              <a:gd name="connsiteY35360" fmla="*/ 573014 h 6557032"/>
              <a:gd name="connsiteX35361" fmla="*/ 932953 w 4610101"/>
              <a:gd name="connsiteY35361" fmla="*/ 587591 h 6557032"/>
              <a:gd name="connsiteX35362" fmla="*/ 945709 w 4610101"/>
              <a:gd name="connsiteY35362" fmla="*/ 573014 h 6557032"/>
              <a:gd name="connsiteX35363" fmla="*/ 843667 w 4610101"/>
              <a:gd name="connsiteY35363" fmla="*/ 573014 h 6557032"/>
              <a:gd name="connsiteX35364" fmla="*/ 841845 w 4610101"/>
              <a:gd name="connsiteY35364" fmla="*/ 583947 h 6557032"/>
              <a:gd name="connsiteX35365" fmla="*/ 843667 w 4610101"/>
              <a:gd name="connsiteY35365" fmla="*/ 580303 h 6557032"/>
              <a:gd name="connsiteX35366" fmla="*/ 847311 w 4610101"/>
              <a:gd name="connsiteY35366" fmla="*/ 587591 h 6557032"/>
              <a:gd name="connsiteX35367" fmla="*/ 851749 w 4610101"/>
              <a:gd name="connsiteY35367" fmla="*/ 580935 h 6557032"/>
              <a:gd name="connsiteX35368" fmla="*/ 849817 w 4610101"/>
              <a:gd name="connsiteY35368" fmla="*/ 585542 h 6557032"/>
              <a:gd name="connsiteX35369" fmla="*/ 845489 w 4610101"/>
              <a:gd name="connsiteY35369" fmla="*/ 591236 h 6557032"/>
              <a:gd name="connsiteX35370" fmla="*/ 854600 w 4610101"/>
              <a:gd name="connsiteY35370" fmla="*/ 580303 h 6557032"/>
              <a:gd name="connsiteX35371" fmla="*/ 853142 w 4610101"/>
              <a:gd name="connsiteY35371" fmla="*/ 578845 h 6557032"/>
              <a:gd name="connsiteX35372" fmla="*/ 854600 w 4610101"/>
              <a:gd name="connsiteY35372" fmla="*/ 576658 h 6557032"/>
              <a:gd name="connsiteX35373" fmla="*/ 843667 w 4610101"/>
              <a:gd name="connsiteY35373" fmla="*/ 573014 h 6557032"/>
              <a:gd name="connsiteX35374" fmla="*/ 821801 w 4610101"/>
              <a:gd name="connsiteY35374" fmla="*/ 573014 h 6557032"/>
              <a:gd name="connsiteX35375" fmla="*/ 821801 w 4610101"/>
              <a:gd name="connsiteY35375" fmla="*/ 578481 h 6557032"/>
              <a:gd name="connsiteX35376" fmla="*/ 825445 w 4610101"/>
              <a:gd name="connsiteY35376" fmla="*/ 574836 h 6557032"/>
              <a:gd name="connsiteX35377" fmla="*/ 821801 w 4610101"/>
              <a:gd name="connsiteY35377" fmla="*/ 573014 h 6557032"/>
              <a:gd name="connsiteX35378" fmla="*/ 809046 w 4610101"/>
              <a:gd name="connsiteY35378" fmla="*/ 573014 h 6557032"/>
              <a:gd name="connsiteX35379" fmla="*/ 812690 w 4610101"/>
              <a:gd name="connsiteY35379" fmla="*/ 576658 h 6557032"/>
              <a:gd name="connsiteX35380" fmla="*/ 809046 w 4610101"/>
              <a:gd name="connsiteY35380" fmla="*/ 573014 h 6557032"/>
              <a:gd name="connsiteX35381" fmla="*/ 736159 w 4610101"/>
              <a:gd name="connsiteY35381" fmla="*/ 573014 h 6557032"/>
              <a:gd name="connsiteX35382" fmla="*/ 734154 w 4610101"/>
              <a:gd name="connsiteY35382" fmla="*/ 583038 h 6557032"/>
              <a:gd name="connsiteX35383" fmla="*/ 734108 w 4610101"/>
              <a:gd name="connsiteY35383" fmla="*/ 580531 h 6557032"/>
              <a:gd name="connsiteX35384" fmla="*/ 732515 w 4610101"/>
              <a:gd name="connsiteY35384" fmla="*/ 591236 h 6557032"/>
              <a:gd name="connsiteX35385" fmla="*/ 734154 w 4610101"/>
              <a:gd name="connsiteY35385" fmla="*/ 583038 h 6557032"/>
              <a:gd name="connsiteX35386" fmla="*/ 734336 w 4610101"/>
              <a:gd name="connsiteY35386" fmla="*/ 593058 h 6557032"/>
              <a:gd name="connsiteX35387" fmla="*/ 743447 w 4610101"/>
              <a:gd name="connsiteY35387" fmla="*/ 578481 h 6557032"/>
              <a:gd name="connsiteX35388" fmla="*/ 736159 w 4610101"/>
              <a:gd name="connsiteY35388" fmla="*/ 573014 h 6557032"/>
              <a:gd name="connsiteX35389" fmla="*/ 477410 w 4610101"/>
              <a:gd name="connsiteY35389" fmla="*/ 573014 h 6557032"/>
              <a:gd name="connsiteX35390" fmla="*/ 488343 w 4610101"/>
              <a:gd name="connsiteY35390" fmla="*/ 587591 h 6557032"/>
              <a:gd name="connsiteX35391" fmla="*/ 486521 w 4610101"/>
              <a:gd name="connsiteY35391" fmla="*/ 573014 h 6557032"/>
              <a:gd name="connsiteX35392" fmla="*/ 477410 w 4610101"/>
              <a:gd name="connsiteY35392" fmla="*/ 573014 h 6557032"/>
              <a:gd name="connsiteX35393" fmla="*/ 1164048 w 4610101"/>
              <a:gd name="connsiteY35393" fmla="*/ 572909 h 6557032"/>
              <a:gd name="connsiteX35394" fmla="*/ 1163962 w 4610101"/>
              <a:gd name="connsiteY35394" fmla="*/ 573365 h 6557032"/>
              <a:gd name="connsiteX35395" fmla="*/ 1163914 w 4610101"/>
              <a:gd name="connsiteY35395" fmla="*/ 573214 h 6557032"/>
              <a:gd name="connsiteX35396" fmla="*/ 2680802 w 4610101"/>
              <a:gd name="connsiteY35396" fmla="*/ 571672 h 6557032"/>
              <a:gd name="connsiteX35397" fmla="*/ 2687707 w 4610101"/>
              <a:gd name="connsiteY35397" fmla="*/ 580303 h 6557032"/>
              <a:gd name="connsiteX35398" fmla="*/ 2689529 w 4610101"/>
              <a:gd name="connsiteY35398" fmla="*/ 574836 h 6557032"/>
              <a:gd name="connsiteX35399" fmla="*/ 2685885 w 4610101"/>
              <a:gd name="connsiteY35399" fmla="*/ 603991 h 6557032"/>
              <a:gd name="connsiteX35400" fmla="*/ 2678596 w 4610101"/>
              <a:gd name="connsiteY35400" fmla="*/ 583947 h 6557032"/>
              <a:gd name="connsiteX35401" fmla="*/ 2665841 w 4610101"/>
              <a:gd name="connsiteY35401" fmla="*/ 596702 h 6557032"/>
              <a:gd name="connsiteX35402" fmla="*/ 2664019 w 4610101"/>
              <a:gd name="connsiteY35402" fmla="*/ 583947 h 6557032"/>
              <a:gd name="connsiteX35403" fmla="*/ 2662197 w 4610101"/>
              <a:gd name="connsiteY35403" fmla="*/ 594880 h 6557032"/>
              <a:gd name="connsiteX35404" fmla="*/ 2665841 w 4610101"/>
              <a:gd name="connsiteY35404" fmla="*/ 574836 h 6557032"/>
              <a:gd name="connsiteX35405" fmla="*/ 2682240 w 4610101"/>
              <a:gd name="connsiteY35405" fmla="*/ 580303 h 6557032"/>
              <a:gd name="connsiteX35406" fmla="*/ 580819 w 4610101"/>
              <a:gd name="connsiteY35406" fmla="*/ 571647 h 6557032"/>
              <a:gd name="connsiteX35407" fmla="*/ 579623 w 4610101"/>
              <a:gd name="connsiteY35407" fmla="*/ 574438 h 6557032"/>
              <a:gd name="connsiteX35408" fmla="*/ 579460 w 4610101"/>
              <a:gd name="connsiteY35408" fmla="*/ 574470 h 6557032"/>
              <a:gd name="connsiteX35409" fmla="*/ 579492 w 4610101"/>
              <a:gd name="connsiteY35409" fmla="*/ 572974 h 6557032"/>
              <a:gd name="connsiteX35410" fmla="*/ 2937345 w 4610101"/>
              <a:gd name="connsiteY35410" fmla="*/ 571192 h 6557032"/>
              <a:gd name="connsiteX35411" fmla="*/ 2944223 w 4610101"/>
              <a:gd name="connsiteY35411" fmla="*/ 579481 h 6557032"/>
              <a:gd name="connsiteX35412" fmla="*/ 2944634 w 4610101"/>
              <a:gd name="connsiteY35412" fmla="*/ 580303 h 6557032"/>
              <a:gd name="connsiteX35413" fmla="*/ 2931878 w 4610101"/>
              <a:gd name="connsiteY35413" fmla="*/ 580303 h 6557032"/>
              <a:gd name="connsiteX35414" fmla="*/ 2942811 w 4610101"/>
              <a:gd name="connsiteY35414" fmla="*/ 596702 h 6557032"/>
              <a:gd name="connsiteX35415" fmla="*/ 2946228 w 4610101"/>
              <a:gd name="connsiteY35415" fmla="*/ 581897 h 6557032"/>
              <a:gd name="connsiteX35416" fmla="*/ 2944223 w 4610101"/>
              <a:gd name="connsiteY35416" fmla="*/ 579481 h 6557032"/>
              <a:gd name="connsiteX35417" fmla="*/ 2942356 w 4610101"/>
              <a:gd name="connsiteY35417" fmla="*/ 575747 h 6557032"/>
              <a:gd name="connsiteX35418" fmla="*/ 2937345 w 4610101"/>
              <a:gd name="connsiteY35418" fmla="*/ 571192 h 6557032"/>
              <a:gd name="connsiteX35419" fmla="*/ 2549222 w 4610101"/>
              <a:gd name="connsiteY35419" fmla="*/ 571192 h 6557032"/>
              <a:gd name="connsiteX35420" fmla="*/ 2551044 w 4610101"/>
              <a:gd name="connsiteY35420" fmla="*/ 591236 h 6557032"/>
              <a:gd name="connsiteX35421" fmla="*/ 2545577 w 4610101"/>
              <a:gd name="connsiteY35421" fmla="*/ 587591 h 6557032"/>
              <a:gd name="connsiteX35422" fmla="*/ 2551044 w 4610101"/>
              <a:gd name="connsiteY35422" fmla="*/ 613103 h 6557032"/>
              <a:gd name="connsiteX35423" fmla="*/ 2563799 w 4610101"/>
              <a:gd name="connsiteY35423" fmla="*/ 614924 h 6557032"/>
              <a:gd name="connsiteX35424" fmla="*/ 2572910 w 4610101"/>
              <a:gd name="connsiteY35424" fmla="*/ 607635 h 6557032"/>
              <a:gd name="connsiteX35425" fmla="*/ 2560155 w 4610101"/>
              <a:gd name="connsiteY35425" fmla="*/ 587591 h 6557032"/>
              <a:gd name="connsiteX35426" fmla="*/ 2549222 w 4610101"/>
              <a:gd name="connsiteY35426" fmla="*/ 571192 h 6557032"/>
              <a:gd name="connsiteX35427" fmla="*/ 703359 w 4610101"/>
              <a:gd name="connsiteY35427" fmla="*/ 571192 h 6557032"/>
              <a:gd name="connsiteX35428" fmla="*/ 697893 w 4610101"/>
              <a:gd name="connsiteY35428" fmla="*/ 582125 h 6557032"/>
              <a:gd name="connsiteX35429" fmla="*/ 707004 w 4610101"/>
              <a:gd name="connsiteY35429" fmla="*/ 583947 h 6557032"/>
              <a:gd name="connsiteX35430" fmla="*/ 703359 w 4610101"/>
              <a:gd name="connsiteY35430" fmla="*/ 571192 h 6557032"/>
              <a:gd name="connsiteX35431" fmla="*/ 491987 w 4610101"/>
              <a:gd name="connsiteY35431" fmla="*/ 571192 h 6557032"/>
              <a:gd name="connsiteX35432" fmla="*/ 491987 w 4610101"/>
              <a:gd name="connsiteY35432" fmla="*/ 583947 h 6557032"/>
              <a:gd name="connsiteX35433" fmla="*/ 501098 w 4610101"/>
              <a:gd name="connsiteY35433" fmla="*/ 598524 h 6557032"/>
              <a:gd name="connsiteX35434" fmla="*/ 493809 w 4610101"/>
              <a:gd name="connsiteY35434" fmla="*/ 580303 h 6557032"/>
              <a:gd name="connsiteX35435" fmla="*/ 501098 w 4610101"/>
              <a:gd name="connsiteY35435" fmla="*/ 582125 h 6557032"/>
              <a:gd name="connsiteX35436" fmla="*/ 491987 w 4610101"/>
              <a:gd name="connsiteY35436" fmla="*/ 571192 h 6557032"/>
              <a:gd name="connsiteX35437" fmla="*/ 468299 w 4610101"/>
              <a:gd name="connsiteY35437" fmla="*/ 571192 h 6557032"/>
              <a:gd name="connsiteX35438" fmla="*/ 470121 w 4610101"/>
              <a:gd name="connsiteY35438" fmla="*/ 576658 h 6557032"/>
              <a:gd name="connsiteX35439" fmla="*/ 468299 w 4610101"/>
              <a:gd name="connsiteY35439" fmla="*/ 571192 h 6557032"/>
              <a:gd name="connsiteX35440" fmla="*/ 389946 w 4610101"/>
              <a:gd name="connsiteY35440" fmla="*/ 571192 h 6557032"/>
              <a:gd name="connsiteX35441" fmla="*/ 393643 w 4610101"/>
              <a:gd name="connsiteY35441" fmla="*/ 578924 h 6557032"/>
              <a:gd name="connsiteX35442" fmla="*/ 389507 w 4610101"/>
              <a:gd name="connsiteY35442" fmla="*/ 579957 h 6557032"/>
              <a:gd name="connsiteX35443" fmla="*/ 322525 w 4610101"/>
              <a:gd name="connsiteY35443" fmla="*/ 571192 h 6557032"/>
              <a:gd name="connsiteX35444" fmla="*/ 327993 w 4610101"/>
              <a:gd name="connsiteY35444" fmla="*/ 585769 h 6557032"/>
              <a:gd name="connsiteX35445" fmla="*/ 329814 w 4610101"/>
              <a:gd name="connsiteY35445" fmla="*/ 582125 h 6557032"/>
              <a:gd name="connsiteX35446" fmla="*/ 322525 w 4610101"/>
              <a:gd name="connsiteY35446" fmla="*/ 571192 h 6557032"/>
              <a:gd name="connsiteX35447" fmla="*/ 2680558 w 4610101"/>
              <a:gd name="connsiteY35447" fmla="*/ 570211 h 6557032"/>
              <a:gd name="connsiteX35448" fmla="*/ 2680802 w 4610101"/>
              <a:gd name="connsiteY35448" fmla="*/ 571672 h 6557032"/>
              <a:gd name="connsiteX35449" fmla="*/ 2680418 w 4610101"/>
              <a:gd name="connsiteY35449" fmla="*/ 571192 h 6557032"/>
              <a:gd name="connsiteX35450" fmla="*/ 3482175 w 4610101"/>
              <a:gd name="connsiteY35450" fmla="*/ 569370 h 6557032"/>
              <a:gd name="connsiteX35451" fmla="*/ 3483997 w 4610101"/>
              <a:gd name="connsiteY35451" fmla="*/ 574836 h 6557032"/>
              <a:gd name="connsiteX35452" fmla="*/ 3484838 w 4610101"/>
              <a:gd name="connsiteY35452" fmla="*/ 572403 h 6557032"/>
              <a:gd name="connsiteX35453" fmla="*/ 3484470 w 4610101"/>
              <a:gd name="connsiteY35453" fmla="*/ 575864 h 6557032"/>
              <a:gd name="connsiteX35454" fmla="*/ 3482175 w 4610101"/>
              <a:gd name="connsiteY35454" fmla="*/ 576658 h 6557032"/>
              <a:gd name="connsiteX35455" fmla="*/ 3482663 w 4610101"/>
              <a:gd name="connsiteY35455" fmla="*/ 581045 h 6557032"/>
              <a:gd name="connsiteX35456" fmla="*/ 3478917 w 4610101"/>
              <a:gd name="connsiteY35456" fmla="*/ 583126 h 6557032"/>
              <a:gd name="connsiteX35457" fmla="*/ 832734 w 4610101"/>
              <a:gd name="connsiteY35457" fmla="*/ 569370 h 6557032"/>
              <a:gd name="connsiteX35458" fmla="*/ 830912 w 4610101"/>
              <a:gd name="connsiteY35458" fmla="*/ 582125 h 6557032"/>
              <a:gd name="connsiteX35459" fmla="*/ 838200 w 4610101"/>
              <a:gd name="connsiteY35459" fmla="*/ 571192 h 6557032"/>
              <a:gd name="connsiteX35460" fmla="*/ 832734 w 4610101"/>
              <a:gd name="connsiteY35460" fmla="*/ 569370 h 6557032"/>
              <a:gd name="connsiteX35461" fmla="*/ 776246 w 4610101"/>
              <a:gd name="connsiteY35461" fmla="*/ 569370 h 6557032"/>
              <a:gd name="connsiteX35462" fmla="*/ 781713 w 4610101"/>
              <a:gd name="connsiteY35462" fmla="*/ 587591 h 6557032"/>
              <a:gd name="connsiteX35463" fmla="*/ 783535 w 4610101"/>
              <a:gd name="connsiteY35463" fmla="*/ 587591 h 6557032"/>
              <a:gd name="connsiteX35464" fmla="*/ 789003 w 4610101"/>
              <a:gd name="connsiteY35464" fmla="*/ 594880 h 6557032"/>
              <a:gd name="connsiteX35465" fmla="*/ 790824 w 4610101"/>
              <a:gd name="connsiteY35465" fmla="*/ 587591 h 6557032"/>
              <a:gd name="connsiteX35466" fmla="*/ 792646 w 4610101"/>
              <a:gd name="connsiteY35466" fmla="*/ 593058 h 6557032"/>
              <a:gd name="connsiteX35467" fmla="*/ 790824 w 4610101"/>
              <a:gd name="connsiteY35467" fmla="*/ 587591 h 6557032"/>
              <a:gd name="connsiteX35468" fmla="*/ 776246 w 4610101"/>
              <a:gd name="connsiteY35468" fmla="*/ 569370 h 6557032"/>
              <a:gd name="connsiteX35469" fmla="*/ 701537 w 4610101"/>
              <a:gd name="connsiteY35469" fmla="*/ 569370 h 6557032"/>
              <a:gd name="connsiteX35470" fmla="*/ 694249 w 4610101"/>
              <a:gd name="connsiteY35470" fmla="*/ 582125 h 6557032"/>
              <a:gd name="connsiteX35471" fmla="*/ 701537 w 4610101"/>
              <a:gd name="connsiteY35471" fmla="*/ 569370 h 6557032"/>
              <a:gd name="connsiteX35472" fmla="*/ 632296 w 4610101"/>
              <a:gd name="connsiteY35472" fmla="*/ 569370 h 6557032"/>
              <a:gd name="connsiteX35473" fmla="*/ 632296 w 4610101"/>
              <a:gd name="connsiteY35473" fmla="*/ 580303 h 6557032"/>
              <a:gd name="connsiteX35474" fmla="*/ 632296 w 4610101"/>
              <a:gd name="connsiteY35474" fmla="*/ 569370 h 6557032"/>
              <a:gd name="connsiteX35475" fmla="*/ 544830 w 4610101"/>
              <a:gd name="connsiteY35475" fmla="*/ 569370 h 6557032"/>
              <a:gd name="connsiteX35476" fmla="*/ 544830 w 4610101"/>
              <a:gd name="connsiteY35476" fmla="*/ 580303 h 6557032"/>
              <a:gd name="connsiteX35477" fmla="*/ 548475 w 4610101"/>
              <a:gd name="connsiteY35477" fmla="*/ 574836 h 6557032"/>
              <a:gd name="connsiteX35478" fmla="*/ 544830 w 4610101"/>
              <a:gd name="connsiteY35478" fmla="*/ 569370 h 6557032"/>
              <a:gd name="connsiteX35479" fmla="*/ 2871767 w 4610101"/>
              <a:gd name="connsiteY35479" fmla="*/ 569311 h 6557032"/>
              <a:gd name="connsiteX35480" fmla="*/ 2871809 w 4610101"/>
              <a:gd name="connsiteY35480" fmla="*/ 569340 h 6557032"/>
              <a:gd name="connsiteX35481" fmla="*/ 2871747 w 4610101"/>
              <a:gd name="connsiteY35481" fmla="*/ 569370 h 6557032"/>
              <a:gd name="connsiteX35482" fmla="*/ 2613909 w 4610101"/>
              <a:gd name="connsiteY35482" fmla="*/ 568004 h 6557032"/>
              <a:gd name="connsiteX35483" fmla="*/ 2615428 w 4610101"/>
              <a:gd name="connsiteY35483" fmla="*/ 568763 h 6557032"/>
              <a:gd name="connsiteX35484" fmla="*/ 2616642 w 4610101"/>
              <a:gd name="connsiteY35484" fmla="*/ 574836 h 6557032"/>
              <a:gd name="connsiteX35485" fmla="*/ 2613298 w 4610101"/>
              <a:gd name="connsiteY35485" fmla="*/ 570655 h 6557032"/>
              <a:gd name="connsiteX35486" fmla="*/ 2613210 w 4610101"/>
              <a:gd name="connsiteY35486" fmla="*/ 569750 h 6557032"/>
              <a:gd name="connsiteX35487" fmla="*/ 436761 w 4610101"/>
              <a:gd name="connsiteY35487" fmla="*/ 567827 h 6557032"/>
              <a:gd name="connsiteX35488" fmla="*/ 437309 w 4610101"/>
              <a:gd name="connsiteY35488" fmla="*/ 568740 h 6557032"/>
              <a:gd name="connsiteX35489" fmla="*/ 437322 w 4610101"/>
              <a:gd name="connsiteY35489" fmla="*/ 569370 h 6557032"/>
              <a:gd name="connsiteX35490" fmla="*/ 648580 w 4610101"/>
              <a:gd name="connsiteY35490" fmla="*/ 567777 h 6557032"/>
              <a:gd name="connsiteX35491" fmla="*/ 648466 w 4610101"/>
              <a:gd name="connsiteY35491" fmla="*/ 569826 h 6557032"/>
              <a:gd name="connsiteX35492" fmla="*/ 646872 w 4610101"/>
              <a:gd name="connsiteY35492" fmla="*/ 571192 h 6557032"/>
              <a:gd name="connsiteX35493" fmla="*/ 2875391 w 4610101"/>
              <a:gd name="connsiteY35493" fmla="*/ 567548 h 6557032"/>
              <a:gd name="connsiteX35494" fmla="*/ 2877578 w 4610101"/>
              <a:gd name="connsiteY35494" fmla="*/ 571921 h 6557032"/>
              <a:gd name="connsiteX35495" fmla="*/ 2877213 w 4610101"/>
              <a:gd name="connsiteY35495" fmla="*/ 573014 h 6557032"/>
              <a:gd name="connsiteX35496" fmla="*/ 2871809 w 4610101"/>
              <a:gd name="connsiteY35496" fmla="*/ 569340 h 6557032"/>
              <a:gd name="connsiteX35497" fmla="*/ 2430780 w 4610101"/>
              <a:gd name="connsiteY35497" fmla="*/ 567548 h 6557032"/>
              <a:gd name="connsiteX35498" fmla="*/ 2432603 w 4610101"/>
              <a:gd name="connsiteY35498" fmla="*/ 580303 h 6557032"/>
              <a:gd name="connsiteX35499" fmla="*/ 2438069 w 4610101"/>
              <a:gd name="connsiteY35499" fmla="*/ 567548 h 6557032"/>
              <a:gd name="connsiteX35500" fmla="*/ 2435792 w 4610101"/>
              <a:gd name="connsiteY35500" fmla="*/ 567548 h 6557032"/>
              <a:gd name="connsiteX35501" fmla="*/ 2430780 w 4610101"/>
              <a:gd name="connsiteY35501" fmla="*/ 567548 h 6557032"/>
              <a:gd name="connsiteX35502" fmla="*/ 2401626 w 4610101"/>
              <a:gd name="connsiteY35502" fmla="*/ 567548 h 6557032"/>
              <a:gd name="connsiteX35503" fmla="*/ 2399803 w 4610101"/>
              <a:gd name="connsiteY35503" fmla="*/ 580303 h 6557032"/>
              <a:gd name="connsiteX35504" fmla="*/ 2401626 w 4610101"/>
              <a:gd name="connsiteY35504" fmla="*/ 567548 h 6557032"/>
              <a:gd name="connsiteX35505" fmla="*/ 1989814 w 4610101"/>
              <a:gd name="connsiteY35505" fmla="*/ 567548 h 6557032"/>
              <a:gd name="connsiteX35506" fmla="*/ 1973416 w 4610101"/>
              <a:gd name="connsiteY35506" fmla="*/ 589414 h 6557032"/>
              <a:gd name="connsiteX35507" fmla="*/ 1995281 w 4610101"/>
              <a:gd name="connsiteY35507" fmla="*/ 576658 h 6557032"/>
              <a:gd name="connsiteX35508" fmla="*/ 1989814 w 4610101"/>
              <a:gd name="connsiteY35508" fmla="*/ 567548 h 6557032"/>
              <a:gd name="connsiteX35509" fmla="*/ 843667 w 4610101"/>
              <a:gd name="connsiteY35509" fmla="*/ 567548 h 6557032"/>
              <a:gd name="connsiteX35510" fmla="*/ 841845 w 4610101"/>
              <a:gd name="connsiteY35510" fmla="*/ 569370 h 6557032"/>
              <a:gd name="connsiteX35511" fmla="*/ 847311 w 4610101"/>
              <a:gd name="connsiteY35511" fmla="*/ 573014 h 6557032"/>
              <a:gd name="connsiteX35512" fmla="*/ 843667 w 4610101"/>
              <a:gd name="connsiteY35512" fmla="*/ 567548 h 6557032"/>
              <a:gd name="connsiteX35513" fmla="*/ 756203 w 4610101"/>
              <a:gd name="connsiteY35513" fmla="*/ 567548 h 6557032"/>
              <a:gd name="connsiteX35514" fmla="*/ 758025 w 4610101"/>
              <a:gd name="connsiteY35514" fmla="*/ 582125 h 6557032"/>
              <a:gd name="connsiteX35515" fmla="*/ 752345 w 4610101"/>
              <a:gd name="connsiteY35515" fmla="*/ 572129 h 6557032"/>
              <a:gd name="connsiteX35516" fmla="*/ 313414 w 4610101"/>
              <a:gd name="connsiteY35516" fmla="*/ 567548 h 6557032"/>
              <a:gd name="connsiteX35517" fmla="*/ 317059 w 4610101"/>
              <a:gd name="connsiteY35517" fmla="*/ 582125 h 6557032"/>
              <a:gd name="connsiteX35518" fmla="*/ 313414 w 4610101"/>
              <a:gd name="connsiteY35518" fmla="*/ 567548 h 6557032"/>
              <a:gd name="connsiteX35519" fmla="*/ 666202 w 4610101"/>
              <a:gd name="connsiteY35519" fmla="*/ 566252 h 6557032"/>
              <a:gd name="connsiteX35520" fmla="*/ 666688 w 4610101"/>
              <a:gd name="connsiteY35520" fmla="*/ 566865 h 6557032"/>
              <a:gd name="connsiteX35521" fmla="*/ 665094 w 4610101"/>
              <a:gd name="connsiteY35521" fmla="*/ 574836 h 6557032"/>
              <a:gd name="connsiteX35522" fmla="*/ 664321 w 4610101"/>
              <a:gd name="connsiteY35522" fmla="*/ 573401 h 6557032"/>
              <a:gd name="connsiteX35523" fmla="*/ 2622109 w 4610101"/>
              <a:gd name="connsiteY35523" fmla="*/ 565725 h 6557032"/>
              <a:gd name="connsiteX35524" fmla="*/ 2629397 w 4610101"/>
              <a:gd name="connsiteY35524" fmla="*/ 574836 h 6557032"/>
              <a:gd name="connsiteX35525" fmla="*/ 2622109 w 4610101"/>
              <a:gd name="connsiteY35525" fmla="*/ 565725 h 6557032"/>
              <a:gd name="connsiteX35526" fmla="*/ 2592954 w 4610101"/>
              <a:gd name="connsiteY35526" fmla="*/ 565725 h 6557032"/>
              <a:gd name="connsiteX35527" fmla="*/ 2589310 w 4610101"/>
              <a:gd name="connsiteY35527" fmla="*/ 580303 h 6557032"/>
              <a:gd name="connsiteX35528" fmla="*/ 2588854 w 4610101"/>
              <a:gd name="connsiteY35528" fmla="*/ 589414 h 6557032"/>
              <a:gd name="connsiteX35529" fmla="*/ 2590043 w 4610101"/>
              <a:gd name="connsiteY35529" fmla="*/ 594169 h 6557032"/>
              <a:gd name="connsiteX35530" fmla="*/ 2589310 w 4610101"/>
              <a:gd name="connsiteY35530" fmla="*/ 593058 h 6557032"/>
              <a:gd name="connsiteX35531" fmla="*/ 2591132 w 4610101"/>
              <a:gd name="connsiteY35531" fmla="*/ 598524 h 6557032"/>
              <a:gd name="connsiteX35532" fmla="*/ 2590043 w 4610101"/>
              <a:gd name="connsiteY35532" fmla="*/ 594169 h 6557032"/>
              <a:gd name="connsiteX35533" fmla="*/ 2596826 w 4610101"/>
              <a:gd name="connsiteY35533" fmla="*/ 604447 h 6557032"/>
              <a:gd name="connsiteX35534" fmla="*/ 2605709 w 4610101"/>
              <a:gd name="connsiteY35534" fmla="*/ 613103 h 6557032"/>
              <a:gd name="connsiteX35535" fmla="*/ 2607531 w 4610101"/>
              <a:gd name="connsiteY35535" fmla="*/ 600347 h 6557032"/>
              <a:gd name="connsiteX35536" fmla="*/ 2609353 w 4610101"/>
              <a:gd name="connsiteY35536" fmla="*/ 602169 h 6557032"/>
              <a:gd name="connsiteX35537" fmla="*/ 2614820 w 4610101"/>
              <a:gd name="connsiteY35537" fmla="*/ 614924 h 6557032"/>
              <a:gd name="connsiteX35538" fmla="*/ 2609353 w 4610101"/>
              <a:gd name="connsiteY35538" fmla="*/ 602169 h 6557032"/>
              <a:gd name="connsiteX35539" fmla="*/ 2600243 w 4610101"/>
              <a:gd name="connsiteY35539" fmla="*/ 589414 h 6557032"/>
              <a:gd name="connsiteX35540" fmla="*/ 2592954 w 4610101"/>
              <a:gd name="connsiteY35540" fmla="*/ 565725 h 6557032"/>
              <a:gd name="connsiteX35541" fmla="*/ 922020 w 4610101"/>
              <a:gd name="connsiteY35541" fmla="*/ 565725 h 6557032"/>
              <a:gd name="connsiteX35542" fmla="*/ 914732 w 4610101"/>
              <a:gd name="connsiteY35542" fmla="*/ 573014 h 6557032"/>
              <a:gd name="connsiteX35543" fmla="*/ 920198 w 4610101"/>
              <a:gd name="connsiteY35543" fmla="*/ 576658 h 6557032"/>
              <a:gd name="connsiteX35544" fmla="*/ 922020 w 4610101"/>
              <a:gd name="connsiteY35544" fmla="*/ 565725 h 6557032"/>
              <a:gd name="connsiteX35545" fmla="*/ 712470 w 4610101"/>
              <a:gd name="connsiteY35545" fmla="*/ 565725 h 6557032"/>
              <a:gd name="connsiteX35546" fmla="*/ 716570 w 4610101"/>
              <a:gd name="connsiteY35546" fmla="*/ 570281 h 6557032"/>
              <a:gd name="connsiteX35547" fmla="*/ 717198 w 4610101"/>
              <a:gd name="connsiteY35547" fmla="*/ 572376 h 6557032"/>
              <a:gd name="connsiteX35548" fmla="*/ 716798 w 4610101"/>
              <a:gd name="connsiteY35548" fmla="*/ 571420 h 6557032"/>
              <a:gd name="connsiteX35549" fmla="*/ 712470 w 4610101"/>
              <a:gd name="connsiteY35549" fmla="*/ 565725 h 6557032"/>
              <a:gd name="connsiteX35550" fmla="*/ 561230 w 4610101"/>
              <a:gd name="connsiteY35550" fmla="*/ 565725 h 6557032"/>
              <a:gd name="connsiteX35551" fmla="*/ 557586 w 4610101"/>
              <a:gd name="connsiteY35551" fmla="*/ 569370 h 6557032"/>
              <a:gd name="connsiteX35552" fmla="*/ 561230 w 4610101"/>
              <a:gd name="connsiteY35552" fmla="*/ 573014 h 6557032"/>
              <a:gd name="connsiteX35553" fmla="*/ 561230 w 4610101"/>
              <a:gd name="connsiteY35553" fmla="*/ 565725 h 6557032"/>
              <a:gd name="connsiteX35554" fmla="*/ 435500 w 4610101"/>
              <a:gd name="connsiteY35554" fmla="*/ 565725 h 6557032"/>
              <a:gd name="connsiteX35555" fmla="*/ 436411 w 4610101"/>
              <a:gd name="connsiteY35555" fmla="*/ 566864 h 6557032"/>
              <a:gd name="connsiteX35556" fmla="*/ 436761 w 4610101"/>
              <a:gd name="connsiteY35556" fmla="*/ 567827 h 6557032"/>
              <a:gd name="connsiteX35557" fmla="*/ 1121293 w 4610101"/>
              <a:gd name="connsiteY35557" fmla="*/ 564672 h 6557032"/>
              <a:gd name="connsiteX35558" fmla="*/ 1122388 w 4610101"/>
              <a:gd name="connsiteY35558" fmla="*/ 565726 h 6557032"/>
              <a:gd name="connsiteX35559" fmla="*/ 1120638 w 4610101"/>
              <a:gd name="connsiteY35559" fmla="*/ 565726 h 6557032"/>
              <a:gd name="connsiteX35560" fmla="*/ 1120220 w 4610101"/>
              <a:gd name="connsiteY35560" fmla="*/ 565726 h 6557032"/>
              <a:gd name="connsiteX35561" fmla="*/ 2870625 w 4610101"/>
              <a:gd name="connsiteY35561" fmla="*/ 564184 h 6557032"/>
              <a:gd name="connsiteX35562" fmla="*/ 2873140 w 4610101"/>
              <a:gd name="connsiteY35562" fmla="*/ 565190 h 6557032"/>
              <a:gd name="connsiteX35563" fmla="*/ 2871767 w 4610101"/>
              <a:gd name="connsiteY35563" fmla="*/ 569311 h 6557032"/>
              <a:gd name="connsiteX35564" fmla="*/ 2871519 w 4610101"/>
              <a:gd name="connsiteY35564" fmla="*/ 569143 h 6557032"/>
              <a:gd name="connsiteX35565" fmla="*/ 2870661 w 4610101"/>
              <a:gd name="connsiteY35565" fmla="*/ 566323 h 6557032"/>
              <a:gd name="connsiteX35566" fmla="*/ 2871747 w 4610101"/>
              <a:gd name="connsiteY35566" fmla="*/ 567548 h 6557032"/>
              <a:gd name="connsiteX35567" fmla="*/ 3261692 w 4610101"/>
              <a:gd name="connsiteY35567" fmla="*/ 563904 h 6557032"/>
              <a:gd name="connsiteX35568" fmla="*/ 3254403 w 4610101"/>
              <a:gd name="connsiteY35568" fmla="*/ 567548 h 6557032"/>
              <a:gd name="connsiteX35569" fmla="*/ 3261692 w 4610101"/>
              <a:gd name="connsiteY35569" fmla="*/ 571192 h 6557032"/>
              <a:gd name="connsiteX35570" fmla="*/ 3261692 w 4610101"/>
              <a:gd name="connsiteY35570" fmla="*/ 563904 h 6557032"/>
              <a:gd name="connsiteX35571" fmla="*/ 2587487 w 4610101"/>
              <a:gd name="connsiteY35571" fmla="*/ 563904 h 6557032"/>
              <a:gd name="connsiteX35572" fmla="*/ 2583843 w 4610101"/>
              <a:gd name="connsiteY35572" fmla="*/ 576658 h 6557032"/>
              <a:gd name="connsiteX35573" fmla="*/ 2587487 w 4610101"/>
              <a:gd name="connsiteY35573" fmla="*/ 563904 h 6557032"/>
              <a:gd name="connsiteX35574" fmla="*/ 2139233 w 4610101"/>
              <a:gd name="connsiteY35574" fmla="*/ 563904 h 6557032"/>
              <a:gd name="connsiteX35575" fmla="*/ 2144699 w 4610101"/>
              <a:gd name="connsiteY35575" fmla="*/ 576658 h 6557032"/>
              <a:gd name="connsiteX35576" fmla="*/ 2139233 w 4610101"/>
              <a:gd name="connsiteY35576" fmla="*/ 563904 h 6557032"/>
              <a:gd name="connsiteX35577" fmla="*/ 1131570 w 4610101"/>
              <a:gd name="connsiteY35577" fmla="*/ 563904 h 6557032"/>
              <a:gd name="connsiteX35578" fmla="*/ 1126104 w 4610101"/>
              <a:gd name="connsiteY35578" fmla="*/ 580303 h 6557032"/>
              <a:gd name="connsiteX35579" fmla="*/ 1137037 w 4610101"/>
              <a:gd name="connsiteY35579" fmla="*/ 583947 h 6557032"/>
              <a:gd name="connsiteX35580" fmla="*/ 1126104 w 4610101"/>
              <a:gd name="connsiteY35580" fmla="*/ 585769 h 6557032"/>
              <a:gd name="connsiteX35581" fmla="*/ 1131570 w 4610101"/>
              <a:gd name="connsiteY35581" fmla="*/ 589414 h 6557032"/>
              <a:gd name="connsiteX35582" fmla="*/ 1116993 w 4610101"/>
              <a:gd name="connsiteY35582" fmla="*/ 609459 h 6557032"/>
              <a:gd name="connsiteX35583" fmla="*/ 1127926 w 4610101"/>
              <a:gd name="connsiteY35583" fmla="*/ 596702 h 6557032"/>
              <a:gd name="connsiteX35584" fmla="*/ 1126104 w 4610101"/>
              <a:gd name="connsiteY35584" fmla="*/ 602169 h 6557032"/>
              <a:gd name="connsiteX35585" fmla="*/ 1131570 w 4610101"/>
              <a:gd name="connsiteY35585" fmla="*/ 605813 h 6557032"/>
              <a:gd name="connsiteX35586" fmla="*/ 1137037 w 4610101"/>
              <a:gd name="connsiteY35586" fmla="*/ 598524 h 6557032"/>
              <a:gd name="connsiteX35587" fmla="*/ 1133393 w 4610101"/>
              <a:gd name="connsiteY35587" fmla="*/ 596702 h 6557032"/>
              <a:gd name="connsiteX35588" fmla="*/ 1142503 w 4610101"/>
              <a:gd name="connsiteY35588" fmla="*/ 598524 h 6557032"/>
              <a:gd name="connsiteX35589" fmla="*/ 1138859 w 4610101"/>
              <a:gd name="connsiteY35589" fmla="*/ 603991 h 6557032"/>
              <a:gd name="connsiteX35590" fmla="*/ 1146148 w 4610101"/>
              <a:gd name="connsiteY35590" fmla="*/ 591236 h 6557032"/>
              <a:gd name="connsiteX35591" fmla="*/ 1138859 w 4610101"/>
              <a:gd name="connsiteY35591" fmla="*/ 585769 h 6557032"/>
              <a:gd name="connsiteX35592" fmla="*/ 1146148 w 4610101"/>
              <a:gd name="connsiteY35592" fmla="*/ 587591 h 6557032"/>
              <a:gd name="connsiteX35593" fmla="*/ 1131570 w 4610101"/>
              <a:gd name="connsiteY35593" fmla="*/ 563904 h 6557032"/>
              <a:gd name="connsiteX35594" fmla="*/ 907444 w 4610101"/>
              <a:gd name="connsiteY35594" fmla="*/ 563904 h 6557032"/>
              <a:gd name="connsiteX35595" fmla="*/ 898333 w 4610101"/>
              <a:gd name="connsiteY35595" fmla="*/ 578481 h 6557032"/>
              <a:gd name="connsiteX35596" fmla="*/ 901976 w 4610101"/>
              <a:gd name="connsiteY35596" fmla="*/ 569370 h 6557032"/>
              <a:gd name="connsiteX35597" fmla="*/ 901976 w 4610101"/>
              <a:gd name="connsiteY35597" fmla="*/ 576658 h 6557032"/>
              <a:gd name="connsiteX35598" fmla="*/ 907444 w 4610101"/>
              <a:gd name="connsiteY35598" fmla="*/ 563904 h 6557032"/>
              <a:gd name="connsiteX35599" fmla="*/ 887399 w 4610101"/>
              <a:gd name="connsiteY35599" fmla="*/ 563904 h 6557032"/>
              <a:gd name="connsiteX35600" fmla="*/ 885577 w 4610101"/>
              <a:gd name="connsiteY35600" fmla="*/ 571192 h 6557032"/>
              <a:gd name="connsiteX35601" fmla="*/ 881933 w 4610101"/>
              <a:gd name="connsiteY35601" fmla="*/ 591236 h 6557032"/>
              <a:gd name="connsiteX35602" fmla="*/ 891043 w 4610101"/>
              <a:gd name="connsiteY35602" fmla="*/ 578481 h 6557032"/>
              <a:gd name="connsiteX35603" fmla="*/ 885577 w 4610101"/>
              <a:gd name="connsiteY35603" fmla="*/ 585769 h 6557032"/>
              <a:gd name="connsiteX35604" fmla="*/ 885577 w 4610101"/>
              <a:gd name="connsiteY35604" fmla="*/ 571192 h 6557032"/>
              <a:gd name="connsiteX35605" fmla="*/ 887399 w 4610101"/>
              <a:gd name="connsiteY35605" fmla="*/ 576658 h 6557032"/>
              <a:gd name="connsiteX35606" fmla="*/ 887399 w 4610101"/>
              <a:gd name="connsiteY35606" fmla="*/ 563904 h 6557032"/>
              <a:gd name="connsiteX35607" fmla="*/ 537542 w 4610101"/>
              <a:gd name="connsiteY35607" fmla="*/ 563904 h 6557032"/>
              <a:gd name="connsiteX35608" fmla="*/ 543008 w 4610101"/>
              <a:gd name="connsiteY35608" fmla="*/ 576658 h 6557032"/>
              <a:gd name="connsiteX35609" fmla="*/ 543008 w 4610101"/>
              <a:gd name="connsiteY35609" fmla="*/ 565725 h 6557032"/>
              <a:gd name="connsiteX35610" fmla="*/ 537542 w 4610101"/>
              <a:gd name="connsiteY35610" fmla="*/ 563904 h 6557032"/>
              <a:gd name="connsiteX35611" fmla="*/ 2574049 w 4610101"/>
              <a:gd name="connsiteY35611" fmla="*/ 563448 h 6557032"/>
              <a:gd name="connsiteX35612" fmla="*/ 2571088 w 4610101"/>
              <a:gd name="connsiteY35612" fmla="*/ 565725 h 6557032"/>
              <a:gd name="connsiteX35613" fmla="*/ 2572910 w 4610101"/>
              <a:gd name="connsiteY35613" fmla="*/ 578481 h 6557032"/>
              <a:gd name="connsiteX35614" fmla="*/ 2571088 w 4610101"/>
              <a:gd name="connsiteY35614" fmla="*/ 576658 h 6557032"/>
              <a:gd name="connsiteX35615" fmla="*/ 2576554 w 4610101"/>
              <a:gd name="connsiteY35615" fmla="*/ 593058 h 6557032"/>
              <a:gd name="connsiteX35616" fmla="*/ 2576554 w 4610101"/>
              <a:gd name="connsiteY35616" fmla="*/ 574836 h 6557032"/>
              <a:gd name="connsiteX35617" fmla="*/ 2578377 w 4610101"/>
              <a:gd name="connsiteY35617" fmla="*/ 563904 h 6557032"/>
              <a:gd name="connsiteX35618" fmla="*/ 2574049 w 4610101"/>
              <a:gd name="connsiteY35618" fmla="*/ 563448 h 6557032"/>
              <a:gd name="connsiteX35619" fmla="*/ 602576 w 4610101"/>
              <a:gd name="connsiteY35619" fmla="*/ 562819 h 6557032"/>
              <a:gd name="connsiteX35620" fmla="*/ 602371 w 4610101"/>
              <a:gd name="connsiteY35620" fmla="*/ 565014 h 6557032"/>
              <a:gd name="connsiteX35621" fmla="*/ 595267 w 4610101"/>
              <a:gd name="connsiteY35621" fmla="*/ 576236 h 6557032"/>
              <a:gd name="connsiteX35622" fmla="*/ 597218 w 4610101"/>
              <a:gd name="connsiteY35622" fmla="*/ 569826 h 6557032"/>
              <a:gd name="connsiteX35623" fmla="*/ 2866923 w 4610101"/>
              <a:gd name="connsiteY35623" fmla="*/ 562105 h 6557032"/>
              <a:gd name="connsiteX35624" fmla="*/ 2869970 w 4610101"/>
              <a:gd name="connsiteY35624" fmla="*/ 562218 h 6557032"/>
              <a:gd name="connsiteX35625" fmla="*/ 2870625 w 4610101"/>
              <a:gd name="connsiteY35625" fmla="*/ 564184 h 6557032"/>
              <a:gd name="connsiteX35626" fmla="*/ 2869924 w 4610101"/>
              <a:gd name="connsiteY35626" fmla="*/ 563904 h 6557032"/>
              <a:gd name="connsiteX35627" fmla="*/ 2870661 w 4610101"/>
              <a:gd name="connsiteY35627" fmla="*/ 566323 h 6557032"/>
              <a:gd name="connsiteX35628" fmla="*/ 3320001 w 4610101"/>
              <a:gd name="connsiteY35628" fmla="*/ 562081 h 6557032"/>
              <a:gd name="connsiteX35629" fmla="*/ 3329112 w 4610101"/>
              <a:gd name="connsiteY35629" fmla="*/ 565725 h 6557032"/>
              <a:gd name="connsiteX35630" fmla="*/ 3323646 w 4610101"/>
              <a:gd name="connsiteY35630" fmla="*/ 571192 h 6557032"/>
              <a:gd name="connsiteX35631" fmla="*/ 3320001 w 4610101"/>
              <a:gd name="connsiteY35631" fmla="*/ 567548 h 6557032"/>
              <a:gd name="connsiteX35632" fmla="*/ 3321824 w 4610101"/>
              <a:gd name="connsiteY35632" fmla="*/ 591236 h 6557032"/>
              <a:gd name="connsiteX35633" fmla="*/ 3320001 w 4610101"/>
              <a:gd name="connsiteY35633" fmla="*/ 589414 h 6557032"/>
              <a:gd name="connsiteX35634" fmla="*/ 3325468 w 4610101"/>
              <a:gd name="connsiteY35634" fmla="*/ 589414 h 6557032"/>
              <a:gd name="connsiteX35635" fmla="*/ 3321824 w 4610101"/>
              <a:gd name="connsiteY35635" fmla="*/ 593058 h 6557032"/>
              <a:gd name="connsiteX35636" fmla="*/ 3340045 w 4610101"/>
              <a:gd name="connsiteY35636" fmla="*/ 596702 h 6557032"/>
              <a:gd name="connsiteX35637" fmla="*/ 3345512 w 4610101"/>
              <a:gd name="connsiteY35637" fmla="*/ 589414 h 6557032"/>
              <a:gd name="connsiteX35638" fmla="*/ 3334579 w 4610101"/>
              <a:gd name="connsiteY35638" fmla="*/ 585769 h 6557032"/>
              <a:gd name="connsiteX35639" fmla="*/ 3336401 w 4610101"/>
              <a:gd name="connsiteY35639" fmla="*/ 573014 h 6557032"/>
              <a:gd name="connsiteX35640" fmla="*/ 3343690 w 4610101"/>
              <a:gd name="connsiteY35640" fmla="*/ 573014 h 6557032"/>
              <a:gd name="connsiteX35641" fmla="*/ 3341867 w 4610101"/>
              <a:gd name="connsiteY35641" fmla="*/ 580303 h 6557032"/>
              <a:gd name="connsiteX35642" fmla="*/ 3352800 w 4610101"/>
              <a:gd name="connsiteY35642" fmla="*/ 580303 h 6557032"/>
              <a:gd name="connsiteX35643" fmla="*/ 3356445 w 4610101"/>
              <a:gd name="connsiteY35643" fmla="*/ 593058 h 6557032"/>
              <a:gd name="connsiteX35644" fmla="*/ 3363734 w 4610101"/>
              <a:gd name="connsiteY35644" fmla="*/ 576658 h 6557032"/>
              <a:gd name="connsiteX35645" fmla="*/ 3350978 w 4610101"/>
              <a:gd name="connsiteY35645" fmla="*/ 565725 h 6557032"/>
              <a:gd name="connsiteX35646" fmla="*/ 3320001 w 4610101"/>
              <a:gd name="connsiteY35646" fmla="*/ 562081 h 6557032"/>
              <a:gd name="connsiteX35647" fmla="*/ 2869924 w 4610101"/>
              <a:gd name="connsiteY35647" fmla="*/ 562081 h 6557032"/>
              <a:gd name="connsiteX35648" fmla="*/ 2870216 w 4610101"/>
              <a:gd name="connsiteY35648" fmla="*/ 562227 h 6557032"/>
              <a:gd name="connsiteX35649" fmla="*/ 2869970 w 4610101"/>
              <a:gd name="connsiteY35649" fmla="*/ 562218 h 6557032"/>
              <a:gd name="connsiteX35650" fmla="*/ 2463580 w 4610101"/>
              <a:gd name="connsiteY35650" fmla="*/ 562081 h 6557032"/>
              <a:gd name="connsiteX35651" fmla="*/ 2454469 w 4610101"/>
              <a:gd name="connsiteY35651" fmla="*/ 571192 h 6557032"/>
              <a:gd name="connsiteX35652" fmla="*/ 2467224 w 4610101"/>
              <a:gd name="connsiteY35652" fmla="*/ 563904 h 6557032"/>
              <a:gd name="connsiteX35653" fmla="*/ 2463580 w 4610101"/>
              <a:gd name="connsiteY35653" fmla="*/ 562081 h 6557032"/>
              <a:gd name="connsiteX35654" fmla="*/ 2370649 w 4610101"/>
              <a:gd name="connsiteY35654" fmla="*/ 562081 h 6557032"/>
              <a:gd name="connsiteX35655" fmla="*/ 2368827 w 4610101"/>
              <a:gd name="connsiteY35655" fmla="*/ 580303 h 6557032"/>
              <a:gd name="connsiteX35656" fmla="*/ 2370649 w 4610101"/>
              <a:gd name="connsiteY35656" fmla="*/ 562081 h 6557032"/>
              <a:gd name="connsiteX35657" fmla="*/ 2352427 w 4610101"/>
              <a:gd name="connsiteY35657" fmla="*/ 562081 h 6557032"/>
              <a:gd name="connsiteX35658" fmla="*/ 2346960 w 4610101"/>
              <a:gd name="connsiteY35658" fmla="*/ 573014 h 6557032"/>
              <a:gd name="connsiteX35659" fmla="*/ 2357893 w 4610101"/>
              <a:gd name="connsiteY35659" fmla="*/ 573014 h 6557032"/>
              <a:gd name="connsiteX35660" fmla="*/ 2352427 w 4610101"/>
              <a:gd name="connsiteY35660" fmla="*/ 562081 h 6557032"/>
              <a:gd name="connsiteX35661" fmla="*/ 739803 w 4610101"/>
              <a:gd name="connsiteY35661" fmla="*/ 562081 h 6557032"/>
              <a:gd name="connsiteX35662" fmla="*/ 740002 w 4610101"/>
              <a:gd name="connsiteY35662" fmla="*/ 562456 h 6557032"/>
              <a:gd name="connsiteX35663" fmla="*/ 739739 w 4610101"/>
              <a:gd name="connsiteY35663" fmla="*/ 562306 h 6557032"/>
              <a:gd name="connsiteX35664" fmla="*/ 2866311 w 4610101"/>
              <a:gd name="connsiteY35664" fmla="*/ 561415 h 6557032"/>
              <a:gd name="connsiteX35665" fmla="*/ 2866923 w 4610101"/>
              <a:gd name="connsiteY35665" fmla="*/ 562105 h 6557032"/>
              <a:gd name="connsiteX35666" fmla="*/ 2866280 w 4610101"/>
              <a:gd name="connsiteY35666" fmla="*/ 562081 h 6557032"/>
              <a:gd name="connsiteX35667" fmla="*/ 972050 w 4610101"/>
              <a:gd name="connsiteY35667" fmla="*/ 561344 h 6557032"/>
              <a:gd name="connsiteX35668" fmla="*/ 970536 w 4610101"/>
              <a:gd name="connsiteY35668" fmla="*/ 563220 h 6557032"/>
              <a:gd name="connsiteX35669" fmla="*/ 964088 w 4610101"/>
              <a:gd name="connsiteY35669" fmla="*/ 568420 h 6557032"/>
              <a:gd name="connsiteX35670" fmla="*/ 3239826 w 4610101"/>
              <a:gd name="connsiteY35670" fmla="*/ 560260 h 6557032"/>
              <a:gd name="connsiteX35671" fmla="*/ 3234359 w 4610101"/>
              <a:gd name="connsiteY35671" fmla="*/ 562081 h 6557032"/>
              <a:gd name="connsiteX35672" fmla="*/ 3238003 w 4610101"/>
              <a:gd name="connsiteY35672" fmla="*/ 567548 h 6557032"/>
              <a:gd name="connsiteX35673" fmla="*/ 3239826 w 4610101"/>
              <a:gd name="connsiteY35673" fmla="*/ 560260 h 6557032"/>
              <a:gd name="connsiteX35674" fmla="*/ 1188058 w 4610101"/>
              <a:gd name="connsiteY35674" fmla="*/ 560260 h 6557032"/>
              <a:gd name="connsiteX35675" fmla="*/ 1173481 w 4610101"/>
              <a:gd name="connsiteY35675" fmla="*/ 587591 h 6557032"/>
              <a:gd name="connsiteX35676" fmla="*/ 1177125 w 4610101"/>
              <a:gd name="connsiteY35676" fmla="*/ 585769 h 6557032"/>
              <a:gd name="connsiteX35677" fmla="*/ 1171658 w 4610101"/>
              <a:gd name="connsiteY35677" fmla="*/ 593058 h 6557032"/>
              <a:gd name="connsiteX35678" fmla="*/ 1180769 w 4610101"/>
              <a:gd name="connsiteY35678" fmla="*/ 585769 h 6557032"/>
              <a:gd name="connsiteX35679" fmla="*/ 1173481 w 4610101"/>
              <a:gd name="connsiteY35679" fmla="*/ 596702 h 6557032"/>
              <a:gd name="connsiteX35680" fmla="*/ 1175303 w 4610101"/>
              <a:gd name="connsiteY35680" fmla="*/ 602169 h 6557032"/>
              <a:gd name="connsiteX35681" fmla="*/ 1177125 w 4610101"/>
              <a:gd name="connsiteY35681" fmla="*/ 603991 h 6557032"/>
              <a:gd name="connsiteX35682" fmla="*/ 1186236 w 4610101"/>
              <a:gd name="connsiteY35682" fmla="*/ 587591 h 6557032"/>
              <a:gd name="connsiteX35683" fmla="*/ 1188058 w 4610101"/>
              <a:gd name="connsiteY35683" fmla="*/ 560260 h 6557032"/>
              <a:gd name="connsiteX35684" fmla="*/ 1180769 w 4610101"/>
              <a:gd name="connsiteY35684" fmla="*/ 560260 h 6557032"/>
              <a:gd name="connsiteX35685" fmla="*/ 1171658 w 4610101"/>
              <a:gd name="connsiteY35685" fmla="*/ 578481 h 6557032"/>
              <a:gd name="connsiteX35686" fmla="*/ 1180769 w 4610101"/>
              <a:gd name="connsiteY35686" fmla="*/ 560260 h 6557032"/>
              <a:gd name="connsiteX35687" fmla="*/ 1164370 w 4610101"/>
              <a:gd name="connsiteY35687" fmla="*/ 560260 h 6557032"/>
              <a:gd name="connsiteX35688" fmla="*/ 1164370 w 4610101"/>
              <a:gd name="connsiteY35688" fmla="*/ 565725 h 6557032"/>
              <a:gd name="connsiteX35689" fmla="*/ 1163993 w 4610101"/>
              <a:gd name="connsiteY35689" fmla="*/ 564971 h 6557032"/>
              <a:gd name="connsiteX35690" fmla="*/ 1163545 w 4610101"/>
              <a:gd name="connsiteY35690" fmla="*/ 561910 h 6557032"/>
              <a:gd name="connsiteX35691" fmla="*/ 1120637 w 4610101"/>
              <a:gd name="connsiteY35691" fmla="*/ 560260 h 6557032"/>
              <a:gd name="connsiteX35692" fmla="*/ 1115171 w 4610101"/>
              <a:gd name="connsiteY35692" fmla="*/ 565725 h 6557032"/>
              <a:gd name="connsiteX35693" fmla="*/ 1113349 w 4610101"/>
              <a:gd name="connsiteY35693" fmla="*/ 567548 h 6557032"/>
              <a:gd name="connsiteX35694" fmla="*/ 1113349 w 4610101"/>
              <a:gd name="connsiteY35694" fmla="*/ 573014 h 6557032"/>
              <a:gd name="connsiteX35695" fmla="*/ 1115171 w 4610101"/>
              <a:gd name="connsiteY35695" fmla="*/ 565725 h 6557032"/>
              <a:gd name="connsiteX35696" fmla="*/ 1120220 w 4610101"/>
              <a:gd name="connsiteY35696" fmla="*/ 565726 h 6557032"/>
              <a:gd name="connsiteX35697" fmla="*/ 1118132 w 4610101"/>
              <a:gd name="connsiteY35697" fmla="*/ 567776 h 6557032"/>
              <a:gd name="connsiteX35698" fmla="*/ 1113349 w 4610101"/>
              <a:gd name="connsiteY35698" fmla="*/ 580303 h 6557032"/>
              <a:gd name="connsiteX35699" fmla="*/ 1111526 w 4610101"/>
              <a:gd name="connsiteY35699" fmla="*/ 582125 h 6557032"/>
              <a:gd name="connsiteX35700" fmla="*/ 1118815 w 4610101"/>
              <a:gd name="connsiteY35700" fmla="*/ 576658 h 6557032"/>
              <a:gd name="connsiteX35701" fmla="*/ 1120637 w 4610101"/>
              <a:gd name="connsiteY35701" fmla="*/ 582125 h 6557032"/>
              <a:gd name="connsiteX35702" fmla="*/ 1124282 w 4610101"/>
              <a:gd name="connsiteY35702" fmla="*/ 573014 h 6557032"/>
              <a:gd name="connsiteX35703" fmla="*/ 1122459 w 4610101"/>
              <a:gd name="connsiteY35703" fmla="*/ 574836 h 6557032"/>
              <a:gd name="connsiteX35704" fmla="*/ 1124282 w 4610101"/>
              <a:gd name="connsiteY35704" fmla="*/ 567548 h 6557032"/>
              <a:gd name="connsiteX35705" fmla="*/ 1122388 w 4610101"/>
              <a:gd name="connsiteY35705" fmla="*/ 565726 h 6557032"/>
              <a:gd name="connsiteX35706" fmla="*/ 1126104 w 4610101"/>
              <a:gd name="connsiteY35706" fmla="*/ 565725 h 6557032"/>
              <a:gd name="connsiteX35707" fmla="*/ 1120637 w 4610101"/>
              <a:gd name="connsiteY35707" fmla="*/ 560260 h 6557032"/>
              <a:gd name="connsiteX35708" fmla="*/ 559408 w 4610101"/>
              <a:gd name="connsiteY35708" fmla="*/ 560260 h 6557032"/>
              <a:gd name="connsiteX35709" fmla="*/ 557586 w 4610101"/>
              <a:gd name="connsiteY35709" fmla="*/ 565725 h 6557032"/>
              <a:gd name="connsiteX35710" fmla="*/ 561230 w 4610101"/>
              <a:gd name="connsiteY35710" fmla="*/ 562081 h 6557032"/>
              <a:gd name="connsiteX35711" fmla="*/ 559408 w 4610101"/>
              <a:gd name="connsiteY35711" fmla="*/ 560260 h 6557032"/>
              <a:gd name="connsiteX35712" fmla="*/ 2663651 w 4610101"/>
              <a:gd name="connsiteY35712" fmla="*/ 560175 h 6557032"/>
              <a:gd name="connsiteX35713" fmla="*/ 2664019 w 4610101"/>
              <a:gd name="connsiteY35713" fmla="*/ 560260 h 6557032"/>
              <a:gd name="connsiteX35714" fmla="*/ 2662828 w 4610101"/>
              <a:gd name="connsiteY35714" fmla="*/ 566217 h 6557032"/>
              <a:gd name="connsiteX35715" fmla="*/ 2662425 w 4610101"/>
              <a:gd name="connsiteY35715" fmla="*/ 565954 h 6557032"/>
              <a:gd name="connsiteX35716" fmla="*/ 1998925 w 4610101"/>
              <a:gd name="connsiteY35716" fmla="*/ 558437 h 6557032"/>
              <a:gd name="connsiteX35717" fmla="*/ 2000747 w 4610101"/>
              <a:gd name="connsiteY35717" fmla="*/ 567548 h 6557032"/>
              <a:gd name="connsiteX35718" fmla="*/ 1998925 w 4610101"/>
              <a:gd name="connsiteY35718" fmla="*/ 558437 h 6557032"/>
              <a:gd name="connsiteX35719" fmla="*/ 1344765 w 4610101"/>
              <a:gd name="connsiteY35719" fmla="*/ 558437 h 6557032"/>
              <a:gd name="connsiteX35720" fmla="*/ 1344765 w 4610101"/>
              <a:gd name="connsiteY35720" fmla="*/ 568277 h 6557032"/>
              <a:gd name="connsiteX35721" fmla="*/ 1344309 w 4610101"/>
              <a:gd name="connsiteY35721" fmla="*/ 566637 h 6557032"/>
              <a:gd name="connsiteX35722" fmla="*/ 1344765 w 4610101"/>
              <a:gd name="connsiteY35722" fmla="*/ 558437 h 6557032"/>
              <a:gd name="connsiteX35723" fmla="*/ 1080549 w 4610101"/>
              <a:gd name="connsiteY35723" fmla="*/ 558437 h 6557032"/>
              <a:gd name="connsiteX35724" fmla="*/ 1095542 w 4610101"/>
              <a:gd name="connsiteY35724" fmla="*/ 583424 h 6557032"/>
              <a:gd name="connsiteX35725" fmla="*/ 1091028 w 4610101"/>
              <a:gd name="connsiteY35725" fmla="*/ 587592 h 6557032"/>
              <a:gd name="connsiteX35726" fmla="*/ 1090086 w 4610101"/>
              <a:gd name="connsiteY35726" fmla="*/ 589206 h 6557032"/>
              <a:gd name="connsiteX35727" fmla="*/ 1089205 w 4610101"/>
              <a:gd name="connsiteY35727" fmla="*/ 584175 h 6557032"/>
              <a:gd name="connsiteX35728" fmla="*/ 1071439 w 4610101"/>
              <a:gd name="connsiteY35728" fmla="*/ 567548 h 6557032"/>
              <a:gd name="connsiteX35729" fmla="*/ 1084194 w 4610101"/>
              <a:gd name="connsiteY35729" fmla="*/ 573014 h 6557032"/>
              <a:gd name="connsiteX35730" fmla="*/ 1080549 w 4610101"/>
              <a:gd name="connsiteY35730" fmla="*/ 558437 h 6557032"/>
              <a:gd name="connsiteX35731" fmla="*/ 903799 w 4610101"/>
              <a:gd name="connsiteY35731" fmla="*/ 558437 h 6557032"/>
              <a:gd name="connsiteX35732" fmla="*/ 901976 w 4610101"/>
              <a:gd name="connsiteY35732" fmla="*/ 565725 h 6557032"/>
              <a:gd name="connsiteX35733" fmla="*/ 907444 w 4610101"/>
              <a:gd name="connsiteY35733" fmla="*/ 560260 h 6557032"/>
              <a:gd name="connsiteX35734" fmla="*/ 905621 w 4610101"/>
              <a:gd name="connsiteY35734" fmla="*/ 560260 h 6557032"/>
              <a:gd name="connsiteX35735" fmla="*/ 903799 w 4610101"/>
              <a:gd name="connsiteY35735" fmla="*/ 558437 h 6557032"/>
              <a:gd name="connsiteX35736" fmla="*/ 741626 w 4610101"/>
              <a:gd name="connsiteY35736" fmla="*/ 558437 h 6557032"/>
              <a:gd name="connsiteX35737" fmla="*/ 747092 w 4610101"/>
              <a:gd name="connsiteY35737" fmla="*/ 562765 h 6557032"/>
              <a:gd name="connsiteX35738" fmla="*/ 747370 w 4610101"/>
              <a:gd name="connsiteY35738" fmla="*/ 562915 h 6557032"/>
              <a:gd name="connsiteX35739" fmla="*/ 748914 w 4610101"/>
              <a:gd name="connsiteY35739" fmla="*/ 567548 h 6557032"/>
              <a:gd name="connsiteX35740" fmla="*/ 743581 w 4610101"/>
              <a:gd name="connsiteY35740" fmla="*/ 564501 h 6557032"/>
              <a:gd name="connsiteX35741" fmla="*/ 710648 w 4610101"/>
              <a:gd name="connsiteY35741" fmla="*/ 558437 h 6557032"/>
              <a:gd name="connsiteX35742" fmla="*/ 712470 w 4610101"/>
              <a:gd name="connsiteY35742" fmla="*/ 576658 h 6557032"/>
              <a:gd name="connsiteX35743" fmla="*/ 717937 w 4610101"/>
              <a:gd name="connsiteY35743" fmla="*/ 574836 h 6557032"/>
              <a:gd name="connsiteX35744" fmla="*/ 717198 w 4610101"/>
              <a:gd name="connsiteY35744" fmla="*/ 572376 h 6557032"/>
              <a:gd name="connsiteX35745" fmla="*/ 719759 w 4610101"/>
              <a:gd name="connsiteY35745" fmla="*/ 578481 h 6557032"/>
              <a:gd name="connsiteX35746" fmla="*/ 710648 w 4610101"/>
              <a:gd name="connsiteY35746" fmla="*/ 558437 h 6557032"/>
              <a:gd name="connsiteX35747" fmla="*/ 544830 w 4610101"/>
              <a:gd name="connsiteY35747" fmla="*/ 558437 h 6557032"/>
              <a:gd name="connsiteX35748" fmla="*/ 544830 w 4610101"/>
              <a:gd name="connsiteY35748" fmla="*/ 565725 h 6557032"/>
              <a:gd name="connsiteX35749" fmla="*/ 550297 w 4610101"/>
              <a:gd name="connsiteY35749" fmla="*/ 567548 h 6557032"/>
              <a:gd name="connsiteX35750" fmla="*/ 544830 w 4610101"/>
              <a:gd name="connsiteY35750" fmla="*/ 558437 h 6557032"/>
              <a:gd name="connsiteX35751" fmla="*/ 508387 w 4610101"/>
              <a:gd name="connsiteY35751" fmla="*/ 558437 h 6557032"/>
              <a:gd name="connsiteX35752" fmla="*/ 514427 w 4610101"/>
              <a:gd name="connsiteY35752" fmla="*/ 562320 h 6557032"/>
              <a:gd name="connsiteX35753" fmla="*/ 514992 w 4610101"/>
              <a:gd name="connsiteY35753" fmla="*/ 562992 h 6557032"/>
              <a:gd name="connsiteX35754" fmla="*/ 519320 w 4610101"/>
              <a:gd name="connsiteY35754" fmla="*/ 573014 h 6557032"/>
              <a:gd name="connsiteX35755" fmla="*/ 512802 w 4610101"/>
              <a:gd name="connsiteY35755" fmla="*/ 567758 h 6557032"/>
              <a:gd name="connsiteX35756" fmla="*/ 1114602 w 4610101"/>
              <a:gd name="connsiteY35756" fmla="*/ 557980 h 6557032"/>
              <a:gd name="connsiteX35757" fmla="*/ 1114032 w 4610101"/>
              <a:gd name="connsiteY35757" fmla="*/ 559348 h 6557032"/>
              <a:gd name="connsiteX35758" fmla="*/ 1111526 w 4610101"/>
              <a:gd name="connsiteY35758" fmla="*/ 562081 h 6557032"/>
              <a:gd name="connsiteX35759" fmla="*/ 653522 w 4610101"/>
              <a:gd name="connsiteY35759" fmla="*/ 557896 h 6557032"/>
              <a:gd name="connsiteX35760" fmla="*/ 654161 w 4610101"/>
              <a:gd name="connsiteY35760" fmla="*/ 559576 h 6557032"/>
              <a:gd name="connsiteX35761" fmla="*/ 650516 w 4610101"/>
              <a:gd name="connsiteY35761" fmla="*/ 565725 h 6557032"/>
              <a:gd name="connsiteX35762" fmla="*/ 650972 w 4610101"/>
              <a:gd name="connsiteY35762" fmla="*/ 562994 h 6557032"/>
              <a:gd name="connsiteX35763" fmla="*/ 1147242 w 4610101"/>
              <a:gd name="connsiteY35763" fmla="*/ 557709 h 6557032"/>
              <a:gd name="connsiteX35764" fmla="*/ 1147742 w 4610101"/>
              <a:gd name="connsiteY35764" fmla="*/ 558210 h 6557032"/>
              <a:gd name="connsiteX35765" fmla="*/ 1147970 w 4610101"/>
              <a:gd name="connsiteY35765" fmla="*/ 558437 h 6557032"/>
              <a:gd name="connsiteX35766" fmla="*/ 1142503 w 4610101"/>
              <a:gd name="connsiteY35766" fmla="*/ 556616 h 6557032"/>
              <a:gd name="connsiteX35767" fmla="*/ 1137037 w 4610101"/>
              <a:gd name="connsiteY35767" fmla="*/ 560260 h 6557032"/>
              <a:gd name="connsiteX35768" fmla="*/ 1142503 w 4610101"/>
              <a:gd name="connsiteY35768" fmla="*/ 563904 h 6557032"/>
              <a:gd name="connsiteX35769" fmla="*/ 1142503 w 4610101"/>
              <a:gd name="connsiteY35769" fmla="*/ 556616 h 6557032"/>
              <a:gd name="connsiteX35770" fmla="*/ 470121 w 4610101"/>
              <a:gd name="connsiteY35770" fmla="*/ 556616 h 6557032"/>
              <a:gd name="connsiteX35771" fmla="*/ 486521 w 4610101"/>
              <a:gd name="connsiteY35771" fmla="*/ 569370 h 6557032"/>
              <a:gd name="connsiteX35772" fmla="*/ 477410 w 4610101"/>
              <a:gd name="connsiteY35772" fmla="*/ 563904 h 6557032"/>
              <a:gd name="connsiteX35773" fmla="*/ 477410 w 4610101"/>
              <a:gd name="connsiteY35773" fmla="*/ 558437 h 6557032"/>
              <a:gd name="connsiteX35774" fmla="*/ 475589 w 4610101"/>
              <a:gd name="connsiteY35774" fmla="*/ 558437 h 6557032"/>
              <a:gd name="connsiteX35775" fmla="*/ 475589 w 4610101"/>
              <a:gd name="connsiteY35775" fmla="*/ 565725 h 6557032"/>
              <a:gd name="connsiteX35776" fmla="*/ 470121 w 4610101"/>
              <a:gd name="connsiteY35776" fmla="*/ 556616 h 6557032"/>
              <a:gd name="connsiteX35777" fmla="*/ 464655 w 4610101"/>
              <a:gd name="connsiteY35777" fmla="*/ 556616 h 6557032"/>
              <a:gd name="connsiteX35778" fmla="*/ 468299 w 4610101"/>
              <a:gd name="connsiteY35778" fmla="*/ 565725 h 6557032"/>
              <a:gd name="connsiteX35779" fmla="*/ 464655 w 4610101"/>
              <a:gd name="connsiteY35779" fmla="*/ 556616 h 6557032"/>
              <a:gd name="connsiteX35780" fmla="*/ 442789 w 4610101"/>
              <a:gd name="connsiteY35780" fmla="*/ 556616 h 6557032"/>
              <a:gd name="connsiteX35781" fmla="*/ 444594 w 4610101"/>
              <a:gd name="connsiteY35781" fmla="*/ 558381 h 6557032"/>
              <a:gd name="connsiteX35782" fmla="*/ 444611 w 4610101"/>
              <a:gd name="connsiteY35782" fmla="*/ 558437 h 6557032"/>
              <a:gd name="connsiteX35783" fmla="*/ 2419354 w 4610101"/>
              <a:gd name="connsiteY35783" fmla="*/ 555156 h 6557032"/>
              <a:gd name="connsiteX35784" fmla="*/ 2419303 w 4610101"/>
              <a:gd name="connsiteY35784" fmla="*/ 556864 h 6557032"/>
              <a:gd name="connsiteX35785" fmla="*/ 2417342 w 4610101"/>
              <a:gd name="connsiteY35785" fmla="*/ 557071 h 6557032"/>
              <a:gd name="connsiteX35786" fmla="*/ 2415616 w 4610101"/>
              <a:gd name="connsiteY35786" fmla="*/ 555742 h 6557032"/>
              <a:gd name="connsiteX35787" fmla="*/ 2930056 w 4610101"/>
              <a:gd name="connsiteY35787" fmla="*/ 554792 h 6557032"/>
              <a:gd name="connsiteX35788" fmla="*/ 2930056 w 4610101"/>
              <a:gd name="connsiteY35788" fmla="*/ 560260 h 6557032"/>
              <a:gd name="connsiteX35789" fmla="*/ 2933700 w 4610101"/>
              <a:gd name="connsiteY35789" fmla="*/ 567548 h 6557032"/>
              <a:gd name="connsiteX35790" fmla="*/ 2942811 w 4610101"/>
              <a:gd name="connsiteY35790" fmla="*/ 563904 h 6557032"/>
              <a:gd name="connsiteX35791" fmla="*/ 2930056 w 4610101"/>
              <a:gd name="connsiteY35791" fmla="*/ 554792 h 6557032"/>
              <a:gd name="connsiteX35792" fmla="*/ 2640330 w 4610101"/>
              <a:gd name="connsiteY35792" fmla="*/ 554792 h 6557032"/>
              <a:gd name="connsiteX35793" fmla="*/ 2645797 w 4610101"/>
              <a:gd name="connsiteY35793" fmla="*/ 563904 h 6557032"/>
              <a:gd name="connsiteX35794" fmla="*/ 2645797 w 4610101"/>
              <a:gd name="connsiteY35794" fmla="*/ 554792 h 6557032"/>
              <a:gd name="connsiteX35795" fmla="*/ 2640330 w 4610101"/>
              <a:gd name="connsiteY35795" fmla="*/ 554792 h 6557032"/>
              <a:gd name="connsiteX35796" fmla="*/ 2314161 w 4610101"/>
              <a:gd name="connsiteY35796" fmla="*/ 554792 h 6557032"/>
              <a:gd name="connsiteX35797" fmla="*/ 2315983 w 4610101"/>
              <a:gd name="connsiteY35797" fmla="*/ 565725 h 6557032"/>
              <a:gd name="connsiteX35798" fmla="*/ 2321450 w 4610101"/>
              <a:gd name="connsiteY35798" fmla="*/ 560260 h 6557032"/>
              <a:gd name="connsiteX35799" fmla="*/ 2314161 w 4610101"/>
              <a:gd name="connsiteY35799" fmla="*/ 554792 h 6557032"/>
              <a:gd name="connsiteX35800" fmla="*/ 1198991 w 4610101"/>
              <a:gd name="connsiteY35800" fmla="*/ 554792 h 6557032"/>
              <a:gd name="connsiteX35801" fmla="*/ 1195346 w 4610101"/>
              <a:gd name="connsiteY35801" fmla="*/ 562081 h 6557032"/>
              <a:gd name="connsiteX35802" fmla="*/ 1198991 w 4610101"/>
              <a:gd name="connsiteY35802" fmla="*/ 560260 h 6557032"/>
              <a:gd name="connsiteX35803" fmla="*/ 1195346 w 4610101"/>
              <a:gd name="connsiteY35803" fmla="*/ 583947 h 6557032"/>
              <a:gd name="connsiteX35804" fmla="*/ 1197169 w 4610101"/>
              <a:gd name="connsiteY35804" fmla="*/ 580303 h 6557032"/>
              <a:gd name="connsiteX35805" fmla="*/ 1195346 w 4610101"/>
              <a:gd name="connsiteY35805" fmla="*/ 585769 h 6557032"/>
              <a:gd name="connsiteX35806" fmla="*/ 1200814 w 4610101"/>
              <a:gd name="connsiteY35806" fmla="*/ 578481 h 6557032"/>
              <a:gd name="connsiteX35807" fmla="*/ 1193525 w 4610101"/>
              <a:gd name="connsiteY35807" fmla="*/ 571192 h 6557032"/>
              <a:gd name="connsiteX35808" fmla="*/ 1200814 w 4610101"/>
              <a:gd name="connsiteY35808" fmla="*/ 576658 h 6557032"/>
              <a:gd name="connsiteX35809" fmla="*/ 1206279 w 4610101"/>
              <a:gd name="connsiteY35809" fmla="*/ 571192 h 6557032"/>
              <a:gd name="connsiteX35810" fmla="*/ 1198991 w 4610101"/>
              <a:gd name="connsiteY35810" fmla="*/ 554792 h 6557032"/>
              <a:gd name="connsiteX35811" fmla="*/ 1182592 w 4610101"/>
              <a:gd name="connsiteY35811" fmla="*/ 554792 h 6557032"/>
              <a:gd name="connsiteX35812" fmla="*/ 1182592 w 4610101"/>
              <a:gd name="connsiteY35812" fmla="*/ 565725 h 6557032"/>
              <a:gd name="connsiteX35813" fmla="*/ 1186236 w 4610101"/>
              <a:gd name="connsiteY35813" fmla="*/ 560260 h 6557032"/>
              <a:gd name="connsiteX35814" fmla="*/ 1182592 w 4610101"/>
              <a:gd name="connsiteY35814" fmla="*/ 554792 h 6557032"/>
              <a:gd name="connsiteX35815" fmla="*/ 1124282 w 4610101"/>
              <a:gd name="connsiteY35815" fmla="*/ 554792 h 6557032"/>
              <a:gd name="connsiteX35816" fmla="*/ 1129748 w 4610101"/>
              <a:gd name="connsiteY35816" fmla="*/ 560260 h 6557032"/>
              <a:gd name="connsiteX35817" fmla="*/ 1124282 w 4610101"/>
              <a:gd name="connsiteY35817" fmla="*/ 554792 h 6557032"/>
              <a:gd name="connsiteX35818" fmla="*/ 1116993 w 4610101"/>
              <a:gd name="connsiteY35818" fmla="*/ 554792 h 6557032"/>
              <a:gd name="connsiteX35819" fmla="*/ 1114602 w 4610101"/>
              <a:gd name="connsiteY35819" fmla="*/ 557980 h 6557032"/>
              <a:gd name="connsiteX35820" fmla="*/ 1115171 w 4610101"/>
              <a:gd name="connsiteY35820" fmla="*/ 556616 h 6557032"/>
              <a:gd name="connsiteX35821" fmla="*/ 1111526 w 4610101"/>
              <a:gd name="connsiteY35821" fmla="*/ 562081 h 6557032"/>
              <a:gd name="connsiteX35822" fmla="*/ 1116993 w 4610101"/>
              <a:gd name="connsiteY35822" fmla="*/ 554792 h 6557032"/>
              <a:gd name="connsiteX35823" fmla="*/ 829089 w 4610101"/>
              <a:gd name="connsiteY35823" fmla="*/ 554792 h 6557032"/>
              <a:gd name="connsiteX35824" fmla="*/ 829187 w 4610101"/>
              <a:gd name="connsiteY35824" fmla="*/ 554923 h 6557032"/>
              <a:gd name="connsiteX35825" fmla="*/ 829089 w 4610101"/>
              <a:gd name="connsiteY35825" fmla="*/ 558437 h 6557032"/>
              <a:gd name="connsiteX35826" fmla="*/ 828144 w 4610101"/>
              <a:gd name="connsiteY35826" fmla="*/ 558437 h 6557032"/>
              <a:gd name="connsiteX35827" fmla="*/ 3436621 w 4610101"/>
              <a:gd name="connsiteY35827" fmla="*/ 554565 h 6557032"/>
              <a:gd name="connsiteX35828" fmla="*/ 3432976 w 4610101"/>
              <a:gd name="connsiteY35828" fmla="*/ 554792 h 6557032"/>
              <a:gd name="connsiteX35829" fmla="*/ 3434798 w 4610101"/>
              <a:gd name="connsiteY35829" fmla="*/ 560260 h 6557032"/>
              <a:gd name="connsiteX35830" fmla="*/ 3440265 w 4610101"/>
              <a:gd name="connsiteY35830" fmla="*/ 558437 h 6557032"/>
              <a:gd name="connsiteX35831" fmla="*/ 3436621 w 4610101"/>
              <a:gd name="connsiteY35831" fmla="*/ 554565 h 6557032"/>
              <a:gd name="connsiteX35832" fmla="*/ 778791 w 4610101"/>
              <a:gd name="connsiteY35832" fmla="*/ 554174 h 6557032"/>
              <a:gd name="connsiteX35833" fmla="*/ 780056 w 4610101"/>
              <a:gd name="connsiteY35833" fmla="*/ 556284 h 6557032"/>
              <a:gd name="connsiteX35834" fmla="*/ 778659 w 4610101"/>
              <a:gd name="connsiteY35834" fmla="*/ 555236 h 6557032"/>
              <a:gd name="connsiteX35835" fmla="*/ 778457 w 4610101"/>
              <a:gd name="connsiteY35835" fmla="*/ 554460 h 6557032"/>
              <a:gd name="connsiteX35836" fmla="*/ 2374293 w 4610101"/>
              <a:gd name="connsiteY35836" fmla="*/ 552970 h 6557032"/>
              <a:gd name="connsiteX35837" fmla="*/ 2377937 w 4610101"/>
              <a:gd name="connsiteY35837" fmla="*/ 573014 h 6557032"/>
              <a:gd name="connsiteX35838" fmla="*/ 2381582 w 4610101"/>
              <a:gd name="connsiteY35838" fmla="*/ 562081 h 6557032"/>
              <a:gd name="connsiteX35839" fmla="*/ 2374293 w 4610101"/>
              <a:gd name="connsiteY35839" fmla="*/ 552970 h 6557032"/>
              <a:gd name="connsiteX35840" fmla="*/ 1893239 w 4610101"/>
              <a:gd name="connsiteY35840" fmla="*/ 552970 h 6557032"/>
              <a:gd name="connsiteX35841" fmla="*/ 1893239 w 4610101"/>
              <a:gd name="connsiteY35841" fmla="*/ 560260 h 6557032"/>
              <a:gd name="connsiteX35842" fmla="*/ 1904172 w 4610101"/>
              <a:gd name="connsiteY35842" fmla="*/ 554792 h 6557032"/>
              <a:gd name="connsiteX35843" fmla="*/ 1893239 w 4610101"/>
              <a:gd name="connsiteY35843" fmla="*/ 552970 h 6557032"/>
              <a:gd name="connsiteX35844" fmla="*/ 1127926 w 4610101"/>
              <a:gd name="connsiteY35844" fmla="*/ 552970 h 6557032"/>
              <a:gd name="connsiteX35845" fmla="*/ 1131570 w 4610101"/>
              <a:gd name="connsiteY35845" fmla="*/ 556616 h 6557032"/>
              <a:gd name="connsiteX35846" fmla="*/ 1127926 w 4610101"/>
              <a:gd name="connsiteY35846" fmla="*/ 552970 h 6557032"/>
              <a:gd name="connsiteX35847" fmla="*/ 916555 w 4610101"/>
              <a:gd name="connsiteY35847" fmla="*/ 552970 h 6557032"/>
              <a:gd name="connsiteX35848" fmla="*/ 905621 w 4610101"/>
              <a:gd name="connsiteY35848" fmla="*/ 574836 h 6557032"/>
              <a:gd name="connsiteX35849" fmla="*/ 916555 w 4610101"/>
              <a:gd name="connsiteY35849" fmla="*/ 565725 h 6557032"/>
              <a:gd name="connsiteX35850" fmla="*/ 912909 w 4610101"/>
              <a:gd name="connsiteY35850" fmla="*/ 562081 h 6557032"/>
              <a:gd name="connsiteX35851" fmla="*/ 918376 w 4610101"/>
              <a:gd name="connsiteY35851" fmla="*/ 556616 h 6557032"/>
              <a:gd name="connsiteX35852" fmla="*/ 920198 w 4610101"/>
              <a:gd name="connsiteY35852" fmla="*/ 563904 h 6557032"/>
              <a:gd name="connsiteX35853" fmla="*/ 918376 w 4610101"/>
              <a:gd name="connsiteY35853" fmla="*/ 556616 h 6557032"/>
              <a:gd name="connsiteX35854" fmla="*/ 916555 w 4610101"/>
              <a:gd name="connsiteY35854" fmla="*/ 552970 h 6557032"/>
              <a:gd name="connsiteX35855" fmla="*/ 2566504 w 4610101"/>
              <a:gd name="connsiteY35855" fmla="*/ 551746 h 6557032"/>
              <a:gd name="connsiteX35856" fmla="*/ 2565621 w 4610101"/>
              <a:gd name="connsiteY35856" fmla="*/ 556616 h 6557032"/>
              <a:gd name="connsiteX35857" fmla="*/ 2572910 w 4610101"/>
              <a:gd name="connsiteY35857" fmla="*/ 556616 h 6557032"/>
              <a:gd name="connsiteX35858" fmla="*/ 2568583 w 4610101"/>
              <a:gd name="connsiteY35858" fmla="*/ 551832 h 6557032"/>
              <a:gd name="connsiteX35859" fmla="*/ 2566504 w 4610101"/>
              <a:gd name="connsiteY35859" fmla="*/ 551746 h 6557032"/>
              <a:gd name="connsiteX35860" fmla="*/ 2924590 w 4610101"/>
              <a:gd name="connsiteY35860" fmla="*/ 551148 h 6557032"/>
              <a:gd name="connsiteX35861" fmla="*/ 2910012 w 4610101"/>
              <a:gd name="connsiteY35861" fmla="*/ 567548 h 6557032"/>
              <a:gd name="connsiteX35862" fmla="*/ 2922767 w 4610101"/>
              <a:gd name="connsiteY35862" fmla="*/ 567548 h 6557032"/>
              <a:gd name="connsiteX35863" fmla="*/ 2924590 w 4610101"/>
              <a:gd name="connsiteY35863" fmla="*/ 551148 h 6557032"/>
              <a:gd name="connsiteX35864" fmla="*/ 2667663 w 4610101"/>
              <a:gd name="connsiteY35864" fmla="*/ 551148 h 6557032"/>
              <a:gd name="connsiteX35865" fmla="*/ 2665841 w 4610101"/>
              <a:gd name="connsiteY35865" fmla="*/ 560260 h 6557032"/>
              <a:gd name="connsiteX35866" fmla="*/ 2667663 w 4610101"/>
              <a:gd name="connsiteY35866" fmla="*/ 551148 h 6557032"/>
              <a:gd name="connsiteX35867" fmla="*/ 2478157 w 4610101"/>
              <a:gd name="connsiteY35867" fmla="*/ 551148 h 6557032"/>
              <a:gd name="connsiteX35868" fmla="*/ 2472690 w 4610101"/>
              <a:gd name="connsiteY35868" fmla="*/ 556616 h 6557032"/>
              <a:gd name="connsiteX35869" fmla="*/ 2478157 w 4610101"/>
              <a:gd name="connsiteY35869" fmla="*/ 551148 h 6557032"/>
              <a:gd name="connsiteX35870" fmla="*/ 2088212 w 4610101"/>
              <a:gd name="connsiteY35870" fmla="*/ 551148 h 6557032"/>
              <a:gd name="connsiteX35871" fmla="*/ 2084568 w 4610101"/>
              <a:gd name="connsiteY35871" fmla="*/ 552970 h 6557032"/>
              <a:gd name="connsiteX35872" fmla="*/ 2091856 w 4610101"/>
              <a:gd name="connsiteY35872" fmla="*/ 565725 h 6557032"/>
              <a:gd name="connsiteX35873" fmla="*/ 2088212 w 4610101"/>
              <a:gd name="connsiteY35873" fmla="*/ 551148 h 6557032"/>
              <a:gd name="connsiteX35874" fmla="*/ 1876839 w 4610101"/>
              <a:gd name="connsiteY35874" fmla="*/ 551148 h 6557032"/>
              <a:gd name="connsiteX35875" fmla="*/ 1875017 w 4610101"/>
              <a:gd name="connsiteY35875" fmla="*/ 552970 h 6557032"/>
              <a:gd name="connsiteX35876" fmla="*/ 1875017 w 4610101"/>
              <a:gd name="connsiteY35876" fmla="*/ 558437 h 6557032"/>
              <a:gd name="connsiteX35877" fmla="*/ 1878662 w 4610101"/>
              <a:gd name="connsiteY35877" fmla="*/ 560260 h 6557032"/>
              <a:gd name="connsiteX35878" fmla="*/ 1876839 w 4610101"/>
              <a:gd name="connsiteY35878" fmla="*/ 551148 h 6557032"/>
              <a:gd name="connsiteX35879" fmla="*/ 1111526 w 4610101"/>
              <a:gd name="connsiteY35879" fmla="*/ 551148 h 6557032"/>
              <a:gd name="connsiteX35880" fmla="*/ 1106060 w 4610101"/>
              <a:gd name="connsiteY35880" fmla="*/ 558437 h 6557032"/>
              <a:gd name="connsiteX35881" fmla="*/ 1111526 w 4610101"/>
              <a:gd name="connsiteY35881" fmla="*/ 551148 h 6557032"/>
              <a:gd name="connsiteX35882" fmla="*/ 491039 w 4610101"/>
              <a:gd name="connsiteY35882" fmla="*/ 551105 h 6557032"/>
              <a:gd name="connsiteX35883" fmla="*/ 496707 w 4610101"/>
              <a:gd name="connsiteY35883" fmla="*/ 557668 h 6557032"/>
              <a:gd name="connsiteX35884" fmla="*/ 501098 w 4610101"/>
              <a:gd name="connsiteY35884" fmla="*/ 567548 h 6557032"/>
              <a:gd name="connsiteX35885" fmla="*/ 734686 w 4610101"/>
              <a:gd name="connsiteY35885" fmla="*/ 549954 h 6557032"/>
              <a:gd name="connsiteX35886" fmla="*/ 735475 w 4610101"/>
              <a:gd name="connsiteY35886" fmla="*/ 551148 h 6557032"/>
              <a:gd name="connsiteX35887" fmla="*/ 735237 w 4610101"/>
              <a:gd name="connsiteY35887" fmla="*/ 553813 h 6557032"/>
              <a:gd name="connsiteX35888" fmla="*/ 263953 w 4610101"/>
              <a:gd name="connsiteY35888" fmla="*/ 549819 h 6557032"/>
              <a:gd name="connsiteX35889" fmla="*/ 266721 w 4610101"/>
              <a:gd name="connsiteY35889" fmla="*/ 553654 h 6557032"/>
              <a:gd name="connsiteX35890" fmla="*/ 271889 w 4610101"/>
              <a:gd name="connsiteY35890" fmla="*/ 566622 h 6557032"/>
              <a:gd name="connsiteX35891" fmla="*/ 271049 w 4610101"/>
              <a:gd name="connsiteY35891" fmla="*/ 565726 h 6557032"/>
              <a:gd name="connsiteX35892" fmla="*/ 263875 w 4610101"/>
              <a:gd name="connsiteY35892" fmla="*/ 553255 h 6557032"/>
              <a:gd name="connsiteX35893" fmla="*/ 3392888 w 4610101"/>
              <a:gd name="connsiteY35893" fmla="*/ 549326 h 6557032"/>
              <a:gd name="connsiteX35894" fmla="*/ 3378311 w 4610101"/>
              <a:gd name="connsiteY35894" fmla="*/ 562081 h 6557032"/>
              <a:gd name="connsiteX35895" fmla="*/ 3385600 w 4610101"/>
              <a:gd name="connsiteY35895" fmla="*/ 576658 h 6557032"/>
              <a:gd name="connsiteX35896" fmla="*/ 3392888 w 4610101"/>
              <a:gd name="connsiteY35896" fmla="*/ 573014 h 6557032"/>
              <a:gd name="connsiteX35897" fmla="*/ 3392888 w 4610101"/>
              <a:gd name="connsiteY35897" fmla="*/ 576658 h 6557032"/>
              <a:gd name="connsiteX35898" fmla="*/ 3400177 w 4610101"/>
              <a:gd name="connsiteY35898" fmla="*/ 563904 h 6557032"/>
              <a:gd name="connsiteX35899" fmla="*/ 3400177 w 4610101"/>
              <a:gd name="connsiteY35899" fmla="*/ 574836 h 6557032"/>
              <a:gd name="connsiteX35900" fmla="*/ 3416577 w 4610101"/>
              <a:gd name="connsiteY35900" fmla="*/ 585769 h 6557032"/>
              <a:gd name="connsiteX35901" fmla="*/ 3427510 w 4610101"/>
              <a:gd name="connsiteY35901" fmla="*/ 583947 h 6557032"/>
              <a:gd name="connsiteX35902" fmla="*/ 3425687 w 4610101"/>
              <a:gd name="connsiteY35902" fmla="*/ 587591 h 6557032"/>
              <a:gd name="connsiteX35903" fmla="*/ 3463953 w 4610101"/>
              <a:gd name="connsiteY35903" fmla="*/ 554792 h 6557032"/>
              <a:gd name="connsiteX35904" fmla="*/ 3453020 w 4610101"/>
              <a:gd name="connsiteY35904" fmla="*/ 567548 h 6557032"/>
              <a:gd name="connsiteX35905" fmla="*/ 3447553 w 4610101"/>
              <a:gd name="connsiteY35905" fmla="*/ 562081 h 6557032"/>
              <a:gd name="connsiteX35906" fmla="*/ 3427510 w 4610101"/>
              <a:gd name="connsiteY35906" fmla="*/ 573014 h 6557032"/>
              <a:gd name="connsiteX35907" fmla="*/ 3432976 w 4610101"/>
              <a:gd name="connsiteY35907" fmla="*/ 571192 h 6557032"/>
              <a:gd name="connsiteX35908" fmla="*/ 3429332 w 4610101"/>
              <a:gd name="connsiteY35908" fmla="*/ 560260 h 6557032"/>
              <a:gd name="connsiteX35909" fmla="*/ 3422043 w 4610101"/>
              <a:gd name="connsiteY35909" fmla="*/ 567548 h 6557032"/>
              <a:gd name="connsiteX35910" fmla="*/ 3418399 w 4610101"/>
              <a:gd name="connsiteY35910" fmla="*/ 551148 h 6557032"/>
              <a:gd name="connsiteX35911" fmla="*/ 3396532 w 4610101"/>
              <a:gd name="connsiteY35911" fmla="*/ 556616 h 6557032"/>
              <a:gd name="connsiteX35912" fmla="*/ 3394710 w 4610101"/>
              <a:gd name="connsiteY35912" fmla="*/ 565725 h 6557032"/>
              <a:gd name="connsiteX35913" fmla="*/ 3392888 w 4610101"/>
              <a:gd name="connsiteY35913" fmla="*/ 549326 h 6557032"/>
              <a:gd name="connsiteX35914" fmla="*/ 3208849 w 4610101"/>
              <a:gd name="connsiteY35914" fmla="*/ 549326 h 6557032"/>
              <a:gd name="connsiteX35915" fmla="*/ 3196093 w 4610101"/>
              <a:gd name="connsiteY35915" fmla="*/ 587591 h 6557032"/>
              <a:gd name="connsiteX35916" fmla="*/ 3207027 w 4610101"/>
              <a:gd name="connsiteY35916" fmla="*/ 585769 h 6557032"/>
              <a:gd name="connsiteX35917" fmla="*/ 3205204 w 4610101"/>
              <a:gd name="connsiteY35917" fmla="*/ 589414 h 6557032"/>
              <a:gd name="connsiteX35918" fmla="*/ 3197916 w 4610101"/>
              <a:gd name="connsiteY35918" fmla="*/ 589414 h 6557032"/>
              <a:gd name="connsiteX35919" fmla="*/ 3199738 w 4610101"/>
              <a:gd name="connsiteY35919" fmla="*/ 593058 h 6557032"/>
              <a:gd name="connsiteX35920" fmla="*/ 3203382 w 4610101"/>
              <a:gd name="connsiteY35920" fmla="*/ 593058 h 6557032"/>
              <a:gd name="connsiteX35921" fmla="*/ 3203382 w 4610101"/>
              <a:gd name="connsiteY35921" fmla="*/ 600347 h 6557032"/>
              <a:gd name="connsiteX35922" fmla="*/ 3205204 w 4610101"/>
              <a:gd name="connsiteY35922" fmla="*/ 591236 h 6557032"/>
              <a:gd name="connsiteX35923" fmla="*/ 3217960 w 4610101"/>
              <a:gd name="connsiteY35923" fmla="*/ 593058 h 6557032"/>
              <a:gd name="connsiteX35924" fmla="*/ 3207027 w 4610101"/>
              <a:gd name="connsiteY35924" fmla="*/ 603991 h 6557032"/>
              <a:gd name="connsiteX35925" fmla="*/ 3217960 w 4610101"/>
              <a:gd name="connsiteY35925" fmla="*/ 602169 h 6557032"/>
              <a:gd name="connsiteX35926" fmla="*/ 3219782 w 4610101"/>
              <a:gd name="connsiteY35926" fmla="*/ 605813 h 6557032"/>
              <a:gd name="connsiteX35927" fmla="*/ 3243470 w 4610101"/>
              <a:gd name="connsiteY35927" fmla="*/ 578481 h 6557032"/>
              <a:gd name="connsiteX35928" fmla="*/ 3234359 w 4610101"/>
              <a:gd name="connsiteY35928" fmla="*/ 576658 h 6557032"/>
              <a:gd name="connsiteX35929" fmla="*/ 3234359 w 4610101"/>
              <a:gd name="connsiteY35929" fmla="*/ 582125 h 6557032"/>
              <a:gd name="connsiteX35930" fmla="*/ 3214315 w 4610101"/>
              <a:gd name="connsiteY35930" fmla="*/ 563904 h 6557032"/>
              <a:gd name="connsiteX35931" fmla="*/ 3219782 w 4610101"/>
              <a:gd name="connsiteY35931" fmla="*/ 554792 h 6557032"/>
              <a:gd name="connsiteX35932" fmla="*/ 3208849 w 4610101"/>
              <a:gd name="connsiteY35932" fmla="*/ 549326 h 6557032"/>
              <a:gd name="connsiteX35933" fmla="*/ 2868102 w 4610101"/>
              <a:gd name="connsiteY35933" fmla="*/ 549326 h 6557032"/>
              <a:gd name="connsiteX35934" fmla="*/ 2868649 w 4610101"/>
              <a:gd name="connsiteY35934" fmla="*/ 550055 h 6557032"/>
              <a:gd name="connsiteX35935" fmla="*/ 2868102 w 4610101"/>
              <a:gd name="connsiteY35935" fmla="*/ 556616 h 6557032"/>
              <a:gd name="connsiteX35936" fmla="*/ 2866764 w 4610101"/>
              <a:gd name="connsiteY35936" fmla="*/ 555828 h 6557032"/>
              <a:gd name="connsiteX35937" fmla="*/ 2527356 w 4610101"/>
              <a:gd name="connsiteY35937" fmla="*/ 549326 h 6557032"/>
              <a:gd name="connsiteX35938" fmla="*/ 2521889 w 4610101"/>
              <a:gd name="connsiteY35938" fmla="*/ 554792 h 6557032"/>
              <a:gd name="connsiteX35939" fmla="*/ 2527356 w 4610101"/>
              <a:gd name="connsiteY35939" fmla="*/ 549326 h 6557032"/>
              <a:gd name="connsiteX35940" fmla="*/ 2441713 w 4610101"/>
              <a:gd name="connsiteY35940" fmla="*/ 549326 h 6557032"/>
              <a:gd name="connsiteX35941" fmla="*/ 2432603 w 4610101"/>
              <a:gd name="connsiteY35941" fmla="*/ 551148 h 6557032"/>
              <a:gd name="connsiteX35942" fmla="*/ 2438069 w 4610101"/>
              <a:gd name="connsiteY35942" fmla="*/ 560260 h 6557032"/>
              <a:gd name="connsiteX35943" fmla="*/ 2441713 w 4610101"/>
              <a:gd name="connsiteY35943" fmla="*/ 549326 h 6557032"/>
              <a:gd name="connsiteX35944" fmla="*/ 2381582 w 4610101"/>
              <a:gd name="connsiteY35944" fmla="*/ 549326 h 6557032"/>
              <a:gd name="connsiteX35945" fmla="*/ 2383404 w 4610101"/>
              <a:gd name="connsiteY35945" fmla="*/ 558437 h 6557032"/>
              <a:gd name="connsiteX35946" fmla="*/ 2383404 w 4610101"/>
              <a:gd name="connsiteY35946" fmla="*/ 549326 h 6557032"/>
              <a:gd name="connsiteX35947" fmla="*/ 2381582 w 4610101"/>
              <a:gd name="connsiteY35947" fmla="*/ 549326 h 6557032"/>
              <a:gd name="connsiteX35948" fmla="*/ 2365182 w 4610101"/>
              <a:gd name="connsiteY35948" fmla="*/ 549326 h 6557032"/>
              <a:gd name="connsiteX35949" fmla="*/ 2357893 w 4610101"/>
              <a:gd name="connsiteY35949" fmla="*/ 554792 h 6557032"/>
              <a:gd name="connsiteX35950" fmla="*/ 2361538 w 4610101"/>
              <a:gd name="connsiteY35950" fmla="*/ 578481 h 6557032"/>
              <a:gd name="connsiteX35951" fmla="*/ 2367004 w 4610101"/>
              <a:gd name="connsiteY35951" fmla="*/ 580303 h 6557032"/>
              <a:gd name="connsiteX35952" fmla="*/ 2367004 w 4610101"/>
              <a:gd name="connsiteY35952" fmla="*/ 558437 h 6557032"/>
              <a:gd name="connsiteX35953" fmla="*/ 2365182 w 4610101"/>
              <a:gd name="connsiteY35953" fmla="*/ 549326 h 6557032"/>
              <a:gd name="connsiteX35954" fmla="*/ 987143 w 4610101"/>
              <a:gd name="connsiteY35954" fmla="*/ 549239 h 6557032"/>
              <a:gd name="connsiteX35955" fmla="*/ 986333 w 4610101"/>
              <a:gd name="connsiteY35955" fmla="*/ 552194 h 6557032"/>
              <a:gd name="connsiteX35956" fmla="*/ 985796 w 4610101"/>
              <a:gd name="connsiteY35956" fmla="*/ 552970 h 6557032"/>
              <a:gd name="connsiteX35957" fmla="*/ 2937345 w 4610101"/>
              <a:gd name="connsiteY35957" fmla="*/ 547504 h 6557032"/>
              <a:gd name="connsiteX35958" fmla="*/ 2951922 w 4610101"/>
              <a:gd name="connsiteY35958" fmla="*/ 563904 h 6557032"/>
              <a:gd name="connsiteX35959" fmla="*/ 2950100 w 4610101"/>
              <a:gd name="connsiteY35959" fmla="*/ 552970 h 6557032"/>
              <a:gd name="connsiteX35960" fmla="*/ 2937345 w 4610101"/>
              <a:gd name="connsiteY35960" fmla="*/ 547504 h 6557032"/>
              <a:gd name="connsiteX35961" fmla="*/ 2512778 w 4610101"/>
              <a:gd name="connsiteY35961" fmla="*/ 547504 h 6557032"/>
              <a:gd name="connsiteX35962" fmla="*/ 2510956 w 4610101"/>
              <a:gd name="connsiteY35962" fmla="*/ 554792 h 6557032"/>
              <a:gd name="connsiteX35963" fmla="*/ 2520067 w 4610101"/>
              <a:gd name="connsiteY35963" fmla="*/ 556616 h 6557032"/>
              <a:gd name="connsiteX35964" fmla="*/ 2512778 w 4610101"/>
              <a:gd name="connsiteY35964" fmla="*/ 547504 h 6557032"/>
              <a:gd name="connsiteX35965" fmla="*/ 1233612 w 4610101"/>
              <a:gd name="connsiteY35965" fmla="*/ 547504 h 6557032"/>
              <a:gd name="connsiteX35966" fmla="*/ 1229969 w 4610101"/>
              <a:gd name="connsiteY35966" fmla="*/ 551148 h 6557032"/>
              <a:gd name="connsiteX35967" fmla="*/ 1233612 w 4610101"/>
              <a:gd name="connsiteY35967" fmla="*/ 547504 h 6557032"/>
              <a:gd name="connsiteX35968" fmla="*/ 1213568 w 4610101"/>
              <a:gd name="connsiteY35968" fmla="*/ 547504 h 6557032"/>
              <a:gd name="connsiteX35969" fmla="*/ 1211747 w 4610101"/>
              <a:gd name="connsiteY35969" fmla="*/ 554792 h 6557032"/>
              <a:gd name="connsiteX35970" fmla="*/ 1213568 w 4610101"/>
              <a:gd name="connsiteY35970" fmla="*/ 547504 h 6557032"/>
              <a:gd name="connsiteX35971" fmla="*/ 1102416 w 4610101"/>
              <a:gd name="connsiteY35971" fmla="*/ 547504 h 6557032"/>
              <a:gd name="connsiteX35972" fmla="*/ 1106060 w 4610101"/>
              <a:gd name="connsiteY35972" fmla="*/ 549326 h 6557032"/>
              <a:gd name="connsiteX35973" fmla="*/ 1102416 w 4610101"/>
              <a:gd name="connsiteY35973" fmla="*/ 547504 h 6557032"/>
              <a:gd name="connsiteX35974" fmla="*/ 982152 w 4610101"/>
              <a:gd name="connsiteY35974" fmla="*/ 547504 h 6557032"/>
              <a:gd name="connsiteX35975" fmla="*/ 976230 w 4610101"/>
              <a:gd name="connsiteY35975" fmla="*/ 553427 h 6557032"/>
              <a:gd name="connsiteX35976" fmla="*/ 971636 w 4610101"/>
              <a:gd name="connsiteY35976" fmla="*/ 555120 h 6557032"/>
              <a:gd name="connsiteX35977" fmla="*/ 936598 w 4610101"/>
              <a:gd name="connsiteY35977" fmla="*/ 547504 h 6557032"/>
              <a:gd name="connsiteX35978" fmla="*/ 922020 w 4610101"/>
              <a:gd name="connsiteY35978" fmla="*/ 587591 h 6557032"/>
              <a:gd name="connsiteX35979" fmla="*/ 936598 w 4610101"/>
              <a:gd name="connsiteY35979" fmla="*/ 547504 h 6557032"/>
              <a:gd name="connsiteX35980" fmla="*/ 816334 w 4610101"/>
              <a:gd name="connsiteY35980" fmla="*/ 547504 h 6557032"/>
              <a:gd name="connsiteX35981" fmla="*/ 816334 w 4610101"/>
              <a:gd name="connsiteY35981" fmla="*/ 562081 h 6557032"/>
              <a:gd name="connsiteX35982" fmla="*/ 819979 w 4610101"/>
              <a:gd name="connsiteY35982" fmla="*/ 558437 h 6557032"/>
              <a:gd name="connsiteX35983" fmla="*/ 816334 w 4610101"/>
              <a:gd name="connsiteY35983" fmla="*/ 547504 h 6557032"/>
              <a:gd name="connsiteX35984" fmla="*/ 734336 w 4610101"/>
              <a:gd name="connsiteY35984" fmla="*/ 547504 h 6557032"/>
              <a:gd name="connsiteX35985" fmla="*/ 734686 w 4610101"/>
              <a:gd name="connsiteY35985" fmla="*/ 549954 h 6557032"/>
              <a:gd name="connsiteX35986" fmla="*/ 733383 w 4610101"/>
              <a:gd name="connsiteY35986" fmla="*/ 547981 h 6557032"/>
              <a:gd name="connsiteX35987" fmla="*/ 317059 w 4610101"/>
              <a:gd name="connsiteY35987" fmla="*/ 547504 h 6557032"/>
              <a:gd name="connsiteX35988" fmla="*/ 317059 w 4610101"/>
              <a:gd name="connsiteY35988" fmla="*/ 573014 h 6557032"/>
              <a:gd name="connsiteX35989" fmla="*/ 318882 w 4610101"/>
              <a:gd name="connsiteY35989" fmla="*/ 558437 h 6557032"/>
              <a:gd name="connsiteX35990" fmla="*/ 335280 w 4610101"/>
              <a:gd name="connsiteY35990" fmla="*/ 587591 h 6557032"/>
              <a:gd name="connsiteX35991" fmla="*/ 320703 w 4610101"/>
              <a:gd name="connsiteY35991" fmla="*/ 552970 h 6557032"/>
              <a:gd name="connsiteX35992" fmla="*/ 317059 w 4610101"/>
              <a:gd name="connsiteY35992" fmla="*/ 547504 h 6557032"/>
              <a:gd name="connsiteX35993" fmla="*/ 2334661 w 4610101"/>
              <a:gd name="connsiteY35993" fmla="*/ 547276 h 6557032"/>
              <a:gd name="connsiteX35994" fmla="*/ 2332383 w 4610101"/>
              <a:gd name="connsiteY35994" fmla="*/ 554792 h 6557032"/>
              <a:gd name="connsiteX35995" fmla="*/ 2339672 w 4610101"/>
              <a:gd name="connsiteY35995" fmla="*/ 549326 h 6557032"/>
              <a:gd name="connsiteX35996" fmla="*/ 2334661 w 4610101"/>
              <a:gd name="connsiteY35996" fmla="*/ 547276 h 6557032"/>
              <a:gd name="connsiteX35997" fmla="*/ 820202 w 4610101"/>
              <a:gd name="connsiteY35997" fmla="*/ 546426 h 6557032"/>
              <a:gd name="connsiteX35998" fmla="*/ 821345 w 4610101"/>
              <a:gd name="connsiteY35998" fmla="*/ 550237 h 6557032"/>
              <a:gd name="connsiteX35999" fmla="*/ 820340 w 4610101"/>
              <a:gd name="connsiteY35999" fmla="*/ 553589 h 6557032"/>
              <a:gd name="connsiteX36000" fmla="*/ 819751 w 4610101"/>
              <a:gd name="connsiteY36000" fmla="*/ 550237 h 6557032"/>
              <a:gd name="connsiteX36001" fmla="*/ 731950 w 4610101"/>
              <a:gd name="connsiteY36001" fmla="*/ 545812 h 6557032"/>
              <a:gd name="connsiteX36002" fmla="*/ 733383 w 4610101"/>
              <a:gd name="connsiteY36002" fmla="*/ 547981 h 6557032"/>
              <a:gd name="connsiteX36003" fmla="*/ 730692 w 4610101"/>
              <a:gd name="connsiteY36003" fmla="*/ 549326 h 6557032"/>
              <a:gd name="connsiteX36004" fmla="*/ 731831 w 4610101"/>
              <a:gd name="connsiteY36004" fmla="*/ 545910 h 6557032"/>
              <a:gd name="connsiteX36005" fmla="*/ 2421669 w 4610101"/>
              <a:gd name="connsiteY36005" fmla="*/ 545681 h 6557032"/>
              <a:gd name="connsiteX36006" fmla="*/ 2421846 w 4610101"/>
              <a:gd name="connsiteY36006" fmla="*/ 547446 h 6557032"/>
              <a:gd name="connsiteX36007" fmla="*/ 2421669 w 4610101"/>
              <a:gd name="connsiteY36007" fmla="*/ 547504 h 6557032"/>
              <a:gd name="connsiteX36008" fmla="*/ 2422167 w 4610101"/>
              <a:gd name="connsiteY36008" fmla="*/ 550658 h 6557032"/>
              <a:gd name="connsiteX36009" fmla="*/ 2422305 w 4610101"/>
              <a:gd name="connsiteY36009" fmla="*/ 552037 h 6557032"/>
              <a:gd name="connsiteX36010" fmla="*/ 2421669 w 4610101"/>
              <a:gd name="connsiteY36010" fmla="*/ 554792 h 6557032"/>
              <a:gd name="connsiteX36011" fmla="*/ 2419354 w 4610101"/>
              <a:gd name="connsiteY36011" fmla="*/ 555156 h 6557032"/>
              <a:gd name="connsiteX36012" fmla="*/ 2419392 w 4610101"/>
              <a:gd name="connsiteY36012" fmla="*/ 553882 h 6557032"/>
              <a:gd name="connsiteX36013" fmla="*/ 2418352 w 4610101"/>
              <a:gd name="connsiteY36013" fmla="*/ 550613 h 6557032"/>
              <a:gd name="connsiteX36014" fmla="*/ 2418708 w 4610101"/>
              <a:gd name="connsiteY36014" fmla="*/ 550237 h 6557032"/>
              <a:gd name="connsiteX36015" fmla="*/ 2421669 w 4610101"/>
              <a:gd name="connsiteY36015" fmla="*/ 545681 h 6557032"/>
              <a:gd name="connsiteX36016" fmla="*/ 2172032 w 4610101"/>
              <a:gd name="connsiteY36016" fmla="*/ 545681 h 6557032"/>
              <a:gd name="connsiteX36017" fmla="*/ 2170210 w 4610101"/>
              <a:gd name="connsiteY36017" fmla="*/ 558437 h 6557032"/>
              <a:gd name="connsiteX36018" fmla="*/ 2173854 w 4610101"/>
              <a:gd name="connsiteY36018" fmla="*/ 551148 h 6557032"/>
              <a:gd name="connsiteX36019" fmla="*/ 2172032 w 4610101"/>
              <a:gd name="connsiteY36019" fmla="*/ 545681 h 6557032"/>
              <a:gd name="connsiteX36020" fmla="*/ 1987992 w 4610101"/>
              <a:gd name="connsiteY36020" fmla="*/ 545681 h 6557032"/>
              <a:gd name="connsiteX36021" fmla="*/ 1988199 w 4610101"/>
              <a:gd name="connsiteY36021" fmla="*/ 546927 h 6557032"/>
              <a:gd name="connsiteX36022" fmla="*/ 1986788 w 4610101"/>
              <a:gd name="connsiteY36022" fmla="*/ 547806 h 6557032"/>
              <a:gd name="connsiteX36023" fmla="*/ 716115 w 4610101"/>
              <a:gd name="connsiteY36023" fmla="*/ 545681 h 6557032"/>
              <a:gd name="connsiteX36024" fmla="*/ 719759 w 4610101"/>
              <a:gd name="connsiteY36024" fmla="*/ 565725 h 6557032"/>
              <a:gd name="connsiteX36025" fmla="*/ 716115 w 4610101"/>
              <a:gd name="connsiteY36025" fmla="*/ 545681 h 6557032"/>
              <a:gd name="connsiteX36026" fmla="*/ 258749 w 4610101"/>
              <a:gd name="connsiteY36026" fmla="*/ 545681 h 6557032"/>
              <a:gd name="connsiteX36027" fmla="*/ 260571 w 4610101"/>
              <a:gd name="connsiteY36027" fmla="*/ 552970 h 6557032"/>
              <a:gd name="connsiteX36028" fmla="*/ 258749 w 4610101"/>
              <a:gd name="connsiteY36028" fmla="*/ 545681 h 6557032"/>
              <a:gd name="connsiteX36029" fmla="*/ 1139107 w 4610101"/>
              <a:gd name="connsiteY36029" fmla="*/ 544301 h 6557032"/>
              <a:gd name="connsiteX36030" fmla="*/ 1137529 w 4610101"/>
              <a:gd name="connsiteY36030" fmla="*/ 546421 h 6557032"/>
              <a:gd name="connsiteX36031" fmla="*/ 1137037 w 4610101"/>
              <a:gd name="connsiteY36031" fmla="*/ 545681 h 6557032"/>
              <a:gd name="connsiteX36032" fmla="*/ 3323646 w 4610101"/>
              <a:gd name="connsiteY36032" fmla="*/ 543860 h 6557032"/>
              <a:gd name="connsiteX36033" fmla="*/ 3320001 w 4610101"/>
              <a:gd name="connsiteY36033" fmla="*/ 549326 h 6557032"/>
              <a:gd name="connsiteX36034" fmla="*/ 3354623 w 4610101"/>
              <a:gd name="connsiteY36034" fmla="*/ 554792 h 6557032"/>
              <a:gd name="connsiteX36035" fmla="*/ 3349156 w 4610101"/>
              <a:gd name="connsiteY36035" fmla="*/ 551148 h 6557032"/>
              <a:gd name="connsiteX36036" fmla="*/ 3347334 w 4610101"/>
              <a:gd name="connsiteY36036" fmla="*/ 554792 h 6557032"/>
              <a:gd name="connsiteX36037" fmla="*/ 3327290 w 4610101"/>
              <a:gd name="connsiteY36037" fmla="*/ 551148 h 6557032"/>
              <a:gd name="connsiteX36038" fmla="*/ 3329112 w 4610101"/>
              <a:gd name="connsiteY36038" fmla="*/ 547504 h 6557032"/>
              <a:gd name="connsiteX36039" fmla="*/ 3323646 w 4610101"/>
              <a:gd name="connsiteY36039" fmla="*/ 543860 h 6557032"/>
              <a:gd name="connsiteX36040" fmla="*/ 3261692 w 4610101"/>
              <a:gd name="connsiteY36040" fmla="*/ 543860 h 6557032"/>
              <a:gd name="connsiteX36041" fmla="*/ 3252581 w 4610101"/>
              <a:gd name="connsiteY36041" fmla="*/ 549326 h 6557032"/>
              <a:gd name="connsiteX36042" fmla="*/ 3258047 w 4610101"/>
              <a:gd name="connsiteY36042" fmla="*/ 552970 h 6557032"/>
              <a:gd name="connsiteX36043" fmla="*/ 3261692 w 4610101"/>
              <a:gd name="connsiteY36043" fmla="*/ 543860 h 6557032"/>
              <a:gd name="connsiteX36044" fmla="*/ 3232537 w 4610101"/>
              <a:gd name="connsiteY36044" fmla="*/ 543860 h 6557032"/>
              <a:gd name="connsiteX36045" fmla="*/ 3232537 w 4610101"/>
              <a:gd name="connsiteY36045" fmla="*/ 558437 h 6557032"/>
              <a:gd name="connsiteX36046" fmla="*/ 3243470 w 4610101"/>
              <a:gd name="connsiteY36046" fmla="*/ 543860 h 6557032"/>
              <a:gd name="connsiteX36047" fmla="*/ 3232537 w 4610101"/>
              <a:gd name="connsiteY36047" fmla="*/ 543860 h 6557032"/>
              <a:gd name="connsiteX36048" fmla="*/ 3201560 w 4610101"/>
              <a:gd name="connsiteY36048" fmla="*/ 543860 h 6557032"/>
              <a:gd name="connsiteX36049" fmla="*/ 3201560 w 4610101"/>
              <a:gd name="connsiteY36049" fmla="*/ 549326 h 6557032"/>
              <a:gd name="connsiteX36050" fmla="*/ 3201560 w 4610101"/>
              <a:gd name="connsiteY36050" fmla="*/ 543860 h 6557032"/>
              <a:gd name="connsiteX36051" fmla="*/ 2864458 w 4610101"/>
              <a:gd name="connsiteY36051" fmla="*/ 543860 h 6557032"/>
              <a:gd name="connsiteX36052" fmla="*/ 2864230 w 4610101"/>
              <a:gd name="connsiteY36052" fmla="*/ 554337 h 6557032"/>
              <a:gd name="connsiteX36053" fmla="*/ 2866764 w 4610101"/>
              <a:gd name="connsiteY36053" fmla="*/ 555828 h 6557032"/>
              <a:gd name="connsiteX36054" fmla="*/ 2866508 w 4610101"/>
              <a:gd name="connsiteY36054" fmla="*/ 557070 h 6557032"/>
              <a:gd name="connsiteX36055" fmla="*/ 2866311 w 4610101"/>
              <a:gd name="connsiteY36055" fmla="*/ 561415 h 6557032"/>
              <a:gd name="connsiteX36056" fmla="*/ 2862864 w 4610101"/>
              <a:gd name="connsiteY36056" fmla="*/ 557526 h 6557032"/>
              <a:gd name="connsiteX36057" fmla="*/ 2855347 w 4610101"/>
              <a:gd name="connsiteY36057" fmla="*/ 552970 h 6557032"/>
              <a:gd name="connsiteX36058" fmla="*/ 2864458 w 4610101"/>
              <a:gd name="connsiteY36058" fmla="*/ 543860 h 6557032"/>
              <a:gd name="connsiteX36059" fmla="*/ 2642153 w 4610101"/>
              <a:gd name="connsiteY36059" fmla="*/ 543860 h 6557032"/>
              <a:gd name="connsiteX36060" fmla="*/ 2640330 w 4610101"/>
              <a:gd name="connsiteY36060" fmla="*/ 547504 h 6557032"/>
              <a:gd name="connsiteX36061" fmla="*/ 2645797 w 4610101"/>
              <a:gd name="connsiteY36061" fmla="*/ 547504 h 6557032"/>
              <a:gd name="connsiteX36062" fmla="*/ 2642153 w 4610101"/>
              <a:gd name="connsiteY36062" fmla="*/ 543860 h 6557032"/>
              <a:gd name="connsiteX36063" fmla="*/ 2494556 w 4610101"/>
              <a:gd name="connsiteY36063" fmla="*/ 543860 h 6557032"/>
              <a:gd name="connsiteX36064" fmla="*/ 2483624 w 4610101"/>
              <a:gd name="connsiteY36064" fmla="*/ 549326 h 6557032"/>
              <a:gd name="connsiteX36065" fmla="*/ 2490912 w 4610101"/>
              <a:gd name="connsiteY36065" fmla="*/ 563904 h 6557032"/>
              <a:gd name="connsiteX36066" fmla="*/ 2492734 w 4610101"/>
              <a:gd name="connsiteY36066" fmla="*/ 556616 h 6557032"/>
              <a:gd name="connsiteX36067" fmla="*/ 2505490 w 4610101"/>
              <a:gd name="connsiteY36067" fmla="*/ 554792 h 6557032"/>
              <a:gd name="connsiteX36068" fmla="*/ 2505490 w 4610101"/>
              <a:gd name="connsiteY36068" fmla="*/ 547504 h 6557032"/>
              <a:gd name="connsiteX36069" fmla="*/ 2494556 w 4610101"/>
              <a:gd name="connsiteY36069" fmla="*/ 543860 h 6557032"/>
              <a:gd name="connsiteX36070" fmla="*/ 1142897 w 4610101"/>
              <a:gd name="connsiteY36070" fmla="*/ 542875 h 6557032"/>
              <a:gd name="connsiteX36071" fmla="*/ 1144326 w 4610101"/>
              <a:gd name="connsiteY36071" fmla="*/ 545910 h 6557032"/>
              <a:gd name="connsiteX36072" fmla="*/ 1142503 w 4610101"/>
              <a:gd name="connsiteY36072" fmla="*/ 548530 h 6557032"/>
              <a:gd name="connsiteX36073" fmla="*/ 1142503 w 4610101"/>
              <a:gd name="connsiteY36073" fmla="*/ 543860 h 6557032"/>
              <a:gd name="connsiteX36074" fmla="*/ 1140681 w 4610101"/>
              <a:gd name="connsiteY36074" fmla="*/ 545681 h 6557032"/>
              <a:gd name="connsiteX36075" fmla="*/ 2891790 w 4610101"/>
              <a:gd name="connsiteY36075" fmla="*/ 542037 h 6557032"/>
              <a:gd name="connsiteX36076" fmla="*/ 2888146 w 4610101"/>
              <a:gd name="connsiteY36076" fmla="*/ 567548 h 6557032"/>
              <a:gd name="connsiteX36077" fmla="*/ 2895435 w 4610101"/>
              <a:gd name="connsiteY36077" fmla="*/ 562081 h 6557032"/>
              <a:gd name="connsiteX36078" fmla="*/ 2891790 w 4610101"/>
              <a:gd name="connsiteY36078" fmla="*/ 542037 h 6557032"/>
              <a:gd name="connsiteX36079" fmla="*/ 2583843 w 4610101"/>
              <a:gd name="connsiteY36079" fmla="*/ 542037 h 6557032"/>
              <a:gd name="connsiteX36080" fmla="*/ 2580199 w 4610101"/>
              <a:gd name="connsiteY36080" fmla="*/ 554792 h 6557032"/>
              <a:gd name="connsiteX36081" fmla="*/ 2583843 w 4610101"/>
              <a:gd name="connsiteY36081" fmla="*/ 549326 h 6557032"/>
              <a:gd name="connsiteX36082" fmla="*/ 2583843 w 4610101"/>
              <a:gd name="connsiteY36082" fmla="*/ 542037 h 6557032"/>
              <a:gd name="connsiteX36083" fmla="*/ 1229969 w 4610101"/>
              <a:gd name="connsiteY36083" fmla="*/ 542037 h 6557032"/>
              <a:gd name="connsiteX36084" fmla="*/ 1222679 w 4610101"/>
              <a:gd name="connsiteY36084" fmla="*/ 552970 h 6557032"/>
              <a:gd name="connsiteX36085" fmla="*/ 1229969 w 4610101"/>
              <a:gd name="connsiteY36085" fmla="*/ 542037 h 6557032"/>
              <a:gd name="connsiteX36086" fmla="*/ 1124282 w 4610101"/>
              <a:gd name="connsiteY36086" fmla="*/ 542037 h 6557032"/>
              <a:gd name="connsiteX36087" fmla="*/ 1122459 w 4610101"/>
              <a:gd name="connsiteY36087" fmla="*/ 552970 h 6557032"/>
              <a:gd name="connsiteX36088" fmla="*/ 1127926 w 4610101"/>
              <a:gd name="connsiteY36088" fmla="*/ 547504 h 6557032"/>
              <a:gd name="connsiteX36089" fmla="*/ 1124282 w 4610101"/>
              <a:gd name="connsiteY36089" fmla="*/ 542037 h 6557032"/>
              <a:gd name="connsiteX36090" fmla="*/ 987619 w 4610101"/>
              <a:gd name="connsiteY36090" fmla="*/ 542037 h 6557032"/>
              <a:gd name="connsiteX36091" fmla="*/ 988854 w 4610101"/>
              <a:gd name="connsiteY36091" fmla="*/ 544505 h 6557032"/>
              <a:gd name="connsiteX36092" fmla="*/ 987143 w 4610101"/>
              <a:gd name="connsiteY36092" fmla="*/ 549239 h 6557032"/>
              <a:gd name="connsiteX36093" fmla="*/ 987619 w 4610101"/>
              <a:gd name="connsiteY36093" fmla="*/ 547504 h 6557032"/>
              <a:gd name="connsiteX36094" fmla="*/ 972050 w 4610101"/>
              <a:gd name="connsiteY36094" fmla="*/ 561344 h 6557032"/>
              <a:gd name="connsiteX36095" fmla="*/ 909265 w 4610101"/>
              <a:gd name="connsiteY36095" fmla="*/ 542037 h 6557032"/>
              <a:gd name="connsiteX36096" fmla="*/ 910635 w 4610101"/>
              <a:gd name="connsiteY36096" fmla="*/ 543065 h 6557032"/>
              <a:gd name="connsiteX36097" fmla="*/ 909845 w 4610101"/>
              <a:gd name="connsiteY36097" fmla="*/ 546676 h 6557032"/>
              <a:gd name="connsiteX36098" fmla="*/ 871000 w 4610101"/>
              <a:gd name="connsiteY36098" fmla="*/ 542037 h 6557032"/>
              <a:gd name="connsiteX36099" fmla="*/ 869177 w 4610101"/>
              <a:gd name="connsiteY36099" fmla="*/ 583947 h 6557032"/>
              <a:gd name="connsiteX36100" fmla="*/ 872822 w 4610101"/>
              <a:gd name="connsiteY36100" fmla="*/ 582125 h 6557032"/>
              <a:gd name="connsiteX36101" fmla="*/ 872822 w 4610101"/>
              <a:gd name="connsiteY36101" fmla="*/ 587591 h 6557032"/>
              <a:gd name="connsiteX36102" fmla="*/ 885577 w 4610101"/>
              <a:gd name="connsiteY36102" fmla="*/ 556616 h 6557032"/>
              <a:gd name="connsiteX36103" fmla="*/ 871000 w 4610101"/>
              <a:gd name="connsiteY36103" fmla="*/ 542037 h 6557032"/>
              <a:gd name="connsiteX36104" fmla="*/ 548475 w 4610101"/>
              <a:gd name="connsiteY36104" fmla="*/ 542037 h 6557032"/>
              <a:gd name="connsiteX36105" fmla="*/ 553941 w 4610101"/>
              <a:gd name="connsiteY36105" fmla="*/ 563904 h 6557032"/>
              <a:gd name="connsiteX36106" fmla="*/ 555763 w 4610101"/>
              <a:gd name="connsiteY36106" fmla="*/ 547504 h 6557032"/>
              <a:gd name="connsiteX36107" fmla="*/ 548475 w 4610101"/>
              <a:gd name="connsiteY36107" fmla="*/ 542037 h 6557032"/>
              <a:gd name="connsiteX36108" fmla="*/ 3383777 w 4610101"/>
              <a:gd name="connsiteY36108" fmla="*/ 540215 h 6557032"/>
              <a:gd name="connsiteX36109" fmla="*/ 3383777 w 4610101"/>
              <a:gd name="connsiteY36109" fmla="*/ 558437 h 6557032"/>
              <a:gd name="connsiteX36110" fmla="*/ 3383777 w 4610101"/>
              <a:gd name="connsiteY36110" fmla="*/ 540215 h 6557032"/>
              <a:gd name="connsiteX36111" fmla="*/ 2988366 w 4610101"/>
              <a:gd name="connsiteY36111" fmla="*/ 540215 h 6557032"/>
              <a:gd name="connsiteX36112" fmla="*/ 2992010 w 4610101"/>
              <a:gd name="connsiteY36112" fmla="*/ 549326 h 6557032"/>
              <a:gd name="connsiteX36113" fmla="*/ 2984721 w 4610101"/>
              <a:gd name="connsiteY36113" fmla="*/ 560260 h 6557032"/>
              <a:gd name="connsiteX36114" fmla="*/ 2975610 w 4610101"/>
              <a:gd name="connsiteY36114" fmla="*/ 552970 h 6557032"/>
              <a:gd name="connsiteX36115" fmla="*/ 2982899 w 4610101"/>
              <a:gd name="connsiteY36115" fmla="*/ 562081 h 6557032"/>
              <a:gd name="connsiteX36116" fmla="*/ 2984721 w 4610101"/>
              <a:gd name="connsiteY36116" fmla="*/ 569370 h 6557032"/>
              <a:gd name="connsiteX36117" fmla="*/ 2979255 w 4610101"/>
              <a:gd name="connsiteY36117" fmla="*/ 563904 h 6557032"/>
              <a:gd name="connsiteX36118" fmla="*/ 2961033 w 4610101"/>
              <a:gd name="connsiteY36118" fmla="*/ 562081 h 6557032"/>
              <a:gd name="connsiteX36119" fmla="*/ 2990188 w 4610101"/>
              <a:gd name="connsiteY36119" fmla="*/ 571192 h 6557032"/>
              <a:gd name="connsiteX36120" fmla="*/ 2988366 w 4610101"/>
              <a:gd name="connsiteY36120" fmla="*/ 563904 h 6557032"/>
              <a:gd name="connsiteX36121" fmla="*/ 3004765 w 4610101"/>
              <a:gd name="connsiteY36121" fmla="*/ 567548 h 6557032"/>
              <a:gd name="connsiteX36122" fmla="*/ 3004765 w 4610101"/>
              <a:gd name="connsiteY36122" fmla="*/ 554792 h 6557032"/>
              <a:gd name="connsiteX36123" fmla="*/ 2999299 w 4610101"/>
              <a:gd name="connsiteY36123" fmla="*/ 549326 h 6557032"/>
              <a:gd name="connsiteX36124" fmla="*/ 3001121 w 4610101"/>
              <a:gd name="connsiteY36124" fmla="*/ 554792 h 6557032"/>
              <a:gd name="connsiteX36125" fmla="*/ 2995654 w 4610101"/>
              <a:gd name="connsiteY36125" fmla="*/ 556616 h 6557032"/>
              <a:gd name="connsiteX36126" fmla="*/ 2988366 w 4610101"/>
              <a:gd name="connsiteY36126" fmla="*/ 540215 h 6557032"/>
              <a:gd name="connsiteX36127" fmla="*/ 2671307 w 4610101"/>
              <a:gd name="connsiteY36127" fmla="*/ 540215 h 6557032"/>
              <a:gd name="connsiteX36128" fmla="*/ 2669485 w 4610101"/>
              <a:gd name="connsiteY36128" fmla="*/ 551148 h 6557032"/>
              <a:gd name="connsiteX36129" fmla="*/ 2684063 w 4610101"/>
              <a:gd name="connsiteY36129" fmla="*/ 554792 h 6557032"/>
              <a:gd name="connsiteX36130" fmla="*/ 2680418 w 4610101"/>
              <a:gd name="connsiteY36130" fmla="*/ 543860 h 6557032"/>
              <a:gd name="connsiteX36131" fmla="*/ 2671307 w 4610101"/>
              <a:gd name="connsiteY36131" fmla="*/ 540215 h 6557032"/>
              <a:gd name="connsiteX36132" fmla="*/ 2540111 w 4610101"/>
              <a:gd name="connsiteY36132" fmla="*/ 540215 h 6557032"/>
              <a:gd name="connsiteX36133" fmla="*/ 2540111 w 4610101"/>
              <a:gd name="connsiteY36133" fmla="*/ 549326 h 6557032"/>
              <a:gd name="connsiteX36134" fmla="*/ 2540111 w 4610101"/>
              <a:gd name="connsiteY36134" fmla="*/ 540215 h 6557032"/>
              <a:gd name="connsiteX36135" fmla="*/ 2312339 w 4610101"/>
              <a:gd name="connsiteY36135" fmla="*/ 540215 h 6557032"/>
              <a:gd name="connsiteX36136" fmla="*/ 2312881 w 4610101"/>
              <a:gd name="connsiteY36136" fmla="*/ 540937 h 6557032"/>
              <a:gd name="connsiteX36137" fmla="*/ 2312629 w 4610101"/>
              <a:gd name="connsiteY36137" fmla="*/ 541662 h 6557032"/>
              <a:gd name="connsiteX36138" fmla="*/ 1102416 w 4610101"/>
              <a:gd name="connsiteY36138" fmla="*/ 540215 h 6557032"/>
              <a:gd name="connsiteX36139" fmla="*/ 1107882 w 4610101"/>
              <a:gd name="connsiteY36139" fmla="*/ 547504 h 6557032"/>
              <a:gd name="connsiteX36140" fmla="*/ 1111526 w 4610101"/>
              <a:gd name="connsiteY36140" fmla="*/ 542037 h 6557032"/>
              <a:gd name="connsiteX36141" fmla="*/ 1102416 w 4610101"/>
              <a:gd name="connsiteY36141" fmla="*/ 540215 h 6557032"/>
              <a:gd name="connsiteX36142" fmla="*/ 940242 w 4610101"/>
              <a:gd name="connsiteY36142" fmla="*/ 540215 h 6557032"/>
              <a:gd name="connsiteX36143" fmla="*/ 939513 w 4610101"/>
              <a:gd name="connsiteY36143" fmla="*/ 542766 h 6557032"/>
              <a:gd name="connsiteX36144" fmla="*/ 938420 w 4610101"/>
              <a:gd name="connsiteY36144" fmla="*/ 543860 h 6557032"/>
              <a:gd name="connsiteX36145" fmla="*/ 938875 w 4610101"/>
              <a:gd name="connsiteY36145" fmla="*/ 544998 h 6557032"/>
              <a:gd name="connsiteX36146" fmla="*/ 938420 w 4610101"/>
              <a:gd name="connsiteY36146" fmla="*/ 546593 h 6557032"/>
              <a:gd name="connsiteX36147" fmla="*/ 942064 w 4610101"/>
              <a:gd name="connsiteY36147" fmla="*/ 552970 h 6557032"/>
              <a:gd name="connsiteX36148" fmla="*/ 938875 w 4610101"/>
              <a:gd name="connsiteY36148" fmla="*/ 544998 h 6557032"/>
              <a:gd name="connsiteX36149" fmla="*/ 939513 w 4610101"/>
              <a:gd name="connsiteY36149" fmla="*/ 542766 h 6557032"/>
              <a:gd name="connsiteX36150" fmla="*/ 940242 w 4610101"/>
              <a:gd name="connsiteY36150" fmla="*/ 542037 h 6557032"/>
              <a:gd name="connsiteX36151" fmla="*/ 940242 w 4610101"/>
              <a:gd name="connsiteY36151" fmla="*/ 540215 h 6557032"/>
              <a:gd name="connsiteX36152" fmla="*/ 575808 w 4610101"/>
              <a:gd name="connsiteY36152" fmla="*/ 540215 h 6557032"/>
              <a:gd name="connsiteX36153" fmla="*/ 568519 w 4610101"/>
              <a:gd name="connsiteY36153" fmla="*/ 551148 h 6557032"/>
              <a:gd name="connsiteX36154" fmla="*/ 575808 w 4610101"/>
              <a:gd name="connsiteY36154" fmla="*/ 569370 h 6557032"/>
              <a:gd name="connsiteX36155" fmla="*/ 575808 w 4610101"/>
              <a:gd name="connsiteY36155" fmla="*/ 540215 h 6557032"/>
              <a:gd name="connsiteX36156" fmla="*/ 2532822 w 4610101"/>
              <a:gd name="connsiteY36156" fmla="*/ 538393 h 6557032"/>
              <a:gd name="connsiteX36157" fmla="*/ 2531000 w 4610101"/>
              <a:gd name="connsiteY36157" fmla="*/ 549326 h 6557032"/>
              <a:gd name="connsiteX36158" fmla="*/ 2536466 w 4610101"/>
              <a:gd name="connsiteY36158" fmla="*/ 549326 h 6557032"/>
              <a:gd name="connsiteX36159" fmla="*/ 2532822 w 4610101"/>
              <a:gd name="connsiteY36159" fmla="*/ 538393 h 6557032"/>
              <a:gd name="connsiteX36160" fmla="*/ 2215764 w 4610101"/>
              <a:gd name="connsiteY36160" fmla="*/ 538393 h 6557032"/>
              <a:gd name="connsiteX36161" fmla="*/ 2226697 w 4610101"/>
              <a:gd name="connsiteY36161" fmla="*/ 542037 h 6557032"/>
              <a:gd name="connsiteX36162" fmla="*/ 2215764 w 4610101"/>
              <a:gd name="connsiteY36162" fmla="*/ 538393 h 6557032"/>
              <a:gd name="connsiteX36163" fmla="*/ 2168387 w 4610101"/>
              <a:gd name="connsiteY36163" fmla="*/ 538393 h 6557032"/>
              <a:gd name="connsiteX36164" fmla="*/ 2164743 w 4610101"/>
              <a:gd name="connsiteY36164" fmla="*/ 551148 h 6557032"/>
              <a:gd name="connsiteX36165" fmla="*/ 2168387 w 4610101"/>
              <a:gd name="connsiteY36165" fmla="*/ 538393 h 6557032"/>
              <a:gd name="connsiteX36166" fmla="*/ 865533 w 4610101"/>
              <a:gd name="connsiteY36166" fmla="*/ 538393 h 6557032"/>
              <a:gd name="connsiteX36167" fmla="*/ 865533 w 4610101"/>
              <a:gd name="connsiteY36167" fmla="*/ 547504 h 6557032"/>
              <a:gd name="connsiteX36168" fmla="*/ 865533 w 4610101"/>
              <a:gd name="connsiteY36168" fmla="*/ 538393 h 6557032"/>
              <a:gd name="connsiteX36169" fmla="*/ 860066 w 4610101"/>
              <a:gd name="connsiteY36169" fmla="*/ 538393 h 6557032"/>
              <a:gd name="connsiteX36170" fmla="*/ 860066 w 4610101"/>
              <a:gd name="connsiteY36170" fmla="*/ 554792 h 6557032"/>
              <a:gd name="connsiteX36171" fmla="*/ 860066 w 4610101"/>
              <a:gd name="connsiteY36171" fmla="*/ 538393 h 6557032"/>
              <a:gd name="connsiteX36172" fmla="*/ 727048 w 4610101"/>
              <a:gd name="connsiteY36172" fmla="*/ 538393 h 6557032"/>
              <a:gd name="connsiteX36173" fmla="*/ 730328 w 4610101"/>
              <a:gd name="connsiteY36173" fmla="*/ 540580 h 6557032"/>
              <a:gd name="connsiteX36174" fmla="*/ 730692 w 4610101"/>
              <a:gd name="connsiteY36174" fmla="*/ 542037 h 6557032"/>
              <a:gd name="connsiteX36175" fmla="*/ 730335 w 4610101"/>
              <a:gd name="connsiteY36175" fmla="*/ 540585 h 6557032"/>
              <a:gd name="connsiteX36176" fmla="*/ 732515 w 4610101"/>
              <a:gd name="connsiteY36176" fmla="*/ 542037 h 6557032"/>
              <a:gd name="connsiteX36177" fmla="*/ 732679 w 4610101"/>
              <a:gd name="connsiteY36177" fmla="*/ 540133 h 6557032"/>
              <a:gd name="connsiteX36178" fmla="*/ 736159 w 4610101"/>
              <a:gd name="connsiteY36178" fmla="*/ 538393 h 6557032"/>
              <a:gd name="connsiteX36179" fmla="*/ 734336 w 4610101"/>
              <a:gd name="connsiteY36179" fmla="*/ 545681 h 6557032"/>
              <a:gd name="connsiteX36180" fmla="*/ 734336 w 4610101"/>
              <a:gd name="connsiteY36180" fmla="*/ 543860 h 6557032"/>
              <a:gd name="connsiteX36181" fmla="*/ 731950 w 4610101"/>
              <a:gd name="connsiteY36181" fmla="*/ 545812 h 6557032"/>
              <a:gd name="connsiteX36182" fmla="*/ 639583 w 4610101"/>
              <a:gd name="connsiteY36182" fmla="*/ 538393 h 6557032"/>
              <a:gd name="connsiteX36183" fmla="*/ 639583 w 4610101"/>
              <a:gd name="connsiteY36183" fmla="*/ 551148 h 6557032"/>
              <a:gd name="connsiteX36184" fmla="*/ 639583 w 4610101"/>
              <a:gd name="connsiteY36184" fmla="*/ 538393 h 6557032"/>
              <a:gd name="connsiteX36185" fmla="*/ 528431 w 4610101"/>
              <a:gd name="connsiteY36185" fmla="*/ 538393 h 6557032"/>
              <a:gd name="connsiteX36186" fmla="*/ 533897 w 4610101"/>
              <a:gd name="connsiteY36186" fmla="*/ 558437 h 6557032"/>
              <a:gd name="connsiteX36187" fmla="*/ 528431 w 4610101"/>
              <a:gd name="connsiteY36187" fmla="*/ 538393 h 6557032"/>
              <a:gd name="connsiteX36188" fmla="*/ 524786 w 4610101"/>
              <a:gd name="connsiteY36188" fmla="*/ 538393 h 6557032"/>
              <a:gd name="connsiteX36189" fmla="*/ 530253 w 4610101"/>
              <a:gd name="connsiteY36189" fmla="*/ 567548 h 6557032"/>
              <a:gd name="connsiteX36190" fmla="*/ 530253 w 4610101"/>
              <a:gd name="connsiteY36190" fmla="*/ 554792 h 6557032"/>
              <a:gd name="connsiteX36191" fmla="*/ 524786 w 4610101"/>
              <a:gd name="connsiteY36191" fmla="*/ 538393 h 6557032"/>
              <a:gd name="connsiteX36192" fmla="*/ 3427510 w 4610101"/>
              <a:gd name="connsiteY36192" fmla="*/ 536571 h 6557032"/>
              <a:gd name="connsiteX36193" fmla="*/ 3429332 w 4610101"/>
              <a:gd name="connsiteY36193" fmla="*/ 547504 h 6557032"/>
              <a:gd name="connsiteX36194" fmla="*/ 3427510 w 4610101"/>
              <a:gd name="connsiteY36194" fmla="*/ 536571 h 6557032"/>
              <a:gd name="connsiteX36195" fmla="*/ 3332756 w 4610101"/>
              <a:gd name="connsiteY36195" fmla="*/ 536571 h 6557032"/>
              <a:gd name="connsiteX36196" fmla="*/ 3340045 w 4610101"/>
              <a:gd name="connsiteY36196" fmla="*/ 536571 h 6557032"/>
              <a:gd name="connsiteX36197" fmla="*/ 3332756 w 4610101"/>
              <a:gd name="connsiteY36197" fmla="*/ 536571 h 6557032"/>
              <a:gd name="connsiteX36198" fmla="*/ 3032098 w 4610101"/>
              <a:gd name="connsiteY36198" fmla="*/ 536571 h 6557032"/>
              <a:gd name="connsiteX36199" fmla="*/ 3032638 w 4610101"/>
              <a:gd name="connsiteY36199" fmla="*/ 537921 h 6557032"/>
              <a:gd name="connsiteX36200" fmla="*/ 3030237 w 4610101"/>
              <a:gd name="connsiteY36200" fmla="*/ 537037 h 6557032"/>
              <a:gd name="connsiteX36201" fmla="*/ 2656730 w 4610101"/>
              <a:gd name="connsiteY36201" fmla="*/ 536571 h 6557032"/>
              <a:gd name="connsiteX36202" fmla="*/ 2656730 w 4610101"/>
              <a:gd name="connsiteY36202" fmla="*/ 545681 h 6557032"/>
              <a:gd name="connsiteX36203" fmla="*/ 2656730 w 4610101"/>
              <a:gd name="connsiteY36203" fmla="*/ 536571 h 6557032"/>
              <a:gd name="connsiteX36204" fmla="*/ 2594776 w 4610101"/>
              <a:gd name="connsiteY36204" fmla="*/ 536571 h 6557032"/>
              <a:gd name="connsiteX36205" fmla="*/ 2589310 w 4610101"/>
              <a:gd name="connsiteY36205" fmla="*/ 552970 h 6557032"/>
              <a:gd name="connsiteX36206" fmla="*/ 2594776 w 4610101"/>
              <a:gd name="connsiteY36206" fmla="*/ 558437 h 6557032"/>
              <a:gd name="connsiteX36207" fmla="*/ 2594776 w 4610101"/>
              <a:gd name="connsiteY36207" fmla="*/ 540215 h 6557032"/>
              <a:gd name="connsiteX36208" fmla="*/ 2600243 w 4610101"/>
              <a:gd name="connsiteY36208" fmla="*/ 542037 h 6557032"/>
              <a:gd name="connsiteX36209" fmla="*/ 2594776 w 4610101"/>
              <a:gd name="connsiteY36209" fmla="*/ 536571 h 6557032"/>
              <a:gd name="connsiteX36210" fmla="*/ 2503667 w 4610101"/>
              <a:gd name="connsiteY36210" fmla="*/ 536571 h 6557032"/>
              <a:gd name="connsiteX36211" fmla="*/ 2498201 w 4610101"/>
              <a:gd name="connsiteY36211" fmla="*/ 538393 h 6557032"/>
              <a:gd name="connsiteX36212" fmla="*/ 2503667 w 4610101"/>
              <a:gd name="connsiteY36212" fmla="*/ 542037 h 6557032"/>
              <a:gd name="connsiteX36213" fmla="*/ 2503667 w 4610101"/>
              <a:gd name="connsiteY36213" fmla="*/ 536571 h 6557032"/>
              <a:gd name="connsiteX36214" fmla="*/ 1240901 w 4610101"/>
              <a:gd name="connsiteY36214" fmla="*/ 536571 h 6557032"/>
              <a:gd name="connsiteX36215" fmla="*/ 1239080 w 4610101"/>
              <a:gd name="connsiteY36215" fmla="*/ 545681 h 6557032"/>
              <a:gd name="connsiteX36216" fmla="*/ 1240901 w 4610101"/>
              <a:gd name="connsiteY36216" fmla="*/ 536571 h 6557032"/>
              <a:gd name="connsiteX36217" fmla="*/ 858244 w 4610101"/>
              <a:gd name="connsiteY36217" fmla="*/ 536571 h 6557032"/>
              <a:gd name="connsiteX36218" fmla="*/ 852778 w 4610101"/>
              <a:gd name="connsiteY36218" fmla="*/ 542037 h 6557032"/>
              <a:gd name="connsiteX36219" fmla="*/ 856422 w 4610101"/>
              <a:gd name="connsiteY36219" fmla="*/ 540215 h 6557032"/>
              <a:gd name="connsiteX36220" fmla="*/ 850956 w 4610101"/>
              <a:gd name="connsiteY36220" fmla="*/ 556616 h 6557032"/>
              <a:gd name="connsiteX36221" fmla="*/ 858244 w 4610101"/>
              <a:gd name="connsiteY36221" fmla="*/ 554792 h 6557032"/>
              <a:gd name="connsiteX36222" fmla="*/ 858244 w 4610101"/>
              <a:gd name="connsiteY36222" fmla="*/ 536571 h 6557032"/>
              <a:gd name="connsiteX36223" fmla="*/ 719759 w 4610101"/>
              <a:gd name="connsiteY36223" fmla="*/ 536571 h 6557032"/>
              <a:gd name="connsiteX36224" fmla="*/ 717937 w 4610101"/>
              <a:gd name="connsiteY36224" fmla="*/ 542037 h 6557032"/>
              <a:gd name="connsiteX36225" fmla="*/ 720852 w 4610101"/>
              <a:gd name="connsiteY36225" fmla="*/ 542037 h 6557032"/>
              <a:gd name="connsiteX36226" fmla="*/ 721389 w 4610101"/>
              <a:gd name="connsiteY36226" fmla="*/ 544723 h 6557032"/>
              <a:gd name="connsiteX36227" fmla="*/ 721126 w 4610101"/>
              <a:gd name="connsiteY36227" fmla="*/ 548415 h 6557032"/>
              <a:gd name="connsiteX36228" fmla="*/ 723404 w 4610101"/>
              <a:gd name="connsiteY36228" fmla="*/ 554792 h 6557032"/>
              <a:gd name="connsiteX36229" fmla="*/ 721389 w 4610101"/>
              <a:gd name="connsiteY36229" fmla="*/ 544723 h 6557032"/>
              <a:gd name="connsiteX36230" fmla="*/ 721581 w 4610101"/>
              <a:gd name="connsiteY36230" fmla="*/ 542037 h 6557032"/>
              <a:gd name="connsiteX36231" fmla="*/ 720852 w 4610101"/>
              <a:gd name="connsiteY36231" fmla="*/ 542037 h 6557032"/>
              <a:gd name="connsiteX36232" fmla="*/ 485579 w 4610101"/>
              <a:gd name="connsiteY36232" fmla="*/ 536245 h 6557032"/>
              <a:gd name="connsiteX36233" fmla="*/ 487887 w 4610101"/>
              <a:gd name="connsiteY36233" fmla="*/ 537937 h 6557032"/>
              <a:gd name="connsiteX36234" fmla="*/ 488204 w 4610101"/>
              <a:gd name="connsiteY36234" fmla="*/ 538536 h 6557032"/>
              <a:gd name="connsiteX36235" fmla="*/ 491071 w 4610101"/>
              <a:gd name="connsiteY36235" fmla="*/ 544988 h 6557032"/>
              <a:gd name="connsiteX36236" fmla="*/ 487418 w 4610101"/>
              <a:gd name="connsiteY36236" fmla="*/ 542220 h 6557032"/>
              <a:gd name="connsiteX36237" fmla="*/ 729057 w 4610101"/>
              <a:gd name="connsiteY36237" fmla="*/ 535380 h 6557032"/>
              <a:gd name="connsiteX36238" fmla="*/ 730335 w 4610101"/>
              <a:gd name="connsiteY36238" fmla="*/ 540585 h 6557032"/>
              <a:gd name="connsiteX36239" fmla="*/ 730328 w 4610101"/>
              <a:gd name="connsiteY36239" fmla="*/ 540580 h 6557032"/>
              <a:gd name="connsiteX36240" fmla="*/ 729035 w 4610101"/>
              <a:gd name="connsiteY36240" fmla="*/ 535412 h 6557032"/>
              <a:gd name="connsiteX36241" fmla="*/ 3460309 w 4610101"/>
              <a:gd name="connsiteY36241" fmla="*/ 534749 h 6557032"/>
              <a:gd name="connsiteX36242" fmla="*/ 3454842 w 4610101"/>
              <a:gd name="connsiteY36242" fmla="*/ 542037 h 6557032"/>
              <a:gd name="connsiteX36243" fmla="*/ 3463953 w 4610101"/>
              <a:gd name="connsiteY36243" fmla="*/ 543860 h 6557032"/>
              <a:gd name="connsiteX36244" fmla="*/ 3460309 w 4610101"/>
              <a:gd name="connsiteY36244" fmla="*/ 534749 h 6557032"/>
              <a:gd name="connsiteX36245" fmla="*/ 2336027 w 4610101"/>
              <a:gd name="connsiteY36245" fmla="*/ 534749 h 6557032"/>
              <a:gd name="connsiteX36246" fmla="*/ 2332383 w 4610101"/>
              <a:gd name="connsiteY36246" fmla="*/ 536571 h 6557032"/>
              <a:gd name="connsiteX36247" fmla="*/ 2337850 w 4610101"/>
              <a:gd name="connsiteY36247" fmla="*/ 540215 h 6557032"/>
              <a:gd name="connsiteX36248" fmla="*/ 2336027 w 4610101"/>
              <a:gd name="connsiteY36248" fmla="*/ 534749 h 6557032"/>
              <a:gd name="connsiteX36249" fmla="*/ 2144699 w 4610101"/>
              <a:gd name="connsiteY36249" fmla="*/ 534749 h 6557032"/>
              <a:gd name="connsiteX36250" fmla="*/ 2144699 w 4610101"/>
              <a:gd name="connsiteY36250" fmla="*/ 545681 h 6557032"/>
              <a:gd name="connsiteX36251" fmla="*/ 2135588 w 4610101"/>
              <a:gd name="connsiteY36251" fmla="*/ 543860 h 6557032"/>
              <a:gd name="connsiteX36252" fmla="*/ 2130122 w 4610101"/>
              <a:gd name="connsiteY36252" fmla="*/ 554792 h 6557032"/>
              <a:gd name="connsiteX36253" fmla="*/ 2131944 w 4610101"/>
              <a:gd name="connsiteY36253" fmla="*/ 558437 h 6557032"/>
              <a:gd name="connsiteX36254" fmla="*/ 2148344 w 4610101"/>
              <a:gd name="connsiteY36254" fmla="*/ 542037 h 6557032"/>
              <a:gd name="connsiteX36255" fmla="*/ 2144699 w 4610101"/>
              <a:gd name="connsiteY36255" fmla="*/ 534749 h 6557032"/>
              <a:gd name="connsiteX36256" fmla="*/ 1122459 w 4610101"/>
              <a:gd name="connsiteY36256" fmla="*/ 534749 h 6557032"/>
              <a:gd name="connsiteX36257" fmla="*/ 1116993 w 4610101"/>
              <a:gd name="connsiteY36257" fmla="*/ 545681 h 6557032"/>
              <a:gd name="connsiteX36258" fmla="*/ 1122459 w 4610101"/>
              <a:gd name="connsiteY36258" fmla="*/ 534749 h 6557032"/>
              <a:gd name="connsiteX36259" fmla="*/ 1113349 w 4610101"/>
              <a:gd name="connsiteY36259" fmla="*/ 534749 h 6557032"/>
              <a:gd name="connsiteX36260" fmla="*/ 1113515 w 4610101"/>
              <a:gd name="connsiteY36260" fmla="*/ 535660 h 6557032"/>
              <a:gd name="connsiteX36261" fmla="*/ 1113450 w 4610101"/>
              <a:gd name="connsiteY36261" fmla="*/ 537431 h 6557032"/>
              <a:gd name="connsiteX36262" fmla="*/ 1111774 w 4610101"/>
              <a:gd name="connsiteY36262" fmla="*/ 538270 h 6557032"/>
              <a:gd name="connsiteX36263" fmla="*/ 1111659 w 4610101"/>
              <a:gd name="connsiteY36263" fmla="*/ 538128 h 6557032"/>
              <a:gd name="connsiteX36264" fmla="*/ 573985 w 4610101"/>
              <a:gd name="connsiteY36264" fmla="*/ 534749 h 6557032"/>
              <a:gd name="connsiteX36265" fmla="*/ 568519 w 4610101"/>
              <a:gd name="connsiteY36265" fmla="*/ 538393 h 6557032"/>
              <a:gd name="connsiteX36266" fmla="*/ 568519 w 4610101"/>
              <a:gd name="connsiteY36266" fmla="*/ 546523 h 6557032"/>
              <a:gd name="connsiteX36267" fmla="*/ 568218 w 4610101"/>
              <a:gd name="connsiteY36267" fmla="*/ 546904 h 6557032"/>
              <a:gd name="connsiteX36268" fmla="*/ 566697 w 4610101"/>
              <a:gd name="connsiteY36268" fmla="*/ 543860 h 6557032"/>
              <a:gd name="connsiteX36269" fmla="*/ 564874 w 4610101"/>
              <a:gd name="connsiteY36269" fmla="*/ 551148 h 6557032"/>
              <a:gd name="connsiteX36270" fmla="*/ 568218 w 4610101"/>
              <a:gd name="connsiteY36270" fmla="*/ 546904 h 6557032"/>
              <a:gd name="connsiteX36271" fmla="*/ 568519 w 4610101"/>
              <a:gd name="connsiteY36271" fmla="*/ 547504 h 6557032"/>
              <a:gd name="connsiteX36272" fmla="*/ 568519 w 4610101"/>
              <a:gd name="connsiteY36272" fmla="*/ 546523 h 6557032"/>
              <a:gd name="connsiteX36273" fmla="*/ 570796 w 4610101"/>
              <a:gd name="connsiteY36273" fmla="*/ 543632 h 6557032"/>
              <a:gd name="connsiteX36274" fmla="*/ 573985 w 4610101"/>
              <a:gd name="connsiteY36274" fmla="*/ 534749 h 6557032"/>
              <a:gd name="connsiteX36275" fmla="*/ 457367 w 4610101"/>
              <a:gd name="connsiteY36275" fmla="*/ 534749 h 6557032"/>
              <a:gd name="connsiteX36276" fmla="*/ 464655 w 4610101"/>
              <a:gd name="connsiteY36276" fmla="*/ 554792 h 6557032"/>
              <a:gd name="connsiteX36277" fmla="*/ 457367 w 4610101"/>
              <a:gd name="connsiteY36277" fmla="*/ 534749 h 6557032"/>
              <a:gd name="connsiteX36278" fmla="*/ 1147677 w 4610101"/>
              <a:gd name="connsiteY36278" fmla="*/ 533577 h 6557032"/>
              <a:gd name="connsiteX36279" fmla="*/ 1147714 w 4610101"/>
              <a:gd name="connsiteY36279" fmla="*/ 533638 h 6557032"/>
              <a:gd name="connsiteX36280" fmla="*/ 1147697 w 4610101"/>
              <a:gd name="connsiteY36280" fmla="*/ 533659 h 6557032"/>
              <a:gd name="connsiteX36281" fmla="*/ 1147899 w 4610101"/>
              <a:gd name="connsiteY36281" fmla="*/ 533412 h 6557032"/>
              <a:gd name="connsiteX36282" fmla="*/ 1147930 w 4610101"/>
              <a:gd name="connsiteY36282" fmla="*/ 533986 h 6557032"/>
              <a:gd name="connsiteX36283" fmla="*/ 1147714 w 4610101"/>
              <a:gd name="connsiteY36283" fmla="*/ 533638 h 6557032"/>
              <a:gd name="connsiteX36284" fmla="*/ 3252581 w 4610101"/>
              <a:gd name="connsiteY36284" fmla="*/ 532926 h 6557032"/>
              <a:gd name="connsiteX36285" fmla="*/ 3241648 w 4610101"/>
              <a:gd name="connsiteY36285" fmla="*/ 536571 h 6557032"/>
              <a:gd name="connsiteX36286" fmla="*/ 3252581 w 4610101"/>
              <a:gd name="connsiteY36286" fmla="*/ 540215 h 6557032"/>
              <a:gd name="connsiteX36287" fmla="*/ 3252581 w 4610101"/>
              <a:gd name="connsiteY36287" fmla="*/ 532926 h 6557032"/>
              <a:gd name="connsiteX36288" fmla="*/ 3219782 w 4610101"/>
              <a:gd name="connsiteY36288" fmla="*/ 532926 h 6557032"/>
              <a:gd name="connsiteX36289" fmla="*/ 3208849 w 4610101"/>
              <a:gd name="connsiteY36289" fmla="*/ 545681 h 6557032"/>
              <a:gd name="connsiteX36290" fmla="*/ 3223426 w 4610101"/>
              <a:gd name="connsiteY36290" fmla="*/ 538393 h 6557032"/>
              <a:gd name="connsiteX36291" fmla="*/ 3219782 w 4610101"/>
              <a:gd name="connsiteY36291" fmla="*/ 532926 h 6557032"/>
              <a:gd name="connsiteX36292" fmla="*/ 3205204 w 4610101"/>
              <a:gd name="connsiteY36292" fmla="*/ 532926 h 6557032"/>
              <a:gd name="connsiteX36293" fmla="*/ 3205204 w 4610101"/>
              <a:gd name="connsiteY36293" fmla="*/ 540215 h 6557032"/>
              <a:gd name="connsiteX36294" fmla="*/ 3205204 w 4610101"/>
              <a:gd name="connsiteY36294" fmla="*/ 532926 h 6557032"/>
              <a:gd name="connsiteX36295" fmla="*/ 2565621 w 4610101"/>
              <a:gd name="connsiteY36295" fmla="*/ 532926 h 6557032"/>
              <a:gd name="connsiteX36296" fmla="*/ 2578377 w 4610101"/>
              <a:gd name="connsiteY36296" fmla="*/ 554792 h 6557032"/>
              <a:gd name="connsiteX36297" fmla="*/ 2578377 w 4610101"/>
              <a:gd name="connsiteY36297" fmla="*/ 547504 h 6557032"/>
              <a:gd name="connsiteX36298" fmla="*/ 2565621 w 4610101"/>
              <a:gd name="connsiteY36298" fmla="*/ 532926 h 6557032"/>
              <a:gd name="connsiteX36299" fmla="*/ 2372471 w 4610101"/>
              <a:gd name="connsiteY36299" fmla="*/ 532926 h 6557032"/>
              <a:gd name="connsiteX36300" fmla="*/ 2374293 w 4610101"/>
              <a:gd name="connsiteY36300" fmla="*/ 540215 h 6557032"/>
              <a:gd name="connsiteX36301" fmla="*/ 2372471 w 4610101"/>
              <a:gd name="connsiteY36301" fmla="*/ 532926 h 6557032"/>
              <a:gd name="connsiteX36302" fmla="*/ 1140681 w 4610101"/>
              <a:gd name="connsiteY36302" fmla="*/ 532926 h 6557032"/>
              <a:gd name="connsiteX36303" fmla="*/ 1140681 w 4610101"/>
              <a:gd name="connsiteY36303" fmla="*/ 538393 h 6557032"/>
              <a:gd name="connsiteX36304" fmla="*/ 1137037 w 4610101"/>
              <a:gd name="connsiteY36304" fmla="*/ 536571 h 6557032"/>
              <a:gd name="connsiteX36305" fmla="*/ 1140681 w 4610101"/>
              <a:gd name="connsiteY36305" fmla="*/ 532926 h 6557032"/>
              <a:gd name="connsiteX36306" fmla="*/ 945709 w 4610101"/>
              <a:gd name="connsiteY36306" fmla="*/ 532926 h 6557032"/>
              <a:gd name="connsiteX36307" fmla="*/ 945709 w 4610101"/>
              <a:gd name="connsiteY36307" fmla="*/ 545681 h 6557032"/>
              <a:gd name="connsiteX36308" fmla="*/ 945709 w 4610101"/>
              <a:gd name="connsiteY36308" fmla="*/ 532926 h 6557032"/>
              <a:gd name="connsiteX36309" fmla="*/ 730692 w 4610101"/>
              <a:gd name="connsiteY36309" fmla="*/ 532926 h 6557032"/>
              <a:gd name="connsiteX36310" fmla="*/ 732969 w 4610101"/>
              <a:gd name="connsiteY36310" fmla="*/ 536799 h 6557032"/>
              <a:gd name="connsiteX36311" fmla="*/ 732679 w 4610101"/>
              <a:gd name="connsiteY36311" fmla="*/ 540133 h 6557032"/>
              <a:gd name="connsiteX36312" fmla="*/ 732515 w 4610101"/>
              <a:gd name="connsiteY36312" fmla="*/ 540215 h 6557032"/>
              <a:gd name="connsiteX36313" fmla="*/ 730340 w 4610101"/>
              <a:gd name="connsiteY36313" fmla="*/ 533454 h 6557032"/>
              <a:gd name="connsiteX36314" fmla="*/ 3029282 w 4610101"/>
              <a:gd name="connsiteY36314" fmla="*/ 531934 h 6557032"/>
              <a:gd name="connsiteX36315" fmla="*/ 3029592 w 4610101"/>
              <a:gd name="connsiteY36315" fmla="*/ 532927 h 6557032"/>
              <a:gd name="connsiteX36316" fmla="*/ 3028840 w 4610101"/>
              <a:gd name="connsiteY36316" fmla="*/ 532464 h 6557032"/>
              <a:gd name="connsiteX36317" fmla="*/ 2948762 w 4610101"/>
              <a:gd name="connsiteY36317" fmla="*/ 531247 h 6557032"/>
              <a:gd name="connsiteX36318" fmla="*/ 2946456 w 4610101"/>
              <a:gd name="connsiteY36318" fmla="*/ 540215 h 6557032"/>
              <a:gd name="connsiteX36319" fmla="*/ 2939167 w 4610101"/>
              <a:gd name="connsiteY36319" fmla="*/ 538393 h 6557032"/>
              <a:gd name="connsiteX36320" fmla="*/ 2946456 w 4610101"/>
              <a:gd name="connsiteY36320" fmla="*/ 549326 h 6557032"/>
              <a:gd name="connsiteX36321" fmla="*/ 2953744 w 4610101"/>
              <a:gd name="connsiteY36321" fmla="*/ 532926 h 6557032"/>
              <a:gd name="connsiteX36322" fmla="*/ 2948762 w 4610101"/>
              <a:gd name="connsiteY36322" fmla="*/ 531247 h 6557032"/>
              <a:gd name="connsiteX36323" fmla="*/ 3352800 w 4610101"/>
              <a:gd name="connsiteY36323" fmla="*/ 531105 h 6557032"/>
              <a:gd name="connsiteX36324" fmla="*/ 3341867 w 4610101"/>
              <a:gd name="connsiteY36324" fmla="*/ 540215 h 6557032"/>
              <a:gd name="connsiteX36325" fmla="*/ 3329112 w 4610101"/>
              <a:gd name="connsiteY36325" fmla="*/ 540215 h 6557032"/>
              <a:gd name="connsiteX36326" fmla="*/ 3352800 w 4610101"/>
              <a:gd name="connsiteY36326" fmla="*/ 551148 h 6557032"/>
              <a:gd name="connsiteX36327" fmla="*/ 3345512 w 4610101"/>
              <a:gd name="connsiteY36327" fmla="*/ 540215 h 6557032"/>
              <a:gd name="connsiteX36328" fmla="*/ 3352800 w 4610101"/>
              <a:gd name="connsiteY36328" fmla="*/ 531105 h 6557032"/>
              <a:gd name="connsiteX36329" fmla="*/ 3026631 w 4610101"/>
              <a:gd name="connsiteY36329" fmla="*/ 531105 h 6557032"/>
              <a:gd name="connsiteX36330" fmla="*/ 3028840 w 4610101"/>
              <a:gd name="connsiteY36330" fmla="*/ 532464 h 6557032"/>
              <a:gd name="connsiteX36331" fmla="*/ 3028453 w 4610101"/>
              <a:gd name="connsiteY36331" fmla="*/ 532926 h 6557032"/>
              <a:gd name="connsiteX36332" fmla="*/ 3027448 w 4610101"/>
              <a:gd name="connsiteY36332" fmla="*/ 532675 h 6557032"/>
              <a:gd name="connsiteX36333" fmla="*/ 2685885 w 4610101"/>
              <a:gd name="connsiteY36333" fmla="*/ 531105 h 6557032"/>
              <a:gd name="connsiteX36334" fmla="*/ 2689529 w 4610101"/>
              <a:gd name="connsiteY36334" fmla="*/ 549326 h 6557032"/>
              <a:gd name="connsiteX36335" fmla="*/ 2691351 w 4610101"/>
              <a:gd name="connsiteY36335" fmla="*/ 536571 h 6557032"/>
              <a:gd name="connsiteX36336" fmla="*/ 2685885 w 4610101"/>
              <a:gd name="connsiteY36336" fmla="*/ 531105 h 6557032"/>
              <a:gd name="connsiteX36337" fmla="*/ 2153810 w 4610101"/>
              <a:gd name="connsiteY36337" fmla="*/ 531105 h 6557032"/>
              <a:gd name="connsiteX36338" fmla="*/ 2157454 w 4610101"/>
              <a:gd name="connsiteY36338" fmla="*/ 540215 h 6557032"/>
              <a:gd name="connsiteX36339" fmla="*/ 2161099 w 4610101"/>
              <a:gd name="connsiteY36339" fmla="*/ 532926 h 6557032"/>
              <a:gd name="connsiteX36340" fmla="*/ 2153810 w 4610101"/>
              <a:gd name="connsiteY36340" fmla="*/ 531105 h 6557032"/>
              <a:gd name="connsiteX36341" fmla="*/ 2113722 w 4610101"/>
              <a:gd name="connsiteY36341" fmla="*/ 531105 h 6557032"/>
              <a:gd name="connsiteX36342" fmla="*/ 2119189 w 4610101"/>
              <a:gd name="connsiteY36342" fmla="*/ 540215 h 6557032"/>
              <a:gd name="connsiteX36343" fmla="*/ 2119189 w 4610101"/>
              <a:gd name="connsiteY36343" fmla="*/ 531105 h 6557032"/>
              <a:gd name="connsiteX36344" fmla="*/ 2113722 w 4610101"/>
              <a:gd name="connsiteY36344" fmla="*/ 531105 h 6557032"/>
              <a:gd name="connsiteX36345" fmla="*/ 2104611 w 4610101"/>
              <a:gd name="connsiteY36345" fmla="*/ 531105 h 6557032"/>
              <a:gd name="connsiteX36346" fmla="*/ 2108256 w 4610101"/>
              <a:gd name="connsiteY36346" fmla="*/ 543860 h 6557032"/>
              <a:gd name="connsiteX36347" fmla="*/ 2104611 w 4610101"/>
              <a:gd name="connsiteY36347" fmla="*/ 531105 h 6557032"/>
              <a:gd name="connsiteX36348" fmla="*/ 1443162 w 4610101"/>
              <a:gd name="connsiteY36348" fmla="*/ 531105 h 6557032"/>
              <a:gd name="connsiteX36349" fmla="*/ 1442001 w 4610101"/>
              <a:gd name="connsiteY36349" fmla="*/ 541554 h 6557032"/>
              <a:gd name="connsiteX36350" fmla="*/ 1441112 w 4610101"/>
              <a:gd name="connsiteY36350" fmla="*/ 538393 h 6557032"/>
              <a:gd name="connsiteX36351" fmla="*/ 1443162 w 4610101"/>
              <a:gd name="connsiteY36351" fmla="*/ 531105 h 6557032"/>
              <a:gd name="connsiteX36352" fmla="*/ 1428585 w 4610101"/>
              <a:gd name="connsiteY36352" fmla="*/ 531105 h 6557032"/>
              <a:gd name="connsiteX36353" fmla="*/ 1428130 w 4610101"/>
              <a:gd name="connsiteY36353" fmla="*/ 547048 h 6557032"/>
              <a:gd name="connsiteX36354" fmla="*/ 1426886 w 4610101"/>
              <a:gd name="connsiteY36354" fmla="*/ 548947 h 6557032"/>
              <a:gd name="connsiteX36355" fmla="*/ 1237256 w 4610101"/>
              <a:gd name="connsiteY36355" fmla="*/ 531105 h 6557032"/>
              <a:gd name="connsiteX36356" fmla="*/ 1231790 w 4610101"/>
              <a:gd name="connsiteY36356" fmla="*/ 543860 h 6557032"/>
              <a:gd name="connsiteX36357" fmla="*/ 1237256 w 4610101"/>
              <a:gd name="connsiteY36357" fmla="*/ 531105 h 6557032"/>
              <a:gd name="connsiteX36358" fmla="*/ 1146637 w 4610101"/>
              <a:gd name="connsiteY36358" fmla="*/ 529416 h 6557032"/>
              <a:gd name="connsiteX36359" fmla="*/ 1147677 w 4610101"/>
              <a:gd name="connsiteY36359" fmla="*/ 533577 h 6557032"/>
              <a:gd name="connsiteX36360" fmla="*/ 1146148 w 4610101"/>
              <a:gd name="connsiteY36360" fmla="*/ 531105 h 6557032"/>
              <a:gd name="connsiteX36361" fmla="*/ 3028453 w 4610101"/>
              <a:gd name="connsiteY36361" fmla="*/ 529282 h 6557032"/>
              <a:gd name="connsiteX36362" fmla="*/ 3030408 w 4610101"/>
              <a:gd name="connsiteY36362" fmla="*/ 530586 h 6557032"/>
              <a:gd name="connsiteX36363" fmla="*/ 3029282 w 4610101"/>
              <a:gd name="connsiteY36363" fmla="*/ 531934 h 6557032"/>
              <a:gd name="connsiteX36364" fmla="*/ 2676774 w 4610101"/>
              <a:gd name="connsiteY36364" fmla="*/ 529282 h 6557032"/>
              <a:gd name="connsiteX36365" fmla="*/ 2667663 w 4610101"/>
              <a:gd name="connsiteY36365" fmla="*/ 531105 h 6557032"/>
              <a:gd name="connsiteX36366" fmla="*/ 2678596 w 4610101"/>
              <a:gd name="connsiteY36366" fmla="*/ 538393 h 6557032"/>
              <a:gd name="connsiteX36367" fmla="*/ 2676774 w 4610101"/>
              <a:gd name="connsiteY36367" fmla="*/ 529282 h 6557032"/>
              <a:gd name="connsiteX36368" fmla="*/ 2458113 w 4610101"/>
              <a:gd name="connsiteY36368" fmla="*/ 529282 h 6557032"/>
              <a:gd name="connsiteX36369" fmla="*/ 2456291 w 4610101"/>
              <a:gd name="connsiteY36369" fmla="*/ 540215 h 6557032"/>
              <a:gd name="connsiteX36370" fmla="*/ 2461757 w 4610101"/>
              <a:gd name="connsiteY36370" fmla="*/ 536571 h 6557032"/>
              <a:gd name="connsiteX36371" fmla="*/ 2459935 w 4610101"/>
              <a:gd name="connsiteY36371" fmla="*/ 531105 h 6557032"/>
              <a:gd name="connsiteX36372" fmla="*/ 2467224 w 4610101"/>
              <a:gd name="connsiteY36372" fmla="*/ 545681 h 6557032"/>
              <a:gd name="connsiteX36373" fmla="*/ 2474513 w 4610101"/>
              <a:gd name="connsiteY36373" fmla="*/ 540215 h 6557032"/>
              <a:gd name="connsiteX36374" fmla="*/ 2465402 w 4610101"/>
              <a:gd name="connsiteY36374" fmla="*/ 531105 h 6557032"/>
              <a:gd name="connsiteX36375" fmla="*/ 2458113 w 4610101"/>
              <a:gd name="connsiteY36375" fmla="*/ 529282 h 6557032"/>
              <a:gd name="connsiteX36376" fmla="*/ 2441713 w 4610101"/>
              <a:gd name="connsiteY36376" fmla="*/ 529282 h 6557032"/>
              <a:gd name="connsiteX36377" fmla="*/ 2449002 w 4610101"/>
              <a:gd name="connsiteY36377" fmla="*/ 556616 h 6557032"/>
              <a:gd name="connsiteX36378" fmla="*/ 2443536 w 4610101"/>
              <a:gd name="connsiteY36378" fmla="*/ 563904 h 6557032"/>
              <a:gd name="connsiteX36379" fmla="*/ 2441713 w 4610101"/>
              <a:gd name="connsiteY36379" fmla="*/ 562081 h 6557032"/>
              <a:gd name="connsiteX36380" fmla="*/ 2445358 w 4610101"/>
              <a:gd name="connsiteY36380" fmla="*/ 574836 h 6557032"/>
              <a:gd name="connsiteX36381" fmla="*/ 2445358 w 4610101"/>
              <a:gd name="connsiteY36381" fmla="*/ 569370 h 6557032"/>
              <a:gd name="connsiteX36382" fmla="*/ 2461757 w 4610101"/>
              <a:gd name="connsiteY36382" fmla="*/ 540215 h 6557032"/>
              <a:gd name="connsiteX36383" fmla="*/ 2456291 w 4610101"/>
              <a:gd name="connsiteY36383" fmla="*/ 549326 h 6557032"/>
              <a:gd name="connsiteX36384" fmla="*/ 2452647 w 4610101"/>
              <a:gd name="connsiteY36384" fmla="*/ 534749 h 6557032"/>
              <a:gd name="connsiteX36385" fmla="*/ 2445358 w 4610101"/>
              <a:gd name="connsiteY36385" fmla="*/ 534749 h 6557032"/>
              <a:gd name="connsiteX36386" fmla="*/ 2447180 w 4610101"/>
              <a:gd name="connsiteY36386" fmla="*/ 532926 h 6557032"/>
              <a:gd name="connsiteX36387" fmla="*/ 2441713 w 4610101"/>
              <a:gd name="connsiteY36387" fmla="*/ 529282 h 6557032"/>
              <a:gd name="connsiteX36388" fmla="*/ 2091856 w 4610101"/>
              <a:gd name="connsiteY36388" fmla="*/ 529282 h 6557032"/>
              <a:gd name="connsiteX36389" fmla="*/ 2097323 w 4610101"/>
              <a:gd name="connsiteY36389" fmla="*/ 536571 h 6557032"/>
              <a:gd name="connsiteX36390" fmla="*/ 2091856 w 4610101"/>
              <a:gd name="connsiteY36390" fmla="*/ 529282 h 6557032"/>
              <a:gd name="connsiteX36391" fmla="*/ 1100593 w 4610101"/>
              <a:gd name="connsiteY36391" fmla="*/ 529282 h 6557032"/>
              <a:gd name="connsiteX36392" fmla="*/ 1107882 w 4610101"/>
              <a:gd name="connsiteY36392" fmla="*/ 536571 h 6557032"/>
              <a:gd name="connsiteX36393" fmla="*/ 1100593 w 4610101"/>
              <a:gd name="connsiteY36393" fmla="*/ 529282 h 6557032"/>
              <a:gd name="connsiteX36394" fmla="*/ 863711 w 4610101"/>
              <a:gd name="connsiteY36394" fmla="*/ 529282 h 6557032"/>
              <a:gd name="connsiteX36395" fmla="*/ 861889 w 4610101"/>
              <a:gd name="connsiteY36395" fmla="*/ 536571 h 6557032"/>
              <a:gd name="connsiteX36396" fmla="*/ 863711 w 4610101"/>
              <a:gd name="connsiteY36396" fmla="*/ 529282 h 6557032"/>
              <a:gd name="connsiteX36397" fmla="*/ 847311 w 4610101"/>
              <a:gd name="connsiteY36397" fmla="*/ 529282 h 6557032"/>
              <a:gd name="connsiteX36398" fmla="*/ 845489 w 4610101"/>
              <a:gd name="connsiteY36398" fmla="*/ 536571 h 6557032"/>
              <a:gd name="connsiteX36399" fmla="*/ 847311 w 4610101"/>
              <a:gd name="connsiteY36399" fmla="*/ 529282 h 6557032"/>
              <a:gd name="connsiteX36400" fmla="*/ 484373 w 4610101"/>
              <a:gd name="connsiteY36400" fmla="*/ 528632 h 6557032"/>
              <a:gd name="connsiteX36401" fmla="*/ 488115 w 4610101"/>
              <a:gd name="connsiteY36401" fmla="*/ 531560 h 6557032"/>
              <a:gd name="connsiteX36402" fmla="*/ 491987 w 4610101"/>
              <a:gd name="connsiteY36402" fmla="*/ 538393 h 6557032"/>
              <a:gd name="connsiteX36403" fmla="*/ 486065 w 4610101"/>
              <a:gd name="connsiteY36403" fmla="*/ 532016 h 6557032"/>
              <a:gd name="connsiteX36404" fmla="*/ 2578377 w 4610101"/>
              <a:gd name="connsiteY36404" fmla="*/ 527461 h 6557032"/>
              <a:gd name="connsiteX36405" fmla="*/ 2578377 w 4610101"/>
              <a:gd name="connsiteY36405" fmla="*/ 540215 h 6557032"/>
              <a:gd name="connsiteX36406" fmla="*/ 2578377 w 4610101"/>
              <a:gd name="connsiteY36406" fmla="*/ 527461 h 6557032"/>
              <a:gd name="connsiteX36407" fmla="*/ 2520067 w 4610101"/>
              <a:gd name="connsiteY36407" fmla="*/ 527461 h 6557032"/>
              <a:gd name="connsiteX36408" fmla="*/ 2512778 w 4610101"/>
              <a:gd name="connsiteY36408" fmla="*/ 545681 h 6557032"/>
              <a:gd name="connsiteX36409" fmla="*/ 2527356 w 4610101"/>
              <a:gd name="connsiteY36409" fmla="*/ 532926 h 6557032"/>
              <a:gd name="connsiteX36410" fmla="*/ 2520067 w 4610101"/>
              <a:gd name="connsiteY36410" fmla="*/ 527461 h 6557032"/>
              <a:gd name="connsiteX36411" fmla="*/ 2006214 w 4610101"/>
              <a:gd name="connsiteY36411" fmla="*/ 527461 h 6557032"/>
              <a:gd name="connsiteX36412" fmla="*/ 2002570 w 4610101"/>
              <a:gd name="connsiteY36412" fmla="*/ 542037 h 6557032"/>
              <a:gd name="connsiteX36413" fmla="*/ 2006214 w 4610101"/>
              <a:gd name="connsiteY36413" fmla="*/ 527461 h 6557032"/>
              <a:gd name="connsiteX36414" fmla="*/ 1146148 w 4610101"/>
              <a:gd name="connsiteY36414" fmla="*/ 527461 h 6557032"/>
              <a:gd name="connsiteX36415" fmla="*/ 1146834 w 4610101"/>
              <a:gd name="connsiteY36415" fmla="*/ 528735 h 6557032"/>
              <a:gd name="connsiteX36416" fmla="*/ 1146637 w 4610101"/>
              <a:gd name="connsiteY36416" fmla="*/ 529416 h 6557032"/>
              <a:gd name="connsiteX36417" fmla="*/ 952997 w 4610101"/>
              <a:gd name="connsiteY36417" fmla="*/ 527461 h 6557032"/>
              <a:gd name="connsiteX36418" fmla="*/ 947531 w 4610101"/>
              <a:gd name="connsiteY36418" fmla="*/ 529282 h 6557032"/>
              <a:gd name="connsiteX36419" fmla="*/ 949353 w 4610101"/>
              <a:gd name="connsiteY36419" fmla="*/ 536571 h 6557032"/>
              <a:gd name="connsiteX36420" fmla="*/ 952997 w 4610101"/>
              <a:gd name="connsiteY36420" fmla="*/ 527461 h 6557032"/>
              <a:gd name="connsiteX36421" fmla="*/ 1147484 w 4610101"/>
              <a:gd name="connsiteY36421" fmla="*/ 526488 h 6557032"/>
              <a:gd name="connsiteX36422" fmla="*/ 1149792 w 4610101"/>
              <a:gd name="connsiteY36422" fmla="*/ 531105 h 6557032"/>
              <a:gd name="connsiteX36423" fmla="*/ 1147899 w 4610101"/>
              <a:gd name="connsiteY36423" fmla="*/ 533412 h 6557032"/>
              <a:gd name="connsiteX36424" fmla="*/ 1147742 w 4610101"/>
              <a:gd name="connsiteY36424" fmla="*/ 530421 h 6557032"/>
              <a:gd name="connsiteX36425" fmla="*/ 1146834 w 4610101"/>
              <a:gd name="connsiteY36425" fmla="*/ 528735 h 6557032"/>
              <a:gd name="connsiteX36426" fmla="*/ 932624 w 4610101"/>
              <a:gd name="connsiteY36426" fmla="*/ 526204 h 6557032"/>
              <a:gd name="connsiteX36427" fmla="*/ 934549 w 4610101"/>
              <a:gd name="connsiteY36427" fmla="*/ 529282 h 6557032"/>
              <a:gd name="connsiteX36428" fmla="*/ 936598 w 4610101"/>
              <a:gd name="connsiteY36428" fmla="*/ 534749 h 6557032"/>
              <a:gd name="connsiteX36429" fmla="*/ 937371 w 4610101"/>
              <a:gd name="connsiteY36429" fmla="*/ 534749 h 6557032"/>
              <a:gd name="connsiteX36430" fmla="*/ 936598 w 4610101"/>
              <a:gd name="connsiteY36430" fmla="*/ 538393 h 6557032"/>
              <a:gd name="connsiteX36431" fmla="*/ 929537 w 4610101"/>
              <a:gd name="connsiteY36431" fmla="*/ 532244 h 6557032"/>
              <a:gd name="connsiteX36432" fmla="*/ 2308695 w 4610101"/>
              <a:gd name="connsiteY36432" fmla="*/ 525638 h 6557032"/>
              <a:gd name="connsiteX36433" fmla="*/ 2311633 w 4610101"/>
              <a:gd name="connsiteY36433" fmla="*/ 531882 h 6557032"/>
              <a:gd name="connsiteX36434" fmla="*/ 2307120 w 4610101"/>
              <a:gd name="connsiteY36434" fmla="*/ 527213 h 6557032"/>
              <a:gd name="connsiteX36435" fmla="*/ 996729 w 4610101"/>
              <a:gd name="connsiteY36435" fmla="*/ 525638 h 6557032"/>
              <a:gd name="connsiteX36436" fmla="*/ 989441 w 4610101"/>
              <a:gd name="connsiteY36436" fmla="*/ 545681 h 6557032"/>
              <a:gd name="connsiteX36437" fmla="*/ 988854 w 4610101"/>
              <a:gd name="connsiteY36437" fmla="*/ 544505 h 6557032"/>
              <a:gd name="connsiteX36438" fmla="*/ 995004 w 4610101"/>
              <a:gd name="connsiteY36438" fmla="*/ 527471 h 6557032"/>
              <a:gd name="connsiteX36439" fmla="*/ 971219 w 4610101"/>
              <a:gd name="connsiteY36439" fmla="*/ 525638 h 6557032"/>
              <a:gd name="connsiteX36440" fmla="*/ 971015 w 4610101"/>
              <a:gd name="connsiteY36440" fmla="*/ 526659 h 6557032"/>
              <a:gd name="connsiteX36441" fmla="*/ 970694 w 4610101"/>
              <a:gd name="connsiteY36441" fmla="*/ 527081 h 6557032"/>
              <a:gd name="connsiteX36442" fmla="*/ 482876 w 4610101"/>
              <a:gd name="connsiteY36442" fmla="*/ 525638 h 6557032"/>
              <a:gd name="connsiteX36443" fmla="*/ 484373 w 4610101"/>
              <a:gd name="connsiteY36443" fmla="*/ 528632 h 6557032"/>
              <a:gd name="connsiteX36444" fmla="*/ 482876 w 4610101"/>
              <a:gd name="connsiteY36444" fmla="*/ 527461 h 6557032"/>
              <a:gd name="connsiteX36445" fmla="*/ 2332383 w 4610101"/>
              <a:gd name="connsiteY36445" fmla="*/ 523815 h 6557032"/>
              <a:gd name="connsiteX36446" fmla="*/ 2332383 w 4610101"/>
              <a:gd name="connsiteY36446" fmla="*/ 532926 h 6557032"/>
              <a:gd name="connsiteX36447" fmla="*/ 2332383 w 4610101"/>
              <a:gd name="connsiteY36447" fmla="*/ 523815 h 6557032"/>
              <a:gd name="connsiteX36448" fmla="*/ 1215390 w 4610101"/>
              <a:gd name="connsiteY36448" fmla="*/ 523815 h 6557032"/>
              <a:gd name="connsiteX36449" fmla="*/ 1215390 w 4610101"/>
              <a:gd name="connsiteY36449" fmla="*/ 554792 h 6557032"/>
              <a:gd name="connsiteX36450" fmla="*/ 1215390 w 4610101"/>
              <a:gd name="connsiteY36450" fmla="*/ 523815 h 6557032"/>
              <a:gd name="connsiteX36451" fmla="*/ 1146148 w 4610101"/>
              <a:gd name="connsiteY36451" fmla="*/ 523815 h 6557032"/>
              <a:gd name="connsiteX36452" fmla="*/ 1147916 w 4610101"/>
              <a:gd name="connsiteY36452" fmla="*/ 524995 h 6557032"/>
              <a:gd name="connsiteX36453" fmla="*/ 1147484 w 4610101"/>
              <a:gd name="connsiteY36453" fmla="*/ 526488 h 6557032"/>
              <a:gd name="connsiteX36454" fmla="*/ 1016774 w 4610101"/>
              <a:gd name="connsiteY36454" fmla="*/ 523815 h 6557032"/>
              <a:gd name="connsiteX36455" fmla="*/ 1011307 w 4610101"/>
              <a:gd name="connsiteY36455" fmla="*/ 531105 h 6557032"/>
              <a:gd name="connsiteX36456" fmla="*/ 1016774 w 4610101"/>
              <a:gd name="connsiteY36456" fmla="*/ 523815 h 6557032"/>
              <a:gd name="connsiteX36457" fmla="*/ 867355 w 4610101"/>
              <a:gd name="connsiteY36457" fmla="*/ 523815 h 6557032"/>
              <a:gd name="connsiteX36458" fmla="*/ 871000 w 4610101"/>
              <a:gd name="connsiteY36458" fmla="*/ 540215 h 6557032"/>
              <a:gd name="connsiteX36459" fmla="*/ 867355 w 4610101"/>
              <a:gd name="connsiteY36459" fmla="*/ 523815 h 6557032"/>
              <a:gd name="connsiteX36460" fmla="*/ 256927 w 4610101"/>
              <a:gd name="connsiteY36460" fmla="*/ 523815 h 6557032"/>
              <a:gd name="connsiteX36461" fmla="*/ 261482 w 4610101"/>
              <a:gd name="connsiteY36461" fmla="*/ 532927 h 6557032"/>
              <a:gd name="connsiteX36462" fmla="*/ 261420 w 4610101"/>
              <a:gd name="connsiteY36462" fmla="*/ 533544 h 6557032"/>
              <a:gd name="connsiteX36463" fmla="*/ 258033 w 4610101"/>
              <a:gd name="connsiteY36463" fmla="*/ 529346 h 6557032"/>
              <a:gd name="connsiteX36464" fmla="*/ 1116993 w 4610101"/>
              <a:gd name="connsiteY36464" fmla="*/ 522803 h 6557032"/>
              <a:gd name="connsiteX36465" fmla="*/ 1117221 w 4610101"/>
              <a:gd name="connsiteY36465" fmla="*/ 523132 h 6557032"/>
              <a:gd name="connsiteX36466" fmla="*/ 1116993 w 4610101"/>
              <a:gd name="connsiteY36466" fmla="*/ 523613 h 6557032"/>
              <a:gd name="connsiteX36467" fmla="*/ 468804 w 4610101"/>
              <a:gd name="connsiteY36467" fmla="*/ 522708 h 6557032"/>
              <a:gd name="connsiteX36468" fmla="*/ 482876 w 4610101"/>
              <a:gd name="connsiteY36468" fmla="*/ 532926 h 6557032"/>
              <a:gd name="connsiteX36469" fmla="*/ 482876 w 4610101"/>
              <a:gd name="connsiteY36469" fmla="*/ 529282 h 6557032"/>
              <a:gd name="connsiteX36470" fmla="*/ 482876 w 4610101"/>
              <a:gd name="connsiteY36470" fmla="*/ 527461 h 6557032"/>
              <a:gd name="connsiteX36471" fmla="*/ 485579 w 4610101"/>
              <a:gd name="connsiteY36471" fmla="*/ 536245 h 6557032"/>
              <a:gd name="connsiteX36472" fmla="*/ 481054 w 4610101"/>
              <a:gd name="connsiteY36472" fmla="*/ 532926 h 6557032"/>
              <a:gd name="connsiteX36473" fmla="*/ 484472 w 4610101"/>
              <a:gd name="connsiteY36473" fmla="*/ 539988 h 6557032"/>
              <a:gd name="connsiteX36474" fmla="*/ 487418 w 4610101"/>
              <a:gd name="connsiteY36474" fmla="*/ 542220 h 6557032"/>
              <a:gd name="connsiteX36475" fmla="*/ 489254 w 4610101"/>
              <a:gd name="connsiteY36475" fmla="*/ 548187 h 6557032"/>
              <a:gd name="connsiteX36476" fmla="*/ 491039 w 4610101"/>
              <a:gd name="connsiteY36476" fmla="*/ 551105 h 6557032"/>
              <a:gd name="connsiteX36477" fmla="*/ 478093 w 4610101"/>
              <a:gd name="connsiteY36477" fmla="*/ 536116 h 6557032"/>
              <a:gd name="connsiteX36478" fmla="*/ 2192076 w 4610101"/>
              <a:gd name="connsiteY36478" fmla="*/ 521993 h 6557032"/>
              <a:gd name="connsiteX36479" fmla="*/ 2186609 w 4610101"/>
              <a:gd name="connsiteY36479" fmla="*/ 523815 h 6557032"/>
              <a:gd name="connsiteX36480" fmla="*/ 2192076 w 4610101"/>
              <a:gd name="connsiteY36480" fmla="*/ 527461 h 6557032"/>
              <a:gd name="connsiteX36481" fmla="*/ 2192076 w 4610101"/>
              <a:gd name="connsiteY36481" fmla="*/ 521993 h 6557032"/>
              <a:gd name="connsiteX36482" fmla="*/ 962108 w 4610101"/>
              <a:gd name="connsiteY36482" fmla="*/ 521993 h 6557032"/>
              <a:gd name="connsiteX36483" fmla="*/ 952997 w 4610101"/>
              <a:gd name="connsiteY36483" fmla="*/ 547504 h 6557032"/>
              <a:gd name="connsiteX36484" fmla="*/ 949353 w 4610101"/>
              <a:gd name="connsiteY36484" fmla="*/ 545681 h 6557032"/>
              <a:gd name="connsiteX36485" fmla="*/ 947531 w 4610101"/>
              <a:gd name="connsiteY36485" fmla="*/ 551148 h 6557032"/>
              <a:gd name="connsiteX36486" fmla="*/ 952997 w 4610101"/>
              <a:gd name="connsiteY36486" fmla="*/ 547504 h 6557032"/>
              <a:gd name="connsiteX36487" fmla="*/ 958464 w 4610101"/>
              <a:gd name="connsiteY36487" fmla="*/ 542037 h 6557032"/>
              <a:gd name="connsiteX36488" fmla="*/ 960286 w 4610101"/>
              <a:gd name="connsiteY36488" fmla="*/ 529282 h 6557032"/>
              <a:gd name="connsiteX36489" fmla="*/ 962108 w 4610101"/>
              <a:gd name="connsiteY36489" fmla="*/ 531105 h 6557032"/>
              <a:gd name="connsiteX36490" fmla="*/ 962108 w 4610101"/>
              <a:gd name="connsiteY36490" fmla="*/ 521993 h 6557032"/>
              <a:gd name="connsiteX36491" fmla="*/ 925666 w 4610101"/>
              <a:gd name="connsiteY36491" fmla="*/ 521993 h 6557032"/>
              <a:gd name="connsiteX36492" fmla="*/ 925666 w 4610101"/>
              <a:gd name="connsiteY36492" fmla="*/ 525638 h 6557032"/>
              <a:gd name="connsiteX36493" fmla="*/ 925666 w 4610101"/>
              <a:gd name="connsiteY36493" fmla="*/ 521993 h 6557032"/>
              <a:gd name="connsiteX36494" fmla="*/ 621362 w 4610101"/>
              <a:gd name="connsiteY36494" fmla="*/ 521993 h 6557032"/>
              <a:gd name="connsiteX36495" fmla="*/ 621590 w 4610101"/>
              <a:gd name="connsiteY36495" fmla="*/ 522358 h 6557032"/>
              <a:gd name="connsiteX36496" fmla="*/ 620922 w 4610101"/>
              <a:gd name="connsiteY36496" fmla="*/ 523634 h 6557032"/>
              <a:gd name="connsiteX36497" fmla="*/ 3442087 w 4610101"/>
              <a:gd name="connsiteY36497" fmla="*/ 520171 h 6557032"/>
              <a:gd name="connsiteX36498" fmla="*/ 3442087 w 4610101"/>
              <a:gd name="connsiteY36498" fmla="*/ 532926 h 6557032"/>
              <a:gd name="connsiteX36499" fmla="*/ 3438443 w 4610101"/>
              <a:gd name="connsiteY36499" fmla="*/ 529282 h 6557032"/>
              <a:gd name="connsiteX36500" fmla="*/ 3445731 w 4610101"/>
              <a:gd name="connsiteY36500" fmla="*/ 558437 h 6557032"/>
              <a:gd name="connsiteX36501" fmla="*/ 3453020 w 4610101"/>
              <a:gd name="connsiteY36501" fmla="*/ 554792 h 6557032"/>
              <a:gd name="connsiteX36502" fmla="*/ 3442087 w 4610101"/>
              <a:gd name="connsiteY36502" fmla="*/ 520171 h 6557032"/>
              <a:gd name="connsiteX36503" fmla="*/ 3239826 w 4610101"/>
              <a:gd name="connsiteY36503" fmla="*/ 520171 h 6557032"/>
              <a:gd name="connsiteX36504" fmla="*/ 3234359 w 4610101"/>
              <a:gd name="connsiteY36504" fmla="*/ 532926 h 6557032"/>
              <a:gd name="connsiteX36505" fmla="*/ 3241648 w 4610101"/>
              <a:gd name="connsiteY36505" fmla="*/ 531105 h 6557032"/>
              <a:gd name="connsiteX36506" fmla="*/ 3239826 w 4610101"/>
              <a:gd name="connsiteY36506" fmla="*/ 520171 h 6557032"/>
              <a:gd name="connsiteX36507" fmla="*/ 2993832 w 4610101"/>
              <a:gd name="connsiteY36507" fmla="*/ 520171 h 6557032"/>
              <a:gd name="connsiteX36508" fmla="*/ 2992010 w 4610101"/>
              <a:gd name="connsiteY36508" fmla="*/ 529282 h 6557032"/>
              <a:gd name="connsiteX36509" fmla="*/ 2993832 w 4610101"/>
              <a:gd name="connsiteY36509" fmla="*/ 520171 h 6557032"/>
              <a:gd name="connsiteX36510" fmla="*/ 2986543 w 4610101"/>
              <a:gd name="connsiteY36510" fmla="*/ 520171 h 6557032"/>
              <a:gd name="connsiteX36511" fmla="*/ 2981077 w 4610101"/>
              <a:gd name="connsiteY36511" fmla="*/ 540215 h 6557032"/>
              <a:gd name="connsiteX36512" fmla="*/ 2988366 w 4610101"/>
              <a:gd name="connsiteY36512" fmla="*/ 534749 h 6557032"/>
              <a:gd name="connsiteX36513" fmla="*/ 2986543 w 4610101"/>
              <a:gd name="connsiteY36513" fmla="*/ 520171 h 6557032"/>
              <a:gd name="connsiteX36514" fmla="*/ 2879035 w 4610101"/>
              <a:gd name="connsiteY36514" fmla="*/ 520171 h 6557032"/>
              <a:gd name="connsiteX36515" fmla="*/ 2884502 w 4610101"/>
              <a:gd name="connsiteY36515" fmla="*/ 527461 h 6557032"/>
              <a:gd name="connsiteX36516" fmla="*/ 2884502 w 4610101"/>
              <a:gd name="connsiteY36516" fmla="*/ 520171 h 6557032"/>
              <a:gd name="connsiteX36517" fmla="*/ 2879035 w 4610101"/>
              <a:gd name="connsiteY36517" fmla="*/ 520171 h 6557032"/>
              <a:gd name="connsiteX36518" fmla="*/ 2671307 w 4610101"/>
              <a:gd name="connsiteY36518" fmla="*/ 520171 h 6557032"/>
              <a:gd name="connsiteX36519" fmla="*/ 2671307 w 4610101"/>
              <a:gd name="connsiteY36519" fmla="*/ 525638 h 6557032"/>
              <a:gd name="connsiteX36520" fmla="*/ 2671307 w 4610101"/>
              <a:gd name="connsiteY36520" fmla="*/ 520171 h 6557032"/>
              <a:gd name="connsiteX36521" fmla="*/ 2501845 w 4610101"/>
              <a:gd name="connsiteY36521" fmla="*/ 520171 h 6557032"/>
              <a:gd name="connsiteX36522" fmla="*/ 2496379 w 4610101"/>
              <a:gd name="connsiteY36522" fmla="*/ 527461 h 6557032"/>
              <a:gd name="connsiteX36523" fmla="*/ 2509134 w 4610101"/>
              <a:gd name="connsiteY36523" fmla="*/ 540215 h 6557032"/>
              <a:gd name="connsiteX36524" fmla="*/ 2501845 w 4610101"/>
              <a:gd name="connsiteY36524" fmla="*/ 520171 h 6557032"/>
              <a:gd name="connsiteX36525" fmla="*/ 2489090 w 4610101"/>
              <a:gd name="connsiteY36525" fmla="*/ 520171 h 6557032"/>
              <a:gd name="connsiteX36526" fmla="*/ 2485446 w 4610101"/>
              <a:gd name="connsiteY36526" fmla="*/ 521993 h 6557032"/>
              <a:gd name="connsiteX36527" fmla="*/ 2487268 w 4610101"/>
              <a:gd name="connsiteY36527" fmla="*/ 527461 h 6557032"/>
              <a:gd name="connsiteX36528" fmla="*/ 2489090 w 4610101"/>
              <a:gd name="connsiteY36528" fmla="*/ 520171 h 6557032"/>
              <a:gd name="connsiteX36529" fmla="*/ 1248189 w 4610101"/>
              <a:gd name="connsiteY36529" fmla="*/ 520171 h 6557032"/>
              <a:gd name="connsiteX36530" fmla="*/ 1246367 w 4610101"/>
              <a:gd name="connsiteY36530" fmla="*/ 545681 h 6557032"/>
              <a:gd name="connsiteX36531" fmla="*/ 1250012 w 4610101"/>
              <a:gd name="connsiteY36531" fmla="*/ 543860 h 6557032"/>
              <a:gd name="connsiteX36532" fmla="*/ 1217213 w 4610101"/>
              <a:gd name="connsiteY36532" fmla="*/ 569370 h 6557032"/>
              <a:gd name="connsiteX36533" fmla="*/ 1229969 w 4610101"/>
              <a:gd name="connsiteY36533" fmla="*/ 563904 h 6557032"/>
              <a:gd name="connsiteX36534" fmla="*/ 1226323 w 4610101"/>
              <a:gd name="connsiteY36534" fmla="*/ 569370 h 6557032"/>
              <a:gd name="connsiteX36535" fmla="*/ 1229969 w 4610101"/>
              <a:gd name="connsiteY36535" fmla="*/ 569370 h 6557032"/>
              <a:gd name="connsiteX36536" fmla="*/ 1219036 w 4610101"/>
              <a:gd name="connsiteY36536" fmla="*/ 573014 h 6557032"/>
              <a:gd name="connsiteX36537" fmla="*/ 1222679 w 4610101"/>
              <a:gd name="connsiteY36537" fmla="*/ 578481 h 6557032"/>
              <a:gd name="connsiteX36538" fmla="*/ 1217213 w 4610101"/>
              <a:gd name="connsiteY36538" fmla="*/ 573014 h 6557032"/>
              <a:gd name="connsiteX36539" fmla="*/ 1208170 w 4610101"/>
              <a:gd name="connsiteY36539" fmla="*/ 582057 h 6557032"/>
              <a:gd name="connsiteX36540" fmla="*/ 1204457 w 4610101"/>
              <a:gd name="connsiteY36540" fmla="*/ 578481 h 6557032"/>
              <a:gd name="connsiteX36541" fmla="*/ 1197169 w 4610101"/>
              <a:gd name="connsiteY36541" fmla="*/ 598524 h 6557032"/>
              <a:gd name="connsiteX36542" fmla="*/ 1195346 w 4610101"/>
              <a:gd name="connsiteY36542" fmla="*/ 591236 h 6557032"/>
              <a:gd name="connsiteX36543" fmla="*/ 1191703 w 4610101"/>
              <a:gd name="connsiteY36543" fmla="*/ 583947 h 6557032"/>
              <a:gd name="connsiteX36544" fmla="*/ 1189880 w 4610101"/>
              <a:gd name="connsiteY36544" fmla="*/ 593058 h 6557032"/>
              <a:gd name="connsiteX36545" fmla="*/ 1195346 w 4610101"/>
              <a:gd name="connsiteY36545" fmla="*/ 591236 h 6557032"/>
              <a:gd name="connsiteX36546" fmla="*/ 1191342 w 4610101"/>
              <a:gd name="connsiteY36546" fmla="*/ 604724 h 6557032"/>
              <a:gd name="connsiteX36547" fmla="*/ 1191703 w 4610101"/>
              <a:gd name="connsiteY36547" fmla="*/ 602169 h 6557032"/>
              <a:gd name="connsiteX36548" fmla="*/ 1178947 w 4610101"/>
              <a:gd name="connsiteY36548" fmla="*/ 622213 h 6557032"/>
              <a:gd name="connsiteX36549" fmla="*/ 1180769 w 4610101"/>
              <a:gd name="connsiteY36549" fmla="*/ 618568 h 6557032"/>
              <a:gd name="connsiteX36550" fmla="*/ 1178947 w 4610101"/>
              <a:gd name="connsiteY36550" fmla="*/ 627679 h 6557032"/>
              <a:gd name="connsiteX36551" fmla="*/ 1188264 w 4610101"/>
              <a:gd name="connsiteY36551" fmla="*/ 619375 h 6557032"/>
              <a:gd name="connsiteX36552" fmla="*/ 1188058 w 4610101"/>
              <a:gd name="connsiteY36552" fmla="*/ 620391 h 6557032"/>
              <a:gd name="connsiteX36553" fmla="*/ 1188969 w 4610101"/>
              <a:gd name="connsiteY36553" fmla="*/ 619252 h 6557032"/>
              <a:gd name="connsiteX36554" fmla="*/ 1189241 w 4610101"/>
              <a:gd name="connsiteY36554" fmla="*/ 618505 h 6557032"/>
              <a:gd name="connsiteX36555" fmla="*/ 1189424 w 4610101"/>
              <a:gd name="connsiteY36555" fmla="*/ 618341 h 6557032"/>
              <a:gd name="connsiteX36556" fmla="*/ 1189504 w 4610101"/>
              <a:gd name="connsiteY36556" fmla="*/ 617784 h 6557032"/>
              <a:gd name="connsiteX36557" fmla="*/ 1189880 w 4610101"/>
              <a:gd name="connsiteY36557" fmla="*/ 616746 h 6557032"/>
              <a:gd name="connsiteX36558" fmla="*/ 1189880 w 4610101"/>
              <a:gd name="connsiteY36558" fmla="*/ 622213 h 6557032"/>
              <a:gd name="connsiteX36559" fmla="*/ 1195346 w 4610101"/>
              <a:gd name="connsiteY36559" fmla="*/ 607635 h 6557032"/>
              <a:gd name="connsiteX36560" fmla="*/ 1191703 w 4610101"/>
              <a:gd name="connsiteY36560" fmla="*/ 603991 h 6557032"/>
              <a:gd name="connsiteX36561" fmla="*/ 1197169 w 4610101"/>
              <a:gd name="connsiteY36561" fmla="*/ 603991 h 6557032"/>
              <a:gd name="connsiteX36562" fmla="*/ 1200814 w 4610101"/>
              <a:gd name="connsiteY36562" fmla="*/ 596702 h 6557032"/>
              <a:gd name="connsiteX36563" fmla="*/ 1193525 w 4610101"/>
              <a:gd name="connsiteY36563" fmla="*/ 620391 h 6557032"/>
              <a:gd name="connsiteX36564" fmla="*/ 1198991 w 4610101"/>
              <a:gd name="connsiteY36564" fmla="*/ 613103 h 6557032"/>
              <a:gd name="connsiteX36565" fmla="*/ 1193525 w 4610101"/>
              <a:gd name="connsiteY36565" fmla="*/ 625857 h 6557032"/>
              <a:gd name="connsiteX36566" fmla="*/ 1204457 w 4610101"/>
              <a:gd name="connsiteY36566" fmla="*/ 620391 h 6557032"/>
              <a:gd name="connsiteX36567" fmla="*/ 1204457 w 4610101"/>
              <a:gd name="connsiteY36567" fmla="*/ 627679 h 6557032"/>
              <a:gd name="connsiteX36568" fmla="*/ 1209925 w 4610101"/>
              <a:gd name="connsiteY36568" fmla="*/ 624035 h 6557032"/>
              <a:gd name="connsiteX36569" fmla="*/ 1206279 w 4610101"/>
              <a:gd name="connsiteY36569" fmla="*/ 620391 h 6557032"/>
              <a:gd name="connsiteX36570" fmla="*/ 1211747 w 4610101"/>
              <a:gd name="connsiteY36570" fmla="*/ 624035 h 6557032"/>
              <a:gd name="connsiteX36571" fmla="*/ 1217213 w 4610101"/>
              <a:gd name="connsiteY36571" fmla="*/ 613103 h 6557032"/>
              <a:gd name="connsiteX36572" fmla="*/ 1220858 w 4610101"/>
              <a:gd name="connsiteY36572" fmla="*/ 618568 h 6557032"/>
              <a:gd name="connsiteX36573" fmla="*/ 1222679 w 4610101"/>
              <a:gd name="connsiteY36573" fmla="*/ 618568 h 6557032"/>
              <a:gd name="connsiteX36574" fmla="*/ 1226323 w 4610101"/>
              <a:gd name="connsiteY36574" fmla="*/ 613103 h 6557032"/>
              <a:gd name="connsiteX36575" fmla="*/ 1226323 w 4610101"/>
              <a:gd name="connsiteY36575" fmla="*/ 602169 h 6557032"/>
              <a:gd name="connsiteX36576" fmla="*/ 1218533 w 4610101"/>
              <a:gd name="connsiteY36576" fmla="*/ 592525 h 6557032"/>
              <a:gd name="connsiteX36577" fmla="*/ 1226323 w 4610101"/>
              <a:gd name="connsiteY36577" fmla="*/ 594880 h 6557032"/>
              <a:gd name="connsiteX36578" fmla="*/ 1233612 w 4610101"/>
              <a:gd name="connsiteY36578" fmla="*/ 611280 h 6557032"/>
              <a:gd name="connsiteX36579" fmla="*/ 1234028 w 4610101"/>
              <a:gd name="connsiteY36579" fmla="*/ 610221 h 6557032"/>
              <a:gd name="connsiteX36580" fmla="*/ 1244545 w 4610101"/>
              <a:gd name="connsiteY36580" fmla="*/ 629501 h 6557032"/>
              <a:gd name="connsiteX36581" fmla="*/ 1248189 w 4610101"/>
              <a:gd name="connsiteY36581" fmla="*/ 627679 h 6557032"/>
              <a:gd name="connsiteX36582" fmla="*/ 1244545 w 4610101"/>
              <a:gd name="connsiteY36582" fmla="*/ 625857 h 6557032"/>
              <a:gd name="connsiteX36583" fmla="*/ 1248189 w 4610101"/>
              <a:gd name="connsiteY36583" fmla="*/ 625857 h 6557032"/>
              <a:gd name="connsiteX36584" fmla="*/ 1240901 w 4610101"/>
              <a:gd name="connsiteY36584" fmla="*/ 618568 h 6557032"/>
              <a:gd name="connsiteX36585" fmla="*/ 1244545 w 4610101"/>
              <a:gd name="connsiteY36585" fmla="*/ 620391 h 6557032"/>
              <a:gd name="connsiteX36586" fmla="*/ 1242723 w 4610101"/>
              <a:gd name="connsiteY36586" fmla="*/ 616746 h 6557032"/>
              <a:gd name="connsiteX36587" fmla="*/ 1250012 w 4610101"/>
              <a:gd name="connsiteY36587" fmla="*/ 620391 h 6557032"/>
              <a:gd name="connsiteX36588" fmla="*/ 1248189 w 4610101"/>
              <a:gd name="connsiteY36588" fmla="*/ 622213 h 6557032"/>
              <a:gd name="connsiteX36589" fmla="*/ 1251834 w 4610101"/>
              <a:gd name="connsiteY36589" fmla="*/ 625857 h 6557032"/>
              <a:gd name="connsiteX36590" fmla="*/ 1251834 w 4610101"/>
              <a:gd name="connsiteY36590" fmla="*/ 618568 h 6557032"/>
              <a:gd name="connsiteX36591" fmla="*/ 1255478 w 4610101"/>
              <a:gd name="connsiteY36591" fmla="*/ 614924 h 6557032"/>
              <a:gd name="connsiteX36592" fmla="*/ 1255478 w 4610101"/>
              <a:gd name="connsiteY36592" fmla="*/ 605813 h 6557032"/>
              <a:gd name="connsiteX36593" fmla="*/ 1260945 w 4610101"/>
              <a:gd name="connsiteY36593" fmla="*/ 620391 h 6557032"/>
              <a:gd name="connsiteX36594" fmla="*/ 1259123 w 4610101"/>
              <a:gd name="connsiteY36594" fmla="*/ 600347 h 6557032"/>
              <a:gd name="connsiteX36595" fmla="*/ 1262767 w 4610101"/>
              <a:gd name="connsiteY36595" fmla="*/ 616746 h 6557032"/>
              <a:gd name="connsiteX36596" fmla="*/ 1265273 w 4610101"/>
              <a:gd name="connsiteY36596" fmla="*/ 607180 h 6557032"/>
              <a:gd name="connsiteX36597" fmla="*/ 1255604 w 4610101"/>
              <a:gd name="connsiteY36597" fmla="*/ 595039 h 6557032"/>
              <a:gd name="connsiteX36598" fmla="*/ 1256247 w 4610101"/>
              <a:gd name="connsiteY36598" fmla="*/ 586538 h 6557032"/>
              <a:gd name="connsiteX36599" fmla="*/ 1239080 w 4610101"/>
              <a:gd name="connsiteY36599" fmla="*/ 552970 h 6557032"/>
              <a:gd name="connsiteX36600" fmla="*/ 1242723 w 4610101"/>
              <a:gd name="connsiteY36600" fmla="*/ 552970 h 6557032"/>
              <a:gd name="connsiteX36601" fmla="*/ 1242723 w 4610101"/>
              <a:gd name="connsiteY36601" fmla="*/ 556616 h 6557032"/>
              <a:gd name="connsiteX36602" fmla="*/ 1271878 w 4610101"/>
              <a:gd name="connsiteY36602" fmla="*/ 609459 h 6557032"/>
              <a:gd name="connsiteX36603" fmla="*/ 1270056 w 4610101"/>
              <a:gd name="connsiteY36603" fmla="*/ 574836 h 6557032"/>
              <a:gd name="connsiteX36604" fmla="*/ 1250012 w 4610101"/>
              <a:gd name="connsiteY36604" fmla="*/ 527461 h 6557032"/>
              <a:gd name="connsiteX36605" fmla="*/ 1248189 w 4610101"/>
              <a:gd name="connsiteY36605" fmla="*/ 520171 h 6557032"/>
              <a:gd name="connsiteX36606" fmla="*/ 1115171 w 4610101"/>
              <a:gd name="connsiteY36606" fmla="*/ 520171 h 6557032"/>
              <a:gd name="connsiteX36607" fmla="*/ 1115724 w 4610101"/>
              <a:gd name="connsiteY36607" fmla="*/ 520969 h 6557032"/>
              <a:gd name="connsiteX36608" fmla="*/ 1115171 w 4610101"/>
              <a:gd name="connsiteY36608" fmla="*/ 522904 h 6557032"/>
              <a:gd name="connsiteX36609" fmla="*/ 641407 w 4610101"/>
              <a:gd name="connsiteY36609" fmla="*/ 520171 h 6557032"/>
              <a:gd name="connsiteX36610" fmla="*/ 637761 w 4610101"/>
              <a:gd name="connsiteY36610" fmla="*/ 525638 h 6557032"/>
              <a:gd name="connsiteX36611" fmla="*/ 641407 w 4610101"/>
              <a:gd name="connsiteY36611" fmla="*/ 520171 h 6557032"/>
              <a:gd name="connsiteX36612" fmla="*/ 660350 w 4610101"/>
              <a:gd name="connsiteY36612" fmla="*/ 518504 h 6557032"/>
              <a:gd name="connsiteX36613" fmla="*/ 660994 w 4610101"/>
              <a:gd name="connsiteY36613" fmla="*/ 521766 h 6557032"/>
              <a:gd name="connsiteX36614" fmla="*/ 655983 w 4610101"/>
              <a:gd name="connsiteY36614" fmla="*/ 536571 h 6557032"/>
              <a:gd name="connsiteX36615" fmla="*/ 655830 w 4610101"/>
              <a:gd name="connsiteY36615" fmla="*/ 536263 h 6557032"/>
              <a:gd name="connsiteX36616" fmla="*/ 658033 w 4610101"/>
              <a:gd name="connsiteY36616" fmla="*/ 523816 h 6557032"/>
              <a:gd name="connsiteX36617" fmla="*/ 3216137 w 4610101"/>
              <a:gd name="connsiteY36617" fmla="*/ 518349 h 6557032"/>
              <a:gd name="connsiteX36618" fmla="*/ 3208849 w 4610101"/>
              <a:gd name="connsiteY36618" fmla="*/ 534749 h 6557032"/>
              <a:gd name="connsiteX36619" fmla="*/ 3216137 w 4610101"/>
              <a:gd name="connsiteY36619" fmla="*/ 518349 h 6557032"/>
              <a:gd name="connsiteX36620" fmla="*/ 1000374 w 4610101"/>
              <a:gd name="connsiteY36620" fmla="*/ 518349 h 6557032"/>
              <a:gd name="connsiteX36621" fmla="*/ 996729 w 4610101"/>
              <a:gd name="connsiteY36621" fmla="*/ 531105 h 6557032"/>
              <a:gd name="connsiteX36622" fmla="*/ 1000374 w 4610101"/>
              <a:gd name="connsiteY36622" fmla="*/ 518349 h 6557032"/>
              <a:gd name="connsiteX36623" fmla="*/ 632296 w 4610101"/>
              <a:gd name="connsiteY36623" fmla="*/ 518349 h 6557032"/>
              <a:gd name="connsiteX36624" fmla="*/ 635939 w 4610101"/>
              <a:gd name="connsiteY36624" fmla="*/ 531105 h 6557032"/>
              <a:gd name="connsiteX36625" fmla="*/ 632296 w 4610101"/>
              <a:gd name="connsiteY36625" fmla="*/ 518349 h 6557032"/>
              <a:gd name="connsiteX36626" fmla="*/ 2968384 w 4610101"/>
              <a:gd name="connsiteY36626" fmla="*/ 517738 h 6557032"/>
              <a:gd name="connsiteX36627" fmla="*/ 2968322 w 4610101"/>
              <a:gd name="connsiteY36627" fmla="*/ 520171 h 6557032"/>
              <a:gd name="connsiteX36628" fmla="*/ 2966851 w 4610101"/>
              <a:gd name="connsiteY36628" fmla="*/ 519719 h 6557032"/>
              <a:gd name="connsiteX36629" fmla="*/ 3261692 w 4610101"/>
              <a:gd name="connsiteY36629" fmla="*/ 516527 h 6557032"/>
              <a:gd name="connsiteX36630" fmla="*/ 3261692 w 4610101"/>
              <a:gd name="connsiteY36630" fmla="*/ 527461 h 6557032"/>
              <a:gd name="connsiteX36631" fmla="*/ 3261692 w 4610101"/>
              <a:gd name="connsiteY36631" fmla="*/ 516527 h 6557032"/>
              <a:gd name="connsiteX36632" fmla="*/ 2585665 w 4610101"/>
              <a:gd name="connsiteY36632" fmla="*/ 516527 h 6557032"/>
              <a:gd name="connsiteX36633" fmla="*/ 2589310 w 4610101"/>
              <a:gd name="connsiteY36633" fmla="*/ 523815 h 6557032"/>
              <a:gd name="connsiteX36634" fmla="*/ 2585665 w 4610101"/>
              <a:gd name="connsiteY36634" fmla="*/ 516527 h 6557032"/>
              <a:gd name="connsiteX36635" fmla="*/ 2115544 w 4610101"/>
              <a:gd name="connsiteY36635" fmla="*/ 516527 h 6557032"/>
              <a:gd name="connsiteX36636" fmla="*/ 2118733 w 4610101"/>
              <a:gd name="connsiteY36636" fmla="*/ 520399 h 6557032"/>
              <a:gd name="connsiteX36637" fmla="*/ 2118788 w 4610101"/>
              <a:gd name="connsiteY36637" fmla="*/ 521032 h 6557032"/>
              <a:gd name="connsiteX36638" fmla="*/ 1155259 w 4610101"/>
              <a:gd name="connsiteY36638" fmla="*/ 516527 h 6557032"/>
              <a:gd name="connsiteX36639" fmla="*/ 1155935 w 4610101"/>
              <a:gd name="connsiteY36639" fmla="*/ 519901 h 6557032"/>
              <a:gd name="connsiteX36640" fmla="*/ 1151614 w 4610101"/>
              <a:gd name="connsiteY36640" fmla="*/ 527461 h 6557032"/>
              <a:gd name="connsiteX36641" fmla="*/ 1147916 w 4610101"/>
              <a:gd name="connsiteY36641" fmla="*/ 524995 h 6557032"/>
              <a:gd name="connsiteX36642" fmla="*/ 1148653 w 4610101"/>
              <a:gd name="connsiteY36642" fmla="*/ 522449 h 6557032"/>
              <a:gd name="connsiteX36643" fmla="*/ 1155259 w 4610101"/>
              <a:gd name="connsiteY36643" fmla="*/ 516527 h 6557032"/>
              <a:gd name="connsiteX36644" fmla="*/ 1116993 w 4610101"/>
              <a:gd name="connsiteY36644" fmla="*/ 516527 h 6557032"/>
              <a:gd name="connsiteX36645" fmla="*/ 1116993 w 4610101"/>
              <a:gd name="connsiteY36645" fmla="*/ 522803 h 6557032"/>
              <a:gd name="connsiteX36646" fmla="*/ 1115724 w 4610101"/>
              <a:gd name="connsiteY36646" fmla="*/ 520969 h 6557032"/>
              <a:gd name="connsiteX36647" fmla="*/ 2678369 w 4610101"/>
              <a:gd name="connsiteY36647" fmla="*/ 514933 h 6557032"/>
              <a:gd name="connsiteX36648" fmla="*/ 2676774 w 4610101"/>
              <a:gd name="connsiteY36648" fmla="*/ 520171 h 6557032"/>
              <a:gd name="connsiteX36649" fmla="*/ 2680418 w 4610101"/>
              <a:gd name="connsiteY36649" fmla="*/ 521993 h 6557032"/>
              <a:gd name="connsiteX36650" fmla="*/ 2680418 w 4610101"/>
              <a:gd name="connsiteY36650" fmla="*/ 520171 h 6557032"/>
              <a:gd name="connsiteX36651" fmla="*/ 2684063 w 4610101"/>
              <a:gd name="connsiteY36651" fmla="*/ 516527 h 6557032"/>
              <a:gd name="connsiteX36652" fmla="*/ 2678369 w 4610101"/>
              <a:gd name="connsiteY36652" fmla="*/ 514933 h 6557032"/>
              <a:gd name="connsiteX36653" fmla="*/ 1177125 w 4610101"/>
              <a:gd name="connsiteY36653" fmla="*/ 514706 h 6557032"/>
              <a:gd name="connsiteX36654" fmla="*/ 1177125 w 4610101"/>
              <a:gd name="connsiteY36654" fmla="*/ 514933 h 6557032"/>
              <a:gd name="connsiteX36655" fmla="*/ 1176977 w 4610101"/>
              <a:gd name="connsiteY36655" fmla="*/ 514927 h 6557032"/>
              <a:gd name="connsiteX36656" fmla="*/ 3352800 w 4610101"/>
              <a:gd name="connsiteY36656" fmla="*/ 514705 h 6557032"/>
              <a:gd name="connsiteX36657" fmla="*/ 3345512 w 4610101"/>
              <a:gd name="connsiteY36657" fmla="*/ 516527 h 6557032"/>
              <a:gd name="connsiteX36658" fmla="*/ 3352800 w 4610101"/>
              <a:gd name="connsiteY36658" fmla="*/ 514705 h 6557032"/>
              <a:gd name="connsiteX36659" fmla="*/ 2982899 w 4610101"/>
              <a:gd name="connsiteY36659" fmla="*/ 514705 h 6557032"/>
              <a:gd name="connsiteX36660" fmla="*/ 2982899 w 4610101"/>
              <a:gd name="connsiteY36660" fmla="*/ 520171 h 6557032"/>
              <a:gd name="connsiteX36661" fmla="*/ 2982899 w 4610101"/>
              <a:gd name="connsiteY36661" fmla="*/ 514705 h 6557032"/>
              <a:gd name="connsiteX36662" fmla="*/ 2203009 w 4610101"/>
              <a:gd name="connsiteY36662" fmla="*/ 514705 h 6557032"/>
              <a:gd name="connsiteX36663" fmla="*/ 2192076 w 4610101"/>
              <a:gd name="connsiteY36663" fmla="*/ 520171 h 6557032"/>
              <a:gd name="connsiteX36664" fmla="*/ 2195720 w 4610101"/>
              <a:gd name="connsiteY36664" fmla="*/ 531105 h 6557032"/>
              <a:gd name="connsiteX36665" fmla="*/ 2208475 w 4610101"/>
              <a:gd name="connsiteY36665" fmla="*/ 516527 h 6557032"/>
              <a:gd name="connsiteX36666" fmla="*/ 2203009 w 4610101"/>
              <a:gd name="connsiteY36666" fmla="*/ 514705 h 6557032"/>
              <a:gd name="connsiteX36667" fmla="*/ 2108256 w 4610101"/>
              <a:gd name="connsiteY36667" fmla="*/ 514705 h 6557032"/>
              <a:gd name="connsiteX36668" fmla="*/ 2111900 w 4610101"/>
              <a:gd name="connsiteY36668" fmla="*/ 525638 h 6557032"/>
              <a:gd name="connsiteX36669" fmla="*/ 2108256 w 4610101"/>
              <a:gd name="connsiteY36669" fmla="*/ 514705 h 6557032"/>
              <a:gd name="connsiteX36670" fmla="*/ 1202636 w 4610101"/>
              <a:gd name="connsiteY36670" fmla="*/ 514705 h 6557032"/>
              <a:gd name="connsiteX36671" fmla="*/ 1204457 w 4610101"/>
              <a:gd name="connsiteY36671" fmla="*/ 520171 h 6557032"/>
              <a:gd name="connsiteX36672" fmla="*/ 1202636 w 4610101"/>
              <a:gd name="connsiteY36672" fmla="*/ 514705 h 6557032"/>
              <a:gd name="connsiteX36673" fmla="*/ 843667 w 4610101"/>
              <a:gd name="connsiteY36673" fmla="*/ 514705 h 6557032"/>
              <a:gd name="connsiteX36674" fmla="*/ 844123 w 4610101"/>
              <a:gd name="connsiteY36674" fmla="*/ 521766 h 6557032"/>
              <a:gd name="connsiteX36675" fmla="*/ 843170 w 4610101"/>
              <a:gd name="connsiteY36675" fmla="*/ 524148 h 6557032"/>
              <a:gd name="connsiteX36676" fmla="*/ 727048 w 4610101"/>
              <a:gd name="connsiteY36676" fmla="*/ 514705 h 6557032"/>
              <a:gd name="connsiteX36677" fmla="*/ 728414 w 4610101"/>
              <a:gd name="connsiteY36677" fmla="*/ 527460 h 6557032"/>
              <a:gd name="connsiteX36678" fmla="*/ 730340 w 4610101"/>
              <a:gd name="connsiteY36678" fmla="*/ 533454 h 6557032"/>
              <a:gd name="connsiteX36679" fmla="*/ 729057 w 4610101"/>
              <a:gd name="connsiteY36679" fmla="*/ 535380 h 6557032"/>
              <a:gd name="connsiteX36680" fmla="*/ 727503 w 4610101"/>
              <a:gd name="connsiteY36680" fmla="*/ 529055 h 6557032"/>
              <a:gd name="connsiteX36681" fmla="*/ 727322 w 4610101"/>
              <a:gd name="connsiteY36681" fmla="*/ 528553 h 6557032"/>
              <a:gd name="connsiteX36682" fmla="*/ 727048 w 4610101"/>
              <a:gd name="connsiteY36682" fmla="*/ 527461 h 6557032"/>
              <a:gd name="connsiteX36683" fmla="*/ 726953 w 4610101"/>
              <a:gd name="connsiteY36683" fmla="*/ 527539 h 6557032"/>
              <a:gd name="connsiteX36684" fmla="*/ 725055 w 4610101"/>
              <a:gd name="connsiteY36684" fmla="*/ 522307 h 6557032"/>
              <a:gd name="connsiteX36685" fmla="*/ 727048 w 4610101"/>
              <a:gd name="connsiteY36685" fmla="*/ 514705 h 6557032"/>
              <a:gd name="connsiteX36686" fmla="*/ 625006 w 4610101"/>
              <a:gd name="connsiteY36686" fmla="*/ 514705 h 6557032"/>
              <a:gd name="connsiteX36687" fmla="*/ 626828 w 4610101"/>
              <a:gd name="connsiteY36687" fmla="*/ 523815 h 6557032"/>
              <a:gd name="connsiteX36688" fmla="*/ 625006 w 4610101"/>
              <a:gd name="connsiteY36688" fmla="*/ 514705 h 6557032"/>
              <a:gd name="connsiteX36689" fmla="*/ 599496 w 4610101"/>
              <a:gd name="connsiteY36689" fmla="*/ 514705 h 6557032"/>
              <a:gd name="connsiteX36690" fmla="*/ 606784 w 4610101"/>
              <a:gd name="connsiteY36690" fmla="*/ 536571 h 6557032"/>
              <a:gd name="connsiteX36691" fmla="*/ 599496 w 4610101"/>
              <a:gd name="connsiteY36691" fmla="*/ 514705 h 6557032"/>
              <a:gd name="connsiteX36692" fmla="*/ 528431 w 4610101"/>
              <a:gd name="connsiteY36692" fmla="*/ 514705 h 6557032"/>
              <a:gd name="connsiteX36693" fmla="*/ 535719 w 4610101"/>
              <a:gd name="connsiteY36693" fmla="*/ 529282 h 6557032"/>
              <a:gd name="connsiteX36694" fmla="*/ 528431 w 4610101"/>
              <a:gd name="connsiteY36694" fmla="*/ 514705 h 6557032"/>
              <a:gd name="connsiteX36695" fmla="*/ 2095291 w 4610101"/>
              <a:gd name="connsiteY36695" fmla="*/ 513654 h 6557032"/>
              <a:gd name="connsiteX36696" fmla="*/ 2096640 w 4610101"/>
              <a:gd name="connsiteY36696" fmla="*/ 515388 h 6557032"/>
              <a:gd name="connsiteX36697" fmla="*/ 2096959 w 4610101"/>
              <a:gd name="connsiteY36697" fmla="*/ 517621 h 6557032"/>
              <a:gd name="connsiteX36698" fmla="*/ 2095956 w 4610101"/>
              <a:gd name="connsiteY36698" fmla="*/ 516983 h 6557032"/>
              <a:gd name="connsiteX36699" fmla="*/ 2020791 w 4610101"/>
              <a:gd name="connsiteY36699" fmla="*/ 512882 h 6557032"/>
              <a:gd name="connsiteX36700" fmla="*/ 2015325 w 4610101"/>
              <a:gd name="connsiteY36700" fmla="*/ 527461 h 6557032"/>
              <a:gd name="connsiteX36701" fmla="*/ 2020791 w 4610101"/>
              <a:gd name="connsiteY36701" fmla="*/ 512882 h 6557032"/>
              <a:gd name="connsiteX36702" fmla="*/ 461671 w 4610101"/>
              <a:gd name="connsiteY36702" fmla="*/ 512410 h 6557032"/>
              <a:gd name="connsiteX36703" fmla="*/ 468804 w 4610101"/>
              <a:gd name="connsiteY36703" fmla="*/ 522708 h 6557032"/>
              <a:gd name="connsiteX36704" fmla="*/ 463743 w 4610101"/>
              <a:gd name="connsiteY36704" fmla="*/ 519032 h 6557032"/>
              <a:gd name="connsiteX36705" fmla="*/ 217427 w 4610101"/>
              <a:gd name="connsiteY36705" fmla="*/ 511706 h 6557032"/>
              <a:gd name="connsiteX36706" fmla="*/ 227690 w 4610101"/>
              <a:gd name="connsiteY36706" fmla="*/ 528667 h 6557032"/>
              <a:gd name="connsiteX36707" fmla="*/ 223416 w 4610101"/>
              <a:gd name="connsiteY36707" fmla="*/ 524186 h 6557032"/>
              <a:gd name="connsiteX36708" fmla="*/ 3378311 w 4610101"/>
              <a:gd name="connsiteY36708" fmla="*/ 511061 h 6557032"/>
              <a:gd name="connsiteX36709" fmla="*/ 3369200 w 4610101"/>
              <a:gd name="connsiteY36709" fmla="*/ 514705 h 6557032"/>
              <a:gd name="connsiteX36710" fmla="*/ 3378311 w 4610101"/>
              <a:gd name="connsiteY36710" fmla="*/ 511061 h 6557032"/>
              <a:gd name="connsiteX36711" fmla="*/ 2172032 w 4610101"/>
              <a:gd name="connsiteY36711" fmla="*/ 511061 h 6557032"/>
              <a:gd name="connsiteX36712" fmla="*/ 2166565 w 4610101"/>
              <a:gd name="connsiteY36712" fmla="*/ 514705 h 6557032"/>
              <a:gd name="connsiteX36713" fmla="*/ 2172032 w 4610101"/>
              <a:gd name="connsiteY36713" fmla="*/ 514705 h 6557032"/>
              <a:gd name="connsiteX36714" fmla="*/ 2172032 w 4610101"/>
              <a:gd name="connsiteY36714" fmla="*/ 511061 h 6557032"/>
              <a:gd name="connsiteX36715" fmla="*/ 931131 w 4610101"/>
              <a:gd name="connsiteY36715" fmla="*/ 511061 h 6557032"/>
              <a:gd name="connsiteX36716" fmla="*/ 929309 w 4610101"/>
              <a:gd name="connsiteY36716" fmla="*/ 518349 h 6557032"/>
              <a:gd name="connsiteX36717" fmla="*/ 931131 w 4610101"/>
              <a:gd name="connsiteY36717" fmla="*/ 511061 h 6557032"/>
              <a:gd name="connsiteX36718" fmla="*/ 2866608 w 4610101"/>
              <a:gd name="connsiteY36718" fmla="*/ 509479 h 6557032"/>
              <a:gd name="connsiteX36719" fmla="*/ 2866280 w 4610101"/>
              <a:gd name="connsiteY36719" fmla="*/ 511061 h 6557032"/>
              <a:gd name="connsiteX36720" fmla="*/ 2865715 w 4610101"/>
              <a:gd name="connsiteY36720" fmla="*/ 510244 h 6557032"/>
              <a:gd name="connsiteX36721" fmla="*/ 3629771 w 4610101"/>
              <a:gd name="connsiteY36721" fmla="*/ 509238 h 6557032"/>
              <a:gd name="connsiteX36722" fmla="*/ 3634782 w 4610101"/>
              <a:gd name="connsiteY36722" fmla="*/ 514022 h 6557032"/>
              <a:gd name="connsiteX36723" fmla="*/ 3633735 w 4610101"/>
              <a:gd name="connsiteY36723" fmla="*/ 516042 h 6557032"/>
              <a:gd name="connsiteX36724" fmla="*/ 3631246 w 4610101"/>
              <a:gd name="connsiteY36724" fmla="*/ 514926 h 6557032"/>
              <a:gd name="connsiteX36725" fmla="*/ 3287202 w 4610101"/>
              <a:gd name="connsiteY36725" fmla="*/ 509238 h 6557032"/>
              <a:gd name="connsiteX36726" fmla="*/ 3281736 w 4610101"/>
              <a:gd name="connsiteY36726" fmla="*/ 516527 h 6557032"/>
              <a:gd name="connsiteX36727" fmla="*/ 3287202 w 4610101"/>
              <a:gd name="connsiteY36727" fmla="*/ 516527 h 6557032"/>
              <a:gd name="connsiteX36728" fmla="*/ 3287202 w 4610101"/>
              <a:gd name="connsiteY36728" fmla="*/ 509238 h 6557032"/>
              <a:gd name="connsiteX36729" fmla="*/ 1193525 w 4610101"/>
              <a:gd name="connsiteY36729" fmla="*/ 509238 h 6557032"/>
              <a:gd name="connsiteX36730" fmla="*/ 1193815 w 4610101"/>
              <a:gd name="connsiteY36730" fmla="*/ 516527 h 6557032"/>
              <a:gd name="connsiteX36731" fmla="*/ 1191703 w 4610101"/>
              <a:gd name="connsiteY36731" fmla="*/ 516527 h 6557032"/>
              <a:gd name="connsiteX36732" fmla="*/ 1193525 w 4610101"/>
              <a:gd name="connsiteY36732" fmla="*/ 521993 h 6557032"/>
              <a:gd name="connsiteX36733" fmla="*/ 1193752 w 4610101"/>
              <a:gd name="connsiteY36733" fmla="*/ 519488 h 6557032"/>
              <a:gd name="connsiteX36734" fmla="*/ 1193929 w 4610101"/>
              <a:gd name="connsiteY36734" fmla="*/ 519362 h 6557032"/>
              <a:gd name="connsiteX36735" fmla="*/ 1195346 w 4610101"/>
              <a:gd name="connsiteY36735" fmla="*/ 554792 h 6557032"/>
              <a:gd name="connsiteX36736" fmla="*/ 1198991 w 4610101"/>
              <a:gd name="connsiteY36736" fmla="*/ 529282 h 6557032"/>
              <a:gd name="connsiteX36737" fmla="*/ 1197169 w 4610101"/>
              <a:gd name="connsiteY36737" fmla="*/ 531105 h 6557032"/>
              <a:gd name="connsiteX36738" fmla="*/ 1195346 w 4610101"/>
              <a:gd name="connsiteY36738" fmla="*/ 521993 h 6557032"/>
              <a:gd name="connsiteX36739" fmla="*/ 1198991 w 4610101"/>
              <a:gd name="connsiteY36739" fmla="*/ 526777 h 6557032"/>
              <a:gd name="connsiteX36740" fmla="*/ 1202511 w 4610101"/>
              <a:gd name="connsiteY36740" fmla="*/ 527437 h 6557032"/>
              <a:gd name="connsiteX36741" fmla="*/ 1202590 w 4610101"/>
              <a:gd name="connsiteY36741" fmla="*/ 527640 h 6557032"/>
              <a:gd name="connsiteX36742" fmla="*/ 1195346 w 4610101"/>
              <a:gd name="connsiteY36742" fmla="*/ 556616 h 6557032"/>
              <a:gd name="connsiteX36743" fmla="*/ 1198991 w 4610101"/>
              <a:gd name="connsiteY36743" fmla="*/ 551148 h 6557032"/>
              <a:gd name="connsiteX36744" fmla="*/ 1204457 w 4610101"/>
              <a:gd name="connsiteY36744" fmla="*/ 556616 h 6557032"/>
              <a:gd name="connsiteX36745" fmla="*/ 1206279 w 4610101"/>
              <a:gd name="connsiteY36745" fmla="*/ 567548 h 6557032"/>
              <a:gd name="connsiteX36746" fmla="*/ 1208785 w 4610101"/>
              <a:gd name="connsiteY36746" fmla="*/ 543632 h 6557032"/>
              <a:gd name="connsiteX36747" fmla="*/ 1202590 w 4610101"/>
              <a:gd name="connsiteY36747" fmla="*/ 527640 h 6557032"/>
              <a:gd name="connsiteX36748" fmla="*/ 1202636 w 4610101"/>
              <a:gd name="connsiteY36748" fmla="*/ 527461 h 6557032"/>
              <a:gd name="connsiteX36749" fmla="*/ 1202511 w 4610101"/>
              <a:gd name="connsiteY36749" fmla="*/ 527437 h 6557032"/>
              <a:gd name="connsiteX36750" fmla="*/ 1198991 w 4610101"/>
              <a:gd name="connsiteY36750" fmla="*/ 518349 h 6557032"/>
              <a:gd name="connsiteX36751" fmla="*/ 1195346 w 4610101"/>
              <a:gd name="connsiteY36751" fmla="*/ 518349 h 6557032"/>
              <a:gd name="connsiteX36752" fmla="*/ 1193929 w 4610101"/>
              <a:gd name="connsiteY36752" fmla="*/ 519362 h 6557032"/>
              <a:gd name="connsiteX36753" fmla="*/ 1193815 w 4610101"/>
              <a:gd name="connsiteY36753" fmla="*/ 516527 h 6557032"/>
              <a:gd name="connsiteX36754" fmla="*/ 1197169 w 4610101"/>
              <a:gd name="connsiteY36754" fmla="*/ 516527 h 6557032"/>
              <a:gd name="connsiteX36755" fmla="*/ 1193525 w 4610101"/>
              <a:gd name="connsiteY36755" fmla="*/ 509238 h 6557032"/>
              <a:gd name="connsiteX36756" fmla="*/ 521142 w 4610101"/>
              <a:gd name="connsiteY36756" fmla="*/ 509238 h 6557032"/>
              <a:gd name="connsiteX36757" fmla="*/ 517498 w 4610101"/>
              <a:gd name="connsiteY36757" fmla="*/ 511061 h 6557032"/>
              <a:gd name="connsiteX36758" fmla="*/ 522964 w 4610101"/>
              <a:gd name="connsiteY36758" fmla="*/ 536571 h 6557032"/>
              <a:gd name="connsiteX36759" fmla="*/ 521142 w 4610101"/>
              <a:gd name="connsiteY36759" fmla="*/ 509238 h 6557032"/>
              <a:gd name="connsiteX36760" fmla="*/ 1002082 w 4610101"/>
              <a:gd name="connsiteY36760" fmla="*/ 507872 h 6557032"/>
              <a:gd name="connsiteX36761" fmla="*/ 1000374 w 4610101"/>
              <a:gd name="connsiteY36761" fmla="*/ 514705 h 6557032"/>
              <a:gd name="connsiteX36762" fmla="*/ 999986 w 4610101"/>
              <a:gd name="connsiteY36762" fmla="*/ 513676 h 6557032"/>
              <a:gd name="connsiteX36763" fmla="*/ 1184414 w 4610101"/>
              <a:gd name="connsiteY36763" fmla="*/ 507417 h 6557032"/>
              <a:gd name="connsiteX36764" fmla="*/ 1178947 w 4610101"/>
              <a:gd name="connsiteY36764" fmla="*/ 518349 h 6557032"/>
              <a:gd name="connsiteX36765" fmla="*/ 1177125 w 4610101"/>
              <a:gd name="connsiteY36765" fmla="*/ 514705 h 6557032"/>
              <a:gd name="connsiteX36766" fmla="*/ 1177125 w 4610101"/>
              <a:gd name="connsiteY36766" fmla="*/ 511061 h 6557032"/>
              <a:gd name="connsiteX36767" fmla="*/ 1171658 w 4610101"/>
              <a:gd name="connsiteY36767" fmla="*/ 514705 h 6557032"/>
              <a:gd name="connsiteX36768" fmla="*/ 1176977 w 4610101"/>
              <a:gd name="connsiteY36768" fmla="*/ 514927 h 6557032"/>
              <a:gd name="connsiteX36769" fmla="*/ 1173481 w 4610101"/>
              <a:gd name="connsiteY36769" fmla="*/ 520171 h 6557032"/>
              <a:gd name="connsiteX36770" fmla="*/ 1168014 w 4610101"/>
              <a:gd name="connsiteY36770" fmla="*/ 516527 h 6557032"/>
              <a:gd name="connsiteX36771" fmla="*/ 1173481 w 4610101"/>
              <a:gd name="connsiteY36771" fmla="*/ 529282 h 6557032"/>
              <a:gd name="connsiteX36772" fmla="*/ 1175303 w 4610101"/>
              <a:gd name="connsiteY36772" fmla="*/ 523815 h 6557032"/>
              <a:gd name="connsiteX36773" fmla="*/ 1189880 w 4610101"/>
              <a:gd name="connsiteY36773" fmla="*/ 556616 h 6557032"/>
              <a:gd name="connsiteX36774" fmla="*/ 1184414 w 4610101"/>
              <a:gd name="connsiteY36774" fmla="*/ 507417 h 6557032"/>
              <a:gd name="connsiteX36775" fmla="*/ 1002196 w 4610101"/>
              <a:gd name="connsiteY36775" fmla="*/ 507417 h 6557032"/>
              <a:gd name="connsiteX36776" fmla="*/ 1002196 w 4610101"/>
              <a:gd name="connsiteY36776" fmla="*/ 507557 h 6557032"/>
              <a:gd name="connsiteX36777" fmla="*/ 1002082 w 4610101"/>
              <a:gd name="connsiteY36777" fmla="*/ 507872 h 6557032"/>
              <a:gd name="connsiteX36778" fmla="*/ 956642 w 4610101"/>
              <a:gd name="connsiteY36778" fmla="*/ 507417 h 6557032"/>
              <a:gd name="connsiteX36779" fmla="*/ 949353 w 4610101"/>
              <a:gd name="connsiteY36779" fmla="*/ 527461 h 6557032"/>
              <a:gd name="connsiteX36780" fmla="*/ 962108 w 4610101"/>
              <a:gd name="connsiteY36780" fmla="*/ 514705 h 6557032"/>
              <a:gd name="connsiteX36781" fmla="*/ 956642 w 4610101"/>
              <a:gd name="connsiteY36781" fmla="*/ 507417 h 6557032"/>
              <a:gd name="connsiteX36782" fmla="*/ 641407 w 4610101"/>
              <a:gd name="connsiteY36782" fmla="*/ 507417 h 6557032"/>
              <a:gd name="connsiteX36783" fmla="*/ 639583 w 4610101"/>
              <a:gd name="connsiteY36783" fmla="*/ 518349 h 6557032"/>
              <a:gd name="connsiteX36784" fmla="*/ 645050 w 4610101"/>
              <a:gd name="connsiteY36784" fmla="*/ 512882 h 6557032"/>
              <a:gd name="connsiteX36785" fmla="*/ 641407 w 4610101"/>
              <a:gd name="connsiteY36785" fmla="*/ 507417 h 6557032"/>
              <a:gd name="connsiteX36786" fmla="*/ 900154 w 4610101"/>
              <a:gd name="connsiteY36786" fmla="*/ 506080 h 6557032"/>
              <a:gd name="connsiteX36787" fmla="*/ 900154 w 4610101"/>
              <a:gd name="connsiteY36787" fmla="*/ 507417 h 6557032"/>
              <a:gd name="connsiteX36788" fmla="*/ 899904 w 4610101"/>
              <a:gd name="connsiteY36788" fmla="*/ 506896 h 6557032"/>
              <a:gd name="connsiteX36789" fmla="*/ 3394710 w 4610101"/>
              <a:gd name="connsiteY36789" fmla="*/ 505594 h 6557032"/>
              <a:gd name="connsiteX36790" fmla="*/ 3389244 w 4610101"/>
              <a:gd name="connsiteY36790" fmla="*/ 516527 h 6557032"/>
              <a:gd name="connsiteX36791" fmla="*/ 3400177 w 4610101"/>
              <a:gd name="connsiteY36791" fmla="*/ 516527 h 6557032"/>
              <a:gd name="connsiteX36792" fmla="*/ 3394710 w 4610101"/>
              <a:gd name="connsiteY36792" fmla="*/ 520171 h 6557032"/>
              <a:gd name="connsiteX36793" fmla="*/ 3401999 w 4610101"/>
              <a:gd name="connsiteY36793" fmla="*/ 516527 h 6557032"/>
              <a:gd name="connsiteX36794" fmla="*/ 3411110 w 4610101"/>
              <a:gd name="connsiteY36794" fmla="*/ 514705 h 6557032"/>
              <a:gd name="connsiteX36795" fmla="*/ 3394710 w 4610101"/>
              <a:gd name="connsiteY36795" fmla="*/ 505594 h 6557032"/>
              <a:gd name="connsiteX36796" fmla="*/ 1969528 w 4610101"/>
              <a:gd name="connsiteY36796" fmla="*/ 504738 h 6557032"/>
              <a:gd name="connsiteX36797" fmla="*/ 1967037 w 4610101"/>
              <a:gd name="connsiteY36797" fmla="*/ 514705 h 6557032"/>
              <a:gd name="connsiteX36798" fmla="*/ 1961372 w 4610101"/>
              <a:gd name="connsiteY36798" fmla="*/ 518482 h 6557032"/>
              <a:gd name="connsiteX36799" fmla="*/ 1964759 w 4610101"/>
              <a:gd name="connsiteY36799" fmla="*/ 510377 h 6557032"/>
              <a:gd name="connsiteX36800" fmla="*/ 1226115 w 4610101"/>
              <a:gd name="connsiteY36800" fmla="*/ 504119 h 6557032"/>
              <a:gd name="connsiteX36801" fmla="*/ 1226096 w 4610101"/>
              <a:gd name="connsiteY36801" fmla="*/ 504227 h 6557032"/>
              <a:gd name="connsiteX36802" fmla="*/ 1225986 w 4610101"/>
              <a:gd name="connsiteY36802" fmla="*/ 504334 h 6557032"/>
              <a:gd name="connsiteX36803" fmla="*/ 2662197 w 4610101"/>
              <a:gd name="connsiteY36803" fmla="*/ 503771 h 6557032"/>
              <a:gd name="connsiteX36804" fmla="*/ 2664019 w 4610101"/>
              <a:gd name="connsiteY36804" fmla="*/ 511061 h 6557032"/>
              <a:gd name="connsiteX36805" fmla="*/ 2662197 w 4610101"/>
              <a:gd name="connsiteY36805" fmla="*/ 503771 h 6557032"/>
              <a:gd name="connsiteX36806" fmla="*/ 2474513 w 4610101"/>
              <a:gd name="connsiteY36806" fmla="*/ 503771 h 6557032"/>
              <a:gd name="connsiteX36807" fmla="*/ 2459935 w 4610101"/>
              <a:gd name="connsiteY36807" fmla="*/ 507417 h 6557032"/>
              <a:gd name="connsiteX36808" fmla="*/ 2476335 w 4610101"/>
              <a:gd name="connsiteY36808" fmla="*/ 523815 h 6557032"/>
              <a:gd name="connsiteX36809" fmla="*/ 2465402 w 4610101"/>
              <a:gd name="connsiteY36809" fmla="*/ 521993 h 6557032"/>
              <a:gd name="connsiteX36810" fmla="*/ 2478157 w 4610101"/>
              <a:gd name="connsiteY36810" fmla="*/ 532926 h 6557032"/>
              <a:gd name="connsiteX36811" fmla="*/ 2479979 w 4610101"/>
              <a:gd name="connsiteY36811" fmla="*/ 507417 h 6557032"/>
              <a:gd name="connsiteX36812" fmla="*/ 2474513 w 4610101"/>
              <a:gd name="connsiteY36812" fmla="*/ 503771 h 6557032"/>
              <a:gd name="connsiteX36813" fmla="*/ 994907 w 4610101"/>
              <a:gd name="connsiteY36813" fmla="*/ 503771 h 6557032"/>
              <a:gd name="connsiteX36814" fmla="*/ 973041 w 4610101"/>
              <a:gd name="connsiteY36814" fmla="*/ 547504 h 6557032"/>
              <a:gd name="connsiteX36815" fmla="*/ 987619 w 4610101"/>
              <a:gd name="connsiteY36815" fmla="*/ 521993 h 6557032"/>
              <a:gd name="connsiteX36816" fmla="*/ 987619 w 4610101"/>
              <a:gd name="connsiteY36816" fmla="*/ 531105 h 6557032"/>
              <a:gd name="connsiteX36817" fmla="*/ 994907 w 4610101"/>
              <a:gd name="connsiteY36817" fmla="*/ 503771 h 6557032"/>
              <a:gd name="connsiteX36818" fmla="*/ 987619 w 4610101"/>
              <a:gd name="connsiteY36818" fmla="*/ 503771 h 6557032"/>
              <a:gd name="connsiteX36819" fmla="*/ 974863 w 4610101"/>
              <a:gd name="connsiteY36819" fmla="*/ 523815 h 6557032"/>
              <a:gd name="connsiteX36820" fmla="*/ 976686 w 4610101"/>
              <a:gd name="connsiteY36820" fmla="*/ 527461 h 6557032"/>
              <a:gd name="connsiteX36821" fmla="*/ 987619 w 4610101"/>
              <a:gd name="connsiteY36821" fmla="*/ 503771 h 6557032"/>
              <a:gd name="connsiteX36822" fmla="*/ 548475 w 4610101"/>
              <a:gd name="connsiteY36822" fmla="*/ 503771 h 6557032"/>
              <a:gd name="connsiteX36823" fmla="*/ 556902 w 4610101"/>
              <a:gd name="connsiteY36823" fmla="*/ 527688 h 6557032"/>
              <a:gd name="connsiteX36824" fmla="*/ 559303 w 4610101"/>
              <a:gd name="connsiteY36824" fmla="*/ 541706 h 6557032"/>
              <a:gd name="connsiteX36825" fmla="*/ 547948 w 4610101"/>
              <a:gd name="connsiteY36825" fmla="*/ 506228 h 6557032"/>
              <a:gd name="connsiteX36826" fmla="*/ 3507685 w 4610101"/>
              <a:gd name="connsiteY36826" fmla="*/ 501949 h 6557032"/>
              <a:gd name="connsiteX36827" fmla="*/ 3504041 w 4610101"/>
              <a:gd name="connsiteY36827" fmla="*/ 509238 h 6557032"/>
              <a:gd name="connsiteX36828" fmla="*/ 3507685 w 4610101"/>
              <a:gd name="connsiteY36828" fmla="*/ 501949 h 6557032"/>
              <a:gd name="connsiteX36829" fmla="*/ 3434798 w 4610101"/>
              <a:gd name="connsiteY36829" fmla="*/ 501949 h 6557032"/>
              <a:gd name="connsiteX36830" fmla="*/ 3434798 w 4610101"/>
              <a:gd name="connsiteY36830" fmla="*/ 512882 h 6557032"/>
              <a:gd name="connsiteX36831" fmla="*/ 3434798 w 4610101"/>
              <a:gd name="connsiteY36831" fmla="*/ 501949 h 6557032"/>
              <a:gd name="connsiteX36832" fmla="*/ 3414754 w 4610101"/>
              <a:gd name="connsiteY36832" fmla="*/ 501949 h 6557032"/>
              <a:gd name="connsiteX36833" fmla="*/ 3409288 w 4610101"/>
              <a:gd name="connsiteY36833" fmla="*/ 503771 h 6557032"/>
              <a:gd name="connsiteX36834" fmla="*/ 3418399 w 4610101"/>
              <a:gd name="connsiteY36834" fmla="*/ 507417 h 6557032"/>
              <a:gd name="connsiteX36835" fmla="*/ 3414754 w 4610101"/>
              <a:gd name="connsiteY36835" fmla="*/ 501949 h 6557032"/>
              <a:gd name="connsiteX36836" fmla="*/ 2731439 w 4610101"/>
              <a:gd name="connsiteY36836" fmla="*/ 501949 h 6557032"/>
              <a:gd name="connsiteX36837" fmla="*/ 2731439 w 4610101"/>
              <a:gd name="connsiteY36837" fmla="*/ 516527 h 6557032"/>
              <a:gd name="connsiteX36838" fmla="*/ 2736906 w 4610101"/>
              <a:gd name="connsiteY36838" fmla="*/ 505594 h 6557032"/>
              <a:gd name="connsiteX36839" fmla="*/ 2731439 w 4610101"/>
              <a:gd name="connsiteY36839" fmla="*/ 501949 h 6557032"/>
              <a:gd name="connsiteX36840" fmla="*/ 1198991 w 4610101"/>
              <a:gd name="connsiteY36840" fmla="*/ 501949 h 6557032"/>
              <a:gd name="connsiteX36841" fmla="*/ 1209925 w 4610101"/>
              <a:gd name="connsiteY36841" fmla="*/ 529282 h 6557032"/>
              <a:gd name="connsiteX36842" fmla="*/ 1211747 w 4610101"/>
              <a:gd name="connsiteY36842" fmla="*/ 516527 h 6557032"/>
              <a:gd name="connsiteX36843" fmla="*/ 1202636 w 4610101"/>
              <a:gd name="connsiteY36843" fmla="*/ 505594 h 6557032"/>
              <a:gd name="connsiteX36844" fmla="*/ 1200814 w 4610101"/>
              <a:gd name="connsiteY36844" fmla="*/ 507417 h 6557032"/>
              <a:gd name="connsiteX36845" fmla="*/ 1198991 w 4610101"/>
              <a:gd name="connsiteY36845" fmla="*/ 501949 h 6557032"/>
              <a:gd name="connsiteX36846" fmla="*/ 389946 w 4610101"/>
              <a:gd name="connsiteY36846" fmla="*/ 501949 h 6557032"/>
              <a:gd name="connsiteX36847" fmla="*/ 413634 w 4610101"/>
              <a:gd name="connsiteY36847" fmla="*/ 549326 h 6557032"/>
              <a:gd name="connsiteX36848" fmla="*/ 413634 w 4610101"/>
              <a:gd name="connsiteY36848" fmla="*/ 547504 h 6557032"/>
              <a:gd name="connsiteX36849" fmla="*/ 424567 w 4610101"/>
              <a:gd name="connsiteY36849" fmla="*/ 556616 h 6557032"/>
              <a:gd name="connsiteX36850" fmla="*/ 389946 w 4610101"/>
              <a:gd name="connsiteY36850" fmla="*/ 501949 h 6557032"/>
              <a:gd name="connsiteX36851" fmla="*/ 711840 w 4610101"/>
              <a:gd name="connsiteY36851" fmla="*/ 500992 h 6557032"/>
              <a:gd name="connsiteX36852" fmla="*/ 717937 w 4610101"/>
              <a:gd name="connsiteY36852" fmla="*/ 524044 h 6557032"/>
              <a:gd name="connsiteX36853" fmla="*/ 715139 w 4610101"/>
              <a:gd name="connsiteY36853" fmla="*/ 532928 h 6557032"/>
              <a:gd name="connsiteX36854" fmla="*/ 713076 w 4610101"/>
              <a:gd name="connsiteY36854" fmla="*/ 525230 h 6557032"/>
              <a:gd name="connsiteX36855" fmla="*/ 713153 w 4610101"/>
              <a:gd name="connsiteY36855" fmla="*/ 524727 h 6557032"/>
              <a:gd name="connsiteX36856" fmla="*/ 711739 w 4610101"/>
              <a:gd name="connsiteY36856" fmla="*/ 508768 h 6557032"/>
              <a:gd name="connsiteX36857" fmla="*/ 711787 w 4610101"/>
              <a:gd name="connsiteY36857" fmla="*/ 502861 h 6557032"/>
              <a:gd name="connsiteX36858" fmla="*/ 1162746 w 4610101"/>
              <a:gd name="connsiteY36858" fmla="*/ 500916 h 6557032"/>
              <a:gd name="connsiteX36859" fmla="*/ 1166192 w 4610101"/>
              <a:gd name="connsiteY36859" fmla="*/ 501949 h 6557032"/>
              <a:gd name="connsiteX36860" fmla="*/ 1164066 w 4610101"/>
              <a:gd name="connsiteY36860" fmla="*/ 505670 h 6557032"/>
              <a:gd name="connsiteX36861" fmla="*/ 1162547 w 4610101"/>
              <a:gd name="connsiteY36861" fmla="*/ 503771 h 6557032"/>
              <a:gd name="connsiteX36862" fmla="*/ 1163969 w 4610101"/>
              <a:gd name="connsiteY36862" fmla="*/ 505840 h 6557032"/>
              <a:gd name="connsiteX36863" fmla="*/ 1157288 w 4610101"/>
              <a:gd name="connsiteY36863" fmla="*/ 517531 h 6557032"/>
              <a:gd name="connsiteX36864" fmla="*/ 1157992 w 4610101"/>
              <a:gd name="connsiteY36864" fmla="*/ 508555 h 6557032"/>
              <a:gd name="connsiteX36865" fmla="*/ 3657103 w 4610101"/>
              <a:gd name="connsiteY36865" fmla="*/ 500127 h 6557032"/>
              <a:gd name="connsiteX36866" fmla="*/ 3657103 w 4610101"/>
              <a:gd name="connsiteY36866" fmla="*/ 511061 h 6557032"/>
              <a:gd name="connsiteX36867" fmla="*/ 3652336 w 4610101"/>
              <a:gd name="connsiteY36867" fmla="*/ 507246 h 6557032"/>
              <a:gd name="connsiteX36868" fmla="*/ 3652940 w 4610101"/>
              <a:gd name="connsiteY36868" fmla="*/ 500477 h 6557032"/>
              <a:gd name="connsiteX36869" fmla="*/ 3653004 w 4610101"/>
              <a:gd name="connsiteY36869" fmla="*/ 500583 h 6557032"/>
              <a:gd name="connsiteX36870" fmla="*/ 3657103 w 4610101"/>
              <a:gd name="connsiteY36870" fmla="*/ 500127 h 6557032"/>
              <a:gd name="connsiteX36871" fmla="*/ 2487268 w 4610101"/>
              <a:gd name="connsiteY36871" fmla="*/ 500127 h 6557032"/>
              <a:gd name="connsiteX36872" fmla="*/ 2489090 w 4610101"/>
              <a:gd name="connsiteY36872" fmla="*/ 516527 h 6557032"/>
              <a:gd name="connsiteX36873" fmla="*/ 2487268 w 4610101"/>
              <a:gd name="connsiteY36873" fmla="*/ 500127 h 6557032"/>
              <a:gd name="connsiteX36874" fmla="*/ 1195346 w 4610101"/>
              <a:gd name="connsiteY36874" fmla="*/ 500127 h 6557032"/>
              <a:gd name="connsiteX36875" fmla="*/ 1193525 w 4610101"/>
              <a:gd name="connsiteY36875" fmla="*/ 505594 h 6557032"/>
              <a:gd name="connsiteX36876" fmla="*/ 1198991 w 4610101"/>
              <a:gd name="connsiteY36876" fmla="*/ 505594 h 6557032"/>
              <a:gd name="connsiteX36877" fmla="*/ 1195346 w 4610101"/>
              <a:gd name="connsiteY36877" fmla="*/ 500127 h 6557032"/>
              <a:gd name="connsiteX36878" fmla="*/ 901976 w 4610101"/>
              <a:gd name="connsiteY36878" fmla="*/ 500127 h 6557032"/>
              <a:gd name="connsiteX36879" fmla="*/ 900154 w 4610101"/>
              <a:gd name="connsiteY36879" fmla="*/ 506080 h 6557032"/>
              <a:gd name="connsiteX36880" fmla="*/ 900154 w 4610101"/>
              <a:gd name="connsiteY36880" fmla="*/ 503772 h 6557032"/>
              <a:gd name="connsiteX36881" fmla="*/ 863711 w 4610101"/>
              <a:gd name="connsiteY36881" fmla="*/ 500127 h 6557032"/>
              <a:gd name="connsiteX36882" fmla="*/ 871000 w 4610101"/>
              <a:gd name="connsiteY36882" fmla="*/ 525638 h 6557032"/>
              <a:gd name="connsiteX36883" fmla="*/ 872822 w 4610101"/>
              <a:gd name="connsiteY36883" fmla="*/ 518349 h 6557032"/>
              <a:gd name="connsiteX36884" fmla="*/ 872822 w 4610101"/>
              <a:gd name="connsiteY36884" fmla="*/ 512882 h 6557032"/>
              <a:gd name="connsiteX36885" fmla="*/ 876466 w 4610101"/>
              <a:gd name="connsiteY36885" fmla="*/ 543860 h 6557032"/>
              <a:gd name="connsiteX36886" fmla="*/ 876466 w 4610101"/>
              <a:gd name="connsiteY36886" fmla="*/ 529282 h 6557032"/>
              <a:gd name="connsiteX36887" fmla="*/ 881933 w 4610101"/>
              <a:gd name="connsiteY36887" fmla="*/ 545681 h 6557032"/>
              <a:gd name="connsiteX36888" fmla="*/ 885577 w 4610101"/>
              <a:gd name="connsiteY36888" fmla="*/ 531105 h 6557032"/>
              <a:gd name="connsiteX36889" fmla="*/ 889222 w 4610101"/>
              <a:gd name="connsiteY36889" fmla="*/ 538393 h 6557032"/>
              <a:gd name="connsiteX36890" fmla="*/ 876466 w 4610101"/>
              <a:gd name="connsiteY36890" fmla="*/ 507417 h 6557032"/>
              <a:gd name="connsiteX36891" fmla="*/ 891043 w 4610101"/>
              <a:gd name="connsiteY36891" fmla="*/ 527461 h 6557032"/>
              <a:gd name="connsiteX36892" fmla="*/ 863711 w 4610101"/>
              <a:gd name="connsiteY36892" fmla="*/ 500127 h 6557032"/>
              <a:gd name="connsiteX36893" fmla="*/ 2950100 w 4610101"/>
              <a:gd name="connsiteY36893" fmla="*/ 498306 h 6557032"/>
              <a:gd name="connsiteX36894" fmla="*/ 2950853 w 4610101"/>
              <a:gd name="connsiteY36894" fmla="*/ 498306 h 6557032"/>
              <a:gd name="connsiteX36895" fmla="*/ 2961067 w 4610101"/>
              <a:gd name="connsiteY36895" fmla="*/ 505534 h 6557032"/>
              <a:gd name="connsiteX36896" fmla="*/ 2961033 w 4610101"/>
              <a:gd name="connsiteY36896" fmla="*/ 505594 h 6557032"/>
              <a:gd name="connsiteX36897" fmla="*/ 2950100 w 4610101"/>
              <a:gd name="connsiteY36897" fmla="*/ 498306 h 6557032"/>
              <a:gd name="connsiteX36898" fmla="*/ 2232163 w 4610101"/>
              <a:gd name="connsiteY36898" fmla="*/ 498306 h 6557032"/>
              <a:gd name="connsiteX36899" fmla="*/ 2212120 w 4610101"/>
              <a:gd name="connsiteY36899" fmla="*/ 507417 h 6557032"/>
              <a:gd name="connsiteX36900" fmla="*/ 2212120 w 4610101"/>
              <a:gd name="connsiteY36900" fmla="*/ 520171 h 6557032"/>
              <a:gd name="connsiteX36901" fmla="*/ 2221230 w 4610101"/>
              <a:gd name="connsiteY36901" fmla="*/ 520171 h 6557032"/>
              <a:gd name="connsiteX36902" fmla="*/ 2228519 w 4610101"/>
              <a:gd name="connsiteY36902" fmla="*/ 531105 h 6557032"/>
              <a:gd name="connsiteX36903" fmla="*/ 2224875 w 4610101"/>
              <a:gd name="connsiteY36903" fmla="*/ 523815 h 6557032"/>
              <a:gd name="connsiteX36904" fmla="*/ 2237630 w 4610101"/>
              <a:gd name="connsiteY36904" fmla="*/ 531105 h 6557032"/>
              <a:gd name="connsiteX36905" fmla="*/ 2237630 w 4610101"/>
              <a:gd name="connsiteY36905" fmla="*/ 523815 h 6557032"/>
              <a:gd name="connsiteX36906" fmla="*/ 2232163 w 4610101"/>
              <a:gd name="connsiteY36906" fmla="*/ 498306 h 6557032"/>
              <a:gd name="connsiteX36907" fmla="*/ 1005577 w 4610101"/>
              <a:gd name="connsiteY36907" fmla="*/ 498193 h 6557032"/>
              <a:gd name="connsiteX36908" fmla="*/ 1005612 w 4610101"/>
              <a:gd name="connsiteY36908" fmla="*/ 498305 h 6557032"/>
              <a:gd name="connsiteX36909" fmla="*/ 1002196 w 4610101"/>
              <a:gd name="connsiteY36909" fmla="*/ 509238 h 6557032"/>
              <a:gd name="connsiteX36910" fmla="*/ 1002196 w 4610101"/>
              <a:gd name="connsiteY36910" fmla="*/ 507557 h 6557032"/>
              <a:gd name="connsiteX36911" fmla="*/ 887058 w 4610101"/>
              <a:gd name="connsiteY36911" fmla="*/ 497964 h 6557032"/>
              <a:gd name="connsiteX36912" fmla="*/ 888538 w 4610101"/>
              <a:gd name="connsiteY36912" fmla="*/ 499444 h 6557032"/>
              <a:gd name="connsiteX36913" fmla="*/ 888712 w 4610101"/>
              <a:gd name="connsiteY36913" fmla="*/ 501012 h 6557032"/>
              <a:gd name="connsiteX36914" fmla="*/ 608008 w 4610101"/>
              <a:gd name="connsiteY36914" fmla="*/ 497784 h 6557032"/>
              <a:gd name="connsiteX36915" fmla="*/ 611340 w 4610101"/>
              <a:gd name="connsiteY36915" fmla="*/ 504911 h 6557032"/>
              <a:gd name="connsiteX36916" fmla="*/ 609584 w 4610101"/>
              <a:gd name="connsiteY36916" fmla="*/ 513543 h 6557032"/>
              <a:gd name="connsiteX36917" fmla="*/ 1147970 w 4610101"/>
              <a:gd name="connsiteY36917" fmla="*/ 496483 h 6557032"/>
              <a:gd name="connsiteX36918" fmla="*/ 1158903 w 4610101"/>
              <a:gd name="connsiteY36918" fmla="*/ 499763 h 6557032"/>
              <a:gd name="connsiteX36919" fmla="*/ 1157992 w 4610101"/>
              <a:gd name="connsiteY36919" fmla="*/ 499672 h 6557032"/>
              <a:gd name="connsiteX36920" fmla="*/ 1147970 w 4610101"/>
              <a:gd name="connsiteY36920" fmla="*/ 496483 h 6557032"/>
              <a:gd name="connsiteX36921" fmla="*/ 980330 w 4610101"/>
              <a:gd name="connsiteY36921" fmla="*/ 496483 h 6557032"/>
              <a:gd name="connsiteX36922" fmla="*/ 982152 w 4610101"/>
              <a:gd name="connsiteY36922" fmla="*/ 503771 h 6557032"/>
              <a:gd name="connsiteX36923" fmla="*/ 983974 w 4610101"/>
              <a:gd name="connsiteY36923" fmla="*/ 498306 h 6557032"/>
              <a:gd name="connsiteX36924" fmla="*/ 980330 w 4610101"/>
              <a:gd name="connsiteY36924" fmla="*/ 496483 h 6557032"/>
              <a:gd name="connsiteX36925" fmla="*/ 945709 w 4610101"/>
              <a:gd name="connsiteY36925" fmla="*/ 496483 h 6557032"/>
              <a:gd name="connsiteX36926" fmla="*/ 945709 w 4610101"/>
              <a:gd name="connsiteY36926" fmla="*/ 503771 h 6557032"/>
              <a:gd name="connsiteX36927" fmla="*/ 949353 w 4610101"/>
              <a:gd name="connsiteY36927" fmla="*/ 503771 h 6557032"/>
              <a:gd name="connsiteX36928" fmla="*/ 945709 w 4610101"/>
              <a:gd name="connsiteY36928" fmla="*/ 496483 h 6557032"/>
              <a:gd name="connsiteX36929" fmla="*/ 2193901 w 4610101"/>
              <a:gd name="connsiteY36929" fmla="*/ 494663 h 6557032"/>
              <a:gd name="connsiteX36930" fmla="*/ 2195948 w 4610101"/>
              <a:gd name="connsiteY36930" fmla="*/ 496028 h 6557032"/>
              <a:gd name="connsiteX36931" fmla="*/ 2199364 w 4610101"/>
              <a:gd name="connsiteY36931" fmla="*/ 500127 h 6557032"/>
              <a:gd name="connsiteX36932" fmla="*/ 3181516 w 4610101"/>
              <a:gd name="connsiteY36932" fmla="*/ 494662 h 6557032"/>
              <a:gd name="connsiteX36933" fmla="*/ 3196093 w 4610101"/>
              <a:gd name="connsiteY36933" fmla="*/ 511061 h 6557032"/>
              <a:gd name="connsiteX36934" fmla="*/ 3194271 w 4610101"/>
              <a:gd name="connsiteY36934" fmla="*/ 494662 h 6557032"/>
              <a:gd name="connsiteX36935" fmla="*/ 3181516 w 4610101"/>
              <a:gd name="connsiteY36935" fmla="*/ 494662 h 6557032"/>
              <a:gd name="connsiteX36936" fmla="*/ 900154 w 4610101"/>
              <a:gd name="connsiteY36936" fmla="*/ 494662 h 6557032"/>
              <a:gd name="connsiteX36937" fmla="*/ 900154 w 4610101"/>
              <a:gd name="connsiteY36937" fmla="*/ 503772 h 6557032"/>
              <a:gd name="connsiteX36938" fmla="*/ 899261 w 4610101"/>
              <a:gd name="connsiteY36938" fmla="*/ 505557 h 6557032"/>
              <a:gd name="connsiteX36939" fmla="*/ 897560 w 4610101"/>
              <a:gd name="connsiteY36939" fmla="*/ 502011 h 6557032"/>
              <a:gd name="connsiteX36940" fmla="*/ 897492 w 4610101"/>
              <a:gd name="connsiteY36940" fmla="*/ 501538 h 6557032"/>
              <a:gd name="connsiteX36941" fmla="*/ 513853 w 4610101"/>
              <a:gd name="connsiteY36941" fmla="*/ 494662 h 6557032"/>
              <a:gd name="connsiteX36942" fmla="*/ 517498 w 4610101"/>
              <a:gd name="connsiteY36942" fmla="*/ 509238 h 6557032"/>
              <a:gd name="connsiteX36943" fmla="*/ 513853 w 4610101"/>
              <a:gd name="connsiteY36943" fmla="*/ 494662 h 6557032"/>
              <a:gd name="connsiteX36944" fmla="*/ 3350978 w 4610101"/>
              <a:gd name="connsiteY36944" fmla="*/ 493750 h 6557032"/>
              <a:gd name="connsiteX36945" fmla="*/ 3325468 w 4610101"/>
              <a:gd name="connsiteY36945" fmla="*/ 494662 h 6557032"/>
              <a:gd name="connsiteX36946" fmla="*/ 3330934 w 4610101"/>
              <a:gd name="connsiteY36946" fmla="*/ 498306 h 6557032"/>
              <a:gd name="connsiteX36947" fmla="*/ 3312713 w 4610101"/>
              <a:gd name="connsiteY36947" fmla="*/ 501949 h 6557032"/>
              <a:gd name="connsiteX36948" fmla="*/ 3327290 w 4610101"/>
              <a:gd name="connsiteY36948" fmla="*/ 507417 h 6557032"/>
              <a:gd name="connsiteX36949" fmla="*/ 3312713 w 4610101"/>
              <a:gd name="connsiteY36949" fmla="*/ 514705 h 6557032"/>
              <a:gd name="connsiteX36950" fmla="*/ 3343690 w 4610101"/>
              <a:gd name="connsiteY36950" fmla="*/ 516527 h 6557032"/>
              <a:gd name="connsiteX36951" fmla="*/ 3338223 w 4610101"/>
              <a:gd name="connsiteY36951" fmla="*/ 514705 h 6557032"/>
              <a:gd name="connsiteX36952" fmla="*/ 3345512 w 4610101"/>
              <a:gd name="connsiteY36952" fmla="*/ 512882 h 6557032"/>
              <a:gd name="connsiteX36953" fmla="*/ 3341867 w 4610101"/>
              <a:gd name="connsiteY36953" fmla="*/ 511061 h 6557032"/>
              <a:gd name="connsiteX36954" fmla="*/ 3352800 w 4610101"/>
              <a:gd name="connsiteY36954" fmla="*/ 501949 h 6557032"/>
              <a:gd name="connsiteX36955" fmla="*/ 3374666 w 4610101"/>
              <a:gd name="connsiteY36955" fmla="*/ 511061 h 6557032"/>
              <a:gd name="connsiteX36956" fmla="*/ 3361911 w 4610101"/>
              <a:gd name="connsiteY36956" fmla="*/ 501949 h 6557032"/>
              <a:gd name="connsiteX36957" fmla="*/ 3356445 w 4610101"/>
              <a:gd name="connsiteY36957" fmla="*/ 500127 h 6557032"/>
              <a:gd name="connsiteX36958" fmla="*/ 3383777 w 4610101"/>
              <a:gd name="connsiteY36958" fmla="*/ 511061 h 6557032"/>
              <a:gd name="connsiteX36959" fmla="*/ 3381955 w 4610101"/>
              <a:gd name="connsiteY36959" fmla="*/ 501949 h 6557032"/>
              <a:gd name="connsiteX36960" fmla="*/ 3376489 w 4610101"/>
              <a:gd name="connsiteY36960" fmla="*/ 503771 h 6557032"/>
              <a:gd name="connsiteX36961" fmla="*/ 3350978 w 4610101"/>
              <a:gd name="connsiteY36961" fmla="*/ 493750 h 6557032"/>
              <a:gd name="connsiteX36962" fmla="*/ 3225248 w 4610101"/>
              <a:gd name="connsiteY36962" fmla="*/ 492838 h 6557032"/>
              <a:gd name="connsiteX36963" fmla="*/ 3234359 w 4610101"/>
              <a:gd name="connsiteY36963" fmla="*/ 500127 h 6557032"/>
              <a:gd name="connsiteX36964" fmla="*/ 3234359 w 4610101"/>
              <a:gd name="connsiteY36964" fmla="*/ 492838 h 6557032"/>
              <a:gd name="connsiteX36965" fmla="*/ 3225248 w 4610101"/>
              <a:gd name="connsiteY36965" fmla="*/ 492838 h 6557032"/>
              <a:gd name="connsiteX36966" fmla="*/ 2479979 w 4610101"/>
              <a:gd name="connsiteY36966" fmla="*/ 492838 h 6557032"/>
              <a:gd name="connsiteX36967" fmla="*/ 2485446 w 4610101"/>
              <a:gd name="connsiteY36967" fmla="*/ 511061 h 6557032"/>
              <a:gd name="connsiteX36968" fmla="*/ 2479979 w 4610101"/>
              <a:gd name="connsiteY36968" fmla="*/ 492838 h 6557032"/>
              <a:gd name="connsiteX36969" fmla="*/ 865533 w 4610101"/>
              <a:gd name="connsiteY36969" fmla="*/ 492838 h 6557032"/>
              <a:gd name="connsiteX36970" fmla="*/ 868635 w 4610101"/>
              <a:gd name="connsiteY36970" fmla="*/ 495054 h 6557032"/>
              <a:gd name="connsiteX36971" fmla="*/ 869177 w 4610101"/>
              <a:gd name="connsiteY36971" fmla="*/ 498306 h 6557032"/>
              <a:gd name="connsiteX36972" fmla="*/ 867611 w 4610101"/>
              <a:gd name="connsiteY36972" fmla="*/ 497384 h 6557032"/>
              <a:gd name="connsiteX36973" fmla="*/ 3646171 w 4610101"/>
              <a:gd name="connsiteY36973" fmla="*/ 491017 h 6557032"/>
              <a:gd name="connsiteX36974" fmla="*/ 3653459 w 4610101"/>
              <a:gd name="connsiteY36974" fmla="*/ 494662 h 6557032"/>
              <a:gd name="connsiteX36975" fmla="*/ 3652940 w 4610101"/>
              <a:gd name="connsiteY36975" fmla="*/ 500477 h 6557032"/>
              <a:gd name="connsiteX36976" fmla="*/ 3651637 w 4610101"/>
              <a:gd name="connsiteY36976" fmla="*/ 498306 h 6557032"/>
              <a:gd name="connsiteX36977" fmla="*/ 3647993 w 4610101"/>
              <a:gd name="connsiteY36977" fmla="*/ 500127 h 6557032"/>
              <a:gd name="connsiteX36978" fmla="*/ 3647993 w 4610101"/>
              <a:gd name="connsiteY36978" fmla="*/ 501949 h 6557032"/>
              <a:gd name="connsiteX36979" fmla="*/ 3646171 w 4610101"/>
              <a:gd name="connsiteY36979" fmla="*/ 491017 h 6557032"/>
              <a:gd name="connsiteX36980" fmla="*/ 2254030 w 4610101"/>
              <a:gd name="connsiteY36980" fmla="*/ 491017 h 6557032"/>
              <a:gd name="connsiteX36981" fmla="*/ 2261318 w 4610101"/>
              <a:gd name="connsiteY36981" fmla="*/ 540215 h 6557032"/>
              <a:gd name="connsiteX36982" fmla="*/ 2264963 w 4610101"/>
              <a:gd name="connsiteY36982" fmla="*/ 503771 h 6557032"/>
              <a:gd name="connsiteX36983" fmla="*/ 2254030 w 4610101"/>
              <a:gd name="connsiteY36983" fmla="*/ 491017 h 6557032"/>
              <a:gd name="connsiteX36984" fmla="*/ 519320 w 4610101"/>
              <a:gd name="connsiteY36984" fmla="*/ 491017 h 6557032"/>
              <a:gd name="connsiteX36985" fmla="*/ 523571 w 4610101"/>
              <a:gd name="connsiteY36985" fmla="*/ 495268 h 6557032"/>
              <a:gd name="connsiteX36986" fmla="*/ 524786 w 4610101"/>
              <a:gd name="connsiteY36986" fmla="*/ 501949 h 6557032"/>
              <a:gd name="connsiteX36987" fmla="*/ 520811 w 4610101"/>
              <a:gd name="connsiteY36987" fmla="*/ 496484 h 6557032"/>
              <a:gd name="connsiteX36988" fmla="*/ 2576554 w 4610101"/>
              <a:gd name="connsiteY36988" fmla="*/ 489194 h 6557032"/>
              <a:gd name="connsiteX36989" fmla="*/ 2580199 w 4610101"/>
              <a:gd name="connsiteY36989" fmla="*/ 494662 h 6557032"/>
              <a:gd name="connsiteX36990" fmla="*/ 2580199 w 4610101"/>
              <a:gd name="connsiteY36990" fmla="*/ 489194 h 6557032"/>
              <a:gd name="connsiteX36991" fmla="*/ 2576554 w 4610101"/>
              <a:gd name="connsiteY36991" fmla="*/ 489194 h 6557032"/>
              <a:gd name="connsiteX36992" fmla="*/ 2100967 w 4610101"/>
              <a:gd name="connsiteY36992" fmla="*/ 489194 h 6557032"/>
              <a:gd name="connsiteX36993" fmla="*/ 2106433 w 4610101"/>
              <a:gd name="connsiteY36993" fmla="*/ 507417 h 6557032"/>
              <a:gd name="connsiteX36994" fmla="*/ 2119189 w 4610101"/>
              <a:gd name="connsiteY36994" fmla="*/ 525638 h 6557032"/>
              <a:gd name="connsiteX36995" fmla="*/ 2118788 w 4610101"/>
              <a:gd name="connsiteY36995" fmla="*/ 521032 h 6557032"/>
              <a:gd name="connsiteX36996" fmla="*/ 2119645 w 4610101"/>
              <a:gd name="connsiteY36996" fmla="*/ 522222 h 6557032"/>
              <a:gd name="connsiteX36997" fmla="*/ 2126477 w 4610101"/>
              <a:gd name="connsiteY36997" fmla="*/ 523815 h 6557032"/>
              <a:gd name="connsiteX36998" fmla="*/ 2100967 w 4610101"/>
              <a:gd name="connsiteY36998" fmla="*/ 489194 h 6557032"/>
              <a:gd name="connsiteX36999" fmla="*/ 878288 w 4610101"/>
              <a:gd name="connsiteY36999" fmla="*/ 489194 h 6557032"/>
              <a:gd name="connsiteX37000" fmla="*/ 880040 w 4610101"/>
              <a:gd name="connsiteY37000" fmla="*/ 490947 h 6557032"/>
              <a:gd name="connsiteX37001" fmla="*/ 879883 w 4610101"/>
              <a:gd name="connsiteY37001" fmla="*/ 491244 h 6557032"/>
              <a:gd name="connsiteX37002" fmla="*/ 881132 w 4610101"/>
              <a:gd name="connsiteY37002" fmla="*/ 494438 h 6557032"/>
              <a:gd name="connsiteX37003" fmla="*/ 880460 w 4610101"/>
              <a:gd name="connsiteY37003" fmla="*/ 495782 h 6557032"/>
              <a:gd name="connsiteX37004" fmla="*/ 879863 w 4610101"/>
              <a:gd name="connsiteY37004" fmla="*/ 495498 h 6557032"/>
              <a:gd name="connsiteX37005" fmla="*/ 650516 w 4610101"/>
              <a:gd name="connsiteY37005" fmla="*/ 489194 h 6557032"/>
              <a:gd name="connsiteX37006" fmla="*/ 652339 w 4610101"/>
              <a:gd name="connsiteY37006" fmla="*/ 492838 h 6557032"/>
              <a:gd name="connsiteX37007" fmla="*/ 652339 w 4610101"/>
              <a:gd name="connsiteY37007" fmla="*/ 503771 h 6557032"/>
              <a:gd name="connsiteX37008" fmla="*/ 650516 w 4610101"/>
              <a:gd name="connsiteY37008" fmla="*/ 489194 h 6557032"/>
              <a:gd name="connsiteX37009" fmla="*/ 663854 w 4610101"/>
              <a:gd name="connsiteY37009" fmla="*/ 488313 h 6557032"/>
              <a:gd name="connsiteX37010" fmla="*/ 665094 w 4610101"/>
              <a:gd name="connsiteY37010" fmla="*/ 494433 h 6557032"/>
              <a:gd name="connsiteX37011" fmla="*/ 664720 w 4610101"/>
              <a:gd name="connsiteY37011" fmla="*/ 497841 h 6557032"/>
              <a:gd name="connsiteX37012" fmla="*/ 2931878 w 4610101"/>
              <a:gd name="connsiteY37012" fmla="*/ 487392 h 6557032"/>
              <a:gd name="connsiteX37013" fmla="*/ 2931878 w 4610101"/>
              <a:gd name="connsiteY37013" fmla="*/ 491037 h 6557032"/>
              <a:gd name="connsiteX37014" fmla="*/ 2928233 w 4610101"/>
              <a:gd name="connsiteY37014" fmla="*/ 489214 h 6557032"/>
              <a:gd name="connsiteX37015" fmla="*/ 2931878 w 4610101"/>
              <a:gd name="connsiteY37015" fmla="*/ 487392 h 6557032"/>
              <a:gd name="connsiteX37016" fmla="*/ 2685885 w 4610101"/>
              <a:gd name="connsiteY37016" fmla="*/ 487373 h 6557032"/>
              <a:gd name="connsiteX37017" fmla="*/ 2678596 w 4610101"/>
              <a:gd name="connsiteY37017" fmla="*/ 496483 h 6557032"/>
              <a:gd name="connsiteX37018" fmla="*/ 2685885 w 4610101"/>
              <a:gd name="connsiteY37018" fmla="*/ 491017 h 6557032"/>
              <a:gd name="connsiteX37019" fmla="*/ 2694996 w 4610101"/>
              <a:gd name="connsiteY37019" fmla="*/ 491017 h 6557032"/>
              <a:gd name="connsiteX37020" fmla="*/ 2685885 w 4610101"/>
              <a:gd name="connsiteY37020" fmla="*/ 487373 h 6557032"/>
              <a:gd name="connsiteX37021" fmla="*/ 371724 w 4610101"/>
              <a:gd name="connsiteY37021" fmla="*/ 487373 h 6557032"/>
              <a:gd name="connsiteX37022" fmla="*/ 384479 w 4610101"/>
              <a:gd name="connsiteY37022" fmla="*/ 571192 h 6557032"/>
              <a:gd name="connsiteX37023" fmla="*/ 388123 w 4610101"/>
              <a:gd name="connsiteY37023" fmla="*/ 569370 h 6557032"/>
              <a:gd name="connsiteX37024" fmla="*/ 389034 w 4610101"/>
              <a:gd name="connsiteY37024" fmla="*/ 580076 h 6557032"/>
              <a:gd name="connsiteX37025" fmla="*/ 389507 w 4610101"/>
              <a:gd name="connsiteY37025" fmla="*/ 579957 h 6557032"/>
              <a:gd name="connsiteX37026" fmla="*/ 389490 w 4610101"/>
              <a:gd name="connsiteY37026" fmla="*/ 580303 h 6557032"/>
              <a:gd name="connsiteX37027" fmla="*/ 391185 w 4610101"/>
              <a:gd name="connsiteY37027" fmla="*/ 587082 h 6557032"/>
              <a:gd name="connsiteX37028" fmla="*/ 388807 w 4610101"/>
              <a:gd name="connsiteY37028" fmla="*/ 591919 h 6557032"/>
              <a:gd name="connsiteX37029" fmla="*/ 389300 w 4610101"/>
              <a:gd name="connsiteY37029" fmla="*/ 593929 h 6557032"/>
              <a:gd name="connsiteX37030" fmla="*/ 389262 w 4610101"/>
              <a:gd name="connsiteY37030" fmla="*/ 593969 h 6557032"/>
              <a:gd name="connsiteX37031" fmla="*/ 388123 w 4610101"/>
              <a:gd name="connsiteY37031" fmla="*/ 596702 h 6557032"/>
              <a:gd name="connsiteX37032" fmla="*/ 389670 w 4610101"/>
              <a:gd name="connsiteY37032" fmla="*/ 595437 h 6557032"/>
              <a:gd name="connsiteX37033" fmla="*/ 391768 w 4610101"/>
              <a:gd name="connsiteY37033" fmla="*/ 603991 h 6557032"/>
              <a:gd name="connsiteX37034" fmla="*/ 393590 w 4610101"/>
              <a:gd name="connsiteY37034" fmla="*/ 591236 h 6557032"/>
              <a:gd name="connsiteX37035" fmla="*/ 396095 w 4610101"/>
              <a:gd name="connsiteY37035" fmla="*/ 603308 h 6557032"/>
              <a:gd name="connsiteX37036" fmla="*/ 396647 w 4610101"/>
              <a:gd name="connsiteY37036" fmla="*/ 609826 h 6557032"/>
              <a:gd name="connsiteX37037" fmla="*/ 396095 w 4610101"/>
              <a:gd name="connsiteY37037" fmla="*/ 610825 h 6557032"/>
              <a:gd name="connsiteX37038" fmla="*/ 396893 w 4610101"/>
              <a:gd name="connsiteY37038" fmla="*/ 612724 h 6557032"/>
              <a:gd name="connsiteX37039" fmla="*/ 397234 w 4610101"/>
              <a:gd name="connsiteY37039" fmla="*/ 616746 h 6557032"/>
              <a:gd name="connsiteX37040" fmla="*/ 398061 w 4610101"/>
              <a:gd name="connsiteY37040" fmla="*/ 615506 h 6557032"/>
              <a:gd name="connsiteX37041" fmla="*/ 400879 w 4610101"/>
              <a:gd name="connsiteY37041" fmla="*/ 622213 h 6557032"/>
              <a:gd name="connsiteX37042" fmla="*/ 401052 w 4610101"/>
              <a:gd name="connsiteY37042" fmla="*/ 620391 h 6557032"/>
              <a:gd name="connsiteX37043" fmla="*/ 402701 w 4610101"/>
              <a:gd name="connsiteY37043" fmla="*/ 620391 h 6557032"/>
              <a:gd name="connsiteX37044" fmla="*/ 404750 w 4610101"/>
              <a:gd name="connsiteY37044" fmla="*/ 629730 h 6557032"/>
              <a:gd name="connsiteX37045" fmla="*/ 406752 w 4610101"/>
              <a:gd name="connsiteY37045" fmla="*/ 632141 h 6557032"/>
              <a:gd name="connsiteX37046" fmla="*/ 406800 w 4610101"/>
              <a:gd name="connsiteY37046" fmla="*/ 632463 h 6557032"/>
              <a:gd name="connsiteX37047" fmla="*/ 409989 w 4610101"/>
              <a:gd name="connsiteY37047" fmla="*/ 636790 h 6557032"/>
              <a:gd name="connsiteX37048" fmla="*/ 409050 w 4610101"/>
              <a:gd name="connsiteY37048" fmla="*/ 634910 h 6557032"/>
              <a:gd name="connsiteX37049" fmla="*/ 413634 w 4610101"/>
              <a:gd name="connsiteY37049" fmla="*/ 640435 h 6557032"/>
              <a:gd name="connsiteX37050" fmla="*/ 409989 w 4610101"/>
              <a:gd name="connsiteY37050" fmla="*/ 644079 h 6557032"/>
              <a:gd name="connsiteX37051" fmla="*/ 410799 w 4610101"/>
              <a:gd name="connsiteY37051" fmla="*/ 645092 h 6557032"/>
              <a:gd name="connsiteX37052" fmla="*/ 409989 w 4610101"/>
              <a:gd name="connsiteY37052" fmla="*/ 645901 h 6557032"/>
              <a:gd name="connsiteX37053" fmla="*/ 413633 w 4610101"/>
              <a:gd name="connsiteY37053" fmla="*/ 648635 h 6557032"/>
              <a:gd name="connsiteX37054" fmla="*/ 417278 w 4610101"/>
              <a:gd name="connsiteY37054" fmla="*/ 653190 h 6557032"/>
              <a:gd name="connsiteX37055" fmla="*/ 417191 w 4610101"/>
              <a:gd name="connsiteY37055" fmla="*/ 651303 h 6557032"/>
              <a:gd name="connsiteX37056" fmla="*/ 417278 w 4610101"/>
              <a:gd name="connsiteY37056" fmla="*/ 651368 h 6557032"/>
              <a:gd name="connsiteX37057" fmla="*/ 417188 w 4610101"/>
              <a:gd name="connsiteY37057" fmla="*/ 651249 h 6557032"/>
              <a:gd name="connsiteX37058" fmla="*/ 415911 w 4610101"/>
              <a:gd name="connsiteY37058" fmla="*/ 623580 h 6557032"/>
              <a:gd name="connsiteX37059" fmla="*/ 400879 w 4610101"/>
              <a:gd name="connsiteY37059" fmla="*/ 602169 h 6557032"/>
              <a:gd name="connsiteX37060" fmla="*/ 417278 w 4610101"/>
              <a:gd name="connsiteY37060" fmla="*/ 614924 h 6557032"/>
              <a:gd name="connsiteX37061" fmla="*/ 409989 w 4610101"/>
              <a:gd name="connsiteY37061" fmla="*/ 596702 h 6557032"/>
              <a:gd name="connsiteX37062" fmla="*/ 426389 w 4610101"/>
              <a:gd name="connsiteY37062" fmla="*/ 616746 h 6557032"/>
              <a:gd name="connsiteX37063" fmla="*/ 430034 w 4610101"/>
              <a:gd name="connsiteY37063" fmla="*/ 613103 h 6557032"/>
              <a:gd name="connsiteX37064" fmla="*/ 433905 w 4610101"/>
              <a:gd name="connsiteY37064" fmla="*/ 619252 h 6557032"/>
              <a:gd name="connsiteX37065" fmla="*/ 435500 w 4610101"/>
              <a:gd name="connsiteY37065" fmla="*/ 620708 h 6557032"/>
              <a:gd name="connsiteX37066" fmla="*/ 435500 w 4610101"/>
              <a:gd name="connsiteY37066" fmla="*/ 624035 h 6557032"/>
              <a:gd name="connsiteX37067" fmla="*/ 436981 w 4610101"/>
              <a:gd name="connsiteY37067" fmla="*/ 622061 h 6557032"/>
              <a:gd name="connsiteX37068" fmla="*/ 439145 w 4610101"/>
              <a:gd name="connsiteY37068" fmla="*/ 624035 h 6557032"/>
              <a:gd name="connsiteX37069" fmla="*/ 419100 w 4610101"/>
              <a:gd name="connsiteY37069" fmla="*/ 582125 h 6557032"/>
              <a:gd name="connsiteX37070" fmla="*/ 435500 w 4610101"/>
              <a:gd name="connsiteY37070" fmla="*/ 603991 h 6557032"/>
              <a:gd name="connsiteX37071" fmla="*/ 413634 w 4610101"/>
              <a:gd name="connsiteY37071" fmla="*/ 576658 h 6557032"/>
              <a:gd name="connsiteX37072" fmla="*/ 422745 w 4610101"/>
              <a:gd name="connsiteY37072" fmla="*/ 576658 h 6557032"/>
              <a:gd name="connsiteX37073" fmla="*/ 420923 w 4610101"/>
              <a:gd name="connsiteY37073" fmla="*/ 573014 h 6557032"/>
              <a:gd name="connsiteX37074" fmla="*/ 428211 w 4610101"/>
              <a:gd name="connsiteY37074" fmla="*/ 578481 h 6557032"/>
              <a:gd name="connsiteX37075" fmla="*/ 419100 w 4610101"/>
              <a:gd name="connsiteY37075" fmla="*/ 565725 h 6557032"/>
              <a:gd name="connsiteX37076" fmla="*/ 439145 w 4610101"/>
              <a:gd name="connsiteY37076" fmla="*/ 580303 h 6557032"/>
              <a:gd name="connsiteX37077" fmla="*/ 422745 w 4610101"/>
              <a:gd name="connsiteY37077" fmla="*/ 560260 h 6557032"/>
              <a:gd name="connsiteX37078" fmla="*/ 371724 w 4610101"/>
              <a:gd name="connsiteY37078" fmla="*/ 487373 h 6557032"/>
              <a:gd name="connsiteX37079" fmla="*/ 3057316 w 4610101"/>
              <a:gd name="connsiteY37079" fmla="*/ 487238 h 6557032"/>
              <a:gd name="connsiteX37080" fmla="*/ 3058114 w 4610101"/>
              <a:gd name="connsiteY37080" fmla="*/ 487775 h 6557032"/>
              <a:gd name="connsiteX37081" fmla="*/ 3059430 w 4610101"/>
              <a:gd name="connsiteY37081" fmla="*/ 498306 h 6557032"/>
              <a:gd name="connsiteX37082" fmla="*/ 3048497 w 4610101"/>
              <a:gd name="connsiteY37082" fmla="*/ 531105 h 6557032"/>
              <a:gd name="connsiteX37083" fmla="*/ 3055786 w 4610101"/>
              <a:gd name="connsiteY37083" fmla="*/ 523815 h 6557032"/>
              <a:gd name="connsiteX37084" fmla="*/ 3039387 w 4610101"/>
              <a:gd name="connsiteY37084" fmla="*/ 547504 h 6557032"/>
              <a:gd name="connsiteX37085" fmla="*/ 3035742 w 4610101"/>
              <a:gd name="connsiteY37085" fmla="*/ 556616 h 6557032"/>
              <a:gd name="connsiteX37086" fmla="*/ 3061253 w 4610101"/>
              <a:gd name="connsiteY37086" fmla="*/ 549326 h 6557032"/>
              <a:gd name="connsiteX37087" fmla="*/ 3053964 w 4610101"/>
              <a:gd name="connsiteY37087" fmla="*/ 563904 h 6557032"/>
              <a:gd name="connsiteX37088" fmla="*/ 3035742 w 4610101"/>
              <a:gd name="connsiteY37088" fmla="*/ 560260 h 6557032"/>
              <a:gd name="connsiteX37089" fmla="*/ 3035742 w 4610101"/>
              <a:gd name="connsiteY37089" fmla="*/ 552970 h 6557032"/>
              <a:gd name="connsiteX37090" fmla="*/ 3032098 w 4610101"/>
              <a:gd name="connsiteY37090" fmla="*/ 552970 h 6557032"/>
              <a:gd name="connsiteX37091" fmla="*/ 3032098 w 4610101"/>
              <a:gd name="connsiteY37091" fmla="*/ 558437 h 6557032"/>
              <a:gd name="connsiteX37092" fmla="*/ 3030276 w 4610101"/>
              <a:gd name="connsiteY37092" fmla="*/ 551148 h 6557032"/>
              <a:gd name="connsiteX37093" fmla="*/ 3035287 w 4610101"/>
              <a:gd name="connsiteY37093" fmla="*/ 544543 h 6557032"/>
              <a:gd name="connsiteX37094" fmla="*/ 3032638 w 4610101"/>
              <a:gd name="connsiteY37094" fmla="*/ 537921 h 6557032"/>
              <a:gd name="connsiteX37095" fmla="*/ 3033920 w 4610101"/>
              <a:gd name="connsiteY37095" fmla="*/ 538393 h 6557032"/>
              <a:gd name="connsiteX37096" fmla="*/ 3033237 w 4610101"/>
              <a:gd name="connsiteY37096" fmla="*/ 532471 h 6557032"/>
              <a:gd name="connsiteX37097" fmla="*/ 3030408 w 4610101"/>
              <a:gd name="connsiteY37097" fmla="*/ 530586 h 6557032"/>
              <a:gd name="connsiteX37098" fmla="*/ 3034660 w 4610101"/>
              <a:gd name="connsiteY37098" fmla="*/ 525495 h 6557032"/>
              <a:gd name="connsiteX37099" fmla="*/ 3032098 w 4610101"/>
              <a:gd name="connsiteY37099" fmla="*/ 500127 h 6557032"/>
              <a:gd name="connsiteX37100" fmla="*/ 3035742 w 4610101"/>
              <a:gd name="connsiteY37100" fmla="*/ 501949 h 6557032"/>
              <a:gd name="connsiteX37101" fmla="*/ 3033920 w 4610101"/>
              <a:gd name="connsiteY37101" fmla="*/ 509238 h 6557032"/>
              <a:gd name="connsiteX37102" fmla="*/ 3046675 w 4610101"/>
              <a:gd name="connsiteY37102" fmla="*/ 511061 h 6557032"/>
              <a:gd name="connsiteX37103" fmla="*/ 3048497 w 4610101"/>
              <a:gd name="connsiteY37103" fmla="*/ 503771 h 6557032"/>
              <a:gd name="connsiteX37104" fmla="*/ 3041209 w 4610101"/>
              <a:gd name="connsiteY37104" fmla="*/ 501949 h 6557032"/>
              <a:gd name="connsiteX37105" fmla="*/ 3048497 w 4610101"/>
              <a:gd name="connsiteY37105" fmla="*/ 496483 h 6557032"/>
              <a:gd name="connsiteX37106" fmla="*/ 3050319 w 4610101"/>
              <a:gd name="connsiteY37106" fmla="*/ 500127 h 6557032"/>
              <a:gd name="connsiteX37107" fmla="*/ 3056697 w 4610101"/>
              <a:gd name="connsiteY37107" fmla="*/ 494661 h 6557032"/>
              <a:gd name="connsiteX37108" fmla="*/ 3352800 w 4610101"/>
              <a:gd name="connsiteY37108" fmla="*/ 485550 h 6557032"/>
              <a:gd name="connsiteX37109" fmla="*/ 3350978 w 4610101"/>
              <a:gd name="connsiteY37109" fmla="*/ 489194 h 6557032"/>
              <a:gd name="connsiteX37110" fmla="*/ 3360089 w 4610101"/>
              <a:gd name="connsiteY37110" fmla="*/ 489194 h 6557032"/>
              <a:gd name="connsiteX37111" fmla="*/ 3352800 w 4610101"/>
              <a:gd name="connsiteY37111" fmla="*/ 485550 h 6557032"/>
              <a:gd name="connsiteX37112" fmla="*/ 2020791 w 4610101"/>
              <a:gd name="connsiteY37112" fmla="*/ 485550 h 6557032"/>
              <a:gd name="connsiteX37113" fmla="*/ 2022613 w 4610101"/>
              <a:gd name="connsiteY37113" fmla="*/ 498306 h 6557032"/>
              <a:gd name="connsiteX37114" fmla="*/ 2017147 w 4610101"/>
              <a:gd name="connsiteY37114" fmla="*/ 489194 h 6557032"/>
              <a:gd name="connsiteX37115" fmla="*/ 2018969 w 4610101"/>
              <a:gd name="connsiteY37115" fmla="*/ 509238 h 6557032"/>
              <a:gd name="connsiteX37116" fmla="*/ 2020791 w 4610101"/>
              <a:gd name="connsiteY37116" fmla="*/ 501949 h 6557032"/>
              <a:gd name="connsiteX37117" fmla="*/ 2029902 w 4610101"/>
              <a:gd name="connsiteY37117" fmla="*/ 514705 h 6557032"/>
              <a:gd name="connsiteX37118" fmla="*/ 2022613 w 4610101"/>
              <a:gd name="connsiteY37118" fmla="*/ 518349 h 6557032"/>
              <a:gd name="connsiteX37119" fmla="*/ 2024436 w 4610101"/>
              <a:gd name="connsiteY37119" fmla="*/ 525638 h 6557032"/>
              <a:gd name="connsiteX37120" fmla="*/ 2020791 w 4610101"/>
              <a:gd name="connsiteY37120" fmla="*/ 523815 h 6557032"/>
              <a:gd name="connsiteX37121" fmla="*/ 2024436 w 4610101"/>
              <a:gd name="connsiteY37121" fmla="*/ 538393 h 6557032"/>
              <a:gd name="connsiteX37122" fmla="*/ 2018969 w 4610101"/>
              <a:gd name="connsiteY37122" fmla="*/ 536571 h 6557032"/>
              <a:gd name="connsiteX37123" fmla="*/ 2018969 w 4610101"/>
              <a:gd name="connsiteY37123" fmla="*/ 540215 h 6557032"/>
              <a:gd name="connsiteX37124" fmla="*/ 2006214 w 4610101"/>
              <a:gd name="connsiteY37124" fmla="*/ 536571 h 6557032"/>
              <a:gd name="connsiteX37125" fmla="*/ 2011680 w 4610101"/>
              <a:gd name="connsiteY37125" fmla="*/ 558437 h 6557032"/>
              <a:gd name="connsiteX37126" fmla="*/ 2008036 w 4610101"/>
              <a:gd name="connsiteY37126" fmla="*/ 551148 h 6557032"/>
              <a:gd name="connsiteX37127" fmla="*/ 2017147 w 4610101"/>
              <a:gd name="connsiteY37127" fmla="*/ 551148 h 6557032"/>
              <a:gd name="connsiteX37128" fmla="*/ 2015325 w 4610101"/>
              <a:gd name="connsiteY37128" fmla="*/ 556616 h 6557032"/>
              <a:gd name="connsiteX37129" fmla="*/ 2028080 w 4610101"/>
              <a:gd name="connsiteY37129" fmla="*/ 554792 h 6557032"/>
              <a:gd name="connsiteX37130" fmla="*/ 2028080 w 4610101"/>
              <a:gd name="connsiteY37130" fmla="*/ 551148 h 6557032"/>
              <a:gd name="connsiteX37131" fmla="*/ 2057235 w 4610101"/>
              <a:gd name="connsiteY37131" fmla="*/ 547504 h 6557032"/>
              <a:gd name="connsiteX37132" fmla="*/ 2055413 w 4610101"/>
              <a:gd name="connsiteY37132" fmla="*/ 540215 h 6557032"/>
              <a:gd name="connsiteX37133" fmla="*/ 2059057 w 4610101"/>
              <a:gd name="connsiteY37133" fmla="*/ 543860 h 6557032"/>
              <a:gd name="connsiteX37134" fmla="*/ 2062701 w 4610101"/>
              <a:gd name="connsiteY37134" fmla="*/ 536571 h 6557032"/>
              <a:gd name="connsiteX37135" fmla="*/ 2071812 w 4610101"/>
              <a:gd name="connsiteY37135" fmla="*/ 540215 h 6557032"/>
              <a:gd name="connsiteX37136" fmla="*/ 2075457 w 4610101"/>
              <a:gd name="connsiteY37136" fmla="*/ 551148 h 6557032"/>
              <a:gd name="connsiteX37137" fmla="*/ 2077279 w 4610101"/>
              <a:gd name="connsiteY37137" fmla="*/ 538393 h 6557032"/>
              <a:gd name="connsiteX37138" fmla="*/ 2093679 w 4610101"/>
              <a:gd name="connsiteY37138" fmla="*/ 549326 h 6557032"/>
              <a:gd name="connsiteX37139" fmla="*/ 2086390 w 4610101"/>
              <a:gd name="connsiteY37139" fmla="*/ 529282 h 6557032"/>
              <a:gd name="connsiteX37140" fmla="*/ 2073634 w 4610101"/>
              <a:gd name="connsiteY37140" fmla="*/ 531105 h 6557032"/>
              <a:gd name="connsiteX37141" fmla="*/ 2079101 w 4610101"/>
              <a:gd name="connsiteY37141" fmla="*/ 523815 h 6557032"/>
              <a:gd name="connsiteX37142" fmla="*/ 2046302 w 4610101"/>
              <a:gd name="connsiteY37142" fmla="*/ 487373 h 6557032"/>
              <a:gd name="connsiteX37143" fmla="*/ 2048124 w 4610101"/>
              <a:gd name="connsiteY37143" fmla="*/ 507417 h 6557032"/>
              <a:gd name="connsiteX37144" fmla="*/ 2031724 w 4610101"/>
              <a:gd name="connsiteY37144" fmla="*/ 487373 h 6557032"/>
              <a:gd name="connsiteX37145" fmla="*/ 2029902 w 4610101"/>
              <a:gd name="connsiteY37145" fmla="*/ 492838 h 6557032"/>
              <a:gd name="connsiteX37146" fmla="*/ 2026258 w 4610101"/>
              <a:gd name="connsiteY37146" fmla="*/ 491017 h 6557032"/>
              <a:gd name="connsiteX37147" fmla="*/ 2031724 w 4610101"/>
              <a:gd name="connsiteY37147" fmla="*/ 507417 h 6557032"/>
              <a:gd name="connsiteX37148" fmla="*/ 2026258 w 4610101"/>
              <a:gd name="connsiteY37148" fmla="*/ 489194 h 6557032"/>
              <a:gd name="connsiteX37149" fmla="*/ 2020791 w 4610101"/>
              <a:gd name="connsiteY37149" fmla="*/ 485550 h 6557032"/>
              <a:gd name="connsiteX37150" fmla="*/ 2731439 w 4610101"/>
              <a:gd name="connsiteY37150" fmla="*/ 484184 h 6557032"/>
              <a:gd name="connsiteX37151" fmla="*/ 2725973 w 4610101"/>
              <a:gd name="connsiteY37151" fmla="*/ 491017 h 6557032"/>
              <a:gd name="connsiteX37152" fmla="*/ 2735084 w 4610101"/>
              <a:gd name="connsiteY37152" fmla="*/ 496483 h 6557032"/>
              <a:gd name="connsiteX37153" fmla="*/ 2742372 w 4610101"/>
              <a:gd name="connsiteY37153" fmla="*/ 485550 h 6557032"/>
              <a:gd name="connsiteX37154" fmla="*/ 2731439 w 4610101"/>
              <a:gd name="connsiteY37154" fmla="*/ 484184 h 6557032"/>
              <a:gd name="connsiteX37155" fmla="*/ 3272625 w 4610101"/>
              <a:gd name="connsiteY37155" fmla="*/ 483728 h 6557032"/>
              <a:gd name="connsiteX37156" fmla="*/ 3283558 w 4610101"/>
              <a:gd name="connsiteY37156" fmla="*/ 489194 h 6557032"/>
              <a:gd name="connsiteX37157" fmla="*/ 3272625 w 4610101"/>
              <a:gd name="connsiteY37157" fmla="*/ 483728 h 6557032"/>
              <a:gd name="connsiteX37158" fmla="*/ 3268980 w 4610101"/>
              <a:gd name="connsiteY37158" fmla="*/ 483728 h 6557032"/>
              <a:gd name="connsiteX37159" fmla="*/ 3261692 w 4610101"/>
              <a:gd name="connsiteY37159" fmla="*/ 492838 h 6557032"/>
              <a:gd name="connsiteX37160" fmla="*/ 3270803 w 4610101"/>
              <a:gd name="connsiteY37160" fmla="*/ 492838 h 6557032"/>
              <a:gd name="connsiteX37161" fmla="*/ 3268980 w 4610101"/>
              <a:gd name="connsiteY37161" fmla="*/ 483728 h 6557032"/>
              <a:gd name="connsiteX37162" fmla="*/ 2955566 w 4610101"/>
              <a:gd name="connsiteY37162" fmla="*/ 483728 h 6557032"/>
              <a:gd name="connsiteX37163" fmla="*/ 2959211 w 4610101"/>
              <a:gd name="connsiteY37163" fmla="*/ 486461 h 6557032"/>
              <a:gd name="connsiteX37164" fmla="*/ 2961814 w 4610101"/>
              <a:gd name="connsiteY37164" fmla="*/ 488414 h 6557032"/>
              <a:gd name="connsiteX37165" fmla="*/ 2962280 w 4610101"/>
              <a:gd name="connsiteY37165" fmla="*/ 489578 h 6557032"/>
              <a:gd name="connsiteX37166" fmla="*/ 2961293 w 4610101"/>
              <a:gd name="connsiteY37166" fmla="*/ 490236 h 6557032"/>
              <a:gd name="connsiteX37167" fmla="*/ 2957113 w 4610101"/>
              <a:gd name="connsiteY37167" fmla="*/ 488146 h 6557032"/>
              <a:gd name="connsiteX37168" fmla="*/ 2055413 w 4610101"/>
              <a:gd name="connsiteY37168" fmla="*/ 483728 h 6557032"/>
              <a:gd name="connsiteX37169" fmla="*/ 2059057 w 4610101"/>
              <a:gd name="connsiteY37169" fmla="*/ 492838 h 6557032"/>
              <a:gd name="connsiteX37170" fmla="*/ 2055413 w 4610101"/>
              <a:gd name="connsiteY37170" fmla="*/ 483728 h 6557032"/>
              <a:gd name="connsiteX37171" fmla="*/ 1253656 w 4610101"/>
              <a:gd name="connsiteY37171" fmla="*/ 483728 h 6557032"/>
              <a:gd name="connsiteX37172" fmla="*/ 1244545 w 4610101"/>
              <a:gd name="connsiteY37172" fmla="*/ 512882 h 6557032"/>
              <a:gd name="connsiteX37173" fmla="*/ 1253656 w 4610101"/>
              <a:gd name="connsiteY37173" fmla="*/ 483728 h 6557032"/>
              <a:gd name="connsiteX37174" fmla="*/ 1202636 w 4610101"/>
              <a:gd name="connsiteY37174" fmla="*/ 483728 h 6557032"/>
              <a:gd name="connsiteX37175" fmla="*/ 1198991 w 4610101"/>
              <a:gd name="connsiteY37175" fmla="*/ 491017 h 6557032"/>
              <a:gd name="connsiteX37176" fmla="*/ 1208102 w 4610101"/>
              <a:gd name="connsiteY37176" fmla="*/ 503771 h 6557032"/>
              <a:gd name="connsiteX37177" fmla="*/ 1202636 w 4610101"/>
              <a:gd name="connsiteY37177" fmla="*/ 483728 h 6557032"/>
              <a:gd name="connsiteX37178" fmla="*/ 1189880 w 4610101"/>
              <a:gd name="connsiteY37178" fmla="*/ 483728 h 6557032"/>
              <a:gd name="connsiteX37179" fmla="*/ 1188058 w 4610101"/>
              <a:gd name="connsiteY37179" fmla="*/ 491017 h 6557032"/>
              <a:gd name="connsiteX37180" fmla="*/ 1189880 w 4610101"/>
              <a:gd name="connsiteY37180" fmla="*/ 483728 h 6557032"/>
              <a:gd name="connsiteX37181" fmla="*/ 2122833 w 4610101"/>
              <a:gd name="connsiteY37181" fmla="*/ 481906 h 6557032"/>
              <a:gd name="connsiteX37182" fmla="*/ 2157454 w 4610101"/>
              <a:gd name="connsiteY37182" fmla="*/ 511061 h 6557032"/>
              <a:gd name="connsiteX37183" fmla="*/ 2130122 w 4610101"/>
              <a:gd name="connsiteY37183" fmla="*/ 481906 h 6557032"/>
              <a:gd name="connsiteX37184" fmla="*/ 2126477 w 4610101"/>
              <a:gd name="connsiteY37184" fmla="*/ 485550 h 6557032"/>
              <a:gd name="connsiteX37185" fmla="*/ 2122833 w 4610101"/>
              <a:gd name="connsiteY37185" fmla="*/ 481906 h 6557032"/>
              <a:gd name="connsiteX37186" fmla="*/ 1962482 w 4610101"/>
              <a:gd name="connsiteY37186" fmla="*/ 481906 h 6557032"/>
              <a:gd name="connsiteX37187" fmla="*/ 1965215 w 4610101"/>
              <a:gd name="connsiteY37187" fmla="*/ 481906 h 6557032"/>
              <a:gd name="connsiteX37188" fmla="*/ 1964305 w 4610101"/>
              <a:gd name="connsiteY37188" fmla="*/ 489194 h 6557032"/>
              <a:gd name="connsiteX37189" fmla="*/ 1962482 w 4610101"/>
              <a:gd name="connsiteY37189" fmla="*/ 481906 h 6557032"/>
              <a:gd name="connsiteX37190" fmla="*/ 1965303 w 4610101"/>
              <a:gd name="connsiteY37190" fmla="*/ 481204 h 6557032"/>
              <a:gd name="connsiteX37191" fmla="*/ 1966126 w 4610101"/>
              <a:gd name="connsiteY37191" fmla="*/ 481906 h 6557032"/>
              <a:gd name="connsiteX37192" fmla="*/ 1965215 w 4610101"/>
              <a:gd name="connsiteY37192" fmla="*/ 481906 h 6557032"/>
              <a:gd name="connsiteX37193" fmla="*/ 1939462 w 4610101"/>
              <a:gd name="connsiteY37193" fmla="*/ 481191 h 6557032"/>
              <a:gd name="connsiteX37194" fmla="*/ 1945399 w 4610101"/>
              <a:gd name="connsiteY37194" fmla="*/ 491017 h 6557032"/>
              <a:gd name="connsiteX37195" fmla="*/ 1953371 w 4610101"/>
              <a:gd name="connsiteY37195" fmla="*/ 501949 h 6557032"/>
              <a:gd name="connsiteX37196" fmla="*/ 1941071 w 4610101"/>
              <a:gd name="connsiteY37196" fmla="*/ 488967 h 6557032"/>
              <a:gd name="connsiteX37197" fmla="*/ 3044853 w 4610101"/>
              <a:gd name="connsiteY37197" fmla="*/ 480083 h 6557032"/>
              <a:gd name="connsiteX37198" fmla="*/ 3046675 w 4610101"/>
              <a:gd name="connsiteY37198" fmla="*/ 480083 h 6557032"/>
              <a:gd name="connsiteX37199" fmla="*/ 3044853 w 4610101"/>
              <a:gd name="connsiteY37199" fmla="*/ 491017 h 6557032"/>
              <a:gd name="connsiteX37200" fmla="*/ 3044853 w 4610101"/>
              <a:gd name="connsiteY37200" fmla="*/ 480083 h 6557032"/>
              <a:gd name="connsiteX37201" fmla="*/ 2075457 w 4610101"/>
              <a:gd name="connsiteY37201" fmla="*/ 480083 h 6557032"/>
              <a:gd name="connsiteX37202" fmla="*/ 2069990 w 4610101"/>
              <a:gd name="connsiteY37202" fmla="*/ 481906 h 6557032"/>
              <a:gd name="connsiteX37203" fmla="*/ 2075457 w 4610101"/>
              <a:gd name="connsiteY37203" fmla="*/ 505594 h 6557032"/>
              <a:gd name="connsiteX37204" fmla="*/ 2080923 w 4610101"/>
              <a:gd name="connsiteY37204" fmla="*/ 516527 h 6557032"/>
              <a:gd name="connsiteX37205" fmla="*/ 2097323 w 4610101"/>
              <a:gd name="connsiteY37205" fmla="*/ 520171 h 6557032"/>
              <a:gd name="connsiteX37206" fmla="*/ 2096959 w 4610101"/>
              <a:gd name="connsiteY37206" fmla="*/ 517621 h 6557032"/>
              <a:gd name="connsiteX37207" fmla="*/ 2100967 w 4610101"/>
              <a:gd name="connsiteY37207" fmla="*/ 520171 h 6557032"/>
              <a:gd name="connsiteX37208" fmla="*/ 2099145 w 4610101"/>
              <a:gd name="connsiteY37208" fmla="*/ 507417 h 6557032"/>
              <a:gd name="connsiteX37209" fmla="*/ 2094363 w 4610101"/>
              <a:gd name="connsiteY37209" fmla="*/ 509011 h 6557032"/>
              <a:gd name="connsiteX37210" fmla="*/ 2093679 w 4610101"/>
              <a:gd name="connsiteY37210" fmla="*/ 505594 h 6557032"/>
              <a:gd name="connsiteX37211" fmla="*/ 2093679 w 4610101"/>
              <a:gd name="connsiteY37211" fmla="*/ 509238 h 6557032"/>
              <a:gd name="connsiteX37212" fmla="*/ 2094363 w 4610101"/>
              <a:gd name="connsiteY37212" fmla="*/ 509011 h 6557032"/>
              <a:gd name="connsiteX37213" fmla="*/ 2095291 w 4610101"/>
              <a:gd name="connsiteY37213" fmla="*/ 513654 h 6557032"/>
              <a:gd name="connsiteX37214" fmla="*/ 2091856 w 4610101"/>
              <a:gd name="connsiteY37214" fmla="*/ 509238 h 6557032"/>
              <a:gd name="connsiteX37215" fmla="*/ 2086390 w 4610101"/>
              <a:gd name="connsiteY37215" fmla="*/ 511061 h 6557032"/>
              <a:gd name="connsiteX37216" fmla="*/ 2088212 w 4610101"/>
              <a:gd name="connsiteY37216" fmla="*/ 520171 h 6557032"/>
              <a:gd name="connsiteX37217" fmla="*/ 2080923 w 4610101"/>
              <a:gd name="connsiteY37217" fmla="*/ 501949 h 6557032"/>
              <a:gd name="connsiteX37218" fmla="*/ 2084568 w 4610101"/>
              <a:gd name="connsiteY37218" fmla="*/ 503771 h 6557032"/>
              <a:gd name="connsiteX37219" fmla="*/ 2082745 w 4610101"/>
              <a:gd name="connsiteY37219" fmla="*/ 492838 h 6557032"/>
              <a:gd name="connsiteX37220" fmla="*/ 2073634 w 4610101"/>
              <a:gd name="connsiteY37220" fmla="*/ 481906 h 6557032"/>
              <a:gd name="connsiteX37221" fmla="*/ 2077279 w 4610101"/>
              <a:gd name="connsiteY37221" fmla="*/ 485550 h 6557032"/>
              <a:gd name="connsiteX37222" fmla="*/ 2075457 w 4610101"/>
              <a:gd name="connsiteY37222" fmla="*/ 480083 h 6557032"/>
              <a:gd name="connsiteX37223" fmla="*/ 951073 w 4610101"/>
              <a:gd name="connsiteY37223" fmla="*/ 479880 h 6557032"/>
              <a:gd name="connsiteX37224" fmla="*/ 951175 w 4610101"/>
              <a:gd name="connsiteY37224" fmla="*/ 480083 h 6557032"/>
              <a:gd name="connsiteX37225" fmla="*/ 951133 w 4610101"/>
              <a:gd name="connsiteY37225" fmla="*/ 480059 h 6557032"/>
              <a:gd name="connsiteX37226" fmla="*/ 1939186 w 4610101"/>
              <a:gd name="connsiteY37226" fmla="*/ 479857 h 6557032"/>
              <a:gd name="connsiteX37227" fmla="*/ 1939462 w 4610101"/>
              <a:gd name="connsiteY37227" fmla="*/ 481191 h 6557032"/>
              <a:gd name="connsiteX37228" fmla="*/ 1938793 w 4610101"/>
              <a:gd name="connsiteY37228" fmla="*/ 480083 h 6557032"/>
              <a:gd name="connsiteX37229" fmla="*/ 3250759 w 4610101"/>
              <a:gd name="connsiteY37229" fmla="*/ 478262 h 6557032"/>
              <a:gd name="connsiteX37230" fmla="*/ 3245292 w 4610101"/>
              <a:gd name="connsiteY37230" fmla="*/ 485550 h 6557032"/>
              <a:gd name="connsiteX37231" fmla="*/ 3247114 w 4610101"/>
              <a:gd name="connsiteY37231" fmla="*/ 483728 h 6557032"/>
              <a:gd name="connsiteX37232" fmla="*/ 3250759 w 4610101"/>
              <a:gd name="connsiteY37232" fmla="*/ 478262 h 6557032"/>
              <a:gd name="connsiteX37233" fmla="*/ 2263140 w 4610101"/>
              <a:gd name="connsiteY37233" fmla="*/ 476439 h 6557032"/>
              <a:gd name="connsiteX37234" fmla="*/ 2259496 w 4610101"/>
              <a:gd name="connsiteY37234" fmla="*/ 492838 h 6557032"/>
              <a:gd name="connsiteX37235" fmla="*/ 2263140 w 4610101"/>
              <a:gd name="connsiteY37235" fmla="*/ 476439 h 6557032"/>
              <a:gd name="connsiteX37236" fmla="*/ 980330 w 4610101"/>
              <a:gd name="connsiteY37236" fmla="*/ 476439 h 6557032"/>
              <a:gd name="connsiteX37237" fmla="*/ 984885 w 4610101"/>
              <a:gd name="connsiteY37237" fmla="*/ 484184 h 6557032"/>
              <a:gd name="connsiteX37238" fmla="*/ 984637 w 4610101"/>
              <a:gd name="connsiteY37238" fmla="*/ 487035 h 6557032"/>
              <a:gd name="connsiteX37239" fmla="*/ 980330 w 4610101"/>
              <a:gd name="connsiteY37239" fmla="*/ 481830 h 6557032"/>
              <a:gd name="connsiteX37240" fmla="*/ 2414355 w 4610101"/>
              <a:gd name="connsiteY37240" fmla="*/ 475330 h 6557032"/>
              <a:gd name="connsiteX37241" fmla="*/ 2414381 w 4610101"/>
              <a:gd name="connsiteY37241" fmla="*/ 475528 h 6557032"/>
              <a:gd name="connsiteX37242" fmla="*/ 2412877 w 4610101"/>
              <a:gd name="connsiteY37242" fmla="*/ 481168 h 6557032"/>
              <a:gd name="connsiteX37243" fmla="*/ 2413015 w 4610101"/>
              <a:gd name="connsiteY37243" fmla="*/ 478489 h 6557032"/>
              <a:gd name="connsiteX37244" fmla="*/ 534199 w 4610101"/>
              <a:gd name="connsiteY37244" fmla="*/ 475260 h 6557032"/>
              <a:gd name="connsiteX37245" fmla="*/ 536785 w 4610101"/>
              <a:gd name="connsiteY37245" fmla="*/ 478259 h 6557032"/>
              <a:gd name="connsiteX37246" fmla="*/ 535719 w 4610101"/>
              <a:gd name="connsiteY37246" fmla="*/ 483728 h 6557032"/>
              <a:gd name="connsiteX37247" fmla="*/ 2915478 w 4610101"/>
              <a:gd name="connsiteY37247" fmla="*/ 474637 h 6557032"/>
              <a:gd name="connsiteX37248" fmla="*/ 2930056 w 4610101"/>
              <a:gd name="connsiteY37248" fmla="*/ 491037 h 6557032"/>
              <a:gd name="connsiteX37249" fmla="*/ 2911834 w 4610101"/>
              <a:gd name="connsiteY37249" fmla="*/ 481926 h 6557032"/>
              <a:gd name="connsiteX37250" fmla="*/ 2915478 w 4610101"/>
              <a:gd name="connsiteY37250" fmla="*/ 474637 h 6557032"/>
              <a:gd name="connsiteX37251" fmla="*/ 2055413 w 4610101"/>
              <a:gd name="connsiteY37251" fmla="*/ 474618 h 6557032"/>
              <a:gd name="connsiteX37252" fmla="*/ 2064524 w 4610101"/>
              <a:gd name="connsiteY37252" fmla="*/ 494662 h 6557032"/>
              <a:gd name="connsiteX37253" fmla="*/ 2064524 w 4610101"/>
              <a:gd name="connsiteY37253" fmla="*/ 485550 h 6557032"/>
              <a:gd name="connsiteX37254" fmla="*/ 2066263 w 4610101"/>
              <a:gd name="connsiteY37254" fmla="*/ 485985 h 6557032"/>
              <a:gd name="connsiteX37255" fmla="*/ 2068168 w 4610101"/>
              <a:gd name="connsiteY37255" fmla="*/ 489194 h 6557032"/>
              <a:gd name="connsiteX37256" fmla="*/ 2066346 w 4610101"/>
              <a:gd name="connsiteY37256" fmla="*/ 486006 h 6557032"/>
              <a:gd name="connsiteX37257" fmla="*/ 2066263 w 4610101"/>
              <a:gd name="connsiteY37257" fmla="*/ 485985 h 6557032"/>
              <a:gd name="connsiteX37258" fmla="*/ 2063841 w 4610101"/>
              <a:gd name="connsiteY37258" fmla="*/ 481906 h 6557032"/>
              <a:gd name="connsiteX37259" fmla="*/ 2055413 w 4610101"/>
              <a:gd name="connsiteY37259" fmla="*/ 474618 h 6557032"/>
              <a:gd name="connsiteX37260" fmla="*/ 1171658 w 4610101"/>
              <a:gd name="connsiteY37260" fmla="*/ 474618 h 6557032"/>
              <a:gd name="connsiteX37261" fmla="*/ 1171658 w 4610101"/>
              <a:gd name="connsiteY37261" fmla="*/ 485550 h 6557032"/>
              <a:gd name="connsiteX37262" fmla="*/ 1182592 w 4610101"/>
              <a:gd name="connsiteY37262" fmla="*/ 505594 h 6557032"/>
              <a:gd name="connsiteX37263" fmla="*/ 1175303 w 4610101"/>
              <a:gd name="connsiteY37263" fmla="*/ 500127 h 6557032"/>
              <a:gd name="connsiteX37264" fmla="*/ 1175303 w 4610101"/>
              <a:gd name="connsiteY37264" fmla="*/ 496483 h 6557032"/>
              <a:gd name="connsiteX37265" fmla="*/ 1180769 w 4610101"/>
              <a:gd name="connsiteY37265" fmla="*/ 500127 h 6557032"/>
              <a:gd name="connsiteX37266" fmla="*/ 1171658 w 4610101"/>
              <a:gd name="connsiteY37266" fmla="*/ 474618 h 6557032"/>
              <a:gd name="connsiteX37267" fmla="*/ 949353 w 4610101"/>
              <a:gd name="connsiteY37267" fmla="*/ 474618 h 6557032"/>
              <a:gd name="connsiteX37268" fmla="*/ 951073 w 4610101"/>
              <a:gd name="connsiteY37268" fmla="*/ 479880 h 6557032"/>
              <a:gd name="connsiteX37269" fmla="*/ 949353 w 4610101"/>
              <a:gd name="connsiteY37269" fmla="*/ 476439 h 6557032"/>
              <a:gd name="connsiteX37270" fmla="*/ 948779 w 4610101"/>
              <a:gd name="connsiteY37270" fmla="*/ 478736 h 6557032"/>
              <a:gd name="connsiteX37271" fmla="*/ 947531 w 4610101"/>
              <a:gd name="connsiteY37271" fmla="*/ 478034 h 6557032"/>
              <a:gd name="connsiteX37272" fmla="*/ 949353 w 4610101"/>
              <a:gd name="connsiteY37272" fmla="*/ 474618 h 6557032"/>
              <a:gd name="connsiteX37273" fmla="*/ 2120100 w 4610101"/>
              <a:gd name="connsiteY37273" fmla="*/ 474389 h 6557032"/>
              <a:gd name="connsiteX37274" fmla="*/ 2121011 w 4610101"/>
              <a:gd name="connsiteY37274" fmla="*/ 481906 h 6557032"/>
              <a:gd name="connsiteX37275" fmla="*/ 2124655 w 4610101"/>
              <a:gd name="connsiteY37275" fmla="*/ 476439 h 6557032"/>
              <a:gd name="connsiteX37276" fmla="*/ 2120100 w 4610101"/>
              <a:gd name="connsiteY37276" fmla="*/ 474389 h 6557032"/>
              <a:gd name="connsiteX37277" fmla="*/ 3124574 w 4610101"/>
              <a:gd name="connsiteY37277" fmla="*/ 473706 h 6557032"/>
              <a:gd name="connsiteX37278" fmla="*/ 3103163 w 4610101"/>
              <a:gd name="connsiteY37278" fmla="*/ 476439 h 6557032"/>
              <a:gd name="connsiteX37279" fmla="*/ 3115918 w 4610101"/>
              <a:gd name="connsiteY37279" fmla="*/ 552970 h 6557032"/>
              <a:gd name="connsiteX37280" fmla="*/ 3119562 w 4610101"/>
              <a:gd name="connsiteY37280" fmla="*/ 551148 h 6557032"/>
              <a:gd name="connsiteX37281" fmla="*/ 3148717 w 4610101"/>
              <a:gd name="connsiteY37281" fmla="*/ 587591 h 6557032"/>
              <a:gd name="connsiteX37282" fmla="*/ 3177872 w 4610101"/>
              <a:gd name="connsiteY37282" fmla="*/ 562081 h 6557032"/>
              <a:gd name="connsiteX37283" fmla="*/ 3181516 w 4610101"/>
              <a:gd name="connsiteY37283" fmla="*/ 531105 h 6557032"/>
              <a:gd name="connsiteX37284" fmla="*/ 3166939 w 4610101"/>
              <a:gd name="connsiteY37284" fmla="*/ 505594 h 6557032"/>
              <a:gd name="connsiteX37285" fmla="*/ 3156006 w 4610101"/>
              <a:gd name="connsiteY37285" fmla="*/ 511061 h 6557032"/>
              <a:gd name="connsiteX37286" fmla="*/ 3146895 w 4610101"/>
              <a:gd name="connsiteY37286" fmla="*/ 503771 h 6557032"/>
              <a:gd name="connsiteX37287" fmla="*/ 3145073 w 4610101"/>
              <a:gd name="connsiteY37287" fmla="*/ 496483 h 6557032"/>
              <a:gd name="connsiteX37288" fmla="*/ 3152361 w 4610101"/>
              <a:gd name="connsiteY37288" fmla="*/ 501949 h 6557032"/>
              <a:gd name="connsiteX37289" fmla="*/ 3159650 w 4610101"/>
              <a:gd name="connsiteY37289" fmla="*/ 494662 h 6557032"/>
              <a:gd name="connsiteX37290" fmla="*/ 3154184 w 4610101"/>
              <a:gd name="connsiteY37290" fmla="*/ 487373 h 6557032"/>
              <a:gd name="connsiteX37291" fmla="*/ 3124574 w 4610101"/>
              <a:gd name="connsiteY37291" fmla="*/ 473706 h 6557032"/>
              <a:gd name="connsiteX37292" fmla="*/ 3378311 w 4610101"/>
              <a:gd name="connsiteY37292" fmla="*/ 472795 h 6557032"/>
              <a:gd name="connsiteX37293" fmla="*/ 3380133 w 4610101"/>
              <a:gd name="connsiteY37293" fmla="*/ 478262 h 6557032"/>
              <a:gd name="connsiteX37294" fmla="*/ 3378311 w 4610101"/>
              <a:gd name="connsiteY37294" fmla="*/ 472795 h 6557032"/>
              <a:gd name="connsiteX37295" fmla="*/ 2091856 w 4610101"/>
              <a:gd name="connsiteY37295" fmla="*/ 472795 h 6557032"/>
              <a:gd name="connsiteX37296" fmla="*/ 2099145 w 4610101"/>
              <a:gd name="connsiteY37296" fmla="*/ 483728 h 6557032"/>
              <a:gd name="connsiteX37297" fmla="*/ 2100967 w 4610101"/>
              <a:gd name="connsiteY37297" fmla="*/ 481906 h 6557032"/>
              <a:gd name="connsiteX37298" fmla="*/ 2091856 w 4610101"/>
              <a:gd name="connsiteY37298" fmla="*/ 472795 h 6557032"/>
              <a:gd name="connsiteX37299" fmla="*/ 2028080 w 4610101"/>
              <a:gd name="connsiteY37299" fmla="*/ 472795 h 6557032"/>
              <a:gd name="connsiteX37300" fmla="*/ 2035369 w 4610101"/>
              <a:gd name="connsiteY37300" fmla="*/ 481906 h 6557032"/>
              <a:gd name="connsiteX37301" fmla="*/ 2040835 w 4610101"/>
              <a:gd name="connsiteY37301" fmla="*/ 483728 h 6557032"/>
              <a:gd name="connsiteX37302" fmla="*/ 2042657 w 4610101"/>
              <a:gd name="connsiteY37302" fmla="*/ 478262 h 6557032"/>
              <a:gd name="connsiteX37303" fmla="*/ 2028080 w 4610101"/>
              <a:gd name="connsiteY37303" fmla="*/ 472795 h 6557032"/>
              <a:gd name="connsiteX37304" fmla="*/ 2022613 w 4610101"/>
              <a:gd name="connsiteY37304" fmla="*/ 472795 h 6557032"/>
              <a:gd name="connsiteX37305" fmla="*/ 2028080 w 4610101"/>
              <a:gd name="connsiteY37305" fmla="*/ 481906 h 6557032"/>
              <a:gd name="connsiteX37306" fmla="*/ 2022613 w 4610101"/>
              <a:gd name="connsiteY37306" fmla="*/ 472795 h 6557032"/>
              <a:gd name="connsiteX37307" fmla="*/ 1198991 w 4610101"/>
              <a:gd name="connsiteY37307" fmla="*/ 472795 h 6557032"/>
              <a:gd name="connsiteX37308" fmla="*/ 1193525 w 4610101"/>
              <a:gd name="connsiteY37308" fmla="*/ 481906 h 6557032"/>
              <a:gd name="connsiteX37309" fmla="*/ 1195346 w 4610101"/>
              <a:gd name="connsiteY37309" fmla="*/ 485550 h 6557032"/>
              <a:gd name="connsiteX37310" fmla="*/ 1198991 w 4610101"/>
              <a:gd name="connsiteY37310" fmla="*/ 472795 h 6557032"/>
              <a:gd name="connsiteX37311" fmla="*/ 974863 w 4610101"/>
              <a:gd name="connsiteY37311" fmla="*/ 472795 h 6557032"/>
              <a:gd name="connsiteX37312" fmla="*/ 965753 w 4610101"/>
              <a:gd name="connsiteY37312" fmla="*/ 509238 h 6557032"/>
              <a:gd name="connsiteX37313" fmla="*/ 969397 w 4610101"/>
              <a:gd name="connsiteY37313" fmla="*/ 507417 h 6557032"/>
              <a:gd name="connsiteX37314" fmla="*/ 971219 w 4610101"/>
              <a:gd name="connsiteY37314" fmla="*/ 512882 h 6557032"/>
              <a:gd name="connsiteX37315" fmla="*/ 965753 w 4610101"/>
              <a:gd name="connsiteY37315" fmla="*/ 512882 h 6557032"/>
              <a:gd name="connsiteX37316" fmla="*/ 962792 w 4610101"/>
              <a:gd name="connsiteY37316" fmla="*/ 523133 h 6557032"/>
              <a:gd name="connsiteX37317" fmla="*/ 969178 w 4610101"/>
              <a:gd name="connsiteY37317" fmla="*/ 529079 h 6557032"/>
              <a:gd name="connsiteX37318" fmla="*/ 969024 w 4610101"/>
              <a:gd name="connsiteY37318" fmla="*/ 529282 h 6557032"/>
              <a:gd name="connsiteX37319" fmla="*/ 963930 w 4610101"/>
              <a:gd name="connsiteY37319" fmla="*/ 529282 h 6557032"/>
              <a:gd name="connsiteX37320" fmla="*/ 962108 w 4610101"/>
              <a:gd name="connsiteY37320" fmla="*/ 538393 h 6557032"/>
              <a:gd name="connsiteX37321" fmla="*/ 969024 w 4610101"/>
              <a:gd name="connsiteY37321" fmla="*/ 529282 h 6557032"/>
              <a:gd name="connsiteX37322" fmla="*/ 969397 w 4610101"/>
              <a:gd name="connsiteY37322" fmla="*/ 529282 h 6557032"/>
              <a:gd name="connsiteX37323" fmla="*/ 969178 w 4610101"/>
              <a:gd name="connsiteY37323" fmla="*/ 529079 h 6557032"/>
              <a:gd name="connsiteX37324" fmla="*/ 970694 w 4610101"/>
              <a:gd name="connsiteY37324" fmla="*/ 527081 h 6557032"/>
              <a:gd name="connsiteX37325" fmla="*/ 963930 w 4610101"/>
              <a:gd name="connsiteY37325" fmla="*/ 545681 h 6557032"/>
              <a:gd name="connsiteX37326" fmla="*/ 969397 w 4610101"/>
              <a:gd name="connsiteY37326" fmla="*/ 534749 h 6557032"/>
              <a:gd name="connsiteX37327" fmla="*/ 971015 w 4610101"/>
              <a:gd name="connsiteY37327" fmla="*/ 526659 h 6557032"/>
              <a:gd name="connsiteX37328" fmla="*/ 976457 w 4610101"/>
              <a:gd name="connsiteY37328" fmla="*/ 519488 h 6557032"/>
              <a:gd name="connsiteX37329" fmla="*/ 978508 w 4610101"/>
              <a:gd name="connsiteY37329" fmla="*/ 496483 h 6557032"/>
              <a:gd name="connsiteX37330" fmla="*/ 969397 w 4610101"/>
              <a:gd name="connsiteY37330" fmla="*/ 491017 h 6557032"/>
              <a:gd name="connsiteX37331" fmla="*/ 976686 w 4610101"/>
              <a:gd name="connsiteY37331" fmla="*/ 494662 h 6557032"/>
              <a:gd name="connsiteX37332" fmla="*/ 973041 w 4610101"/>
              <a:gd name="connsiteY37332" fmla="*/ 478262 h 6557032"/>
              <a:gd name="connsiteX37333" fmla="*/ 976686 w 4610101"/>
              <a:gd name="connsiteY37333" fmla="*/ 480083 h 6557032"/>
              <a:gd name="connsiteX37334" fmla="*/ 974863 w 4610101"/>
              <a:gd name="connsiteY37334" fmla="*/ 472795 h 6557032"/>
              <a:gd name="connsiteX37335" fmla="*/ 972542 w 4610101"/>
              <a:gd name="connsiteY37335" fmla="*/ 471298 h 6557032"/>
              <a:gd name="connsiteX37336" fmla="*/ 972642 w 4610101"/>
              <a:gd name="connsiteY37336" fmla="*/ 471599 h 6557032"/>
              <a:gd name="connsiteX37337" fmla="*/ 972004 w 4610101"/>
              <a:gd name="connsiteY37337" fmla="*/ 472601 h 6557032"/>
              <a:gd name="connsiteX37338" fmla="*/ 970872 w 4610101"/>
              <a:gd name="connsiteY37338" fmla="*/ 472389 h 6557032"/>
              <a:gd name="connsiteX37339" fmla="*/ 3323099 w 4610101"/>
              <a:gd name="connsiteY37339" fmla="*/ 471155 h 6557032"/>
              <a:gd name="connsiteX37340" fmla="*/ 3323646 w 4610101"/>
              <a:gd name="connsiteY37340" fmla="*/ 472795 h 6557032"/>
              <a:gd name="connsiteX37341" fmla="*/ 3319905 w 4610101"/>
              <a:gd name="connsiteY37341" fmla="*/ 471767 h 6557032"/>
              <a:gd name="connsiteX37342" fmla="*/ 3259869 w 4610101"/>
              <a:gd name="connsiteY37342" fmla="*/ 470972 h 6557032"/>
              <a:gd name="connsiteX37343" fmla="*/ 3256225 w 4610101"/>
              <a:gd name="connsiteY37343" fmla="*/ 472795 h 6557032"/>
              <a:gd name="connsiteX37344" fmla="*/ 3270803 w 4610101"/>
              <a:gd name="connsiteY37344" fmla="*/ 478262 h 6557032"/>
              <a:gd name="connsiteX37345" fmla="*/ 3268980 w 4610101"/>
              <a:gd name="connsiteY37345" fmla="*/ 470972 h 6557032"/>
              <a:gd name="connsiteX37346" fmla="*/ 3259869 w 4610101"/>
              <a:gd name="connsiteY37346" fmla="*/ 470972 h 6557032"/>
              <a:gd name="connsiteX37347" fmla="*/ 1186236 w 4610101"/>
              <a:gd name="connsiteY37347" fmla="*/ 470972 h 6557032"/>
              <a:gd name="connsiteX37348" fmla="*/ 1186236 w 4610101"/>
              <a:gd name="connsiteY37348" fmla="*/ 476439 h 6557032"/>
              <a:gd name="connsiteX37349" fmla="*/ 1188058 w 4610101"/>
              <a:gd name="connsiteY37349" fmla="*/ 480083 h 6557032"/>
              <a:gd name="connsiteX37350" fmla="*/ 1186236 w 4610101"/>
              <a:gd name="connsiteY37350" fmla="*/ 470972 h 6557032"/>
              <a:gd name="connsiteX37351" fmla="*/ 1002196 w 4610101"/>
              <a:gd name="connsiteY37351" fmla="*/ 470972 h 6557032"/>
              <a:gd name="connsiteX37352" fmla="*/ 1000374 w 4610101"/>
              <a:gd name="connsiteY37352" fmla="*/ 481906 h 6557032"/>
              <a:gd name="connsiteX37353" fmla="*/ 1002196 w 4610101"/>
              <a:gd name="connsiteY37353" fmla="*/ 470972 h 6557032"/>
              <a:gd name="connsiteX37354" fmla="*/ 3197916 w 4610101"/>
              <a:gd name="connsiteY37354" fmla="*/ 469150 h 6557032"/>
              <a:gd name="connsiteX37355" fmla="*/ 3201560 w 4610101"/>
              <a:gd name="connsiteY37355" fmla="*/ 478262 h 6557032"/>
              <a:gd name="connsiteX37356" fmla="*/ 3197916 w 4610101"/>
              <a:gd name="connsiteY37356" fmla="*/ 469150 h 6557032"/>
              <a:gd name="connsiteX37357" fmla="*/ 3186982 w 4610101"/>
              <a:gd name="connsiteY37357" fmla="*/ 469150 h 6557032"/>
              <a:gd name="connsiteX37358" fmla="*/ 3190627 w 4610101"/>
              <a:gd name="connsiteY37358" fmla="*/ 474618 h 6557032"/>
              <a:gd name="connsiteX37359" fmla="*/ 3188836 w 4610101"/>
              <a:gd name="connsiteY37359" fmla="*/ 476409 h 6557032"/>
              <a:gd name="connsiteX37360" fmla="*/ 2959211 w 4610101"/>
              <a:gd name="connsiteY37360" fmla="*/ 469150 h 6557032"/>
              <a:gd name="connsiteX37361" fmla="*/ 2962855 w 4610101"/>
              <a:gd name="connsiteY37361" fmla="*/ 489194 h 6557032"/>
              <a:gd name="connsiteX37362" fmla="*/ 2961814 w 4610101"/>
              <a:gd name="connsiteY37362" fmla="*/ 488414 h 6557032"/>
              <a:gd name="connsiteX37363" fmla="*/ 2960122 w 4610101"/>
              <a:gd name="connsiteY37363" fmla="*/ 484183 h 6557032"/>
              <a:gd name="connsiteX37364" fmla="*/ 2957389 w 4610101"/>
              <a:gd name="connsiteY37364" fmla="*/ 480083 h 6557032"/>
              <a:gd name="connsiteX37365" fmla="*/ 2940989 w 4610101"/>
              <a:gd name="connsiteY37365" fmla="*/ 487373 h 6557032"/>
              <a:gd name="connsiteX37366" fmla="*/ 2942811 w 4610101"/>
              <a:gd name="connsiteY37366" fmla="*/ 485550 h 6557032"/>
              <a:gd name="connsiteX37367" fmla="*/ 2928234 w 4610101"/>
              <a:gd name="connsiteY37367" fmla="*/ 483728 h 6557032"/>
              <a:gd name="connsiteX37368" fmla="*/ 2947595 w 4610101"/>
              <a:gd name="connsiteY37368" fmla="*/ 477351 h 6557032"/>
              <a:gd name="connsiteX37369" fmla="*/ 2951568 w 4610101"/>
              <a:gd name="connsiteY37369" fmla="*/ 471957 h 6557032"/>
              <a:gd name="connsiteX37370" fmla="*/ 2950100 w 4610101"/>
              <a:gd name="connsiteY37370" fmla="*/ 478262 h 6557032"/>
              <a:gd name="connsiteX37371" fmla="*/ 2951922 w 4610101"/>
              <a:gd name="connsiteY37371" fmla="*/ 481906 h 6557032"/>
              <a:gd name="connsiteX37372" fmla="*/ 2959211 w 4610101"/>
              <a:gd name="connsiteY37372" fmla="*/ 469150 h 6557032"/>
              <a:gd name="connsiteX37373" fmla="*/ 2645797 w 4610101"/>
              <a:gd name="connsiteY37373" fmla="*/ 469150 h 6557032"/>
              <a:gd name="connsiteX37374" fmla="*/ 2642153 w 4610101"/>
              <a:gd name="connsiteY37374" fmla="*/ 485550 h 6557032"/>
              <a:gd name="connsiteX37375" fmla="*/ 2649441 w 4610101"/>
              <a:gd name="connsiteY37375" fmla="*/ 483728 h 6557032"/>
              <a:gd name="connsiteX37376" fmla="*/ 2645797 w 4610101"/>
              <a:gd name="connsiteY37376" fmla="*/ 469150 h 6557032"/>
              <a:gd name="connsiteX37377" fmla="*/ 998552 w 4610101"/>
              <a:gd name="connsiteY37377" fmla="*/ 469150 h 6557032"/>
              <a:gd name="connsiteX37378" fmla="*/ 991263 w 4610101"/>
              <a:gd name="connsiteY37378" fmla="*/ 487373 h 6557032"/>
              <a:gd name="connsiteX37379" fmla="*/ 998552 w 4610101"/>
              <a:gd name="connsiteY37379" fmla="*/ 472795 h 6557032"/>
              <a:gd name="connsiteX37380" fmla="*/ 998552 w 4610101"/>
              <a:gd name="connsiteY37380" fmla="*/ 469150 h 6557032"/>
              <a:gd name="connsiteX37381" fmla="*/ 1283118 w 4610101"/>
              <a:gd name="connsiteY37381" fmla="*/ 468186 h 6557032"/>
              <a:gd name="connsiteX37382" fmla="*/ 1282583 w 4610101"/>
              <a:gd name="connsiteY37382" fmla="*/ 469378 h 6557032"/>
              <a:gd name="connsiteX37383" fmla="*/ 1281232 w 4610101"/>
              <a:gd name="connsiteY37383" fmla="*/ 470729 h 6557032"/>
              <a:gd name="connsiteX37384" fmla="*/ 3371022 w 4610101"/>
              <a:gd name="connsiteY37384" fmla="*/ 467328 h 6557032"/>
              <a:gd name="connsiteX37385" fmla="*/ 3372275 w 4610101"/>
              <a:gd name="connsiteY37385" fmla="*/ 470112 h 6557032"/>
              <a:gd name="connsiteX37386" fmla="*/ 3371022 w 4610101"/>
              <a:gd name="connsiteY37386" fmla="*/ 470972 h 6557032"/>
              <a:gd name="connsiteX37387" fmla="*/ 3369585 w 4610101"/>
              <a:gd name="connsiteY37387" fmla="*/ 467667 h 6557032"/>
              <a:gd name="connsiteX37388" fmla="*/ 3055786 w 4610101"/>
              <a:gd name="connsiteY37388" fmla="*/ 467328 h 6557032"/>
              <a:gd name="connsiteX37389" fmla="*/ 3081297 w 4610101"/>
              <a:gd name="connsiteY37389" fmla="*/ 509238 h 6557032"/>
              <a:gd name="connsiteX37390" fmla="*/ 3074008 w 4610101"/>
              <a:gd name="connsiteY37390" fmla="*/ 472795 h 6557032"/>
              <a:gd name="connsiteX37391" fmla="*/ 3055786 w 4610101"/>
              <a:gd name="connsiteY37391" fmla="*/ 467328 h 6557032"/>
              <a:gd name="connsiteX37392" fmla="*/ 2592954 w 4610101"/>
              <a:gd name="connsiteY37392" fmla="*/ 467328 h 6557032"/>
              <a:gd name="connsiteX37393" fmla="*/ 2583843 w 4610101"/>
              <a:gd name="connsiteY37393" fmla="*/ 478262 h 6557032"/>
              <a:gd name="connsiteX37394" fmla="*/ 2594776 w 4610101"/>
              <a:gd name="connsiteY37394" fmla="*/ 476439 h 6557032"/>
              <a:gd name="connsiteX37395" fmla="*/ 2592954 w 4610101"/>
              <a:gd name="connsiteY37395" fmla="*/ 467328 h 6557032"/>
              <a:gd name="connsiteX37396" fmla="*/ 2576554 w 4610101"/>
              <a:gd name="connsiteY37396" fmla="*/ 467328 h 6557032"/>
              <a:gd name="connsiteX37397" fmla="*/ 2572910 w 4610101"/>
              <a:gd name="connsiteY37397" fmla="*/ 481906 h 6557032"/>
              <a:gd name="connsiteX37398" fmla="*/ 2578377 w 4610101"/>
              <a:gd name="connsiteY37398" fmla="*/ 474618 h 6557032"/>
              <a:gd name="connsiteX37399" fmla="*/ 2576554 w 4610101"/>
              <a:gd name="connsiteY37399" fmla="*/ 467328 h 6557032"/>
              <a:gd name="connsiteX37400" fmla="*/ 2084568 w 4610101"/>
              <a:gd name="connsiteY37400" fmla="*/ 467328 h 6557032"/>
              <a:gd name="connsiteX37401" fmla="*/ 2088212 w 4610101"/>
              <a:gd name="connsiteY37401" fmla="*/ 480083 h 6557032"/>
              <a:gd name="connsiteX37402" fmla="*/ 2088212 w 4610101"/>
              <a:gd name="connsiteY37402" fmla="*/ 469150 h 6557032"/>
              <a:gd name="connsiteX37403" fmla="*/ 2084568 w 4610101"/>
              <a:gd name="connsiteY37403" fmla="*/ 467328 h 6557032"/>
              <a:gd name="connsiteX37404" fmla="*/ 1260945 w 4610101"/>
              <a:gd name="connsiteY37404" fmla="*/ 467328 h 6557032"/>
              <a:gd name="connsiteX37405" fmla="*/ 1261085 w 4610101"/>
              <a:gd name="connsiteY37405" fmla="*/ 467750 h 6557032"/>
              <a:gd name="connsiteX37406" fmla="*/ 1260945 w 4610101"/>
              <a:gd name="connsiteY37406" fmla="*/ 468208 h 6557032"/>
              <a:gd name="connsiteX37407" fmla="*/ 1164370 w 4610101"/>
              <a:gd name="connsiteY37407" fmla="*/ 467328 h 6557032"/>
              <a:gd name="connsiteX37408" fmla="*/ 1164370 w 4610101"/>
              <a:gd name="connsiteY37408" fmla="*/ 474618 h 6557032"/>
              <a:gd name="connsiteX37409" fmla="*/ 1164370 w 4610101"/>
              <a:gd name="connsiteY37409" fmla="*/ 467328 h 6557032"/>
              <a:gd name="connsiteX37410" fmla="*/ 2952739 w 4610101"/>
              <a:gd name="connsiteY37410" fmla="*/ 466928 h 6557032"/>
              <a:gd name="connsiteX37411" fmla="*/ 2953090 w 4610101"/>
              <a:gd name="connsiteY37411" fmla="*/ 469891 h 6557032"/>
              <a:gd name="connsiteX37412" fmla="*/ 2951568 w 4610101"/>
              <a:gd name="connsiteY37412" fmla="*/ 471957 h 6557032"/>
              <a:gd name="connsiteX37413" fmla="*/ 406345 w 4610101"/>
              <a:gd name="connsiteY37413" fmla="*/ 465530 h 6557032"/>
              <a:gd name="connsiteX37414" fmla="*/ 428211 w 4610101"/>
              <a:gd name="connsiteY37414" fmla="*/ 494685 h 6557032"/>
              <a:gd name="connsiteX37415" fmla="*/ 430034 w 4610101"/>
              <a:gd name="connsiteY37415" fmla="*/ 500152 h 6557032"/>
              <a:gd name="connsiteX37416" fmla="*/ 406345 w 4610101"/>
              <a:gd name="connsiteY37416" fmla="*/ 465530 h 6557032"/>
              <a:gd name="connsiteX37417" fmla="*/ 901976 w 4610101"/>
              <a:gd name="connsiteY37417" fmla="*/ 465506 h 6557032"/>
              <a:gd name="connsiteX37418" fmla="*/ 901976 w 4610101"/>
              <a:gd name="connsiteY37418" fmla="*/ 476439 h 6557032"/>
              <a:gd name="connsiteX37419" fmla="*/ 901976 w 4610101"/>
              <a:gd name="connsiteY37419" fmla="*/ 465506 h 6557032"/>
              <a:gd name="connsiteX37420" fmla="*/ 194973 w 4610101"/>
              <a:gd name="connsiteY37420" fmla="*/ 465506 h 6557032"/>
              <a:gd name="connsiteX37421" fmla="*/ 209290 w 4610101"/>
              <a:gd name="connsiteY37421" fmla="*/ 494750 h 6557032"/>
              <a:gd name="connsiteX37422" fmla="*/ 217427 w 4610101"/>
              <a:gd name="connsiteY37422" fmla="*/ 511706 h 6557032"/>
              <a:gd name="connsiteX37423" fmla="*/ 215245 w 4610101"/>
              <a:gd name="connsiteY37423" fmla="*/ 508100 h 6557032"/>
              <a:gd name="connsiteX37424" fmla="*/ 194973 w 4610101"/>
              <a:gd name="connsiteY37424" fmla="*/ 465506 h 6557032"/>
              <a:gd name="connsiteX37425" fmla="*/ 2163224 w 4610101"/>
              <a:gd name="connsiteY37425" fmla="*/ 464393 h 6557032"/>
              <a:gd name="connsiteX37426" fmla="*/ 2166565 w 4610101"/>
              <a:gd name="connsiteY37426" fmla="*/ 465506 h 6557032"/>
              <a:gd name="connsiteX37427" fmla="*/ 2170437 w 4610101"/>
              <a:gd name="connsiteY37427" fmla="*/ 477578 h 6557032"/>
              <a:gd name="connsiteX37428" fmla="*/ 2168083 w 4610101"/>
              <a:gd name="connsiteY37428" fmla="*/ 480874 h 6557032"/>
              <a:gd name="connsiteX37429" fmla="*/ 3163067 w 4610101"/>
              <a:gd name="connsiteY37429" fmla="*/ 463912 h 6557032"/>
              <a:gd name="connsiteX37430" fmla="*/ 3148717 w 4610101"/>
              <a:gd name="connsiteY37430" fmla="*/ 467328 h 6557032"/>
              <a:gd name="connsiteX37431" fmla="*/ 3185160 w 4610101"/>
              <a:gd name="connsiteY37431" fmla="*/ 491017 h 6557032"/>
              <a:gd name="connsiteX37432" fmla="*/ 3181516 w 4610101"/>
              <a:gd name="connsiteY37432" fmla="*/ 467328 h 6557032"/>
              <a:gd name="connsiteX37433" fmla="*/ 3163067 w 4610101"/>
              <a:gd name="connsiteY37433" fmla="*/ 463912 h 6557032"/>
              <a:gd name="connsiteX37434" fmla="*/ 3186982 w 4610101"/>
              <a:gd name="connsiteY37434" fmla="*/ 463684 h 6557032"/>
              <a:gd name="connsiteX37435" fmla="*/ 3186982 w 4610101"/>
              <a:gd name="connsiteY37435" fmla="*/ 469150 h 6557032"/>
              <a:gd name="connsiteX37436" fmla="*/ 3186982 w 4610101"/>
              <a:gd name="connsiteY37436" fmla="*/ 478262 h 6557032"/>
              <a:gd name="connsiteX37437" fmla="*/ 3188805 w 4610101"/>
              <a:gd name="connsiteY37437" fmla="*/ 476439 h 6557032"/>
              <a:gd name="connsiteX37438" fmla="*/ 3188836 w 4610101"/>
              <a:gd name="connsiteY37438" fmla="*/ 476409 h 6557032"/>
              <a:gd name="connsiteX37439" fmla="*/ 3189716 w 4610101"/>
              <a:gd name="connsiteY37439" fmla="*/ 479856 h 6557032"/>
              <a:gd name="connsiteX37440" fmla="*/ 3190941 w 4610101"/>
              <a:gd name="connsiteY37440" fmla="*/ 484042 h 6557032"/>
              <a:gd name="connsiteX37441" fmla="*/ 3190627 w 4610101"/>
              <a:gd name="connsiteY37441" fmla="*/ 483728 h 6557032"/>
              <a:gd name="connsiteX37442" fmla="*/ 3192449 w 4610101"/>
              <a:gd name="connsiteY37442" fmla="*/ 489194 h 6557032"/>
              <a:gd name="connsiteX37443" fmla="*/ 3190941 w 4610101"/>
              <a:gd name="connsiteY37443" fmla="*/ 484042 h 6557032"/>
              <a:gd name="connsiteX37444" fmla="*/ 3196093 w 4610101"/>
              <a:gd name="connsiteY37444" fmla="*/ 489194 h 6557032"/>
              <a:gd name="connsiteX37445" fmla="*/ 3192449 w 4610101"/>
              <a:gd name="connsiteY37445" fmla="*/ 463684 h 6557032"/>
              <a:gd name="connsiteX37446" fmla="*/ 3186982 w 4610101"/>
              <a:gd name="connsiteY37446" fmla="*/ 463684 h 6557032"/>
              <a:gd name="connsiteX37447" fmla="*/ 1211747 w 4610101"/>
              <a:gd name="connsiteY37447" fmla="*/ 463684 h 6557032"/>
              <a:gd name="connsiteX37448" fmla="*/ 1212202 w 4610101"/>
              <a:gd name="connsiteY37448" fmla="*/ 465278 h 6557032"/>
              <a:gd name="connsiteX37449" fmla="*/ 1212146 w 4610101"/>
              <a:gd name="connsiteY37449" fmla="*/ 465284 h 6557032"/>
              <a:gd name="connsiteX37450" fmla="*/ 1160725 w 4610101"/>
              <a:gd name="connsiteY37450" fmla="*/ 463684 h 6557032"/>
              <a:gd name="connsiteX37451" fmla="*/ 1162547 w 4610101"/>
              <a:gd name="connsiteY37451" fmla="*/ 469150 h 6557032"/>
              <a:gd name="connsiteX37452" fmla="*/ 1160725 w 4610101"/>
              <a:gd name="connsiteY37452" fmla="*/ 463684 h 6557032"/>
              <a:gd name="connsiteX37453" fmla="*/ 3509507 w 4610101"/>
              <a:gd name="connsiteY37453" fmla="*/ 461862 h 6557032"/>
              <a:gd name="connsiteX37454" fmla="*/ 3511330 w 4610101"/>
              <a:gd name="connsiteY37454" fmla="*/ 467328 h 6557032"/>
              <a:gd name="connsiteX37455" fmla="*/ 3509507 w 4610101"/>
              <a:gd name="connsiteY37455" fmla="*/ 461862 h 6557032"/>
              <a:gd name="connsiteX37456" fmla="*/ 2374293 w 4610101"/>
              <a:gd name="connsiteY37456" fmla="*/ 461862 h 6557032"/>
              <a:gd name="connsiteX37457" fmla="*/ 2372471 w 4610101"/>
              <a:gd name="connsiteY37457" fmla="*/ 474618 h 6557032"/>
              <a:gd name="connsiteX37458" fmla="*/ 2374293 w 4610101"/>
              <a:gd name="connsiteY37458" fmla="*/ 461862 h 6557032"/>
              <a:gd name="connsiteX37459" fmla="*/ 1186236 w 4610101"/>
              <a:gd name="connsiteY37459" fmla="*/ 460039 h 6557032"/>
              <a:gd name="connsiteX37460" fmla="*/ 1188058 w 4610101"/>
              <a:gd name="connsiteY37460" fmla="*/ 469150 h 6557032"/>
              <a:gd name="connsiteX37461" fmla="*/ 1186236 w 4610101"/>
              <a:gd name="connsiteY37461" fmla="*/ 460039 h 6557032"/>
              <a:gd name="connsiteX37462" fmla="*/ 1263453 w 4610101"/>
              <a:gd name="connsiteY37462" fmla="*/ 460036 h 6557032"/>
              <a:gd name="connsiteX37463" fmla="*/ 1263451 w 4610101"/>
              <a:gd name="connsiteY37463" fmla="*/ 460043 h 6557032"/>
              <a:gd name="connsiteX37464" fmla="*/ 1263450 w 4610101"/>
              <a:gd name="connsiteY37464" fmla="*/ 460040 h 6557032"/>
              <a:gd name="connsiteX37465" fmla="*/ 2099145 w 4610101"/>
              <a:gd name="connsiteY37465" fmla="*/ 458218 h 6557032"/>
              <a:gd name="connsiteX37466" fmla="*/ 2095500 w 4610101"/>
              <a:gd name="connsiteY37466" fmla="*/ 461862 h 6557032"/>
              <a:gd name="connsiteX37467" fmla="*/ 2104611 w 4610101"/>
              <a:gd name="connsiteY37467" fmla="*/ 469150 h 6557032"/>
              <a:gd name="connsiteX37468" fmla="*/ 2099145 w 4610101"/>
              <a:gd name="connsiteY37468" fmla="*/ 458218 h 6557032"/>
              <a:gd name="connsiteX37469" fmla="*/ 2560155 w 4610101"/>
              <a:gd name="connsiteY37469" fmla="*/ 456395 h 6557032"/>
              <a:gd name="connsiteX37470" fmla="*/ 2558332 w 4610101"/>
              <a:gd name="connsiteY37470" fmla="*/ 472795 h 6557032"/>
              <a:gd name="connsiteX37471" fmla="*/ 2565621 w 4610101"/>
              <a:gd name="connsiteY37471" fmla="*/ 470972 h 6557032"/>
              <a:gd name="connsiteX37472" fmla="*/ 2560155 w 4610101"/>
              <a:gd name="connsiteY37472" fmla="*/ 456395 h 6557032"/>
              <a:gd name="connsiteX37473" fmla="*/ 3239826 w 4610101"/>
              <a:gd name="connsiteY37473" fmla="*/ 454574 h 6557032"/>
              <a:gd name="connsiteX37474" fmla="*/ 3241648 w 4610101"/>
              <a:gd name="connsiteY37474" fmla="*/ 469150 h 6557032"/>
              <a:gd name="connsiteX37475" fmla="*/ 3245292 w 4610101"/>
              <a:gd name="connsiteY37475" fmla="*/ 458218 h 6557032"/>
              <a:gd name="connsiteX37476" fmla="*/ 3239826 w 4610101"/>
              <a:gd name="connsiteY37476" fmla="*/ 454574 h 6557032"/>
              <a:gd name="connsiteX37477" fmla="*/ 2383404 w 4610101"/>
              <a:gd name="connsiteY37477" fmla="*/ 454574 h 6557032"/>
              <a:gd name="connsiteX37478" fmla="*/ 2379760 w 4610101"/>
              <a:gd name="connsiteY37478" fmla="*/ 463684 h 6557032"/>
              <a:gd name="connsiteX37479" fmla="*/ 2383404 w 4610101"/>
              <a:gd name="connsiteY37479" fmla="*/ 463684 h 6557032"/>
              <a:gd name="connsiteX37480" fmla="*/ 2383404 w 4610101"/>
              <a:gd name="connsiteY37480" fmla="*/ 454574 h 6557032"/>
              <a:gd name="connsiteX37481" fmla="*/ 2121011 w 4610101"/>
              <a:gd name="connsiteY37481" fmla="*/ 454574 h 6557032"/>
              <a:gd name="connsiteX37482" fmla="*/ 2126477 w 4610101"/>
              <a:gd name="connsiteY37482" fmla="*/ 470972 h 6557032"/>
              <a:gd name="connsiteX37483" fmla="*/ 2121011 w 4610101"/>
              <a:gd name="connsiteY37483" fmla="*/ 454574 h 6557032"/>
              <a:gd name="connsiteX37484" fmla="*/ 2040835 w 4610101"/>
              <a:gd name="connsiteY37484" fmla="*/ 454574 h 6557032"/>
              <a:gd name="connsiteX37485" fmla="*/ 2048124 w 4610101"/>
              <a:gd name="connsiteY37485" fmla="*/ 480083 h 6557032"/>
              <a:gd name="connsiteX37486" fmla="*/ 2040835 w 4610101"/>
              <a:gd name="connsiteY37486" fmla="*/ 454574 h 6557032"/>
              <a:gd name="connsiteX37487" fmla="*/ 2203009 w 4610101"/>
              <a:gd name="connsiteY37487" fmla="*/ 452751 h 6557032"/>
              <a:gd name="connsiteX37488" fmla="*/ 2188431 w 4610101"/>
              <a:gd name="connsiteY37488" fmla="*/ 467328 h 6557032"/>
              <a:gd name="connsiteX37489" fmla="*/ 2181143 w 4610101"/>
              <a:gd name="connsiteY37489" fmla="*/ 483955 h 6557032"/>
              <a:gd name="connsiteX37490" fmla="*/ 2183451 w 4610101"/>
              <a:gd name="connsiteY37490" fmla="*/ 487130 h 6557032"/>
              <a:gd name="connsiteX37491" fmla="*/ 2182965 w 4610101"/>
              <a:gd name="connsiteY37491" fmla="*/ 487373 h 6557032"/>
              <a:gd name="connsiteX37492" fmla="*/ 2183867 w 4610101"/>
              <a:gd name="connsiteY37492" fmla="*/ 487701 h 6557032"/>
              <a:gd name="connsiteX37493" fmla="*/ 2190253 w 4610101"/>
              <a:gd name="connsiteY37493" fmla="*/ 496483 h 6557032"/>
              <a:gd name="connsiteX37494" fmla="*/ 2187976 w 4610101"/>
              <a:gd name="connsiteY37494" fmla="*/ 489195 h 6557032"/>
              <a:gd name="connsiteX37495" fmla="*/ 2183867 w 4610101"/>
              <a:gd name="connsiteY37495" fmla="*/ 487701 h 6557032"/>
              <a:gd name="connsiteX37496" fmla="*/ 2183451 w 4610101"/>
              <a:gd name="connsiteY37496" fmla="*/ 487130 h 6557032"/>
              <a:gd name="connsiteX37497" fmla="*/ 2186609 w 4610101"/>
              <a:gd name="connsiteY37497" fmla="*/ 485550 h 6557032"/>
              <a:gd name="connsiteX37498" fmla="*/ 2184787 w 4610101"/>
              <a:gd name="connsiteY37498" fmla="*/ 480083 h 6557032"/>
              <a:gd name="connsiteX37499" fmla="*/ 2197542 w 4610101"/>
              <a:gd name="connsiteY37499" fmla="*/ 485550 h 6557032"/>
              <a:gd name="connsiteX37500" fmla="*/ 2192076 w 4610101"/>
              <a:gd name="connsiteY37500" fmla="*/ 492838 h 6557032"/>
              <a:gd name="connsiteX37501" fmla="*/ 2193901 w 4610101"/>
              <a:gd name="connsiteY37501" fmla="*/ 494663 h 6557032"/>
              <a:gd name="connsiteX37502" fmla="*/ 2193898 w 4610101"/>
              <a:gd name="connsiteY37502" fmla="*/ 494662 h 6557032"/>
              <a:gd name="connsiteX37503" fmla="*/ 2195720 w 4610101"/>
              <a:gd name="connsiteY37503" fmla="*/ 505594 h 6557032"/>
              <a:gd name="connsiteX37504" fmla="*/ 2190937 w 4610101"/>
              <a:gd name="connsiteY37504" fmla="*/ 502178 h 6557032"/>
              <a:gd name="connsiteX37505" fmla="*/ 2188957 w 4610101"/>
              <a:gd name="connsiteY37505" fmla="*/ 501518 h 6557032"/>
              <a:gd name="connsiteX37506" fmla="*/ 2188431 w 4610101"/>
              <a:gd name="connsiteY37506" fmla="*/ 500127 h 6557032"/>
              <a:gd name="connsiteX37507" fmla="*/ 2188151 w 4610101"/>
              <a:gd name="connsiteY37507" fmla="*/ 501249 h 6557032"/>
              <a:gd name="connsiteX37508" fmla="*/ 2184787 w 4610101"/>
              <a:gd name="connsiteY37508" fmla="*/ 500127 h 6557032"/>
              <a:gd name="connsiteX37509" fmla="*/ 2186609 w 4610101"/>
              <a:gd name="connsiteY37509" fmla="*/ 507417 h 6557032"/>
              <a:gd name="connsiteX37510" fmla="*/ 2188151 w 4610101"/>
              <a:gd name="connsiteY37510" fmla="*/ 501249 h 6557032"/>
              <a:gd name="connsiteX37511" fmla="*/ 2188957 w 4610101"/>
              <a:gd name="connsiteY37511" fmla="*/ 501518 h 6557032"/>
              <a:gd name="connsiteX37512" fmla="*/ 2191620 w 4610101"/>
              <a:gd name="connsiteY37512" fmla="*/ 508555 h 6557032"/>
              <a:gd name="connsiteX37513" fmla="*/ 2197542 w 4610101"/>
              <a:gd name="connsiteY37513" fmla="*/ 512882 h 6557032"/>
              <a:gd name="connsiteX37514" fmla="*/ 2195720 w 4610101"/>
              <a:gd name="connsiteY37514" fmla="*/ 505594 h 6557032"/>
              <a:gd name="connsiteX37515" fmla="*/ 2199364 w 4610101"/>
              <a:gd name="connsiteY37515" fmla="*/ 507417 h 6557032"/>
              <a:gd name="connsiteX37516" fmla="*/ 2233986 w 4610101"/>
              <a:gd name="connsiteY37516" fmla="*/ 492838 h 6557032"/>
              <a:gd name="connsiteX37517" fmla="*/ 2232163 w 4610101"/>
              <a:gd name="connsiteY37517" fmla="*/ 485550 h 6557032"/>
              <a:gd name="connsiteX37518" fmla="*/ 2239452 w 4610101"/>
              <a:gd name="connsiteY37518" fmla="*/ 491017 h 6557032"/>
              <a:gd name="connsiteX37519" fmla="*/ 2235808 w 4610101"/>
              <a:gd name="connsiteY37519" fmla="*/ 470972 h 6557032"/>
              <a:gd name="connsiteX37520" fmla="*/ 2232163 w 4610101"/>
              <a:gd name="connsiteY37520" fmla="*/ 474618 h 6557032"/>
              <a:gd name="connsiteX37521" fmla="*/ 2224875 w 4610101"/>
              <a:gd name="connsiteY37521" fmla="*/ 460039 h 6557032"/>
              <a:gd name="connsiteX37522" fmla="*/ 2226697 w 4610101"/>
              <a:gd name="connsiteY37522" fmla="*/ 467328 h 6557032"/>
              <a:gd name="connsiteX37523" fmla="*/ 2206653 w 4610101"/>
              <a:gd name="connsiteY37523" fmla="*/ 452751 h 6557032"/>
              <a:gd name="connsiteX37524" fmla="*/ 2204831 w 4610101"/>
              <a:gd name="connsiteY37524" fmla="*/ 458218 h 6557032"/>
              <a:gd name="connsiteX37525" fmla="*/ 2203009 w 4610101"/>
              <a:gd name="connsiteY37525" fmla="*/ 452751 h 6557032"/>
              <a:gd name="connsiteX37526" fmla="*/ 495632 w 4610101"/>
              <a:gd name="connsiteY37526" fmla="*/ 452751 h 6557032"/>
              <a:gd name="connsiteX37527" fmla="*/ 506565 w 4610101"/>
              <a:gd name="connsiteY37527" fmla="*/ 472795 h 6557032"/>
              <a:gd name="connsiteX37528" fmla="*/ 501098 w 4610101"/>
              <a:gd name="connsiteY37528" fmla="*/ 469150 h 6557032"/>
              <a:gd name="connsiteX37529" fmla="*/ 501520 w 4610101"/>
              <a:gd name="connsiteY37529" fmla="*/ 469958 h 6557032"/>
              <a:gd name="connsiteX37530" fmla="*/ 500985 w 4610101"/>
              <a:gd name="connsiteY37530" fmla="*/ 469222 h 6557032"/>
              <a:gd name="connsiteX37531" fmla="*/ 3606747 w 4610101"/>
              <a:gd name="connsiteY37531" fmla="*/ 451012 h 6557032"/>
              <a:gd name="connsiteX37532" fmla="*/ 3607905 w 4610101"/>
              <a:gd name="connsiteY37532" fmla="*/ 458218 h 6557032"/>
              <a:gd name="connsiteX37533" fmla="*/ 3606315 w 4610101"/>
              <a:gd name="connsiteY37533" fmla="*/ 459755 h 6557032"/>
              <a:gd name="connsiteX37534" fmla="*/ 3605400 w 4610101"/>
              <a:gd name="connsiteY37534" fmla="*/ 454345 h 6557032"/>
              <a:gd name="connsiteX37535" fmla="*/ 3010033 w 4610101"/>
              <a:gd name="connsiteY37535" fmla="*/ 450616 h 6557032"/>
              <a:gd name="connsiteX37536" fmla="*/ 3002943 w 4610101"/>
              <a:gd name="connsiteY37536" fmla="*/ 454574 h 6557032"/>
              <a:gd name="connsiteX37537" fmla="*/ 3010232 w 4610101"/>
              <a:gd name="connsiteY37537" fmla="*/ 489194 h 6557032"/>
              <a:gd name="connsiteX37538" fmla="*/ 3013876 w 4610101"/>
              <a:gd name="connsiteY37538" fmla="*/ 474618 h 6557032"/>
              <a:gd name="connsiteX37539" fmla="*/ 3028453 w 4610101"/>
              <a:gd name="connsiteY37539" fmla="*/ 480083 h 6557032"/>
              <a:gd name="connsiteX37540" fmla="*/ 3028453 w 4610101"/>
              <a:gd name="connsiteY37540" fmla="*/ 474618 h 6557032"/>
              <a:gd name="connsiteX37541" fmla="*/ 3030276 w 4610101"/>
              <a:gd name="connsiteY37541" fmla="*/ 481906 h 6557032"/>
              <a:gd name="connsiteX37542" fmla="*/ 3028453 w 4610101"/>
              <a:gd name="connsiteY37542" fmla="*/ 501949 h 6557032"/>
              <a:gd name="connsiteX37543" fmla="*/ 3012054 w 4610101"/>
              <a:gd name="connsiteY37543" fmla="*/ 500127 h 6557032"/>
              <a:gd name="connsiteX37544" fmla="*/ 2995654 w 4610101"/>
              <a:gd name="connsiteY37544" fmla="*/ 536571 h 6557032"/>
              <a:gd name="connsiteX37545" fmla="*/ 3021165 w 4610101"/>
              <a:gd name="connsiteY37545" fmla="*/ 538393 h 6557032"/>
              <a:gd name="connsiteX37546" fmla="*/ 3021165 w 4610101"/>
              <a:gd name="connsiteY37546" fmla="*/ 531105 h 6557032"/>
              <a:gd name="connsiteX37547" fmla="*/ 3027448 w 4610101"/>
              <a:gd name="connsiteY37547" fmla="*/ 532675 h 6557032"/>
              <a:gd name="connsiteX37548" fmla="*/ 3029593 w 4610101"/>
              <a:gd name="connsiteY37548" fmla="*/ 536799 h 6557032"/>
              <a:gd name="connsiteX37549" fmla="*/ 3030237 w 4610101"/>
              <a:gd name="connsiteY37549" fmla="*/ 537037 h 6557032"/>
              <a:gd name="connsiteX37550" fmla="*/ 3024809 w 4610101"/>
              <a:gd name="connsiteY37550" fmla="*/ 538393 h 6557032"/>
              <a:gd name="connsiteX37551" fmla="*/ 3017521 w 4610101"/>
              <a:gd name="connsiteY37551" fmla="*/ 549326 h 6557032"/>
              <a:gd name="connsiteX37552" fmla="*/ 3019343 w 4610101"/>
              <a:gd name="connsiteY37552" fmla="*/ 565725 h 6557032"/>
              <a:gd name="connsiteX37553" fmla="*/ 3064897 w 4610101"/>
              <a:gd name="connsiteY37553" fmla="*/ 567548 h 6557032"/>
              <a:gd name="connsiteX37554" fmla="*/ 3066719 w 4610101"/>
              <a:gd name="connsiteY37554" fmla="*/ 578481 h 6557032"/>
              <a:gd name="connsiteX37555" fmla="*/ 3074008 w 4610101"/>
              <a:gd name="connsiteY37555" fmla="*/ 573014 h 6557032"/>
              <a:gd name="connsiteX37556" fmla="*/ 3077652 w 4610101"/>
              <a:gd name="connsiteY37556" fmla="*/ 580303 h 6557032"/>
              <a:gd name="connsiteX37557" fmla="*/ 3081297 w 4610101"/>
              <a:gd name="connsiteY37557" fmla="*/ 576658 h 6557032"/>
              <a:gd name="connsiteX37558" fmla="*/ 3083119 w 4610101"/>
              <a:gd name="connsiteY37558" fmla="*/ 583947 h 6557032"/>
              <a:gd name="connsiteX37559" fmla="*/ 3092230 w 4610101"/>
              <a:gd name="connsiteY37559" fmla="*/ 582125 h 6557032"/>
              <a:gd name="connsiteX37560" fmla="*/ 3097696 w 4610101"/>
              <a:gd name="connsiteY37560" fmla="*/ 591236 h 6557032"/>
              <a:gd name="connsiteX37561" fmla="*/ 3101340 w 4610101"/>
              <a:gd name="connsiteY37561" fmla="*/ 591236 h 6557032"/>
              <a:gd name="connsiteX37562" fmla="*/ 3094052 w 4610101"/>
              <a:gd name="connsiteY37562" fmla="*/ 580303 h 6557032"/>
              <a:gd name="connsiteX37563" fmla="*/ 3106807 w 4610101"/>
              <a:gd name="connsiteY37563" fmla="*/ 600347 h 6557032"/>
              <a:gd name="connsiteX37564" fmla="*/ 3099518 w 4610101"/>
              <a:gd name="connsiteY37564" fmla="*/ 598524 h 6557032"/>
              <a:gd name="connsiteX37565" fmla="*/ 3108629 w 4610101"/>
              <a:gd name="connsiteY37565" fmla="*/ 609459 h 6557032"/>
              <a:gd name="connsiteX37566" fmla="*/ 3106807 w 4610101"/>
              <a:gd name="connsiteY37566" fmla="*/ 607635 h 6557032"/>
              <a:gd name="connsiteX37567" fmla="*/ 3088585 w 4610101"/>
              <a:gd name="connsiteY37567" fmla="*/ 622213 h 6557032"/>
              <a:gd name="connsiteX37568" fmla="*/ 3090407 w 4610101"/>
              <a:gd name="connsiteY37568" fmla="*/ 609459 h 6557032"/>
              <a:gd name="connsiteX37569" fmla="*/ 3094052 w 4610101"/>
              <a:gd name="connsiteY37569" fmla="*/ 611280 h 6557032"/>
              <a:gd name="connsiteX37570" fmla="*/ 3092230 w 4610101"/>
              <a:gd name="connsiteY37570" fmla="*/ 603991 h 6557032"/>
              <a:gd name="connsiteX37571" fmla="*/ 3079474 w 4610101"/>
              <a:gd name="connsiteY37571" fmla="*/ 609459 h 6557032"/>
              <a:gd name="connsiteX37572" fmla="*/ 3079474 w 4610101"/>
              <a:gd name="connsiteY37572" fmla="*/ 620391 h 6557032"/>
              <a:gd name="connsiteX37573" fmla="*/ 3106807 w 4610101"/>
              <a:gd name="connsiteY37573" fmla="*/ 627679 h 6557032"/>
              <a:gd name="connsiteX37574" fmla="*/ 3104985 w 4610101"/>
              <a:gd name="connsiteY37574" fmla="*/ 616746 h 6557032"/>
              <a:gd name="connsiteX37575" fmla="*/ 3108629 w 4610101"/>
              <a:gd name="connsiteY37575" fmla="*/ 622213 h 6557032"/>
              <a:gd name="connsiteX37576" fmla="*/ 3110451 w 4610101"/>
              <a:gd name="connsiteY37576" fmla="*/ 618568 h 6557032"/>
              <a:gd name="connsiteX37577" fmla="*/ 3117740 w 4610101"/>
              <a:gd name="connsiteY37577" fmla="*/ 622213 h 6557032"/>
              <a:gd name="connsiteX37578" fmla="*/ 3119562 w 4610101"/>
              <a:gd name="connsiteY37578" fmla="*/ 613103 h 6557032"/>
              <a:gd name="connsiteX37579" fmla="*/ 3121384 w 4610101"/>
              <a:gd name="connsiteY37579" fmla="*/ 620391 h 6557032"/>
              <a:gd name="connsiteX37580" fmla="*/ 3123206 w 4610101"/>
              <a:gd name="connsiteY37580" fmla="*/ 605813 h 6557032"/>
              <a:gd name="connsiteX37581" fmla="*/ 3119562 w 4610101"/>
              <a:gd name="connsiteY37581" fmla="*/ 609459 h 6557032"/>
              <a:gd name="connsiteX37582" fmla="*/ 3079474 w 4610101"/>
              <a:gd name="connsiteY37582" fmla="*/ 543860 h 6557032"/>
              <a:gd name="connsiteX37583" fmla="*/ 3083119 w 4610101"/>
              <a:gd name="connsiteY37583" fmla="*/ 545681 h 6557032"/>
              <a:gd name="connsiteX37584" fmla="*/ 3066719 w 4610101"/>
              <a:gd name="connsiteY37584" fmla="*/ 501949 h 6557032"/>
              <a:gd name="connsiteX37585" fmla="*/ 3064897 w 4610101"/>
              <a:gd name="connsiteY37585" fmla="*/ 507417 h 6557032"/>
              <a:gd name="connsiteX37586" fmla="*/ 3059886 w 4610101"/>
              <a:gd name="connsiteY37586" fmla="*/ 488967 h 6557032"/>
              <a:gd name="connsiteX37587" fmla="*/ 3058114 w 4610101"/>
              <a:gd name="connsiteY37587" fmla="*/ 487775 h 6557032"/>
              <a:gd name="connsiteX37588" fmla="*/ 3057608 w 4610101"/>
              <a:gd name="connsiteY37588" fmla="*/ 483728 h 6557032"/>
              <a:gd name="connsiteX37589" fmla="*/ 3057316 w 4610101"/>
              <a:gd name="connsiteY37589" fmla="*/ 487238 h 6557032"/>
              <a:gd name="connsiteX37590" fmla="*/ 3046675 w 4610101"/>
              <a:gd name="connsiteY37590" fmla="*/ 480083 h 6557032"/>
              <a:gd name="connsiteX37591" fmla="*/ 3052142 w 4610101"/>
              <a:gd name="connsiteY37591" fmla="*/ 480083 h 6557032"/>
              <a:gd name="connsiteX37592" fmla="*/ 3037564 w 4610101"/>
              <a:gd name="connsiteY37592" fmla="*/ 467328 h 6557032"/>
              <a:gd name="connsiteX37593" fmla="*/ 3030276 w 4610101"/>
              <a:gd name="connsiteY37593" fmla="*/ 476439 h 6557032"/>
              <a:gd name="connsiteX37594" fmla="*/ 3030276 w 4610101"/>
              <a:gd name="connsiteY37594" fmla="*/ 463684 h 6557032"/>
              <a:gd name="connsiteX37595" fmla="*/ 3017293 w 4610101"/>
              <a:gd name="connsiteY37595" fmla="*/ 452979 h 6557032"/>
              <a:gd name="connsiteX37596" fmla="*/ 3010033 w 4610101"/>
              <a:gd name="connsiteY37596" fmla="*/ 450616 h 6557032"/>
              <a:gd name="connsiteX37597" fmla="*/ 2283184 w 4610101"/>
              <a:gd name="connsiteY37597" fmla="*/ 449107 h 6557032"/>
              <a:gd name="connsiteX37598" fmla="*/ 2286829 w 4610101"/>
              <a:gd name="connsiteY37598" fmla="*/ 458218 h 6557032"/>
              <a:gd name="connsiteX37599" fmla="*/ 2288651 w 4610101"/>
              <a:gd name="connsiteY37599" fmla="*/ 452751 h 6557032"/>
              <a:gd name="connsiteX37600" fmla="*/ 2283184 w 4610101"/>
              <a:gd name="connsiteY37600" fmla="*/ 449107 h 6557032"/>
              <a:gd name="connsiteX37601" fmla="*/ 3256225 w 4610101"/>
              <a:gd name="connsiteY37601" fmla="*/ 447284 h 6557032"/>
              <a:gd name="connsiteX37602" fmla="*/ 3254403 w 4610101"/>
              <a:gd name="connsiteY37602" fmla="*/ 467328 h 6557032"/>
              <a:gd name="connsiteX37603" fmla="*/ 3256225 w 4610101"/>
              <a:gd name="connsiteY37603" fmla="*/ 447284 h 6557032"/>
              <a:gd name="connsiteX37604" fmla="*/ 3232537 w 4610101"/>
              <a:gd name="connsiteY37604" fmla="*/ 447284 h 6557032"/>
              <a:gd name="connsiteX37605" fmla="*/ 3236181 w 4610101"/>
              <a:gd name="connsiteY37605" fmla="*/ 452751 h 6557032"/>
              <a:gd name="connsiteX37606" fmla="*/ 3232537 w 4610101"/>
              <a:gd name="connsiteY37606" fmla="*/ 447284 h 6557032"/>
              <a:gd name="connsiteX37607" fmla="*/ 3079474 w 4610101"/>
              <a:gd name="connsiteY37607" fmla="*/ 447284 h 6557032"/>
              <a:gd name="connsiteX37608" fmla="*/ 3081297 w 4610101"/>
              <a:gd name="connsiteY37608" fmla="*/ 456395 h 6557032"/>
              <a:gd name="connsiteX37609" fmla="*/ 3079474 w 4610101"/>
              <a:gd name="connsiteY37609" fmla="*/ 447284 h 6557032"/>
              <a:gd name="connsiteX37610" fmla="*/ 3053964 w 4610101"/>
              <a:gd name="connsiteY37610" fmla="*/ 447284 h 6557032"/>
              <a:gd name="connsiteX37611" fmla="*/ 3052142 w 4610101"/>
              <a:gd name="connsiteY37611" fmla="*/ 456395 h 6557032"/>
              <a:gd name="connsiteX37612" fmla="*/ 3063075 w 4610101"/>
              <a:gd name="connsiteY37612" fmla="*/ 456395 h 6557032"/>
              <a:gd name="connsiteX37613" fmla="*/ 3053964 w 4610101"/>
              <a:gd name="connsiteY37613" fmla="*/ 447284 h 6557032"/>
              <a:gd name="connsiteX37614" fmla="*/ 1075083 w 4610101"/>
              <a:gd name="connsiteY37614" fmla="*/ 446744 h 6557032"/>
              <a:gd name="connsiteX37615" fmla="*/ 1075083 w 4610101"/>
              <a:gd name="connsiteY37615" fmla="*/ 450928 h 6557032"/>
              <a:gd name="connsiteX37616" fmla="*/ 1074368 w 4610101"/>
              <a:gd name="connsiteY37616" fmla="*/ 449498 h 6557032"/>
              <a:gd name="connsiteX37617" fmla="*/ 3415723 w 4610101"/>
              <a:gd name="connsiteY37617" fmla="*/ 446601 h 6557032"/>
              <a:gd name="connsiteX37618" fmla="*/ 3411110 w 4610101"/>
              <a:gd name="connsiteY37618" fmla="*/ 449107 h 6557032"/>
              <a:gd name="connsiteX37619" fmla="*/ 3412932 w 4610101"/>
              <a:gd name="connsiteY37619" fmla="*/ 460039 h 6557032"/>
              <a:gd name="connsiteX37620" fmla="*/ 3425687 w 4610101"/>
              <a:gd name="connsiteY37620" fmla="*/ 458218 h 6557032"/>
              <a:gd name="connsiteX37621" fmla="*/ 3409288 w 4610101"/>
              <a:gd name="connsiteY37621" fmla="*/ 469150 h 6557032"/>
              <a:gd name="connsiteX37622" fmla="*/ 3407466 w 4610101"/>
              <a:gd name="connsiteY37622" fmla="*/ 461862 h 6557032"/>
              <a:gd name="connsiteX37623" fmla="*/ 3411110 w 4610101"/>
              <a:gd name="connsiteY37623" fmla="*/ 465506 h 6557032"/>
              <a:gd name="connsiteX37624" fmla="*/ 3400177 w 4610101"/>
              <a:gd name="connsiteY37624" fmla="*/ 454574 h 6557032"/>
              <a:gd name="connsiteX37625" fmla="*/ 3407466 w 4610101"/>
              <a:gd name="connsiteY37625" fmla="*/ 470972 h 6557032"/>
              <a:gd name="connsiteX37626" fmla="*/ 3383777 w 4610101"/>
              <a:gd name="connsiteY37626" fmla="*/ 463684 h 6557032"/>
              <a:gd name="connsiteX37627" fmla="*/ 3383777 w 4610101"/>
              <a:gd name="connsiteY37627" fmla="*/ 481906 h 6557032"/>
              <a:gd name="connsiteX37628" fmla="*/ 3367378 w 4610101"/>
              <a:gd name="connsiteY37628" fmla="*/ 485550 h 6557032"/>
              <a:gd name="connsiteX37629" fmla="*/ 3378311 w 4610101"/>
              <a:gd name="connsiteY37629" fmla="*/ 496483 h 6557032"/>
              <a:gd name="connsiteX37630" fmla="*/ 3389244 w 4610101"/>
              <a:gd name="connsiteY37630" fmla="*/ 492838 h 6557032"/>
              <a:gd name="connsiteX37631" fmla="*/ 3389244 w 4610101"/>
              <a:gd name="connsiteY37631" fmla="*/ 498306 h 6557032"/>
              <a:gd name="connsiteX37632" fmla="*/ 3436621 w 4610101"/>
              <a:gd name="connsiteY37632" fmla="*/ 470972 h 6557032"/>
              <a:gd name="connsiteX37633" fmla="*/ 3411110 w 4610101"/>
              <a:gd name="connsiteY37633" fmla="*/ 492838 h 6557032"/>
              <a:gd name="connsiteX37634" fmla="*/ 3409288 w 4610101"/>
              <a:gd name="connsiteY37634" fmla="*/ 498306 h 6557032"/>
              <a:gd name="connsiteX37635" fmla="*/ 3416577 w 4610101"/>
              <a:gd name="connsiteY37635" fmla="*/ 501949 h 6557032"/>
              <a:gd name="connsiteX37636" fmla="*/ 3436621 w 4610101"/>
              <a:gd name="connsiteY37636" fmla="*/ 500127 h 6557032"/>
              <a:gd name="connsiteX37637" fmla="*/ 3442087 w 4610101"/>
              <a:gd name="connsiteY37637" fmla="*/ 498306 h 6557032"/>
              <a:gd name="connsiteX37638" fmla="*/ 3462131 w 4610101"/>
              <a:gd name="connsiteY37638" fmla="*/ 512882 h 6557032"/>
              <a:gd name="connsiteX37639" fmla="*/ 3473064 w 4610101"/>
              <a:gd name="connsiteY37639" fmla="*/ 509238 h 6557032"/>
              <a:gd name="connsiteX37640" fmla="*/ 3471242 w 4610101"/>
              <a:gd name="connsiteY37640" fmla="*/ 516527 h 6557032"/>
              <a:gd name="connsiteX37641" fmla="*/ 3463953 w 4610101"/>
              <a:gd name="connsiteY37641" fmla="*/ 527461 h 6557032"/>
              <a:gd name="connsiteX37642" fmla="*/ 3451198 w 4610101"/>
              <a:gd name="connsiteY37642" fmla="*/ 516527 h 6557032"/>
              <a:gd name="connsiteX37643" fmla="*/ 3463953 w 4610101"/>
              <a:gd name="connsiteY37643" fmla="*/ 536571 h 6557032"/>
              <a:gd name="connsiteX37644" fmla="*/ 3465775 w 4610101"/>
              <a:gd name="connsiteY37644" fmla="*/ 532926 h 6557032"/>
              <a:gd name="connsiteX37645" fmla="*/ 3467597 w 4610101"/>
              <a:gd name="connsiteY37645" fmla="*/ 549326 h 6557032"/>
              <a:gd name="connsiteX37646" fmla="*/ 3469419 w 4610101"/>
              <a:gd name="connsiteY37646" fmla="*/ 554792 h 6557032"/>
              <a:gd name="connsiteX37647" fmla="*/ 3496752 w 4610101"/>
              <a:gd name="connsiteY37647" fmla="*/ 512882 h 6557032"/>
              <a:gd name="connsiteX37648" fmla="*/ 3487641 w 4610101"/>
              <a:gd name="connsiteY37648" fmla="*/ 480083 h 6557032"/>
              <a:gd name="connsiteX37649" fmla="*/ 3463953 w 4610101"/>
              <a:gd name="connsiteY37649" fmla="*/ 461862 h 6557032"/>
              <a:gd name="connsiteX37650" fmla="*/ 3458487 w 4610101"/>
              <a:gd name="connsiteY37650" fmla="*/ 463684 h 6557032"/>
              <a:gd name="connsiteX37651" fmla="*/ 3447553 w 4610101"/>
              <a:gd name="connsiteY37651" fmla="*/ 456395 h 6557032"/>
              <a:gd name="connsiteX37652" fmla="*/ 3449376 w 4610101"/>
              <a:gd name="connsiteY37652" fmla="*/ 461862 h 6557032"/>
              <a:gd name="connsiteX37653" fmla="*/ 3440265 w 4610101"/>
              <a:gd name="connsiteY37653" fmla="*/ 447284 h 6557032"/>
              <a:gd name="connsiteX37654" fmla="*/ 3438443 w 4610101"/>
              <a:gd name="connsiteY37654" fmla="*/ 450928 h 6557032"/>
              <a:gd name="connsiteX37655" fmla="*/ 3438443 w 4610101"/>
              <a:gd name="connsiteY37655" fmla="*/ 463684 h 6557032"/>
              <a:gd name="connsiteX37656" fmla="*/ 3427510 w 4610101"/>
              <a:gd name="connsiteY37656" fmla="*/ 452751 h 6557032"/>
              <a:gd name="connsiteX37657" fmla="*/ 3415723 w 4610101"/>
              <a:gd name="connsiteY37657" fmla="*/ 446601 h 6557032"/>
              <a:gd name="connsiteX37658" fmla="*/ 3039387 w 4610101"/>
              <a:gd name="connsiteY37658" fmla="*/ 445463 h 6557032"/>
              <a:gd name="connsiteX37659" fmla="*/ 3030276 w 4610101"/>
              <a:gd name="connsiteY37659" fmla="*/ 450928 h 6557032"/>
              <a:gd name="connsiteX37660" fmla="*/ 3039387 w 4610101"/>
              <a:gd name="connsiteY37660" fmla="*/ 452751 h 6557032"/>
              <a:gd name="connsiteX37661" fmla="*/ 3039387 w 4610101"/>
              <a:gd name="connsiteY37661" fmla="*/ 445463 h 6557032"/>
              <a:gd name="connsiteX37662" fmla="*/ 2658552 w 4610101"/>
              <a:gd name="connsiteY37662" fmla="*/ 445463 h 6557032"/>
              <a:gd name="connsiteX37663" fmla="*/ 2662197 w 4610101"/>
              <a:gd name="connsiteY37663" fmla="*/ 461862 h 6557032"/>
              <a:gd name="connsiteX37664" fmla="*/ 2662197 w 4610101"/>
              <a:gd name="connsiteY37664" fmla="*/ 449107 h 6557032"/>
              <a:gd name="connsiteX37665" fmla="*/ 2658552 w 4610101"/>
              <a:gd name="connsiteY37665" fmla="*/ 445463 h 6557032"/>
              <a:gd name="connsiteX37666" fmla="*/ 2354249 w 4610101"/>
              <a:gd name="connsiteY37666" fmla="*/ 445463 h 6557032"/>
              <a:gd name="connsiteX37667" fmla="*/ 2345138 w 4610101"/>
              <a:gd name="connsiteY37667" fmla="*/ 460039 h 6557032"/>
              <a:gd name="connsiteX37668" fmla="*/ 2341494 w 4610101"/>
              <a:gd name="connsiteY37668" fmla="*/ 458218 h 6557032"/>
              <a:gd name="connsiteX37669" fmla="*/ 2345138 w 4610101"/>
              <a:gd name="connsiteY37669" fmla="*/ 469150 h 6557032"/>
              <a:gd name="connsiteX37670" fmla="*/ 2346960 w 4610101"/>
              <a:gd name="connsiteY37670" fmla="*/ 467328 h 6557032"/>
              <a:gd name="connsiteX37671" fmla="*/ 2346960 w 4610101"/>
              <a:gd name="connsiteY37671" fmla="*/ 474618 h 6557032"/>
              <a:gd name="connsiteX37672" fmla="*/ 2332383 w 4610101"/>
              <a:gd name="connsiteY37672" fmla="*/ 489194 h 6557032"/>
              <a:gd name="connsiteX37673" fmla="*/ 2330561 w 4610101"/>
              <a:gd name="connsiteY37673" fmla="*/ 469150 h 6557032"/>
              <a:gd name="connsiteX37674" fmla="*/ 2326916 w 4610101"/>
              <a:gd name="connsiteY37674" fmla="*/ 491017 h 6557032"/>
              <a:gd name="connsiteX37675" fmla="*/ 2317806 w 4610101"/>
              <a:gd name="connsiteY37675" fmla="*/ 465506 h 6557032"/>
              <a:gd name="connsiteX37676" fmla="*/ 2319628 w 4610101"/>
              <a:gd name="connsiteY37676" fmla="*/ 474618 h 6557032"/>
              <a:gd name="connsiteX37677" fmla="*/ 2315983 w 4610101"/>
              <a:gd name="connsiteY37677" fmla="*/ 454574 h 6557032"/>
              <a:gd name="connsiteX37678" fmla="*/ 2306873 w 4610101"/>
              <a:gd name="connsiteY37678" fmla="*/ 480083 h 6557032"/>
              <a:gd name="connsiteX37679" fmla="*/ 2303228 w 4610101"/>
              <a:gd name="connsiteY37679" fmla="*/ 472795 h 6557032"/>
              <a:gd name="connsiteX37680" fmla="*/ 2295940 w 4610101"/>
              <a:gd name="connsiteY37680" fmla="*/ 481906 h 6557032"/>
              <a:gd name="connsiteX37681" fmla="*/ 2295029 w 4610101"/>
              <a:gd name="connsiteY37681" fmla="*/ 514705 h 6557032"/>
              <a:gd name="connsiteX37682" fmla="*/ 2307120 w 4610101"/>
              <a:gd name="connsiteY37682" fmla="*/ 527213 h 6557032"/>
              <a:gd name="connsiteX37683" fmla="*/ 2303228 w 4610101"/>
              <a:gd name="connsiteY37683" fmla="*/ 531105 h 6557032"/>
              <a:gd name="connsiteX37684" fmla="*/ 2286829 w 4610101"/>
              <a:gd name="connsiteY37684" fmla="*/ 518349 h 6557032"/>
              <a:gd name="connsiteX37685" fmla="*/ 2292295 w 4610101"/>
              <a:gd name="connsiteY37685" fmla="*/ 569370 h 6557032"/>
              <a:gd name="connsiteX37686" fmla="*/ 2297762 w 4610101"/>
              <a:gd name="connsiteY37686" fmla="*/ 574836 h 6557032"/>
              <a:gd name="connsiteX37687" fmla="*/ 2302909 w 4610101"/>
              <a:gd name="connsiteY37687" fmla="*/ 567116 h 6557032"/>
              <a:gd name="connsiteX37688" fmla="*/ 2303228 w 4610101"/>
              <a:gd name="connsiteY37688" fmla="*/ 567548 h 6557032"/>
              <a:gd name="connsiteX37689" fmla="*/ 2305050 w 4610101"/>
              <a:gd name="connsiteY37689" fmla="*/ 563904 h 6557032"/>
              <a:gd name="connsiteX37690" fmla="*/ 2302909 w 4610101"/>
              <a:gd name="connsiteY37690" fmla="*/ 567116 h 6557032"/>
              <a:gd name="connsiteX37691" fmla="*/ 2299356 w 4610101"/>
              <a:gd name="connsiteY37691" fmla="*/ 562309 h 6557032"/>
              <a:gd name="connsiteX37692" fmla="*/ 2294117 w 4610101"/>
              <a:gd name="connsiteY37692" fmla="*/ 558437 h 6557032"/>
              <a:gd name="connsiteX37693" fmla="*/ 2299584 w 4610101"/>
              <a:gd name="connsiteY37693" fmla="*/ 552970 h 6557032"/>
              <a:gd name="connsiteX37694" fmla="*/ 2305050 w 4610101"/>
              <a:gd name="connsiteY37694" fmla="*/ 562081 h 6557032"/>
              <a:gd name="connsiteX37695" fmla="*/ 2306873 w 4610101"/>
              <a:gd name="connsiteY37695" fmla="*/ 549326 h 6557032"/>
              <a:gd name="connsiteX37696" fmla="*/ 2308695 w 4610101"/>
              <a:gd name="connsiteY37696" fmla="*/ 552970 h 6557032"/>
              <a:gd name="connsiteX37697" fmla="*/ 2312629 w 4610101"/>
              <a:gd name="connsiteY37697" fmla="*/ 541662 h 6557032"/>
              <a:gd name="connsiteX37698" fmla="*/ 2313250 w 4610101"/>
              <a:gd name="connsiteY37698" fmla="*/ 544771 h 6557032"/>
              <a:gd name="connsiteX37699" fmla="*/ 2314161 w 4610101"/>
              <a:gd name="connsiteY37699" fmla="*/ 549326 h 6557032"/>
              <a:gd name="connsiteX37700" fmla="*/ 2317806 w 4610101"/>
              <a:gd name="connsiteY37700" fmla="*/ 547504 h 6557032"/>
              <a:gd name="connsiteX37701" fmla="*/ 2312881 w 4610101"/>
              <a:gd name="connsiteY37701" fmla="*/ 540937 h 6557032"/>
              <a:gd name="connsiteX37702" fmla="*/ 2314162 w 4610101"/>
              <a:gd name="connsiteY37702" fmla="*/ 537254 h 6557032"/>
              <a:gd name="connsiteX37703" fmla="*/ 2311633 w 4610101"/>
              <a:gd name="connsiteY37703" fmla="*/ 531882 h 6557032"/>
              <a:gd name="connsiteX37704" fmla="*/ 2321450 w 4610101"/>
              <a:gd name="connsiteY37704" fmla="*/ 542037 h 6557032"/>
              <a:gd name="connsiteX37705" fmla="*/ 2319628 w 4610101"/>
              <a:gd name="connsiteY37705" fmla="*/ 531105 h 6557032"/>
              <a:gd name="connsiteX37706" fmla="*/ 2317806 w 4610101"/>
              <a:gd name="connsiteY37706" fmla="*/ 529282 h 6557032"/>
              <a:gd name="connsiteX37707" fmla="*/ 2315983 w 4610101"/>
              <a:gd name="connsiteY37707" fmla="*/ 532926 h 6557032"/>
              <a:gd name="connsiteX37708" fmla="*/ 2315983 w 4610101"/>
              <a:gd name="connsiteY37708" fmla="*/ 509238 h 6557032"/>
              <a:gd name="connsiteX37709" fmla="*/ 2325094 w 4610101"/>
              <a:gd name="connsiteY37709" fmla="*/ 523815 h 6557032"/>
              <a:gd name="connsiteX37710" fmla="*/ 2326916 w 4610101"/>
              <a:gd name="connsiteY37710" fmla="*/ 516527 h 6557032"/>
              <a:gd name="connsiteX37711" fmla="*/ 2328739 w 4610101"/>
              <a:gd name="connsiteY37711" fmla="*/ 527461 h 6557032"/>
              <a:gd name="connsiteX37712" fmla="*/ 2330561 w 4610101"/>
              <a:gd name="connsiteY37712" fmla="*/ 523815 h 6557032"/>
              <a:gd name="connsiteX37713" fmla="*/ 2341494 w 4610101"/>
              <a:gd name="connsiteY37713" fmla="*/ 512882 h 6557032"/>
              <a:gd name="connsiteX37714" fmla="*/ 2348782 w 4610101"/>
              <a:gd name="connsiteY37714" fmla="*/ 520171 h 6557032"/>
              <a:gd name="connsiteX37715" fmla="*/ 2352427 w 4610101"/>
              <a:gd name="connsiteY37715" fmla="*/ 496483 h 6557032"/>
              <a:gd name="connsiteX37716" fmla="*/ 2354249 w 4610101"/>
              <a:gd name="connsiteY37716" fmla="*/ 507417 h 6557032"/>
              <a:gd name="connsiteX37717" fmla="*/ 2361538 w 4610101"/>
              <a:gd name="connsiteY37717" fmla="*/ 472795 h 6557032"/>
              <a:gd name="connsiteX37718" fmla="*/ 2363360 w 4610101"/>
              <a:gd name="connsiteY37718" fmla="*/ 487373 h 6557032"/>
              <a:gd name="connsiteX37719" fmla="*/ 2352427 w 4610101"/>
              <a:gd name="connsiteY37719" fmla="*/ 461862 h 6557032"/>
              <a:gd name="connsiteX37720" fmla="*/ 2354249 w 4610101"/>
              <a:gd name="connsiteY37720" fmla="*/ 463684 h 6557032"/>
              <a:gd name="connsiteX37721" fmla="*/ 2354249 w 4610101"/>
              <a:gd name="connsiteY37721" fmla="*/ 445463 h 6557032"/>
              <a:gd name="connsiteX37722" fmla="*/ 2294117 w 4610101"/>
              <a:gd name="connsiteY37722" fmla="*/ 445463 h 6557032"/>
              <a:gd name="connsiteX37723" fmla="*/ 2292295 w 4610101"/>
              <a:gd name="connsiteY37723" fmla="*/ 456395 h 6557032"/>
              <a:gd name="connsiteX37724" fmla="*/ 2294117 w 4610101"/>
              <a:gd name="connsiteY37724" fmla="*/ 445463 h 6557032"/>
              <a:gd name="connsiteX37725" fmla="*/ 1290100 w 4610101"/>
              <a:gd name="connsiteY37725" fmla="*/ 445463 h 6557032"/>
              <a:gd name="connsiteX37726" fmla="*/ 1290100 w 4610101"/>
              <a:gd name="connsiteY37726" fmla="*/ 460039 h 6557032"/>
              <a:gd name="connsiteX37727" fmla="*/ 1299210 w 4610101"/>
              <a:gd name="connsiteY37727" fmla="*/ 456395 h 6557032"/>
              <a:gd name="connsiteX37728" fmla="*/ 1286455 w 4610101"/>
              <a:gd name="connsiteY37728" fmla="*/ 463684 h 6557032"/>
              <a:gd name="connsiteX37729" fmla="*/ 1283118 w 4610101"/>
              <a:gd name="connsiteY37729" fmla="*/ 468186 h 6557032"/>
              <a:gd name="connsiteX37730" fmla="*/ 1287167 w 4610101"/>
              <a:gd name="connsiteY37730" fmla="*/ 459157 h 6557032"/>
              <a:gd name="connsiteX37731" fmla="*/ 1286455 w 4610101"/>
              <a:gd name="connsiteY37731" fmla="*/ 449107 h 6557032"/>
              <a:gd name="connsiteX37732" fmla="*/ 1290100 w 4610101"/>
              <a:gd name="connsiteY37732" fmla="*/ 445463 h 6557032"/>
              <a:gd name="connsiteX37733" fmla="*/ 2325003 w 4610101"/>
              <a:gd name="connsiteY37733" fmla="*/ 444583 h 6557032"/>
              <a:gd name="connsiteX37734" fmla="*/ 2326916 w 4610101"/>
              <a:gd name="connsiteY37734" fmla="*/ 447284 h 6557032"/>
              <a:gd name="connsiteX37735" fmla="*/ 2323914 w 4610101"/>
              <a:gd name="connsiteY37735" fmla="*/ 448576 h 6557032"/>
              <a:gd name="connsiteX37736" fmla="*/ 3349156 w 4610101"/>
              <a:gd name="connsiteY37736" fmla="*/ 443640 h 6557032"/>
              <a:gd name="connsiteX37737" fmla="*/ 3329112 w 4610101"/>
              <a:gd name="connsiteY37737" fmla="*/ 467328 h 6557032"/>
              <a:gd name="connsiteX37738" fmla="*/ 3325240 w 4610101"/>
              <a:gd name="connsiteY37738" fmla="*/ 470745 h 6557032"/>
              <a:gd name="connsiteX37739" fmla="*/ 3323099 w 4610101"/>
              <a:gd name="connsiteY37739" fmla="*/ 471155 h 6557032"/>
              <a:gd name="connsiteX37740" fmla="*/ 3321824 w 4610101"/>
              <a:gd name="connsiteY37740" fmla="*/ 467329 h 6557032"/>
              <a:gd name="connsiteX37741" fmla="*/ 3320001 w 4610101"/>
              <a:gd name="connsiteY37741" fmla="*/ 461862 h 6557032"/>
              <a:gd name="connsiteX37742" fmla="*/ 3310890 w 4610101"/>
              <a:gd name="connsiteY37742" fmla="*/ 463684 h 6557032"/>
              <a:gd name="connsiteX37743" fmla="*/ 3314535 w 4610101"/>
              <a:gd name="connsiteY37743" fmla="*/ 470290 h 6557032"/>
              <a:gd name="connsiteX37744" fmla="*/ 3319905 w 4610101"/>
              <a:gd name="connsiteY37744" fmla="*/ 471767 h 6557032"/>
              <a:gd name="connsiteX37745" fmla="*/ 3314535 w 4610101"/>
              <a:gd name="connsiteY37745" fmla="*/ 472795 h 6557032"/>
              <a:gd name="connsiteX37746" fmla="*/ 3323646 w 4610101"/>
              <a:gd name="connsiteY37746" fmla="*/ 483728 h 6557032"/>
              <a:gd name="connsiteX37747" fmla="*/ 3327290 w 4610101"/>
              <a:gd name="connsiteY37747" fmla="*/ 481906 h 6557032"/>
              <a:gd name="connsiteX37748" fmla="*/ 3329112 w 4610101"/>
              <a:gd name="connsiteY37748" fmla="*/ 487373 h 6557032"/>
              <a:gd name="connsiteX37749" fmla="*/ 3343690 w 4610101"/>
              <a:gd name="connsiteY37749" fmla="*/ 476439 h 6557032"/>
              <a:gd name="connsiteX37750" fmla="*/ 3341867 w 4610101"/>
              <a:gd name="connsiteY37750" fmla="*/ 487373 h 6557032"/>
              <a:gd name="connsiteX37751" fmla="*/ 3356445 w 4610101"/>
              <a:gd name="connsiteY37751" fmla="*/ 480083 h 6557032"/>
              <a:gd name="connsiteX37752" fmla="*/ 3354623 w 4610101"/>
              <a:gd name="connsiteY37752" fmla="*/ 474618 h 6557032"/>
              <a:gd name="connsiteX37753" fmla="*/ 3363734 w 4610101"/>
              <a:gd name="connsiteY37753" fmla="*/ 483728 h 6557032"/>
              <a:gd name="connsiteX37754" fmla="*/ 3369200 w 4610101"/>
              <a:gd name="connsiteY37754" fmla="*/ 474618 h 6557032"/>
              <a:gd name="connsiteX37755" fmla="*/ 3371022 w 4610101"/>
              <a:gd name="connsiteY37755" fmla="*/ 476439 h 6557032"/>
              <a:gd name="connsiteX37756" fmla="*/ 3373072 w 4610101"/>
              <a:gd name="connsiteY37756" fmla="*/ 471884 h 6557032"/>
              <a:gd name="connsiteX37757" fmla="*/ 3372275 w 4610101"/>
              <a:gd name="connsiteY37757" fmla="*/ 470112 h 6557032"/>
              <a:gd name="connsiteX37758" fmla="*/ 3374667 w 4610101"/>
              <a:gd name="connsiteY37758" fmla="*/ 468467 h 6557032"/>
              <a:gd name="connsiteX37759" fmla="*/ 3378311 w 4610101"/>
              <a:gd name="connsiteY37759" fmla="*/ 467328 h 6557032"/>
              <a:gd name="connsiteX37760" fmla="*/ 3369200 w 4610101"/>
              <a:gd name="connsiteY37760" fmla="*/ 461862 h 6557032"/>
              <a:gd name="connsiteX37761" fmla="*/ 3368745 w 4610101"/>
              <a:gd name="connsiteY37761" fmla="*/ 465734 h 6557032"/>
              <a:gd name="connsiteX37762" fmla="*/ 3369585 w 4610101"/>
              <a:gd name="connsiteY37762" fmla="*/ 467667 h 6557032"/>
              <a:gd name="connsiteX37763" fmla="*/ 3367150 w 4610101"/>
              <a:gd name="connsiteY37763" fmla="*/ 468239 h 6557032"/>
              <a:gd name="connsiteX37764" fmla="*/ 3361911 w 4610101"/>
              <a:gd name="connsiteY37764" fmla="*/ 469150 h 6557032"/>
              <a:gd name="connsiteX37765" fmla="*/ 3349156 w 4610101"/>
              <a:gd name="connsiteY37765" fmla="*/ 443640 h 6557032"/>
              <a:gd name="connsiteX37766" fmla="*/ 3196093 w 4610101"/>
              <a:gd name="connsiteY37766" fmla="*/ 443640 h 6557032"/>
              <a:gd name="connsiteX37767" fmla="*/ 3199738 w 4610101"/>
              <a:gd name="connsiteY37767" fmla="*/ 450928 h 6557032"/>
              <a:gd name="connsiteX37768" fmla="*/ 3196093 w 4610101"/>
              <a:gd name="connsiteY37768" fmla="*/ 443640 h 6557032"/>
              <a:gd name="connsiteX37769" fmla="*/ 2527356 w 4610101"/>
              <a:gd name="connsiteY37769" fmla="*/ 443640 h 6557032"/>
              <a:gd name="connsiteX37770" fmla="*/ 2523711 w 4610101"/>
              <a:gd name="connsiteY37770" fmla="*/ 450928 h 6557032"/>
              <a:gd name="connsiteX37771" fmla="*/ 2529178 w 4610101"/>
              <a:gd name="connsiteY37771" fmla="*/ 460039 h 6557032"/>
              <a:gd name="connsiteX37772" fmla="*/ 2532822 w 4610101"/>
              <a:gd name="connsiteY37772" fmla="*/ 445463 h 6557032"/>
              <a:gd name="connsiteX37773" fmla="*/ 2534644 w 4610101"/>
              <a:gd name="connsiteY37773" fmla="*/ 454574 h 6557032"/>
              <a:gd name="connsiteX37774" fmla="*/ 2538289 w 4610101"/>
              <a:gd name="connsiteY37774" fmla="*/ 443640 h 6557032"/>
              <a:gd name="connsiteX37775" fmla="*/ 2527356 w 4610101"/>
              <a:gd name="connsiteY37775" fmla="*/ 443640 h 6557032"/>
              <a:gd name="connsiteX37776" fmla="*/ 1075895 w 4610101"/>
              <a:gd name="connsiteY37776" fmla="*/ 443618 h 6557032"/>
              <a:gd name="connsiteX37777" fmla="*/ 1075083 w 4610101"/>
              <a:gd name="connsiteY37777" fmla="*/ 446744 h 6557032"/>
              <a:gd name="connsiteX37778" fmla="*/ 1075083 w 4610101"/>
              <a:gd name="connsiteY37778" fmla="*/ 445463 h 6557032"/>
              <a:gd name="connsiteX37779" fmla="*/ 3360089 w 4610101"/>
              <a:gd name="connsiteY37779" fmla="*/ 441819 h 6557032"/>
              <a:gd name="connsiteX37780" fmla="*/ 3363734 w 4610101"/>
              <a:gd name="connsiteY37780" fmla="*/ 450928 h 6557032"/>
              <a:gd name="connsiteX37781" fmla="*/ 3367378 w 4610101"/>
              <a:gd name="connsiteY37781" fmla="*/ 441819 h 6557032"/>
              <a:gd name="connsiteX37782" fmla="*/ 3360089 w 4610101"/>
              <a:gd name="connsiteY37782" fmla="*/ 441819 h 6557032"/>
              <a:gd name="connsiteX37783" fmla="*/ 2518245 w 4610101"/>
              <a:gd name="connsiteY37783" fmla="*/ 441819 h 6557032"/>
              <a:gd name="connsiteX37784" fmla="*/ 2516423 w 4610101"/>
              <a:gd name="connsiteY37784" fmla="*/ 454574 h 6557032"/>
              <a:gd name="connsiteX37785" fmla="*/ 2518245 w 4610101"/>
              <a:gd name="connsiteY37785" fmla="*/ 441819 h 6557032"/>
              <a:gd name="connsiteX37786" fmla="*/ 2470868 w 4610101"/>
              <a:gd name="connsiteY37786" fmla="*/ 441819 h 6557032"/>
              <a:gd name="connsiteX37787" fmla="*/ 2472690 w 4610101"/>
              <a:gd name="connsiteY37787" fmla="*/ 474618 h 6557032"/>
              <a:gd name="connsiteX37788" fmla="*/ 2470868 w 4610101"/>
              <a:gd name="connsiteY37788" fmla="*/ 441819 h 6557032"/>
              <a:gd name="connsiteX37789" fmla="*/ 2139233 w 4610101"/>
              <a:gd name="connsiteY37789" fmla="*/ 441819 h 6557032"/>
              <a:gd name="connsiteX37790" fmla="*/ 2137410 w 4610101"/>
              <a:gd name="connsiteY37790" fmla="*/ 478262 h 6557032"/>
              <a:gd name="connsiteX37791" fmla="*/ 2139233 w 4610101"/>
              <a:gd name="connsiteY37791" fmla="*/ 472795 h 6557032"/>
              <a:gd name="connsiteX37792" fmla="*/ 2139233 w 4610101"/>
              <a:gd name="connsiteY37792" fmla="*/ 480083 h 6557032"/>
              <a:gd name="connsiteX37793" fmla="*/ 2142877 w 4610101"/>
              <a:gd name="connsiteY37793" fmla="*/ 491017 h 6557032"/>
              <a:gd name="connsiteX37794" fmla="*/ 2150166 w 4610101"/>
              <a:gd name="connsiteY37794" fmla="*/ 494662 h 6557032"/>
              <a:gd name="connsiteX37795" fmla="*/ 2148344 w 4610101"/>
              <a:gd name="connsiteY37795" fmla="*/ 483728 h 6557032"/>
              <a:gd name="connsiteX37796" fmla="*/ 2166565 w 4610101"/>
              <a:gd name="connsiteY37796" fmla="*/ 500127 h 6557032"/>
              <a:gd name="connsiteX37797" fmla="*/ 2151988 w 4610101"/>
              <a:gd name="connsiteY37797" fmla="*/ 485550 h 6557032"/>
              <a:gd name="connsiteX37798" fmla="*/ 2164743 w 4610101"/>
              <a:gd name="connsiteY37798" fmla="*/ 485550 h 6557032"/>
              <a:gd name="connsiteX37799" fmla="*/ 2168083 w 4610101"/>
              <a:gd name="connsiteY37799" fmla="*/ 480874 h 6557032"/>
              <a:gd name="connsiteX37800" fmla="*/ 2168387 w 4610101"/>
              <a:gd name="connsiteY37800" fmla="*/ 481906 h 6557032"/>
              <a:gd name="connsiteX37801" fmla="*/ 2186609 w 4610101"/>
              <a:gd name="connsiteY37801" fmla="*/ 447284 h 6557032"/>
              <a:gd name="connsiteX37802" fmla="*/ 2182965 w 4610101"/>
              <a:gd name="connsiteY37802" fmla="*/ 452751 h 6557032"/>
              <a:gd name="connsiteX37803" fmla="*/ 2179320 w 4610101"/>
              <a:gd name="connsiteY37803" fmla="*/ 441819 h 6557032"/>
              <a:gd name="connsiteX37804" fmla="*/ 2172032 w 4610101"/>
              <a:gd name="connsiteY37804" fmla="*/ 450928 h 6557032"/>
              <a:gd name="connsiteX37805" fmla="*/ 2170210 w 4610101"/>
              <a:gd name="connsiteY37805" fmla="*/ 445463 h 6557032"/>
              <a:gd name="connsiteX37806" fmla="*/ 2172032 w 4610101"/>
              <a:gd name="connsiteY37806" fmla="*/ 463684 h 6557032"/>
              <a:gd name="connsiteX37807" fmla="*/ 2164743 w 4610101"/>
              <a:gd name="connsiteY37807" fmla="*/ 449107 h 6557032"/>
              <a:gd name="connsiteX37808" fmla="*/ 2163149 w 4610101"/>
              <a:gd name="connsiteY37808" fmla="*/ 464139 h 6557032"/>
              <a:gd name="connsiteX37809" fmla="*/ 2163224 w 4610101"/>
              <a:gd name="connsiteY37809" fmla="*/ 464393 h 6557032"/>
              <a:gd name="connsiteX37810" fmla="*/ 2161099 w 4610101"/>
              <a:gd name="connsiteY37810" fmla="*/ 463684 h 6557032"/>
              <a:gd name="connsiteX37811" fmla="*/ 2153810 w 4610101"/>
              <a:gd name="connsiteY37811" fmla="*/ 443640 h 6557032"/>
              <a:gd name="connsiteX37812" fmla="*/ 2151988 w 4610101"/>
              <a:gd name="connsiteY37812" fmla="*/ 458218 h 6557032"/>
              <a:gd name="connsiteX37813" fmla="*/ 2139233 w 4610101"/>
              <a:gd name="connsiteY37813" fmla="*/ 441819 h 6557032"/>
              <a:gd name="connsiteX37814" fmla="*/ 3604712 w 4610101"/>
              <a:gd name="connsiteY37814" fmla="*/ 441197 h 6557032"/>
              <a:gd name="connsiteX37815" fmla="*/ 3609727 w 4610101"/>
              <a:gd name="connsiteY37815" fmla="*/ 443640 h 6557032"/>
              <a:gd name="connsiteX37816" fmla="*/ 3606747 w 4610101"/>
              <a:gd name="connsiteY37816" fmla="*/ 451012 h 6557032"/>
              <a:gd name="connsiteX37817" fmla="*/ 3605855 w 4610101"/>
              <a:gd name="connsiteY37817" fmla="*/ 445463 h 6557032"/>
              <a:gd name="connsiteX37818" fmla="*/ 3400177 w 4610101"/>
              <a:gd name="connsiteY37818" fmla="*/ 439995 h 6557032"/>
              <a:gd name="connsiteX37819" fmla="*/ 3394710 w 4610101"/>
              <a:gd name="connsiteY37819" fmla="*/ 458218 h 6557032"/>
              <a:gd name="connsiteX37820" fmla="*/ 3401999 w 4610101"/>
              <a:gd name="connsiteY37820" fmla="*/ 447284 h 6557032"/>
              <a:gd name="connsiteX37821" fmla="*/ 3407466 w 4610101"/>
              <a:gd name="connsiteY37821" fmla="*/ 450928 h 6557032"/>
              <a:gd name="connsiteX37822" fmla="*/ 3400177 w 4610101"/>
              <a:gd name="connsiteY37822" fmla="*/ 439995 h 6557032"/>
              <a:gd name="connsiteX37823" fmla="*/ 2465402 w 4610101"/>
              <a:gd name="connsiteY37823" fmla="*/ 439995 h 6557032"/>
              <a:gd name="connsiteX37824" fmla="*/ 2465402 w 4610101"/>
              <a:gd name="connsiteY37824" fmla="*/ 449107 h 6557032"/>
              <a:gd name="connsiteX37825" fmla="*/ 2465402 w 4610101"/>
              <a:gd name="connsiteY37825" fmla="*/ 439995 h 6557032"/>
              <a:gd name="connsiteX37826" fmla="*/ 1017766 w 4610101"/>
              <a:gd name="connsiteY37826" fmla="*/ 439484 h 6557032"/>
              <a:gd name="connsiteX37827" fmla="*/ 1021556 w 4610101"/>
              <a:gd name="connsiteY37827" fmla="*/ 442046 h 6557032"/>
              <a:gd name="connsiteX37828" fmla="*/ 1024625 w 4610101"/>
              <a:gd name="connsiteY37828" fmla="*/ 447053 h 6557032"/>
              <a:gd name="connsiteX37829" fmla="*/ 1018140 w 4610101"/>
              <a:gd name="connsiteY37829" fmla="*/ 442729 h 6557032"/>
              <a:gd name="connsiteX37830" fmla="*/ 3248937 w 4610101"/>
              <a:gd name="connsiteY37830" fmla="*/ 438174 h 6557032"/>
              <a:gd name="connsiteX37831" fmla="*/ 3243470 w 4610101"/>
              <a:gd name="connsiteY37831" fmla="*/ 443640 h 6557032"/>
              <a:gd name="connsiteX37832" fmla="*/ 3250759 w 4610101"/>
              <a:gd name="connsiteY37832" fmla="*/ 443640 h 6557032"/>
              <a:gd name="connsiteX37833" fmla="*/ 3248937 w 4610101"/>
              <a:gd name="connsiteY37833" fmla="*/ 438174 h 6557032"/>
              <a:gd name="connsiteX37834" fmla="*/ 2199364 w 4610101"/>
              <a:gd name="connsiteY37834" fmla="*/ 438174 h 6557032"/>
              <a:gd name="connsiteX37835" fmla="*/ 2206653 w 4610101"/>
              <a:gd name="connsiteY37835" fmla="*/ 443640 h 6557032"/>
              <a:gd name="connsiteX37836" fmla="*/ 2206653 w 4610101"/>
              <a:gd name="connsiteY37836" fmla="*/ 439995 h 6557032"/>
              <a:gd name="connsiteX37837" fmla="*/ 2199364 w 4610101"/>
              <a:gd name="connsiteY37837" fmla="*/ 438174 h 6557032"/>
              <a:gd name="connsiteX37838" fmla="*/ 1051894 w 4610101"/>
              <a:gd name="connsiteY37838" fmla="*/ 436873 h 6557032"/>
              <a:gd name="connsiteX37839" fmla="*/ 1054098 w 4610101"/>
              <a:gd name="connsiteY37839" fmla="*/ 439173 h 6557032"/>
              <a:gd name="connsiteX37840" fmla="*/ 1051395 w 4610101"/>
              <a:gd name="connsiteY37840" fmla="*/ 447284 h 6557032"/>
              <a:gd name="connsiteX37841" fmla="*/ 1047750 w 4610101"/>
              <a:gd name="connsiteY37841" fmla="*/ 438174 h 6557032"/>
              <a:gd name="connsiteX37842" fmla="*/ 1049937 w 4610101"/>
              <a:gd name="connsiteY37842" fmla="*/ 439267 h 6557032"/>
              <a:gd name="connsiteX37843" fmla="*/ 1051395 w 4610101"/>
              <a:gd name="connsiteY37843" fmla="*/ 439995 h 6557032"/>
              <a:gd name="connsiteX37844" fmla="*/ 3165116 w 4610101"/>
              <a:gd name="connsiteY37844" fmla="*/ 436351 h 6557032"/>
              <a:gd name="connsiteX37845" fmla="*/ 3166939 w 4610101"/>
              <a:gd name="connsiteY37845" fmla="*/ 449107 h 6557032"/>
              <a:gd name="connsiteX37846" fmla="*/ 3165116 w 4610101"/>
              <a:gd name="connsiteY37846" fmla="*/ 443640 h 6557032"/>
              <a:gd name="connsiteX37847" fmla="*/ 3156006 w 4610101"/>
              <a:gd name="connsiteY37847" fmla="*/ 460039 h 6557032"/>
              <a:gd name="connsiteX37848" fmla="*/ 3179694 w 4610101"/>
              <a:gd name="connsiteY37848" fmla="*/ 460039 h 6557032"/>
              <a:gd name="connsiteX37849" fmla="*/ 3165116 w 4610101"/>
              <a:gd name="connsiteY37849" fmla="*/ 436351 h 6557032"/>
              <a:gd name="connsiteX37850" fmla="*/ 2512778 w 4610101"/>
              <a:gd name="connsiteY37850" fmla="*/ 436351 h 6557032"/>
              <a:gd name="connsiteX37851" fmla="*/ 2492734 w 4610101"/>
              <a:gd name="connsiteY37851" fmla="*/ 441819 h 6557032"/>
              <a:gd name="connsiteX37852" fmla="*/ 2490912 w 4610101"/>
              <a:gd name="connsiteY37852" fmla="*/ 454574 h 6557032"/>
              <a:gd name="connsiteX37853" fmla="*/ 2490912 w 4610101"/>
              <a:gd name="connsiteY37853" fmla="*/ 441819 h 6557032"/>
              <a:gd name="connsiteX37854" fmla="*/ 2479979 w 4610101"/>
              <a:gd name="connsiteY37854" fmla="*/ 454574 h 6557032"/>
              <a:gd name="connsiteX37855" fmla="*/ 2474513 w 4610101"/>
              <a:gd name="connsiteY37855" fmla="*/ 447284 h 6557032"/>
              <a:gd name="connsiteX37856" fmla="*/ 2481801 w 4610101"/>
              <a:gd name="connsiteY37856" fmla="*/ 480083 h 6557032"/>
              <a:gd name="connsiteX37857" fmla="*/ 2485446 w 4610101"/>
              <a:gd name="connsiteY37857" fmla="*/ 458218 h 6557032"/>
              <a:gd name="connsiteX37858" fmla="*/ 2490912 w 4610101"/>
              <a:gd name="connsiteY37858" fmla="*/ 461862 h 6557032"/>
              <a:gd name="connsiteX37859" fmla="*/ 2485446 w 4610101"/>
              <a:gd name="connsiteY37859" fmla="*/ 489194 h 6557032"/>
              <a:gd name="connsiteX37860" fmla="*/ 2494556 w 4610101"/>
              <a:gd name="connsiteY37860" fmla="*/ 492838 h 6557032"/>
              <a:gd name="connsiteX37861" fmla="*/ 2496379 w 4610101"/>
              <a:gd name="connsiteY37861" fmla="*/ 467328 h 6557032"/>
              <a:gd name="connsiteX37862" fmla="*/ 2496379 w 4610101"/>
              <a:gd name="connsiteY37862" fmla="*/ 472795 h 6557032"/>
              <a:gd name="connsiteX37863" fmla="*/ 2501845 w 4610101"/>
              <a:gd name="connsiteY37863" fmla="*/ 449107 h 6557032"/>
              <a:gd name="connsiteX37864" fmla="*/ 2510956 w 4610101"/>
              <a:gd name="connsiteY37864" fmla="*/ 467328 h 6557032"/>
              <a:gd name="connsiteX37865" fmla="*/ 2509134 w 4610101"/>
              <a:gd name="connsiteY37865" fmla="*/ 454574 h 6557032"/>
              <a:gd name="connsiteX37866" fmla="*/ 2516423 w 4610101"/>
              <a:gd name="connsiteY37866" fmla="*/ 438174 h 6557032"/>
              <a:gd name="connsiteX37867" fmla="*/ 2512778 w 4610101"/>
              <a:gd name="connsiteY37867" fmla="*/ 436351 h 6557032"/>
              <a:gd name="connsiteX37868" fmla="*/ 2381582 w 4610101"/>
              <a:gd name="connsiteY37868" fmla="*/ 436351 h 6557032"/>
              <a:gd name="connsiteX37869" fmla="*/ 2383404 w 4610101"/>
              <a:gd name="connsiteY37869" fmla="*/ 445463 h 6557032"/>
              <a:gd name="connsiteX37870" fmla="*/ 2381582 w 4610101"/>
              <a:gd name="connsiteY37870" fmla="*/ 436351 h 6557032"/>
              <a:gd name="connsiteX37871" fmla="*/ 1122459 w 4610101"/>
              <a:gd name="connsiteY37871" fmla="*/ 436351 h 6557032"/>
              <a:gd name="connsiteX37872" fmla="*/ 1142503 w 4610101"/>
              <a:gd name="connsiteY37872" fmla="*/ 447284 h 6557032"/>
              <a:gd name="connsiteX37873" fmla="*/ 1140759 w 4610101"/>
              <a:gd name="connsiteY37873" fmla="*/ 446897 h 6557032"/>
              <a:gd name="connsiteX37874" fmla="*/ 1055040 w 4610101"/>
              <a:gd name="connsiteY37874" fmla="*/ 436351 h 6557032"/>
              <a:gd name="connsiteX37875" fmla="*/ 1055561 w 4610101"/>
              <a:gd name="connsiteY37875" fmla="*/ 440699 h 6557032"/>
              <a:gd name="connsiteX37876" fmla="*/ 1054098 w 4610101"/>
              <a:gd name="connsiteY37876" fmla="*/ 439173 h 6557032"/>
              <a:gd name="connsiteX37877" fmla="*/ 431856 w 4610101"/>
              <a:gd name="connsiteY37877" fmla="*/ 436351 h 6557032"/>
              <a:gd name="connsiteX37878" fmla="*/ 451899 w 4610101"/>
              <a:gd name="connsiteY37878" fmla="*/ 494662 h 6557032"/>
              <a:gd name="connsiteX37879" fmla="*/ 455544 w 4610101"/>
              <a:gd name="connsiteY37879" fmla="*/ 492838 h 6557032"/>
              <a:gd name="connsiteX37880" fmla="*/ 461671 w 4610101"/>
              <a:gd name="connsiteY37880" fmla="*/ 512410 h 6557032"/>
              <a:gd name="connsiteX37881" fmla="*/ 451899 w 4610101"/>
              <a:gd name="connsiteY37881" fmla="*/ 498306 h 6557032"/>
              <a:gd name="connsiteX37882" fmla="*/ 437322 w 4610101"/>
              <a:gd name="connsiteY37882" fmla="*/ 481906 h 6557032"/>
              <a:gd name="connsiteX37883" fmla="*/ 448256 w 4610101"/>
              <a:gd name="connsiteY37883" fmla="*/ 492838 h 6557032"/>
              <a:gd name="connsiteX37884" fmla="*/ 437322 w 4610101"/>
              <a:gd name="connsiteY37884" fmla="*/ 469150 h 6557032"/>
              <a:gd name="connsiteX37885" fmla="*/ 442789 w 4610101"/>
              <a:gd name="connsiteY37885" fmla="*/ 480083 h 6557032"/>
              <a:gd name="connsiteX37886" fmla="*/ 431856 w 4610101"/>
              <a:gd name="connsiteY37886" fmla="*/ 436351 h 6557032"/>
              <a:gd name="connsiteX37887" fmla="*/ 544553 w 4610101"/>
              <a:gd name="connsiteY37887" fmla="*/ 435318 h 6557032"/>
              <a:gd name="connsiteX37888" fmla="*/ 544830 w 4610101"/>
              <a:gd name="connsiteY37888" fmla="*/ 438174 h 6557032"/>
              <a:gd name="connsiteX37889" fmla="*/ 544319 w 4610101"/>
              <a:gd name="connsiteY37889" fmla="*/ 437663 h 6557032"/>
              <a:gd name="connsiteX37890" fmla="*/ 3341867 w 4610101"/>
              <a:gd name="connsiteY37890" fmla="*/ 434530 h 6557032"/>
              <a:gd name="connsiteX37891" fmla="*/ 3343690 w 4610101"/>
              <a:gd name="connsiteY37891" fmla="*/ 439995 h 6557032"/>
              <a:gd name="connsiteX37892" fmla="*/ 3341867 w 4610101"/>
              <a:gd name="connsiteY37892" fmla="*/ 434530 h 6557032"/>
              <a:gd name="connsiteX37893" fmla="*/ 3019343 w 4610101"/>
              <a:gd name="connsiteY37893" fmla="*/ 434530 h 6557032"/>
              <a:gd name="connsiteX37894" fmla="*/ 3013876 w 4610101"/>
              <a:gd name="connsiteY37894" fmla="*/ 445463 h 6557032"/>
              <a:gd name="connsiteX37895" fmla="*/ 3019343 w 4610101"/>
              <a:gd name="connsiteY37895" fmla="*/ 434530 h 6557032"/>
              <a:gd name="connsiteX37896" fmla="*/ 2190253 w 4610101"/>
              <a:gd name="connsiteY37896" fmla="*/ 434530 h 6557032"/>
              <a:gd name="connsiteX37897" fmla="*/ 2195720 w 4610101"/>
              <a:gd name="connsiteY37897" fmla="*/ 441819 h 6557032"/>
              <a:gd name="connsiteX37898" fmla="*/ 2193898 w 4610101"/>
              <a:gd name="connsiteY37898" fmla="*/ 434530 h 6557032"/>
              <a:gd name="connsiteX37899" fmla="*/ 2190253 w 4610101"/>
              <a:gd name="connsiteY37899" fmla="*/ 434530 h 6557032"/>
              <a:gd name="connsiteX37900" fmla="*/ 2186609 w 4610101"/>
              <a:gd name="connsiteY37900" fmla="*/ 434530 h 6557032"/>
              <a:gd name="connsiteX37901" fmla="*/ 2186609 w 4610101"/>
              <a:gd name="connsiteY37901" fmla="*/ 441819 h 6557032"/>
              <a:gd name="connsiteX37902" fmla="*/ 2186609 w 4610101"/>
              <a:gd name="connsiteY37902" fmla="*/ 434530 h 6557032"/>
              <a:gd name="connsiteX37903" fmla="*/ 2179320 w 4610101"/>
              <a:gd name="connsiteY37903" fmla="*/ 434530 h 6557032"/>
              <a:gd name="connsiteX37904" fmla="*/ 2177498 w 4610101"/>
              <a:gd name="connsiteY37904" fmla="*/ 441819 h 6557032"/>
              <a:gd name="connsiteX37905" fmla="*/ 2179320 w 4610101"/>
              <a:gd name="connsiteY37905" fmla="*/ 434530 h 6557032"/>
              <a:gd name="connsiteX37906" fmla="*/ 692426 w 4610101"/>
              <a:gd name="connsiteY37906" fmla="*/ 434530 h 6557032"/>
              <a:gd name="connsiteX37907" fmla="*/ 708826 w 4610101"/>
              <a:gd name="connsiteY37907" fmla="*/ 472795 h 6557032"/>
              <a:gd name="connsiteX37908" fmla="*/ 708826 w 4610101"/>
              <a:gd name="connsiteY37908" fmla="*/ 469150 h 6557032"/>
              <a:gd name="connsiteX37909" fmla="*/ 712271 w 4610101"/>
              <a:gd name="connsiteY37909" fmla="*/ 485835 h 6557032"/>
              <a:gd name="connsiteX37910" fmla="*/ 711840 w 4610101"/>
              <a:gd name="connsiteY37910" fmla="*/ 500992 h 6557032"/>
              <a:gd name="connsiteX37911" fmla="*/ 710648 w 4610101"/>
              <a:gd name="connsiteY37911" fmla="*/ 496483 h 6557032"/>
              <a:gd name="connsiteX37912" fmla="*/ 701537 w 4610101"/>
              <a:gd name="connsiteY37912" fmla="*/ 467328 h 6557032"/>
              <a:gd name="connsiteX37913" fmla="*/ 705182 w 4610101"/>
              <a:gd name="connsiteY37913" fmla="*/ 467328 h 6557032"/>
              <a:gd name="connsiteX37914" fmla="*/ 692426 w 4610101"/>
              <a:gd name="connsiteY37914" fmla="*/ 434530 h 6557032"/>
              <a:gd name="connsiteX37915" fmla="*/ 1050501 w 4610101"/>
              <a:gd name="connsiteY37915" fmla="*/ 433670 h 6557032"/>
              <a:gd name="connsiteX37916" fmla="*/ 1052306 w 4610101"/>
              <a:gd name="connsiteY37916" fmla="*/ 434302 h 6557032"/>
              <a:gd name="connsiteX37917" fmla="*/ 1051894 w 4610101"/>
              <a:gd name="connsiteY37917" fmla="*/ 436873 h 6557032"/>
              <a:gd name="connsiteX37918" fmla="*/ 1051395 w 4610101"/>
              <a:gd name="connsiteY37918" fmla="*/ 436351 h 6557032"/>
              <a:gd name="connsiteX37919" fmla="*/ 2447807 w 4610101"/>
              <a:gd name="connsiteY37919" fmla="*/ 433590 h 6557032"/>
              <a:gd name="connsiteX37920" fmla="*/ 2439891 w 4610101"/>
              <a:gd name="connsiteY37920" fmla="*/ 434530 h 6557032"/>
              <a:gd name="connsiteX37921" fmla="*/ 2439891 w 4610101"/>
              <a:gd name="connsiteY37921" fmla="*/ 441819 h 6557032"/>
              <a:gd name="connsiteX37922" fmla="*/ 2434425 w 4610101"/>
              <a:gd name="connsiteY37922" fmla="*/ 441819 h 6557032"/>
              <a:gd name="connsiteX37923" fmla="*/ 2434425 w 4610101"/>
              <a:gd name="connsiteY37923" fmla="*/ 447284 h 6557032"/>
              <a:gd name="connsiteX37924" fmla="*/ 2432603 w 4610101"/>
              <a:gd name="connsiteY37924" fmla="*/ 443640 h 6557032"/>
              <a:gd name="connsiteX37925" fmla="*/ 2432603 w 4610101"/>
              <a:gd name="connsiteY37925" fmla="*/ 458218 h 6557032"/>
              <a:gd name="connsiteX37926" fmla="*/ 2421669 w 4610101"/>
              <a:gd name="connsiteY37926" fmla="*/ 449107 h 6557032"/>
              <a:gd name="connsiteX37927" fmla="*/ 2419847 w 4610101"/>
              <a:gd name="connsiteY37927" fmla="*/ 461862 h 6557032"/>
              <a:gd name="connsiteX37928" fmla="*/ 2423492 w 4610101"/>
              <a:gd name="connsiteY37928" fmla="*/ 458218 h 6557032"/>
              <a:gd name="connsiteX37929" fmla="*/ 2430780 w 4610101"/>
              <a:gd name="connsiteY37929" fmla="*/ 481906 h 6557032"/>
              <a:gd name="connsiteX37930" fmla="*/ 2432603 w 4610101"/>
              <a:gd name="connsiteY37930" fmla="*/ 478262 h 6557032"/>
              <a:gd name="connsiteX37931" fmla="*/ 2428958 w 4610101"/>
              <a:gd name="connsiteY37931" fmla="*/ 489194 h 6557032"/>
              <a:gd name="connsiteX37932" fmla="*/ 2428958 w 4610101"/>
              <a:gd name="connsiteY37932" fmla="*/ 485550 h 6557032"/>
              <a:gd name="connsiteX37933" fmla="*/ 2427136 w 4610101"/>
              <a:gd name="connsiteY37933" fmla="*/ 492838 h 6557032"/>
              <a:gd name="connsiteX37934" fmla="*/ 2431009 w 4610101"/>
              <a:gd name="connsiteY37934" fmla="*/ 503544 h 6557032"/>
              <a:gd name="connsiteX37935" fmla="*/ 2430805 w 4610101"/>
              <a:gd name="connsiteY37935" fmla="*/ 503878 h 6557032"/>
              <a:gd name="connsiteX37936" fmla="*/ 2430780 w 4610101"/>
              <a:gd name="connsiteY37936" fmla="*/ 503771 h 6557032"/>
              <a:gd name="connsiteX37937" fmla="*/ 2430746 w 4610101"/>
              <a:gd name="connsiteY37937" fmla="*/ 503974 h 6557032"/>
              <a:gd name="connsiteX37938" fmla="*/ 2425314 w 4610101"/>
              <a:gd name="connsiteY37938" fmla="*/ 512882 h 6557032"/>
              <a:gd name="connsiteX37939" fmla="*/ 2423492 w 4610101"/>
              <a:gd name="connsiteY37939" fmla="*/ 505594 h 6557032"/>
              <a:gd name="connsiteX37940" fmla="*/ 2407092 w 4610101"/>
              <a:gd name="connsiteY37940" fmla="*/ 511061 h 6557032"/>
              <a:gd name="connsiteX37941" fmla="*/ 2408914 w 4610101"/>
              <a:gd name="connsiteY37941" fmla="*/ 496483 h 6557032"/>
              <a:gd name="connsiteX37942" fmla="*/ 2408914 w 4610101"/>
              <a:gd name="connsiteY37942" fmla="*/ 501949 h 6557032"/>
              <a:gd name="connsiteX37943" fmla="*/ 2410737 w 4610101"/>
              <a:gd name="connsiteY37943" fmla="*/ 491017 h 6557032"/>
              <a:gd name="connsiteX37944" fmla="*/ 2408914 w 4610101"/>
              <a:gd name="connsiteY37944" fmla="*/ 521993 h 6557032"/>
              <a:gd name="connsiteX37945" fmla="*/ 2414381 w 4610101"/>
              <a:gd name="connsiteY37945" fmla="*/ 518349 h 6557032"/>
              <a:gd name="connsiteX37946" fmla="*/ 2419847 w 4610101"/>
              <a:gd name="connsiteY37946" fmla="*/ 536571 h 6557032"/>
              <a:gd name="connsiteX37947" fmla="*/ 2421669 w 4610101"/>
              <a:gd name="connsiteY37947" fmla="*/ 523815 h 6557032"/>
              <a:gd name="connsiteX37948" fmla="*/ 2425314 w 4610101"/>
              <a:gd name="connsiteY37948" fmla="*/ 543860 h 6557032"/>
              <a:gd name="connsiteX37949" fmla="*/ 2416203 w 4610101"/>
              <a:gd name="connsiteY37949" fmla="*/ 543860 h 6557032"/>
              <a:gd name="connsiteX37950" fmla="*/ 2418352 w 4610101"/>
              <a:gd name="connsiteY37950" fmla="*/ 550613 h 6557032"/>
              <a:gd name="connsiteX37951" fmla="*/ 2414381 w 4610101"/>
              <a:gd name="connsiteY37951" fmla="*/ 554792 h 6557032"/>
              <a:gd name="connsiteX37952" fmla="*/ 2415616 w 4610101"/>
              <a:gd name="connsiteY37952" fmla="*/ 555742 h 6557032"/>
              <a:gd name="connsiteX37953" fmla="*/ 2413222 w 4610101"/>
              <a:gd name="connsiteY37953" fmla="*/ 556118 h 6557032"/>
              <a:gd name="connsiteX37954" fmla="*/ 2410737 w 4610101"/>
              <a:gd name="connsiteY37954" fmla="*/ 551148 h 6557032"/>
              <a:gd name="connsiteX37955" fmla="*/ 2408914 w 4610101"/>
              <a:gd name="connsiteY37955" fmla="*/ 525638 h 6557032"/>
              <a:gd name="connsiteX37956" fmla="*/ 2401626 w 4610101"/>
              <a:gd name="connsiteY37956" fmla="*/ 534749 h 6557032"/>
              <a:gd name="connsiteX37957" fmla="*/ 2397981 w 4610101"/>
              <a:gd name="connsiteY37957" fmla="*/ 507417 h 6557032"/>
              <a:gd name="connsiteX37958" fmla="*/ 2401420 w 4610101"/>
              <a:gd name="connsiteY37958" fmla="*/ 510091 h 6557032"/>
              <a:gd name="connsiteX37959" fmla="*/ 2403448 w 4610101"/>
              <a:gd name="connsiteY37959" fmla="*/ 516527 h 6557032"/>
              <a:gd name="connsiteX37960" fmla="*/ 2402082 w 4610101"/>
              <a:gd name="connsiteY37960" fmla="*/ 510605 h 6557032"/>
              <a:gd name="connsiteX37961" fmla="*/ 2401420 w 4610101"/>
              <a:gd name="connsiteY37961" fmla="*/ 510091 h 6557032"/>
              <a:gd name="connsiteX37962" fmla="*/ 2398209 w 4610101"/>
              <a:gd name="connsiteY37962" fmla="*/ 499900 h 6557032"/>
              <a:gd name="connsiteX37963" fmla="*/ 2399803 w 4610101"/>
              <a:gd name="connsiteY37963" fmla="*/ 481906 h 6557032"/>
              <a:gd name="connsiteX37964" fmla="*/ 2403448 w 4610101"/>
              <a:gd name="connsiteY37964" fmla="*/ 487373 h 6557032"/>
              <a:gd name="connsiteX37965" fmla="*/ 2408914 w 4610101"/>
              <a:gd name="connsiteY37965" fmla="*/ 474618 h 6557032"/>
              <a:gd name="connsiteX37966" fmla="*/ 2410737 w 4610101"/>
              <a:gd name="connsiteY37966" fmla="*/ 489194 h 6557032"/>
              <a:gd name="connsiteX37967" fmla="*/ 2412877 w 4610101"/>
              <a:gd name="connsiteY37967" fmla="*/ 481168 h 6557032"/>
              <a:gd name="connsiteX37968" fmla="*/ 2412559 w 4610101"/>
              <a:gd name="connsiteY37968" fmla="*/ 487373 h 6557032"/>
              <a:gd name="connsiteX37969" fmla="*/ 2418025 w 4610101"/>
              <a:gd name="connsiteY37969" fmla="*/ 489194 h 6557032"/>
              <a:gd name="connsiteX37970" fmla="*/ 2419847 w 4610101"/>
              <a:gd name="connsiteY37970" fmla="*/ 476439 h 6557032"/>
              <a:gd name="connsiteX37971" fmla="*/ 2416203 w 4610101"/>
              <a:gd name="connsiteY37971" fmla="*/ 470972 h 6557032"/>
              <a:gd name="connsiteX37972" fmla="*/ 2414355 w 4610101"/>
              <a:gd name="connsiteY37972" fmla="*/ 475330 h 6557032"/>
              <a:gd name="connsiteX37973" fmla="*/ 2412559 w 4610101"/>
              <a:gd name="connsiteY37973" fmla="*/ 461862 h 6557032"/>
              <a:gd name="connsiteX37974" fmla="*/ 2405270 w 4610101"/>
              <a:gd name="connsiteY37974" fmla="*/ 470972 h 6557032"/>
              <a:gd name="connsiteX37975" fmla="*/ 2399803 w 4610101"/>
              <a:gd name="connsiteY37975" fmla="*/ 467328 h 6557032"/>
              <a:gd name="connsiteX37976" fmla="*/ 2392515 w 4610101"/>
              <a:gd name="connsiteY37976" fmla="*/ 494662 h 6557032"/>
              <a:gd name="connsiteX37977" fmla="*/ 2385226 w 4610101"/>
              <a:gd name="connsiteY37977" fmla="*/ 485550 h 6557032"/>
              <a:gd name="connsiteX37978" fmla="*/ 2372471 w 4610101"/>
              <a:gd name="connsiteY37978" fmla="*/ 518349 h 6557032"/>
              <a:gd name="connsiteX37979" fmla="*/ 2374293 w 4610101"/>
              <a:gd name="connsiteY37979" fmla="*/ 512882 h 6557032"/>
              <a:gd name="connsiteX37980" fmla="*/ 2374293 w 4610101"/>
              <a:gd name="connsiteY37980" fmla="*/ 523815 h 6557032"/>
              <a:gd name="connsiteX37981" fmla="*/ 2370649 w 4610101"/>
              <a:gd name="connsiteY37981" fmla="*/ 521993 h 6557032"/>
              <a:gd name="connsiteX37982" fmla="*/ 2377937 w 4610101"/>
              <a:gd name="connsiteY37982" fmla="*/ 531105 h 6557032"/>
              <a:gd name="connsiteX37983" fmla="*/ 2377937 w 4610101"/>
              <a:gd name="connsiteY37983" fmla="*/ 521993 h 6557032"/>
              <a:gd name="connsiteX37984" fmla="*/ 2387048 w 4610101"/>
              <a:gd name="connsiteY37984" fmla="*/ 545681 h 6557032"/>
              <a:gd name="connsiteX37985" fmla="*/ 2385226 w 4610101"/>
              <a:gd name="connsiteY37985" fmla="*/ 536571 h 6557032"/>
              <a:gd name="connsiteX37986" fmla="*/ 2388871 w 4610101"/>
              <a:gd name="connsiteY37986" fmla="*/ 547504 h 6557032"/>
              <a:gd name="connsiteX37987" fmla="*/ 2396159 w 4610101"/>
              <a:gd name="connsiteY37987" fmla="*/ 540215 h 6557032"/>
              <a:gd name="connsiteX37988" fmla="*/ 2396159 w 4610101"/>
              <a:gd name="connsiteY37988" fmla="*/ 554792 h 6557032"/>
              <a:gd name="connsiteX37989" fmla="*/ 2396159 w 4610101"/>
              <a:gd name="connsiteY37989" fmla="*/ 565725 h 6557032"/>
              <a:gd name="connsiteX37990" fmla="*/ 2396159 w 4610101"/>
              <a:gd name="connsiteY37990" fmla="*/ 554792 h 6557032"/>
              <a:gd name="connsiteX37991" fmla="*/ 2401626 w 4610101"/>
              <a:gd name="connsiteY37991" fmla="*/ 556616 h 6557032"/>
              <a:gd name="connsiteX37992" fmla="*/ 2399803 w 4610101"/>
              <a:gd name="connsiteY37992" fmla="*/ 547504 h 6557032"/>
              <a:gd name="connsiteX37993" fmla="*/ 2410053 w 4610101"/>
              <a:gd name="connsiteY37993" fmla="*/ 556615 h 6557032"/>
              <a:gd name="connsiteX37994" fmla="*/ 2413222 w 4610101"/>
              <a:gd name="connsiteY37994" fmla="*/ 556118 h 6557032"/>
              <a:gd name="connsiteX37995" fmla="*/ 2414381 w 4610101"/>
              <a:gd name="connsiteY37995" fmla="*/ 558437 h 6557032"/>
              <a:gd name="connsiteX37996" fmla="*/ 2419278 w 4610101"/>
              <a:gd name="connsiteY37996" fmla="*/ 557697 h 6557032"/>
              <a:gd name="connsiteX37997" fmla="*/ 2419303 w 4610101"/>
              <a:gd name="connsiteY37997" fmla="*/ 556864 h 6557032"/>
              <a:gd name="connsiteX37998" fmla="*/ 2421669 w 4610101"/>
              <a:gd name="connsiteY37998" fmla="*/ 556616 h 6557032"/>
              <a:gd name="connsiteX37999" fmla="*/ 2422353 w 4610101"/>
              <a:gd name="connsiteY37999" fmla="*/ 552515 h 6557032"/>
              <a:gd name="connsiteX38000" fmla="*/ 2422305 w 4610101"/>
              <a:gd name="connsiteY38000" fmla="*/ 552037 h 6557032"/>
              <a:gd name="connsiteX38001" fmla="*/ 2422353 w 4610101"/>
              <a:gd name="connsiteY38001" fmla="*/ 551831 h 6557032"/>
              <a:gd name="connsiteX38002" fmla="*/ 2422167 w 4610101"/>
              <a:gd name="connsiteY38002" fmla="*/ 550658 h 6557032"/>
              <a:gd name="connsiteX38003" fmla="*/ 2421846 w 4610101"/>
              <a:gd name="connsiteY38003" fmla="*/ 547446 h 6557032"/>
              <a:gd name="connsiteX38004" fmla="*/ 2427136 w 4610101"/>
              <a:gd name="connsiteY38004" fmla="*/ 545681 h 6557032"/>
              <a:gd name="connsiteX38005" fmla="*/ 2427136 w 4610101"/>
              <a:gd name="connsiteY38005" fmla="*/ 512882 h 6557032"/>
              <a:gd name="connsiteX38006" fmla="*/ 2428958 w 4610101"/>
              <a:gd name="connsiteY38006" fmla="*/ 514705 h 6557032"/>
              <a:gd name="connsiteX38007" fmla="*/ 2430746 w 4610101"/>
              <a:gd name="connsiteY38007" fmla="*/ 503974 h 6557032"/>
              <a:gd name="connsiteX38008" fmla="*/ 2430805 w 4610101"/>
              <a:gd name="connsiteY38008" fmla="*/ 503878 h 6557032"/>
              <a:gd name="connsiteX38009" fmla="*/ 2436247 w 4610101"/>
              <a:gd name="connsiteY38009" fmla="*/ 527461 h 6557032"/>
              <a:gd name="connsiteX38010" fmla="*/ 2432603 w 4610101"/>
              <a:gd name="connsiteY38010" fmla="*/ 527461 h 6557032"/>
              <a:gd name="connsiteX38011" fmla="*/ 2439891 w 4610101"/>
              <a:gd name="connsiteY38011" fmla="*/ 527461 h 6557032"/>
              <a:gd name="connsiteX38012" fmla="*/ 2436247 w 4610101"/>
              <a:gd name="connsiteY38012" fmla="*/ 527461 h 6557032"/>
              <a:gd name="connsiteX38013" fmla="*/ 2438069 w 4610101"/>
              <a:gd name="connsiteY38013" fmla="*/ 514705 h 6557032"/>
              <a:gd name="connsiteX38014" fmla="*/ 2447180 w 4610101"/>
              <a:gd name="connsiteY38014" fmla="*/ 529282 h 6557032"/>
              <a:gd name="connsiteX38015" fmla="*/ 2450824 w 4610101"/>
              <a:gd name="connsiteY38015" fmla="*/ 523815 h 6557032"/>
              <a:gd name="connsiteX38016" fmla="*/ 2450824 w 4610101"/>
              <a:gd name="connsiteY38016" fmla="*/ 529282 h 6557032"/>
              <a:gd name="connsiteX38017" fmla="*/ 2452647 w 4610101"/>
              <a:gd name="connsiteY38017" fmla="*/ 521993 h 6557032"/>
              <a:gd name="connsiteX38018" fmla="*/ 2452647 w 4610101"/>
              <a:gd name="connsiteY38018" fmla="*/ 500127 h 6557032"/>
              <a:gd name="connsiteX38019" fmla="*/ 2458113 w 4610101"/>
              <a:gd name="connsiteY38019" fmla="*/ 494662 h 6557032"/>
              <a:gd name="connsiteX38020" fmla="*/ 2463580 w 4610101"/>
              <a:gd name="connsiteY38020" fmla="*/ 505594 h 6557032"/>
              <a:gd name="connsiteX38021" fmla="*/ 2469046 w 4610101"/>
              <a:gd name="connsiteY38021" fmla="*/ 503771 h 6557032"/>
              <a:gd name="connsiteX38022" fmla="*/ 2467224 w 4610101"/>
              <a:gd name="connsiteY38022" fmla="*/ 496483 h 6557032"/>
              <a:gd name="connsiteX38023" fmla="*/ 2463580 w 4610101"/>
              <a:gd name="connsiteY38023" fmla="*/ 496483 h 6557032"/>
              <a:gd name="connsiteX38024" fmla="*/ 2467224 w 4610101"/>
              <a:gd name="connsiteY38024" fmla="*/ 485550 h 6557032"/>
              <a:gd name="connsiteX38025" fmla="*/ 2459935 w 4610101"/>
              <a:gd name="connsiteY38025" fmla="*/ 485550 h 6557032"/>
              <a:gd name="connsiteX38026" fmla="*/ 2461757 w 4610101"/>
              <a:gd name="connsiteY38026" fmla="*/ 474618 h 6557032"/>
              <a:gd name="connsiteX38027" fmla="*/ 2469046 w 4610101"/>
              <a:gd name="connsiteY38027" fmla="*/ 476439 h 6557032"/>
              <a:gd name="connsiteX38028" fmla="*/ 2469046 w 4610101"/>
              <a:gd name="connsiteY38028" fmla="*/ 465506 h 6557032"/>
              <a:gd name="connsiteX38029" fmla="*/ 2465402 w 4610101"/>
              <a:gd name="connsiteY38029" fmla="*/ 470972 h 6557032"/>
              <a:gd name="connsiteX38030" fmla="*/ 2463580 w 4610101"/>
              <a:gd name="connsiteY38030" fmla="*/ 463684 h 6557032"/>
              <a:gd name="connsiteX38031" fmla="*/ 2452647 w 4610101"/>
              <a:gd name="connsiteY38031" fmla="*/ 456395 h 6557032"/>
              <a:gd name="connsiteX38032" fmla="*/ 2454377 w 4610101"/>
              <a:gd name="connsiteY38032" fmla="*/ 455531 h 6557032"/>
              <a:gd name="connsiteX38033" fmla="*/ 2454469 w 4610101"/>
              <a:gd name="connsiteY38033" fmla="*/ 456395 h 6557032"/>
              <a:gd name="connsiteX38034" fmla="*/ 2454730 w 4610101"/>
              <a:gd name="connsiteY38034" fmla="*/ 455354 h 6557032"/>
              <a:gd name="connsiteX38035" fmla="*/ 2456291 w 4610101"/>
              <a:gd name="connsiteY38035" fmla="*/ 454574 h 6557032"/>
              <a:gd name="connsiteX38036" fmla="*/ 2465402 w 4610101"/>
              <a:gd name="connsiteY38036" fmla="*/ 461862 h 6557032"/>
              <a:gd name="connsiteX38037" fmla="*/ 2456291 w 4610101"/>
              <a:gd name="connsiteY38037" fmla="*/ 443640 h 6557032"/>
              <a:gd name="connsiteX38038" fmla="*/ 2456747 w 4610101"/>
              <a:gd name="connsiteY38038" fmla="*/ 447285 h 6557032"/>
              <a:gd name="connsiteX38039" fmla="*/ 2454730 w 4610101"/>
              <a:gd name="connsiteY38039" fmla="*/ 455354 h 6557032"/>
              <a:gd name="connsiteX38040" fmla="*/ 2454377 w 4610101"/>
              <a:gd name="connsiteY38040" fmla="*/ 455531 h 6557032"/>
              <a:gd name="connsiteX38041" fmla="*/ 2452647 w 4610101"/>
              <a:gd name="connsiteY38041" fmla="*/ 439313 h 6557032"/>
              <a:gd name="connsiteX38042" fmla="*/ 2447807 w 4610101"/>
              <a:gd name="connsiteY38042" fmla="*/ 433590 h 6557032"/>
              <a:gd name="connsiteX38043" fmla="*/ 3602438 w 4610101"/>
              <a:gd name="connsiteY38043" fmla="*/ 432707 h 6557032"/>
              <a:gd name="connsiteX38044" fmla="*/ 3604712 w 4610101"/>
              <a:gd name="connsiteY38044" fmla="*/ 441197 h 6557032"/>
              <a:gd name="connsiteX38045" fmla="*/ 3600844 w 4610101"/>
              <a:gd name="connsiteY38045" fmla="*/ 439312 h 6557032"/>
              <a:gd name="connsiteX38046" fmla="*/ 3599421 w 4610101"/>
              <a:gd name="connsiteY38046" fmla="*/ 433462 h 6557032"/>
              <a:gd name="connsiteX38047" fmla="*/ 3578750 w 4610101"/>
              <a:gd name="connsiteY38047" fmla="*/ 432707 h 6557032"/>
              <a:gd name="connsiteX38048" fmla="*/ 3576928 w 4610101"/>
              <a:gd name="connsiteY38048" fmla="*/ 439995 h 6557032"/>
              <a:gd name="connsiteX38049" fmla="*/ 3578750 w 4610101"/>
              <a:gd name="connsiteY38049" fmla="*/ 432707 h 6557032"/>
              <a:gd name="connsiteX38050" fmla="*/ 3092230 w 4610101"/>
              <a:gd name="connsiteY38050" fmla="*/ 432707 h 6557032"/>
              <a:gd name="connsiteX38051" fmla="*/ 3097696 w 4610101"/>
              <a:gd name="connsiteY38051" fmla="*/ 447284 h 6557032"/>
              <a:gd name="connsiteX38052" fmla="*/ 3094052 w 4610101"/>
              <a:gd name="connsiteY38052" fmla="*/ 447284 h 6557032"/>
              <a:gd name="connsiteX38053" fmla="*/ 3099518 w 4610101"/>
              <a:gd name="connsiteY38053" fmla="*/ 454574 h 6557032"/>
              <a:gd name="connsiteX38054" fmla="*/ 3103163 w 4610101"/>
              <a:gd name="connsiteY38054" fmla="*/ 434530 h 6557032"/>
              <a:gd name="connsiteX38055" fmla="*/ 3092230 w 4610101"/>
              <a:gd name="connsiteY38055" fmla="*/ 432707 h 6557032"/>
              <a:gd name="connsiteX38056" fmla="*/ 2106433 w 4610101"/>
              <a:gd name="connsiteY38056" fmla="*/ 432707 h 6557032"/>
              <a:gd name="connsiteX38057" fmla="*/ 2100967 w 4610101"/>
              <a:gd name="connsiteY38057" fmla="*/ 436351 h 6557032"/>
              <a:gd name="connsiteX38058" fmla="*/ 2104611 w 4610101"/>
              <a:gd name="connsiteY38058" fmla="*/ 439995 h 6557032"/>
              <a:gd name="connsiteX38059" fmla="*/ 2106433 w 4610101"/>
              <a:gd name="connsiteY38059" fmla="*/ 432707 h 6557032"/>
              <a:gd name="connsiteX38060" fmla="*/ 1078727 w 4610101"/>
              <a:gd name="connsiteY38060" fmla="*/ 432707 h 6557032"/>
              <a:gd name="connsiteX38061" fmla="*/ 1077589 w 4610101"/>
              <a:gd name="connsiteY38061" fmla="*/ 439768 h 6557032"/>
              <a:gd name="connsiteX38062" fmla="*/ 1075895 w 4610101"/>
              <a:gd name="connsiteY38062" fmla="*/ 443618 h 6557032"/>
              <a:gd name="connsiteX38063" fmla="*/ 1047750 w 4610101"/>
              <a:gd name="connsiteY38063" fmla="*/ 432707 h 6557032"/>
              <a:gd name="connsiteX38064" fmla="*/ 1048243 w 4610101"/>
              <a:gd name="connsiteY38064" fmla="*/ 432880 h 6557032"/>
              <a:gd name="connsiteX38065" fmla="*/ 1045929 w 4610101"/>
              <a:gd name="connsiteY38065" fmla="*/ 436351 h 6557032"/>
              <a:gd name="connsiteX38066" fmla="*/ 1046811 w 4610101"/>
              <a:gd name="connsiteY38066" fmla="*/ 433333 h 6557032"/>
              <a:gd name="connsiteX38067" fmla="*/ 2276807 w 4610101"/>
              <a:gd name="connsiteY38067" fmla="*/ 432480 h 6557032"/>
              <a:gd name="connsiteX38068" fmla="*/ 2272251 w 4610101"/>
              <a:gd name="connsiteY38068" fmla="*/ 432707 h 6557032"/>
              <a:gd name="connsiteX38069" fmla="*/ 2275896 w 4610101"/>
              <a:gd name="connsiteY38069" fmla="*/ 436351 h 6557032"/>
              <a:gd name="connsiteX38070" fmla="*/ 2276807 w 4610101"/>
              <a:gd name="connsiteY38070" fmla="*/ 432480 h 6557032"/>
              <a:gd name="connsiteX38071" fmla="*/ 2124655 w 4610101"/>
              <a:gd name="connsiteY38071" fmla="*/ 430886 h 6557032"/>
              <a:gd name="connsiteX38072" fmla="*/ 2126477 w 4610101"/>
              <a:gd name="connsiteY38072" fmla="*/ 441819 h 6557032"/>
              <a:gd name="connsiteX38073" fmla="*/ 2128300 w 4610101"/>
              <a:gd name="connsiteY38073" fmla="*/ 430886 h 6557032"/>
              <a:gd name="connsiteX38074" fmla="*/ 2124655 w 4610101"/>
              <a:gd name="connsiteY38074" fmla="*/ 430886 h 6557032"/>
              <a:gd name="connsiteX38075" fmla="*/ 1049573 w 4610101"/>
              <a:gd name="connsiteY38075" fmla="*/ 430886 h 6557032"/>
              <a:gd name="connsiteX38076" fmla="*/ 1050501 w 4610101"/>
              <a:gd name="connsiteY38076" fmla="*/ 433670 h 6557032"/>
              <a:gd name="connsiteX38077" fmla="*/ 1048243 w 4610101"/>
              <a:gd name="connsiteY38077" fmla="*/ 432880 h 6557032"/>
              <a:gd name="connsiteX38078" fmla="*/ 3498574 w 4610101"/>
              <a:gd name="connsiteY38078" fmla="*/ 429063 h 6557032"/>
              <a:gd name="connsiteX38079" fmla="*/ 3493108 w 4610101"/>
              <a:gd name="connsiteY38079" fmla="*/ 449107 h 6557032"/>
              <a:gd name="connsiteX38080" fmla="*/ 3511330 w 4610101"/>
              <a:gd name="connsiteY38080" fmla="*/ 463684 h 6557032"/>
              <a:gd name="connsiteX38081" fmla="*/ 3518618 w 4610101"/>
              <a:gd name="connsiteY38081" fmla="*/ 465506 h 6557032"/>
              <a:gd name="connsiteX38082" fmla="*/ 3520440 w 4610101"/>
              <a:gd name="connsiteY38082" fmla="*/ 500127 h 6557032"/>
              <a:gd name="connsiteX38083" fmla="*/ 3514974 w 4610101"/>
              <a:gd name="connsiteY38083" fmla="*/ 432707 h 6557032"/>
              <a:gd name="connsiteX38084" fmla="*/ 3509507 w 4610101"/>
              <a:gd name="connsiteY38084" fmla="*/ 445463 h 6557032"/>
              <a:gd name="connsiteX38085" fmla="*/ 3498574 w 4610101"/>
              <a:gd name="connsiteY38085" fmla="*/ 429063 h 6557032"/>
              <a:gd name="connsiteX38086" fmla="*/ 3391066 w 4610101"/>
              <a:gd name="connsiteY38086" fmla="*/ 429063 h 6557032"/>
              <a:gd name="connsiteX38087" fmla="*/ 3400177 w 4610101"/>
              <a:gd name="connsiteY38087" fmla="*/ 434530 h 6557032"/>
              <a:gd name="connsiteX38088" fmla="*/ 3391066 w 4610101"/>
              <a:gd name="connsiteY38088" fmla="*/ 429063 h 6557032"/>
              <a:gd name="connsiteX38089" fmla="*/ 3112274 w 4610101"/>
              <a:gd name="connsiteY38089" fmla="*/ 429063 h 6557032"/>
              <a:gd name="connsiteX38090" fmla="*/ 3104985 w 4610101"/>
              <a:gd name="connsiteY38090" fmla="*/ 430886 h 6557032"/>
              <a:gd name="connsiteX38091" fmla="*/ 3112274 w 4610101"/>
              <a:gd name="connsiteY38091" fmla="*/ 441819 h 6557032"/>
              <a:gd name="connsiteX38092" fmla="*/ 3112274 w 4610101"/>
              <a:gd name="connsiteY38092" fmla="*/ 429063 h 6557032"/>
              <a:gd name="connsiteX38093" fmla="*/ 3330934 w 4610101"/>
              <a:gd name="connsiteY38093" fmla="*/ 427240 h 6557032"/>
              <a:gd name="connsiteX38094" fmla="*/ 3314535 w 4610101"/>
              <a:gd name="connsiteY38094" fmla="*/ 443640 h 6557032"/>
              <a:gd name="connsiteX38095" fmla="*/ 3336401 w 4610101"/>
              <a:gd name="connsiteY38095" fmla="*/ 432707 h 6557032"/>
              <a:gd name="connsiteX38096" fmla="*/ 3330934 w 4610101"/>
              <a:gd name="connsiteY38096" fmla="*/ 427240 h 6557032"/>
              <a:gd name="connsiteX38097" fmla="*/ 3152361 w 4610101"/>
              <a:gd name="connsiteY38097" fmla="*/ 427240 h 6557032"/>
              <a:gd name="connsiteX38098" fmla="*/ 3112274 w 4610101"/>
              <a:gd name="connsiteY38098" fmla="*/ 463684 h 6557032"/>
              <a:gd name="connsiteX38099" fmla="*/ 3152361 w 4610101"/>
              <a:gd name="connsiteY38099" fmla="*/ 427240 h 6557032"/>
              <a:gd name="connsiteX38100" fmla="*/ 2177498 w 4610101"/>
              <a:gd name="connsiteY38100" fmla="*/ 427240 h 6557032"/>
              <a:gd name="connsiteX38101" fmla="*/ 2181143 w 4610101"/>
              <a:gd name="connsiteY38101" fmla="*/ 434530 h 6557032"/>
              <a:gd name="connsiteX38102" fmla="*/ 2182965 w 4610101"/>
              <a:gd name="connsiteY38102" fmla="*/ 429063 h 6557032"/>
              <a:gd name="connsiteX38103" fmla="*/ 2177498 w 4610101"/>
              <a:gd name="connsiteY38103" fmla="*/ 427240 h 6557032"/>
              <a:gd name="connsiteX38104" fmla="*/ 1488944 w 4610101"/>
              <a:gd name="connsiteY38104" fmla="*/ 426885 h 6557032"/>
              <a:gd name="connsiteX38105" fmla="*/ 1506938 w 4610101"/>
              <a:gd name="connsiteY38105" fmla="*/ 427341 h 6557032"/>
              <a:gd name="connsiteX38106" fmla="*/ 1521516 w 4610101"/>
              <a:gd name="connsiteY38106" fmla="*/ 449207 h 6557032"/>
              <a:gd name="connsiteX38107" fmla="*/ 1506938 w 4610101"/>
              <a:gd name="connsiteY38107" fmla="*/ 449207 h 6557032"/>
              <a:gd name="connsiteX38108" fmla="*/ 1477784 w 4610101"/>
              <a:gd name="connsiteY38108" fmla="*/ 440096 h 6557032"/>
              <a:gd name="connsiteX38109" fmla="*/ 1488944 w 4610101"/>
              <a:gd name="connsiteY38109" fmla="*/ 426885 h 6557032"/>
              <a:gd name="connsiteX38110" fmla="*/ 3332756 w 4610101"/>
              <a:gd name="connsiteY38110" fmla="*/ 425419 h 6557032"/>
              <a:gd name="connsiteX38111" fmla="*/ 3349156 w 4610101"/>
              <a:gd name="connsiteY38111" fmla="*/ 434530 h 6557032"/>
              <a:gd name="connsiteX38112" fmla="*/ 3332756 w 4610101"/>
              <a:gd name="connsiteY38112" fmla="*/ 425419 h 6557032"/>
              <a:gd name="connsiteX38113" fmla="*/ 2521889 w 4610101"/>
              <a:gd name="connsiteY38113" fmla="*/ 425419 h 6557032"/>
              <a:gd name="connsiteX38114" fmla="*/ 2521889 w 4610101"/>
              <a:gd name="connsiteY38114" fmla="*/ 438174 h 6557032"/>
              <a:gd name="connsiteX38115" fmla="*/ 2525534 w 4610101"/>
              <a:gd name="connsiteY38115" fmla="*/ 432707 h 6557032"/>
              <a:gd name="connsiteX38116" fmla="*/ 2536466 w 4610101"/>
              <a:gd name="connsiteY38116" fmla="*/ 438174 h 6557032"/>
              <a:gd name="connsiteX38117" fmla="*/ 2536466 w 4610101"/>
              <a:gd name="connsiteY38117" fmla="*/ 427240 h 6557032"/>
              <a:gd name="connsiteX38118" fmla="*/ 2521889 w 4610101"/>
              <a:gd name="connsiteY38118" fmla="*/ 425419 h 6557032"/>
              <a:gd name="connsiteX38119" fmla="*/ 2516423 w 4610101"/>
              <a:gd name="connsiteY38119" fmla="*/ 425419 h 6557032"/>
              <a:gd name="connsiteX38120" fmla="*/ 2512778 w 4610101"/>
              <a:gd name="connsiteY38120" fmla="*/ 432707 h 6557032"/>
              <a:gd name="connsiteX38121" fmla="*/ 2518245 w 4610101"/>
              <a:gd name="connsiteY38121" fmla="*/ 432707 h 6557032"/>
              <a:gd name="connsiteX38122" fmla="*/ 2516423 w 4610101"/>
              <a:gd name="connsiteY38122" fmla="*/ 425419 h 6557032"/>
              <a:gd name="connsiteX38123" fmla="*/ 2463580 w 4610101"/>
              <a:gd name="connsiteY38123" fmla="*/ 425419 h 6557032"/>
              <a:gd name="connsiteX38124" fmla="*/ 2459935 w 4610101"/>
              <a:gd name="connsiteY38124" fmla="*/ 432707 h 6557032"/>
              <a:gd name="connsiteX38125" fmla="*/ 2467224 w 4610101"/>
              <a:gd name="connsiteY38125" fmla="*/ 434530 h 6557032"/>
              <a:gd name="connsiteX38126" fmla="*/ 2467224 w 4610101"/>
              <a:gd name="connsiteY38126" fmla="*/ 427240 h 6557032"/>
              <a:gd name="connsiteX38127" fmla="*/ 2463580 w 4610101"/>
              <a:gd name="connsiteY38127" fmla="*/ 425419 h 6557032"/>
              <a:gd name="connsiteX38128" fmla="*/ 3595150 w 4610101"/>
              <a:gd name="connsiteY38128" fmla="*/ 423596 h 6557032"/>
              <a:gd name="connsiteX38129" fmla="*/ 3598794 w 4610101"/>
              <a:gd name="connsiteY38129" fmla="*/ 423596 h 6557032"/>
              <a:gd name="connsiteX38130" fmla="*/ 3600616 w 4610101"/>
              <a:gd name="connsiteY38130" fmla="*/ 429063 h 6557032"/>
              <a:gd name="connsiteX38131" fmla="*/ 3595150 w 4610101"/>
              <a:gd name="connsiteY38131" fmla="*/ 423596 h 6557032"/>
              <a:gd name="connsiteX38132" fmla="*/ 3170583 w 4610101"/>
              <a:gd name="connsiteY38132" fmla="*/ 423596 h 6557032"/>
              <a:gd name="connsiteX38133" fmla="*/ 3166939 w 4610101"/>
              <a:gd name="connsiteY38133" fmla="*/ 430886 h 6557032"/>
              <a:gd name="connsiteX38134" fmla="*/ 3174227 w 4610101"/>
              <a:gd name="connsiteY38134" fmla="*/ 434530 h 6557032"/>
              <a:gd name="connsiteX38135" fmla="*/ 3185160 w 4610101"/>
              <a:gd name="connsiteY38135" fmla="*/ 449107 h 6557032"/>
              <a:gd name="connsiteX38136" fmla="*/ 3196093 w 4610101"/>
              <a:gd name="connsiteY38136" fmla="*/ 430886 h 6557032"/>
              <a:gd name="connsiteX38137" fmla="*/ 3170583 w 4610101"/>
              <a:gd name="connsiteY38137" fmla="*/ 423596 h 6557032"/>
              <a:gd name="connsiteX38138" fmla="*/ 2157910 w 4610101"/>
              <a:gd name="connsiteY38138" fmla="*/ 422457 h 6557032"/>
              <a:gd name="connsiteX38139" fmla="*/ 2148344 w 4610101"/>
              <a:gd name="connsiteY38139" fmla="*/ 423596 h 6557032"/>
              <a:gd name="connsiteX38140" fmla="*/ 2164743 w 4610101"/>
              <a:gd name="connsiteY38140" fmla="*/ 425419 h 6557032"/>
              <a:gd name="connsiteX38141" fmla="*/ 2157910 w 4610101"/>
              <a:gd name="connsiteY38141" fmla="*/ 422457 h 6557032"/>
              <a:gd name="connsiteX38142" fmla="*/ 2240819 w 4610101"/>
              <a:gd name="connsiteY38142" fmla="*/ 422002 h 6557032"/>
              <a:gd name="connsiteX38143" fmla="*/ 2235808 w 4610101"/>
              <a:gd name="connsiteY38143" fmla="*/ 423596 h 6557032"/>
              <a:gd name="connsiteX38144" fmla="*/ 2243096 w 4610101"/>
              <a:gd name="connsiteY38144" fmla="*/ 427240 h 6557032"/>
              <a:gd name="connsiteX38145" fmla="*/ 2240819 w 4610101"/>
              <a:gd name="connsiteY38145" fmla="*/ 422002 h 6557032"/>
              <a:gd name="connsiteX38146" fmla="*/ 3591505 w 4610101"/>
              <a:gd name="connsiteY38146" fmla="*/ 421775 h 6557032"/>
              <a:gd name="connsiteX38147" fmla="*/ 3593327 w 4610101"/>
              <a:gd name="connsiteY38147" fmla="*/ 427240 h 6557032"/>
              <a:gd name="connsiteX38148" fmla="*/ 3589430 w 4610101"/>
              <a:gd name="connsiteY38148" fmla="*/ 427240 h 6557032"/>
              <a:gd name="connsiteX38149" fmla="*/ 3588889 w 4610101"/>
              <a:gd name="connsiteY38149" fmla="*/ 423344 h 6557032"/>
              <a:gd name="connsiteX38150" fmla="*/ 3571461 w 4610101"/>
              <a:gd name="connsiteY38150" fmla="*/ 421775 h 6557032"/>
              <a:gd name="connsiteX38151" fmla="*/ 3576928 w 4610101"/>
              <a:gd name="connsiteY38151" fmla="*/ 427240 h 6557032"/>
              <a:gd name="connsiteX38152" fmla="*/ 3580572 w 4610101"/>
              <a:gd name="connsiteY38152" fmla="*/ 421775 h 6557032"/>
              <a:gd name="connsiteX38153" fmla="*/ 3571461 w 4610101"/>
              <a:gd name="connsiteY38153" fmla="*/ 421775 h 6557032"/>
              <a:gd name="connsiteX38154" fmla="*/ 2383404 w 4610101"/>
              <a:gd name="connsiteY38154" fmla="*/ 421775 h 6557032"/>
              <a:gd name="connsiteX38155" fmla="*/ 2387048 w 4610101"/>
              <a:gd name="connsiteY38155" fmla="*/ 430886 h 6557032"/>
              <a:gd name="connsiteX38156" fmla="*/ 2383404 w 4610101"/>
              <a:gd name="connsiteY38156" fmla="*/ 421775 h 6557032"/>
              <a:gd name="connsiteX38157" fmla="*/ 3371022 w 4610101"/>
              <a:gd name="connsiteY38157" fmla="*/ 419952 h 6557032"/>
              <a:gd name="connsiteX38158" fmla="*/ 3365556 w 4610101"/>
              <a:gd name="connsiteY38158" fmla="*/ 427240 h 6557032"/>
              <a:gd name="connsiteX38159" fmla="*/ 3376489 w 4610101"/>
              <a:gd name="connsiteY38159" fmla="*/ 429063 h 6557032"/>
              <a:gd name="connsiteX38160" fmla="*/ 3371022 w 4610101"/>
              <a:gd name="connsiteY38160" fmla="*/ 419952 h 6557032"/>
              <a:gd name="connsiteX38161" fmla="*/ 2397981 w 4610101"/>
              <a:gd name="connsiteY38161" fmla="*/ 419952 h 6557032"/>
              <a:gd name="connsiteX38162" fmla="*/ 2401626 w 4610101"/>
              <a:gd name="connsiteY38162" fmla="*/ 439995 h 6557032"/>
              <a:gd name="connsiteX38163" fmla="*/ 2418025 w 4610101"/>
              <a:gd name="connsiteY38163" fmla="*/ 423596 h 6557032"/>
              <a:gd name="connsiteX38164" fmla="*/ 2397981 w 4610101"/>
              <a:gd name="connsiteY38164" fmla="*/ 419952 h 6557032"/>
              <a:gd name="connsiteX38165" fmla="*/ 2108256 w 4610101"/>
              <a:gd name="connsiteY38165" fmla="*/ 419952 h 6557032"/>
              <a:gd name="connsiteX38166" fmla="*/ 2102790 w 4610101"/>
              <a:gd name="connsiteY38166" fmla="*/ 421775 h 6557032"/>
              <a:gd name="connsiteX38167" fmla="*/ 2100967 w 4610101"/>
              <a:gd name="connsiteY38167" fmla="*/ 425419 h 6557032"/>
              <a:gd name="connsiteX38168" fmla="*/ 2102790 w 4610101"/>
              <a:gd name="connsiteY38168" fmla="*/ 425419 h 6557032"/>
              <a:gd name="connsiteX38169" fmla="*/ 2108256 w 4610101"/>
              <a:gd name="connsiteY38169" fmla="*/ 419952 h 6557032"/>
              <a:gd name="connsiteX38170" fmla="*/ 1271878 w 4610101"/>
              <a:gd name="connsiteY38170" fmla="*/ 419952 h 6557032"/>
              <a:gd name="connsiteX38171" fmla="*/ 1266411 w 4610101"/>
              <a:gd name="connsiteY38171" fmla="*/ 452751 h 6557032"/>
              <a:gd name="connsiteX38172" fmla="*/ 1270056 w 4610101"/>
              <a:gd name="connsiteY38172" fmla="*/ 450928 h 6557032"/>
              <a:gd name="connsiteX38173" fmla="*/ 1263453 w 4610101"/>
              <a:gd name="connsiteY38173" fmla="*/ 460036 h 6557032"/>
              <a:gd name="connsiteX38174" fmla="*/ 1264361 w 4610101"/>
              <a:gd name="connsiteY38174" fmla="*/ 457079 h 6557032"/>
              <a:gd name="connsiteX38175" fmla="*/ 1264589 w 4610101"/>
              <a:gd name="connsiteY38175" fmla="*/ 432707 h 6557032"/>
              <a:gd name="connsiteX38176" fmla="*/ 1268233 w 4610101"/>
              <a:gd name="connsiteY38176" fmla="*/ 436351 h 6557032"/>
              <a:gd name="connsiteX38177" fmla="*/ 1271878 w 4610101"/>
              <a:gd name="connsiteY38177" fmla="*/ 419952 h 6557032"/>
              <a:gd name="connsiteX38178" fmla="*/ 532075 w 4610101"/>
              <a:gd name="connsiteY38178" fmla="*/ 419952 h 6557032"/>
              <a:gd name="connsiteX38179" fmla="*/ 537086 w 4610101"/>
              <a:gd name="connsiteY38179" fmla="*/ 430430 h 6557032"/>
              <a:gd name="connsiteX38180" fmla="*/ 544319 w 4610101"/>
              <a:gd name="connsiteY38180" fmla="*/ 437663 h 6557032"/>
              <a:gd name="connsiteX38181" fmla="*/ 539364 w 4610101"/>
              <a:gd name="connsiteY38181" fmla="*/ 487373 h 6557032"/>
              <a:gd name="connsiteX38182" fmla="*/ 537769 w 4610101"/>
              <a:gd name="connsiteY38182" fmla="*/ 479400 h 6557032"/>
              <a:gd name="connsiteX38183" fmla="*/ 536785 w 4610101"/>
              <a:gd name="connsiteY38183" fmla="*/ 478259 h 6557032"/>
              <a:gd name="connsiteX38184" fmla="*/ 540958 w 4610101"/>
              <a:gd name="connsiteY38184" fmla="*/ 456851 h 6557032"/>
              <a:gd name="connsiteX38185" fmla="*/ 533897 w 4610101"/>
              <a:gd name="connsiteY38185" fmla="*/ 432707 h 6557032"/>
              <a:gd name="connsiteX38186" fmla="*/ 533897 w 4610101"/>
              <a:gd name="connsiteY38186" fmla="*/ 438174 h 6557032"/>
              <a:gd name="connsiteX38187" fmla="*/ 532075 w 4610101"/>
              <a:gd name="connsiteY38187" fmla="*/ 419952 h 6557032"/>
              <a:gd name="connsiteX38188" fmla="*/ 2797038 w 4610101"/>
              <a:gd name="connsiteY38188" fmla="*/ 418221 h 6557032"/>
              <a:gd name="connsiteX38189" fmla="*/ 2775172 w 4610101"/>
              <a:gd name="connsiteY38189" fmla="*/ 449198 h 6557032"/>
              <a:gd name="connsiteX38190" fmla="*/ 2797038 w 4610101"/>
              <a:gd name="connsiteY38190" fmla="*/ 418221 h 6557032"/>
              <a:gd name="connsiteX38191" fmla="*/ 3360089 w 4610101"/>
              <a:gd name="connsiteY38191" fmla="*/ 418129 h 6557032"/>
              <a:gd name="connsiteX38192" fmla="*/ 3350978 w 4610101"/>
              <a:gd name="connsiteY38192" fmla="*/ 421775 h 6557032"/>
              <a:gd name="connsiteX38193" fmla="*/ 3347334 w 4610101"/>
              <a:gd name="connsiteY38193" fmla="*/ 419952 h 6557032"/>
              <a:gd name="connsiteX38194" fmla="*/ 3352800 w 4610101"/>
              <a:gd name="connsiteY38194" fmla="*/ 430886 h 6557032"/>
              <a:gd name="connsiteX38195" fmla="*/ 3360089 w 4610101"/>
              <a:gd name="connsiteY38195" fmla="*/ 418129 h 6557032"/>
              <a:gd name="connsiteX38196" fmla="*/ 3279913 w 4610101"/>
              <a:gd name="connsiteY38196" fmla="*/ 418129 h 6557032"/>
              <a:gd name="connsiteX38197" fmla="*/ 3276269 w 4610101"/>
              <a:gd name="connsiteY38197" fmla="*/ 425419 h 6557032"/>
              <a:gd name="connsiteX38198" fmla="*/ 3298135 w 4610101"/>
              <a:gd name="connsiteY38198" fmla="*/ 432707 h 6557032"/>
              <a:gd name="connsiteX38199" fmla="*/ 3279913 w 4610101"/>
              <a:gd name="connsiteY38199" fmla="*/ 418129 h 6557032"/>
              <a:gd name="connsiteX38200" fmla="*/ 3232537 w 4610101"/>
              <a:gd name="connsiteY38200" fmla="*/ 418129 h 6557032"/>
              <a:gd name="connsiteX38201" fmla="*/ 3232537 w 4610101"/>
              <a:gd name="connsiteY38201" fmla="*/ 423596 h 6557032"/>
              <a:gd name="connsiteX38202" fmla="*/ 3239826 w 4610101"/>
              <a:gd name="connsiteY38202" fmla="*/ 423596 h 6557032"/>
              <a:gd name="connsiteX38203" fmla="*/ 3232537 w 4610101"/>
              <a:gd name="connsiteY38203" fmla="*/ 418129 h 6557032"/>
              <a:gd name="connsiteX38204" fmla="*/ 2385226 w 4610101"/>
              <a:gd name="connsiteY38204" fmla="*/ 418129 h 6557032"/>
              <a:gd name="connsiteX38205" fmla="*/ 2387048 w 4610101"/>
              <a:gd name="connsiteY38205" fmla="*/ 427240 h 6557032"/>
              <a:gd name="connsiteX38206" fmla="*/ 2394337 w 4610101"/>
              <a:gd name="connsiteY38206" fmla="*/ 438174 h 6557032"/>
              <a:gd name="connsiteX38207" fmla="*/ 2385226 w 4610101"/>
              <a:gd name="connsiteY38207" fmla="*/ 418129 h 6557032"/>
              <a:gd name="connsiteX38208" fmla="*/ 1971592 w 4610101"/>
              <a:gd name="connsiteY38208" fmla="*/ 418129 h 6557032"/>
              <a:gd name="connsiteX38209" fmla="*/ 1971447 w 4610101"/>
              <a:gd name="connsiteY38209" fmla="*/ 418711 h 6557032"/>
              <a:gd name="connsiteX38210" fmla="*/ 1975237 w 4610101"/>
              <a:gd name="connsiteY38210" fmla="*/ 419974 h 6557032"/>
              <a:gd name="connsiteX38211" fmla="*/ 1975638 w 4610101"/>
              <a:gd name="connsiteY38211" fmla="*/ 419478 h 6557032"/>
              <a:gd name="connsiteX38212" fmla="*/ 3587218 w 4610101"/>
              <a:gd name="connsiteY38212" fmla="*/ 416522 h 6557032"/>
              <a:gd name="connsiteX38213" fmla="*/ 3591505 w 4610101"/>
              <a:gd name="connsiteY38213" fmla="*/ 419952 h 6557032"/>
              <a:gd name="connsiteX38214" fmla="*/ 3588055 w 4610101"/>
              <a:gd name="connsiteY38214" fmla="*/ 419262 h 6557032"/>
              <a:gd name="connsiteX38215" fmla="*/ 3329112 w 4610101"/>
              <a:gd name="connsiteY38215" fmla="*/ 416308 h 6557032"/>
              <a:gd name="connsiteX38216" fmla="*/ 3330934 w 4610101"/>
              <a:gd name="connsiteY38216" fmla="*/ 423596 h 6557032"/>
              <a:gd name="connsiteX38217" fmla="*/ 3336401 w 4610101"/>
              <a:gd name="connsiteY38217" fmla="*/ 421775 h 6557032"/>
              <a:gd name="connsiteX38218" fmla="*/ 3329112 w 4610101"/>
              <a:gd name="connsiteY38218" fmla="*/ 416308 h 6557032"/>
              <a:gd name="connsiteX38219" fmla="*/ 3064897 w 4610101"/>
              <a:gd name="connsiteY38219" fmla="*/ 416308 h 6557032"/>
              <a:gd name="connsiteX38220" fmla="*/ 3061253 w 4610101"/>
              <a:gd name="connsiteY38220" fmla="*/ 418129 h 6557032"/>
              <a:gd name="connsiteX38221" fmla="*/ 3070363 w 4610101"/>
              <a:gd name="connsiteY38221" fmla="*/ 430886 h 6557032"/>
              <a:gd name="connsiteX38222" fmla="*/ 3064897 w 4610101"/>
              <a:gd name="connsiteY38222" fmla="*/ 416308 h 6557032"/>
              <a:gd name="connsiteX38223" fmla="*/ 2246741 w 4610101"/>
              <a:gd name="connsiteY38223" fmla="*/ 416308 h 6557032"/>
              <a:gd name="connsiteX38224" fmla="*/ 2254030 w 4610101"/>
              <a:gd name="connsiteY38224" fmla="*/ 427240 h 6557032"/>
              <a:gd name="connsiteX38225" fmla="*/ 2252207 w 4610101"/>
              <a:gd name="connsiteY38225" fmla="*/ 418129 h 6557032"/>
              <a:gd name="connsiteX38226" fmla="*/ 2246741 w 4610101"/>
              <a:gd name="connsiteY38226" fmla="*/ 416308 h 6557032"/>
              <a:gd name="connsiteX38227" fmla="*/ 3220921 w 4610101"/>
              <a:gd name="connsiteY38227" fmla="*/ 415624 h 6557032"/>
              <a:gd name="connsiteX38228" fmla="*/ 3212493 w 4610101"/>
              <a:gd name="connsiteY38228" fmla="*/ 418129 h 6557032"/>
              <a:gd name="connsiteX38229" fmla="*/ 3216137 w 4610101"/>
              <a:gd name="connsiteY38229" fmla="*/ 418129 h 6557032"/>
              <a:gd name="connsiteX38230" fmla="*/ 3219782 w 4610101"/>
              <a:gd name="connsiteY38230" fmla="*/ 429063 h 6557032"/>
              <a:gd name="connsiteX38231" fmla="*/ 3214315 w 4610101"/>
              <a:gd name="connsiteY38231" fmla="*/ 423596 h 6557032"/>
              <a:gd name="connsiteX38232" fmla="*/ 3212493 w 4610101"/>
              <a:gd name="connsiteY38232" fmla="*/ 432707 h 6557032"/>
              <a:gd name="connsiteX38233" fmla="*/ 3223426 w 4610101"/>
              <a:gd name="connsiteY38233" fmla="*/ 436351 h 6557032"/>
              <a:gd name="connsiteX38234" fmla="*/ 3210671 w 4610101"/>
              <a:gd name="connsiteY38234" fmla="*/ 436351 h 6557032"/>
              <a:gd name="connsiteX38235" fmla="*/ 3239826 w 4610101"/>
              <a:gd name="connsiteY38235" fmla="*/ 430886 h 6557032"/>
              <a:gd name="connsiteX38236" fmla="*/ 3230715 w 4610101"/>
              <a:gd name="connsiteY38236" fmla="*/ 436351 h 6557032"/>
              <a:gd name="connsiteX38237" fmla="*/ 3230715 w 4610101"/>
              <a:gd name="connsiteY38237" fmla="*/ 419952 h 6557032"/>
              <a:gd name="connsiteX38238" fmla="*/ 3220921 w 4610101"/>
              <a:gd name="connsiteY38238" fmla="*/ 415624 h 6557032"/>
              <a:gd name="connsiteX38239" fmla="*/ 2208020 w 4610101"/>
              <a:gd name="connsiteY38239" fmla="*/ 413347 h 6557032"/>
              <a:gd name="connsiteX38240" fmla="*/ 2201187 w 4610101"/>
              <a:gd name="connsiteY38240" fmla="*/ 414485 h 6557032"/>
              <a:gd name="connsiteX38241" fmla="*/ 2212120 w 4610101"/>
              <a:gd name="connsiteY38241" fmla="*/ 416308 h 6557032"/>
              <a:gd name="connsiteX38242" fmla="*/ 2208020 w 4610101"/>
              <a:gd name="connsiteY38242" fmla="*/ 413347 h 6557032"/>
              <a:gd name="connsiteX38243" fmla="*/ 3494930 w 4610101"/>
              <a:gd name="connsiteY38243" fmla="*/ 412664 h 6557032"/>
              <a:gd name="connsiteX38244" fmla="*/ 3487641 w 4610101"/>
              <a:gd name="connsiteY38244" fmla="*/ 418129 h 6557032"/>
              <a:gd name="connsiteX38245" fmla="*/ 3494930 w 4610101"/>
              <a:gd name="connsiteY38245" fmla="*/ 419952 h 6557032"/>
              <a:gd name="connsiteX38246" fmla="*/ 3494930 w 4610101"/>
              <a:gd name="connsiteY38246" fmla="*/ 412664 h 6557032"/>
              <a:gd name="connsiteX38247" fmla="*/ 2374293 w 4610101"/>
              <a:gd name="connsiteY38247" fmla="*/ 412664 h 6557032"/>
              <a:gd name="connsiteX38248" fmla="*/ 2365182 w 4610101"/>
              <a:gd name="connsiteY38248" fmla="*/ 441819 h 6557032"/>
              <a:gd name="connsiteX38249" fmla="*/ 2365182 w 4610101"/>
              <a:gd name="connsiteY38249" fmla="*/ 432707 h 6557032"/>
              <a:gd name="connsiteX38250" fmla="*/ 2367004 w 4610101"/>
              <a:gd name="connsiteY38250" fmla="*/ 429063 h 6557032"/>
              <a:gd name="connsiteX38251" fmla="*/ 2374293 w 4610101"/>
              <a:gd name="connsiteY38251" fmla="*/ 412664 h 6557032"/>
              <a:gd name="connsiteX38252" fmla="*/ 2361538 w 4610101"/>
              <a:gd name="connsiteY38252" fmla="*/ 412664 h 6557032"/>
              <a:gd name="connsiteX38253" fmla="*/ 2356071 w 4610101"/>
              <a:gd name="connsiteY38253" fmla="*/ 421775 h 6557032"/>
              <a:gd name="connsiteX38254" fmla="*/ 2354249 w 4610101"/>
              <a:gd name="connsiteY38254" fmla="*/ 416308 h 6557032"/>
              <a:gd name="connsiteX38255" fmla="*/ 2323272 w 4610101"/>
              <a:gd name="connsiteY38255" fmla="*/ 434530 h 6557032"/>
              <a:gd name="connsiteX38256" fmla="*/ 2325322 w 4610101"/>
              <a:gd name="connsiteY38256" fmla="*/ 443413 h 6557032"/>
              <a:gd name="connsiteX38257" fmla="*/ 2325003 w 4610101"/>
              <a:gd name="connsiteY38257" fmla="*/ 444583 h 6557032"/>
              <a:gd name="connsiteX38258" fmla="*/ 2323044 w 4610101"/>
              <a:gd name="connsiteY38258" fmla="*/ 441818 h 6557032"/>
              <a:gd name="connsiteX38259" fmla="*/ 2317806 w 4610101"/>
              <a:gd name="connsiteY38259" fmla="*/ 447284 h 6557032"/>
              <a:gd name="connsiteX38260" fmla="*/ 2321450 w 4610101"/>
              <a:gd name="connsiteY38260" fmla="*/ 461862 h 6557032"/>
              <a:gd name="connsiteX38261" fmla="*/ 2322218 w 4610101"/>
              <a:gd name="connsiteY38261" fmla="*/ 449306 h 6557032"/>
              <a:gd name="connsiteX38262" fmla="*/ 2323914 w 4610101"/>
              <a:gd name="connsiteY38262" fmla="*/ 448576 h 6557032"/>
              <a:gd name="connsiteX38263" fmla="*/ 2323272 w 4610101"/>
              <a:gd name="connsiteY38263" fmla="*/ 450928 h 6557032"/>
              <a:gd name="connsiteX38264" fmla="*/ 2325094 w 4610101"/>
              <a:gd name="connsiteY38264" fmla="*/ 461862 h 6557032"/>
              <a:gd name="connsiteX38265" fmla="*/ 2328739 w 4610101"/>
              <a:gd name="connsiteY38265" fmla="*/ 454574 h 6557032"/>
              <a:gd name="connsiteX38266" fmla="*/ 2337850 w 4610101"/>
              <a:gd name="connsiteY38266" fmla="*/ 465506 h 6557032"/>
              <a:gd name="connsiteX38267" fmla="*/ 2328739 w 4610101"/>
              <a:gd name="connsiteY38267" fmla="*/ 449107 h 6557032"/>
              <a:gd name="connsiteX38268" fmla="*/ 2339672 w 4610101"/>
              <a:gd name="connsiteY38268" fmla="*/ 438174 h 6557032"/>
              <a:gd name="connsiteX38269" fmla="*/ 2345138 w 4610101"/>
              <a:gd name="connsiteY38269" fmla="*/ 441819 h 6557032"/>
              <a:gd name="connsiteX38270" fmla="*/ 2345138 w 4610101"/>
              <a:gd name="connsiteY38270" fmla="*/ 429063 h 6557032"/>
              <a:gd name="connsiteX38271" fmla="*/ 2357893 w 4610101"/>
              <a:gd name="connsiteY38271" fmla="*/ 423596 h 6557032"/>
              <a:gd name="connsiteX38272" fmla="*/ 2359716 w 4610101"/>
              <a:gd name="connsiteY38272" fmla="*/ 427240 h 6557032"/>
              <a:gd name="connsiteX38273" fmla="*/ 2361538 w 4610101"/>
              <a:gd name="connsiteY38273" fmla="*/ 412664 h 6557032"/>
              <a:gd name="connsiteX38274" fmla="*/ 2259496 w 4610101"/>
              <a:gd name="connsiteY38274" fmla="*/ 412664 h 6557032"/>
              <a:gd name="connsiteX38275" fmla="*/ 2266785 w 4610101"/>
              <a:gd name="connsiteY38275" fmla="*/ 419952 h 6557032"/>
              <a:gd name="connsiteX38276" fmla="*/ 2259496 w 4610101"/>
              <a:gd name="connsiteY38276" fmla="*/ 412664 h 6557032"/>
              <a:gd name="connsiteX38277" fmla="*/ 2611176 w 4610101"/>
              <a:gd name="connsiteY38277" fmla="*/ 410841 h 6557032"/>
              <a:gd name="connsiteX38278" fmla="*/ 2609353 w 4610101"/>
              <a:gd name="connsiteY38278" fmla="*/ 418129 h 6557032"/>
              <a:gd name="connsiteX38279" fmla="*/ 2611176 w 4610101"/>
              <a:gd name="connsiteY38279" fmla="*/ 410841 h 6557032"/>
              <a:gd name="connsiteX38280" fmla="*/ 2162921 w 4610101"/>
              <a:gd name="connsiteY38280" fmla="*/ 410841 h 6557032"/>
              <a:gd name="connsiteX38281" fmla="*/ 2157454 w 4610101"/>
              <a:gd name="connsiteY38281" fmla="*/ 414485 h 6557032"/>
              <a:gd name="connsiteX38282" fmla="*/ 2162921 w 4610101"/>
              <a:gd name="connsiteY38282" fmla="*/ 412664 h 6557032"/>
              <a:gd name="connsiteX38283" fmla="*/ 2162921 w 4610101"/>
              <a:gd name="connsiteY38283" fmla="*/ 410841 h 6557032"/>
              <a:gd name="connsiteX38284" fmla="*/ 2119189 w 4610101"/>
              <a:gd name="connsiteY38284" fmla="*/ 410841 h 6557032"/>
              <a:gd name="connsiteX38285" fmla="*/ 2122833 w 4610101"/>
              <a:gd name="connsiteY38285" fmla="*/ 421775 h 6557032"/>
              <a:gd name="connsiteX38286" fmla="*/ 2128300 w 4610101"/>
              <a:gd name="connsiteY38286" fmla="*/ 414485 h 6557032"/>
              <a:gd name="connsiteX38287" fmla="*/ 2126477 w 4610101"/>
              <a:gd name="connsiteY38287" fmla="*/ 412664 h 6557032"/>
              <a:gd name="connsiteX38288" fmla="*/ 2119189 w 4610101"/>
              <a:gd name="connsiteY38288" fmla="*/ 410841 h 6557032"/>
              <a:gd name="connsiteX38289" fmla="*/ 475589 w 4610101"/>
              <a:gd name="connsiteY38289" fmla="*/ 410841 h 6557032"/>
              <a:gd name="connsiteX38290" fmla="*/ 487454 w 4610101"/>
              <a:gd name="connsiteY38290" fmla="*/ 425455 h 6557032"/>
              <a:gd name="connsiteX38291" fmla="*/ 485154 w 4610101"/>
              <a:gd name="connsiteY38291" fmla="*/ 423368 h 6557032"/>
              <a:gd name="connsiteX38292" fmla="*/ 475589 w 4610101"/>
              <a:gd name="connsiteY38292" fmla="*/ 410841 h 6557032"/>
              <a:gd name="connsiteX38293" fmla="*/ 2171577 w 4610101"/>
              <a:gd name="connsiteY38293" fmla="*/ 410158 h 6557032"/>
              <a:gd name="connsiteX38294" fmla="*/ 2166565 w 4610101"/>
              <a:gd name="connsiteY38294" fmla="*/ 410841 h 6557032"/>
              <a:gd name="connsiteX38295" fmla="*/ 2173854 w 4610101"/>
              <a:gd name="connsiteY38295" fmla="*/ 416308 h 6557032"/>
              <a:gd name="connsiteX38296" fmla="*/ 2171577 w 4610101"/>
              <a:gd name="connsiteY38296" fmla="*/ 410158 h 6557032"/>
              <a:gd name="connsiteX38297" fmla="*/ 1887772 w 4610101"/>
              <a:gd name="connsiteY38297" fmla="*/ 409037 h 6557032"/>
              <a:gd name="connsiteX38298" fmla="*/ 1891417 w 4610101"/>
              <a:gd name="connsiteY38298" fmla="*/ 416325 h 6557032"/>
              <a:gd name="connsiteX38299" fmla="*/ 1887772 w 4610101"/>
              <a:gd name="connsiteY38299" fmla="*/ 409037 h 6557032"/>
              <a:gd name="connsiteX38300" fmla="*/ 2139233 w 4610101"/>
              <a:gd name="connsiteY38300" fmla="*/ 409019 h 6557032"/>
              <a:gd name="connsiteX38301" fmla="*/ 2141055 w 4610101"/>
              <a:gd name="connsiteY38301" fmla="*/ 418129 h 6557032"/>
              <a:gd name="connsiteX38302" fmla="*/ 2139233 w 4610101"/>
              <a:gd name="connsiteY38302" fmla="*/ 409019 h 6557032"/>
              <a:gd name="connsiteX38303" fmla="*/ 3050319 w 4610101"/>
              <a:gd name="connsiteY38303" fmla="*/ 407196 h 6557032"/>
              <a:gd name="connsiteX38304" fmla="*/ 3048497 w 4610101"/>
              <a:gd name="connsiteY38304" fmla="*/ 418129 h 6557032"/>
              <a:gd name="connsiteX38305" fmla="*/ 3050319 w 4610101"/>
              <a:gd name="connsiteY38305" fmla="*/ 407196 h 6557032"/>
              <a:gd name="connsiteX38306" fmla="*/ 2097323 w 4610101"/>
              <a:gd name="connsiteY38306" fmla="*/ 407196 h 6557032"/>
              <a:gd name="connsiteX38307" fmla="*/ 2099145 w 4610101"/>
              <a:gd name="connsiteY38307" fmla="*/ 418129 h 6557032"/>
              <a:gd name="connsiteX38308" fmla="*/ 2102790 w 4610101"/>
              <a:gd name="connsiteY38308" fmla="*/ 419952 h 6557032"/>
              <a:gd name="connsiteX38309" fmla="*/ 2104611 w 4610101"/>
              <a:gd name="connsiteY38309" fmla="*/ 412664 h 6557032"/>
              <a:gd name="connsiteX38310" fmla="*/ 2100967 w 4610101"/>
              <a:gd name="connsiteY38310" fmla="*/ 407196 h 6557032"/>
              <a:gd name="connsiteX38311" fmla="*/ 2097323 w 4610101"/>
              <a:gd name="connsiteY38311" fmla="*/ 407196 h 6557032"/>
              <a:gd name="connsiteX38312" fmla="*/ 2080923 w 4610101"/>
              <a:gd name="connsiteY38312" fmla="*/ 407196 h 6557032"/>
              <a:gd name="connsiteX38313" fmla="*/ 2081290 w 4610101"/>
              <a:gd name="connsiteY38313" fmla="*/ 407930 h 6557032"/>
              <a:gd name="connsiteX38314" fmla="*/ 2081033 w 4610101"/>
              <a:gd name="connsiteY38314" fmla="*/ 409128 h 6557032"/>
              <a:gd name="connsiteX38315" fmla="*/ 2080923 w 4610101"/>
              <a:gd name="connsiteY38315" fmla="*/ 409019 h 6557032"/>
              <a:gd name="connsiteX38316" fmla="*/ 2079101 w 4610101"/>
              <a:gd name="connsiteY38316" fmla="*/ 410841 h 6557032"/>
              <a:gd name="connsiteX38317" fmla="*/ 2080923 w 4610101"/>
              <a:gd name="connsiteY38317" fmla="*/ 407196 h 6557032"/>
              <a:gd name="connsiteX38318" fmla="*/ 3349156 w 4610101"/>
              <a:gd name="connsiteY38318" fmla="*/ 405375 h 6557032"/>
              <a:gd name="connsiteX38319" fmla="*/ 3350978 w 4610101"/>
              <a:gd name="connsiteY38319" fmla="*/ 414485 h 6557032"/>
              <a:gd name="connsiteX38320" fmla="*/ 3349156 w 4610101"/>
              <a:gd name="connsiteY38320" fmla="*/ 405375 h 6557032"/>
              <a:gd name="connsiteX38321" fmla="*/ 2592954 w 4610101"/>
              <a:gd name="connsiteY38321" fmla="*/ 405375 h 6557032"/>
              <a:gd name="connsiteX38322" fmla="*/ 2589310 w 4610101"/>
              <a:gd name="connsiteY38322" fmla="*/ 410841 h 6557032"/>
              <a:gd name="connsiteX38323" fmla="*/ 2589310 w 4610101"/>
              <a:gd name="connsiteY38323" fmla="*/ 421775 h 6557032"/>
              <a:gd name="connsiteX38324" fmla="*/ 2585665 w 4610101"/>
              <a:gd name="connsiteY38324" fmla="*/ 418129 h 6557032"/>
              <a:gd name="connsiteX38325" fmla="*/ 2585665 w 4610101"/>
              <a:gd name="connsiteY38325" fmla="*/ 429063 h 6557032"/>
              <a:gd name="connsiteX38326" fmla="*/ 2594776 w 4610101"/>
              <a:gd name="connsiteY38326" fmla="*/ 419952 h 6557032"/>
              <a:gd name="connsiteX38327" fmla="*/ 2592954 w 4610101"/>
              <a:gd name="connsiteY38327" fmla="*/ 405375 h 6557032"/>
              <a:gd name="connsiteX38328" fmla="*/ 2582021 w 4610101"/>
              <a:gd name="connsiteY38328" fmla="*/ 403552 h 6557032"/>
              <a:gd name="connsiteX38329" fmla="*/ 2583843 w 4610101"/>
              <a:gd name="connsiteY38329" fmla="*/ 412664 h 6557032"/>
              <a:gd name="connsiteX38330" fmla="*/ 2585665 w 4610101"/>
              <a:gd name="connsiteY38330" fmla="*/ 403552 h 6557032"/>
              <a:gd name="connsiteX38331" fmla="*/ 2582021 w 4610101"/>
              <a:gd name="connsiteY38331" fmla="*/ 403552 h 6557032"/>
              <a:gd name="connsiteX38332" fmla="*/ 2104611 w 4610101"/>
              <a:gd name="connsiteY38332" fmla="*/ 403552 h 6557032"/>
              <a:gd name="connsiteX38333" fmla="*/ 2108256 w 4610101"/>
              <a:gd name="connsiteY38333" fmla="*/ 418129 h 6557032"/>
              <a:gd name="connsiteX38334" fmla="*/ 2111900 w 4610101"/>
              <a:gd name="connsiteY38334" fmla="*/ 407196 h 6557032"/>
              <a:gd name="connsiteX38335" fmla="*/ 2104611 w 4610101"/>
              <a:gd name="connsiteY38335" fmla="*/ 403552 h 6557032"/>
              <a:gd name="connsiteX38336" fmla="*/ 3035742 w 4610101"/>
              <a:gd name="connsiteY38336" fmla="*/ 401731 h 6557032"/>
              <a:gd name="connsiteX38337" fmla="*/ 3032098 w 4610101"/>
              <a:gd name="connsiteY38337" fmla="*/ 409019 h 6557032"/>
              <a:gd name="connsiteX38338" fmla="*/ 3035742 w 4610101"/>
              <a:gd name="connsiteY38338" fmla="*/ 401731 h 6557032"/>
              <a:gd name="connsiteX38339" fmla="*/ 2232163 w 4610101"/>
              <a:gd name="connsiteY38339" fmla="*/ 401731 h 6557032"/>
              <a:gd name="connsiteX38340" fmla="*/ 2232163 w 4610101"/>
              <a:gd name="connsiteY38340" fmla="*/ 409019 h 6557032"/>
              <a:gd name="connsiteX38341" fmla="*/ 2230341 w 4610101"/>
              <a:gd name="connsiteY38341" fmla="*/ 405375 h 6557032"/>
              <a:gd name="connsiteX38342" fmla="*/ 2224875 w 4610101"/>
              <a:gd name="connsiteY38342" fmla="*/ 409019 h 6557032"/>
              <a:gd name="connsiteX38343" fmla="*/ 2208475 w 4610101"/>
              <a:gd name="connsiteY38343" fmla="*/ 410841 h 6557032"/>
              <a:gd name="connsiteX38344" fmla="*/ 2226697 w 4610101"/>
              <a:gd name="connsiteY38344" fmla="*/ 418129 h 6557032"/>
              <a:gd name="connsiteX38345" fmla="*/ 2228519 w 4610101"/>
              <a:gd name="connsiteY38345" fmla="*/ 409019 h 6557032"/>
              <a:gd name="connsiteX38346" fmla="*/ 2233986 w 4610101"/>
              <a:gd name="connsiteY38346" fmla="*/ 412664 h 6557032"/>
              <a:gd name="connsiteX38347" fmla="*/ 2232163 w 4610101"/>
              <a:gd name="connsiteY38347" fmla="*/ 401731 h 6557032"/>
              <a:gd name="connsiteX38348" fmla="*/ 3290391 w 4610101"/>
              <a:gd name="connsiteY38348" fmla="*/ 401275 h 6557032"/>
              <a:gd name="connsiteX38349" fmla="*/ 3290847 w 4610101"/>
              <a:gd name="connsiteY38349" fmla="*/ 409019 h 6557032"/>
              <a:gd name="connsiteX38350" fmla="*/ 3298135 w 4610101"/>
              <a:gd name="connsiteY38350" fmla="*/ 401731 h 6557032"/>
              <a:gd name="connsiteX38351" fmla="*/ 3290391 w 4610101"/>
              <a:gd name="connsiteY38351" fmla="*/ 401275 h 6557032"/>
              <a:gd name="connsiteX38352" fmla="*/ 2561977 w 4610101"/>
              <a:gd name="connsiteY38352" fmla="*/ 399908 h 6557032"/>
              <a:gd name="connsiteX38353" fmla="*/ 2554688 w 4610101"/>
              <a:gd name="connsiteY38353" fmla="*/ 416308 h 6557032"/>
              <a:gd name="connsiteX38354" fmla="*/ 2560155 w 4610101"/>
              <a:gd name="connsiteY38354" fmla="*/ 410841 h 6557032"/>
              <a:gd name="connsiteX38355" fmla="*/ 2563799 w 4610101"/>
              <a:gd name="connsiteY38355" fmla="*/ 416308 h 6557032"/>
              <a:gd name="connsiteX38356" fmla="*/ 2567443 w 4610101"/>
              <a:gd name="connsiteY38356" fmla="*/ 410841 h 6557032"/>
              <a:gd name="connsiteX38357" fmla="*/ 2561977 w 4610101"/>
              <a:gd name="connsiteY38357" fmla="*/ 399908 h 6557032"/>
              <a:gd name="connsiteX38358" fmla="*/ 2128644 w 4610101"/>
              <a:gd name="connsiteY38358" fmla="*/ 398241 h 6557032"/>
              <a:gd name="connsiteX38359" fmla="*/ 2128374 w 4610101"/>
              <a:gd name="connsiteY38359" fmla="*/ 405272 h 6557032"/>
              <a:gd name="connsiteX38360" fmla="*/ 2128300 w 4610101"/>
              <a:gd name="connsiteY38360" fmla="*/ 405375 h 6557032"/>
              <a:gd name="connsiteX38361" fmla="*/ 2128528 w 4610101"/>
              <a:gd name="connsiteY38361" fmla="*/ 398541 h 6557032"/>
              <a:gd name="connsiteX38362" fmla="*/ 3279913 w 4610101"/>
              <a:gd name="connsiteY38362" fmla="*/ 398085 h 6557032"/>
              <a:gd name="connsiteX38363" fmla="*/ 3280856 w 4610101"/>
              <a:gd name="connsiteY38363" fmla="*/ 398400 h 6557032"/>
              <a:gd name="connsiteX38364" fmla="*/ 3281736 w 4610101"/>
              <a:gd name="connsiteY38364" fmla="*/ 399908 h 6557032"/>
              <a:gd name="connsiteX38365" fmla="*/ 3279913 w 4610101"/>
              <a:gd name="connsiteY38365" fmla="*/ 398085 h 6557032"/>
              <a:gd name="connsiteX38366" fmla="*/ 1968512 w 4610101"/>
              <a:gd name="connsiteY38366" fmla="*/ 397522 h 6557032"/>
              <a:gd name="connsiteX38367" fmla="*/ 1970909 w 4610101"/>
              <a:gd name="connsiteY38367" fmla="*/ 402869 h 6557032"/>
              <a:gd name="connsiteX38368" fmla="*/ 1969770 w 4610101"/>
              <a:gd name="connsiteY38368" fmla="*/ 410841 h 6557032"/>
              <a:gd name="connsiteX38369" fmla="*/ 1968631 w 4610101"/>
              <a:gd name="connsiteY38369" fmla="*/ 402869 h 6557032"/>
              <a:gd name="connsiteX38370" fmla="*/ 1967128 w 4610101"/>
              <a:gd name="connsiteY38370" fmla="*/ 398906 h 6557032"/>
              <a:gd name="connsiteX38371" fmla="*/ 3563945 w 4610101"/>
              <a:gd name="connsiteY38371" fmla="*/ 397175 h 6557032"/>
              <a:gd name="connsiteX38372" fmla="*/ 3564173 w 4610101"/>
              <a:gd name="connsiteY38372" fmla="*/ 401731 h 6557032"/>
              <a:gd name="connsiteX38373" fmla="*/ 3567817 w 4610101"/>
              <a:gd name="connsiteY38373" fmla="*/ 398085 h 6557032"/>
              <a:gd name="connsiteX38374" fmla="*/ 3563945 w 4610101"/>
              <a:gd name="connsiteY38374" fmla="*/ 397175 h 6557032"/>
              <a:gd name="connsiteX38375" fmla="*/ 1904171 w 4610101"/>
              <a:gd name="connsiteY38375" fmla="*/ 396281 h 6557032"/>
              <a:gd name="connsiteX38376" fmla="*/ 1905993 w 4610101"/>
              <a:gd name="connsiteY38376" fmla="*/ 398103 h 6557032"/>
              <a:gd name="connsiteX38377" fmla="*/ 1907816 w 4610101"/>
              <a:gd name="connsiteY38377" fmla="*/ 396281 h 6557032"/>
              <a:gd name="connsiteX38378" fmla="*/ 1918750 w 4610101"/>
              <a:gd name="connsiteY38378" fmla="*/ 410859 h 6557032"/>
              <a:gd name="connsiteX38379" fmla="*/ 1946081 w 4610101"/>
              <a:gd name="connsiteY38379" fmla="*/ 398103 h 6557032"/>
              <a:gd name="connsiteX38380" fmla="*/ 1949726 w 4610101"/>
              <a:gd name="connsiteY38380" fmla="*/ 401748 h 6557032"/>
              <a:gd name="connsiteX38381" fmla="*/ 1940615 w 4610101"/>
              <a:gd name="connsiteY38381" fmla="*/ 416325 h 6557032"/>
              <a:gd name="connsiteX38382" fmla="*/ 1935148 w 4610101"/>
              <a:gd name="connsiteY38382" fmla="*/ 410859 h 6557032"/>
              <a:gd name="connsiteX38383" fmla="*/ 1915104 w 4610101"/>
              <a:gd name="connsiteY38383" fmla="*/ 440013 h 6557032"/>
              <a:gd name="connsiteX38384" fmla="*/ 1935148 w 4610101"/>
              <a:gd name="connsiteY38384" fmla="*/ 432725 h 6557032"/>
              <a:gd name="connsiteX38385" fmla="*/ 1924215 w 4610101"/>
              <a:gd name="connsiteY38385" fmla="*/ 445480 h 6557032"/>
              <a:gd name="connsiteX38386" fmla="*/ 1918750 w 4610101"/>
              <a:gd name="connsiteY38386" fmla="*/ 441836 h 6557032"/>
              <a:gd name="connsiteX38387" fmla="*/ 1926037 w 4610101"/>
              <a:gd name="connsiteY38387" fmla="*/ 465524 h 6557032"/>
              <a:gd name="connsiteX38388" fmla="*/ 1913282 w 4610101"/>
              <a:gd name="connsiteY38388" fmla="*/ 445480 h 6557032"/>
              <a:gd name="connsiteX38389" fmla="*/ 1909639 w 4610101"/>
              <a:gd name="connsiteY38389" fmla="*/ 452769 h 6557032"/>
              <a:gd name="connsiteX38390" fmla="*/ 1904171 w 4610101"/>
              <a:gd name="connsiteY38390" fmla="*/ 449124 h 6557032"/>
              <a:gd name="connsiteX38391" fmla="*/ 1902349 w 4610101"/>
              <a:gd name="connsiteY38391" fmla="*/ 463702 h 6557032"/>
              <a:gd name="connsiteX38392" fmla="*/ 1882306 w 4610101"/>
              <a:gd name="connsiteY38392" fmla="*/ 438191 h 6557032"/>
              <a:gd name="connsiteX38393" fmla="*/ 1885950 w 4610101"/>
              <a:gd name="connsiteY38393" fmla="*/ 432725 h 6557032"/>
              <a:gd name="connsiteX38394" fmla="*/ 1911460 w 4610101"/>
              <a:gd name="connsiteY38394" fmla="*/ 443658 h 6557032"/>
              <a:gd name="connsiteX38395" fmla="*/ 1911460 w 4610101"/>
              <a:gd name="connsiteY38395" fmla="*/ 436369 h 6557032"/>
              <a:gd name="connsiteX38396" fmla="*/ 1905993 w 4610101"/>
              <a:gd name="connsiteY38396" fmla="*/ 440013 h 6557032"/>
              <a:gd name="connsiteX38397" fmla="*/ 1904171 w 4610101"/>
              <a:gd name="connsiteY38397" fmla="*/ 434547 h 6557032"/>
              <a:gd name="connsiteX38398" fmla="*/ 1909639 w 4610101"/>
              <a:gd name="connsiteY38398" fmla="*/ 434547 h 6557032"/>
              <a:gd name="connsiteX38399" fmla="*/ 1913282 w 4610101"/>
              <a:gd name="connsiteY38399" fmla="*/ 416325 h 6557032"/>
              <a:gd name="connsiteX38400" fmla="*/ 1909639 w 4610101"/>
              <a:gd name="connsiteY38400" fmla="*/ 418147 h 6557032"/>
              <a:gd name="connsiteX38401" fmla="*/ 1904171 w 4610101"/>
              <a:gd name="connsiteY38401" fmla="*/ 398103 h 6557032"/>
              <a:gd name="connsiteX38402" fmla="*/ 1902349 w 4610101"/>
              <a:gd name="connsiteY38402" fmla="*/ 403570 h 6557032"/>
              <a:gd name="connsiteX38403" fmla="*/ 1904171 w 4610101"/>
              <a:gd name="connsiteY38403" fmla="*/ 396281 h 6557032"/>
              <a:gd name="connsiteX38404" fmla="*/ 1967948 w 4610101"/>
              <a:gd name="connsiteY38404" fmla="*/ 396264 h 6557032"/>
              <a:gd name="connsiteX38405" fmla="*/ 1968859 w 4610101"/>
              <a:gd name="connsiteY38405" fmla="*/ 397175 h 6557032"/>
              <a:gd name="connsiteX38406" fmla="*/ 1968512 w 4610101"/>
              <a:gd name="connsiteY38406" fmla="*/ 397522 h 6557032"/>
              <a:gd name="connsiteX38407" fmla="*/ 1966126 w 4610101"/>
              <a:gd name="connsiteY38407" fmla="*/ 396264 h 6557032"/>
              <a:gd name="connsiteX38408" fmla="*/ 1967128 w 4610101"/>
              <a:gd name="connsiteY38408" fmla="*/ 398906 h 6557032"/>
              <a:gd name="connsiteX38409" fmla="*/ 1966126 w 4610101"/>
              <a:gd name="connsiteY38409" fmla="*/ 399908 h 6557032"/>
              <a:gd name="connsiteX38410" fmla="*/ 1965397 w 4610101"/>
              <a:gd name="connsiteY38410" fmla="*/ 396992 h 6557032"/>
              <a:gd name="connsiteX38411" fmla="*/ 3305424 w 4610101"/>
              <a:gd name="connsiteY38411" fmla="*/ 394441 h 6557032"/>
              <a:gd name="connsiteX38412" fmla="*/ 3306010 w 4610101"/>
              <a:gd name="connsiteY38412" fmla="*/ 394637 h 6557032"/>
              <a:gd name="connsiteX38413" fmla="*/ 3302918 w 4610101"/>
              <a:gd name="connsiteY38413" fmla="*/ 395125 h 6557032"/>
              <a:gd name="connsiteX38414" fmla="*/ 3301679 w 4610101"/>
              <a:gd name="connsiteY38414" fmla="*/ 394839 h 6557032"/>
              <a:gd name="connsiteX38415" fmla="*/ 3299957 w 4610101"/>
              <a:gd name="connsiteY38415" fmla="*/ 394441 h 6557032"/>
              <a:gd name="connsiteX38416" fmla="*/ 3301679 w 4610101"/>
              <a:gd name="connsiteY38416" fmla="*/ 394839 h 6557032"/>
              <a:gd name="connsiteX38417" fmla="*/ 3299828 w 4610101"/>
              <a:gd name="connsiteY38417" fmla="*/ 395035 h 6557032"/>
              <a:gd name="connsiteX38418" fmla="*/ 2572910 w 4610101"/>
              <a:gd name="connsiteY38418" fmla="*/ 394441 h 6557032"/>
              <a:gd name="connsiteX38419" fmla="*/ 2565621 w 4610101"/>
              <a:gd name="connsiteY38419" fmla="*/ 398085 h 6557032"/>
              <a:gd name="connsiteX38420" fmla="*/ 2574732 w 4610101"/>
              <a:gd name="connsiteY38420" fmla="*/ 405375 h 6557032"/>
              <a:gd name="connsiteX38421" fmla="*/ 2576554 w 4610101"/>
              <a:gd name="connsiteY38421" fmla="*/ 399908 h 6557032"/>
              <a:gd name="connsiteX38422" fmla="*/ 2571088 w 4610101"/>
              <a:gd name="connsiteY38422" fmla="*/ 401731 h 6557032"/>
              <a:gd name="connsiteX38423" fmla="*/ 2572910 w 4610101"/>
              <a:gd name="connsiteY38423" fmla="*/ 394441 h 6557032"/>
              <a:gd name="connsiteX38424" fmla="*/ 2541933 w 4610101"/>
              <a:gd name="connsiteY38424" fmla="*/ 394441 h 6557032"/>
              <a:gd name="connsiteX38425" fmla="*/ 2523711 w 4610101"/>
              <a:gd name="connsiteY38425" fmla="*/ 405375 h 6557032"/>
              <a:gd name="connsiteX38426" fmla="*/ 2541933 w 4610101"/>
              <a:gd name="connsiteY38426" fmla="*/ 409019 h 6557032"/>
              <a:gd name="connsiteX38427" fmla="*/ 2541933 w 4610101"/>
              <a:gd name="connsiteY38427" fmla="*/ 394441 h 6557032"/>
              <a:gd name="connsiteX38428" fmla="*/ 3520941 w 4610101"/>
              <a:gd name="connsiteY38428" fmla="*/ 394262 h 6557032"/>
              <a:gd name="connsiteX38429" fmla="*/ 3520440 w 4610101"/>
              <a:gd name="connsiteY38429" fmla="*/ 396264 h 6557032"/>
              <a:gd name="connsiteX38430" fmla="*/ 3520340 w 4610101"/>
              <a:gd name="connsiteY38430" fmla="*/ 395005 h 6557032"/>
              <a:gd name="connsiteX38431" fmla="*/ 3520440 w 4610101"/>
              <a:gd name="connsiteY38431" fmla="*/ 394441 h 6557032"/>
              <a:gd name="connsiteX38432" fmla="*/ 3338223 w 4610101"/>
              <a:gd name="connsiteY38432" fmla="*/ 392620 h 6557032"/>
              <a:gd name="connsiteX38433" fmla="*/ 3325468 w 4610101"/>
              <a:gd name="connsiteY38433" fmla="*/ 407196 h 6557032"/>
              <a:gd name="connsiteX38434" fmla="*/ 3341867 w 4610101"/>
              <a:gd name="connsiteY38434" fmla="*/ 414485 h 6557032"/>
              <a:gd name="connsiteX38435" fmla="*/ 3338223 w 4610101"/>
              <a:gd name="connsiteY38435" fmla="*/ 392620 h 6557032"/>
              <a:gd name="connsiteX38436" fmla="*/ 3203382 w 4610101"/>
              <a:gd name="connsiteY38436" fmla="*/ 392620 h 6557032"/>
              <a:gd name="connsiteX38437" fmla="*/ 3201560 w 4610101"/>
              <a:gd name="connsiteY38437" fmla="*/ 399908 h 6557032"/>
              <a:gd name="connsiteX38438" fmla="*/ 3203382 w 4610101"/>
              <a:gd name="connsiteY38438" fmla="*/ 392620 h 6557032"/>
              <a:gd name="connsiteX38439" fmla="*/ 2348782 w 4610101"/>
              <a:gd name="connsiteY38439" fmla="*/ 392620 h 6557032"/>
              <a:gd name="connsiteX38440" fmla="*/ 2343316 w 4610101"/>
              <a:gd name="connsiteY38440" fmla="*/ 403552 h 6557032"/>
              <a:gd name="connsiteX38441" fmla="*/ 2350605 w 4610101"/>
              <a:gd name="connsiteY38441" fmla="*/ 403552 h 6557032"/>
              <a:gd name="connsiteX38442" fmla="*/ 2348782 w 4610101"/>
              <a:gd name="connsiteY38442" fmla="*/ 392620 h 6557032"/>
              <a:gd name="connsiteX38443" fmla="*/ 1964305 w 4610101"/>
              <a:gd name="connsiteY38443" fmla="*/ 392620 h 6557032"/>
              <a:gd name="connsiteX38444" fmla="*/ 1965397 w 4610101"/>
              <a:gd name="connsiteY38444" fmla="*/ 396992 h 6557032"/>
              <a:gd name="connsiteX38445" fmla="*/ 1960659 w 4610101"/>
              <a:gd name="connsiteY38445" fmla="*/ 401731 h 6557032"/>
              <a:gd name="connsiteX38446" fmla="*/ 1960659 w 4610101"/>
              <a:gd name="connsiteY38446" fmla="*/ 396264 h 6557032"/>
              <a:gd name="connsiteX38447" fmla="*/ 1962482 w 4610101"/>
              <a:gd name="connsiteY38447" fmla="*/ 394441 h 6557032"/>
              <a:gd name="connsiteX38448" fmla="*/ 1964305 w 4610101"/>
              <a:gd name="connsiteY38448" fmla="*/ 392620 h 6557032"/>
              <a:gd name="connsiteX38449" fmla="*/ 2361994 w 4610101"/>
              <a:gd name="connsiteY38449" fmla="*/ 392392 h 6557032"/>
              <a:gd name="connsiteX38450" fmla="*/ 2356071 w 4610101"/>
              <a:gd name="connsiteY38450" fmla="*/ 392620 h 6557032"/>
              <a:gd name="connsiteX38451" fmla="*/ 2354249 w 4610101"/>
              <a:gd name="connsiteY38451" fmla="*/ 399908 h 6557032"/>
              <a:gd name="connsiteX38452" fmla="*/ 2365182 w 4610101"/>
              <a:gd name="connsiteY38452" fmla="*/ 396264 h 6557032"/>
              <a:gd name="connsiteX38453" fmla="*/ 2361994 w 4610101"/>
              <a:gd name="connsiteY38453" fmla="*/ 392392 h 6557032"/>
              <a:gd name="connsiteX38454" fmla="*/ 3522263 w 4610101"/>
              <a:gd name="connsiteY38454" fmla="*/ 388976 h 6557032"/>
              <a:gd name="connsiteX38455" fmla="*/ 3519985 w 4610101"/>
              <a:gd name="connsiteY38455" fmla="*/ 390569 h 6557032"/>
              <a:gd name="connsiteX38456" fmla="*/ 3520340 w 4610101"/>
              <a:gd name="connsiteY38456" fmla="*/ 395005 h 6557032"/>
              <a:gd name="connsiteX38457" fmla="*/ 3519302 w 4610101"/>
              <a:gd name="connsiteY38457" fmla="*/ 400819 h 6557032"/>
              <a:gd name="connsiteX38458" fmla="*/ 3522263 w 4610101"/>
              <a:gd name="connsiteY38458" fmla="*/ 407196 h 6557032"/>
              <a:gd name="connsiteX38459" fmla="*/ 3531374 w 4610101"/>
              <a:gd name="connsiteY38459" fmla="*/ 414485 h 6557032"/>
              <a:gd name="connsiteX38460" fmla="*/ 3524085 w 4610101"/>
              <a:gd name="connsiteY38460" fmla="*/ 410841 h 6557032"/>
              <a:gd name="connsiteX38461" fmla="*/ 3531374 w 4610101"/>
              <a:gd name="connsiteY38461" fmla="*/ 423596 h 6557032"/>
              <a:gd name="connsiteX38462" fmla="*/ 3547773 w 4610101"/>
              <a:gd name="connsiteY38462" fmla="*/ 421775 h 6557032"/>
              <a:gd name="connsiteX38463" fmla="*/ 3564173 w 4610101"/>
              <a:gd name="connsiteY38463" fmla="*/ 414485 h 6557032"/>
              <a:gd name="connsiteX38464" fmla="*/ 3536840 w 4610101"/>
              <a:gd name="connsiteY38464" fmla="*/ 407196 h 6557032"/>
              <a:gd name="connsiteX38465" fmla="*/ 3536840 w 4610101"/>
              <a:gd name="connsiteY38465" fmla="*/ 390797 h 6557032"/>
              <a:gd name="connsiteX38466" fmla="*/ 3529324 w 4610101"/>
              <a:gd name="connsiteY38466" fmla="*/ 391253 h 6557032"/>
              <a:gd name="connsiteX38467" fmla="*/ 3520941 w 4610101"/>
              <a:gd name="connsiteY38467" fmla="*/ 394262 h 6557032"/>
              <a:gd name="connsiteX38468" fmla="*/ 2556226 w 4610101"/>
              <a:gd name="connsiteY38468" fmla="*/ 387922 h 6557032"/>
              <a:gd name="connsiteX38469" fmla="*/ 2551044 w 4610101"/>
              <a:gd name="connsiteY38469" fmla="*/ 390797 h 6557032"/>
              <a:gd name="connsiteX38470" fmla="*/ 2554688 w 4610101"/>
              <a:gd name="connsiteY38470" fmla="*/ 403552 h 6557032"/>
              <a:gd name="connsiteX38471" fmla="*/ 2556226 w 4610101"/>
              <a:gd name="connsiteY38471" fmla="*/ 387922 h 6557032"/>
              <a:gd name="connsiteX38472" fmla="*/ 3196093 w 4610101"/>
              <a:gd name="connsiteY38472" fmla="*/ 387152 h 6557032"/>
              <a:gd name="connsiteX38473" fmla="*/ 3192449 w 4610101"/>
              <a:gd name="connsiteY38473" fmla="*/ 394441 h 6557032"/>
              <a:gd name="connsiteX38474" fmla="*/ 3196093 w 4610101"/>
              <a:gd name="connsiteY38474" fmla="*/ 387152 h 6557032"/>
              <a:gd name="connsiteX38475" fmla="*/ 3013876 w 4610101"/>
              <a:gd name="connsiteY38475" fmla="*/ 387152 h 6557032"/>
              <a:gd name="connsiteX38476" fmla="*/ 3028453 w 4610101"/>
              <a:gd name="connsiteY38476" fmla="*/ 401731 h 6557032"/>
              <a:gd name="connsiteX38477" fmla="*/ 3032098 w 4610101"/>
              <a:gd name="connsiteY38477" fmla="*/ 396264 h 6557032"/>
              <a:gd name="connsiteX38478" fmla="*/ 3028453 w 4610101"/>
              <a:gd name="connsiteY38478" fmla="*/ 387152 h 6557032"/>
              <a:gd name="connsiteX38479" fmla="*/ 3013876 w 4610101"/>
              <a:gd name="connsiteY38479" fmla="*/ 387152 h 6557032"/>
              <a:gd name="connsiteX38480" fmla="*/ 2627575 w 4610101"/>
              <a:gd name="connsiteY38480" fmla="*/ 387152 h 6557032"/>
              <a:gd name="connsiteX38481" fmla="*/ 2618464 w 4610101"/>
              <a:gd name="connsiteY38481" fmla="*/ 390797 h 6557032"/>
              <a:gd name="connsiteX38482" fmla="*/ 2620287 w 4610101"/>
              <a:gd name="connsiteY38482" fmla="*/ 399908 h 6557032"/>
              <a:gd name="connsiteX38483" fmla="*/ 2627575 w 4610101"/>
              <a:gd name="connsiteY38483" fmla="*/ 396264 h 6557032"/>
              <a:gd name="connsiteX38484" fmla="*/ 2627575 w 4610101"/>
              <a:gd name="connsiteY38484" fmla="*/ 387152 h 6557032"/>
              <a:gd name="connsiteX38485" fmla="*/ 2481801 w 4610101"/>
              <a:gd name="connsiteY38485" fmla="*/ 387152 h 6557032"/>
              <a:gd name="connsiteX38486" fmla="*/ 2474513 w 4610101"/>
              <a:gd name="connsiteY38486" fmla="*/ 398085 h 6557032"/>
              <a:gd name="connsiteX38487" fmla="*/ 2485446 w 4610101"/>
              <a:gd name="connsiteY38487" fmla="*/ 392620 h 6557032"/>
              <a:gd name="connsiteX38488" fmla="*/ 2481801 w 4610101"/>
              <a:gd name="connsiteY38488" fmla="*/ 387152 h 6557032"/>
              <a:gd name="connsiteX38489" fmla="*/ 2454469 w 4610101"/>
              <a:gd name="connsiteY38489" fmla="*/ 387152 h 6557032"/>
              <a:gd name="connsiteX38490" fmla="*/ 2447180 w 4610101"/>
              <a:gd name="connsiteY38490" fmla="*/ 388976 h 6557032"/>
              <a:gd name="connsiteX38491" fmla="*/ 2452647 w 4610101"/>
              <a:gd name="connsiteY38491" fmla="*/ 394441 h 6557032"/>
              <a:gd name="connsiteX38492" fmla="*/ 2456291 w 4610101"/>
              <a:gd name="connsiteY38492" fmla="*/ 399908 h 6557032"/>
              <a:gd name="connsiteX38493" fmla="*/ 2454469 w 4610101"/>
              <a:gd name="connsiteY38493" fmla="*/ 387152 h 6557032"/>
              <a:gd name="connsiteX38494" fmla="*/ 2536467 w 4610101"/>
              <a:gd name="connsiteY38494" fmla="*/ 384875 h 6557032"/>
              <a:gd name="connsiteX38495" fmla="*/ 2531000 w 4610101"/>
              <a:gd name="connsiteY38495" fmla="*/ 392620 h 6557032"/>
              <a:gd name="connsiteX38496" fmla="*/ 2541933 w 4610101"/>
              <a:gd name="connsiteY38496" fmla="*/ 390797 h 6557032"/>
              <a:gd name="connsiteX38497" fmla="*/ 2536467 w 4610101"/>
              <a:gd name="connsiteY38497" fmla="*/ 384875 h 6557032"/>
              <a:gd name="connsiteX38498" fmla="*/ 3317496 w 4610101"/>
              <a:gd name="connsiteY38498" fmla="*/ 384192 h 6557032"/>
              <a:gd name="connsiteX38499" fmla="*/ 3310890 w 4610101"/>
              <a:gd name="connsiteY38499" fmla="*/ 388976 h 6557032"/>
              <a:gd name="connsiteX38500" fmla="*/ 3320001 w 4610101"/>
              <a:gd name="connsiteY38500" fmla="*/ 401731 h 6557032"/>
              <a:gd name="connsiteX38501" fmla="*/ 3329112 w 4610101"/>
              <a:gd name="connsiteY38501" fmla="*/ 385331 h 6557032"/>
              <a:gd name="connsiteX38502" fmla="*/ 3325468 w 4610101"/>
              <a:gd name="connsiteY38502" fmla="*/ 388976 h 6557032"/>
              <a:gd name="connsiteX38503" fmla="*/ 3317496 w 4610101"/>
              <a:gd name="connsiteY38503" fmla="*/ 384192 h 6557032"/>
              <a:gd name="connsiteX38504" fmla="*/ 3050319 w 4610101"/>
              <a:gd name="connsiteY38504" fmla="*/ 383509 h 6557032"/>
              <a:gd name="connsiteX38505" fmla="*/ 3050092 w 4610101"/>
              <a:gd name="connsiteY38505" fmla="*/ 389203 h 6557032"/>
              <a:gd name="connsiteX38506" fmla="*/ 3051453 w 4610101"/>
              <a:gd name="connsiteY38506" fmla="*/ 391684 h 6557032"/>
              <a:gd name="connsiteX38507" fmla="*/ 3050319 w 4610101"/>
              <a:gd name="connsiteY38507" fmla="*/ 390797 h 6557032"/>
              <a:gd name="connsiteX38508" fmla="*/ 3053964 w 4610101"/>
              <a:gd name="connsiteY38508" fmla="*/ 396264 h 6557032"/>
              <a:gd name="connsiteX38509" fmla="*/ 3051453 w 4610101"/>
              <a:gd name="connsiteY38509" fmla="*/ 391684 h 6557032"/>
              <a:gd name="connsiteX38510" fmla="*/ 3055558 w 4610101"/>
              <a:gd name="connsiteY38510" fmla="*/ 394897 h 6557032"/>
              <a:gd name="connsiteX38511" fmla="*/ 3059430 w 4610101"/>
              <a:gd name="connsiteY38511" fmla="*/ 401731 h 6557032"/>
              <a:gd name="connsiteX38512" fmla="*/ 3050319 w 4610101"/>
              <a:gd name="connsiteY38512" fmla="*/ 383509 h 6557032"/>
              <a:gd name="connsiteX38513" fmla="*/ 3469419 w 4610101"/>
              <a:gd name="connsiteY38513" fmla="*/ 379865 h 6557032"/>
              <a:gd name="connsiteX38514" fmla="*/ 3478530 w 4610101"/>
              <a:gd name="connsiteY38514" fmla="*/ 388976 h 6557032"/>
              <a:gd name="connsiteX38515" fmla="*/ 3463953 w 4610101"/>
              <a:gd name="connsiteY38515" fmla="*/ 396264 h 6557032"/>
              <a:gd name="connsiteX38516" fmla="*/ 3456664 w 4610101"/>
              <a:gd name="connsiteY38516" fmla="*/ 390797 h 6557032"/>
              <a:gd name="connsiteX38517" fmla="*/ 3463953 w 4610101"/>
              <a:gd name="connsiteY38517" fmla="*/ 398085 h 6557032"/>
              <a:gd name="connsiteX38518" fmla="*/ 3463953 w 4610101"/>
              <a:gd name="connsiteY38518" fmla="*/ 396264 h 6557032"/>
              <a:gd name="connsiteX38519" fmla="*/ 3480353 w 4610101"/>
              <a:gd name="connsiteY38519" fmla="*/ 405375 h 6557032"/>
              <a:gd name="connsiteX38520" fmla="*/ 3483997 w 4610101"/>
              <a:gd name="connsiteY38520" fmla="*/ 409019 h 6557032"/>
              <a:gd name="connsiteX38521" fmla="*/ 3485819 w 4610101"/>
              <a:gd name="connsiteY38521" fmla="*/ 401731 h 6557032"/>
              <a:gd name="connsiteX38522" fmla="*/ 3493108 w 4610101"/>
              <a:gd name="connsiteY38522" fmla="*/ 407196 h 6557032"/>
              <a:gd name="connsiteX38523" fmla="*/ 3494930 w 4610101"/>
              <a:gd name="connsiteY38523" fmla="*/ 403552 h 6557032"/>
              <a:gd name="connsiteX38524" fmla="*/ 3507685 w 4610101"/>
              <a:gd name="connsiteY38524" fmla="*/ 410841 h 6557032"/>
              <a:gd name="connsiteX38525" fmla="*/ 3493108 w 4610101"/>
              <a:gd name="connsiteY38525" fmla="*/ 398085 h 6557032"/>
              <a:gd name="connsiteX38526" fmla="*/ 3491286 w 4610101"/>
              <a:gd name="connsiteY38526" fmla="*/ 403552 h 6557032"/>
              <a:gd name="connsiteX38527" fmla="*/ 3469419 w 4610101"/>
              <a:gd name="connsiteY38527" fmla="*/ 379865 h 6557032"/>
              <a:gd name="connsiteX38528" fmla="*/ 3358267 w 4610101"/>
              <a:gd name="connsiteY38528" fmla="*/ 379865 h 6557032"/>
              <a:gd name="connsiteX38529" fmla="*/ 3361911 w 4610101"/>
              <a:gd name="connsiteY38529" fmla="*/ 394441 h 6557032"/>
              <a:gd name="connsiteX38530" fmla="*/ 3358267 w 4610101"/>
              <a:gd name="connsiteY38530" fmla="*/ 379865 h 6557032"/>
              <a:gd name="connsiteX38531" fmla="*/ 3239826 w 4610101"/>
              <a:gd name="connsiteY38531" fmla="*/ 379865 h 6557032"/>
              <a:gd name="connsiteX38532" fmla="*/ 3247114 w 4610101"/>
              <a:gd name="connsiteY38532" fmla="*/ 387152 h 6557032"/>
              <a:gd name="connsiteX38533" fmla="*/ 3239826 w 4610101"/>
              <a:gd name="connsiteY38533" fmla="*/ 379865 h 6557032"/>
              <a:gd name="connsiteX38534" fmla="*/ 2438069 w 4610101"/>
              <a:gd name="connsiteY38534" fmla="*/ 379865 h 6557032"/>
              <a:gd name="connsiteX38535" fmla="*/ 2425314 w 4610101"/>
              <a:gd name="connsiteY38535" fmla="*/ 396264 h 6557032"/>
              <a:gd name="connsiteX38536" fmla="*/ 2430780 w 4610101"/>
              <a:gd name="connsiteY38536" fmla="*/ 390797 h 6557032"/>
              <a:gd name="connsiteX38537" fmla="*/ 2428958 w 4610101"/>
              <a:gd name="connsiteY38537" fmla="*/ 407196 h 6557032"/>
              <a:gd name="connsiteX38538" fmla="*/ 2449002 w 4610101"/>
              <a:gd name="connsiteY38538" fmla="*/ 403552 h 6557032"/>
              <a:gd name="connsiteX38539" fmla="*/ 2434425 w 4610101"/>
              <a:gd name="connsiteY38539" fmla="*/ 390797 h 6557032"/>
              <a:gd name="connsiteX38540" fmla="*/ 2438069 w 4610101"/>
              <a:gd name="connsiteY38540" fmla="*/ 379865 h 6557032"/>
              <a:gd name="connsiteX38541" fmla="*/ 2352427 w 4610101"/>
              <a:gd name="connsiteY38541" fmla="*/ 379865 h 6557032"/>
              <a:gd name="connsiteX38542" fmla="*/ 2354249 w 4610101"/>
              <a:gd name="connsiteY38542" fmla="*/ 388976 h 6557032"/>
              <a:gd name="connsiteX38543" fmla="*/ 2352427 w 4610101"/>
              <a:gd name="connsiteY38543" fmla="*/ 379865 h 6557032"/>
              <a:gd name="connsiteX38544" fmla="*/ 1009485 w 4610101"/>
              <a:gd name="connsiteY38544" fmla="*/ 379865 h 6557032"/>
              <a:gd name="connsiteX38545" fmla="*/ 1010851 w 4610101"/>
              <a:gd name="connsiteY38545" fmla="*/ 385103 h 6557032"/>
              <a:gd name="connsiteX38546" fmla="*/ 1010516 w 4610101"/>
              <a:gd name="connsiteY38546" fmla="*/ 386052 h 6557032"/>
              <a:gd name="connsiteX38547" fmla="*/ 3489463 w 4610101"/>
              <a:gd name="connsiteY38547" fmla="*/ 378041 h 6557032"/>
              <a:gd name="connsiteX38548" fmla="*/ 3491286 w 4610101"/>
              <a:gd name="connsiteY38548" fmla="*/ 381687 h 6557032"/>
              <a:gd name="connsiteX38549" fmla="*/ 3489463 w 4610101"/>
              <a:gd name="connsiteY38549" fmla="*/ 378041 h 6557032"/>
              <a:gd name="connsiteX38550" fmla="*/ 1940616 w 4610101"/>
              <a:gd name="connsiteY38550" fmla="*/ 378041 h 6557032"/>
              <a:gd name="connsiteX38551" fmla="*/ 1944260 w 4610101"/>
              <a:gd name="connsiteY38551" fmla="*/ 381687 h 6557032"/>
              <a:gd name="connsiteX38552" fmla="*/ 1942438 w 4610101"/>
              <a:gd name="connsiteY38552" fmla="*/ 383509 h 6557032"/>
              <a:gd name="connsiteX38553" fmla="*/ 1940616 w 4610101"/>
              <a:gd name="connsiteY38553" fmla="*/ 378041 h 6557032"/>
              <a:gd name="connsiteX38554" fmla="*/ 3518618 w 4610101"/>
              <a:gd name="connsiteY38554" fmla="*/ 376220 h 6557032"/>
              <a:gd name="connsiteX38555" fmla="*/ 3509507 w 4610101"/>
              <a:gd name="connsiteY38555" fmla="*/ 381687 h 6557032"/>
              <a:gd name="connsiteX38556" fmla="*/ 3524085 w 4610101"/>
              <a:gd name="connsiteY38556" fmla="*/ 385331 h 6557032"/>
              <a:gd name="connsiteX38557" fmla="*/ 3518618 w 4610101"/>
              <a:gd name="connsiteY38557" fmla="*/ 376220 h 6557032"/>
              <a:gd name="connsiteX38558" fmla="*/ 3449376 w 4610101"/>
              <a:gd name="connsiteY38558" fmla="*/ 376220 h 6557032"/>
              <a:gd name="connsiteX38559" fmla="*/ 3453020 w 4610101"/>
              <a:gd name="connsiteY38559" fmla="*/ 381687 h 6557032"/>
              <a:gd name="connsiteX38560" fmla="*/ 3463953 w 4610101"/>
              <a:gd name="connsiteY38560" fmla="*/ 376220 h 6557032"/>
              <a:gd name="connsiteX38561" fmla="*/ 3449376 w 4610101"/>
              <a:gd name="connsiteY38561" fmla="*/ 376220 h 6557032"/>
              <a:gd name="connsiteX38562" fmla="*/ 3212493 w 4610101"/>
              <a:gd name="connsiteY38562" fmla="*/ 376220 h 6557032"/>
              <a:gd name="connsiteX38563" fmla="*/ 3227071 w 4610101"/>
              <a:gd name="connsiteY38563" fmla="*/ 385331 h 6557032"/>
              <a:gd name="connsiteX38564" fmla="*/ 3219782 w 4610101"/>
              <a:gd name="connsiteY38564" fmla="*/ 376220 h 6557032"/>
              <a:gd name="connsiteX38565" fmla="*/ 3212493 w 4610101"/>
              <a:gd name="connsiteY38565" fmla="*/ 376220 h 6557032"/>
              <a:gd name="connsiteX38566" fmla="*/ 2583843 w 4610101"/>
              <a:gd name="connsiteY38566" fmla="*/ 376220 h 6557032"/>
              <a:gd name="connsiteX38567" fmla="*/ 2578377 w 4610101"/>
              <a:gd name="connsiteY38567" fmla="*/ 379865 h 6557032"/>
              <a:gd name="connsiteX38568" fmla="*/ 2583843 w 4610101"/>
              <a:gd name="connsiteY38568" fmla="*/ 381687 h 6557032"/>
              <a:gd name="connsiteX38569" fmla="*/ 2583843 w 4610101"/>
              <a:gd name="connsiteY38569" fmla="*/ 376220 h 6557032"/>
              <a:gd name="connsiteX38570" fmla="*/ 2337850 w 4610101"/>
              <a:gd name="connsiteY38570" fmla="*/ 376220 h 6557032"/>
              <a:gd name="connsiteX38571" fmla="*/ 2325094 w 4610101"/>
              <a:gd name="connsiteY38571" fmla="*/ 387152 h 6557032"/>
              <a:gd name="connsiteX38572" fmla="*/ 2337850 w 4610101"/>
              <a:gd name="connsiteY38572" fmla="*/ 376220 h 6557032"/>
              <a:gd name="connsiteX38573" fmla="*/ 2210297 w 4610101"/>
              <a:gd name="connsiteY38573" fmla="*/ 376220 h 6557032"/>
              <a:gd name="connsiteX38574" fmla="*/ 2195720 w 4610101"/>
              <a:gd name="connsiteY38574" fmla="*/ 399908 h 6557032"/>
              <a:gd name="connsiteX38575" fmla="*/ 2199364 w 4610101"/>
              <a:gd name="connsiteY38575" fmla="*/ 399908 h 6557032"/>
              <a:gd name="connsiteX38576" fmla="*/ 2197542 w 4610101"/>
              <a:gd name="connsiteY38576" fmla="*/ 410841 h 6557032"/>
              <a:gd name="connsiteX38577" fmla="*/ 2215764 w 4610101"/>
              <a:gd name="connsiteY38577" fmla="*/ 403552 h 6557032"/>
              <a:gd name="connsiteX38578" fmla="*/ 2212120 w 4610101"/>
              <a:gd name="connsiteY38578" fmla="*/ 388976 h 6557032"/>
              <a:gd name="connsiteX38579" fmla="*/ 2217586 w 4610101"/>
              <a:gd name="connsiteY38579" fmla="*/ 398085 h 6557032"/>
              <a:gd name="connsiteX38580" fmla="*/ 2221230 w 4610101"/>
              <a:gd name="connsiteY38580" fmla="*/ 399908 h 6557032"/>
              <a:gd name="connsiteX38581" fmla="*/ 2221230 w 4610101"/>
              <a:gd name="connsiteY38581" fmla="*/ 388976 h 6557032"/>
              <a:gd name="connsiteX38582" fmla="*/ 2230341 w 4610101"/>
              <a:gd name="connsiteY38582" fmla="*/ 390797 h 6557032"/>
              <a:gd name="connsiteX38583" fmla="*/ 2230341 w 4610101"/>
              <a:gd name="connsiteY38583" fmla="*/ 376220 h 6557032"/>
              <a:gd name="connsiteX38584" fmla="*/ 2210297 w 4610101"/>
              <a:gd name="connsiteY38584" fmla="*/ 376220 h 6557032"/>
              <a:gd name="connsiteX38585" fmla="*/ 3374666 w 4610101"/>
              <a:gd name="connsiteY38585" fmla="*/ 374397 h 6557032"/>
              <a:gd name="connsiteX38586" fmla="*/ 3371022 w 4610101"/>
              <a:gd name="connsiteY38586" fmla="*/ 381687 h 6557032"/>
              <a:gd name="connsiteX38587" fmla="*/ 3367378 w 4610101"/>
              <a:gd name="connsiteY38587" fmla="*/ 376220 h 6557032"/>
              <a:gd name="connsiteX38588" fmla="*/ 3363734 w 4610101"/>
              <a:gd name="connsiteY38588" fmla="*/ 376220 h 6557032"/>
              <a:gd name="connsiteX38589" fmla="*/ 3361911 w 4610101"/>
              <a:gd name="connsiteY38589" fmla="*/ 379865 h 6557032"/>
              <a:gd name="connsiteX38590" fmla="*/ 3371022 w 4610101"/>
              <a:gd name="connsiteY38590" fmla="*/ 387152 h 6557032"/>
              <a:gd name="connsiteX38591" fmla="*/ 3370567 w 4610101"/>
              <a:gd name="connsiteY38591" fmla="*/ 395808 h 6557032"/>
              <a:gd name="connsiteX38592" fmla="*/ 3367527 w 4610101"/>
              <a:gd name="connsiteY38592" fmla="*/ 401455 h 6557032"/>
              <a:gd name="connsiteX38593" fmla="*/ 3366996 w 4610101"/>
              <a:gd name="connsiteY38593" fmla="*/ 401136 h 6557032"/>
              <a:gd name="connsiteX38594" fmla="*/ 3365328 w 4610101"/>
              <a:gd name="connsiteY38594" fmla="*/ 398542 h 6557032"/>
              <a:gd name="connsiteX38595" fmla="*/ 3361911 w 4610101"/>
              <a:gd name="connsiteY38595" fmla="*/ 398085 h 6557032"/>
              <a:gd name="connsiteX38596" fmla="*/ 3366996 w 4610101"/>
              <a:gd name="connsiteY38596" fmla="*/ 401136 h 6557032"/>
              <a:gd name="connsiteX38597" fmla="*/ 3367378 w 4610101"/>
              <a:gd name="connsiteY38597" fmla="*/ 401731 h 6557032"/>
              <a:gd name="connsiteX38598" fmla="*/ 3367527 w 4610101"/>
              <a:gd name="connsiteY38598" fmla="*/ 401455 h 6557032"/>
              <a:gd name="connsiteX38599" fmla="*/ 3371022 w 4610101"/>
              <a:gd name="connsiteY38599" fmla="*/ 403552 h 6557032"/>
              <a:gd name="connsiteX38600" fmla="*/ 3361911 w 4610101"/>
              <a:gd name="connsiteY38600" fmla="*/ 407196 h 6557032"/>
              <a:gd name="connsiteX38601" fmla="*/ 3363734 w 4610101"/>
              <a:gd name="connsiteY38601" fmla="*/ 410841 h 6557032"/>
              <a:gd name="connsiteX38602" fmla="*/ 3374666 w 4610101"/>
              <a:gd name="connsiteY38602" fmla="*/ 374397 h 6557032"/>
              <a:gd name="connsiteX38603" fmla="*/ 3314535 w 4610101"/>
              <a:gd name="connsiteY38603" fmla="*/ 374397 h 6557032"/>
              <a:gd name="connsiteX38604" fmla="*/ 3314535 w 4610101"/>
              <a:gd name="connsiteY38604" fmla="*/ 381687 h 6557032"/>
              <a:gd name="connsiteX38605" fmla="*/ 3314535 w 4610101"/>
              <a:gd name="connsiteY38605" fmla="*/ 374397 h 6557032"/>
              <a:gd name="connsiteX38606" fmla="*/ 3139606 w 4610101"/>
              <a:gd name="connsiteY38606" fmla="*/ 374397 h 6557032"/>
              <a:gd name="connsiteX38607" fmla="*/ 3135962 w 4610101"/>
              <a:gd name="connsiteY38607" fmla="*/ 385331 h 6557032"/>
              <a:gd name="connsiteX38608" fmla="*/ 3139606 w 4610101"/>
              <a:gd name="connsiteY38608" fmla="*/ 374397 h 6557032"/>
              <a:gd name="connsiteX38609" fmla="*/ 3010232 w 4610101"/>
              <a:gd name="connsiteY38609" fmla="*/ 374397 h 6557032"/>
              <a:gd name="connsiteX38610" fmla="*/ 3002943 w 4610101"/>
              <a:gd name="connsiteY38610" fmla="*/ 378041 h 6557032"/>
              <a:gd name="connsiteX38611" fmla="*/ 3008410 w 4610101"/>
              <a:gd name="connsiteY38611" fmla="*/ 385331 h 6557032"/>
              <a:gd name="connsiteX38612" fmla="*/ 3010232 w 4610101"/>
              <a:gd name="connsiteY38612" fmla="*/ 381687 h 6557032"/>
              <a:gd name="connsiteX38613" fmla="*/ 3010232 w 4610101"/>
              <a:gd name="connsiteY38613" fmla="*/ 374397 h 6557032"/>
              <a:gd name="connsiteX38614" fmla="*/ 2199364 w 4610101"/>
              <a:gd name="connsiteY38614" fmla="*/ 374397 h 6557032"/>
              <a:gd name="connsiteX38615" fmla="*/ 2201187 w 4610101"/>
              <a:gd name="connsiteY38615" fmla="*/ 387152 h 6557032"/>
              <a:gd name="connsiteX38616" fmla="*/ 2199364 w 4610101"/>
              <a:gd name="connsiteY38616" fmla="*/ 374397 h 6557032"/>
              <a:gd name="connsiteX38617" fmla="*/ 2075574 w 4610101"/>
              <a:gd name="connsiteY38617" fmla="*/ 374376 h 6557032"/>
              <a:gd name="connsiteX38618" fmla="*/ 2079785 w 4610101"/>
              <a:gd name="connsiteY38618" fmla="*/ 378725 h 6557032"/>
              <a:gd name="connsiteX38619" fmla="*/ 2083457 w 4610101"/>
              <a:gd name="connsiteY38619" fmla="*/ 397829 h 6557032"/>
              <a:gd name="connsiteX38620" fmla="*/ 2083145 w 4610101"/>
              <a:gd name="connsiteY38620" fmla="*/ 399285 h 6557032"/>
              <a:gd name="connsiteX38621" fmla="*/ 2082745 w 4610101"/>
              <a:gd name="connsiteY38621" fmla="*/ 398085 h 6557032"/>
              <a:gd name="connsiteX38622" fmla="*/ 3289024 w 4610101"/>
              <a:gd name="connsiteY38622" fmla="*/ 372576 h 6557032"/>
              <a:gd name="connsiteX38623" fmla="*/ 3265336 w 4610101"/>
              <a:gd name="connsiteY38623" fmla="*/ 376220 h 6557032"/>
              <a:gd name="connsiteX38624" fmla="*/ 3267158 w 4610101"/>
              <a:gd name="connsiteY38624" fmla="*/ 392620 h 6557032"/>
              <a:gd name="connsiteX38625" fmla="*/ 3259869 w 4610101"/>
              <a:gd name="connsiteY38625" fmla="*/ 388976 h 6557032"/>
              <a:gd name="connsiteX38626" fmla="*/ 3285380 w 4610101"/>
              <a:gd name="connsiteY38626" fmla="*/ 399908 h 6557032"/>
              <a:gd name="connsiteX38627" fmla="*/ 3280856 w 4610101"/>
              <a:gd name="connsiteY38627" fmla="*/ 398400 h 6557032"/>
              <a:gd name="connsiteX38628" fmla="*/ 3280141 w 4610101"/>
              <a:gd name="connsiteY38628" fmla="*/ 397175 h 6557032"/>
              <a:gd name="connsiteX38629" fmla="*/ 3279913 w 4610101"/>
              <a:gd name="connsiteY38629" fmla="*/ 394441 h 6557032"/>
              <a:gd name="connsiteX38630" fmla="*/ 3283558 w 4610101"/>
              <a:gd name="connsiteY38630" fmla="*/ 394441 h 6557032"/>
              <a:gd name="connsiteX38631" fmla="*/ 3283558 w 4610101"/>
              <a:gd name="connsiteY38631" fmla="*/ 390797 h 6557032"/>
              <a:gd name="connsiteX38632" fmla="*/ 3290391 w 4610101"/>
              <a:gd name="connsiteY38632" fmla="*/ 396036 h 6557032"/>
              <a:gd name="connsiteX38633" fmla="*/ 3299828 w 4610101"/>
              <a:gd name="connsiteY38633" fmla="*/ 395035 h 6557032"/>
              <a:gd name="connsiteX38634" fmla="*/ 3298819 w 4610101"/>
              <a:gd name="connsiteY38634" fmla="*/ 399680 h 6557032"/>
              <a:gd name="connsiteX38635" fmla="*/ 3301780 w 4610101"/>
              <a:gd name="connsiteY38635" fmla="*/ 403552 h 6557032"/>
              <a:gd name="connsiteX38636" fmla="*/ 3305880 w 4610101"/>
              <a:gd name="connsiteY38636" fmla="*/ 401047 h 6557032"/>
              <a:gd name="connsiteX38637" fmla="*/ 3307129 w 4610101"/>
              <a:gd name="connsiteY38637" fmla="*/ 395010 h 6557032"/>
              <a:gd name="connsiteX38638" fmla="*/ 3310890 w 4610101"/>
              <a:gd name="connsiteY38638" fmla="*/ 396264 h 6557032"/>
              <a:gd name="connsiteX38639" fmla="*/ 3307246 w 4610101"/>
              <a:gd name="connsiteY38639" fmla="*/ 394442 h 6557032"/>
              <a:gd name="connsiteX38640" fmla="*/ 3307129 w 4610101"/>
              <a:gd name="connsiteY38640" fmla="*/ 395010 h 6557032"/>
              <a:gd name="connsiteX38641" fmla="*/ 3306010 w 4610101"/>
              <a:gd name="connsiteY38641" fmla="*/ 394637 h 6557032"/>
              <a:gd name="connsiteX38642" fmla="*/ 3307246 w 4610101"/>
              <a:gd name="connsiteY38642" fmla="*/ 394441 h 6557032"/>
              <a:gd name="connsiteX38643" fmla="*/ 3303602 w 4610101"/>
              <a:gd name="connsiteY38643" fmla="*/ 392620 h 6557032"/>
              <a:gd name="connsiteX38644" fmla="*/ 3298135 w 4610101"/>
              <a:gd name="connsiteY38644" fmla="*/ 374397 h 6557032"/>
              <a:gd name="connsiteX38645" fmla="*/ 3298135 w 4610101"/>
              <a:gd name="connsiteY38645" fmla="*/ 378041 h 6557032"/>
              <a:gd name="connsiteX38646" fmla="*/ 3289024 w 4610101"/>
              <a:gd name="connsiteY38646" fmla="*/ 372576 h 6557032"/>
              <a:gd name="connsiteX38647" fmla="*/ 3037564 w 4610101"/>
              <a:gd name="connsiteY38647" fmla="*/ 372576 h 6557032"/>
              <a:gd name="connsiteX38648" fmla="*/ 3039387 w 4610101"/>
              <a:gd name="connsiteY38648" fmla="*/ 383509 h 6557032"/>
              <a:gd name="connsiteX38649" fmla="*/ 3037564 w 4610101"/>
              <a:gd name="connsiteY38649" fmla="*/ 372576 h 6557032"/>
              <a:gd name="connsiteX38650" fmla="*/ 2600243 w 4610101"/>
              <a:gd name="connsiteY38650" fmla="*/ 370754 h 6557032"/>
              <a:gd name="connsiteX38651" fmla="*/ 2591132 w 4610101"/>
              <a:gd name="connsiteY38651" fmla="*/ 379865 h 6557032"/>
              <a:gd name="connsiteX38652" fmla="*/ 2598421 w 4610101"/>
              <a:gd name="connsiteY38652" fmla="*/ 381687 h 6557032"/>
              <a:gd name="connsiteX38653" fmla="*/ 2609353 w 4610101"/>
              <a:gd name="connsiteY38653" fmla="*/ 390797 h 6557032"/>
              <a:gd name="connsiteX38654" fmla="*/ 2605709 w 4610101"/>
              <a:gd name="connsiteY38654" fmla="*/ 378041 h 6557032"/>
              <a:gd name="connsiteX38655" fmla="*/ 2602065 w 4610101"/>
              <a:gd name="connsiteY38655" fmla="*/ 381687 h 6557032"/>
              <a:gd name="connsiteX38656" fmla="*/ 2600243 w 4610101"/>
              <a:gd name="connsiteY38656" fmla="*/ 370754 h 6557032"/>
              <a:gd name="connsiteX38657" fmla="*/ 3243470 w 4610101"/>
              <a:gd name="connsiteY38657" fmla="*/ 368932 h 6557032"/>
              <a:gd name="connsiteX38658" fmla="*/ 3243470 w 4610101"/>
              <a:gd name="connsiteY38658" fmla="*/ 376220 h 6557032"/>
              <a:gd name="connsiteX38659" fmla="*/ 3248937 w 4610101"/>
              <a:gd name="connsiteY38659" fmla="*/ 374397 h 6557032"/>
              <a:gd name="connsiteX38660" fmla="*/ 3243470 w 4610101"/>
              <a:gd name="connsiteY38660" fmla="*/ 368932 h 6557032"/>
              <a:gd name="connsiteX38661" fmla="*/ 2399803 w 4610101"/>
              <a:gd name="connsiteY38661" fmla="*/ 368932 h 6557032"/>
              <a:gd name="connsiteX38662" fmla="*/ 2399600 w 4610101"/>
              <a:gd name="connsiteY38662" fmla="*/ 369898 h 6557032"/>
              <a:gd name="connsiteX38663" fmla="*/ 2392970 w 4610101"/>
              <a:gd name="connsiteY38663" fmla="*/ 370753 h 6557032"/>
              <a:gd name="connsiteX38664" fmla="*/ 2387048 w 4610101"/>
              <a:gd name="connsiteY38664" fmla="*/ 378041 h 6557032"/>
              <a:gd name="connsiteX38665" fmla="*/ 2374293 w 4610101"/>
              <a:gd name="connsiteY38665" fmla="*/ 381687 h 6557032"/>
              <a:gd name="connsiteX38666" fmla="*/ 2377937 w 4610101"/>
              <a:gd name="connsiteY38666" fmla="*/ 387152 h 6557032"/>
              <a:gd name="connsiteX38667" fmla="*/ 2379760 w 4610101"/>
              <a:gd name="connsiteY38667" fmla="*/ 379865 h 6557032"/>
              <a:gd name="connsiteX38668" fmla="*/ 2387048 w 4610101"/>
              <a:gd name="connsiteY38668" fmla="*/ 390797 h 6557032"/>
              <a:gd name="connsiteX38669" fmla="*/ 2388871 w 4610101"/>
              <a:gd name="connsiteY38669" fmla="*/ 376220 h 6557032"/>
              <a:gd name="connsiteX38670" fmla="*/ 2392515 w 4610101"/>
              <a:gd name="connsiteY38670" fmla="*/ 376220 h 6557032"/>
              <a:gd name="connsiteX38671" fmla="*/ 2390693 w 4610101"/>
              <a:gd name="connsiteY38671" fmla="*/ 383509 h 6557032"/>
              <a:gd name="connsiteX38672" fmla="*/ 2397982 w 4610101"/>
              <a:gd name="connsiteY38672" fmla="*/ 377587 h 6557032"/>
              <a:gd name="connsiteX38673" fmla="*/ 2399600 w 4610101"/>
              <a:gd name="connsiteY38673" fmla="*/ 369898 h 6557032"/>
              <a:gd name="connsiteX38674" fmla="*/ 2402284 w 4610101"/>
              <a:gd name="connsiteY38674" fmla="*/ 369552 h 6557032"/>
              <a:gd name="connsiteX38675" fmla="*/ 2407092 w 4610101"/>
              <a:gd name="connsiteY38675" fmla="*/ 370754 h 6557032"/>
              <a:gd name="connsiteX38676" fmla="*/ 2397981 w 4610101"/>
              <a:gd name="connsiteY38676" fmla="*/ 399908 h 6557032"/>
              <a:gd name="connsiteX38677" fmla="*/ 2408914 w 4610101"/>
              <a:gd name="connsiteY38677" fmla="*/ 390797 h 6557032"/>
              <a:gd name="connsiteX38678" fmla="*/ 2418025 w 4610101"/>
              <a:gd name="connsiteY38678" fmla="*/ 405375 h 6557032"/>
              <a:gd name="connsiteX38679" fmla="*/ 2425314 w 4610101"/>
              <a:gd name="connsiteY38679" fmla="*/ 403552 h 6557032"/>
              <a:gd name="connsiteX38680" fmla="*/ 2423492 w 4610101"/>
              <a:gd name="connsiteY38680" fmla="*/ 394441 h 6557032"/>
              <a:gd name="connsiteX38681" fmla="*/ 2421669 w 4610101"/>
              <a:gd name="connsiteY38681" fmla="*/ 401731 h 6557032"/>
              <a:gd name="connsiteX38682" fmla="*/ 2418025 w 4610101"/>
              <a:gd name="connsiteY38682" fmla="*/ 396264 h 6557032"/>
              <a:gd name="connsiteX38683" fmla="*/ 2418025 w 4610101"/>
              <a:gd name="connsiteY38683" fmla="*/ 376220 h 6557032"/>
              <a:gd name="connsiteX38684" fmla="*/ 2418025 w 4610101"/>
              <a:gd name="connsiteY38684" fmla="*/ 385331 h 6557032"/>
              <a:gd name="connsiteX38685" fmla="*/ 2410737 w 4610101"/>
              <a:gd name="connsiteY38685" fmla="*/ 383509 h 6557032"/>
              <a:gd name="connsiteX38686" fmla="*/ 2407092 w 4610101"/>
              <a:gd name="connsiteY38686" fmla="*/ 368932 h 6557032"/>
              <a:gd name="connsiteX38687" fmla="*/ 2402284 w 4610101"/>
              <a:gd name="connsiteY38687" fmla="*/ 369552 h 6557032"/>
              <a:gd name="connsiteX38688" fmla="*/ 2257674 w 4610101"/>
              <a:gd name="connsiteY38688" fmla="*/ 368932 h 6557032"/>
              <a:gd name="connsiteX38689" fmla="*/ 2248563 w 4610101"/>
              <a:gd name="connsiteY38689" fmla="*/ 385331 h 6557032"/>
              <a:gd name="connsiteX38690" fmla="*/ 2244919 w 4610101"/>
              <a:gd name="connsiteY38690" fmla="*/ 378041 h 6557032"/>
              <a:gd name="connsiteX38691" fmla="*/ 2237630 w 4610101"/>
              <a:gd name="connsiteY38691" fmla="*/ 390797 h 6557032"/>
              <a:gd name="connsiteX38692" fmla="*/ 2246741 w 4610101"/>
              <a:gd name="connsiteY38692" fmla="*/ 394441 h 6557032"/>
              <a:gd name="connsiteX38693" fmla="*/ 2254030 w 4610101"/>
              <a:gd name="connsiteY38693" fmla="*/ 399908 h 6557032"/>
              <a:gd name="connsiteX38694" fmla="*/ 2252207 w 4610101"/>
              <a:gd name="connsiteY38694" fmla="*/ 401731 h 6557032"/>
              <a:gd name="connsiteX38695" fmla="*/ 2254030 w 4610101"/>
              <a:gd name="connsiteY38695" fmla="*/ 401731 h 6557032"/>
              <a:gd name="connsiteX38696" fmla="*/ 2254030 w 4610101"/>
              <a:gd name="connsiteY38696" fmla="*/ 379865 h 6557032"/>
              <a:gd name="connsiteX38697" fmla="*/ 2259496 w 4610101"/>
              <a:gd name="connsiteY38697" fmla="*/ 376220 h 6557032"/>
              <a:gd name="connsiteX38698" fmla="*/ 2257674 w 4610101"/>
              <a:gd name="connsiteY38698" fmla="*/ 368932 h 6557032"/>
              <a:gd name="connsiteX38699" fmla="*/ 3469419 w 4610101"/>
              <a:gd name="connsiteY38699" fmla="*/ 367109 h 6557032"/>
              <a:gd name="connsiteX38700" fmla="*/ 3476708 w 4610101"/>
              <a:gd name="connsiteY38700" fmla="*/ 372576 h 6557032"/>
              <a:gd name="connsiteX38701" fmla="*/ 3473064 w 4610101"/>
              <a:gd name="connsiteY38701" fmla="*/ 367109 h 6557032"/>
              <a:gd name="connsiteX38702" fmla="*/ 3469419 w 4610101"/>
              <a:gd name="connsiteY38702" fmla="*/ 367109 h 6557032"/>
              <a:gd name="connsiteX38703" fmla="*/ 3423865 w 4610101"/>
              <a:gd name="connsiteY38703" fmla="*/ 367109 h 6557032"/>
              <a:gd name="connsiteX38704" fmla="*/ 3414754 w 4610101"/>
              <a:gd name="connsiteY38704" fmla="*/ 381687 h 6557032"/>
              <a:gd name="connsiteX38705" fmla="*/ 3411110 w 4610101"/>
              <a:gd name="connsiteY38705" fmla="*/ 376220 h 6557032"/>
              <a:gd name="connsiteX38706" fmla="*/ 3391066 w 4610101"/>
              <a:gd name="connsiteY38706" fmla="*/ 385331 h 6557032"/>
              <a:gd name="connsiteX38707" fmla="*/ 3380133 w 4610101"/>
              <a:gd name="connsiteY38707" fmla="*/ 378041 h 6557032"/>
              <a:gd name="connsiteX38708" fmla="*/ 3385600 w 4610101"/>
              <a:gd name="connsiteY38708" fmla="*/ 396264 h 6557032"/>
              <a:gd name="connsiteX38709" fmla="*/ 3396532 w 4610101"/>
              <a:gd name="connsiteY38709" fmla="*/ 392620 h 6557032"/>
              <a:gd name="connsiteX38710" fmla="*/ 3396532 w 4610101"/>
              <a:gd name="connsiteY38710" fmla="*/ 387152 h 6557032"/>
              <a:gd name="connsiteX38711" fmla="*/ 3412932 w 4610101"/>
              <a:gd name="connsiteY38711" fmla="*/ 399908 h 6557032"/>
              <a:gd name="connsiteX38712" fmla="*/ 3416577 w 4610101"/>
              <a:gd name="connsiteY38712" fmla="*/ 392620 h 6557032"/>
              <a:gd name="connsiteX38713" fmla="*/ 3438443 w 4610101"/>
              <a:gd name="connsiteY38713" fmla="*/ 390797 h 6557032"/>
              <a:gd name="connsiteX38714" fmla="*/ 3438443 w 4610101"/>
              <a:gd name="connsiteY38714" fmla="*/ 403552 h 6557032"/>
              <a:gd name="connsiteX38715" fmla="*/ 3449376 w 4610101"/>
              <a:gd name="connsiteY38715" fmla="*/ 399908 h 6557032"/>
              <a:gd name="connsiteX38716" fmla="*/ 3442087 w 4610101"/>
              <a:gd name="connsiteY38716" fmla="*/ 412664 h 6557032"/>
              <a:gd name="connsiteX38717" fmla="*/ 3438443 w 4610101"/>
              <a:gd name="connsiteY38717" fmla="*/ 407196 h 6557032"/>
              <a:gd name="connsiteX38718" fmla="*/ 3434798 w 4610101"/>
              <a:gd name="connsiteY38718" fmla="*/ 410841 h 6557032"/>
              <a:gd name="connsiteX38719" fmla="*/ 3431154 w 4610101"/>
              <a:gd name="connsiteY38719" fmla="*/ 401731 h 6557032"/>
              <a:gd name="connsiteX38720" fmla="*/ 3412932 w 4610101"/>
              <a:gd name="connsiteY38720" fmla="*/ 403552 h 6557032"/>
              <a:gd name="connsiteX38721" fmla="*/ 3416577 w 4610101"/>
              <a:gd name="connsiteY38721" fmla="*/ 410841 h 6557032"/>
              <a:gd name="connsiteX38722" fmla="*/ 3425687 w 4610101"/>
              <a:gd name="connsiteY38722" fmla="*/ 407196 h 6557032"/>
              <a:gd name="connsiteX38723" fmla="*/ 3432976 w 4610101"/>
              <a:gd name="connsiteY38723" fmla="*/ 434530 h 6557032"/>
              <a:gd name="connsiteX38724" fmla="*/ 3423865 w 4610101"/>
              <a:gd name="connsiteY38724" fmla="*/ 439995 h 6557032"/>
              <a:gd name="connsiteX38725" fmla="*/ 3434798 w 4610101"/>
              <a:gd name="connsiteY38725" fmla="*/ 427240 h 6557032"/>
              <a:gd name="connsiteX38726" fmla="*/ 3460309 w 4610101"/>
              <a:gd name="connsiteY38726" fmla="*/ 438174 h 6557032"/>
              <a:gd name="connsiteX38727" fmla="*/ 3458487 w 4610101"/>
              <a:gd name="connsiteY38727" fmla="*/ 443640 h 6557032"/>
              <a:gd name="connsiteX38728" fmla="*/ 3449376 w 4610101"/>
              <a:gd name="connsiteY38728" fmla="*/ 441819 h 6557032"/>
              <a:gd name="connsiteX38729" fmla="*/ 3462131 w 4610101"/>
              <a:gd name="connsiteY38729" fmla="*/ 449107 h 6557032"/>
              <a:gd name="connsiteX38730" fmla="*/ 3460309 w 4610101"/>
              <a:gd name="connsiteY38730" fmla="*/ 454574 h 6557032"/>
              <a:gd name="connsiteX38731" fmla="*/ 3480353 w 4610101"/>
              <a:gd name="connsiteY38731" fmla="*/ 460039 h 6557032"/>
              <a:gd name="connsiteX38732" fmla="*/ 3485819 w 4610101"/>
              <a:gd name="connsiteY38732" fmla="*/ 456395 h 6557032"/>
              <a:gd name="connsiteX38733" fmla="*/ 3480353 w 4610101"/>
              <a:gd name="connsiteY38733" fmla="*/ 423596 h 6557032"/>
              <a:gd name="connsiteX38734" fmla="*/ 3471242 w 4610101"/>
              <a:gd name="connsiteY38734" fmla="*/ 425419 h 6557032"/>
              <a:gd name="connsiteX38735" fmla="*/ 3471242 w 4610101"/>
              <a:gd name="connsiteY38735" fmla="*/ 418129 h 6557032"/>
              <a:gd name="connsiteX38736" fmla="*/ 3440265 w 4610101"/>
              <a:gd name="connsiteY38736" fmla="*/ 390797 h 6557032"/>
              <a:gd name="connsiteX38737" fmla="*/ 3442087 w 4610101"/>
              <a:gd name="connsiteY38737" fmla="*/ 383509 h 6557032"/>
              <a:gd name="connsiteX38738" fmla="*/ 3423865 w 4610101"/>
              <a:gd name="connsiteY38738" fmla="*/ 367109 h 6557032"/>
              <a:gd name="connsiteX38739" fmla="*/ 3232537 w 4610101"/>
              <a:gd name="connsiteY38739" fmla="*/ 367109 h 6557032"/>
              <a:gd name="connsiteX38740" fmla="*/ 3245292 w 4610101"/>
              <a:gd name="connsiteY38740" fmla="*/ 379865 h 6557032"/>
              <a:gd name="connsiteX38741" fmla="*/ 3239826 w 4610101"/>
              <a:gd name="connsiteY38741" fmla="*/ 367109 h 6557032"/>
              <a:gd name="connsiteX38742" fmla="*/ 3232537 w 4610101"/>
              <a:gd name="connsiteY38742" fmla="*/ 367109 h 6557032"/>
              <a:gd name="connsiteX38743" fmla="*/ 2321222 w 4610101"/>
              <a:gd name="connsiteY38743" fmla="*/ 366882 h 6557032"/>
              <a:gd name="connsiteX38744" fmla="*/ 2317806 w 4610101"/>
              <a:gd name="connsiteY38744" fmla="*/ 368932 h 6557032"/>
              <a:gd name="connsiteX38745" fmla="*/ 2317806 w 4610101"/>
              <a:gd name="connsiteY38745" fmla="*/ 370754 h 6557032"/>
              <a:gd name="connsiteX38746" fmla="*/ 2323272 w 4610101"/>
              <a:gd name="connsiteY38746" fmla="*/ 368932 h 6557032"/>
              <a:gd name="connsiteX38747" fmla="*/ 2321222 w 4610101"/>
              <a:gd name="connsiteY38747" fmla="*/ 366882 h 6557032"/>
              <a:gd name="connsiteX38748" fmla="*/ 2441031 w 4610101"/>
              <a:gd name="connsiteY38748" fmla="*/ 366653 h 6557032"/>
              <a:gd name="connsiteX38749" fmla="*/ 2434425 w 4610101"/>
              <a:gd name="connsiteY38749" fmla="*/ 368932 h 6557032"/>
              <a:gd name="connsiteX38750" fmla="*/ 2443536 w 4610101"/>
              <a:gd name="connsiteY38750" fmla="*/ 372576 h 6557032"/>
              <a:gd name="connsiteX38751" fmla="*/ 2441031 w 4610101"/>
              <a:gd name="connsiteY38751" fmla="*/ 366653 h 6557032"/>
              <a:gd name="connsiteX38752" fmla="*/ 3176050 w 4610101"/>
              <a:gd name="connsiteY38752" fmla="*/ 365287 h 6557032"/>
              <a:gd name="connsiteX38753" fmla="*/ 3181516 w 4610101"/>
              <a:gd name="connsiteY38753" fmla="*/ 372576 h 6557032"/>
              <a:gd name="connsiteX38754" fmla="*/ 3176050 w 4610101"/>
              <a:gd name="connsiteY38754" fmla="*/ 365287 h 6557032"/>
              <a:gd name="connsiteX38755" fmla="*/ 2977432 w 4610101"/>
              <a:gd name="connsiteY38755" fmla="*/ 365287 h 6557032"/>
              <a:gd name="connsiteX38756" fmla="*/ 2973788 w 4610101"/>
              <a:gd name="connsiteY38756" fmla="*/ 370754 h 6557032"/>
              <a:gd name="connsiteX38757" fmla="*/ 2979255 w 4610101"/>
              <a:gd name="connsiteY38757" fmla="*/ 370754 h 6557032"/>
              <a:gd name="connsiteX38758" fmla="*/ 2977432 w 4610101"/>
              <a:gd name="connsiteY38758" fmla="*/ 365287 h 6557032"/>
              <a:gd name="connsiteX38759" fmla="*/ 3387422 w 4610101"/>
              <a:gd name="connsiteY38759" fmla="*/ 363465 h 6557032"/>
              <a:gd name="connsiteX38760" fmla="*/ 3376489 w 4610101"/>
              <a:gd name="connsiteY38760" fmla="*/ 372576 h 6557032"/>
              <a:gd name="connsiteX38761" fmla="*/ 3387422 w 4610101"/>
              <a:gd name="connsiteY38761" fmla="*/ 374397 h 6557032"/>
              <a:gd name="connsiteX38762" fmla="*/ 3387422 w 4610101"/>
              <a:gd name="connsiteY38762" fmla="*/ 363465 h 6557032"/>
              <a:gd name="connsiteX38763" fmla="*/ 2509134 w 4610101"/>
              <a:gd name="connsiteY38763" fmla="*/ 363465 h 6557032"/>
              <a:gd name="connsiteX38764" fmla="*/ 2507312 w 4610101"/>
              <a:gd name="connsiteY38764" fmla="*/ 372576 h 6557032"/>
              <a:gd name="connsiteX38765" fmla="*/ 2509134 w 4610101"/>
              <a:gd name="connsiteY38765" fmla="*/ 363465 h 6557032"/>
              <a:gd name="connsiteX38766" fmla="*/ 2385226 w 4610101"/>
              <a:gd name="connsiteY38766" fmla="*/ 363465 h 6557032"/>
              <a:gd name="connsiteX38767" fmla="*/ 2394337 w 4610101"/>
              <a:gd name="connsiteY38767" fmla="*/ 363465 h 6557032"/>
              <a:gd name="connsiteX38768" fmla="*/ 2385226 w 4610101"/>
              <a:gd name="connsiteY38768" fmla="*/ 363465 h 6557032"/>
              <a:gd name="connsiteX38769" fmla="*/ 2161099 w 4610101"/>
              <a:gd name="connsiteY38769" fmla="*/ 363465 h 6557032"/>
              <a:gd name="connsiteX38770" fmla="*/ 2159277 w 4610101"/>
              <a:gd name="connsiteY38770" fmla="*/ 374397 h 6557032"/>
              <a:gd name="connsiteX38771" fmla="*/ 2170210 w 4610101"/>
              <a:gd name="connsiteY38771" fmla="*/ 381687 h 6557032"/>
              <a:gd name="connsiteX38772" fmla="*/ 2172032 w 4610101"/>
              <a:gd name="connsiteY38772" fmla="*/ 376220 h 6557032"/>
              <a:gd name="connsiteX38773" fmla="*/ 2173854 w 4610101"/>
              <a:gd name="connsiteY38773" fmla="*/ 378041 h 6557032"/>
              <a:gd name="connsiteX38774" fmla="*/ 2170210 w 4610101"/>
              <a:gd name="connsiteY38774" fmla="*/ 396264 h 6557032"/>
              <a:gd name="connsiteX38775" fmla="*/ 2168387 w 4610101"/>
              <a:gd name="connsiteY38775" fmla="*/ 394441 h 6557032"/>
              <a:gd name="connsiteX38776" fmla="*/ 2166565 w 4610101"/>
              <a:gd name="connsiteY38776" fmla="*/ 399908 h 6557032"/>
              <a:gd name="connsiteX38777" fmla="*/ 2168387 w 4610101"/>
              <a:gd name="connsiteY38777" fmla="*/ 405375 h 6557032"/>
              <a:gd name="connsiteX38778" fmla="*/ 2170210 w 4610101"/>
              <a:gd name="connsiteY38778" fmla="*/ 405375 h 6557032"/>
              <a:gd name="connsiteX38779" fmla="*/ 2173854 w 4610101"/>
              <a:gd name="connsiteY38779" fmla="*/ 394441 h 6557032"/>
              <a:gd name="connsiteX38780" fmla="*/ 2179320 w 4610101"/>
              <a:gd name="connsiteY38780" fmla="*/ 396264 h 6557032"/>
              <a:gd name="connsiteX38781" fmla="*/ 2179320 w 4610101"/>
              <a:gd name="connsiteY38781" fmla="*/ 367109 h 6557032"/>
              <a:gd name="connsiteX38782" fmla="*/ 2175676 w 4610101"/>
              <a:gd name="connsiteY38782" fmla="*/ 365287 h 6557032"/>
              <a:gd name="connsiteX38783" fmla="*/ 2177498 w 4610101"/>
              <a:gd name="connsiteY38783" fmla="*/ 374397 h 6557032"/>
              <a:gd name="connsiteX38784" fmla="*/ 2170210 w 4610101"/>
              <a:gd name="connsiteY38784" fmla="*/ 365287 h 6557032"/>
              <a:gd name="connsiteX38785" fmla="*/ 2168387 w 4610101"/>
              <a:gd name="connsiteY38785" fmla="*/ 370754 h 6557032"/>
              <a:gd name="connsiteX38786" fmla="*/ 2161099 w 4610101"/>
              <a:gd name="connsiteY38786" fmla="*/ 363465 h 6557032"/>
              <a:gd name="connsiteX38787" fmla="*/ 2379760 w 4610101"/>
              <a:gd name="connsiteY38787" fmla="*/ 361642 h 6557032"/>
              <a:gd name="connsiteX38788" fmla="*/ 2368827 w 4610101"/>
              <a:gd name="connsiteY38788" fmla="*/ 383509 h 6557032"/>
              <a:gd name="connsiteX38789" fmla="*/ 2374293 w 4610101"/>
              <a:gd name="connsiteY38789" fmla="*/ 376220 h 6557032"/>
              <a:gd name="connsiteX38790" fmla="*/ 2376115 w 4610101"/>
              <a:gd name="connsiteY38790" fmla="*/ 379865 h 6557032"/>
              <a:gd name="connsiteX38791" fmla="*/ 2379760 w 4610101"/>
              <a:gd name="connsiteY38791" fmla="*/ 361642 h 6557032"/>
              <a:gd name="connsiteX38792" fmla="*/ 3436621 w 4610101"/>
              <a:gd name="connsiteY38792" fmla="*/ 359821 h 6557032"/>
              <a:gd name="connsiteX38793" fmla="*/ 3440265 w 4610101"/>
              <a:gd name="connsiteY38793" fmla="*/ 370754 h 6557032"/>
              <a:gd name="connsiteX38794" fmla="*/ 3436621 w 4610101"/>
              <a:gd name="connsiteY38794" fmla="*/ 359821 h 6557032"/>
              <a:gd name="connsiteX38795" fmla="*/ 3405643 w 4610101"/>
              <a:gd name="connsiteY38795" fmla="*/ 359821 h 6557032"/>
              <a:gd name="connsiteX38796" fmla="*/ 3405643 w 4610101"/>
              <a:gd name="connsiteY38796" fmla="*/ 378041 h 6557032"/>
              <a:gd name="connsiteX38797" fmla="*/ 3405643 w 4610101"/>
              <a:gd name="connsiteY38797" fmla="*/ 359821 h 6557032"/>
              <a:gd name="connsiteX38798" fmla="*/ 3139606 w 4610101"/>
              <a:gd name="connsiteY38798" fmla="*/ 359821 h 6557032"/>
              <a:gd name="connsiteX38799" fmla="*/ 3134140 w 4610101"/>
              <a:gd name="connsiteY38799" fmla="*/ 361642 h 6557032"/>
              <a:gd name="connsiteX38800" fmla="*/ 3139606 w 4610101"/>
              <a:gd name="connsiteY38800" fmla="*/ 368932 h 6557032"/>
              <a:gd name="connsiteX38801" fmla="*/ 3139606 w 4610101"/>
              <a:gd name="connsiteY38801" fmla="*/ 359821 h 6557032"/>
              <a:gd name="connsiteX38802" fmla="*/ 2443536 w 4610101"/>
              <a:gd name="connsiteY38802" fmla="*/ 359821 h 6557032"/>
              <a:gd name="connsiteX38803" fmla="*/ 2450824 w 4610101"/>
              <a:gd name="connsiteY38803" fmla="*/ 367109 h 6557032"/>
              <a:gd name="connsiteX38804" fmla="*/ 2443536 w 4610101"/>
              <a:gd name="connsiteY38804" fmla="*/ 359821 h 6557032"/>
              <a:gd name="connsiteX38805" fmla="*/ 2157454 w 4610101"/>
              <a:gd name="connsiteY38805" fmla="*/ 357998 h 6557032"/>
              <a:gd name="connsiteX38806" fmla="*/ 2162921 w 4610101"/>
              <a:gd name="connsiteY38806" fmla="*/ 357998 h 6557032"/>
              <a:gd name="connsiteX38807" fmla="*/ 2157454 w 4610101"/>
              <a:gd name="connsiteY38807" fmla="*/ 357998 h 6557032"/>
              <a:gd name="connsiteX38808" fmla="*/ 3050319 w 4610101"/>
              <a:gd name="connsiteY38808" fmla="*/ 356176 h 6557032"/>
              <a:gd name="connsiteX38809" fmla="*/ 3055786 w 4610101"/>
              <a:gd name="connsiteY38809" fmla="*/ 365287 h 6557032"/>
              <a:gd name="connsiteX38810" fmla="*/ 3050319 w 4610101"/>
              <a:gd name="connsiteY38810" fmla="*/ 356176 h 6557032"/>
              <a:gd name="connsiteX38811" fmla="*/ 2458683 w 4610101"/>
              <a:gd name="connsiteY38811" fmla="*/ 355891 h 6557032"/>
              <a:gd name="connsiteX38812" fmla="*/ 2460136 w 4610101"/>
              <a:gd name="connsiteY38812" fmla="*/ 355976 h 6557032"/>
              <a:gd name="connsiteX38813" fmla="*/ 2458113 w 4610101"/>
              <a:gd name="connsiteY38813" fmla="*/ 357998 h 6557032"/>
              <a:gd name="connsiteX38814" fmla="*/ 2458023 w 4610101"/>
              <a:gd name="connsiteY38814" fmla="*/ 356864 h 6557032"/>
              <a:gd name="connsiteX38815" fmla="*/ 3008097 w 4610101"/>
              <a:gd name="connsiteY38815" fmla="*/ 355465 h 6557032"/>
              <a:gd name="connsiteX38816" fmla="*/ 3004765 w 4610101"/>
              <a:gd name="connsiteY38816" fmla="*/ 359821 h 6557032"/>
              <a:gd name="connsiteX38817" fmla="*/ 3010232 w 4610101"/>
              <a:gd name="connsiteY38817" fmla="*/ 363465 h 6557032"/>
              <a:gd name="connsiteX38818" fmla="*/ 3008410 w 4610101"/>
              <a:gd name="connsiteY38818" fmla="*/ 356176 h 6557032"/>
              <a:gd name="connsiteX38819" fmla="*/ 3008097 w 4610101"/>
              <a:gd name="connsiteY38819" fmla="*/ 355465 h 6557032"/>
              <a:gd name="connsiteX38820" fmla="*/ 1069616 w 4610101"/>
              <a:gd name="connsiteY38820" fmla="*/ 354379 h 6557032"/>
              <a:gd name="connsiteX38821" fmla="*/ 1069616 w 4610101"/>
              <a:gd name="connsiteY38821" fmla="*/ 367134 h 6557032"/>
              <a:gd name="connsiteX38822" fmla="*/ 1067794 w 4610101"/>
              <a:gd name="connsiteY38822" fmla="*/ 374422 h 6557032"/>
              <a:gd name="connsiteX38823" fmla="*/ 1069616 w 4610101"/>
              <a:gd name="connsiteY38823" fmla="*/ 354379 h 6557032"/>
              <a:gd name="connsiteX38824" fmla="*/ 2611176 w 4610101"/>
              <a:gd name="connsiteY38824" fmla="*/ 354354 h 6557032"/>
              <a:gd name="connsiteX38825" fmla="*/ 2609353 w 4610101"/>
              <a:gd name="connsiteY38825" fmla="*/ 367109 h 6557032"/>
              <a:gd name="connsiteX38826" fmla="*/ 2603887 w 4610101"/>
              <a:gd name="connsiteY38826" fmla="*/ 367109 h 6557032"/>
              <a:gd name="connsiteX38827" fmla="*/ 2618464 w 4610101"/>
              <a:gd name="connsiteY38827" fmla="*/ 370754 h 6557032"/>
              <a:gd name="connsiteX38828" fmla="*/ 2611176 w 4610101"/>
              <a:gd name="connsiteY38828" fmla="*/ 354354 h 6557032"/>
              <a:gd name="connsiteX38829" fmla="*/ 2274074 w 4610101"/>
              <a:gd name="connsiteY38829" fmla="*/ 354354 h 6557032"/>
              <a:gd name="connsiteX38830" fmla="*/ 2268607 w 4610101"/>
              <a:gd name="connsiteY38830" fmla="*/ 359821 h 6557032"/>
              <a:gd name="connsiteX38831" fmla="*/ 2272251 w 4610101"/>
              <a:gd name="connsiteY38831" fmla="*/ 365287 h 6557032"/>
              <a:gd name="connsiteX38832" fmla="*/ 2274074 w 4610101"/>
              <a:gd name="connsiteY38832" fmla="*/ 363465 h 6557032"/>
              <a:gd name="connsiteX38833" fmla="*/ 2274074 w 4610101"/>
              <a:gd name="connsiteY38833" fmla="*/ 354354 h 6557032"/>
              <a:gd name="connsiteX38834" fmla="*/ 3183338 w 4610101"/>
              <a:gd name="connsiteY38834" fmla="*/ 352532 h 6557032"/>
              <a:gd name="connsiteX38835" fmla="*/ 3188805 w 4610101"/>
              <a:gd name="connsiteY38835" fmla="*/ 363465 h 6557032"/>
              <a:gd name="connsiteX38836" fmla="*/ 3183338 w 4610101"/>
              <a:gd name="connsiteY38836" fmla="*/ 352532 h 6557032"/>
              <a:gd name="connsiteX38837" fmla="*/ 1909639 w 4610101"/>
              <a:gd name="connsiteY38837" fmla="*/ 350728 h 6557032"/>
              <a:gd name="connsiteX38838" fmla="*/ 1914378 w 4610101"/>
              <a:gd name="connsiteY38838" fmla="*/ 360204 h 6557032"/>
              <a:gd name="connsiteX38839" fmla="*/ 1918750 w 4610101"/>
              <a:gd name="connsiteY38839" fmla="*/ 354374 h 6557032"/>
              <a:gd name="connsiteX38840" fmla="*/ 1920571 w 4610101"/>
              <a:gd name="connsiteY38840" fmla="*/ 356196 h 6557032"/>
              <a:gd name="connsiteX38841" fmla="*/ 1915716 w 4610101"/>
              <a:gd name="connsiteY38841" fmla="*/ 359837 h 6557032"/>
              <a:gd name="connsiteX38842" fmla="*/ 1914610 w 4610101"/>
              <a:gd name="connsiteY38842" fmla="*/ 360668 h 6557032"/>
              <a:gd name="connsiteX38843" fmla="*/ 1915105 w 4610101"/>
              <a:gd name="connsiteY38843" fmla="*/ 361661 h 6557032"/>
              <a:gd name="connsiteX38844" fmla="*/ 1925127 w 4610101"/>
              <a:gd name="connsiteY38844" fmla="*/ 367811 h 6557032"/>
              <a:gd name="connsiteX38845" fmla="*/ 1929682 w 4610101"/>
              <a:gd name="connsiteY38845" fmla="*/ 378060 h 6557032"/>
              <a:gd name="connsiteX38846" fmla="*/ 1929682 w 4610101"/>
              <a:gd name="connsiteY38846" fmla="*/ 378059 h 6557032"/>
              <a:gd name="connsiteX38847" fmla="*/ 1935149 w 4610101"/>
              <a:gd name="connsiteY38847" fmla="*/ 376237 h 6557032"/>
              <a:gd name="connsiteX38848" fmla="*/ 1935149 w 4610101"/>
              <a:gd name="connsiteY38848" fmla="*/ 378059 h 6557032"/>
              <a:gd name="connsiteX38849" fmla="*/ 1929682 w 4610101"/>
              <a:gd name="connsiteY38849" fmla="*/ 379882 h 6557032"/>
              <a:gd name="connsiteX38850" fmla="*/ 1929682 w 4610101"/>
              <a:gd name="connsiteY38850" fmla="*/ 378061 h 6557032"/>
              <a:gd name="connsiteX38851" fmla="*/ 1916927 w 4610101"/>
              <a:gd name="connsiteY38851" fmla="*/ 370772 h 6557032"/>
              <a:gd name="connsiteX38852" fmla="*/ 1909639 w 4610101"/>
              <a:gd name="connsiteY38852" fmla="*/ 350728 h 6557032"/>
              <a:gd name="connsiteX38853" fmla="*/ 2550890 w 4610101"/>
              <a:gd name="connsiteY38853" fmla="*/ 348651 h 6557032"/>
              <a:gd name="connsiteX38854" fmla="*/ 2551011 w 4610101"/>
              <a:gd name="connsiteY38854" fmla="*/ 348678 h 6557032"/>
              <a:gd name="connsiteX38855" fmla="*/ 2551044 w 4610101"/>
              <a:gd name="connsiteY38855" fmla="*/ 348888 h 6557032"/>
              <a:gd name="connsiteX38856" fmla="*/ 1918750 w 4610101"/>
              <a:gd name="connsiteY38856" fmla="*/ 347085 h 6557032"/>
              <a:gd name="connsiteX38857" fmla="*/ 1920571 w 4610101"/>
              <a:gd name="connsiteY38857" fmla="*/ 348907 h 6557032"/>
              <a:gd name="connsiteX38858" fmla="*/ 1909639 w 4610101"/>
              <a:gd name="connsiteY38858" fmla="*/ 348907 h 6557032"/>
              <a:gd name="connsiteX38859" fmla="*/ 1918750 w 4610101"/>
              <a:gd name="connsiteY38859" fmla="*/ 347085 h 6557032"/>
              <a:gd name="connsiteX38860" fmla="*/ 530253 w 4610101"/>
              <a:gd name="connsiteY38860" fmla="*/ 347066 h 6557032"/>
              <a:gd name="connsiteX38861" fmla="*/ 546425 w 4610101"/>
              <a:gd name="connsiteY38861" fmla="*/ 416536 h 6557032"/>
              <a:gd name="connsiteX38862" fmla="*/ 544553 w 4610101"/>
              <a:gd name="connsiteY38862" fmla="*/ 435318 h 6557032"/>
              <a:gd name="connsiteX38863" fmla="*/ 540275 w 4610101"/>
              <a:gd name="connsiteY38863" fmla="*/ 391253 h 6557032"/>
              <a:gd name="connsiteX38864" fmla="*/ 530253 w 4610101"/>
              <a:gd name="connsiteY38864" fmla="*/ 347066 h 6557032"/>
              <a:gd name="connsiteX38865" fmla="*/ 3197916 w 4610101"/>
              <a:gd name="connsiteY38865" fmla="*/ 345242 h 6557032"/>
              <a:gd name="connsiteX38866" fmla="*/ 3197916 w 4610101"/>
              <a:gd name="connsiteY38866" fmla="*/ 352532 h 6557032"/>
              <a:gd name="connsiteX38867" fmla="*/ 3201560 w 4610101"/>
              <a:gd name="connsiteY38867" fmla="*/ 354354 h 6557032"/>
              <a:gd name="connsiteX38868" fmla="*/ 3197916 w 4610101"/>
              <a:gd name="connsiteY38868" fmla="*/ 345242 h 6557032"/>
              <a:gd name="connsiteX38869" fmla="*/ 2405270 w 4610101"/>
              <a:gd name="connsiteY38869" fmla="*/ 345242 h 6557032"/>
              <a:gd name="connsiteX38870" fmla="*/ 2397981 w 4610101"/>
              <a:gd name="connsiteY38870" fmla="*/ 354354 h 6557032"/>
              <a:gd name="connsiteX38871" fmla="*/ 2403448 w 4610101"/>
              <a:gd name="connsiteY38871" fmla="*/ 361642 h 6557032"/>
              <a:gd name="connsiteX38872" fmla="*/ 2405270 w 4610101"/>
              <a:gd name="connsiteY38872" fmla="*/ 345242 h 6557032"/>
              <a:gd name="connsiteX38873" fmla="*/ 2996793 w 4610101"/>
              <a:gd name="connsiteY38873" fmla="*/ 344787 h 6557032"/>
              <a:gd name="connsiteX38874" fmla="*/ 2993832 w 4610101"/>
              <a:gd name="connsiteY38874" fmla="*/ 347066 h 6557032"/>
              <a:gd name="connsiteX38875" fmla="*/ 3001121 w 4610101"/>
              <a:gd name="connsiteY38875" fmla="*/ 345242 h 6557032"/>
              <a:gd name="connsiteX38876" fmla="*/ 2996793 w 4610101"/>
              <a:gd name="connsiteY38876" fmla="*/ 344787 h 6557032"/>
              <a:gd name="connsiteX38877" fmla="*/ 3389244 w 4610101"/>
              <a:gd name="connsiteY38877" fmla="*/ 343421 h 6557032"/>
              <a:gd name="connsiteX38878" fmla="*/ 3381955 w 4610101"/>
              <a:gd name="connsiteY38878" fmla="*/ 359821 h 6557032"/>
              <a:gd name="connsiteX38879" fmla="*/ 3392888 w 4610101"/>
              <a:gd name="connsiteY38879" fmla="*/ 359821 h 6557032"/>
              <a:gd name="connsiteX38880" fmla="*/ 3398355 w 4610101"/>
              <a:gd name="connsiteY38880" fmla="*/ 345242 h 6557032"/>
              <a:gd name="connsiteX38881" fmla="*/ 3389244 w 4610101"/>
              <a:gd name="connsiteY38881" fmla="*/ 343421 h 6557032"/>
              <a:gd name="connsiteX38882" fmla="*/ 3097696 w 4610101"/>
              <a:gd name="connsiteY38882" fmla="*/ 343421 h 6557032"/>
              <a:gd name="connsiteX38883" fmla="*/ 3097696 w 4610101"/>
              <a:gd name="connsiteY38883" fmla="*/ 348888 h 6557032"/>
              <a:gd name="connsiteX38884" fmla="*/ 3103163 w 4610101"/>
              <a:gd name="connsiteY38884" fmla="*/ 348888 h 6557032"/>
              <a:gd name="connsiteX38885" fmla="*/ 3097696 w 4610101"/>
              <a:gd name="connsiteY38885" fmla="*/ 343421 h 6557032"/>
              <a:gd name="connsiteX38886" fmla="*/ 2425314 w 4610101"/>
              <a:gd name="connsiteY38886" fmla="*/ 343421 h 6557032"/>
              <a:gd name="connsiteX38887" fmla="*/ 2425314 w 4610101"/>
              <a:gd name="connsiteY38887" fmla="*/ 365287 h 6557032"/>
              <a:gd name="connsiteX38888" fmla="*/ 2427136 w 4610101"/>
              <a:gd name="connsiteY38888" fmla="*/ 356176 h 6557032"/>
              <a:gd name="connsiteX38889" fmla="*/ 2432603 w 4610101"/>
              <a:gd name="connsiteY38889" fmla="*/ 357998 h 6557032"/>
              <a:gd name="connsiteX38890" fmla="*/ 2434425 w 4610101"/>
              <a:gd name="connsiteY38890" fmla="*/ 345242 h 6557032"/>
              <a:gd name="connsiteX38891" fmla="*/ 2425314 w 4610101"/>
              <a:gd name="connsiteY38891" fmla="*/ 343421 h 6557032"/>
              <a:gd name="connsiteX38892" fmla="*/ 2008036 w 4610101"/>
              <a:gd name="connsiteY38892" fmla="*/ 343421 h 6557032"/>
              <a:gd name="connsiteX38893" fmla="*/ 2020680 w 4610101"/>
              <a:gd name="connsiteY38893" fmla="*/ 356064 h 6557032"/>
              <a:gd name="connsiteX38894" fmla="*/ 2018969 w 4610101"/>
              <a:gd name="connsiteY38894" fmla="*/ 356176 h 6557032"/>
              <a:gd name="connsiteX38895" fmla="*/ 2007445 w 4610101"/>
              <a:gd name="connsiteY38895" fmla="*/ 345932 h 6557032"/>
              <a:gd name="connsiteX38896" fmla="*/ 3068541 w 4610101"/>
              <a:gd name="connsiteY38896" fmla="*/ 341598 h 6557032"/>
              <a:gd name="connsiteX38897" fmla="*/ 3074008 w 4610101"/>
              <a:gd name="connsiteY38897" fmla="*/ 352532 h 6557032"/>
              <a:gd name="connsiteX38898" fmla="*/ 3074008 w 4610101"/>
              <a:gd name="connsiteY38898" fmla="*/ 345242 h 6557032"/>
              <a:gd name="connsiteX38899" fmla="*/ 3068541 w 4610101"/>
              <a:gd name="connsiteY38899" fmla="*/ 341598 h 6557032"/>
              <a:gd name="connsiteX38900" fmla="*/ 1745643 w 4610101"/>
              <a:gd name="connsiteY38900" fmla="*/ 341598 h 6557032"/>
              <a:gd name="connsiteX38901" fmla="*/ 1762043 w 4610101"/>
              <a:gd name="connsiteY38901" fmla="*/ 356176 h 6557032"/>
              <a:gd name="connsiteX38902" fmla="*/ 1783909 w 4610101"/>
              <a:gd name="connsiteY38902" fmla="*/ 361642 h 6557032"/>
              <a:gd name="connsiteX38903" fmla="*/ 1798487 w 4610101"/>
              <a:gd name="connsiteY38903" fmla="*/ 357998 h 6557032"/>
              <a:gd name="connsiteX38904" fmla="*/ 1845864 w 4610101"/>
              <a:gd name="connsiteY38904" fmla="*/ 409019 h 6557032"/>
              <a:gd name="connsiteX38905" fmla="*/ 1865906 w 4610101"/>
              <a:gd name="connsiteY38905" fmla="*/ 441819 h 6557032"/>
              <a:gd name="connsiteX38906" fmla="*/ 1887773 w 4610101"/>
              <a:gd name="connsiteY38906" fmla="*/ 463684 h 6557032"/>
              <a:gd name="connsiteX38907" fmla="*/ 1884128 w 4610101"/>
              <a:gd name="connsiteY38907" fmla="*/ 547504 h 6557032"/>
              <a:gd name="connsiteX38908" fmla="*/ 1887773 w 4610101"/>
              <a:gd name="connsiteY38908" fmla="*/ 545681 h 6557032"/>
              <a:gd name="connsiteX38909" fmla="*/ 1895061 w 4610101"/>
              <a:gd name="connsiteY38909" fmla="*/ 551148 h 6557032"/>
              <a:gd name="connsiteX38910" fmla="*/ 1922394 w 4610101"/>
              <a:gd name="connsiteY38910" fmla="*/ 543860 h 6557032"/>
              <a:gd name="connsiteX38911" fmla="*/ 1957015 w 4610101"/>
              <a:gd name="connsiteY38911" fmla="*/ 514705 h 6557032"/>
              <a:gd name="connsiteX38912" fmla="*/ 1958837 w 4610101"/>
              <a:gd name="connsiteY38912" fmla="*/ 520171 h 6557032"/>
              <a:gd name="connsiteX38913" fmla="*/ 1961372 w 4610101"/>
              <a:gd name="connsiteY38913" fmla="*/ 518482 h 6557032"/>
              <a:gd name="connsiteX38914" fmla="*/ 1956559 w 4610101"/>
              <a:gd name="connsiteY38914" fmla="*/ 529994 h 6557032"/>
              <a:gd name="connsiteX38915" fmla="*/ 1960659 w 4610101"/>
              <a:gd name="connsiteY38915" fmla="*/ 551148 h 6557032"/>
              <a:gd name="connsiteX38916" fmla="*/ 1947904 w 4610101"/>
              <a:gd name="connsiteY38916" fmla="*/ 536571 h 6557032"/>
              <a:gd name="connsiteX38917" fmla="*/ 1949726 w 4610101"/>
              <a:gd name="connsiteY38917" fmla="*/ 560260 h 6557032"/>
              <a:gd name="connsiteX38918" fmla="*/ 1951549 w 4610101"/>
              <a:gd name="connsiteY38918" fmla="*/ 552970 h 6557032"/>
              <a:gd name="connsiteX38919" fmla="*/ 1949726 w 4610101"/>
              <a:gd name="connsiteY38919" fmla="*/ 574836 h 6557032"/>
              <a:gd name="connsiteX38920" fmla="*/ 1942438 w 4610101"/>
              <a:gd name="connsiteY38920" fmla="*/ 567548 h 6557032"/>
              <a:gd name="connsiteX38921" fmla="*/ 1940616 w 4610101"/>
              <a:gd name="connsiteY38921" fmla="*/ 545681 h 6557032"/>
              <a:gd name="connsiteX38922" fmla="*/ 1940616 w 4610101"/>
              <a:gd name="connsiteY38922" fmla="*/ 558437 h 6557032"/>
              <a:gd name="connsiteX38923" fmla="*/ 1933327 w 4610101"/>
              <a:gd name="connsiteY38923" fmla="*/ 552970 h 6557032"/>
              <a:gd name="connsiteX38924" fmla="*/ 1895061 w 4610101"/>
              <a:gd name="connsiteY38924" fmla="*/ 582125 h 6557032"/>
              <a:gd name="connsiteX38925" fmla="*/ 1882306 w 4610101"/>
              <a:gd name="connsiteY38925" fmla="*/ 576658 h 6557032"/>
              <a:gd name="connsiteX38926" fmla="*/ 1884128 w 4610101"/>
              <a:gd name="connsiteY38926" fmla="*/ 583947 h 6557032"/>
              <a:gd name="connsiteX38927" fmla="*/ 1875017 w 4610101"/>
              <a:gd name="connsiteY38927" fmla="*/ 582125 h 6557032"/>
              <a:gd name="connsiteX38928" fmla="*/ 1873195 w 4610101"/>
              <a:gd name="connsiteY38928" fmla="*/ 593058 h 6557032"/>
              <a:gd name="connsiteX38929" fmla="*/ 1880484 w 4610101"/>
              <a:gd name="connsiteY38929" fmla="*/ 569370 h 6557032"/>
              <a:gd name="connsiteX38930" fmla="*/ 1887773 w 4610101"/>
              <a:gd name="connsiteY38930" fmla="*/ 571192 h 6557032"/>
              <a:gd name="connsiteX38931" fmla="*/ 1885950 w 4610101"/>
              <a:gd name="connsiteY38931" fmla="*/ 563904 h 6557032"/>
              <a:gd name="connsiteX38932" fmla="*/ 1871373 w 4610101"/>
              <a:gd name="connsiteY38932" fmla="*/ 563904 h 6557032"/>
              <a:gd name="connsiteX38933" fmla="*/ 1871373 w 4610101"/>
              <a:gd name="connsiteY38933" fmla="*/ 565725 h 6557032"/>
              <a:gd name="connsiteX38934" fmla="*/ 1862262 w 4610101"/>
              <a:gd name="connsiteY38934" fmla="*/ 573014 h 6557032"/>
              <a:gd name="connsiteX38935" fmla="*/ 1862262 w 4610101"/>
              <a:gd name="connsiteY38935" fmla="*/ 576658 h 6557032"/>
              <a:gd name="connsiteX38936" fmla="*/ 1860440 w 4610101"/>
              <a:gd name="connsiteY38936" fmla="*/ 574836 h 6557032"/>
              <a:gd name="connsiteX38937" fmla="*/ 1860440 w 4610101"/>
              <a:gd name="connsiteY38937" fmla="*/ 596702 h 6557032"/>
              <a:gd name="connsiteX38938" fmla="*/ 1838574 w 4610101"/>
              <a:gd name="connsiteY38938" fmla="*/ 613103 h 6557032"/>
              <a:gd name="connsiteX38939" fmla="*/ 1845864 w 4610101"/>
              <a:gd name="connsiteY38939" fmla="*/ 625857 h 6557032"/>
              <a:gd name="connsiteX38940" fmla="*/ 1822174 w 4610101"/>
              <a:gd name="connsiteY38940" fmla="*/ 625857 h 6557032"/>
              <a:gd name="connsiteX38941" fmla="*/ 1829463 w 4610101"/>
              <a:gd name="connsiteY38941" fmla="*/ 640435 h 6557032"/>
              <a:gd name="connsiteX38942" fmla="*/ 1796664 w 4610101"/>
              <a:gd name="connsiteY38942" fmla="*/ 669589 h 6557032"/>
              <a:gd name="connsiteX38943" fmla="*/ 1783909 w 4610101"/>
              <a:gd name="connsiteY38943" fmla="*/ 662301 h 6557032"/>
              <a:gd name="connsiteX38944" fmla="*/ 1774798 w 4610101"/>
              <a:gd name="connsiteY38944" fmla="*/ 676878 h 6557032"/>
              <a:gd name="connsiteX38945" fmla="*/ 1752932 w 4610101"/>
              <a:gd name="connsiteY38945" fmla="*/ 676878 h 6557032"/>
              <a:gd name="connsiteX38946" fmla="*/ 1738354 w 4610101"/>
              <a:gd name="connsiteY38946" fmla="*/ 669589 h 6557032"/>
              <a:gd name="connsiteX38947" fmla="*/ 1723777 w 4610101"/>
              <a:gd name="connsiteY38947" fmla="*/ 669589 h 6557032"/>
              <a:gd name="connsiteX38948" fmla="*/ 1709200 w 4610101"/>
              <a:gd name="connsiteY38948" fmla="*/ 676878 h 6557032"/>
              <a:gd name="connsiteX38949" fmla="*/ 1694622 w 4610101"/>
              <a:gd name="connsiteY38949" fmla="*/ 667767 h 6557032"/>
              <a:gd name="connsiteX38950" fmla="*/ 1680046 w 4610101"/>
              <a:gd name="connsiteY38950" fmla="*/ 667767 h 6557032"/>
              <a:gd name="connsiteX38951" fmla="*/ 1658179 w 4610101"/>
              <a:gd name="connsiteY38951" fmla="*/ 667767 h 6557032"/>
              <a:gd name="connsiteX38952" fmla="*/ 1567070 w 4610101"/>
              <a:gd name="connsiteY38952" fmla="*/ 593058 h 6557032"/>
              <a:gd name="connsiteX38953" fmla="*/ 1574359 w 4610101"/>
              <a:gd name="connsiteY38953" fmla="*/ 576658 h 6557032"/>
              <a:gd name="connsiteX38954" fmla="*/ 1554315 w 4610101"/>
              <a:gd name="connsiteY38954" fmla="*/ 529282 h 6557032"/>
              <a:gd name="connsiteX38955" fmla="*/ 1550670 w 4610101"/>
              <a:gd name="connsiteY38955" fmla="*/ 507417 h 6557032"/>
              <a:gd name="connsiteX38956" fmla="*/ 1557959 w 4610101"/>
              <a:gd name="connsiteY38956" fmla="*/ 492838 h 6557032"/>
              <a:gd name="connsiteX38957" fmla="*/ 1557959 w 4610101"/>
              <a:gd name="connsiteY38957" fmla="*/ 485550 h 6557032"/>
              <a:gd name="connsiteX38958" fmla="*/ 1543382 w 4610101"/>
              <a:gd name="connsiteY38958" fmla="*/ 454574 h 6557032"/>
              <a:gd name="connsiteX38959" fmla="*/ 1521516 w 4610101"/>
              <a:gd name="connsiteY38959" fmla="*/ 447284 h 6557032"/>
              <a:gd name="connsiteX38960" fmla="*/ 1567070 w 4610101"/>
              <a:gd name="connsiteY38960" fmla="*/ 425419 h 6557032"/>
              <a:gd name="connsiteX38961" fmla="*/ 1567070 w 4610101"/>
              <a:gd name="connsiteY38961" fmla="*/ 418129 h 6557032"/>
              <a:gd name="connsiteX38962" fmla="*/ 1567070 w 4610101"/>
              <a:gd name="connsiteY38962" fmla="*/ 403552 h 6557032"/>
              <a:gd name="connsiteX38963" fmla="*/ 1585292 w 4610101"/>
              <a:gd name="connsiteY38963" fmla="*/ 390797 h 6557032"/>
              <a:gd name="connsiteX38964" fmla="*/ 1605336 w 4610101"/>
              <a:gd name="connsiteY38964" fmla="*/ 405375 h 6557032"/>
              <a:gd name="connsiteX38965" fmla="*/ 1645423 w 4610101"/>
              <a:gd name="connsiteY38965" fmla="*/ 359821 h 6557032"/>
              <a:gd name="connsiteX38966" fmla="*/ 1658179 w 4610101"/>
              <a:gd name="connsiteY38966" fmla="*/ 367109 h 6557032"/>
              <a:gd name="connsiteX38967" fmla="*/ 1705555 w 4610101"/>
              <a:gd name="connsiteY38967" fmla="*/ 345242 h 6557032"/>
              <a:gd name="connsiteX38968" fmla="*/ 1718310 w 4610101"/>
              <a:gd name="connsiteY38968" fmla="*/ 350710 h 6557032"/>
              <a:gd name="connsiteX38969" fmla="*/ 3043031 w 4610101"/>
              <a:gd name="connsiteY38969" fmla="*/ 339777 h 6557032"/>
              <a:gd name="connsiteX38970" fmla="*/ 3039387 w 4610101"/>
              <a:gd name="connsiteY38970" fmla="*/ 348888 h 6557032"/>
              <a:gd name="connsiteX38971" fmla="*/ 3043031 w 4610101"/>
              <a:gd name="connsiteY38971" fmla="*/ 339777 h 6557032"/>
              <a:gd name="connsiteX38972" fmla="*/ 3084941 w 4610101"/>
              <a:gd name="connsiteY38972" fmla="*/ 337954 h 6557032"/>
              <a:gd name="connsiteX38973" fmla="*/ 3088585 w 4610101"/>
              <a:gd name="connsiteY38973" fmla="*/ 343421 h 6557032"/>
              <a:gd name="connsiteX38974" fmla="*/ 3084941 w 4610101"/>
              <a:gd name="connsiteY38974" fmla="*/ 337954 h 6557032"/>
              <a:gd name="connsiteX38975" fmla="*/ 2979255 w 4610101"/>
              <a:gd name="connsiteY38975" fmla="*/ 337954 h 6557032"/>
              <a:gd name="connsiteX38976" fmla="*/ 2982899 w 4610101"/>
              <a:gd name="connsiteY38976" fmla="*/ 347066 h 6557032"/>
              <a:gd name="connsiteX38977" fmla="*/ 2979255 w 4610101"/>
              <a:gd name="connsiteY38977" fmla="*/ 337954 h 6557032"/>
              <a:gd name="connsiteX38978" fmla="*/ 3435659 w 4610101"/>
              <a:gd name="connsiteY38978" fmla="*/ 337070 h 6557032"/>
              <a:gd name="connsiteX38979" fmla="*/ 3435938 w 4610101"/>
              <a:gd name="connsiteY38979" fmla="*/ 337271 h 6557032"/>
              <a:gd name="connsiteX38980" fmla="*/ 3436621 w 4610101"/>
              <a:gd name="connsiteY38980" fmla="*/ 338949 h 6557032"/>
              <a:gd name="connsiteX38981" fmla="*/ 3436621 w 4610101"/>
              <a:gd name="connsiteY38981" fmla="*/ 339777 h 6557032"/>
              <a:gd name="connsiteX38982" fmla="*/ 3383777 w 4610101"/>
              <a:gd name="connsiteY38982" fmla="*/ 336133 h 6557032"/>
              <a:gd name="connsiteX38983" fmla="*/ 3381955 w 4610101"/>
              <a:gd name="connsiteY38983" fmla="*/ 343421 h 6557032"/>
              <a:gd name="connsiteX38984" fmla="*/ 3385600 w 4610101"/>
              <a:gd name="connsiteY38984" fmla="*/ 341598 h 6557032"/>
              <a:gd name="connsiteX38985" fmla="*/ 3383777 w 4610101"/>
              <a:gd name="connsiteY38985" fmla="*/ 336133 h 6557032"/>
              <a:gd name="connsiteX38986" fmla="*/ 3168761 w 4610101"/>
              <a:gd name="connsiteY38986" fmla="*/ 336133 h 6557032"/>
              <a:gd name="connsiteX38987" fmla="*/ 3177872 w 4610101"/>
              <a:gd name="connsiteY38987" fmla="*/ 339777 h 6557032"/>
              <a:gd name="connsiteX38988" fmla="*/ 3168761 w 4610101"/>
              <a:gd name="connsiteY38988" fmla="*/ 336133 h 6557032"/>
              <a:gd name="connsiteX38989" fmla="*/ 2361538 w 4610101"/>
              <a:gd name="connsiteY38989" fmla="*/ 334310 h 6557032"/>
              <a:gd name="connsiteX38990" fmla="*/ 2356071 w 4610101"/>
              <a:gd name="connsiteY38990" fmla="*/ 339777 h 6557032"/>
              <a:gd name="connsiteX38991" fmla="*/ 2359716 w 4610101"/>
              <a:gd name="connsiteY38991" fmla="*/ 337954 h 6557032"/>
              <a:gd name="connsiteX38992" fmla="*/ 2359716 w 4610101"/>
              <a:gd name="connsiteY38992" fmla="*/ 345242 h 6557032"/>
              <a:gd name="connsiteX38993" fmla="*/ 2361538 w 4610101"/>
              <a:gd name="connsiteY38993" fmla="*/ 334310 h 6557032"/>
              <a:gd name="connsiteX38994" fmla="*/ 3330934 w 4610101"/>
              <a:gd name="connsiteY38994" fmla="*/ 332488 h 6557032"/>
              <a:gd name="connsiteX38995" fmla="*/ 3332756 w 4610101"/>
              <a:gd name="connsiteY38995" fmla="*/ 352532 h 6557032"/>
              <a:gd name="connsiteX38996" fmla="*/ 3336401 w 4610101"/>
              <a:gd name="connsiteY38996" fmla="*/ 343421 h 6557032"/>
              <a:gd name="connsiteX38997" fmla="*/ 3330934 w 4610101"/>
              <a:gd name="connsiteY38997" fmla="*/ 332488 h 6557032"/>
              <a:gd name="connsiteX38998" fmla="*/ 2544122 w 4610101"/>
              <a:gd name="connsiteY38998" fmla="*/ 330784 h 6557032"/>
              <a:gd name="connsiteX38999" fmla="*/ 2544666 w 4610101"/>
              <a:gd name="connsiteY38999" fmla="*/ 339093 h 6557032"/>
              <a:gd name="connsiteX39000" fmla="*/ 2550890 w 4610101"/>
              <a:gd name="connsiteY39000" fmla="*/ 348651 h 6557032"/>
              <a:gd name="connsiteX39001" fmla="*/ 2543755 w 4610101"/>
              <a:gd name="connsiteY39001" fmla="*/ 347066 h 6557032"/>
              <a:gd name="connsiteX39002" fmla="*/ 3349156 w 4610101"/>
              <a:gd name="connsiteY39002" fmla="*/ 330666 h 6557032"/>
              <a:gd name="connsiteX39003" fmla="*/ 3338223 w 4610101"/>
              <a:gd name="connsiteY39003" fmla="*/ 356176 h 6557032"/>
              <a:gd name="connsiteX39004" fmla="*/ 3347334 w 4610101"/>
              <a:gd name="connsiteY39004" fmla="*/ 361642 h 6557032"/>
              <a:gd name="connsiteX39005" fmla="*/ 3347334 w 4610101"/>
              <a:gd name="connsiteY39005" fmla="*/ 356176 h 6557032"/>
              <a:gd name="connsiteX39006" fmla="*/ 3365556 w 4610101"/>
              <a:gd name="connsiteY39006" fmla="*/ 370754 h 6557032"/>
              <a:gd name="connsiteX39007" fmla="*/ 3360089 w 4610101"/>
              <a:gd name="connsiteY39007" fmla="*/ 332488 h 6557032"/>
              <a:gd name="connsiteX39008" fmla="*/ 3365556 w 4610101"/>
              <a:gd name="connsiteY39008" fmla="*/ 352532 h 6557032"/>
              <a:gd name="connsiteX39009" fmla="*/ 3356445 w 4610101"/>
              <a:gd name="connsiteY39009" fmla="*/ 343421 h 6557032"/>
              <a:gd name="connsiteX39010" fmla="*/ 3347334 w 4610101"/>
              <a:gd name="connsiteY39010" fmla="*/ 347066 h 6557032"/>
              <a:gd name="connsiteX39011" fmla="*/ 3349156 w 4610101"/>
              <a:gd name="connsiteY39011" fmla="*/ 330666 h 6557032"/>
              <a:gd name="connsiteX39012" fmla="*/ 1987992 w 4610101"/>
              <a:gd name="connsiteY39012" fmla="*/ 330666 h 6557032"/>
              <a:gd name="connsiteX39013" fmla="*/ 1997103 w 4610101"/>
              <a:gd name="connsiteY39013" fmla="*/ 336133 h 6557032"/>
              <a:gd name="connsiteX39014" fmla="*/ 1995281 w 4610101"/>
              <a:gd name="connsiteY39014" fmla="*/ 332488 h 6557032"/>
              <a:gd name="connsiteX39015" fmla="*/ 2002570 w 4610101"/>
              <a:gd name="connsiteY39015" fmla="*/ 332488 h 6557032"/>
              <a:gd name="connsiteX39016" fmla="*/ 2002570 w 4610101"/>
              <a:gd name="connsiteY39016" fmla="*/ 341598 h 6557032"/>
              <a:gd name="connsiteX39017" fmla="*/ 2007445 w 4610101"/>
              <a:gd name="connsiteY39017" fmla="*/ 345932 h 6557032"/>
              <a:gd name="connsiteX39018" fmla="*/ 2007125 w 4610101"/>
              <a:gd name="connsiteY39018" fmla="*/ 347293 h 6557032"/>
              <a:gd name="connsiteX39019" fmla="*/ 2006214 w 4610101"/>
              <a:gd name="connsiteY39019" fmla="*/ 352532 h 6557032"/>
              <a:gd name="connsiteX39020" fmla="*/ 1998925 w 4610101"/>
              <a:gd name="connsiteY39020" fmla="*/ 337954 h 6557032"/>
              <a:gd name="connsiteX39021" fmla="*/ 1989814 w 4610101"/>
              <a:gd name="connsiteY39021" fmla="*/ 332488 h 6557032"/>
              <a:gd name="connsiteX39022" fmla="*/ 1989814 w 4610101"/>
              <a:gd name="connsiteY39022" fmla="*/ 343421 h 6557032"/>
              <a:gd name="connsiteX39023" fmla="*/ 1987992 w 4610101"/>
              <a:gd name="connsiteY39023" fmla="*/ 330666 h 6557032"/>
              <a:gd name="connsiteX39024" fmla="*/ 3301780 w 4610101"/>
              <a:gd name="connsiteY39024" fmla="*/ 328844 h 6557032"/>
              <a:gd name="connsiteX39025" fmla="*/ 3305424 w 4610101"/>
              <a:gd name="connsiteY39025" fmla="*/ 336133 h 6557032"/>
              <a:gd name="connsiteX39026" fmla="*/ 3301780 w 4610101"/>
              <a:gd name="connsiteY39026" fmla="*/ 328844 h 6557032"/>
              <a:gd name="connsiteX39027" fmla="*/ 2365182 w 4610101"/>
              <a:gd name="connsiteY39027" fmla="*/ 328844 h 6557032"/>
              <a:gd name="connsiteX39028" fmla="*/ 2366631 w 4610101"/>
              <a:gd name="connsiteY39028" fmla="*/ 333190 h 6557032"/>
              <a:gd name="connsiteX39029" fmla="*/ 2363198 w 4610101"/>
              <a:gd name="connsiteY39029" fmla="*/ 333630 h 6557032"/>
              <a:gd name="connsiteX39030" fmla="*/ 3265336 w 4610101"/>
              <a:gd name="connsiteY39030" fmla="*/ 327022 h 6557032"/>
              <a:gd name="connsiteX39031" fmla="*/ 3261692 w 4610101"/>
              <a:gd name="connsiteY39031" fmla="*/ 343421 h 6557032"/>
              <a:gd name="connsiteX39032" fmla="*/ 3270803 w 4610101"/>
              <a:gd name="connsiteY39032" fmla="*/ 330666 h 6557032"/>
              <a:gd name="connsiteX39033" fmla="*/ 3265336 w 4610101"/>
              <a:gd name="connsiteY39033" fmla="*/ 327022 h 6557032"/>
              <a:gd name="connsiteX39034" fmla="*/ 3106807 w 4610101"/>
              <a:gd name="connsiteY39034" fmla="*/ 327022 h 6557032"/>
              <a:gd name="connsiteX39035" fmla="*/ 3104985 w 4610101"/>
              <a:gd name="connsiteY39035" fmla="*/ 332488 h 6557032"/>
              <a:gd name="connsiteX39036" fmla="*/ 3110451 w 4610101"/>
              <a:gd name="connsiteY39036" fmla="*/ 334310 h 6557032"/>
              <a:gd name="connsiteX39037" fmla="*/ 3106807 w 4610101"/>
              <a:gd name="connsiteY39037" fmla="*/ 327022 h 6557032"/>
              <a:gd name="connsiteX39038" fmla="*/ 2321450 w 4610101"/>
              <a:gd name="connsiteY39038" fmla="*/ 327022 h 6557032"/>
              <a:gd name="connsiteX39039" fmla="*/ 2301406 w 4610101"/>
              <a:gd name="connsiteY39039" fmla="*/ 347066 h 6557032"/>
              <a:gd name="connsiteX39040" fmla="*/ 2301406 w 4610101"/>
              <a:gd name="connsiteY39040" fmla="*/ 339777 h 6557032"/>
              <a:gd name="connsiteX39041" fmla="*/ 2292295 w 4610101"/>
              <a:gd name="connsiteY39041" fmla="*/ 347066 h 6557032"/>
              <a:gd name="connsiteX39042" fmla="*/ 2290473 w 4610101"/>
              <a:gd name="connsiteY39042" fmla="*/ 339777 h 6557032"/>
              <a:gd name="connsiteX39043" fmla="*/ 2283184 w 4610101"/>
              <a:gd name="connsiteY39043" fmla="*/ 359821 h 6557032"/>
              <a:gd name="connsiteX39044" fmla="*/ 2290473 w 4610101"/>
              <a:gd name="connsiteY39044" fmla="*/ 359821 h 6557032"/>
              <a:gd name="connsiteX39045" fmla="*/ 2297762 w 4610101"/>
              <a:gd name="connsiteY39045" fmla="*/ 359821 h 6557032"/>
              <a:gd name="connsiteX39046" fmla="*/ 2303228 w 4610101"/>
              <a:gd name="connsiteY39046" fmla="*/ 345242 h 6557032"/>
              <a:gd name="connsiteX39047" fmla="*/ 2306873 w 4610101"/>
              <a:gd name="connsiteY39047" fmla="*/ 352532 h 6557032"/>
              <a:gd name="connsiteX39048" fmla="*/ 2306873 w 4610101"/>
              <a:gd name="connsiteY39048" fmla="*/ 343421 h 6557032"/>
              <a:gd name="connsiteX39049" fmla="*/ 2312339 w 4610101"/>
              <a:gd name="connsiteY39049" fmla="*/ 345242 h 6557032"/>
              <a:gd name="connsiteX39050" fmla="*/ 2305050 w 4610101"/>
              <a:gd name="connsiteY39050" fmla="*/ 359821 h 6557032"/>
              <a:gd name="connsiteX39051" fmla="*/ 2310517 w 4610101"/>
              <a:gd name="connsiteY39051" fmla="*/ 359821 h 6557032"/>
              <a:gd name="connsiteX39052" fmla="*/ 2315983 w 4610101"/>
              <a:gd name="connsiteY39052" fmla="*/ 352532 h 6557032"/>
              <a:gd name="connsiteX39053" fmla="*/ 2323272 w 4610101"/>
              <a:gd name="connsiteY39053" fmla="*/ 357998 h 6557032"/>
              <a:gd name="connsiteX39054" fmla="*/ 2325094 w 4610101"/>
              <a:gd name="connsiteY39054" fmla="*/ 354354 h 6557032"/>
              <a:gd name="connsiteX39055" fmla="*/ 2326916 w 4610101"/>
              <a:gd name="connsiteY39055" fmla="*/ 363465 h 6557032"/>
              <a:gd name="connsiteX39056" fmla="*/ 2330561 w 4610101"/>
              <a:gd name="connsiteY39056" fmla="*/ 348888 h 6557032"/>
              <a:gd name="connsiteX39057" fmla="*/ 2328739 w 4610101"/>
              <a:gd name="connsiteY39057" fmla="*/ 354354 h 6557032"/>
              <a:gd name="connsiteX39058" fmla="*/ 2314161 w 4610101"/>
              <a:gd name="connsiteY39058" fmla="*/ 343421 h 6557032"/>
              <a:gd name="connsiteX39059" fmla="*/ 2323272 w 4610101"/>
              <a:gd name="connsiteY39059" fmla="*/ 334310 h 6557032"/>
              <a:gd name="connsiteX39060" fmla="*/ 2343316 w 4610101"/>
              <a:gd name="connsiteY39060" fmla="*/ 336133 h 6557032"/>
              <a:gd name="connsiteX39061" fmla="*/ 2341494 w 4610101"/>
              <a:gd name="connsiteY39061" fmla="*/ 330666 h 6557032"/>
              <a:gd name="connsiteX39062" fmla="*/ 2337850 w 4610101"/>
              <a:gd name="connsiteY39062" fmla="*/ 334310 h 6557032"/>
              <a:gd name="connsiteX39063" fmla="*/ 2336027 w 4610101"/>
              <a:gd name="connsiteY39063" fmla="*/ 327022 h 6557032"/>
              <a:gd name="connsiteX39064" fmla="*/ 2321450 w 4610101"/>
              <a:gd name="connsiteY39064" fmla="*/ 327022 h 6557032"/>
              <a:gd name="connsiteX39065" fmla="*/ 3363734 w 4610101"/>
              <a:gd name="connsiteY39065" fmla="*/ 325199 h 6557032"/>
              <a:gd name="connsiteX39066" fmla="*/ 3363734 w 4610101"/>
              <a:gd name="connsiteY39066" fmla="*/ 330666 h 6557032"/>
              <a:gd name="connsiteX39067" fmla="*/ 3365556 w 4610101"/>
              <a:gd name="connsiteY39067" fmla="*/ 330666 h 6557032"/>
              <a:gd name="connsiteX39068" fmla="*/ 3363734 w 4610101"/>
              <a:gd name="connsiteY39068" fmla="*/ 325199 h 6557032"/>
              <a:gd name="connsiteX39069" fmla="*/ 3238003 w 4610101"/>
              <a:gd name="connsiteY39069" fmla="*/ 325199 h 6557032"/>
              <a:gd name="connsiteX39070" fmla="*/ 3232537 w 4610101"/>
              <a:gd name="connsiteY39070" fmla="*/ 339777 h 6557032"/>
              <a:gd name="connsiteX39071" fmla="*/ 3238003 w 4610101"/>
              <a:gd name="connsiteY39071" fmla="*/ 325199 h 6557032"/>
              <a:gd name="connsiteX39072" fmla="*/ 2543755 w 4610101"/>
              <a:gd name="connsiteY39072" fmla="*/ 325199 h 6557032"/>
              <a:gd name="connsiteX39073" fmla="*/ 2544392 w 4610101"/>
              <a:gd name="connsiteY39073" fmla="*/ 325570 h 6557032"/>
              <a:gd name="connsiteX39074" fmla="*/ 2544211 w 4610101"/>
              <a:gd name="connsiteY39074" fmla="*/ 326793 h 6557032"/>
              <a:gd name="connsiteX39075" fmla="*/ 2544122 w 4610101"/>
              <a:gd name="connsiteY39075" fmla="*/ 330784 h 6557032"/>
              <a:gd name="connsiteX39076" fmla="*/ 3356771 w 4610101"/>
              <a:gd name="connsiteY39076" fmla="*/ 323606 h 6557032"/>
              <a:gd name="connsiteX39077" fmla="*/ 3357513 w 4610101"/>
              <a:gd name="connsiteY39077" fmla="*/ 324131 h 6557032"/>
              <a:gd name="connsiteX39078" fmla="*/ 3356445 w 4610101"/>
              <a:gd name="connsiteY39078" fmla="*/ 325199 h 6557032"/>
              <a:gd name="connsiteX39079" fmla="*/ 3414754 w 4610101"/>
              <a:gd name="connsiteY39079" fmla="*/ 323377 h 6557032"/>
              <a:gd name="connsiteX39080" fmla="*/ 3398355 w 4610101"/>
              <a:gd name="connsiteY39080" fmla="*/ 337954 h 6557032"/>
              <a:gd name="connsiteX39081" fmla="*/ 3412932 w 4610101"/>
              <a:gd name="connsiteY39081" fmla="*/ 334310 h 6557032"/>
              <a:gd name="connsiteX39082" fmla="*/ 3409288 w 4610101"/>
              <a:gd name="connsiteY39082" fmla="*/ 330666 h 6557032"/>
              <a:gd name="connsiteX39083" fmla="*/ 3416577 w 4610101"/>
              <a:gd name="connsiteY39083" fmla="*/ 332488 h 6557032"/>
              <a:gd name="connsiteX39084" fmla="*/ 3325468 w 4610101"/>
              <a:gd name="connsiteY39084" fmla="*/ 323377 h 6557032"/>
              <a:gd name="connsiteX39085" fmla="*/ 3321824 w 4610101"/>
              <a:gd name="connsiteY39085" fmla="*/ 332488 h 6557032"/>
              <a:gd name="connsiteX39086" fmla="*/ 3325468 w 4610101"/>
              <a:gd name="connsiteY39086" fmla="*/ 330666 h 6557032"/>
              <a:gd name="connsiteX39087" fmla="*/ 3325468 w 4610101"/>
              <a:gd name="connsiteY39087" fmla="*/ 323377 h 6557032"/>
              <a:gd name="connsiteX39088" fmla="*/ 3450637 w 4610101"/>
              <a:gd name="connsiteY39088" fmla="*/ 322536 h 6557032"/>
              <a:gd name="connsiteX39089" fmla="*/ 3453476 w 4610101"/>
              <a:gd name="connsiteY39089" fmla="*/ 326793 h 6557032"/>
              <a:gd name="connsiteX39090" fmla="*/ 3456671 w 4610101"/>
              <a:gd name="connsiteY39090" fmla="*/ 329568 h 6557032"/>
              <a:gd name="connsiteX39091" fmla="*/ 3454842 w 4610101"/>
              <a:gd name="connsiteY39091" fmla="*/ 330666 h 6557032"/>
              <a:gd name="connsiteX39092" fmla="*/ 3449376 w 4610101"/>
              <a:gd name="connsiteY39092" fmla="*/ 323377 h 6557032"/>
              <a:gd name="connsiteX39093" fmla="*/ 3010232 w 4610101"/>
              <a:gd name="connsiteY39093" fmla="*/ 321555 h 6557032"/>
              <a:gd name="connsiteX39094" fmla="*/ 3012054 w 4610101"/>
              <a:gd name="connsiteY39094" fmla="*/ 341598 h 6557032"/>
              <a:gd name="connsiteX39095" fmla="*/ 3010232 w 4610101"/>
              <a:gd name="connsiteY39095" fmla="*/ 321555 h 6557032"/>
              <a:gd name="connsiteX39096" fmla="*/ 2314161 w 4610101"/>
              <a:gd name="connsiteY39096" fmla="*/ 321555 h 6557032"/>
              <a:gd name="connsiteX39097" fmla="*/ 2305050 w 4610101"/>
              <a:gd name="connsiteY39097" fmla="*/ 323377 h 6557032"/>
              <a:gd name="connsiteX39098" fmla="*/ 2306873 w 4610101"/>
              <a:gd name="connsiteY39098" fmla="*/ 328844 h 6557032"/>
              <a:gd name="connsiteX39099" fmla="*/ 2314161 w 4610101"/>
              <a:gd name="connsiteY39099" fmla="*/ 321555 h 6557032"/>
              <a:gd name="connsiteX39100" fmla="*/ 2521889 w 4610101"/>
              <a:gd name="connsiteY39100" fmla="*/ 319733 h 6557032"/>
              <a:gd name="connsiteX39101" fmla="*/ 2512778 w 4610101"/>
              <a:gd name="connsiteY39101" fmla="*/ 325199 h 6557032"/>
              <a:gd name="connsiteX39102" fmla="*/ 2521889 w 4610101"/>
              <a:gd name="connsiteY39102" fmla="*/ 327022 h 6557032"/>
              <a:gd name="connsiteX39103" fmla="*/ 2521889 w 4610101"/>
              <a:gd name="connsiteY39103" fmla="*/ 319733 h 6557032"/>
              <a:gd name="connsiteX39104" fmla="*/ 1973416 w 4610101"/>
              <a:gd name="connsiteY39104" fmla="*/ 319733 h 6557032"/>
              <a:gd name="connsiteX39105" fmla="*/ 1982527 w 4610101"/>
              <a:gd name="connsiteY39105" fmla="*/ 327022 h 6557032"/>
              <a:gd name="connsiteX39106" fmla="*/ 1973416 w 4610101"/>
              <a:gd name="connsiteY39106" fmla="*/ 319733 h 6557032"/>
              <a:gd name="connsiteX39107" fmla="*/ 1929682 w 4610101"/>
              <a:gd name="connsiteY39107" fmla="*/ 317928 h 6557032"/>
              <a:gd name="connsiteX39108" fmla="*/ 1933327 w 4610101"/>
              <a:gd name="connsiteY39108" fmla="*/ 319750 h 6557032"/>
              <a:gd name="connsiteX39109" fmla="*/ 1935149 w 4610101"/>
              <a:gd name="connsiteY39109" fmla="*/ 330683 h 6557032"/>
              <a:gd name="connsiteX39110" fmla="*/ 1927861 w 4610101"/>
              <a:gd name="connsiteY39110" fmla="*/ 334328 h 6557032"/>
              <a:gd name="connsiteX39111" fmla="*/ 1929682 w 4610101"/>
              <a:gd name="connsiteY39111" fmla="*/ 317928 h 6557032"/>
              <a:gd name="connsiteX39112" fmla="*/ 2664019 w 4610101"/>
              <a:gd name="connsiteY39112" fmla="*/ 316089 h 6557032"/>
              <a:gd name="connsiteX39113" fmla="*/ 2669485 w 4610101"/>
              <a:gd name="connsiteY39113" fmla="*/ 316089 h 6557032"/>
              <a:gd name="connsiteX39114" fmla="*/ 2669485 w 4610101"/>
              <a:gd name="connsiteY39114" fmla="*/ 321555 h 6557032"/>
              <a:gd name="connsiteX39115" fmla="*/ 2664019 w 4610101"/>
              <a:gd name="connsiteY39115" fmla="*/ 316089 h 6557032"/>
              <a:gd name="connsiteX39116" fmla="*/ 2108256 w 4610101"/>
              <a:gd name="connsiteY39116" fmla="*/ 316089 h 6557032"/>
              <a:gd name="connsiteX39117" fmla="*/ 2099145 w 4610101"/>
              <a:gd name="connsiteY39117" fmla="*/ 327022 h 6557032"/>
              <a:gd name="connsiteX39118" fmla="*/ 2106433 w 4610101"/>
              <a:gd name="connsiteY39118" fmla="*/ 325199 h 6557032"/>
              <a:gd name="connsiteX39119" fmla="*/ 2097323 w 4610101"/>
              <a:gd name="connsiteY39119" fmla="*/ 336133 h 6557032"/>
              <a:gd name="connsiteX39120" fmla="*/ 2100967 w 4610101"/>
              <a:gd name="connsiteY39120" fmla="*/ 341598 h 6557032"/>
              <a:gd name="connsiteX39121" fmla="*/ 2168387 w 4610101"/>
              <a:gd name="connsiteY39121" fmla="*/ 350710 h 6557032"/>
              <a:gd name="connsiteX39122" fmla="*/ 2142877 w 4610101"/>
              <a:gd name="connsiteY39122" fmla="*/ 321555 h 6557032"/>
              <a:gd name="connsiteX39123" fmla="*/ 2128300 w 4610101"/>
              <a:gd name="connsiteY39123" fmla="*/ 317911 h 6557032"/>
              <a:gd name="connsiteX39124" fmla="*/ 2121011 w 4610101"/>
              <a:gd name="connsiteY39124" fmla="*/ 323377 h 6557032"/>
              <a:gd name="connsiteX39125" fmla="*/ 2122833 w 4610101"/>
              <a:gd name="connsiteY39125" fmla="*/ 330666 h 6557032"/>
              <a:gd name="connsiteX39126" fmla="*/ 2115544 w 4610101"/>
              <a:gd name="connsiteY39126" fmla="*/ 319733 h 6557032"/>
              <a:gd name="connsiteX39127" fmla="*/ 2108256 w 4610101"/>
              <a:gd name="connsiteY39127" fmla="*/ 323377 h 6557032"/>
              <a:gd name="connsiteX39128" fmla="*/ 2108256 w 4610101"/>
              <a:gd name="connsiteY39128" fmla="*/ 316089 h 6557032"/>
              <a:gd name="connsiteX39129" fmla="*/ 3245292 w 4610101"/>
              <a:gd name="connsiteY39129" fmla="*/ 312444 h 6557032"/>
              <a:gd name="connsiteX39130" fmla="*/ 3250759 w 4610101"/>
              <a:gd name="connsiteY39130" fmla="*/ 325199 h 6557032"/>
              <a:gd name="connsiteX39131" fmla="*/ 3254403 w 4610101"/>
              <a:gd name="connsiteY39131" fmla="*/ 325199 h 6557032"/>
              <a:gd name="connsiteX39132" fmla="*/ 3245292 w 4610101"/>
              <a:gd name="connsiteY39132" fmla="*/ 312444 h 6557032"/>
              <a:gd name="connsiteX39133" fmla="*/ 2674952 w 4610101"/>
              <a:gd name="connsiteY39133" fmla="*/ 312444 h 6557032"/>
              <a:gd name="connsiteX39134" fmla="*/ 2680418 w 4610101"/>
              <a:gd name="connsiteY39134" fmla="*/ 314266 h 6557032"/>
              <a:gd name="connsiteX39135" fmla="*/ 2674952 w 4610101"/>
              <a:gd name="connsiteY39135" fmla="*/ 312444 h 6557032"/>
              <a:gd name="connsiteX39136" fmla="*/ 2150166 w 4610101"/>
              <a:gd name="connsiteY39136" fmla="*/ 312444 h 6557032"/>
              <a:gd name="connsiteX39137" fmla="*/ 2144699 w 4610101"/>
              <a:gd name="connsiteY39137" fmla="*/ 314266 h 6557032"/>
              <a:gd name="connsiteX39138" fmla="*/ 2151988 w 4610101"/>
              <a:gd name="connsiteY39138" fmla="*/ 319733 h 6557032"/>
              <a:gd name="connsiteX39139" fmla="*/ 2150166 w 4610101"/>
              <a:gd name="connsiteY39139" fmla="*/ 312444 h 6557032"/>
              <a:gd name="connsiteX39140" fmla="*/ 2294573 w 4610101"/>
              <a:gd name="connsiteY39140" fmla="*/ 310394 h 6557032"/>
              <a:gd name="connsiteX39141" fmla="*/ 2288651 w 4610101"/>
              <a:gd name="connsiteY39141" fmla="*/ 312444 h 6557032"/>
              <a:gd name="connsiteX39142" fmla="*/ 2288651 w 4610101"/>
              <a:gd name="connsiteY39142" fmla="*/ 316089 h 6557032"/>
              <a:gd name="connsiteX39143" fmla="*/ 2281362 w 4610101"/>
              <a:gd name="connsiteY39143" fmla="*/ 312444 h 6557032"/>
              <a:gd name="connsiteX39144" fmla="*/ 2275896 w 4610101"/>
              <a:gd name="connsiteY39144" fmla="*/ 316089 h 6557032"/>
              <a:gd name="connsiteX39145" fmla="*/ 2285007 w 4610101"/>
              <a:gd name="connsiteY39145" fmla="*/ 327022 h 6557032"/>
              <a:gd name="connsiteX39146" fmla="*/ 2295940 w 4610101"/>
              <a:gd name="connsiteY39146" fmla="*/ 323377 h 6557032"/>
              <a:gd name="connsiteX39147" fmla="*/ 2297762 w 4610101"/>
              <a:gd name="connsiteY39147" fmla="*/ 316089 h 6557032"/>
              <a:gd name="connsiteX39148" fmla="*/ 2294117 w 4610101"/>
              <a:gd name="connsiteY39148" fmla="*/ 321555 h 6557032"/>
              <a:gd name="connsiteX39149" fmla="*/ 2297762 w 4610101"/>
              <a:gd name="connsiteY39149" fmla="*/ 312444 h 6557032"/>
              <a:gd name="connsiteX39150" fmla="*/ 2294573 w 4610101"/>
              <a:gd name="connsiteY39150" fmla="*/ 310394 h 6557032"/>
              <a:gd name="connsiteX39151" fmla="*/ 3453020 w 4610101"/>
              <a:gd name="connsiteY39151" fmla="*/ 308800 h 6557032"/>
              <a:gd name="connsiteX39152" fmla="*/ 3460309 w 4610101"/>
              <a:gd name="connsiteY39152" fmla="*/ 316089 h 6557032"/>
              <a:gd name="connsiteX39153" fmla="*/ 3450637 w 4610101"/>
              <a:gd name="connsiteY39153" fmla="*/ 322536 h 6557032"/>
              <a:gd name="connsiteX39154" fmla="*/ 3447553 w 4610101"/>
              <a:gd name="connsiteY39154" fmla="*/ 317911 h 6557032"/>
              <a:gd name="connsiteX39155" fmla="*/ 3451198 w 4610101"/>
              <a:gd name="connsiteY39155" fmla="*/ 319733 h 6557032"/>
              <a:gd name="connsiteX39156" fmla="*/ 3453020 w 4610101"/>
              <a:gd name="connsiteY39156" fmla="*/ 308800 h 6557032"/>
              <a:gd name="connsiteX39157" fmla="*/ 2964677 w 4610101"/>
              <a:gd name="connsiteY39157" fmla="*/ 308800 h 6557032"/>
              <a:gd name="connsiteX39158" fmla="*/ 2962855 w 4610101"/>
              <a:gd name="connsiteY39158" fmla="*/ 319733 h 6557032"/>
              <a:gd name="connsiteX39159" fmla="*/ 2964677 w 4610101"/>
              <a:gd name="connsiteY39159" fmla="*/ 308800 h 6557032"/>
              <a:gd name="connsiteX39160" fmla="*/ 3336401 w 4610101"/>
              <a:gd name="connsiteY39160" fmla="*/ 306978 h 6557032"/>
              <a:gd name="connsiteX39161" fmla="*/ 3329112 w 4610101"/>
              <a:gd name="connsiteY39161" fmla="*/ 323377 h 6557032"/>
              <a:gd name="connsiteX39162" fmla="*/ 3332756 w 4610101"/>
              <a:gd name="connsiteY39162" fmla="*/ 310622 h 6557032"/>
              <a:gd name="connsiteX39163" fmla="*/ 3340045 w 4610101"/>
              <a:gd name="connsiteY39163" fmla="*/ 319733 h 6557032"/>
              <a:gd name="connsiteX39164" fmla="*/ 3336401 w 4610101"/>
              <a:gd name="connsiteY39164" fmla="*/ 306978 h 6557032"/>
              <a:gd name="connsiteX39165" fmla="*/ 2968322 w 4610101"/>
              <a:gd name="connsiteY39165" fmla="*/ 306978 h 6557032"/>
              <a:gd name="connsiteX39166" fmla="*/ 2970144 w 4610101"/>
              <a:gd name="connsiteY39166" fmla="*/ 323377 h 6557032"/>
              <a:gd name="connsiteX39167" fmla="*/ 2975610 w 4610101"/>
              <a:gd name="connsiteY39167" fmla="*/ 323377 h 6557032"/>
              <a:gd name="connsiteX39168" fmla="*/ 2968322 w 4610101"/>
              <a:gd name="connsiteY39168" fmla="*/ 306978 h 6557032"/>
              <a:gd name="connsiteX39169" fmla="*/ 2951922 w 4610101"/>
              <a:gd name="connsiteY39169" fmla="*/ 306978 h 6557032"/>
              <a:gd name="connsiteX39170" fmla="*/ 2950100 w 4610101"/>
              <a:gd name="connsiteY39170" fmla="*/ 323377 h 6557032"/>
              <a:gd name="connsiteX39171" fmla="*/ 2951922 w 4610101"/>
              <a:gd name="connsiteY39171" fmla="*/ 306978 h 6557032"/>
              <a:gd name="connsiteX39172" fmla="*/ 3361911 w 4610101"/>
              <a:gd name="connsiteY39172" fmla="*/ 305155 h 6557032"/>
              <a:gd name="connsiteX39173" fmla="*/ 3363594 w 4610101"/>
              <a:gd name="connsiteY39173" fmla="*/ 310201 h 6557032"/>
              <a:gd name="connsiteX39174" fmla="*/ 3362376 w 4610101"/>
              <a:gd name="connsiteY39174" fmla="*/ 310066 h 6557032"/>
              <a:gd name="connsiteX39175" fmla="*/ 3358723 w 4610101"/>
              <a:gd name="connsiteY39175" fmla="*/ 308571 h 6557032"/>
              <a:gd name="connsiteX39176" fmla="*/ 3361911 w 4610101"/>
              <a:gd name="connsiteY39176" fmla="*/ 305155 h 6557032"/>
              <a:gd name="connsiteX39177" fmla="*/ 3185160 w 4610101"/>
              <a:gd name="connsiteY39177" fmla="*/ 305155 h 6557032"/>
              <a:gd name="connsiteX39178" fmla="*/ 3177872 w 4610101"/>
              <a:gd name="connsiteY39178" fmla="*/ 317911 h 6557032"/>
              <a:gd name="connsiteX39179" fmla="*/ 3185160 w 4610101"/>
              <a:gd name="connsiteY39179" fmla="*/ 305155 h 6557032"/>
              <a:gd name="connsiteX39180" fmla="*/ 2328511 w 4610101"/>
              <a:gd name="connsiteY39180" fmla="*/ 304472 h 6557032"/>
              <a:gd name="connsiteX39181" fmla="*/ 2321874 w 4610101"/>
              <a:gd name="connsiteY39181" fmla="*/ 305799 h 6557032"/>
              <a:gd name="connsiteX39182" fmla="*/ 2321450 w 4610101"/>
              <a:gd name="connsiteY39182" fmla="*/ 305155 h 6557032"/>
              <a:gd name="connsiteX39183" fmla="*/ 2321259 w 4610101"/>
              <a:gd name="connsiteY39183" fmla="*/ 305922 h 6557032"/>
              <a:gd name="connsiteX39184" fmla="*/ 2315983 w 4610101"/>
              <a:gd name="connsiteY39184" fmla="*/ 306978 h 6557032"/>
              <a:gd name="connsiteX39185" fmla="*/ 2323272 w 4610101"/>
              <a:gd name="connsiteY39185" fmla="*/ 321555 h 6557032"/>
              <a:gd name="connsiteX39186" fmla="*/ 2319628 w 4610101"/>
              <a:gd name="connsiteY39186" fmla="*/ 312444 h 6557032"/>
              <a:gd name="connsiteX39187" fmla="*/ 2321259 w 4610101"/>
              <a:gd name="connsiteY39187" fmla="*/ 305922 h 6557032"/>
              <a:gd name="connsiteX39188" fmla="*/ 2321874 w 4610101"/>
              <a:gd name="connsiteY39188" fmla="*/ 305799 h 6557032"/>
              <a:gd name="connsiteX39189" fmla="*/ 2327144 w 4610101"/>
              <a:gd name="connsiteY39189" fmla="*/ 313810 h 6557032"/>
              <a:gd name="connsiteX39190" fmla="*/ 2334205 w 4610101"/>
              <a:gd name="connsiteY39190" fmla="*/ 314266 h 6557032"/>
              <a:gd name="connsiteX39191" fmla="*/ 2328511 w 4610101"/>
              <a:gd name="connsiteY39191" fmla="*/ 304472 h 6557032"/>
              <a:gd name="connsiteX39192" fmla="*/ 1911641 w 4610101"/>
              <a:gd name="connsiteY39192" fmla="*/ 304433 h 6557032"/>
              <a:gd name="connsiteX39193" fmla="*/ 1911786 w 4610101"/>
              <a:gd name="connsiteY39193" fmla="*/ 304614 h 6557032"/>
              <a:gd name="connsiteX39194" fmla="*/ 1911461 w 4610101"/>
              <a:gd name="connsiteY39194" fmla="*/ 305155 h 6557032"/>
              <a:gd name="connsiteX39195" fmla="*/ 2503668 w 4610101"/>
              <a:gd name="connsiteY39195" fmla="*/ 304244 h 6557032"/>
              <a:gd name="connsiteX39196" fmla="*/ 2494556 w 4610101"/>
              <a:gd name="connsiteY39196" fmla="*/ 306978 h 6557032"/>
              <a:gd name="connsiteX39197" fmla="*/ 2492714 w 4610101"/>
              <a:gd name="connsiteY39197" fmla="*/ 309346 h 6557032"/>
              <a:gd name="connsiteX39198" fmla="*/ 2490912 w 4610101"/>
              <a:gd name="connsiteY39198" fmla="*/ 308800 h 6557032"/>
              <a:gd name="connsiteX39199" fmla="*/ 2490511 w 4610101"/>
              <a:gd name="connsiteY39199" fmla="*/ 312178 h 6557032"/>
              <a:gd name="connsiteX39200" fmla="*/ 2481801 w 4610101"/>
              <a:gd name="connsiteY39200" fmla="*/ 323377 h 6557032"/>
              <a:gd name="connsiteX39201" fmla="*/ 2472690 w 4610101"/>
              <a:gd name="connsiteY39201" fmla="*/ 316089 h 6557032"/>
              <a:gd name="connsiteX39202" fmla="*/ 2436247 w 4610101"/>
              <a:gd name="connsiteY39202" fmla="*/ 357998 h 6557032"/>
              <a:gd name="connsiteX39203" fmla="*/ 2443536 w 4610101"/>
              <a:gd name="connsiteY39203" fmla="*/ 350710 h 6557032"/>
              <a:gd name="connsiteX39204" fmla="*/ 2450824 w 4610101"/>
              <a:gd name="connsiteY39204" fmla="*/ 361642 h 6557032"/>
              <a:gd name="connsiteX39205" fmla="*/ 2454469 w 4610101"/>
              <a:gd name="connsiteY39205" fmla="*/ 350710 h 6557032"/>
              <a:gd name="connsiteX39206" fmla="*/ 2457658 w 4610101"/>
              <a:gd name="connsiteY39206" fmla="*/ 352304 h 6557032"/>
              <a:gd name="connsiteX39207" fmla="*/ 2458023 w 4610101"/>
              <a:gd name="connsiteY39207" fmla="*/ 356864 h 6557032"/>
              <a:gd name="connsiteX39208" fmla="*/ 2454469 w 4610101"/>
              <a:gd name="connsiteY39208" fmla="*/ 362098 h 6557032"/>
              <a:gd name="connsiteX39209" fmla="*/ 2445358 w 4610101"/>
              <a:gd name="connsiteY39209" fmla="*/ 370754 h 6557032"/>
              <a:gd name="connsiteX39210" fmla="*/ 2452647 w 4610101"/>
              <a:gd name="connsiteY39210" fmla="*/ 379865 h 6557032"/>
              <a:gd name="connsiteX39211" fmla="*/ 2452647 w 4610101"/>
              <a:gd name="connsiteY39211" fmla="*/ 374397 h 6557032"/>
              <a:gd name="connsiteX39212" fmla="*/ 2458113 w 4610101"/>
              <a:gd name="connsiteY39212" fmla="*/ 370754 h 6557032"/>
              <a:gd name="connsiteX39213" fmla="*/ 2463580 w 4610101"/>
              <a:gd name="connsiteY39213" fmla="*/ 372576 h 6557032"/>
              <a:gd name="connsiteX39214" fmla="*/ 2463580 w 4610101"/>
              <a:gd name="connsiteY39214" fmla="*/ 367109 h 6557032"/>
              <a:gd name="connsiteX39215" fmla="*/ 2469046 w 4610101"/>
              <a:gd name="connsiteY39215" fmla="*/ 368932 h 6557032"/>
              <a:gd name="connsiteX39216" fmla="*/ 2467224 w 4610101"/>
              <a:gd name="connsiteY39216" fmla="*/ 357998 h 6557032"/>
              <a:gd name="connsiteX39217" fmla="*/ 2474513 w 4610101"/>
              <a:gd name="connsiteY39217" fmla="*/ 374397 h 6557032"/>
              <a:gd name="connsiteX39218" fmla="*/ 2478157 w 4610101"/>
              <a:gd name="connsiteY39218" fmla="*/ 376220 h 6557032"/>
              <a:gd name="connsiteX39219" fmla="*/ 2487268 w 4610101"/>
              <a:gd name="connsiteY39219" fmla="*/ 370754 h 6557032"/>
              <a:gd name="connsiteX39220" fmla="*/ 2492734 w 4610101"/>
              <a:gd name="connsiteY39220" fmla="*/ 361642 h 6557032"/>
              <a:gd name="connsiteX39221" fmla="*/ 2487268 w 4610101"/>
              <a:gd name="connsiteY39221" fmla="*/ 352532 h 6557032"/>
              <a:gd name="connsiteX39222" fmla="*/ 2483624 w 4610101"/>
              <a:gd name="connsiteY39222" fmla="*/ 356176 h 6557032"/>
              <a:gd name="connsiteX39223" fmla="*/ 2479979 w 4610101"/>
              <a:gd name="connsiteY39223" fmla="*/ 354354 h 6557032"/>
              <a:gd name="connsiteX39224" fmla="*/ 2481801 w 4610101"/>
              <a:gd name="connsiteY39224" fmla="*/ 345242 h 6557032"/>
              <a:gd name="connsiteX39225" fmla="*/ 2472690 w 4610101"/>
              <a:gd name="connsiteY39225" fmla="*/ 345242 h 6557032"/>
              <a:gd name="connsiteX39226" fmla="*/ 2463580 w 4610101"/>
              <a:gd name="connsiteY39226" fmla="*/ 356176 h 6557032"/>
              <a:gd name="connsiteX39227" fmla="*/ 2460136 w 4610101"/>
              <a:gd name="connsiteY39227" fmla="*/ 355976 h 6557032"/>
              <a:gd name="connsiteX39228" fmla="*/ 2461985 w 4610101"/>
              <a:gd name="connsiteY39228" fmla="*/ 354126 h 6557032"/>
              <a:gd name="connsiteX39229" fmla="*/ 2461757 w 4610101"/>
              <a:gd name="connsiteY39229" fmla="*/ 348888 h 6557032"/>
              <a:gd name="connsiteX39230" fmla="*/ 2472690 w 4610101"/>
              <a:gd name="connsiteY39230" fmla="*/ 339777 h 6557032"/>
              <a:gd name="connsiteX39231" fmla="*/ 2472690 w 4610101"/>
              <a:gd name="connsiteY39231" fmla="*/ 343421 h 6557032"/>
              <a:gd name="connsiteX39232" fmla="*/ 2489090 w 4610101"/>
              <a:gd name="connsiteY39232" fmla="*/ 336133 h 6557032"/>
              <a:gd name="connsiteX39233" fmla="*/ 2490912 w 4610101"/>
              <a:gd name="connsiteY39233" fmla="*/ 339777 h 6557032"/>
              <a:gd name="connsiteX39234" fmla="*/ 2498201 w 4610101"/>
              <a:gd name="connsiteY39234" fmla="*/ 327022 h 6557032"/>
              <a:gd name="connsiteX39235" fmla="*/ 2494556 w 4610101"/>
              <a:gd name="connsiteY39235" fmla="*/ 334310 h 6557032"/>
              <a:gd name="connsiteX39236" fmla="*/ 2489318 w 4610101"/>
              <a:gd name="connsiteY39236" fmla="*/ 322238 h 6557032"/>
              <a:gd name="connsiteX39237" fmla="*/ 2490511 w 4610101"/>
              <a:gd name="connsiteY39237" fmla="*/ 312178 h 6557032"/>
              <a:gd name="connsiteX39238" fmla="*/ 2492714 w 4610101"/>
              <a:gd name="connsiteY39238" fmla="*/ 309346 h 6557032"/>
              <a:gd name="connsiteX39239" fmla="*/ 2498429 w 4610101"/>
              <a:gd name="connsiteY39239" fmla="*/ 311077 h 6557032"/>
              <a:gd name="connsiteX39240" fmla="*/ 2507124 w 4610101"/>
              <a:gd name="connsiteY39240" fmla="*/ 305281 h 6557032"/>
              <a:gd name="connsiteX39241" fmla="*/ 2507312 w 4610101"/>
              <a:gd name="connsiteY39241" fmla="*/ 305338 h 6557032"/>
              <a:gd name="connsiteX39242" fmla="*/ 2507312 w 4610101"/>
              <a:gd name="connsiteY39242" fmla="*/ 310622 h 6557032"/>
              <a:gd name="connsiteX39243" fmla="*/ 2512778 w 4610101"/>
              <a:gd name="connsiteY39243" fmla="*/ 306978 h 6557032"/>
              <a:gd name="connsiteX39244" fmla="*/ 2507312 w 4610101"/>
              <a:gd name="connsiteY39244" fmla="*/ 305338 h 6557032"/>
              <a:gd name="connsiteX39245" fmla="*/ 2507312 w 4610101"/>
              <a:gd name="connsiteY39245" fmla="*/ 305155 h 6557032"/>
              <a:gd name="connsiteX39246" fmla="*/ 2507124 w 4610101"/>
              <a:gd name="connsiteY39246" fmla="*/ 305281 h 6557032"/>
              <a:gd name="connsiteX39247" fmla="*/ 1919163 w 4610101"/>
              <a:gd name="connsiteY39247" fmla="*/ 303996 h 6557032"/>
              <a:gd name="connsiteX39248" fmla="*/ 1920364 w 4610101"/>
              <a:gd name="connsiteY39248" fmla="*/ 305329 h 6557032"/>
              <a:gd name="connsiteX39249" fmla="*/ 1920344 w 4610101"/>
              <a:gd name="connsiteY39249" fmla="*/ 305383 h 6557032"/>
              <a:gd name="connsiteX39250" fmla="*/ 1916927 w 4610101"/>
              <a:gd name="connsiteY39250" fmla="*/ 306978 h 6557032"/>
              <a:gd name="connsiteX39251" fmla="*/ 2264963 w 4610101"/>
              <a:gd name="connsiteY39251" fmla="*/ 301511 h 6557032"/>
              <a:gd name="connsiteX39252" fmla="*/ 2266785 w 4610101"/>
              <a:gd name="connsiteY39252" fmla="*/ 308800 h 6557032"/>
              <a:gd name="connsiteX39253" fmla="*/ 2264963 w 4610101"/>
              <a:gd name="connsiteY39253" fmla="*/ 301511 h 6557032"/>
              <a:gd name="connsiteX39254" fmla="*/ 3163294 w 4610101"/>
              <a:gd name="connsiteY39254" fmla="*/ 299689 h 6557032"/>
              <a:gd name="connsiteX39255" fmla="*/ 3159650 w 4610101"/>
              <a:gd name="connsiteY39255" fmla="*/ 303333 h 6557032"/>
              <a:gd name="connsiteX39256" fmla="*/ 3165116 w 4610101"/>
              <a:gd name="connsiteY39256" fmla="*/ 308800 h 6557032"/>
              <a:gd name="connsiteX39257" fmla="*/ 3163294 w 4610101"/>
              <a:gd name="connsiteY39257" fmla="*/ 299689 h 6557032"/>
              <a:gd name="connsiteX39258" fmla="*/ 3006587 w 4610101"/>
              <a:gd name="connsiteY39258" fmla="*/ 299689 h 6557032"/>
              <a:gd name="connsiteX39259" fmla="*/ 3013876 w 4610101"/>
              <a:gd name="connsiteY39259" fmla="*/ 316089 h 6557032"/>
              <a:gd name="connsiteX39260" fmla="*/ 3006587 w 4610101"/>
              <a:gd name="connsiteY39260" fmla="*/ 299689 h 6557032"/>
              <a:gd name="connsiteX39261" fmla="*/ 2997477 w 4610101"/>
              <a:gd name="connsiteY39261" fmla="*/ 299689 h 6557032"/>
              <a:gd name="connsiteX39262" fmla="*/ 2993832 w 4610101"/>
              <a:gd name="connsiteY39262" fmla="*/ 316089 h 6557032"/>
              <a:gd name="connsiteX39263" fmla="*/ 3004765 w 4610101"/>
              <a:gd name="connsiteY39263" fmla="*/ 312444 h 6557032"/>
              <a:gd name="connsiteX39264" fmla="*/ 2997477 w 4610101"/>
              <a:gd name="connsiteY39264" fmla="*/ 299689 h 6557032"/>
              <a:gd name="connsiteX39265" fmla="*/ 3146895 w 4610101"/>
              <a:gd name="connsiteY39265" fmla="*/ 297867 h 6557032"/>
              <a:gd name="connsiteX39266" fmla="*/ 3148717 w 4610101"/>
              <a:gd name="connsiteY39266" fmla="*/ 305155 h 6557032"/>
              <a:gd name="connsiteX39267" fmla="*/ 3146895 w 4610101"/>
              <a:gd name="connsiteY39267" fmla="*/ 297867 h 6557032"/>
              <a:gd name="connsiteX39268" fmla="*/ 3121384 w 4610101"/>
              <a:gd name="connsiteY39268" fmla="*/ 297867 h 6557032"/>
              <a:gd name="connsiteX39269" fmla="*/ 3110451 w 4610101"/>
              <a:gd name="connsiteY39269" fmla="*/ 317911 h 6557032"/>
              <a:gd name="connsiteX39270" fmla="*/ 3114096 w 4610101"/>
              <a:gd name="connsiteY39270" fmla="*/ 323377 h 6557032"/>
              <a:gd name="connsiteX39271" fmla="*/ 3115918 w 4610101"/>
              <a:gd name="connsiteY39271" fmla="*/ 314266 h 6557032"/>
              <a:gd name="connsiteX39272" fmla="*/ 3117740 w 4610101"/>
              <a:gd name="connsiteY39272" fmla="*/ 321555 h 6557032"/>
              <a:gd name="connsiteX39273" fmla="*/ 3126851 w 4610101"/>
              <a:gd name="connsiteY39273" fmla="*/ 350710 h 6557032"/>
              <a:gd name="connsiteX39274" fmla="*/ 3128673 w 4610101"/>
              <a:gd name="connsiteY39274" fmla="*/ 327022 h 6557032"/>
              <a:gd name="connsiteX39275" fmla="*/ 3125029 w 4610101"/>
              <a:gd name="connsiteY39275" fmla="*/ 330666 h 6557032"/>
              <a:gd name="connsiteX39276" fmla="*/ 3126851 w 4610101"/>
              <a:gd name="connsiteY39276" fmla="*/ 317911 h 6557032"/>
              <a:gd name="connsiteX39277" fmla="*/ 3137784 w 4610101"/>
              <a:gd name="connsiteY39277" fmla="*/ 332488 h 6557032"/>
              <a:gd name="connsiteX39278" fmla="*/ 3141428 w 4610101"/>
              <a:gd name="connsiteY39278" fmla="*/ 308800 h 6557032"/>
              <a:gd name="connsiteX39279" fmla="*/ 3134140 w 4610101"/>
              <a:gd name="connsiteY39279" fmla="*/ 312444 h 6557032"/>
              <a:gd name="connsiteX39280" fmla="*/ 3132317 w 4610101"/>
              <a:gd name="connsiteY39280" fmla="*/ 308800 h 6557032"/>
              <a:gd name="connsiteX39281" fmla="*/ 3130495 w 4610101"/>
              <a:gd name="connsiteY39281" fmla="*/ 312444 h 6557032"/>
              <a:gd name="connsiteX39282" fmla="*/ 3121384 w 4610101"/>
              <a:gd name="connsiteY39282" fmla="*/ 297867 h 6557032"/>
              <a:gd name="connsiteX39283" fmla="*/ 1960659 w 4610101"/>
              <a:gd name="connsiteY39283" fmla="*/ 297867 h 6557032"/>
              <a:gd name="connsiteX39284" fmla="*/ 1960659 w 4610101"/>
              <a:gd name="connsiteY39284" fmla="*/ 303333 h 6557032"/>
              <a:gd name="connsiteX39285" fmla="*/ 1967948 w 4610101"/>
              <a:gd name="connsiteY39285" fmla="*/ 299689 h 6557032"/>
              <a:gd name="connsiteX39286" fmla="*/ 1960659 w 4610101"/>
              <a:gd name="connsiteY39286" fmla="*/ 297867 h 6557032"/>
              <a:gd name="connsiteX39287" fmla="*/ 2421669 w 4610101"/>
              <a:gd name="connsiteY39287" fmla="*/ 296045 h 6557032"/>
              <a:gd name="connsiteX39288" fmla="*/ 2430780 w 4610101"/>
              <a:gd name="connsiteY39288" fmla="*/ 299689 h 6557032"/>
              <a:gd name="connsiteX39289" fmla="*/ 2430643 w 4610101"/>
              <a:gd name="connsiteY39289" fmla="*/ 300376 h 6557032"/>
              <a:gd name="connsiteX39290" fmla="*/ 2423349 w 4610101"/>
              <a:gd name="connsiteY39290" fmla="*/ 299261 h 6557032"/>
              <a:gd name="connsiteX39291" fmla="*/ 2409142 w 4610101"/>
              <a:gd name="connsiteY39291" fmla="*/ 305383 h 6557032"/>
              <a:gd name="connsiteX39292" fmla="*/ 2391848 w 4610101"/>
              <a:gd name="connsiteY39292" fmla="*/ 315531 h 6557032"/>
              <a:gd name="connsiteX39293" fmla="*/ 2399120 w 4610101"/>
              <a:gd name="connsiteY39293" fmla="*/ 307205 h 6557032"/>
              <a:gd name="connsiteX39294" fmla="*/ 2421669 w 4610101"/>
              <a:gd name="connsiteY39294" fmla="*/ 296045 h 6557032"/>
              <a:gd name="connsiteX39295" fmla="*/ 2281362 w 4610101"/>
              <a:gd name="connsiteY39295" fmla="*/ 296045 h 6557032"/>
              <a:gd name="connsiteX39296" fmla="*/ 2275896 w 4610101"/>
              <a:gd name="connsiteY39296" fmla="*/ 310622 h 6557032"/>
              <a:gd name="connsiteX39297" fmla="*/ 2281362 w 4610101"/>
              <a:gd name="connsiteY39297" fmla="*/ 296045 h 6557032"/>
              <a:gd name="connsiteX39298" fmla="*/ 1977059 w 4610101"/>
              <a:gd name="connsiteY39298" fmla="*/ 296045 h 6557032"/>
              <a:gd name="connsiteX39299" fmla="*/ 1977059 w 4610101"/>
              <a:gd name="connsiteY39299" fmla="*/ 297867 h 6557032"/>
              <a:gd name="connsiteX39300" fmla="*/ 1973416 w 4610101"/>
              <a:gd name="connsiteY39300" fmla="*/ 299689 h 6557032"/>
              <a:gd name="connsiteX39301" fmla="*/ 1978881 w 4610101"/>
              <a:gd name="connsiteY39301" fmla="*/ 305155 h 6557032"/>
              <a:gd name="connsiteX39302" fmla="*/ 1980703 w 4610101"/>
              <a:gd name="connsiteY39302" fmla="*/ 296045 h 6557032"/>
              <a:gd name="connsiteX39303" fmla="*/ 1977059 w 4610101"/>
              <a:gd name="connsiteY39303" fmla="*/ 296045 h 6557032"/>
              <a:gd name="connsiteX39304" fmla="*/ 2659552 w 4610101"/>
              <a:gd name="connsiteY39304" fmla="*/ 295888 h 6557032"/>
              <a:gd name="connsiteX39305" fmla="*/ 2660795 w 4610101"/>
              <a:gd name="connsiteY39305" fmla="*/ 297960 h 6557032"/>
              <a:gd name="connsiteX39306" fmla="*/ 2658552 w 4610101"/>
              <a:gd name="connsiteY39306" fmla="*/ 301511 h 6557032"/>
              <a:gd name="connsiteX39307" fmla="*/ 2951922 w 4610101"/>
              <a:gd name="connsiteY39307" fmla="*/ 295640 h 6557032"/>
              <a:gd name="connsiteX39308" fmla="*/ 2953744 w 4610101"/>
              <a:gd name="connsiteY39308" fmla="*/ 296045 h 6557032"/>
              <a:gd name="connsiteX39309" fmla="*/ 2951922 w 4610101"/>
              <a:gd name="connsiteY39309" fmla="*/ 299992 h 6557032"/>
              <a:gd name="connsiteX39310" fmla="*/ 3346962 w 4610101"/>
              <a:gd name="connsiteY39310" fmla="*/ 293256 h 6557032"/>
              <a:gd name="connsiteX39311" fmla="*/ 3345512 w 4610101"/>
              <a:gd name="connsiteY39311" fmla="*/ 296045 h 6557032"/>
              <a:gd name="connsiteX39312" fmla="*/ 3345301 w 4610101"/>
              <a:gd name="connsiteY39312" fmla="*/ 295563 h 6557032"/>
              <a:gd name="connsiteX39313" fmla="*/ 3345512 w 4610101"/>
              <a:gd name="connsiteY39313" fmla="*/ 294223 h 6557032"/>
              <a:gd name="connsiteX39314" fmla="*/ 1997103 w 4610101"/>
              <a:gd name="connsiteY39314" fmla="*/ 292400 h 6557032"/>
              <a:gd name="connsiteX39315" fmla="*/ 1993459 w 4610101"/>
              <a:gd name="connsiteY39315" fmla="*/ 299689 h 6557032"/>
              <a:gd name="connsiteX39316" fmla="*/ 1997103 w 4610101"/>
              <a:gd name="connsiteY39316" fmla="*/ 305155 h 6557032"/>
              <a:gd name="connsiteX39317" fmla="*/ 2002570 w 4610101"/>
              <a:gd name="connsiteY39317" fmla="*/ 294223 h 6557032"/>
              <a:gd name="connsiteX39318" fmla="*/ 1997103 w 4610101"/>
              <a:gd name="connsiteY39318" fmla="*/ 292400 h 6557032"/>
              <a:gd name="connsiteX39319" fmla="*/ 973041 w 4610101"/>
              <a:gd name="connsiteY39319" fmla="*/ 290688 h 6557032"/>
              <a:gd name="connsiteX39320" fmla="*/ 994907 w 4610101"/>
              <a:gd name="connsiteY39320" fmla="*/ 290688 h 6557032"/>
              <a:gd name="connsiteX39321" fmla="*/ 1009485 w 4610101"/>
              <a:gd name="connsiteY39321" fmla="*/ 299799 h 6557032"/>
              <a:gd name="connsiteX39322" fmla="*/ 987618 w 4610101"/>
              <a:gd name="connsiteY39322" fmla="*/ 336243 h 6557032"/>
              <a:gd name="connsiteX39323" fmla="*/ 973041 w 4610101"/>
              <a:gd name="connsiteY39323" fmla="*/ 312554 h 6557032"/>
              <a:gd name="connsiteX39324" fmla="*/ 2676774 w 4610101"/>
              <a:gd name="connsiteY39324" fmla="*/ 290578 h 6557032"/>
              <a:gd name="connsiteX39325" fmla="*/ 2682240 w 4610101"/>
              <a:gd name="connsiteY39325" fmla="*/ 303333 h 6557032"/>
              <a:gd name="connsiteX39326" fmla="*/ 2680418 w 4610101"/>
              <a:gd name="connsiteY39326" fmla="*/ 290578 h 6557032"/>
              <a:gd name="connsiteX39327" fmla="*/ 2676774 w 4610101"/>
              <a:gd name="connsiteY39327" fmla="*/ 290578 h 6557032"/>
              <a:gd name="connsiteX39328" fmla="*/ 1909639 w 4610101"/>
              <a:gd name="connsiteY39328" fmla="*/ 288773 h 6557032"/>
              <a:gd name="connsiteX39329" fmla="*/ 1913273 w 4610101"/>
              <a:gd name="connsiteY39329" fmla="*/ 292409 h 6557032"/>
              <a:gd name="connsiteX39330" fmla="*/ 1913283 w 4610101"/>
              <a:gd name="connsiteY39330" fmla="*/ 292400 h 6557032"/>
              <a:gd name="connsiteX39331" fmla="*/ 1913283 w 4610101"/>
              <a:gd name="connsiteY39331" fmla="*/ 292418 h 6557032"/>
              <a:gd name="connsiteX39332" fmla="*/ 1913283 w 4610101"/>
              <a:gd name="connsiteY39332" fmla="*/ 294240 h 6557032"/>
              <a:gd name="connsiteX39333" fmla="*/ 1913283 w 4610101"/>
              <a:gd name="connsiteY39333" fmla="*/ 297867 h 6557032"/>
              <a:gd name="connsiteX39334" fmla="*/ 1911641 w 4610101"/>
              <a:gd name="connsiteY39334" fmla="*/ 304433 h 6557032"/>
              <a:gd name="connsiteX39335" fmla="*/ 1909867 w 4610101"/>
              <a:gd name="connsiteY39335" fmla="*/ 302194 h 6557032"/>
              <a:gd name="connsiteX39336" fmla="*/ 1905994 w 4610101"/>
              <a:gd name="connsiteY39336" fmla="*/ 294223 h 6557032"/>
              <a:gd name="connsiteX39337" fmla="*/ 1909639 w 4610101"/>
              <a:gd name="connsiteY39337" fmla="*/ 295181 h 6557032"/>
              <a:gd name="connsiteX39338" fmla="*/ 3228893 w 4610101"/>
              <a:gd name="connsiteY39338" fmla="*/ 288756 h 6557032"/>
              <a:gd name="connsiteX39339" fmla="*/ 3228893 w 4610101"/>
              <a:gd name="connsiteY39339" fmla="*/ 290578 h 6557032"/>
              <a:gd name="connsiteX39340" fmla="*/ 3228268 w 4610101"/>
              <a:gd name="connsiteY39340" fmla="*/ 289416 h 6557032"/>
              <a:gd name="connsiteX39341" fmla="*/ 3348035 w 4610101"/>
              <a:gd name="connsiteY39341" fmla="*/ 287634 h 6557032"/>
              <a:gd name="connsiteX39342" fmla="*/ 3350978 w 4610101"/>
              <a:gd name="connsiteY39342" fmla="*/ 290578 h 6557032"/>
              <a:gd name="connsiteX39343" fmla="*/ 3346962 w 4610101"/>
              <a:gd name="connsiteY39343" fmla="*/ 293256 h 6557032"/>
              <a:gd name="connsiteX39344" fmla="*/ 3348473 w 4610101"/>
              <a:gd name="connsiteY39344" fmla="*/ 290350 h 6557032"/>
              <a:gd name="connsiteX39345" fmla="*/ 2319628 w 4610101"/>
              <a:gd name="connsiteY39345" fmla="*/ 286934 h 6557032"/>
              <a:gd name="connsiteX39346" fmla="*/ 2320381 w 4610101"/>
              <a:gd name="connsiteY39346" fmla="*/ 287626 h 6557032"/>
              <a:gd name="connsiteX39347" fmla="*/ 2319628 w 4610101"/>
              <a:gd name="connsiteY39347" fmla="*/ 288756 h 6557032"/>
              <a:gd name="connsiteX39348" fmla="*/ 2319535 w 4610101"/>
              <a:gd name="connsiteY39348" fmla="*/ 286996 h 6557032"/>
              <a:gd name="connsiteX39349" fmla="*/ 3347855 w 4610101"/>
              <a:gd name="connsiteY39349" fmla="*/ 286517 h 6557032"/>
              <a:gd name="connsiteX39350" fmla="*/ 3348035 w 4610101"/>
              <a:gd name="connsiteY39350" fmla="*/ 287634 h 6557032"/>
              <a:gd name="connsiteX39351" fmla="*/ 3347334 w 4610101"/>
              <a:gd name="connsiteY39351" fmla="*/ 286934 h 6557032"/>
              <a:gd name="connsiteX39352" fmla="*/ 3083119 w 4610101"/>
              <a:gd name="connsiteY39352" fmla="*/ 285112 h 6557032"/>
              <a:gd name="connsiteX39353" fmla="*/ 3081297 w 4610101"/>
              <a:gd name="connsiteY39353" fmla="*/ 294223 h 6557032"/>
              <a:gd name="connsiteX39354" fmla="*/ 3083119 w 4610101"/>
              <a:gd name="connsiteY39354" fmla="*/ 285112 h 6557032"/>
              <a:gd name="connsiteX39355" fmla="*/ 3043031 w 4610101"/>
              <a:gd name="connsiteY39355" fmla="*/ 285112 h 6557032"/>
              <a:gd name="connsiteX39356" fmla="*/ 3041209 w 4610101"/>
              <a:gd name="connsiteY39356" fmla="*/ 292400 h 6557032"/>
              <a:gd name="connsiteX39357" fmla="*/ 3046675 w 4610101"/>
              <a:gd name="connsiteY39357" fmla="*/ 286934 h 6557032"/>
              <a:gd name="connsiteX39358" fmla="*/ 3043031 w 4610101"/>
              <a:gd name="connsiteY39358" fmla="*/ 285112 h 6557032"/>
              <a:gd name="connsiteX39359" fmla="*/ 2977432 w 4610101"/>
              <a:gd name="connsiteY39359" fmla="*/ 285112 h 6557032"/>
              <a:gd name="connsiteX39360" fmla="*/ 2971966 w 4610101"/>
              <a:gd name="connsiteY39360" fmla="*/ 286934 h 6557032"/>
              <a:gd name="connsiteX39361" fmla="*/ 2977432 w 4610101"/>
              <a:gd name="connsiteY39361" fmla="*/ 292400 h 6557032"/>
              <a:gd name="connsiteX39362" fmla="*/ 2977432 w 4610101"/>
              <a:gd name="connsiteY39362" fmla="*/ 285112 h 6557032"/>
              <a:gd name="connsiteX39363" fmla="*/ 2946456 w 4610101"/>
              <a:gd name="connsiteY39363" fmla="*/ 285112 h 6557032"/>
              <a:gd name="connsiteX39364" fmla="*/ 2955566 w 4610101"/>
              <a:gd name="connsiteY39364" fmla="*/ 290578 h 6557032"/>
              <a:gd name="connsiteX39365" fmla="*/ 2946456 w 4610101"/>
              <a:gd name="connsiteY39365" fmla="*/ 285112 h 6557032"/>
              <a:gd name="connsiteX39366" fmla="*/ 3055786 w 4610101"/>
              <a:gd name="connsiteY39366" fmla="*/ 283289 h 6557032"/>
              <a:gd name="connsiteX39367" fmla="*/ 3052142 w 4610101"/>
              <a:gd name="connsiteY39367" fmla="*/ 292400 h 6557032"/>
              <a:gd name="connsiteX39368" fmla="*/ 3055786 w 4610101"/>
              <a:gd name="connsiteY39368" fmla="*/ 283289 h 6557032"/>
              <a:gd name="connsiteX39369" fmla="*/ 3032098 w 4610101"/>
              <a:gd name="connsiteY39369" fmla="*/ 283289 h 6557032"/>
              <a:gd name="connsiteX39370" fmla="*/ 3028453 w 4610101"/>
              <a:gd name="connsiteY39370" fmla="*/ 299689 h 6557032"/>
              <a:gd name="connsiteX39371" fmla="*/ 3032098 w 4610101"/>
              <a:gd name="connsiteY39371" fmla="*/ 283289 h 6557032"/>
              <a:gd name="connsiteX39372" fmla="*/ 2986543 w 4610101"/>
              <a:gd name="connsiteY39372" fmla="*/ 283289 h 6557032"/>
              <a:gd name="connsiteX39373" fmla="*/ 2981077 w 4610101"/>
              <a:gd name="connsiteY39373" fmla="*/ 296045 h 6557032"/>
              <a:gd name="connsiteX39374" fmla="*/ 2986543 w 4610101"/>
              <a:gd name="connsiteY39374" fmla="*/ 294223 h 6557032"/>
              <a:gd name="connsiteX39375" fmla="*/ 2986543 w 4610101"/>
              <a:gd name="connsiteY39375" fmla="*/ 283289 h 6557032"/>
              <a:gd name="connsiteX39376" fmla="*/ 2552866 w 4610101"/>
              <a:gd name="connsiteY39376" fmla="*/ 283289 h 6557032"/>
              <a:gd name="connsiteX39377" fmla="*/ 2531000 w 4610101"/>
              <a:gd name="connsiteY39377" fmla="*/ 294223 h 6557032"/>
              <a:gd name="connsiteX39378" fmla="*/ 2561977 w 4610101"/>
              <a:gd name="connsiteY39378" fmla="*/ 297867 h 6557032"/>
              <a:gd name="connsiteX39379" fmla="*/ 2558332 w 4610101"/>
              <a:gd name="connsiteY39379" fmla="*/ 285112 h 6557032"/>
              <a:gd name="connsiteX39380" fmla="*/ 2554688 w 4610101"/>
              <a:gd name="connsiteY39380" fmla="*/ 294223 h 6557032"/>
              <a:gd name="connsiteX39381" fmla="*/ 2552866 w 4610101"/>
              <a:gd name="connsiteY39381" fmla="*/ 283289 h 6557032"/>
              <a:gd name="connsiteX39382" fmla="*/ 1926038 w 4610101"/>
              <a:gd name="connsiteY39382" fmla="*/ 283289 h 6557032"/>
              <a:gd name="connsiteX39383" fmla="*/ 1922394 w 4610101"/>
              <a:gd name="connsiteY39383" fmla="*/ 296045 h 6557032"/>
              <a:gd name="connsiteX39384" fmla="*/ 1929683 w 4610101"/>
              <a:gd name="connsiteY39384" fmla="*/ 286934 h 6557032"/>
              <a:gd name="connsiteX39385" fmla="*/ 1929683 w 4610101"/>
              <a:gd name="connsiteY39385" fmla="*/ 294223 h 6557032"/>
              <a:gd name="connsiteX39386" fmla="*/ 1936972 w 4610101"/>
              <a:gd name="connsiteY39386" fmla="*/ 294223 h 6557032"/>
              <a:gd name="connsiteX39387" fmla="*/ 1929683 w 4610101"/>
              <a:gd name="connsiteY39387" fmla="*/ 286934 h 6557032"/>
              <a:gd name="connsiteX39388" fmla="*/ 1927861 w 4610101"/>
              <a:gd name="connsiteY39388" fmla="*/ 285112 h 6557032"/>
              <a:gd name="connsiteX39389" fmla="*/ 1926038 w 4610101"/>
              <a:gd name="connsiteY39389" fmla="*/ 283289 h 6557032"/>
              <a:gd name="connsiteX39390" fmla="*/ 3329112 w 4610101"/>
              <a:gd name="connsiteY39390" fmla="*/ 281467 h 6557032"/>
              <a:gd name="connsiteX39391" fmla="*/ 3323646 w 4610101"/>
              <a:gd name="connsiteY39391" fmla="*/ 285112 h 6557032"/>
              <a:gd name="connsiteX39392" fmla="*/ 3332756 w 4610101"/>
              <a:gd name="connsiteY39392" fmla="*/ 303333 h 6557032"/>
              <a:gd name="connsiteX39393" fmla="*/ 3338223 w 4610101"/>
              <a:gd name="connsiteY39393" fmla="*/ 281467 h 6557032"/>
              <a:gd name="connsiteX39394" fmla="*/ 3332756 w 4610101"/>
              <a:gd name="connsiteY39394" fmla="*/ 286934 h 6557032"/>
              <a:gd name="connsiteX39395" fmla="*/ 3329112 w 4610101"/>
              <a:gd name="connsiteY39395" fmla="*/ 281467 h 6557032"/>
              <a:gd name="connsiteX39396" fmla="*/ 1980703 w 4610101"/>
              <a:gd name="connsiteY39396" fmla="*/ 281467 h 6557032"/>
              <a:gd name="connsiteX39397" fmla="*/ 1987992 w 4610101"/>
              <a:gd name="connsiteY39397" fmla="*/ 292400 h 6557032"/>
              <a:gd name="connsiteX39398" fmla="*/ 1986170 w 4610101"/>
              <a:gd name="connsiteY39398" fmla="*/ 281467 h 6557032"/>
              <a:gd name="connsiteX39399" fmla="*/ 1980703 w 4610101"/>
              <a:gd name="connsiteY39399" fmla="*/ 281467 h 6557032"/>
              <a:gd name="connsiteX39400" fmla="*/ 1960659 w 4610101"/>
              <a:gd name="connsiteY39400" fmla="*/ 281467 h 6557032"/>
              <a:gd name="connsiteX39401" fmla="*/ 1962482 w 4610101"/>
              <a:gd name="connsiteY39401" fmla="*/ 288756 h 6557032"/>
              <a:gd name="connsiteX39402" fmla="*/ 1960659 w 4610101"/>
              <a:gd name="connsiteY39402" fmla="*/ 281467 h 6557032"/>
              <a:gd name="connsiteX39403" fmla="*/ 2626721 w 4610101"/>
              <a:gd name="connsiteY39403" fmla="*/ 279474 h 6557032"/>
              <a:gd name="connsiteX39404" fmla="*/ 2628320 w 4610101"/>
              <a:gd name="connsiteY39404" fmla="*/ 280350 h 6557032"/>
              <a:gd name="connsiteX39405" fmla="*/ 2627575 w 4610101"/>
              <a:gd name="connsiteY39405" fmla="*/ 281467 h 6557032"/>
              <a:gd name="connsiteX39406" fmla="*/ 2622898 w 4610101"/>
              <a:gd name="connsiteY39406" fmla="*/ 280114 h 6557032"/>
              <a:gd name="connsiteX39407" fmla="*/ 3125029 w 4610101"/>
              <a:gd name="connsiteY39407" fmla="*/ 277823 h 6557032"/>
              <a:gd name="connsiteX39408" fmla="*/ 3125029 w 4610101"/>
              <a:gd name="connsiteY39408" fmla="*/ 294223 h 6557032"/>
              <a:gd name="connsiteX39409" fmla="*/ 3135962 w 4610101"/>
              <a:gd name="connsiteY39409" fmla="*/ 288756 h 6557032"/>
              <a:gd name="connsiteX39410" fmla="*/ 3125029 w 4610101"/>
              <a:gd name="connsiteY39410" fmla="*/ 277823 h 6557032"/>
              <a:gd name="connsiteX39411" fmla="*/ 2694996 w 4610101"/>
              <a:gd name="connsiteY39411" fmla="*/ 277823 h 6557032"/>
              <a:gd name="connsiteX39412" fmla="*/ 2696500 w 4610101"/>
              <a:gd name="connsiteY39412" fmla="*/ 278972 h 6557032"/>
              <a:gd name="connsiteX39413" fmla="*/ 2695033 w 4610101"/>
              <a:gd name="connsiteY39413" fmla="*/ 280073 h 6557032"/>
              <a:gd name="connsiteX39414" fmla="*/ 1936972 w 4610101"/>
              <a:gd name="connsiteY39414" fmla="*/ 277823 h 6557032"/>
              <a:gd name="connsiteX39415" fmla="*/ 1940616 w 4610101"/>
              <a:gd name="connsiteY39415" fmla="*/ 279645 h 6557032"/>
              <a:gd name="connsiteX39416" fmla="*/ 1935377 w 4610101"/>
              <a:gd name="connsiteY39416" fmla="*/ 280783 h 6557032"/>
              <a:gd name="connsiteX39417" fmla="*/ 1933570 w 4610101"/>
              <a:gd name="connsiteY39417" fmla="*/ 281953 h 6557032"/>
              <a:gd name="connsiteX39418" fmla="*/ 1933327 w 4610101"/>
              <a:gd name="connsiteY39418" fmla="*/ 281467 h 6557032"/>
              <a:gd name="connsiteX39419" fmla="*/ 1931505 w 4610101"/>
              <a:gd name="connsiteY39419" fmla="*/ 283289 h 6557032"/>
              <a:gd name="connsiteX39420" fmla="*/ 1933570 w 4610101"/>
              <a:gd name="connsiteY39420" fmla="*/ 281953 h 6557032"/>
              <a:gd name="connsiteX39421" fmla="*/ 1935149 w 4610101"/>
              <a:gd name="connsiteY39421" fmla="*/ 285112 h 6557032"/>
              <a:gd name="connsiteX39422" fmla="*/ 1944260 w 4610101"/>
              <a:gd name="connsiteY39422" fmla="*/ 279645 h 6557032"/>
              <a:gd name="connsiteX39423" fmla="*/ 1936972 w 4610101"/>
              <a:gd name="connsiteY39423" fmla="*/ 277823 h 6557032"/>
              <a:gd name="connsiteX39424" fmla="*/ 3006587 w 4610101"/>
              <a:gd name="connsiteY39424" fmla="*/ 276001 h 6557032"/>
              <a:gd name="connsiteX39425" fmla="*/ 3006587 w 4610101"/>
              <a:gd name="connsiteY39425" fmla="*/ 283289 h 6557032"/>
              <a:gd name="connsiteX39426" fmla="*/ 3006587 w 4610101"/>
              <a:gd name="connsiteY39426" fmla="*/ 276001 h 6557032"/>
              <a:gd name="connsiteX39427" fmla="*/ 3015698 w 4610101"/>
              <a:gd name="connsiteY39427" fmla="*/ 274179 h 6557032"/>
              <a:gd name="connsiteX39428" fmla="*/ 3017521 w 4610101"/>
              <a:gd name="connsiteY39428" fmla="*/ 283289 h 6557032"/>
              <a:gd name="connsiteX39429" fmla="*/ 3015698 w 4610101"/>
              <a:gd name="connsiteY39429" fmla="*/ 274179 h 6557032"/>
              <a:gd name="connsiteX39430" fmla="*/ 3152361 w 4610101"/>
              <a:gd name="connsiteY39430" fmla="*/ 272356 h 6557032"/>
              <a:gd name="connsiteX39431" fmla="*/ 3154184 w 4610101"/>
              <a:gd name="connsiteY39431" fmla="*/ 281467 h 6557032"/>
              <a:gd name="connsiteX39432" fmla="*/ 3156006 w 4610101"/>
              <a:gd name="connsiteY39432" fmla="*/ 272356 h 6557032"/>
              <a:gd name="connsiteX39433" fmla="*/ 3152361 w 4610101"/>
              <a:gd name="connsiteY39433" fmla="*/ 272356 h 6557032"/>
              <a:gd name="connsiteX39434" fmla="*/ 3033920 w 4610101"/>
              <a:gd name="connsiteY39434" fmla="*/ 272356 h 6557032"/>
              <a:gd name="connsiteX39435" fmla="*/ 3037564 w 4610101"/>
              <a:gd name="connsiteY39435" fmla="*/ 283289 h 6557032"/>
              <a:gd name="connsiteX39436" fmla="*/ 3039387 w 4610101"/>
              <a:gd name="connsiteY39436" fmla="*/ 277823 h 6557032"/>
              <a:gd name="connsiteX39437" fmla="*/ 3035742 w 4610101"/>
              <a:gd name="connsiteY39437" fmla="*/ 277823 h 6557032"/>
              <a:gd name="connsiteX39438" fmla="*/ 3033920 w 4610101"/>
              <a:gd name="connsiteY39438" fmla="*/ 272356 h 6557032"/>
              <a:gd name="connsiteX39439" fmla="*/ 3057608 w 4610101"/>
              <a:gd name="connsiteY39439" fmla="*/ 268712 h 6557032"/>
              <a:gd name="connsiteX39440" fmla="*/ 3061253 w 4610101"/>
              <a:gd name="connsiteY39440" fmla="*/ 279645 h 6557032"/>
              <a:gd name="connsiteX39441" fmla="*/ 3057608 w 4610101"/>
              <a:gd name="connsiteY39441" fmla="*/ 268712 h 6557032"/>
              <a:gd name="connsiteX39442" fmla="*/ 2691253 w 4610101"/>
              <a:gd name="connsiteY39442" fmla="*/ 268023 h 6557032"/>
              <a:gd name="connsiteX39443" fmla="*/ 2691351 w 4610101"/>
              <a:gd name="connsiteY39443" fmla="*/ 268712 h 6557032"/>
              <a:gd name="connsiteX39444" fmla="*/ 2691013 w 4610101"/>
              <a:gd name="connsiteY39444" fmla="*/ 268562 h 6557032"/>
              <a:gd name="connsiteX39445" fmla="*/ 3021165 w 4610101"/>
              <a:gd name="connsiteY39445" fmla="*/ 266890 h 6557032"/>
              <a:gd name="connsiteX39446" fmla="*/ 3032098 w 4610101"/>
              <a:gd name="connsiteY39446" fmla="*/ 279645 h 6557032"/>
              <a:gd name="connsiteX39447" fmla="*/ 3026631 w 4610101"/>
              <a:gd name="connsiteY39447" fmla="*/ 266890 h 6557032"/>
              <a:gd name="connsiteX39448" fmla="*/ 3021165 w 4610101"/>
              <a:gd name="connsiteY39448" fmla="*/ 266890 h 6557032"/>
              <a:gd name="connsiteX39449" fmla="*/ 2751483 w 4610101"/>
              <a:gd name="connsiteY39449" fmla="*/ 266890 h 6557032"/>
              <a:gd name="connsiteX39450" fmla="*/ 2753305 w 4610101"/>
              <a:gd name="connsiteY39450" fmla="*/ 274179 h 6557032"/>
              <a:gd name="connsiteX39451" fmla="*/ 2751483 w 4610101"/>
              <a:gd name="connsiteY39451" fmla="*/ 266890 h 6557032"/>
              <a:gd name="connsiteX39452" fmla="*/ 2301406 w 4610101"/>
              <a:gd name="connsiteY39452" fmla="*/ 266890 h 6557032"/>
              <a:gd name="connsiteX39453" fmla="*/ 2303228 w 4610101"/>
              <a:gd name="connsiteY39453" fmla="*/ 290578 h 6557032"/>
              <a:gd name="connsiteX39454" fmla="*/ 2306873 w 4610101"/>
              <a:gd name="connsiteY39454" fmla="*/ 276001 h 6557032"/>
              <a:gd name="connsiteX39455" fmla="*/ 2299584 w 4610101"/>
              <a:gd name="connsiteY39455" fmla="*/ 279645 h 6557032"/>
              <a:gd name="connsiteX39456" fmla="*/ 2301406 w 4610101"/>
              <a:gd name="connsiteY39456" fmla="*/ 266890 h 6557032"/>
              <a:gd name="connsiteX39457" fmla="*/ 2658299 w 4610101"/>
              <a:gd name="connsiteY39457" fmla="*/ 264185 h 6557032"/>
              <a:gd name="connsiteX39458" fmla="*/ 2650928 w 4610101"/>
              <a:gd name="connsiteY39458" fmla="*/ 276113 h 6557032"/>
              <a:gd name="connsiteX39459" fmla="*/ 2650723 w 4610101"/>
              <a:gd name="connsiteY39459" fmla="*/ 275744 h 6557032"/>
              <a:gd name="connsiteX39460" fmla="*/ 2654225 w 4610101"/>
              <a:gd name="connsiteY39460" fmla="*/ 266662 h 6557032"/>
              <a:gd name="connsiteX39461" fmla="*/ 2334205 w 4610101"/>
              <a:gd name="connsiteY39461" fmla="*/ 263246 h 6557032"/>
              <a:gd name="connsiteX39462" fmla="*/ 2332383 w 4610101"/>
              <a:gd name="connsiteY39462" fmla="*/ 272356 h 6557032"/>
              <a:gd name="connsiteX39463" fmla="*/ 2335846 w 4610101"/>
              <a:gd name="connsiteY39463" fmla="*/ 277625 h 6557032"/>
              <a:gd name="connsiteX39464" fmla="*/ 2335800 w 4610101"/>
              <a:gd name="connsiteY39464" fmla="*/ 278961 h 6557032"/>
              <a:gd name="connsiteX39465" fmla="*/ 2337407 w 4610101"/>
              <a:gd name="connsiteY39465" fmla="*/ 280001 h 6557032"/>
              <a:gd name="connsiteX39466" fmla="*/ 2337622 w 4610101"/>
              <a:gd name="connsiteY39466" fmla="*/ 280328 h 6557032"/>
              <a:gd name="connsiteX39467" fmla="*/ 2330561 w 4610101"/>
              <a:gd name="connsiteY39467" fmla="*/ 286934 h 6557032"/>
              <a:gd name="connsiteX39468" fmla="*/ 2319628 w 4610101"/>
              <a:gd name="connsiteY39468" fmla="*/ 277823 h 6557032"/>
              <a:gd name="connsiteX39469" fmla="*/ 2312339 w 4610101"/>
              <a:gd name="connsiteY39469" fmla="*/ 281467 h 6557032"/>
              <a:gd name="connsiteX39470" fmla="*/ 2319400 w 4610101"/>
              <a:gd name="connsiteY39470" fmla="*/ 284428 h 6557032"/>
              <a:gd name="connsiteX39471" fmla="*/ 2319535 w 4610101"/>
              <a:gd name="connsiteY39471" fmla="*/ 286996 h 6557032"/>
              <a:gd name="connsiteX39472" fmla="*/ 2314161 w 4610101"/>
              <a:gd name="connsiteY39472" fmla="*/ 290578 h 6557032"/>
              <a:gd name="connsiteX39473" fmla="*/ 2308695 w 4610101"/>
              <a:gd name="connsiteY39473" fmla="*/ 294223 h 6557032"/>
              <a:gd name="connsiteX39474" fmla="*/ 2312339 w 4610101"/>
              <a:gd name="connsiteY39474" fmla="*/ 299689 h 6557032"/>
              <a:gd name="connsiteX39475" fmla="*/ 2326916 w 4610101"/>
              <a:gd name="connsiteY39475" fmla="*/ 301511 h 6557032"/>
              <a:gd name="connsiteX39476" fmla="*/ 2325322 w 4610101"/>
              <a:gd name="connsiteY39476" fmla="*/ 292172 h 6557032"/>
              <a:gd name="connsiteX39477" fmla="*/ 2320381 w 4610101"/>
              <a:gd name="connsiteY39477" fmla="*/ 287626 h 6557032"/>
              <a:gd name="connsiteX39478" fmla="*/ 2323272 w 4610101"/>
              <a:gd name="connsiteY39478" fmla="*/ 283289 h 6557032"/>
              <a:gd name="connsiteX39479" fmla="*/ 2330561 w 4610101"/>
              <a:gd name="connsiteY39479" fmla="*/ 305155 h 6557032"/>
              <a:gd name="connsiteX39480" fmla="*/ 2337850 w 4610101"/>
              <a:gd name="connsiteY39480" fmla="*/ 305155 h 6557032"/>
              <a:gd name="connsiteX39481" fmla="*/ 2339672 w 4610101"/>
              <a:gd name="connsiteY39481" fmla="*/ 281467 h 6557032"/>
              <a:gd name="connsiteX39482" fmla="*/ 2337407 w 4610101"/>
              <a:gd name="connsiteY39482" fmla="*/ 280001 h 6557032"/>
              <a:gd name="connsiteX39483" fmla="*/ 2335846 w 4610101"/>
              <a:gd name="connsiteY39483" fmla="*/ 277625 h 6557032"/>
              <a:gd name="connsiteX39484" fmla="*/ 2336027 w 4610101"/>
              <a:gd name="connsiteY39484" fmla="*/ 272356 h 6557032"/>
              <a:gd name="connsiteX39485" fmla="*/ 2345138 w 4610101"/>
              <a:gd name="connsiteY39485" fmla="*/ 277823 h 6557032"/>
              <a:gd name="connsiteX39486" fmla="*/ 2348782 w 4610101"/>
              <a:gd name="connsiteY39486" fmla="*/ 272356 h 6557032"/>
              <a:gd name="connsiteX39487" fmla="*/ 2346960 w 4610101"/>
              <a:gd name="connsiteY39487" fmla="*/ 266890 h 6557032"/>
              <a:gd name="connsiteX39488" fmla="*/ 2332383 w 4610101"/>
              <a:gd name="connsiteY39488" fmla="*/ 272356 h 6557032"/>
              <a:gd name="connsiteX39489" fmla="*/ 2334205 w 4610101"/>
              <a:gd name="connsiteY39489" fmla="*/ 263246 h 6557032"/>
              <a:gd name="connsiteX39490" fmla="*/ 2287541 w 4610101"/>
              <a:gd name="connsiteY39490" fmla="*/ 262776 h 6557032"/>
              <a:gd name="connsiteX39491" fmla="*/ 2285636 w 4610101"/>
              <a:gd name="connsiteY39491" fmla="*/ 271351 h 6557032"/>
              <a:gd name="connsiteX39492" fmla="*/ 2284551 w 4610101"/>
              <a:gd name="connsiteY39492" fmla="*/ 270989 h 6557032"/>
              <a:gd name="connsiteX39493" fmla="*/ 2283184 w 4610101"/>
              <a:gd name="connsiteY39493" fmla="*/ 266890 h 6557032"/>
              <a:gd name="connsiteX39494" fmla="*/ 2287512 w 4610101"/>
              <a:gd name="connsiteY39494" fmla="*/ 262790 h 6557032"/>
              <a:gd name="connsiteX39495" fmla="*/ 3044853 w 4610101"/>
              <a:gd name="connsiteY39495" fmla="*/ 261423 h 6557032"/>
              <a:gd name="connsiteX39496" fmla="*/ 3048497 w 4610101"/>
              <a:gd name="connsiteY39496" fmla="*/ 272356 h 6557032"/>
              <a:gd name="connsiteX39497" fmla="*/ 3044853 w 4610101"/>
              <a:gd name="connsiteY39497" fmla="*/ 261423 h 6557032"/>
              <a:gd name="connsiteX39498" fmla="*/ 2665182 w 4610101"/>
              <a:gd name="connsiteY39498" fmla="*/ 260001 h 6557032"/>
              <a:gd name="connsiteX39499" fmla="*/ 2658299 w 4610101"/>
              <a:gd name="connsiteY39499" fmla="*/ 264185 h 6557032"/>
              <a:gd name="connsiteX39500" fmla="*/ 2660147 w 4610101"/>
              <a:gd name="connsiteY39500" fmla="*/ 261195 h 6557032"/>
              <a:gd name="connsiteX39501" fmla="*/ 3028453 w 4610101"/>
              <a:gd name="connsiteY39501" fmla="*/ 259601 h 6557032"/>
              <a:gd name="connsiteX39502" fmla="*/ 3028453 w 4610101"/>
              <a:gd name="connsiteY39502" fmla="*/ 265068 h 6557032"/>
              <a:gd name="connsiteX39503" fmla="*/ 3033920 w 4610101"/>
              <a:gd name="connsiteY39503" fmla="*/ 265068 h 6557032"/>
              <a:gd name="connsiteX39504" fmla="*/ 3028453 w 4610101"/>
              <a:gd name="connsiteY39504" fmla="*/ 259601 h 6557032"/>
              <a:gd name="connsiteX39505" fmla="*/ 2665841 w 4610101"/>
              <a:gd name="connsiteY39505" fmla="*/ 259601 h 6557032"/>
              <a:gd name="connsiteX39506" fmla="*/ 2665725 w 4610101"/>
              <a:gd name="connsiteY39506" fmla="*/ 259873 h 6557032"/>
              <a:gd name="connsiteX39507" fmla="*/ 2665182 w 4610101"/>
              <a:gd name="connsiteY39507" fmla="*/ 260001 h 6557032"/>
              <a:gd name="connsiteX39508" fmla="*/ 2571088 w 4610101"/>
              <a:gd name="connsiteY39508" fmla="*/ 259601 h 6557032"/>
              <a:gd name="connsiteX39509" fmla="*/ 2569266 w 4610101"/>
              <a:gd name="connsiteY39509" fmla="*/ 265068 h 6557032"/>
              <a:gd name="connsiteX39510" fmla="*/ 2567760 w 4610101"/>
              <a:gd name="connsiteY39510" fmla="*/ 264692 h 6557032"/>
              <a:gd name="connsiteX39511" fmla="*/ 2350605 w 4610101"/>
              <a:gd name="connsiteY39511" fmla="*/ 259601 h 6557032"/>
              <a:gd name="connsiteX39512" fmla="*/ 2350605 w 4610101"/>
              <a:gd name="connsiteY39512" fmla="*/ 270534 h 6557032"/>
              <a:gd name="connsiteX39513" fmla="*/ 2350605 w 4610101"/>
              <a:gd name="connsiteY39513" fmla="*/ 259601 h 6557032"/>
              <a:gd name="connsiteX39514" fmla="*/ 2681529 w 4610101"/>
              <a:gd name="connsiteY39514" fmla="*/ 256125 h 6557032"/>
              <a:gd name="connsiteX39515" fmla="*/ 2681102 w 4610101"/>
              <a:gd name="connsiteY39515" fmla="*/ 257323 h 6557032"/>
              <a:gd name="connsiteX39516" fmla="*/ 2678596 w 4610101"/>
              <a:gd name="connsiteY39516" fmla="*/ 257779 h 6557032"/>
              <a:gd name="connsiteX39517" fmla="*/ 2683607 w 4610101"/>
              <a:gd name="connsiteY39517" fmla="*/ 265295 h 6557032"/>
              <a:gd name="connsiteX39518" fmla="*/ 2691013 w 4610101"/>
              <a:gd name="connsiteY39518" fmla="*/ 268562 h 6557032"/>
              <a:gd name="connsiteX39519" fmla="*/ 2687707 w 4610101"/>
              <a:gd name="connsiteY39519" fmla="*/ 276001 h 6557032"/>
              <a:gd name="connsiteX39520" fmla="*/ 2693174 w 4610101"/>
              <a:gd name="connsiteY39520" fmla="*/ 281467 h 6557032"/>
              <a:gd name="connsiteX39521" fmla="*/ 2695033 w 4610101"/>
              <a:gd name="connsiteY39521" fmla="*/ 280073 h 6557032"/>
              <a:gd name="connsiteX39522" fmla="*/ 2695224 w 4610101"/>
              <a:gd name="connsiteY39522" fmla="*/ 291944 h 6557032"/>
              <a:gd name="connsiteX39523" fmla="*/ 2702284 w 4610101"/>
              <a:gd name="connsiteY39523" fmla="*/ 303333 h 6557032"/>
              <a:gd name="connsiteX39524" fmla="*/ 2691351 w 4610101"/>
              <a:gd name="connsiteY39524" fmla="*/ 316089 h 6557032"/>
              <a:gd name="connsiteX39525" fmla="*/ 2694996 w 4610101"/>
              <a:gd name="connsiteY39525" fmla="*/ 317911 h 6557032"/>
              <a:gd name="connsiteX39526" fmla="*/ 2687707 w 4610101"/>
              <a:gd name="connsiteY39526" fmla="*/ 327022 h 6557032"/>
              <a:gd name="connsiteX39527" fmla="*/ 2685885 w 4610101"/>
              <a:gd name="connsiteY39527" fmla="*/ 319733 h 6557032"/>
              <a:gd name="connsiteX39528" fmla="*/ 2682240 w 4610101"/>
              <a:gd name="connsiteY39528" fmla="*/ 325199 h 6557032"/>
              <a:gd name="connsiteX39529" fmla="*/ 2682240 w 4610101"/>
              <a:gd name="connsiteY39529" fmla="*/ 319733 h 6557032"/>
              <a:gd name="connsiteX39530" fmla="*/ 2676774 w 4610101"/>
              <a:gd name="connsiteY39530" fmla="*/ 323377 h 6557032"/>
              <a:gd name="connsiteX39531" fmla="*/ 2669485 w 4610101"/>
              <a:gd name="connsiteY39531" fmla="*/ 308800 h 6557032"/>
              <a:gd name="connsiteX39532" fmla="*/ 2663336 w 4610101"/>
              <a:gd name="connsiteY39532" fmla="*/ 302194 h 6557032"/>
              <a:gd name="connsiteX39533" fmla="*/ 2660795 w 4610101"/>
              <a:gd name="connsiteY39533" fmla="*/ 297960 h 6557032"/>
              <a:gd name="connsiteX39534" fmla="*/ 2661286 w 4610101"/>
              <a:gd name="connsiteY39534" fmla="*/ 297183 h 6557032"/>
              <a:gd name="connsiteX39535" fmla="*/ 2664019 w 4610101"/>
              <a:gd name="connsiteY39535" fmla="*/ 299689 h 6557032"/>
              <a:gd name="connsiteX39536" fmla="*/ 2667663 w 4610101"/>
              <a:gd name="connsiteY39536" fmla="*/ 285112 h 6557032"/>
              <a:gd name="connsiteX39537" fmla="*/ 2660375 w 4610101"/>
              <a:gd name="connsiteY39537" fmla="*/ 291261 h 6557032"/>
              <a:gd name="connsiteX39538" fmla="*/ 2659552 w 4610101"/>
              <a:gd name="connsiteY39538" fmla="*/ 295888 h 6557032"/>
              <a:gd name="connsiteX39539" fmla="*/ 2658552 w 4610101"/>
              <a:gd name="connsiteY39539" fmla="*/ 294223 h 6557032"/>
              <a:gd name="connsiteX39540" fmla="*/ 2653086 w 4610101"/>
              <a:gd name="connsiteY39540" fmla="*/ 296045 h 6557032"/>
              <a:gd name="connsiteX39541" fmla="*/ 2651263 w 4610101"/>
              <a:gd name="connsiteY39541" fmla="*/ 286934 h 6557032"/>
              <a:gd name="connsiteX39542" fmla="*/ 2649441 w 4610101"/>
              <a:gd name="connsiteY39542" fmla="*/ 292400 h 6557032"/>
              <a:gd name="connsiteX39543" fmla="*/ 2643975 w 4610101"/>
              <a:gd name="connsiteY39543" fmla="*/ 285112 h 6557032"/>
              <a:gd name="connsiteX39544" fmla="*/ 2640330 w 4610101"/>
              <a:gd name="connsiteY39544" fmla="*/ 286934 h 6557032"/>
              <a:gd name="connsiteX39545" fmla="*/ 2628320 w 4610101"/>
              <a:gd name="connsiteY39545" fmla="*/ 280350 h 6557032"/>
              <a:gd name="connsiteX39546" fmla="*/ 2631219 w 4610101"/>
              <a:gd name="connsiteY39546" fmla="*/ 276001 h 6557032"/>
              <a:gd name="connsiteX39547" fmla="*/ 2647619 w 4610101"/>
              <a:gd name="connsiteY39547" fmla="*/ 281467 h 6557032"/>
              <a:gd name="connsiteX39548" fmla="*/ 2650928 w 4610101"/>
              <a:gd name="connsiteY39548" fmla="*/ 276113 h 6557032"/>
              <a:gd name="connsiteX39549" fmla="*/ 2654908 w 4610101"/>
              <a:gd name="connsiteY39549" fmla="*/ 283289 h 6557032"/>
              <a:gd name="connsiteX39550" fmla="*/ 2662197 w 4610101"/>
              <a:gd name="connsiteY39550" fmla="*/ 283289 h 6557032"/>
              <a:gd name="connsiteX39551" fmla="*/ 2664019 w 4610101"/>
              <a:gd name="connsiteY39551" fmla="*/ 276001 h 6557032"/>
              <a:gd name="connsiteX39552" fmla="*/ 2669485 w 4610101"/>
              <a:gd name="connsiteY39552" fmla="*/ 281467 h 6557032"/>
              <a:gd name="connsiteX39553" fmla="*/ 2673130 w 4610101"/>
              <a:gd name="connsiteY39553" fmla="*/ 290578 h 6557032"/>
              <a:gd name="connsiteX39554" fmla="*/ 2678596 w 4610101"/>
              <a:gd name="connsiteY39554" fmla="*/ 272356 h 6557032"/>
              <a:gd name="connsiteX39555" fmla="*/ 2665841 w 4610101"/>
              <a:gd name="connsiteY39555" fmla="*/ 263246 h 6557032"/>
              <a:gd name="connsiteX39556" fmla="*/ 2660374 w 4610101"/>
              <a:gd name="connsiteY39556" fmla="*/ 272356 h 6557032"/>
              <a:gd name="connsiteX39557" fmla="*/ 2665725 w 4610101"/>
              <a:gd name="connsiteY39557" fmla="*/ 259873 h 6557032"/>
              <a:gd name="connsiteX39558" fmla="*/ 2323272 w 4610101"/>
              <a:gd name="connsiteY39558" fmla="*/ 255957 h 6557032"/>
              <a:gd name="connsiteX39559" fmla="*/ 2319628 w 4610101"/>
              <a:gd name="connsiteY39559" fmla="*/ 257779 h 6557032"/>
              <a:gd name="connsiteX39560" fmla="*/ 2314161 w 4610101"/>
              <a:gd name="connsiteY39560" fmla="*/ 261423 h 6557032"/>
              <a:gd name="connsiteX39561" fmla="*/ 2323272 w 4610101"/>
              <a:gd name="connsiteY39561" fmla="*/ 263246 h 6557032"/>
              <a:gd name="connsiteX39562" fmla="*/ 2323272 w 4610101"/>
              <a:gd name="connsiteY39562" fmla="*/ 255957 h 6557032"/>
              <a:gd name="connsiteX39563" fmla="*/ 2681764 w 4610101"/>
              <a:gd name="connsiteY39563" fmla="*/ 255469 h 6557032"/>
              <a:gd name="connsiteX39564" fmla="*/ 2682240 w 4610101"/>
              <a:gd name="connsiteY39564" fmla="*/ 255957 h 6557032"/>
              <a:gd name="connsiteX39565" fmla="*/ 2681529 w 4610101"/>
              <a:gd name="connsiteY39565" fmla="*/ 256125 h 6557032"/>
              <a:gd name="connsiteX39566" fmla="*/ 1951549 w 4610101"/>
              <a:gd name="connsiteY39566" fmla="*/ 254135 h 6557032"/>
              <a:gd name="connsiteX39567" fmla="*/ 1954586 w 4610101"/>
              <a:gd name="connsiteY39567" fmla="*/ 257171 h 6557032"/>
              <a:gd name="connsiteX39568" fmla="*/ 1954972 w 4610101"/>
              <a:gd name="connsiteY39568" fmla="*/ 259877 h 6557032"/>
              <a:gd name="connsiteX39569" fmla="*/ 1949726 w 4610101"/>
              <a:gd name="connsiteY39569" fmla="*/ 259601 h 6557032"/>
              <a:gd name="connsiteX39570" fmla="*/ 1951549 w 4610101"/>
              <a:gd name="connsiteY39570" fmla="*/ 254135 h 6557032"/>
              <a:gd name="connsiteX39571" fmla="*/ 3239826 w 4610101"/>
              <a:gd name="connsiteY39571" fmla="*/ 252313 h 6557032"/>
              <a:gd name="connsiteX39572" fmla="*/ 3240964 w 4610101"/>
              <a:gd name="connsiteY39572" fmla="*/ 255209 h 6557032"/>
              <a:gd name="connsiteX39573" fmla="*/ 3238744 w 4610101"/>
              <a:gd name="connsiteY39573" fmla="*/ 258698 h 6557032"/>
              <a:gd name="connsiteX39574" fmla="*/ 3238232 w 4610101"/>
              <a:gd name="connsiteY39574" fmla="*/ 258007 h 6557032"/>
              <a:gd name="connsiteX39575" fmla="*/ 3239826 w 4610101"/>
              <a:gd name="connsiteY39575" fmla="*/ 252313 h 6557032"/>
              <a:gd name="connsiteX39576" fmla="*/ 3094052 w 4610101"/>
              <a:gd name="connsiteY39576" fmla="*/ 252313 h 6557032"/>
              <a:gd name="connsiteX39577" fmla="*/ 3095874 w 4610101"/>
              <a:gd name="connsiteY39577" fmla="*/ 279645 h 6557032"/>
              <a:gd name="connsiteX39578" fmla="*/ 3090407 w 4610101"/>
              <a:gd name="connsiteY39578" fmla="*/ 308800 h 6557032"/>
              <a:gd name="connsiteX39579" fmla="*/ 3094052 w 4610101"/>
              <a:gd name="connsiteY39579" fmla="*/ 310622 h 6557032"/>
              <a:gd name="connsiteX39580" fmla="*/ 3094052 w 4610101"/>
              <a:gd name="connsiteY39580" fmla="*/ 306978 h 6557032"/>
              <a:gd name="connsiteX39581" fmla="*/ 3103163 w 4610101"/>
              <a:gd name="connsiteY39581" fmla="*/ 319733 h 6557032"/>
              <a:gd name="connsiteX39582" fmla="*/ 3115918 w 4610101"/>
              <a:gd name="connsiteY39582" fmla="*/ 277823 h 6557032"/>
              <a:gd name="connsiteX39583" fmla="*/ 3121384 w 4610101"/>
              <a:gd name="connsiteY39583" fmla="*/ 288756 h 6557032"/>
              <a:gd name="connsiteX39584" fmla="*/ 3123206 w 4610101"/>
              <a:gd name="connsiteY39584" fmla="*/ 265068 h 6557032"/>
              <a:gd name="connsiteX39585" fmla="*/ 3106807 w 4610101"/>
              <a:gd name="connsiteY39585" fmla="*/ 263246 h 6557032"/>
              <a:gd name="connsiteX39586" fmla="*/ 3095874 w 4610101"/>
              <a:gd name="connsiteY39586" fmla="*/ 252313 h 6557032"/>
              <a:gd name="connsiteX39587" fmla="*/ 3094052 w 4610101"/>
              <a:gd name="connsiteY39587" fmla="*/ 259601 h 6557032"/>
              <a:gd name="connsiteX39588" fmla="*/ 3094052 w 4610101"/>
              <a:gd name="connsiteY39588" fmla="*/ 252313 h 6557032"/>
              <a:gd name="connsiteX39589" fmla="*/ 3068541 w 4610101"/>
              <a:gd name="connsiteY39589" fmla="*/ 252313 h 6557032"/>
              <a:gd name="connsiteX39590" fmla="*/ 3068541 w 4610101"/>
              <a:gd name="connsiteY39590" fmla="*/ 277823 h 6557032"/>
              <a:gd name="connsiteX39591" fmla="*/ 3064897 w 4610101"/>
              <a:gd name="connsiteY39591" fmla="*/ 274179 h 6557032"/>
              <a:gd name="connsiteX39592" fmla="*/ 3063075 w 4610101"/>
              <a:gd name="connsiteY39592" fmla="*/ 286934 h 6557032"/>
              <a:gd name="connsiteX39593" fmla="*/ 3074008 w 4610101"/>
              <a:gd name="connsiteY39593" fmla="*/ 288756 h 6557032"/>
              <a:gd name="connsiteX39594" fmla="*/ 3077652 w 4610101"/>
              <a:gd name="connsiteY39594" fmla="*/ 259601 h 6557032"/>
              <a:gd name="connsiteX39595" fmla="*/ 3068541 w 4610101"/>
              <a:gd name="connsiteY39595" fmla="*/ 259601 h 6557032"/>
              <a:gd name="connsiteX39596" fmla="*/ 3068541 w 4610101"/>
              <a:gd name="connsiteY39596" fmla="*/ 252313 h 6557032"/>
              <a:gd name="connsiteX39597" fmla="*/ 2288196 w 4610101"/>
              <a:gd name="connsiteY39597" fmla="*/ 252084 h 6557032"/>
              <a:gd name="connsiteX39598" fmla="*/ 2283184 w 4610101"/>
              <a:gd name="connsiteY39598" fmla="*/ 252313 h 6557032"/>
              <a:gd name="connsiteX39599" fmla="*/ 2290473 w 4610101"/>
              <a:gd name="connsiteY39599" fmla="*/ 255957 h 6557032"/>
              <a:gd name="connsiteX39600" fmla="*/ 2288196 w 4610101"/>
              <a:gd name="connsiteY39600" fmla="*/ 252084 h 6557032"/>
              <a:gd name="connsiteX39601" fmla="*/ 2282274 w 4610101"/>
              <a:gd name="connsiteY39601" fmla="*/ 251857 h 6557032"/>
              <a:gd name="connsiteX39602" fmla="*/ 2274074 w 4610101"/>
              <a:gd name="connsiteY39602" fmla="*/ 254135 h 6557032"/>
              <a:gd name="connsiteX39603" fmla="*/ 2274074 w 4610101"/>
              <a:gd name="connsiteY39603" fmla="*/ 261423 h 6557032"/>
              <a:gd name="connsiteX39604" fmla="*/ 2281362 w 4610101"/>
              <a:gd name="connsiteY39604" fmla="*/ 263246 h 6557032"/>
              <a:gd name="connsiteX39605" fmla="*/ 2272251 w 4610101"/>
              <a:gd name="connsiteY39605" fmla="*/ 268712 h 6557032"/>
              <a:gd name="connsiteX39606" fmla="*/ 2270429 w 4610101"/>
              <a:gd name="connsiteY39606" fmla="*/ 263246 h 6557032"/>
              <a:gd name="connsiteX39607" fmla="*/ 2272251 w 4610101"/>
              <a:gd name="connsiteY39607" fmla="*/ 252313 h 6557032"/>
              <a:gd name="connsiteX39608" fmla="*/ 2237630 w 4610101"/>
              <a:gd name="connsiteY39608" fmla="*/ 261423 h 6557032"/>
              <a:gd name="connsiteX39609" fmla="*/ 2215764 w 4610101"/>
              <a:gd name="connsiteY39609" fmla="*/ 257779 h 6557032"/>
              <a:gd name="connsiteX39610" fmla="*/ 2210297 w 4610101"/>
              <a:gd name="connsiteY39610" fmla="*/ 308800 h 6557032"/>
              <a:gd name="connsiteX39611" fmla="*/ 2213942 w 4610101"/>
              <a:gd name="connsiteY39611" fmla="*/ 301511 h 6557032"/>
              <a:gd name="connsiteX39612" fmla="*/ 2215764 w 4610101"/>
              <a:gd name="connsiteY39612" fmla="*/ 310622 h 6557032"/>
              <a:gd name="connsiteX39613" fmla="*/ 2233986 w 4610101"/>
              <a:gd name="connsiteY39613" fmla="*/ 316089 h 6557032"/>
              <a:gd name="connsiteX39614" fmla="*/ 2235808 w 4610101"/>
              <a:gd name="connsiteY39614" fmla="*/ 310622 h 6557032"/>
              <a:gd name="connsiteX39615" fmla="*/ 2246741 w 4610101"/>
              <a:gd name="connsiteY39615" fmla="*/ 314266 h 6557032"/>
              <a:gd name="connsiteX39616" fmla="*/ 2248563 w 4610101"/>
              <a:gd name="connsiteY39616" fmla="*/ 323377 h 6557032"/>
              <a:gd name="connsiteX39617" fmla="*/ 2232163 w 4610101"/>
              <a:gd name="connsiteY39617" fmla="*/ 319733 h 6557032"/>
              <a:gd name="connsiteX39618" fmla="*/ 2232163 w 4610101"/>
              <a:gd name="connsiteY39618" fmla="*/ 327022 h 6557032"/>
              <a:gd name="connsiteX39619" fmla="*/ 2213942 w 4610101"/>
              <a:gd name="connsiteY39619" fmla="*/ 314266 h 6557032"/>
              <a:gd name="connsiteX39620" fmla="*/ 2215764 w 4610101"/>
              <a:gd name="connsiteY39620" fmla="*/ 317911 h 6557032"/>
              <a:gd name="connsiteX39621" fmla="*/ 2208475 w 4610101"/>
              <a:gd name="connsiteY39621" fmla="*/ 312444 h 6557032"/>
              <a:gd name="connsiteX39622" fmla="*/ 2210297 w 4610101"/>
              <a:gd name="connsiteY39622" fmla="*/ 332488 h 6557032"/>
              <a:gd name="connsiteX39623" fmla="*/ 2213942 w 4610101"/>
              <a:gd name="connsiteY39623" fmla="*/ 319733 h 6557032"/>
              <a:gd name="connsiteX39624" fmla="*/ 2221230 w 4610101"/>
              <a:gd name="connsiteY39624" fmla="*/ 332488 h 6557032"/>
              <a:gd name="connsiteX39625" fmla="*/ 2213942 w 4610101"/>
              <a:gd name="connsiteY39625" fmla="*/ 332488 h 6557032"/>
              <a:gd name="connsiteX39626" fmla="*/ 2203009 w 4610101"/>
              <a:gd name="connsiteY39626" fmla="*/ 336133 h 6557032"/>
              <a:gd name="connsiteX39627" fmla="*/ 2204831 w 4610101"/>
              <a:gd name="connsiteY39627" fmla="*/ 325199 h 6557032"/>
              <a:gd name="connsiteX39628" fmla="*/ 2208475 w 4610101"/>
              <a:gd name="connsiteY39628" fmla="*/ 370754 h 6557032"/>
              <a:gd name="connsiteX39629" fmla="*/ 2210297 w 4610101"/>
              <a:gd name="connsiteY39629" fmla="*/ 367109 h 6557032"/>
              <a:gd name="connsiteX39630" fmla="*/ 2230341 w 4610101"/>
              <a:gd name="connsiteY39630" fmla="*/ 359821 h 6557032"/>
              <a:gd name="connsiteX39631" fmla="*/ 2230341 w 4610101"/>
              <a:gd name="connsiteY39631" fmla="*/ 368932 h 6557032"/>
              <a:gd name="connsiteX39632" fmla="*/ 2243096 w 4610101"/>
              <a:gd name="connsiteY39632" fmla="*/ 350710 h 6557032"/>
              <a:gd name="connsiteX39633" fmla="*/ 2248563 w 4610101"/>
              <a:gd name="connsiteY39633" fmla="*/ 359821 h 6557032"/>
              <a:gd name="connsiteX39634" fmla="*/ 2254030 w 4610101"/>
              <a:gd name="connsiteY39634" fmla="*/ 352532 h 6557032"/>
              <a:gd name="connsiteX39635" fmla="*/ 2257674 w 4610101"/>
              <a:gd name="connsiteY39635" fmla="*/ 359821 h 6557032"/>
              <a:gd name="connsiteX39636" fmla="*/ 2264963 w 4610101"/>
              <a:gd name="connsiteY39636" fmla="*/ 352532 h 6557032"/>
              <a:gd name="connsiteX39637" fmla="*/ 2252207 w 4610101"/>
              <a:gd name="connsiteY39637" fmla="*/ 348888 h 6557032"/>
              <a:gd name="connsiteX39638" fmla="*/ 2259496 w 4610101"/>
              <a:gd name="connsiteY39638" fmla="*/ 336133 h 6557032"/>
              <a:gd name="connsiteX39639" fmla="*/ 2261318 w 4610101"/>
              <a:gd name="connsiteY39639" fmla="*/ 341598 h 6557032"/>
              <a:gd name="connsiteX39640" fmla="*/ 2263140 w 4610101"/>
              <a:gd name="connsiteY39640" fmla="*/ 339777 h 6557032"/>
              <a:gd name="connsiteX39641" fmla="*/ 2261318 w 4610101"/>
              <a:gd name="connsiteY39641" fmla="*/ 347066 h 6557032"/>
              <a:gd name="connsiteX39642" fmla="*/ 2268607 w 4610101"/>
              <a:gd name="connsiteY39642" fmla="*/ 348888 h 6557032"/>
              <a:gd name="connsiteX39643" fmla="*/ 2275896 w 4610101"/>
              <a:gd name="connsiteY39643" fmla="*/ 341598 h 6557032"/>
              <a:gd name="connsiteX39644" fmla="*/ 2274074 w 4610101"/>
              <a:gd name="connsiteY39644" fmla="*/ 334310 h 6557032"/>
              <a:gd name="connsiteX39645" fmla="*/ 2266785 w 4610101"/>
              <a:gd name="connsiteY39645" fmla="*/ 341598 h 6557032"/>
              <a:gd name="connsiteX39646" fmla="*/ 2264963 w 4610101"/>
              <a:gd name="connsiteY39646" fmla="*/ 334310 h 6557032"/>
              <a:gd name="connsiteX39647" fmla="*/ 2270429 w 4610101"/>
              <a:gd name="connsiteY39647" fmla="*/ 305155 h 6557032"/>
              <a:gd name="connsiteX39648" fmla="*/ 2264963 w 4610101"/>
              <a:gd name="connsiteY39648" fmla="*/ 312444 h 6557032"/>
              <a:gd name="connsiteX39649" fmla="*/ 2263140 w 4610101"/>
              <a:gd name="connsiteY39649" fmla="*/ 332488 h 6557032"/>
              <a:gd name="connsiteX39650" fmla="*/ 2261318 w 4610101"/>
              <a:gd name="connsiteY39650" fmla="*/ 325199 h 6557032"/>
              <a:gd name="connsiteX39651" fmla="*/ 2254030 w 4610101"/>
              <a:gd name="connsiteY39651" fmla="*/ 332488 h 6557032"/>
              <a:gd name="connsiteX39652" fmla="*/ 2255852 w 4610101"/>
              <a:gd name="connsiteY39652" fmla="*/ 321555 h 6557032"/>
              <a:gd name="connsiteX39653" fmla="*/ 2261318 w 4610101"/>
              <a:gd name="connsiteY39653" fmla="*/ 314266 h 6557032"/>
              <a:gd name="connsiteX39654" fmla="*/ 2257674 w 4610101"/>
              <a:gd name="connsiteY39654" fmla="*/ 312444 h 6557032"/>
              <a:gd name="connsiteX39655" fmla="*/ 2255852 w 4610101"/>
              <a:gd name="connsiteY39655" fmla="*/ 316089 h 6557032"/>
              <a:gd name="connsiteX39656" fmla="*/ 2255852 w 4610101"/>
              <a:gd name="connsiteY39656" fmla="*/ 301511 h 6557032"/>
              <a:gd name="connsiteX39657" fmla="*/ 2246741 w 4610101"/>
              <a:gd name="connsiteY39657" fmla="*/ 299689 h 6557032"/>
              <a:gd name="connsiteX39658" fmla="*/ 2250385 w 4610101"/>
              <a:gd name="connsiteY39658" fmla="*/ 292400 h 6557032"/>
              <a:gd name="connsiteX39659" fmla="*/ 2254030 w 4610101"/>
              <a:gd name="connsiteY39659" fmla="*/ 274179 h 6557032"/>
              <a:gd name="connsiteX39660" fmla="*/ 2266785 w 4610101"/>
              <a:gd name="connsiteY39660" fmla="*/ 292400 h 6557032"/>
              <a:gd name="connsiteX39661" fmla="*/ 2274074 w 4610101"/>
              <a:gd name="connsiteY39661" fmla="*/ 286934 h 6557032"/>
              <a:gd name="connsiteX39662" fmla="*/ 2277718 w 4610101"/>
              <a:gd name="connsiteY39662" fmla="*/ 294223 h 6557032"/>
              <a:gd name="connsiteX39663" fmla="*/ 2275896 w 4610101"/>
              <a:gd name="connsiteY39663" fmla="*/ 272356 h 6557032"/>
              <a:gd name="connsiteX39664" fmla="*/ 2283184 w 4610101"/>
              <a:gd name="connsiteY39664" fmla="*/ 270534 h 6557032"/>
              <a:gd name="connsiteX39665" fmla="*/ 2285007 w 4610101"/>
              <a:gd name="connsiteY39665" fmla="*/ 274179 h 6557032"/>
              <a:gd name="connsiteX39666" fmla="*/ 2285636 w 4610101"/>
              <a:gd name="connsiteY39666" fmla="*/ 271351 h 6557032"/>
              <a:gd name="connsiteX39667" fmla="*/ 2288651 w 4610101"/>
              <a:gd name="connsiteY39667" fmla="*/ 272356 h 6557032"/>
              <a:gd name="connsiteX39668" fmla="*/ 2290473 w 4610101"/>
              <a:gd name="connsiteY39668" fmla="*/ 261423 h 6557032"/>
              <a:gd name="connsiteX39669" fmla="*/ 2287541 w 4610101"/>
              <a:gd name="connsiteY39669" fmla="*/ 262776 h 6557032"/>
              <a:gd name="connsiteX39670" fmla="*/ 2288651 w 4610101"/>
              <a:gd name="connsiteY39670" fmla="*/ 257779 h 6557032"/>
              <a:gd name="connsiteX39671" fmla="*/ 2285007 w 4610101"/>
              <a:gd name="connsiteY39671" fmla="*/ 257779 h 6557032"/>
              <a:gd name="connsiteX39672" fmla="*/ 2282274 w 4610101"/>
              <a:gd name="connsiteY39672" fmla="*/ 251857 h 6557032"/>
              <a:gd name="connsiteX39673" fmla="*/ 1953632 w 4610101"/>
              <a:gd name="connsiteY39673" fmla="*/ 250494 h 6557032"/>
              <a:gd name="connsiteX39674" fmla="*/ 1955194 w 4610101"/>
              <a:gd name="connsiteY39674" fmla="*/ 257779 h 6557032"/>
              <a:gd name="connsiteX39675" fmla="*/ 1954586 w 4610101"/>
              <a:gd name="connsiteY39675" fmla="*/ 257171 h 6557032"/>
              <a:gd name="connsiteX39676" fmla="*/ 3296313 w 4610101"/>
              <a:gd name="connsiteY39676" fmla="*/ 250490 h 6557032"/>
              <a:gd name="connsiteX39677" fmla="*/ 3299046 w 4610101"/>
              <a:gd name="connsiteY39677" fmla="*/ 251173 h 6557032"/>
              <a:gd name="connsiteX39678" fmla="*/ 3299958 w 4610101"/>
              <a:gd name="connsiteY39678" fmla="*/ 250945 h 6557032"/>
              <a:gd name="connsiteX39679" fmla="*/ 3299957 w 4610101"/>
              <a:gd name="connsiteY39679" fmla="*/ 252312 h 6557032"/>
              <a:gd name="connsiteX39680" fmla="*/ 3296886 w 4610101"/>
              <a:gd name="connsiteY39680" fmla="*/ 255384 h 6557032"/>
              <a:gd name="connsiteX39681" fmla="*/ 3295383 w 4610101"/>
              <a:gd name="connsiteY39681" fmla="*/ 254212 h 6557032"/>
              <a:gd name="connsiteX39682" fmla="*/ 3004765 w 4610101"/>
              <a:gd name="connsiteY39682" fmla="*/ 246846 h 6557032"/>
              <a:gd name="connsiteX39683" fmla="*/ 3004765 w 4610101"/>
              <a:gd name="connsiteY39683" fmla="*/ 255957 h 6557032"/>
              <a:gd name="connsiteX39684" fmla="*/ 3002943 w 4610101"/>
              <a:gd name="connsiteY39684" fmla="*/ 254135 h 6557032"/>
              <a:gd name="connsiteX39685" fmla="*/ 3006587 w 4610101"/>
              <a:gd name="connsiteY39685" fmla="*/ 257779 h 6557032"/>
              <a:gd name="connsiteX39686" fmla="*/ 3008410 w 4610101"/>
              <a:gd name="connsiteY39686" fmla="*/ 252313 h 6557032"/>
              <a:gd name="connsiteX39687" fmla="*/ 3004765 w 4610101"/>
              <a:gd name="connsiteY39687" fmla="*/ 246846 h 6557032"/>
              <a:gd name="connsiteX39688" fmla="*/ 2308695 w 4610101"/>
              <a:gd name="connsiteY39688" fmla="*/ 246846 h 6557032"/>
              <a:gd name="connsiteX39689" fmla="*/ 2310517 w 4610101"/>
              <a:gd name="connsiteY39689" fmla="*/ 255957 h 6557032"/>
              <a:gd name="connsiteX39690" fmla="*/ 2314161 w 4610101"/>
              <a:gd name="connsiteY39690" fmla="*/ 246846 h 6557032"/>
              <a:gd name="connsiteX39691" fmla="*/ 2308695 w 4610101"/>
              <a:gd name="connsiteY39691" fmla="*/ 246846 h 6557032"/>
              <a:gd name="connsiteX39692" fmla="*/ 3423562 w 4610101"/>
              <a:gd name="connsiteY39692" fmla="*/ 246238 h 6557032"/>
              <a:gd name="connsiteX39693" fmla="*/ 3423826 w 4610101"/>
              <a:gd name="connsiteY39693" fmla="*/ 246767 h 6557032"/>
              <a:gd name="connsiteX39694" fmla="*/ 3423638 w 4610101"/>
              <a:gd name="connsiteY39694" fmla="*/ 255046 h 6557032"/>
              <a:gd name="connsiteX39695" fmla="*/ 3422043 w 4610101"/>
              <a:gd name="connsiteY39695" fmla="*/ 265068 h 6557032"/>
              <a:gd name="connsiteX39696" fmla="*/ 3415894 w 4610101"/>
              <a:gd name="connsiteY39696" fmla="*/ 265978 h 6557032"/>
              <a:gd name="connsiteX39697" fmla="*/ 3412465 w 4610101"/>
              <a:gd name="connsiteY39697" fmla="*/ 262713 h 6557032"/>
              <a:gd name="connsiteX39698" fmla="*/ 3418695 w 4610101"/>
              <a:gd name="connsiteY39698" fmla="*/ 250022 h 6557032"/>
              <a:gd name="connsiteX39699" fmla="*/ 3422043 w 4610101"/>
              <a:gd name="connsiteY39699" fmla="*/ 252313 h 6557032"/>
              <a:gd name="connsiteX39700" fmla="*/ 3400177 w 4610101"/>
              <a:gd name="connsiteY39700" fmla="*/ 243202 h 6557032"/>
              <a:gd name="connsiteX39701" fmla="*/ 3401999 w 4610101"/>
              <a:gd name="connsiteY39701" fmla="*/ 252313 h 6557032"/>
              <a:gd name="connsiteX39702" fmla="*/ 3400177 w 4610101"/>
              <a:gd name="connsiteY39702" fmla="*/ 243202 h 6557032"/>
              <a:gd name="connsiteX39703" fmla="*/ 2006214 w 4610101"/>
              <a:gd name="connsiteY39703" fmla="*/ 241379 h 6557032"/>
              <a:gd name="connsiteX39704" fmla="*/ 2004392 w 4610101"/>
              <a:gd name="connsiteY39704" fmla="*/ 255957 h 6557032"/>
              <a:gd name="connsiteX39705" fmla="*/ 1987992 w 4610101"/>
              <a:gd name="connsiteY39705" fmla="*/ 246846 h 6557032"/>
              <a:gd name="connsiteX39706" fmla="*/ 1987992 w 4610101"/>
              <a:gd name="connsiteY39706" fmla="*/ 250490 h 6557032"/>
              <a:gd name="connsiteX39707" fmla="*/ 1984348 w 4610101"/>
              <a:gd name="connsiteY39707" fmla="*/ 250490 h 6557032"/>
              <a:gd name="connsiteX39708" fmla="*/ 1987992 w 4610101"/>
              <a:gd name="connsiteY39708" fmla="*/ 255957 h 6557032"/>
              <a:gd name="connsiteX39709" fmla="*/ 1980703 w 4610101"/>
              <a:gd name="connsiteY39709" fmla="*/ 255957 h 6557032"/>
              <a:gd name="connsiteX39710" fmla="*/ 2013503 w 4610101"/>
              <a:gd name="connsiteY39710" fmla="*/ 259601 h 6557032"/>
              <a:gd name="connsiteX39711" fmla="*/ 2011680 w 4610101"/>
              <a:gd name="connsiteY39711" fmla="*/ 254135 h 6557032"/>
              <a:gd name="connsiteX39712" fmla="*/ 2006214 w 4610101"/>
              <a:gd name="connsiteY39712" fmla="*/ 241379 h 6557032"/>
              <a:gd name="connsiteX39713" fmla="*/ 3141428 w 4610101"/>
              <a:gd name="connsiteY39713" fmla="*/ 237735 h 6557032"/>
              <a:gd name="connsiteX39714" fmla="*/ 3137784 w 4610101"/>
              <a:gd name="connsiteY39714" fmla="*/ 268712 h 6557032"/>
              <a:gd name="connsiteX39715" fmla="*/ 3141428 w 4610101"/>
              <a:gd name="connsiteY39715" fmla="*/ 237735 h 6557032"/>
              <a:gd name="connsiteX39716" fmla="*/ 3077652 w 4610101"/>
              <a:gd name="connsiteY39716" fmla="*/ 237735 h 6557032"/>
              <a:gd name="connsiteX39717" fmla="*/ 3078369 w 4610101"/>
              <a:gd name="connsiteY39717" fmla="*/ 238212 h 6557032"/>
              <a:gd name="connsiteX39718" fmla="*/ 3078305 w 4610101"/>
              <a:gd name="connsiteY39718" fmla="*/ 238822 h 6557032"/>
              <a:gd name="connsiteX39719" fmla="*/ 1951549 w 4610101"/>
              <a:gd name="connsiteY39719" fmla="*/ 237735 h 6557032"/>
              <a:gd name="connsiteX39720" fmla="*/ 1953371 w 4610101"/>
              <a:gd name="connsiteY39720" fmla="*/ 248668 h 6557032"/>
              <a:gd name="connsiteX39721" fmla="*/ 1953632 w 4610101"/>
              <a:gd name="connsiteY39721" fmla="*/ 250494 h 6557032"/>
              <a:gd name="connsiteX39722" fmla="*/ 1951153 w 4610101"/>
              <a:gd name="connsiteY39722" fmla="*/ 238924 h 6557032"/>
              <a:gd name="connsiteX39723" fmla="*/ 1950872 w 4610101"/>
              <a:gd name="connsiteY39723" fmla="*/ 237616 h 6557032"/>
              <a:gd name="connsiteX39724" fmla="*/ 1951153 w 4610101"/>
              <a:gd name="connsiteY39724" fmla="*/ 238924 h 6557032"/>
              <a:gd name="connsiteX39725" fmla="*/ 1949726 w 4610101"/>
              <a:gd name="connsiteY39725" fmla="*/ 243202 h 6557032"/>
              <a:gd name="connsiteX39726" fmla="*/ 1980703 w 4610101"/>
              <a:gd name="connsiteY39726" fmla="*/ 234091 h 6557032"/>
              <a:gd name="connsiteX39727" fmla="*/ 1982527 w 4610101"/>
              <a:gd name="connsiteY39727" fmla="*/ 246846 h 6557032"/>
              <a:gd name="connsiteX39728" fmla="*/ 1980703 w 4610101"/>
              <a:gd name="connsiteY39728" fmla="*/ 234091 h 6557032"/>
              <a:gd name="connsiteX39729" fmla="*/ 1964305 w 4610101"/>
              <a:gd name="connsiteY39729" fmla="*/ 234091 h 6557032"/>
              <a:gd name="connsiteX39730" fmla="*/ 1977059 w 4610101"/>
              <a:gd name="connsiteY39730" fmla="*/ 254135 h 6557032"/>
              <a:gd name="connsiteX39731" fmla="*/ 1975237 w 4610101"/>
              <a:gd name="connsiteY39731" fmla="*/ 243202 h 6557032"/>
              <a:gd name="connsiteX39732" fmla="*/ 1964305 w 4610101"/>
              <a:gd name="connsiteY39732" fmla="*/ 234091 h 6557032"/>
              <a:gd name="connsiteX39733" fmla="*/ 1949726 w 4610101"/>
              <a:gd name="connsiteY39733" fmla="*/ 232269 h 6557032"/>
              <a:gd name="connsiteX39734" fmla="*/ 1951435 w 4610101"/>
              <a:gd name="connsiteY39734" fmla="*/ 234084 h 6557032"/>
              <a:gd name="connsiteX39735" fmla="*/ 1951548 w 4610101"/>
              <a:gd name="connsiteY39735" fmla="*/ 234318 h 6557032"/>
              <a:gd name="connsiteX39736" fmla="*/ 1950872 w 4610101"/>
              <a:gd name="connsiteY39736" fmla="*/ 237616 h 6557032"/>
              <a:gd name="connsiteX39737" fmla="*/ 2971768 w 4610101"/>
              <a:gd name="connsiteY39737" fmla="*/ 232085 h 6557032"/>
              <a:gd name="connsiteX39738" fmla="*/ 2974853 w 4610101"/>
              <a:gd name="connsiteY39738" fmla="*/ 236815 h 6557032"/>
              <a:gd name="connsiteX39739" fmla="*/ 2973788 w 4610101"/>
              <a:gd name="connsiteY39739" fmla="*/ 243202 h 6557032"/>
              <a:gd name="connsiteX39740" fmla="*/ 2973788 w 4610101"/>
              <a:gd name="connsiteY39740" fmla="*/ 241379 h 6557032"/>
              <a:gd name="connsiteX39741" fmla="*/ 2971966 w 4610101"/>
              <a:gd name="connsiteY39741" fmla="*/ 245024 h 6557032"/>
              <a:gd name="connsiteX39742" fmla="*/ 2970828 w 4610101"/>
              <a:gd name="connsiteY39742" fmla="*/ 234546 h 6557032"/>
              <a:gd name="connsiteX39743" fmla="*/ 3445731 w 4610101"/>
              <a:gd name="connsiteY39743" fmla="*/ 230446 h 6557032"/>
              <a:gd name="connsiteX39744" fmla="*/ 3449376 w 4610101"/>
              <a:gd name="connsiteY39744" fmla="*/ 239557 h 6557032"/>
              <a:gd name="connsiteX39745" fmla="*/ 3445731 w 4610101"/>
              <a:gd name="connsiteY39745" fmla="*/ 230446 h 6557032"/>
              <a:gd name="connsiteX39746" fmla="*/ 3019343 w 4610101"/>
              <a:gd name="connsiteY39746" fmla="*/ 228624 h 6557032"/>
              <a:gd name="connsiteX39747" fmla="*/ 3021165 w 4610101"/>
              <a:gd name="connsiteY39747" fmla="*/ 235913 h 6557032"/>
              <a:gd name="connsiteX39748" fmla="*/ 3019343 w 4610101"/>
              <a:gd name="connsiteY39748" fmla="*/ 228624 h 6557032"/>
              <a:gd name="connsiteX39749" fmla="*/ 3143250 w 4610101"/>
              <a:gd name="connsiteY39749" fmla="*/ 224980 h 6557032"/>
              <a:gd name="connsiteX39750" fmla="*/ 3150539 w 4610101"/>
              <a:gd name="connsiteY39750" fmla="*/ 234091 h 6557032"/>
              <a:gd name="connsiteX39751" fmla="*/ 3150539 w 4610101"/>
              <a:gd name="connsiteY39751" fmla="*/ 226802 h 6557032"/>
              <a:gd name="connsiteX39752" fmla="*/ 3143250 w 4610101"/>
              <a:gd name="connsiteY39752" fmla="*/ 224980 h 6557032"/>
              <a:gd name="connsiteX39753" fmla="*/ 3114096 w 4610101"/>
              <a:gd name="connsiteY39753" fmla="*/ 224980 h 6557032"/>
              <a:gd name="connsiteX39754" fmla="*/ 3112274 w 4610101"/>
              <a:gd name="connsiteY39754" fmla="*/ 235913 h 6557032"/>
              <a:gd name="connsiteX39755" fmla="*/ 3114096 w 4610101"/>
              <a:gd name="connsiteY39755" fmla="*/ 224980 h 6557032"/>
              <a:gd name="connsiteX39756" fmla="*/ 3035742 w 4610101"/>
              <a:gd name="connsiteY39756" fmla="*/ 224980 h 6557032"/>
              <a:gd name="connsiteX39757" fmla="*/ 3033920 w 4610101"/>
              <a:gd name="connsiteY39757" fmla="*/ 235913 h 6557032"/>
              <a:gd name="connsiteX39758" fmla="*/ 3039387 w 4610101"/>
              <a:gd name="connsiteY39758" fmla="*/ 230446 h 6557032"/>
              <a:gd name="connsiteX39759" fmla="*/ 3035742 w 4610101"/>
              <a:gd name="connsiteY39759" fmla="*/ 224980 h 6557032"/>
              <a:gd name="connsiteX39760" fmla="*/ 2345821 w 4610101"/>
              <a:gd name="connsiteY39760" fmla="*/ 224980 h 6557032"/>
              <a:gd name="connsiteX39761" fmla="*/ 2341494 w 4610101"/>
              <a:gd name="connsiteY39761" fmla="*/ 226802 h 6557032"/>
              <a:gd name="connsiteX39762" fmla="*/ 2348782 w 4610101"/>
              <a:gd name="connsiteY39762" fmla="*/ 228624 h 6557032"/>
              <a:gd name="connsiteX39763" fmla="*/ 2345821 w 4610101"/>
              <a:gd name="connsiteY39763" fmla="*/ 224980 h 6557032"/>
              <a:gd name="connsiteX39764" fmla="*/ 3192256 w 4610101"/>
              <a:gd name="connsiteY39764" fmla="*/ 223889 h 6557032"/>
              <a:gd name="connsiteX39765" fmla="*/ 3194271 w 4610101"/>
              <a:gd name="connsiteY39765" fmla="*/ 229307 h 6557032"/>
              <a:gd name="connsiteX39766" fmla="*/ 3197916 w 4610101"/>
              <a:gd name="connsiteY39766" fmla="*/ 237735 h 6557032"/>
              <a:gd name="connsiteX39767" fmla="*/ 3197592 w 4610101"/>
              <a:gd name="connsiteY39767" fmla="*/ 238221 h 6557032"/>
              <a:gd name="connsiteX39768" fmla="*/ 3192449 w 4610101"/>
              <a:gd name="connsiteY39768" fmla="*/ 235913 h 6557032"/>
              <a:gd name="connsiteX39769" fmla="*/ 3190627 w 4610101"/>
              <a:gd name="connsiteY39769" fmla="*/ 239557 h 6557032"/>
              <a:gd name="connsiteX39770" fmla="*/ 3194271 w 4610101"/>
              <a:gd name="connsiteY39770" fmla="*/ 241379 h 6557032"/>
              <a:gd name="connsiteX39771" fmla="*/ 3192449 w 4610101"/>
              <a:gd name="connsiteY39771" fmla="*/ 254135 h 6557032"/>
              <a:gd name="connsiteX39772" fmla="*/ 3188349 w 4610101"/>
              <a:gd name="connsiteY39772" fmla="*/ 238646 h 6557032"/>
              <a:gd name="connsiteX39773" fmla="*/ 3191917 w 4610101"/>
              <a:gd name="connsiteY39773" fmla="*/ 222980 h 6557032"/>
              <a:gd name="connsiteX39774" fmla="*/ 3192449 w 4610101"/>
              <a:gd name="connsiteY39774" fmla="*/ 223158 h 6557032"/>
              <a:gd name="connsiteX39775" fmla="*/ 3192256 w 4610101"/>
              <a:gd name="connsiteY39775" fmla="*/ 223889 h 6557032"/>
              <a:gd name="connsiteX39776" fmla="*/ 3170583 w 4610101"/>
              <a:gd name="connsiteY39776" fmla="*/ 221336 h 6557032"/>
              <a:gd name="connsiteX39777" fmla="*/ 3159650 w 4610101"/>
              <a:gd name="connsiteY39777" fmla="*/ 232269 h 6557032"/>
              <a:gd name="connsiteX39778" fmla="*/ 3159650 w 4610101"/>
              <a:gd name="connsiteY39778" fmla="*/ 245024 h 6557032"/>
              <a:gd name="connsiteX39779" fmla="*/ 3168761 w 4610101"/>
              <a:gd name="connsiteY39779" fmla="*/ 235913 h 6557032"/>
              <a:gd name="connsiteX39780" fmla="*/ 3168761 w 4610101"/>
              <a:gd name="connsiteY39780" fmla="*/ 246846 h 6557032"/>
              <a:gd name="connsiteX39781" fmla="*/ 3174227 w 4610101"/>
              <a:gd name="connsiteY39781" fmla="*/ 239557 h 6557032"/>
              <a:gd name="connsiteX39782" fmla="*/ 3176050 w 4610101"/>
              <a:gd name="connsiteY39782" fmla="*/ 252313 h 6557032"/>
              <a:gd name="connsiteX39783" fmla="*/ 3170583 w 4610101"/>
              <a:gd name="connsiteY39783" fmla="*/ 221336 h 6557032"/>
              <a:gd name="connsiteX39784" fmla="*/ 2658552 w 4610101"/>
              <a:gd name="connsiteY39784" fmla="*/ 221336 h 6557032"/>
              <a:gd name="connsiteX39785" fmla="*/ 2662197 w 4610101"/>
              <a:gd name="connsiteY39785" fmla="*/ 226802 h 6557032"/>
              <a:gd name="connsiteX39786" fmla="*/ 2662197 w 4610101"/>
              <a:gd name="connsiteY39786" fmla="*/ 221336 h 6557032"/>
              <a:gd name="connsiteX39787" fmla="*/ 2658552 w 4610101"/>
              <a:gd name="connsiteY39787" fmla="*/ 221336 h 6557032"/>
              <a:gd name="connsiteX39788" fmla="*/ 3086864 w 4610101"/>
              <a:gd name="connsiteY39788" fmla="*/ 221313 h 6557032"/>
              <a:gd name="connsiteX39789" fmla="*/ 3086829 w 4610101"/>
              <a:gd name="connsiteY39789" fmla="*/ 221477 h 6557032"/>
              <a:gd name="connsiteX39790" fmla="*/ 3086763 w 4610101"/>
              <a:gd name="connsiteY39790" fmla="*/ 221336 h 6557032"/>
              <a:gd name="connsiteX39791" fmla="*/ 3125029 w 4610101"/>
              <a:gd name="connsiteY39791" fmla="*/ 215869 h 6557032"/>
              <a:gd name="connsiteX39792" fmla="*/ 3117740 w 4610101"/>
              <a:gd name="connsiteY39792" fmla="*/ 241379 h 6557032"/>
              <a:gd name="connsiteX39793" fmla="*/ 3128673 w 4610101"/>
              <a:gd name="connsiteY39793" fmla="*/ 248668 h 6557032"/>
              <a:gd name="connsiteX39794" fmla="*/ 3137784 w 4610101"/>
              <a:gd name="connsiteY39794" fmla="*/ 223158 h 6557032"/>
              <a:gd name="connsiteX39795" fmla="*/ 3125029 w 4610101"/>
              <a:gd name="connsiteY39795" fmla="*/ 215869 h 6557032"/>
              <a:gd name="connsiteX39796" fmla="*/ 2288651 w 4610101"/>
              <a:gd name="connsiteY39796" fmla="*/ 215869 h 6557032"/>
              <a:gd name="connsiteX39797" fmla="*/ 2291284 w 4610101"/>
              <a:gd name="connsiteY39797" fmla="*/ 217623 h 6557032"/>
              <a:gd name="connsiteX39798" fmla="*/ 2289488 w 4610101"/>
              <a:gd name="connsiteY39798" fmla="*/ 219120 h 6557032"/>
              <a:gd name="connsiteX39799" fmla="*/ 2979255 w 4610101"/>
              <a:gd name="connsiteY39799" fmla="*/ 214047 h 6557032"/>
              <a:gd name="connsiteX39800" fmla="*/ 2973788 w 4610101"/>
              <a:gd name="connsiteY39800" fmla="*/ 219513 h 6557032"/>
              <a:gd name="connsiteX39801" fmla="*/ 2979255 w 4610101"/>
              <a:gd name="connsiteY39801" fmla="*/ 221336 h 6557032"/>
              <a:gd name="connsiteX39802" fmla="*/ 2979255 w 4610101"/>
              <a:gd name="connsiteY39802" fmla="*/ 214047 h 6557032"/>
              <a:gd name="connsiteX39803" fmla="*/ 2966884 w 4610101"/>
              <a:gd name="connsiteY39803" fmla="*/ 212971 h 6557032"/>
              <a:gd name="connsiteX39804" fmla="*/ 2967717 w 4610101"/>
              <a:gd name="connsiteY39804" fmla="*/ 213825 h 6557032"/>
              <a:gd name="connsiteX39805" fmla="*/ 2966500 w 4610101"/>
              <a:gd name="connsiteY39805" fmla="*/ 214047 h 6557032"/>
              <a:gd name="connsiteX39806" fmla="*/ 2654908 w 4610101"/>
              <a:gd name="connsiteY39806" fmla="*/ 212225 h 6557032"/>
              <a:gd name="connsiteX39807" fmla="*/ 2660374 w 4610101"/>
              <a:gd name="connsiteY39807" fmla="*/ 217691 h 6557032"/>
              <a:gd name="connsiteX39808" fmla="*/ 2662197 w 4610101"/>
              <a:gd name="connsiteY39808" fmla="*/ 212225 h 6557032"/>
              <a:gd name="connsiteX39809" fmla="*/ 2654908 w 4610101"/>
              <a:gd name="connsiteY39809" fmla="*/ 212225 h 6557032"/>
              <a:gd name="connsiteX39810" fmla="*/ 2297762 w 4610101"/>
              <a:gd name="connsiteY39810" fmla="*/ 212225 h 6557032"/>
              <a:gd name="connsiteX39811" fmla="*/ 2299584 w 4610101"/>
              <a:gd name="connsiteY39811" fmla="*/ 219513 h 6557032"/>
              <a:gd name="connsiteX39812" fmla="*/ 2293435 w 4610101"/>
              <a:gd name="connsiteY39812" fmla="*/ 219057 h 6557032"/>
              <a:gd name="connsiteX39813" fmla="*/ 2291284 w 4610101"/>
              <a:gd name="connsiteY39813" fmla="*/ 217623 h 6557032"/>
              <a:gd name="connsiteX39814" fmla="*/ 2532822 w 4610101"/>
              <a:gd name="connsiteY39814" fmla="*/ 210403 h 6557032"/>
              <a:gd name="connsiteX39815" fmla="*/ 2536466 w 4610101"/>
              <a:gd name="connsiteY39815" fmla="*/ 217691 h 6557032"/>
              <a:gd name="connsiteX39816" fmla="*/ 2538289 w 4610101"/>
              <a:gd name="connsiteY39816" fmla="*/ 210403 h 6557032"/>
              <a:gd name="connsiteX39817" fmla="*/ 2532822 w 4610101"/>
              <a:gd name="connsiteY39817" fmla="*/ 210403 h 6557032"/>
              <a:gd name="connsiteX39818" fmla="*/ 2463580 w 4610101"/>
              <a:gd name="connsiteY39818" fmla="*/ 210403 h 6557032"/>
              <a:gd name="connsiteX39819" fmla="*/ 2461757 w 4610101"/>
              <a:gd name="connsiteY39819" fmla="*/ 217691 h 6557032"/>
              <a:gd name="connsiteX39820" fmla="*/ 2459935 w 4610101"/>
              <a:gd name="connsiteY39820" fmla="*/ 214047 h 6557032"/>
              <a:gd name="connsiteX39821" fmla="*/ 2456291 w 4610101"/>
              <a:gd name="connsiteY39821" fmla="*/ 232269 h 6557032"/>
              <a:gd name="connsiteX39822" fmla="*/ 2469046 w 4610101"/>
              <a:gd name="connsiteY39822" fmla="*/ 230446 h 6557032"/>
              <a:gd name="connsiteX39823" fmla="*/ 2463580 w 4610101"/>
              <a:gd name="connsiteY39823" fmla="*/ 210403 h 6557032"/>
              <a:gd name="connsiteX39824" fmla="*/ 3166939 w 4610101"/>
              <a:gd name="connsiteY39824" fmla="*/ 208580 h 6557032"/>
              <a:gd name="connsiteX39825" fmla="*/ 3163294 w 4610101"/>
              <a:gd name="connsiteY39825" fmla="*/ 223158 h 6557032"/>
              <a:gd name="connsiteX39826" fmla="*/ 3166939 w 4610101"/>
              <a:gd name="connsiteY39826" fmla="*/ 208580 h 6557032"/>
              <a:gd name="connsiteX39827" fmla="*/ 3695369 w 4610101"/>
              <a:gd name="connsiteY39827" fmla="*/ 206869 h 6557032"/>
              <a:gd name="connsiteX39828" fmla="*/ 3719058 w 4610101"/>
              <a:gd name="connsiteY39828" fmla="*/ 228734 h 6557032"/>
              <a:gd name="connsiteX39829" fmla="*/ 3702658 w 4610101"/>
              <a:gd name="connsiteY39829" fmla="*/ 243312 h 6557032"/>
              <a:gd name="connsiteX39830" fmla="*/ 3673503 w 4610101"/>
              <a:gd name="connsiteY39830" fmla="*/ 252423 h 6557032"/>
              <a:gd name="connsiteX39831" fmla="*/ 3695369 w 4610101"/>
              <a:gd name="connsiteY39831" fmla="*/ 206869 h 6557032"/>
              <a:gd name="connsiteX39832" fmla="*/ 3125029 w 4610101"/>
              <a:gd name="connsiteY39832" fmla="*/ 206758 h 6557032"/>
              <a:gd name="connsiteX39833" fmla="*/ 3119562 w 4610101"/>
              <a:gd name="connsiteY39833" fmla="*/ 214047 h 6557032"/>
              <a:gd name="connsiteX39834" fmla="*/ 3125029 w 4610101"/>
              <a:gd name="connsiteY39834" fmla="*/ 206758 h 6557032"/>
              <a:gd name="connsiteX39835" fmla="*/ 2973788 w 4610101"/>
              <a:gd name="connsiteY39835" fmla="*/ 206758 h 6557032"/>
              <a:gd name="connsiteX39836" fmla="*/ 2973685 w 4610101"/>
              <a:gd name="connsiteY39836" fmla="*/ 207047 h 6557032"/>
              <a:gd name="connsiteX39837" fmla="*/ 2973408 w 4610101"/>
              <a:gd name="connsiteY39837" fmla="*/ 206827 h 6557032"/>
              <a:gd name="connsiteX39838" fmla="*/ 2662197 w 4610101"/>
              <a:gd name="connsiteY39838" fmla="*/ 206758 h 6557032"/>
              <a:gd name="connsiteX39839" fmla="*/ 2664019 w 4610101"/>
              <a:gd name="connsiteY39839" fmla="*/ 219513 h 6557032"/>
              <a:gd name="connsiteX39840" fmla="*/ 2671307 w 4610101"/>
              <a:gd name="connsiteY39840" fmla="*/ 223158 h 6557032"/>
              <a:gd name="connsiteX39841" fmla="*/ 2662197 w 4610101"/>
              <a:gd name="connsiteY39841" fmla="*/ 206758 h 6557032"/>
              <a:gd name="connsiteX39842" fmla="*/ 3106807 w 4610101"/>
              <a:gd name="connsiteY39842" fmla="*/ 204936 h 6557032"/>
              <a:gd name="connsiteX39843" fmla="*/ 3104985 w 4610101"/>
              <a:gd name="connsiteY39843" fmla="*/ 212225 h 6557032"/>
              <a:gd name="connsiteX39844" fmla="*/ 3110451 w 4610101"/>
              <a:gd name="connsiteY39844" fmla="*/ 210403 h 6557032"/>
              <a:gd name="connsiteX39845" fmla="*/ 3106807 w 4610101"/>
              <a:gd name="connsiteY39845" fmla="*/ 204936 h 6557032"/>
              <a:gd name="connsiteX39846" fmla="*/ 3197916 w 4610101"/>
              <a:gd name="connsiteY39846" fmla="*/ 203114 h 6557032"/>
              <a:gd name="connsiteX39847" fmla="*/ 3208849 w 4610101"/>
              <a:gd name="connsiteY39847" fmla="*/ 219513 h 6557032"/>
              <a:gd name="connsiteX39848" fmla="*/ 3205204 w 4610101"/>
              <a:gd name="connsiteY39848" fmla="*/ 235913 h 6557032"/>
              <a:gd name="connsiteX39849" fmla="*/ 3196093 w 4610101"/>
              <a:gd name="connsiteY39849" fmla="*/ 210403 h 6557032"/>
              <a:gd name="connsiteX39850" fmla="*/ 3190627 w 4610101"/>
              <a:gd name="connsiteY39850" fmla="*/ 219513 h 6557032"/>
              <a:gd name="connsiteX39851" fmla="*/ 3191917 w 4610101"/>
              <a:gd name="connsiteY39851" fmla="*/ 222980 h 6557032"/>
              <a:gd name="connsiteX39852" fmla="*/ 3187520 w 4610101"/>
              <a:gd name="connsiteY39852" fmla="*/ 221515 h 6557032"/>
              <a:gd name="connsiteX39853" fmla="*/ 3187182 w 4610101"/>
              <a:gd name="connsiteY39853" fmla="*/ 220675 h 6557032"/>
              <a:gd name="connsiteX39854" fmla="*/ 3189944 w 4610101"/>
              <a:gd name="connsiteY39854" fmla="*/ 211541 h 6557032"/>
              <a:gd name="connsiteX39855" fmla="*/ 3199738 w 4610101"/>
              <a:gd name="connsiteY39855" fmla="*/ 208580 h 6557032"/>
              <a:gd name="connsiteX39856" fmla="*/ 3197916 w 4610101"/>
              <a:gd name="connsiteY39856" fmla="*/ 206751 h 6557032"/>
              <a:gd name="connsiteX39857" fmla="*/ 2520067 w 4610101"/>
              <a:gd name="connsiteY39857" fmla="*/ 203114 h 6557032"/>
              <a:gd name="connsiteX39858" fmla="*/ 2527356 w 4610101"/>
              <a:gd name="connsiteY39858" fmla="*/ 208580 h 6557032"/>
              <a:gd name="connsiteX39859" fmla="*/ 2520067 w 4610101"/>
              <a:gd name="connsiteY39859" fmla="*/ 203114 h 6557032"/>
              <a:gd name="connsiteX39860" fmla="*/ 2449002 w 4610101"/>
              <a:gd name="connsiteY39860" fmla="*/ 203114 h 6557032"/>
              <a:gd name="connsiteX39861" fmla="*/ 2449894 w 4610101"/>
              <a:gd name="connsiteY39861" fmla="*/ 206680 h 6557032"/>
              <a:gd name="connsiteX39862" fmla="*/ 2449458 w 4610101"/>
              <a:gd name="connsiteY39862" fmla="*/ 206302 h 6557032"/>
              <a:gd name="connsiteX39863" fmla="*/ 2444751 w 4610101"/>
              <a:gd name="connsiteY39863" fmla="*/ 207423 h 6557032"/>
              <a:gd name="connsiteX39864" fmla="*/ 2444675 w 4610101"/>
              <a:gd name="connsiteY39864" fmla="*/ 207213 h 6557032"/>
              <a:gd name="connsiteX39865" fmla="*/ 2449002 w 4610101"/>
              <a:gd name="connsiteY39865" fmla="*/ 203114 h 6557032"/>
              <a:gd name="connsiteX39866" fmla="*/ 2106434 w 4610101"/>
              <a:gd name="connsiteY39866" fmla="*/ 201292 h 6557032"/>
              <a:gd name="connsiteX39867" fmla="*/ 2109395 w 4610101"/>
              <a:gd name="connsiteY39867" fmla="*/ 203341 h 6557032"/>
              <a:gd name="connsiteX39868" fmla="*/ 2108256 w 4610101"/>
              <a:gd name="connsiteY39868" fmla="*/ 206758 h 6557032"/>
              <a:gd name="connsiteX39869" fmla="*/ 3301780 w 4610101"/>
              <a:gd name="connsiteY39869" fmla="*/ 197732 h 6557032"/>
              <a:gd name="connsiteX39870" fmla="*/ 3309069 w 4610101"/>
              <a:gd name="connsiteY39870" fmla="*/ 208665 h 6557032"/>
              <a:gd name="connsiteX39871" fmla="*/ 3301780 w 4610101"/>
              <a:gd name="connsiteY39871" fmla="*/ 223243 h 6557032"/>
              <a:gd name="connsiteX39872" fmla="*/ 3287202 w 4610101"/>
              <a:gd name="connsiteY39872" fmla="*/ 214132 h 6557032"/>
              <a:gd name="connsiteX39873" fmla="*/ 2540111 w 4610101"/>
              <a:gd name="connsiteY39873" fmla="*/ 197647 h 6557032"/>
              <a:gd name="connsiteX39874" fmla="*/ 2540111 w 4610101"/>
              <a:gd name="connsiteY39874" fmla="*/ 208580 h 6557032"/>
              <a:gd name="connsiteX39875" fmla="*/ 2540111 w 4610101"/>
              <a:gd name="connsiteY39875" fmla="*/ 197647 h 6557032"/>
              <a:gd name="connsiteX39876" fmla="*/ 2518245 w 4610101"/>
              <a:gd name="connsiteY39876" fmla="*/ 194003 h 6557032"/>
              <a:gd name="connsiteX39877" fmla="*/ 2510956 w 4610101"/>
              <a:gd name="connsiteY39877" fmla="*/ 195825 h 6557032"/>
              <a:gd name="connsiteX39878" fmla="*/ 2516423 w 4610101"/>
              <a:gd name="connsiteY39878" fmla="*/ 203114 h 6557032"/>
              <a:gd name="connsiteX39879" fmla="*/ 2518245 w 4610101"/>
              <a:gd name="connsiteY39879" fmla="*/ 194003 h 6557032"/>
              <a:gd name="connsiteX39880" fmla="*/ 2369952 w 4610101"/>
              <a:gd name="connsiteY39880" fmla="*/ 193743 h 6557032"/>
              <a:gd name="connsiteX39881" fmla="*/ 2374293 w 4610101"/>
              <a:gd name="connsiteY39881" fmla="*/ 199469 h 6557032"/>
              <a:gd name="connsiteX39882" fmla="*/ 2374320 w 4610101"/>
              <a:gd name="connsiteY39882" fmla="*/ 199849 h 6557032"/>
              <a:gd name="connsiteX39883" fmla="*/ 2370649 w 4610101"/>
              <a:gd name="connsiteY39883" fmla="*/ 197647 h 6557032"/>
              <a:gd name="connsiteX39884" fmla="*/ 2871748 w 4610101"/>
              <a:gd name="connsiteY39884" fmla="*/ 190465 h 6557032"/>
              <a:gd name="connsiteX39885" fmla="*/ 2889969 w 4610101"/>
              <a:gd name="connsiteY39885" fmla="*/ 214153 h 6557032"/>
              <a:gd name="connsiteX39886" fmla="*/ 2871748 w 4610101"/>
              <a:gd name="connsiteY39886" fmla="*/ 228731 h 6557032"/>
              <a:gd name="connsiteX39887" fmla="*/ 2848059 w 4610101"/>
              <a:gd name="connsiteY39887" fmla="*/ 214153 h 6557032"/>
              <a:gd name="connsiteX39888" fmla="*/ 2971966 w 4610101"/>
              <a:gd name="connsiteY39888" fmla="*/ 190359 h 6557032"/>
              <a:gd name="connsiteX39889" fmla="*/ 2975272 w 4610101"/>
              <a:gd name="connsiteY39889" fmla="*/ 192011 h 6557032"/>
              <a:gd name="connsiteX39890" fmla="*/ 2971966 w 4610101"/>
              <a:gd name="connsiteY39890" fmla="*/ 199469 h 6557032"/>
              <a:gd name="connsiteX39891" fmla="*/ 2971966 w 4610101"/>
              <a:gd name="connsiteY39891" fmla="*/ 190359 h 6557032"/>
              <a:gd name="connsiteX39892" fmla="*/ 3004253 w 4610101"/>
              <a:gd name="connsiteY39892" fmla="*/ 187255 h 6557032"/>
              <a:gd name="connsiteX39893" fmla="*/ 2999299 w 4610101"/>
              <a:gd name="connsiteY39893" fmla="*/ 192181 h 6557032"/>
              <a:gd name="connsiteX39894" fmla="*/ 2995654 w 4610101"/>
              <a:gd name="connsiteY39894" fmla="*/ 188536 h 6557032"/>
              <a:gd name="connsiteX39895" fmla="*/ 2997477 w 4610101"/>
              <a:gd name="connsiteY39895" fmla="*/ 210403 h 6557032"/>
              <a:gd name="connsiteX39896" fmla="*/ 2997477 w 4610101"/>
              <a:gd name="connsiteY39896" fmla="*/ 206758 h 6557032"/>
              <a:gd name="connsiteX39897" fmla="*/ 3004765 w 4610101"/>
              <a:gd name="connsiteY39897" fmla="*/ 214047 h 6557032"/>
              <a:gd name="connsiteX39898" fmla="*/ 3021165 w 4610101"/>
              <a:gd name="connsiteY39898" fmla="*/ 204936 h 6557032"/>
              <a:gd name="connsiteX39899" fmla="*/ 3004253 w 4610101"/>
              <a:gd name="connsiteY39899" fmla="*/ 187255 h 6557032"/>
              <a:gd name="connsiteX39900" fmla="*/ 2363841 w 4610101"/>
              <a:gd name="connsiteY39900" fmla="*/ 185684 h 6557032"/>
              <a:gd name="connsiteX39901" fmla="*/ 2365778 w 4610101"/>
              <a:gd name="connsiteY39901" fmla="*/ 188238 h 6557032"/>
              <a:gd name="connsiteX39902" fmla="*/ 2365182 w 4610101"/>
              <a:gd name="connsiteY39902" fmla="*/ 188536 h 6557032"/>
              <a:gd name="connsiteX39903" fmla="*/ 2372471 w 4610101"/>
              <a:gd name="connsiteY39903" fmla="*/ 184892 h 6557032"/>
              <a:gd name="connsiteX39904" fmla="*/ 2369510 w 4610101"/>
              <a:gd name="connsiteY39904" fmla="*/ 191269 h 6557032"/>
              <a:gd name="connsiteX39905" fmla="*/ 2369952 w 4610101"/>
              <a:gd name="connsiteY39905" fmla="*/ 193743 h 6557032"/>
              <a:gd name="connsiteX39906" fmla="*/ 2365778 w 4610101"/>
              <a:gd name="connsiteY39906" fmla="*/ 188238 h 6557032"/>
              <a:gd name="connsiteX39907" fmla="*/ 2745853 w 4610101"/>
              <a:gd name="connsiteY39907" fmla="*/ 183723 h 6557032"/>
              <a:gd name="connsiteX39908" fmla="*/ 2744194 w 4610101"/>
              <a:gd name="connsiteY39908" fmla="*/ 190359 h 6557032"/>
              <a:gd name="connsiteX39909" fmla="*/ 2743562 w 4610101"/>
              <a:gd name="connsiteY39909" fmla="*/ 185211 h 6557032"/>
              <a:gd name="connsiteX39910" fmla="*/ 2746016 w 4610101"/>
              <a:gd name="connsiteY39910" fmla="*/ 183070 h 6557032"/>
              <a:gd name="connsiteX39911" fmla="*/ 2746624 w 4610101"/>
              <a:gd name="connsiteY39911" fmla="*/ 183222 h 6557032"/>
              <a:gd name="connsiteX39912" fmla="*/ 2745853 w 4610101"/>
              <a:gd name="connsiteY39912" fmla="*/ 183723 h 6557032"/>
              <a:gd name="connsiteX39913" fmla="*/ 2099145 w 4610101"/>
              <a:gd name="connsiteY39913" fmla="*/ 183070 h 6557032"/>
              <a:gd name="connsiteX39914" fmla="*/ 2102790 w 4610101"/>
              <a:gd name="connsiteY39914" fmla="*/ 192181 h 6557032"/>
              <a:gd name="connsiteX39915" fmla="*/ 2106433 w 4610101"/>
              <a:gd name="connsiteY39915" fmla="*/ 194003 h 6557032"/>
              <a:gd name="connsiteX39916" fmla="*/ 2111900 w 4610101"/>
              <a:gd name="connsiteY39916" fmla="*/ 188536 h 6557032"/>
              <a:gd name="connsiteX39917" fmla="*/ 2099145 w 4610101"/>
              <a:gd name="connsiteY39917" fmla="*/ 183070 h 6557032"/>
              <a:gd name="connsiteX39918" fmla="*/ 2138550 w 4610101"/>
              <a:gd name="connsiteY39918" fmla="*/ 181703 h 6557032"/>
              <a:gd name="connsiteX39919" fmla="*/ 2135588 w 4610101"/>
              <a:gd name="connsiteY39919" fmla="*/ 183070 h 6557032"/>
              <a:gd name="connsiteX39920" fmla="*/ 2142877 w 4610101"/>
              <a:gd name="connsiteY39920" fmla="*/ 183070 h 6557032"/>
              <a:gd name="connsiteX39921" fmla="*/ 2138550 w 4610101"/>
              <a:gd name="connsiteY39921" fmla="*/ 181703 h 6557032"/>
              <a:gd name="connsiteX39922" fmla="*/ 2749661 w 4610101"/>
              <a:gd name="connsiteY39922" fmla="*/ 181248 h 6557032"/>
              <a:gd name="connsiteX39923" fmla="*/ 2749914 w 4610101"/>
              <a:gd name="connsiteY39923" fmla="*/ 183082 h 6557032"/>
              <a:gd name="connsiteX39924" fmla="*/ 2749433 w 4610101"/>
              <a:gd name="connsiteY39924" fmla="*/ 183924 h 6557032"/>
              <a:gd name="connsiteX39925" fmla="*/ 2746624 w 4610101"/>
              <a:gd name="connsiteY39925" fmla="*/ 183222 h 6557032"/>
              <a:gd name="connsiteX39926" fmla="*/ 2662197 w 4610101"/>
              <a:gd name="connsiteY39926" fmla="*/ 179426 h 6557032"/>
              <a:gd name="connsiteX39927" fmla="*/ 2666134 w 4610101"/>
              <a:gd name="connsiteY39927" fmla="*/ 184347 h 6557032"/>
              <a:gd name="connsiteX39928" fmla="*/ 2665841 w 4610101"/>
              <a:gd name="connsiteY39928" fmla="*/ 184892 h 6557032"/>
              <a:gd name="connsiteX39929" fmla="*/ 2664077 w 4610101"/>
              <a:gd name="connsiteY39929" fmla="*/ 184040 h 6557032"/>
              <a:gd name="connsiteX39930" fmla="*/ 2093679 w 4610101"/>
              <a:gd name="connsiteY39930" fmla="*/ 179426 h 6557032"/>
              <a:gd name="connsiteX39931" fmla="*/ 2091856 w 4610101"/>
              <a:gd name="connsiteY39931" fmla="*/ 184892 h 6557032"/>
              <a:gd name="connsiteX39932" fmla="*/ 2097323 w 4610101"/>
              <a:gd name="connsiteY39932" fmla="*/ 186714 h 6557032"/>
              <a:gd name="connsiteX39933" fmla="*/ 2093679 w 4610101"/>
              <a:gd name="connsiteY39933" fmla="*/ 179426 h 6557032"/>
              <a:gd name="connsiteX39934" fmla="*/ 3041209 w 4610101"/>
              <a:gd name="connsiteY39934" fmla="*/ 177603 h 6557032"/>
              <a:gd name="connsiteX39935" fmla="*/ 3032098 w 4610101"/>
              <a:gd name="connsiteY39935" fmla="*/ 199469 h 6557032"/>
              <a:gd name="connsiteX39936" fmla="*/ 3044853 w 4610101"/>
              <a:gd name="connsiteY39936" fmla="*/ 195825 h 6557032"/>
              <a:gd name="connsiteX39937" fmla="*/ 3041209 w 4610101"/>
              <a:gd name="connsiteY39937" fmla="*/ 177603 h 6557032"/>
              <a:gd name="connsiteX39938" fmla="*/ 2959211 w 4610101"/>
              <a:gd name="connsiteY39938" fmla="*/ 177603 h 6557032"/>
              <a:gd name="connsiteX39939" fmla="*/ 2953744 w 4610101"/>
              <a:gd name="connsiteY39939" fmla="*/ 194003 h 6557032"/>
              <a:gd name="connsiteX39940" fmla="*/ 2959211 w 4610101"/>
              <a:gd name="connsiteY39940" fmla="*/ 195825 h 6557032"/>
              <a:gd name="connsiteX39941" fmla="*/ 2957389 w 4610101"/>
              <a:gd name="connsiteY39941" fmla="*/ 186714 h 6557032"/>
              <a:gd name="connsiteX39942" fmla="*/ 2964450 w 4610101"/>
              <a:gd name="connsiteY39942" fmla="*/ 199697 h 6557032"/>
              <a:gd name="connsiteX39943" fmla="*/ 2973408 w 4610101"/>
              <a:gd name="connsiteY39943" fmla="*/ 206827 h 6557032"/>
              <a:gd name="connsiteX39944" fmla="*/ 2968778 w 4610101"/>
              <a:gd name="connsiteY39944" fmla="*/ 207669 h 6557032"/>
              <a:gd name="connsiteX39945" fmla="*/ 2966884 w 4610101"/>
              <a:gd name="connsiteY39945" fmla="*/ 212971 h 6557032"/>
              <a:gd name="connsiteX39946" fmla="*/ 2961716 w 4610101"/>
              <a:gd name="connsiteY39946" fmla="*/ 207669 h 6557032"/>
              <a:gd name="connsiteX39947" fmla="*/ 2937345 w 4610101"/>
              <a:gd name="connsiteY39947" fmla="*/ 194003 h 6557032"/>
              <a:gd name="connsiteX39948" fmla="*/ 2933700 w 4610101"/>
              <a:gd name="connsiteY39948" fmla="*/ 179426 h 6557032"/>
              <a:gd name="connsiteX39949" fmla="*/ 2944634 w 4610101"/>
              <a:gd name="connsiteY39949" fmla="*/ 195825 h 6557032"/>
              <a:gd name="connsiteX39950" fmla="*/ 2959211 w 4610101"/>
              <a:gd name="connsiteY39950" fmla="*/ 177603 h 6557032"/>
              <a:gd name="connsiteX39951" fmla="*/ 2438069 w 4610101"/>
              <a:gd name="connsiteY39951" fmla="*/ 177603 h 6557032"/>
              <a:gd name="connsiteX39952" fmla="*/ 2408914 w 4610101"/>
              <a:gd name="connsiteY39952" fmla="*/ 188536 h 6557032"/>
              <a:gd name="connsiteX39953" fmla="*/ 2410737 w 4610101"/>
              <a:gd name="connsiteY39953" fmla="*/ 194003 h 6557032"/>
              <a:gd name="connsiteX39954" fmla="*/ 2407092 w 4610101"/>
              <a:gd name="connsiteY39954" fmla="*/ 190359 h 6557032"/>
              <a:gd name="connsiteX39955" fmla="*/ 2397981 w 4610101"/>
              <a:gd name="connsiteY39955" fmla="*/ 194003 h 6557032"/>
              <a:gd name="connsiteX39956" fmla="*/ 2376115 w 4610101"/>
              <a:gd name="connsiteY39956" fmla="*/ 266890 h 6557032"/>
              <a:gd name="connsiteX39957" fmla="*/ 2374293 w 4610101"/>
              <a:gd name="connsiteY39957" fmla="*/ 270534 h 6557032"/>
              <a:gd name="connsiteX39958" fmla="*/ 2367004 w 4610101"/>
              <a:gd name="connsiteY39958" fmla="*/ 259601 h 6557032"/>
              <a:gd name="connsiteX39959" fmla="*/ 2368827 w 4610101"/>
              <a:gd name="connsiteY39959" fmla="*/ 274179 h 6557032"/>
              <a:gd name="connsiteX39960" fmla="*/ 2363360 w 4610101"/>
              <a:gd name="connsiteY39960" fmla="*/ 268712 h 6557032"/>
              <a:gd name="connsiteX39961" fmla="*/ 2365182 w 4610101"/>
              <a:gd name="connsiteY39961" fmla="*/ 277823 h 6557032"/>
              <a:gd name="connsiteX39962" fmla="*/ 2365182 w 4610101"/>
              <a:gd name="connsiteY39962" fmla="*/ 279645 h 6557032"/>
              <a:gd name="connsiteX39963" fmla="*/ 2357893 w 4610101"/>
              <a:gd name="connsiteY39963" fmla="*/ 334310 h 6557032"/>
              <a:gd name="connsiteX39964" fmla="*/ 2363198 w 4610101"/>
              <a:gd name="connsiteY39964" fmla="*/ 333630 h 6557032"/>
              <a:gd name="connsiteX39965" fmla="*/ 2361310 w 4610101"/>
              <a:gd name="connsiteY39965" fmla="*/ 338182 h 6557032"/>
              <a:gd name="connsiteX39966" fmla="*/ 2361538 w 4610101"/>
              <a:gd name="connsiteY39966" fmla="*/ 348888 h 6557032"/>
              <a:gd name="connsiteX39967" fmla="*/ 2368827 w 4610101"/>
              <a:gd name="connsiteY39967" fmla="*/ 339777 h 6557032"/>
              <a:gd name="connsiteX39968" fmla="*/ 2366631 w 4610101"/>
              <a:gd name="connsiteY39968" fmla="*/ 333190 h 6557032"/>
              <a:gd name="connsiteX39969" fmla="*/ 2366777 w 4610101"/>
              <a:gd name="connsiteY39969" fmla="*/ 333171 h 6557032"/>
              <a:gd name="connsiteX39970" fmla="*/ 2374293 w 4610101"/>
              <a:gd name="connsiteY39970" fmla="*/ 330666 h 6557032"/>
              <a:gd name="connsiteX39971" fmla="*/ 2372471 w 4610101"/>
              <a:gd name="connsiteY39971" fmla="*/ 319733 h 6557032"/>
              <a:gd name="connsiteX39972" fmla="*/ 2379760 w 4610101"/>
              <a:gd name="connsiteY39972" fmla="*/ 328844 h 6557032"/>
              <a:gd name="connsiteX39973" fmla="*/ 2381582 w 4610101"/>
              <a:gd name="connsiteY39973" fmla="*/ 321555 h 6557032"/>
              <a:gd name="connsiteX39974" fmla="*/ 2391848 w 4610101"/>
              <a:gd name="connsiteY39974" fmla="*/ 315531 h 6557032"/>
              <a:gd name="connsiteX39975" fmla="*/ 2383404 w 4610101"/>
              <a:gd name="connsiteY39975" fmla="*/ 325199 h 6557032"/>
              <a:gd name="connsiteX39976" fmla="*/ 2385226 w 4610101"/>
              <a:gd name="connsiteY39976" fmla="*/ 339777 h 6557032"/>
              <a:gd name="connsiteX39977" fmla="*/ 2387048 w 4610101"/>
              <a:gd name="connsiteY39977" fmla="*/ 325199 h 6557032"/>
              <a:gd name="connsiteX39978" fmla="*/ 2410737 w 4610101"/>
              <a:gd name="connsiteY39978" fmla="*/ 325199 h 6557032"/>
              <a:gd name="connsiteX39979" fmla="*/ 2408914 w 4610101"/>
              <a:gd name="connsiteY39979" fmla="*/ 312444 h 6557032"/>
              <a:gd name="connsiteX39980" fmla="*/ 2416203 w 4610101"/>
              <a:gd name="connsiteY39980" fmla="*/ 308800 h 6557032"/>
              <a:gd name="connsiteX39981" fmla="*/ 2414381 w 4610101"/>
              <a:gd name="connsiteY39981" fmla="*/ 323377 h 6557032"/>
              <a:gd name="connsiteX39982" fmla="*/ 2423492 w 4610101"/>
              <a:gd name="connsiteY39982" fmla="*/ 303333 h 6557032"/>
              <a:gd name="connsiteX39983" fmla="*/ 2428958 w 4610101"/>
              <a:gd name="connsiteY39983" fmla="*/ 308800 h 6557032"/>
              <a:gd name="connsiteX39984" fmla="*/ 2430643 w 4610101"/>
              <a:gd name="connsiteY39984" fmla="*/ 300376 h 6557032"/>
              <a:gd name="connsiteX39985" fmla="*/ 2438069 w 4610101"/>
              <a:gd name="connsiteY39985" fmla="*/ 301511 h 6557032"/>
              <a:gd name="connsiteX39986" fmla="*/ 2439891 w 4610101"/>
              <a:gd name="connsiteY39986" fmla="*/ 297867 h 6557032"/>
              <a:gd name="connsiteX39987" fmla="*/ 2447180 w 4610101"/>
              <a:gd name="connsiteY39987" fmla="*/ 321555 h 6557032"/>
              <a:gd name="connsiteX39988" fmla="*/ 2459935 w 4610101"/>
              <a:gd name="connsiteY39988" fmla="*/ 319733 h 6557032"/>
              <a:gd name="connsiteX39989" fmla="*/ 2469046 w 4610101"/>
              <a:gd name="connsiteY39989" fmla="*/ 312444 h 6557032"/>
              <a:gd name="connsiteX39990" fmla="*/ 2461757 w 4610101"/>
              <a:gd name="connsiteY39990" fmla="*/ 305155 h 6557032"/>
              <a:gd name="connsiteX39991" fmla="*/ 2470868 w 4610101"/>
              <a:gd name="connsiteY39991" fmla="*/ 288756 h 6557032"/>
              <a:gd name="connsiteX39992" fmla="*/ 2461757 w 4610101"/>
              <a:gd name="connsiteY39992" fmla="*/ 274179 h 6557032"/>
              <a:gd name="connsiteX39993" fmla="*/ 2487268 w 4610101"/>
              <a:gd name="connsiteY39993" fmla="*/ 274179 h 6557032"/>
              <a:gd name="connsiteX39994" fmla="*/ 2479979 w 4610101"/>
              <a:gd name="connsiteY39994" fmla="*/ 257779 h 6557032"/>
              <a:gd name="connsiteX39995" fmla="*/ 2474513 w 4610101"/>
              <a:gd name="connsiteY39995" fmla="*/ 255957 h 6557032"/>
              <a:gd name="connsiteX39996" fmla="*/ 2469046 w 4610101"/>
              <a:gd name="connsiteY39996" fmla="*/ 241379 h 6557032"/>
              <a:gd name="connsiteX39997" fmla="*/ 2459935 w 4610101"/>
              <a:gd name="connsiteY39997" fmla="*/ 243202 h 6557032"/>
              <a:gd name="connsiteX39998" fmla="*/ 2459935 w 4610101"/>
              <a:gd name="connsiteY39998" fmla="*/ 235913 h 6557032"/>
              <a:gd name="connsiteX39999" fmla="*/ 2454469 w 4610101"/>
              <a:gd name="connsiteY39999" fmla="*/ 235913 h 6557032"/>
              <a:gd name="connsiteX40000" fmla="*/ 2458113 w 4610101"/>
              <a:gd name="connsiteY40000" fmla="*/ 221336 h 6557032"/>
              <a:gd name="connsiteX40001" fmla="*/ 2438069 w 4610101"/>
              <a:gd name="connsiteY40001" fmla="*/ 228624 h 6557032"/>
              <a:gd name="connsiteX40002" fmla="*/ 2436247 w 4610101"/>
              <a:gd name="connsiteY40002" fmla="*/ 226802 h 6557032"/>
              <a:gd name="connsiteX40003" fmla="*/ 2432603 w 4610101"/>
              <a:gd name="connsiteY40003" fmla="*/ 228624 h 6557032"/>
              <a:gd name="connsiteX40004" fmla="*/ 2438069 w 4610101"/>
              <a:gd name="connsiteY40004" fmla="*/ 221336 h 6557032"/>
              <a:gd name="connsiteX40005" fmla="*/ 2430780 w 4610101"/>
              <a:gd name="connsiteY40005" fmla="*/ 228624 h 6557032"/>
              <a:gd name="connsiteX40006" fmla="*/ 2428958 w 4610101"/>
              <a:gd name="connsiteY40006" fmla="*/ 221336 h 6557032"/>
              <a:gd name="connsiteX40007" fmla="*/ 2414381 w 4610101"/>
              <a:gd name="connsiteY40007" fmla="*/ 215869 h 6557032"/>
              <a:gd name="connsiteX40008" fmla="*/ 2412559 w 4610101"/>
              <a:gd name="connsiteY40008" fmla="*/ 210403 h 6557032"/>
              <a:gd name="connsiteX40009" fmla="*/ 2438069 w 4610101"/>
              <a:gd name="connsiteY40009" fmla="*/ 210403 h 6557032"/>
              <a:gd name="connsiteX40010" fmla="*/ 2436247 w 4610101"/>
              <a:gd name="connsiteY40010" fmla="*/ 203114 h 6557032"/>
              <a:gd name="connsiteX40011" fmla="*/ 2439891 w 4610101"/>
              <a:gd name="connsiteY40011" fmla="*/ 208580 h 6557032"/>
              <a:gd name="connsiteX40012" fmla="*/ 2444751 w 4610101"/>
              <a:gd name="connsiteY40012" fmla="*/ 207423 h 6557032"/>
              <a:gd name="connsiteX40013" fmla="*/ 2447180 w 4610101"/>
              <a:gd name="connsiteY40013" fmla="*/ 214047 h 6557032"/>
              <a:gd name="connsiteX40014" fmla="*/ 2452647 w 4610101"/>
              <a:gd name="connsiteY40014" fmla="*/ 212225 h 6557032"/>
              <a:gd name="connsiteX40015" fmla="*/ 2450142 w 4610101"/>
              <a:gd name="connsiteY40015" fmla="*/ 207669 h 6557032"/>
              <a:gd name="connsiteX40016" fmla="*/ 2449894 w 4610101"/>
              <a:gd name="connsiteY40016" fmla="*/ 206680 h 6557032"/>
              <a:gd name="connsiteX40017" fmla="*/ 2456291 w 4610101"/>
              <a:gd name="connsiteY40017" fmla="*/ 212225 h 6557032"/>
              <a:gd name="connsiteX40018" fmla="*/ 2458113 w 4610101"/>
              <a:gd name="connsiteY40018" fmla="*/ 197647 h 6557032"/>
              <a:gd name="connsiteX40019" fmla="*/ 2438069 w 4610101"/>
              <a:gd name="connsiteY40019" fmla="*/ 177603 h 6557032"/>
              <a:gd name="connsiteX40020" fmla="*/ 2193898 w 4610101"/>
              <a:gd name="connsiteY40020" fmla="*/ 177603 h 6557032"/>
              <a:gd name="connsiteX40021" fmla="*/ 2181143 w 4610101"/>
              <a:gd name="connsiteY40021" fmla="*/ 181248 h 6557032"/>
              <a:gd name="connsiteX40022" fmla="*/ 2199364 w 4610101"/>
              <a:gd name="connsiteY40022" fmla="*/ 195825 h 6557032"/>
              <a:gd name="connsiteX40023" fmla="*/ 2204831 w 4610101"/>
              <a:gd name="connsiteY40023" fmla="*/ 184892 h 6557032"/>
              <a:gd name="connsiteX40024" fmla="*/ 2193898 w 4610101"/>
              <a:gd name="connsiteY40024" fmla="*/ 177603 h 6557032"/>
              <a:gd name="connsiteX40025" fmla="*/ 2292295 w 4610101"/>
              <a:gd name="connsiteY40025" fmla="*/ 175781 h 6557032"/>
              <a:gd name="connsiteX40026" fmla="*/ 2301406 w 4610101"/>
              <a:gd name="connsiteY40026" fmla="*/ 181248 h 6557032"/>
              <a:gd name="connsiteX40027" fmla="*/ 2292295 w 4610101"/>
              <a:gd name="connsiteY40027" fmla="*/ 175781 h 6557032"/>
              <a:gd name="connsiteX40028" fmla="*/ 2170210 w 4610101"/>
              <a:gd name="connsiteY40028" fmla="*/ 175781 h 6557032"/>
              <a:gd name="connsiteX40029" fmla="*/ 2153810 w 4610101"/>
              <a:gd name="connsiteY40029" fmla="*/ 183070 h 6557032"/>
              <a:gd name="connsiteX40030" fmla="*/ 2168387 w 4610101"/>
              <a:gd name="connsiteY40030" fmla="*/ 183070 h 6557032"/>
              <a:gd name="connsiteX40031" fmla="*/ 2170210 w 4610101"/>
              <a:gd name="connsiteY40031" fmla="*/ 175781 h 6557032"/>
              <a:gd name="connsiteX40032" fmla="*/ 2645342 w 4610101"/>
              <a:gd name="connsiteY40032" fmla="*/ 175667 h 6557032"/>
              <a:gd name="connsiteX40033" fmla="*/ 2652631 w 4610101"/>
              <a:gd name="connsiteY40033" fmla="*/ 178514 h 6557032"/>
              <a:gd name="connsiteX40034" fmla="*/ 2664077 w 4610101"/>
              <a:gd name="connsiteY40034" fmla="*/ 184040 h 6557032"/>
              <a:gd name="connsiteX40035" fmla="*/ 2664702 w 4610101"/>
              <a:gd name="connsiteY40035" fmla="*/ 185575 h 6557032"/>
              <a:gd name="connsiteX40036" fmla="*/ 2660374 w 4610101"/>
              <a:gd name="connsiteY40036" fmla="*/ 190359 h 6557032"/>
              <a:gd name="connsiteX40037" fmla="*/ 2660374 w 4610101"/>
              <a:gd name="connsiteY40037" fmla="*/ 186714 h 6557032"/>
              <a:gd name="connsiteX40038" fmla="*/ 2658552 w 4610101"/>
              <a:gd name="connsiteY40038" fmla="*/ 188536 h 6557032"/>
              <a:gd name="connsiteX40039" fmla="*/ 2656730 w 4610101"/>
              <a:gd name="connsiteY40039" fmla="*/ 184892 h 6557032"/>
              <a:gd name="connsiteX40040" fmla="*/ 2653086 w 4610101"/>
              <a:gd name="connsiteY40040" fmla="*/ 197647 h 6557032"/>
              <a:gd name="connsiteX40041" fmla="*/ 2649441 w 4610101"/>
              <a:gd name="connsiteY40041" fmla="*/ 197647 h 6557032"/>
              <a:gd name="connsiteX40042" fmla="*/ 2651263 w 4610101"/>
              <a:gd name="connsiteY40042" fmla="*/ 190359 h 6557032"/>
              <a:gd name="connsiteX40043" fmla="*/ 2643975 w 4610101"/>
              <a:gd name="connsiteY40043" fmla="*/ 190359 h 6557032"/>
              <a:gd name="connsiteX40044" fmla="*/ 2638508 w 4610101"/>
              <a:gd name="connsiteY40044" fmla="*/ 208580 h 6557032"/>
              <a:gd name="connsiteX40045" fmla="*/ 2638508 w 4610101"/>
              <a:gd name="connsiteY40045" fmla="*/ 183070 h 6557032"/>
              <a:gd name="connsiteX40046" fmla="*/ 2647619 w 4610101"/>
              <a:gd name="connsiteY40046" fmla="*/ 188536 h 6557032"/>
              <a:gd name="connsiteX40047" fmla="*/ 2642153 w 4610101"/>
              <a:gd name="connsiteY40047" fmla="*/ 177603 h 6557032"/>
              <a:gd name="connsiteX40048" fmla="*/ 2645342 w 4610101"/>
              <a:gd name="connsiteY40048" fmla="*/ 175667 h 6557032"/>
              <a:gd name="connsiteX40049" fmla="*/ 3129748 w 4610101"/>
              <a:gd name="connsiteY40049" fmla="*/ 175624 h 6557032"/>
              <a:gd name="connsiteX40050" fmla="*/ 3131635 w 4610101"/>
              <a:gd name="connsiteY40050" fmla="*/ 176464 h 6557032"/>
              <a:gd name="connsiteX40051" fmla="*/ 3133135 w 4610101"/>
              <a:gd name="connsiteY40051" fmla="*/ 179328 h 6557032"/>
              <a:gd name="connsiteX40052" fmla="*/ 3132510 w 4610101"/>
              <a:gd name="connsiteY40052" fmla="*/ 179617 h 6557032"/>
              <a:gd name="connsiteX40053" fmla="*/ 3130495 w 4610101"/>
              <a:gd name="connsiteY40053" fmla="*/ 177603 h 6557032"/>
              <a:gd name="connsiteX40054" fmla="*/ 3129663 w 4610101"/>
              <a:gd name="connsiteY40054" fmla="*/ 180931 h 6557032"/>
              <a:gd name="connsiteX40055" fmla="*/ 3127888 w 4610101"/>
              <a:gd name="connsiteY40055" fmla="*/ 181750 h 6557032"/>
              <a:gd name="connsiteX40056" fmla="*/ 3126951 w 4610101"/>
              <a:gd name="connsiteY40056" fmla="*/ 178002 h 6557032"/>
              <a:gd name="connsiteX40057" fmla="*/ 3127534 w 4610101"/>
              <a:gd name="connsiteY40057" fmla="*/ 176464 h 6557032"/>
              <a:gd name="connsiteX40058" fmla="*/ 3012054 w 4610101"/>
              <a:gd name="connsiteY40058" fmla="*/ 173959 h 6557032"/>
              <a:gd name="connsiteX40059" fmla="*/ 3012054 w 4610101"/>
              <a:gd name="connsiteY40059" fmla="*/ 181248 h 6557032"/>
              <a:gd name="connsiteX40060" fmla="*/ 3012054 w 4610101"/>
              <a:gd name="connsiteY40060" fmla="*/ 173959 h 6557032"/>
              <a:gd name="connsiteX40061" fmla="*/ 2305050 w 4610101"/>
              <a:gd name="connsiteY40061" fmla="*/ 173959 h 6557032"/>
              <a:gd name="connsiteX40062" fmla="*/ 2306873 w 4610101"/>
              <a:gd name="connsiteY40062" fmla="*/ 181248 h 6557032"/>
              <a:gd name="connsiteX40063" fmla="*/ 2305050 w 4610101"/>
              <a:gd name="connsiteY40063" fmla="*/ 173959 h 6557032"/>
              <a:gd name="connsiteX40064" fmla="*/ 2348412 w 4610101"/>
              <a:gd name="connsiteY40064" fmla="*/ 173076 h 6557032"/>
              <a:gd name="connsiteX40065" fmla="*/ 2355355 w 4610101"/>
              <a:gd name="connsiteY40065" fmla="*/ 176946 h 6557032"/>
              <a:gd name="connsiteX40066" fmla="*/ 2354249 w 4610101"/>
              <a:gd name="connsiteY40066" fmla="*/ 177603 h 6557032"/>
              <a:gd name="connsiteX40067" fmla="*/ 2347644 w 4610101"/>
              <a:gd name="connsiteY40067" fmla="*/ 175097 h 6557032"/>
              <a:gd name="connsiteX40068" fmla="*/ 2342512 w 4610101"/>
              <a:gd name="connsiteY40068" fmla="*/ 174364 h 6557032"/>
              <a:gd name="connsiteX40069" fmla="*/ 2733261 w 4610101"/>
              <a:gd name="connsiteY40069" fmla="*/ 172137 h 6557032"/>
              <a:gd name="connsiteX40070" fmla="*/ 2725973 w 4610101"/>
              <a:gd name="connsiteY40070" fmla="*/ 183070 h 6557032"/>
              <a:gd name="connsiteX40071" fmla="*/ 2733261 w 4610101"/>
              <a:gd name="connsiteY40071" fmla="*/ 172137 h 6557032"/>
              <a:gd name="connsiteX40072" fmla="*/ 3114096 w 4610101"/>
              <a:gd name="connsiteY40072" fmla="*/ 170315 h 6557032"/>
              <a:gd name="connsiteX40073" fmla="*/ 3134140 w 4610101"/>
              <a:gd name="connsiteY40073" fmla="*/ 173959 h 6557032"/>
              <a:gd name="connsiteX40074" fmla="*/ 3129748 w 4610101"/>
              <a:gd name="connsiteY40074" fmla="*/ 175624 h 6557032"/>
              <a:gd name="connsiteX40075" fmla="*/ 3125684 w 4610101"/>
              <a:gd name="connsiteY40075" fmla="*/ 173816 h 6557032"/>
              <a:gd name="connsiteX40076" fmla="*/ 3114096 w 4610101"/>
              <a:gd name="connsiteY40076" fmla="*/ 170315 h 6557032"/>
              <a:gd name="connsiteX40077" fmla="*/ 3041209 w 4610101"/>
              <a:gd name="connsiteY40077" fmla="*/ 170315 h 6557032"/>
              <a:gd name="connsiteX40078" fmla="*/ 3035742 w 4610101"/>
              <a:gd name="connsiteY40078" fmla="*/ 179426 h 6557032"/>
              <a:gd name="connsiteX40079" fmla="*/ 3043031 w 4610101"/>
              <a:gd name="connsiteY40079" fmla="*/ 177603 h 6557032"/>
              <a:gd name="connsiteX40080" fmla="*/ 3041209 w 4610101"/>
              <a:gd name="connsiteY40080" fmla="*/ 170315 h 6557032"/>
              <a:gd name="connsiteX40081" fmla="*/ 2154949 w 4610101"/>
              <a:gd name="connsiteY40081" fmla="*/ 169859 h 6557032"/>
              <a:gd name="connsiteX40082" fmla="*/ 2144699 w 4610101"/>
              <a:gd name="connsiteY40082" fmla="*/ 172137 h 6557032"/>
              <a:gd name="connsiteX40083" fmla="*/ 2148344 w 4610101"/>
              <a:gd name="connsiteY40083" fmla="*/ 179426 h 6557032"/>
              <a:gd name="connsiteX40084" fmla="*/ 2166565 w 4610101"/>
              <a:gd name="connsiteY40084" fmla="*/ 170315 h 6557032"/>
              <a:gd name="connsiteX40085" fmla="*/ 2154949 w 4610101"/>
              <a:gd name="connsiteY40085" fmla="*/ 169859 h 6557032"/>
              <a:gd name="connsiteX40086" fmla="*/ 2266557 w 4610101"/>
              <a:gd name="connsiteY40086" fmla="*/ 168948 h 6557032"/>
              <a:gd name="connsiteX40087" fmla="*/ 2268078 w 4610101"/>
              <a:gd name="connsiteY40087" fmla="*/ 170060 h 6557032"/>
              <a:gd name="connsiteX40088" fmla="*/ 2264963 w 4610101"/>
              <a:gd name="connsiteY40088" fmla="*/ 170315 h 6557032"/>
              <a:gd name="connsiteX40089" fmla="*/ 2265368 w 4610101"/>
              <a:gd name="connsiteY40089" fmla="*/ 169100 h 6557032"/>
              <a:gd name="connsiteX40090" fmla="*/ 2102023 w 4610101"/>
              <a:gd name="connsiteY40090" fmla="*/ 167189 h 6557032"/>
              <a:gd name="connsiteX40091" fmla="*/ 2102790 w 4610101"/>
              <a:gd name="connsiteY40091" fmla="*/ 167416 h 6557032"/>
              <a:gd name="connsiteX40092" fmla="*/ 2102790 w 4610101"/>
              <a:gd name="connsiteY40092" fmla="*/ 168493 h 6557032"/>
              <a:gd name="connsiteX40093" fmla="*/ 2392515 w 4610101"/>
              <a:gd name="connsiteY40093" fmla="*/ 164848 h 6557032"/>
              <a:gd name="connsiteX40094" fmla="*/ 2392060 w 4610101"/>
              <a:gd name="connsiteY40094" fmla="*/ 169176 h 6557032"/>
              <a:gd name="connsiteX40095" fmla="*/ 2390974 w 4610101"/>
              <a:gd name="connsiteY40095" fmla="*/ 170184 h 6557032"/>
              <a:gd name="connsiteX40096" fmla="*/ 2391435 w 4610101"/>
              <a:gd name="connsiteY40096" fmla="*/ 165865 h 6557032"/>
              <a:gd name="connsiteX40097" fmla="*/ 2729617 w 4610101"/>
              <a:gd name="connsiteY40097" fmla="*/ 163026 h 6557032"/>
              <a:gd name="connsiteX40098" fmla="*/ 2724150 w 4610101"/>
              <a:gd name="connsiteY40098" fmla="*/ 175781 h 6557032"/>
              <a:gd name="connsiteX40099" fmla="*/ 2731439 w 4610101"/>
              <a:gd name="connsiteY40099" fmla="*/ 172137 h 6557032"/>
              <a:gd name="connsiteX40100" fmla="*/ 2729617 w 4610101"/>
              <a:gd name="connsiteY40100" fmla="*/ 163026 h 6557032"/>
              <a:gd name="connsiteX40101" fmla="*/ 2582021 w 4610101"/>
              <a:gd name="connsiteY40101" fmla="*/ 163026 h 6557032"/>
              <a:gd name="connsiteX40102" fmla="*/ 2587487 w 4610101"/>
              <a:gd name="connsiteY40102" fmla="*/ 179426 h 6557032"/>
              <a:gd name="connsiteX40103" fmla="*/ 2585665 w 4610101"/>
              <a:gd name="connsiteY40103" fmla="*/ 168493 h 6557032"/>
              <a:gd name="connsiteX40104" fmla="*/ 2582021 w 4610101"/>
              <a:gd name="connsiteY40104" fmla="*/ 163026 h 6557032"/>
              <a:gd name="connsiteX40105" fmla="*/ 2102790 w 4610101"/>
              <a:gd name="connsiteY40105" fmla="*/ 163026 h 6557032"/>
              <a:gd name="connsiteX40106" fmla="*/ 2106433 w 4610101"/>
              <a:gd name="connsiteY40106" fmla="*/ 168493 h 6557032"/>
              <a:gd name="connsiteX40107" fmla="*/ 2102790 w 4610101"/>
              <a:gd name="connsiteY40107" fmla="*/ 167416 h 6557032"/>
              <a:gd name="connsiteX40108" fmla="*/ 2705929 w 4610101"/>
              <a:gd name="connsiteY40108" fmla="*/ 161646 h 6557032"/>
              <a:gd name="connsiteX40109" fmla="*/ 2705929 w 4610101"/>
              <a:gd name="connsiteY40109" fmla="*/ 172137 h 6557032"/>
              <a:gd name="connsiteX40110" fmla="*/ 2698640 w 4610101"/>
              <a:gd name="connsiteY40110" fmla="*/ 168493 h 6557032"/>
              <a:gd name="connsiteX40111" fmla="*/ 2687707 w 4610101"/>
              <a:gd name="connsiteY40111" fmla="*/ 190359 h 6557032"/>
              <a:gd name="connsiteX40112" fmla="*/ 2684776 w 4610101"/>
              <a:gd name="connsiteY40112" fmla="*/ 185278 h 6557032"/>
              <a:gd name="connsiteX40113" fmla="*/ 2693401 w 4610101"/>
              <a:gd name="connsiteY40113" fmla="*/ 172820 h 6557032"/>
              <a:gd name="connsiteX40114" fmla="*/ 3039387 w 4610101"/>
              <a:gd name="connsiteY40114" fmla="*/ 161204 h 6557032"/>
              <a:gd name="connsiteX40115" fmla="*/ 3030276 w 4610101"/>
              <a:gd name="connsiteY40115" fmla="*/ 172137 h 6557032"/>
              <a:gd name="connsiteX40116" fmla="*/ 3039387 w 4610101"/>
              <a:gd name="connsiteY40116" fmla="*/ 161204 h 6557032"/>
              <a:gd name="connsiteX40117" fmla="*/ 2186609 w 4610101"/>
              <a:gd name="connsiteY40117" fmla="*/ 159382 h 6557032"/>
              <a:gd name="connsiteX40118" fmla="*/ 2190253 w 4610101"/>
              <a:gd name="connsiteY40118" fmla="*/ 172137 h 6557032"/>
              <a:gd name="connsiteX40119" fmla="*/ 2203009 w 4610101"/>
              <a:gd name="connsiteY40119" fmla="*/ 163026 h 6557032"/>
              <a:gd name="connsiteX40120" fmla="*/ 2186609 w 4610101"/>
              <a:gd name="connsiteY40120" fmla="*/ 159382 h 6557032"/>
              <a:gd name="connsiteX40121" fmla="*/ 2962856 w 4610101"/>
              <a:gd name="connsiteY40121" fmla="*/ 157559 h 6557032"/>
              <a:gd name="connsiteX40122" fmla="*/ 2965816 w 4610101"/>
              <a:gd name="connsiteY40122" fmla="*/ 163026 h 6557032"/>
              <a:gd name="connsiteX40123" fmla="*/ 2964677 w 4610101"/>
              <a:gd name="connsiteY40123" fmla="*/ 168493 h 6557032"/>
              <a:gd name="connsiteX40124" fmla="*/ 2961489 w 4610101"/>
              <a:gd name="connsiteY40124" fmla="*/ 159609 h 6557032"/>
              <a:gd name="connsiteX40125" fmla="*/ 2705929 w 4610101"/>
              <a:gd name="connsiteY40125" fmla="*/ 157559 h 6557032"/>
              <a:gd name="connsiteX40126" fmla="*/ 2708090 w 4610101"/>
              <a:gd name="connsiteY40126" fmla="*/ 159720 h 6557032"/>
              <a:gd name="connsiteX40127" fmla="*/ 2705929 w 4610101"/>
              <a:gd name="connsiteY40127" fmla="*/ 161646 h 6557032"/>
              <a:gd name="connsiteX40128" fmla="*/ 2244919 w 4610101"/>
              <a:gd name="connsiteY40128" fmla="*/ 157559 h 6557032"/>
              <a:gd name="connsiteX40129" fmla="*/ 2239452 w 4610101"/>
              <a:gd name="connsiteY40129" fmla="*/ 164848 h 6557032"/>
              <a:gd name="connsiteX40130" fmla="*/ 2244919 w 4610101"/>
              <a:gd name="connsiteY40130" fmla="*/ 164848 h 6557032"/>
              <a:gd name="connsiteX40131" fmla="*/ 2244919 w 4610101"/>
              <a:gd name="connsiteY40131" fmla="*/ 157559 h 6557032"/>
              <a:gd name="connsiteX40132" fmla="*/ 2710961 w 4610101"/>
              <a:gd name="connsiteY40132" fmla="*/ 157159 h 6557032"/>
              <a:gd name="connsiteX40133" fmla="*/ 2711395 w 4610101"/>
              <a:gd name="connsiteY40133" fmla="*/ 163026 h 6557032"/>
              <a:gd name="connsiteX40134" fmla="*/ 2708090 w 4610101"/>
              <a:gd name="connsiteY40134" fmla="*/ 159720 h 6557032"/>
              <a:gd name="connsiteX40135" fmla="*/ 3024809 w 4610101"/>
              <a:gd name="connsiteY40135" fmla="*/ 155737 h 6557032"/>
              <a:gd name="connsiteX40136" fmla="*/ 3019343 w 4610101"/>
              <a:gd name="connsiteY40136" fmla="*/ 190359 h 6557032"/>
              <a:gd name="connsiteX40137" fmla="*/ 3024809 w 4610101"/>
              <a:gd name="connsiteY40137" fmla="*/ 155737 h 6557032"/>
              <a:gd name="connsiteX40138" fmla="*/ 3004765 w 4610101"/>
              <a:gd name="connsiteY40138" fmla="*/ 155737 h 6557032"/>
              <a:gd name="connsiteX40139" fmla="*/ 3001121 w 4610101"/>
              <a:gd name="connsiteY40139" fmla="*/ 168493 h 6557032"/>
              <a:gd name="connsiteX40140" fmla="*/ 3008410 w 4610101"/>
              <a:gd name="connsiteY40140" fmla="*/ 166670 h 6557032"/>
              <a:gd name="connsiteX40141" fmla="*/ 3004765 w 4610101"/>
              <a:gd name="connsiteY40141" fmla="*/ 155737 h 6557032"/>
              <a:gd name="connsiteX40142" fmla="*/ 2567443 w 4610101"/>
              <a:gd name="connsiteY40142" fmla="*/ 153915 h 6557032"/>
              <a:gd name="connsiteX40143" fmla="*/ 2571088 w 4610101"/>
              <a:gd name="connsiteY40143" fmla="*/ 164848 h 6557032"/>
              <a:gd name="connsiteX40144" fmla="*/ 2567443 w 4610101"/>
              <a:gd name="connsiteY40144" fmla="*/ 153915 h 6557032"/>
              <a:gd name="connsiteX40145" fmla="*/ 2552866 w 4610101"/>
              <a:gd name="connsiteY40145" fmla="*/ 153915 h 6557032"/>
              <a:gd name="connsiteX40146" fmla="*/ 2561977 w 4610101"/>
              <a:gd name="connsiteY40146" fmla="*/ 163026 h 6557032"/>
              <a:gd name="connsiteX40147" fmla="*/ 2552866 w 4610101"/>
              <a:gd name="connsiteY40147" fmla="*/ 153915 h 6557032"/>
              <a:gd name="connsiteX40148" fmla="*/ 2294117 w 4610101"/>
              <a:gd name="connsiteY40148" fmla="*/ 153915 h 6557032"/>
              <a:gd name="connsiteX40149" fmla="*/ 2288651 w 4610101"/>
              <a:gd name="connsiteY40149" fmla="*/ 166670 h 6557032"/>
              <a:gd name="connsiteX40150" fmla="*/ 2294117 w 4610101"/>
              <a:gd name="connsiteY40150" fmla="*/ 153915 h 6557032"/>
              <a:gd name="connsiteX40151" fmla="*/ 2175676 w 4610101"/>
              <a:gd name="connsiteY40151" fmla="*/ 153915 h 6557032"/>
              <a:gd name="connsiteX40152" fmla="*/ 2177498 w 4610101"/>
              <a:gd name="connsiteY40152" fmla="*/ 163026 h 6557032"/>
              <a:gd name="connsiteX40153" fmla="*/ 2172032 w 4610101"/>
              <a:gd name="connsiteY40153" fmla="*/ 164848 h 6557032"/>
              <a:gd name="connsiteX40154" fmla="*/ 2188431 w 4610101"/>
              <a:gd name="connsiteY40154" fmla="*/ 170315 h 6557032"/>
              <a:gd name="connsiteX40155" fmla="*/ 2175676 w 4610101"/>
              <a:gd name="connsiteY40155" fmla="*/ 153915 h 6557032"/>
              <a:gd name="connsiteX40156" fmla="*/ 2086390 w 4610101"/>
              <a:gd name="connsiteY40156" fmla="*/ 153915 h 6557032"/>
              <a:gd name="connsiteX40157" fmla="*/ 2086390 w 4610101"/>
              <a:gd name="connsiteY40157" fmla="*/ 164848 h 6557032"/>
              <a:gd name="connsiteX40158" fmla="*/ 2090034 w 4610101"/>
              <a:gd name="connsiteY40158" fmla="*/ 159382 h 6557032"/>
              <a:gd name="connsiteX40159" fmla="*/ 2086390 w 4610101"/>
              <a:gd name="connsiteY40159" fmla="*/ 153915 h 6557032"/>
              <a:gd name="connsiteX40160" fmla="*/ 3062415 w 4610101"/>
              <a:gd name="connsiteY40160" fmla="*/ 152753 h 6557032"/>
              <a:gd name="connsiteX40161" fmla="*/ 3061936 w 4610101"/>
              <a:gd name="connsiteY40161" fmla="*/ 153345 h 6557032"/>
              <a:gd name="connsiteX40162" fmla="*/ 3061816 w 4610101"/>
              <a:gd name="connsiteY40162" fmla="*/ 153352 h 6557032"/>
              <a:gd name="connsiteX40163" fmla="*/ 2308695 w 4610101"/>
              <a:gd name="connsiteY40163" fmla="*/ 152548 h 6557032"/>
              <a:gd name="connsiteX40164" fmla="*/ 2309689 w 4610101"/>
              <a:gd name="connsiteY40164" fmla="*/ 152921 h 6557032"/>
              <a:gd name="connsiteX40165" fmla="*/ 2302621 w 4610101"/>
              <a:gd name="connsiteY40165" fmla="*/ 159989 h 6557032"/>
              <a:gd name="connsiteX40166" fmla="*/ 2305050 w 4610101"/>
              <a:gd name="connsiteY40166" fmla="*/ 153915 h 6557032"/>
              <a:gd name="connsiteX40167" fmla="*/ 2308695 w 4610101"/>
              <a:gd name="connsiteY40167" fmla="*/ 152548 h 6557032"/>
              <a:gd name="connsiteX40168" fmla="*/ 2713217 w 4610101"/>
              <a:gd name="connsiteY40168" fmla="*/ 152093 h 6557032"/>
              <a:gd name="connsiteX40169" fmla="*/ 2715066 w 4610101"/>
              <a:gd name="connsiteY40169" fmla="*/ 153498 h 6557032"/>
              <a:gd name="connsiteX40170" fmla="*/ 2710961 w 4610101"/>
              <a:gd name="connsiteY40170" fmla="*/ 157159 h 6557032"/>
              <a:gd name="connsiteX40171" fmla="*/ 2710940 w 4610101"/>
              <a:gd name="connsiteY40171" fmla="*/ 156876 h 6557032"/>
              <a:gd name="connsiteX40172" fmla="*/ 2713217 w 4610101"/>
              <a:gd name="connsiteY40172" fmla="*/ 152093 h 6557032"/>
              <a:gd name="connsiteX40173" fmla="*/ 2277718 w 4610101"/>
              <a:gd name="connsiteY40173" fmla="*/ 152093 h 6557032"/>
              <a:gd name="connsiteX40174" fmla="*/ 2279540 w 4610101"/>
              <a:gd name="connsiteY40174" fmla="*/ 159382 h 6557032"/>
              <a:gd name="connsiteX40175" fmla="*/ 2277718 w 4610101"/>
              <a:gd name="connsiteY40175" fmla="*/ 152093 h 6557032"/>
              <a:gd name="connsiteX40176" fmla="*/ 2099145 w 4610101"/>
              <a:gd name="connsiteY40176" fmla="*/ 152093 h 6557032"/>
              <a:gd name="connsiteX40177" fmla="*/ 2104611 w 4610101"/>
              <a:gd name="connsiteY40177" fmla="*/ 157559 h 6557032"/>
              <a:gd name="connsiteX40178" fmla="*/ 2099145 w 4610101"/>
              <a:gd name="connsiteY40178" fmla="*/ 152093 h 6557032"/>
              <a:gd name="connsiteX40179" fmla="*/ 2718684 w 4610101"/>
              <a:gd name="connsiteY40179" fmla="*/ 150271 h 6557032"/>
              <a:gd name="connsiteX40180" fmla="*/ 2719531 w 4610101"/>
              <a:gd name="connsiteY40180" fmla="*/ 156200 h 6557032"/>
              <a:gd name="connsiteX40181" fmla="*/ 2718912 w 4610101"/>
              <a:gd name="connsiteY40181" fmla="*/ 156420 h 6557032"/>
              <a:gd name="connsiteX40182" fmla="*/ 2715066 w 4610101"/>
              <a:gd name="connsiteY40182" fmla="*/ 153498 h 6557032"/>
              <a:gd name="connsiteX40183" fmla="*/ 2463580 w 4610101"/>
              <a:gd name="connsiteY40183" fmla="*/ 150271 h 6557032"/>
              <a:gd name="connsiteX40184" fmla="*/ 2445358 w 4610101"/>
              <a:gd name="connsiteY40184" fmla="*/ 170315 h 6557032"/>
              <a:gd name="connsiteX40185" fmla="*/ 2456291 w 4610101"/>
              <a:gd name="connsiteY40185" fmla="*/ 179426 h 6557032"/>
              <a:gd name="connsiteX40186" fmla="*/ 2463580 w 4610101"/>
              <a:gd name="connsiteY40186" fmla="*/ 150271 h 6557032"/>
              <a:gd name="connsiteX40187" fmla="*/ 2084568 w 4610101"/>
              <a:gd name="connsiteY40187" fmla="*/ 150271 h 6557032"/>
              <a:gd name="connsiteX40188" fmla="*/ 2086390 w 4610101"/>
              <a:gd name="connsiteY40188" fmla="*/ 166670 h 6557032"/>
              <a:gd name="connsiteX40189" fmla="*/ 2099145 w 4610101"/>
              <a:gd name="connsiteY40189" fmla="*/ 177603 h 6557032"/>
              <a:gd name="connsiteX40190" fmla="*/ 2104611 w 4610101"/>
              <a:gd name="connsiteY40190" fmla="*/ 175781 h 6557032"/>
              <a:gd name="connsiteX40191" fmla="*/ 2117366 w 4610101"/>
              <a:gd name="connsiteY40191" fmla="*/ 184892 h 6557032"/>
              <a:gd name="connsiteX40192" fmla="*/ 2131944 w 4610101"/>
              <a:gd name="connsiteY40192" fmla="*/ 183070 h 6557032"/>
              <a:gd name="connsiteX40193" fmla="*/ 2135588 w 4610101"/>
              <a:gd name="connsiteY40193" fmla="*/ 179426 h 6557032"/>
              <a:gd name="connsiteX40194" fmla="*/ 2115544 w 4610101"/>
              <a:gd name="connsiteY40194" fmla="*/ 181248 h 6557032"/>
              <a:gd name="connsiteX40195" fmla="*/ 2111900 w 4610101"/>
              <a:gd name="connsiteY40195" fmla="*/ 179426 h 6557032"/>
              <a:gd name="connsiteX40196" fmla="*/ 2117366 w 4610101"/>
              <a:gd name="connsiteY40196" fmla="*/ 175781 h 6557032"/>
              <a:gd name="connsiteX40197" fmla="*/ 2111900 w 4610101"/>
              <a:gd name="connsiteY40197" fmla="*/ 170315 h 6557032"/>
              <a:gd name="connsiteX40198" fmla="*/ 2117366 w 4610101"/>
              <a:gd name="connsiteY40198" fmla="*/ 164848 h 6557032"/>
              <a:gd name="connsiteX40199" fmla="*/ 2100967 w 4610101"/>
              <a:gd name="connsiteY40199" fmla="*/ 159382 h 6557032"/>
              <a:gd name="connsiteX40200" fmla="*/ 2100512 w 4610101"/>
              <a:gd name="connsiteY40200" fmla="*/ 164620 h 6557032"/>
              <a:gd name="connsiteX40201" fmla="*/ 2102023 w 4610101"/>
              <a:gd name="connsiteY40201" fmla="*/ 167189 h 6557032"/>
              <a:gd name="connsiteX40202" fmla="*/ 2096412 w 4610101"/>
              <a:gd name="connsiteY40202" fmla="*/ 165531 h 6557032"/>
              <a:gd name="connsiteX40203" fmla="*/ 2091856 w 4610101"/>
              <a:gd name="connsiteY40203" fmla="*/ 150271 h 6557032"/>
              <a:gd name="connsiteX40204" fmla="*/ 2084568 w 4610101"/>
              <a:gd name="connsiteY40204" fmla="*/ 150271 h 6557032"/>
              <a:gd name="connsiteX40205" fmla="*/ 2747839 w 4610101"/>
              <a:gd name="connsiteY40205" fmla="*/ 148449 h 6557032"/>
              <a:gd name="connsiteX40206" fmla="*/ 2749661 w 4610101"/>
              <a:gd name="connsiteY40206" fmla="*/ 155737 h 6557032"/>
              <a:gd name="connsiteX40207" fmla="*/ 2747839 w 4610101"/>
              <a:gd name="connsiteY40207" fmla="*/ 148449 h 6557032"/>
              <a:gd name="connsiteX40208" fmla="*/ 2390693 w 4610101"/>
              <a:gd name="connsiteY40208" fmla="*/ 148449 h 6557032"/>
              <a:gd name="connsiteX40209" fmla="*/ 2381582 w 4610101"/>
              <a:gd name="connsiteY40209" fmla="*/ 164848 h 6557032"/>
              <a:gd name="connsiteX40210" fmla="*/ 2387048 w 4610101"/>
              <a:gd name="connsiteY40210" fmla="*/ 153915 h 6557032"/>
              <a:gd name="connsiteX40211" fmla="*/ 2392515 w 4610101"/>
              <a:gd name="connsiteY40211" fmla="*/ 155737 h 6557032"/>
              <a:gd name="connsiteX40212" fmla="*/ 2391435 w 4610101"/>
              <a:gd name="connsiteY40212" fmla="*/ 165865 h 6557032"/>
              <a:gd name="connsiteX40213" fmla="*/ 2388643 w 4610101"/>
              <a:gd name="connsiteY40213" fmla="*/ 168493 h 6557032"/>
              <a:gd name="connsiteX40214" fmla="*/ 2388871 w 4610101"/>
              <a:gd name="connsiteY40214" fmla="*/ 172137 h 6557032"/>
              <a:gd name="connsiteX40215" fmla="*/ 2390974 w 4610101"/>
              <a:gd name="connsiteY40215" fmla="*/ 170184 h 6557032"/>
              <a:gd name="connsiteX40216" fmla="*/ 2390693 w 4610101"/>
              <a:gd name="connsiteY40216" fmla="*/ 172820 h 6557032"/>
              <a:gd name="connsiteX40217" fmla="*/ 2372471 w 4610101"/>
              <a:gd name="connsiteY40217" fmla="*/ 183070 h 6557032"/>
              <a:gd name="connsiteX40218" fmla="*/ 2379760 w 4610101"/>
              <a:gd name="connsiteY40218" fmla="*/ 172137 h 6557032"/>
              <a:gd name="connsiteX40219" fmla="*/ 2361566 w 4610101"/>
              <a:gd name="connsiteY40219" fmla="*/ 180848 h 6557032"/>
              <a:gd name="connsiteX40220" fmla="*/ 2363841 w 4610101"/>
              <a:gd name="connsiteY40220" fmla="*/ 185684 h 6557032"/>
              <a:gd name="connsiteX40221" fmla="*/ 2358577 w 4610101"/>
              <a:gd name="connsiteY40221" fmla="*/ 178742 h 6557032"/>
              <a:gd name="connsiteX40222" fmla="*/ 2355355 w 4610101"/>
              <a:gd name="connsiteY40222" fmla="*/ 176946 h 6557032"/>
              <a:gd name="connsiteX40223" fmla="*/ 2361538 w 4610101"/>
              <a:gd name="connsiteY40223" fmla="*/ 173276 h 6557032"/>
              <a:gd name="connsiteX40224" fmla="*/ 2368827 w 4610101"/>
              <a:gd name="connsiteY40224" fmla="*/ 164848 h 6557032"/>
              <a:gd name="connsiteX40225" fmla="*/ 2377937 w 4610101"/>
              <a:gd name="connsiteY40225" fmla="*/ 170315 h 6557032"/>
              <a:gd name="connsiteX40226" fmla="*/ 2376115 w 4610101"/>
              <a:gd name="connsiteY40226" fmla="*/ 159382 h 6557032"/>
              <a:gd name="connsiteX40227" fmla="*/ 2370649 w 4610101"/>
              <a:gd name="connsiteY40227" fmla="*/ 163026 h 6557032"/>
              <a:gd name="connsiteX40228" fmla="*/ 2390693 w 4610101"/>
              <a:gd name="connsiteY40228" fmla="*/ 148449 h 6557032"/>
              <a:gd name="connsiteX40229" fmla="*/ 2722328 w 4610101"/>
              <a:gd name="connsiteY40229" fmla="*/ 146626 h 6557032"/>
              <a:gd name="connsiteX40230" fmla="*/ 2724606 w 4610101"/>
              <a:gd name="connsiteY40230" fmla="*/ 148448 h 6557032"/>
              <a:gd name="connsiteX40231" fmla="*/ 2724225 w 4610101"/>
              <a:gd name="connsiteY40231" fmla="*/ 154535 h 6557032"/>
              <a:gd name="connsiteX40232" fmla="*/ 2723481 w 4610101"/>
              <a:gd name="connsiteY40232" fmla="*/ 154799 h 6557032"/>
              <a:gd name="connsiteX40233" fmla="*/ 2721873 w 4610101"/>
              <a:gd name="connsiteY40233" fmla="*/ 152548 h 6557032"/>
              <a:gd name="connsiteX40234" fmla="*/ 2722328 w 4610101"/>
              <a:gd name="connsiteY40234" fmla="*/ 146626 h 6557032"/>
              <a:gd name="connsiteX40235" fmla="*/ 2541933 w 4610101"/>
              <a:gd name="connsiteY40235" fmla="*/ 144804 h 6557032"/>
              <a:gd name="connsiteX40236" fmla="*/ 2549222 w 4610101"/>
              <a:gd name="connsiteY40236" fmla="*/ 153915 h 6557032"/>
              <a:gd name="connsiteX40237" fmla="*/ 2541933 w 4610101"/>
              <a:gd name="connsiteY40237" fmla="*/ 144804 h 6557032"/>
              <a:gd name="connsiteX40238" fmla="*/ 2261318 w 4610101"/>
              <a:gd name="connsiteY40238" fmla="*/ 144804 h 6557032"/>
              <a:gd name="connsiteX40239" fmla="*/ 2264963 w 4610101"/>
              <a:gd name="connsiteY40239" fmla="*/ 150271 h 6557032"/>
              <a:gd name="connsiteX40240" fmla="*/ 2270429 w 4610101"/>
              <a:gd name="connsiteY40240" fmla="*/ 144804 h 6557032"/>
              <a:gd name="connsiteX40241" fmla="*/ 2261318 w 4610101"/>
              <a:gd name="connsiteY40241" fmla="*/ 144804 h 6557032"/>
              <a:gd name="connsiteX40242" fmla="*/ 2113722 w 4610101"/>
              <a:gd name="connsiteY40242" fmla="*/ 144804 h 6557032"/>
              <a:gd name="connsiteX40243" fmla="*/ 2119189 w 4610101"/>
              <a:gd name="connsiteY40243" fmla="*/ 159382 h 6557032"/>
              <a:gd name="connsiteX40244" fmla="*/ 2113722 w 4610101"/>
              <a:gd name="connsiteY40244" fmla="*/ 144804 h 6557032"/>
              <a:gd name="connsiteX40245" fmla="*/ 2146521 w 4610101"/>
              <a:gd name="connsiteY40245" fmla="*/ 142982 h 6557032"/>
              <a:gd name="connsiteX40246" fmla="*/ 2148344 w 4610101"/>
              <a:gd name="connsiteY40246" fmla="*/ 150271 h 6557032"/>
              <a:gd name="connsiteX40247" fmla="*/ 2166565 w 4610101"/>
              <a:gd name="connsiteY40247" fmla="*/ 153915 h 6557032"/>
              <a:gd name="connsiteX40248" fmla="*/ 2146521 w 4610101"/>
              <a:gd name="connsiteY40248" fmla="*/ 142982 h 6557032"/>
              <a:gd name="connsiteX40249" fmla="*/ 3008410 w 4610101"/>
              <a:gd name="connsiteY40249" fmla="*/ 141160 h 6557032"/>
              <a:gd name="connsiteX40250" fmla="*/ 3008858 w 4610101"/>
              <a:gd name="connsiteY40250" fmla="*/ 143250 h 6557032"/>
              <a:gd name="connsiteX40251" fmla="*/ 3008410 w 4610101"/>
              <a:gd name="connsiteY40251" fmla="*/ 143818 h 6557032"/>
              <a:gd name="connsiteX40252" fmla="*/ 2470868 w 4610101"/>
              <a:gd name="connsiteY40252" fmla="*/ 139338 h 6557032"/>
              <a:gd name="connsiteX40253" fmla="*/ 2469046 w 4610101"/>
              <a:gd name="connsiteY40253" fmla="*/ 146626 h 6557032"/>
              <a:gd name="connsiteX40254" fmla="*/ 2476335 w 4610101"/>
              <a:gd name="connsiteY40254" fmla="*/ 146626 h 6557032"/>
              <a:gd name="connsiteX40255" fmla="*/ 2470868 w 4610101"/>
              <a:gd name="connsiteY40255" fmla="*/ 139338 h 6557032"/>
              <a:gd name="connsiteX40256" fmla="*/ 2121011 w 4610101"/>
              <a:gd name="connsiteY40256" fmla="*/ 139338 h 6557032"/>
              <a:gd name="connsiteX40257" fmla="*/ 2133766 w 4610101"/>
              <a:gd name="connsiteY40257" fmla="*/ 163026 h 6557032"/>
              <a:gd name="connsiteX40258" fmla="*/ 2124655 w 4610101"/>
              <a:gd name="connsiteY40258" fmla="*/ 155737 h 6557032"/>
              <a:gd name="connsiteX40259" fmla="*/ 2121011 w 4610101"/>
              <a:gd name="connsiteY40259" fmla="*/ 139338 h 6557032"/>
              <a:gd name="connsiteX40260" fmla="*/ 2174764 w 4610101"/>
              <a:gd name="connsiteY40260" fmla="*/ 137878 h 6557032"/>
              <a:gd name="connsiteX40261" fmla="*/ 2177726 w 4610101"/>
              <a:gd name="connsiteY40261" fmla="*/ 140248 h 6557032"/>
              <a:gd name="connsiteX40262" fmla="*/ 2175990 w 4610101"/>
              <a:gd name="connsiteY40262" fmla="*/ 142290 h 6557032"/>
              <a:gd name="connsiteX40263" fmla="*/ 2173855 w 4610101"/>
              <a:gd name="connsiteY40263" fmla="*/ 139338 h 6557032"/>
              <a:gd name="connsiteX40264" fmla="*/ 2173854 w 4610101"/>
              <a:gd name="connsiteY40264" fmla="*/ 139337 h 6557032"/>
              <a:gd name="connsiteX40265" fmla="*/ 2170210 w 4610101"/>
              <a:gd name="connsiteY40265" fmla="*/ 137516 h 6557032"/>
              <a:gd name="connsiteX40266" fmla="*/ 2169352 w 4610101"/>
              <a:gd name="connsiteY40266" fmla="*/ 140945 h 6557032"/>
              <a:gd name="connsiteX40267" fmla="*/ 2162921 w 4610101"/>
              <a:gd name="connsiteY40267" fmla="*/ 139338 h 6557032"/>
              <a:gd name="connsiteX40268" fmla="*/ 2173854 w 4610101"/>
              <a:gd name="connsiteY40268" fmla="*/ 150271 h 6557032"/>
              <a:gd name="connsiteX40269" fmla="*/ 2168387 w 4610101"/>
              <a:gd name="connsiteY40269" fmla="*/ 144804 h 6557032"/>
              <a:gd name="connsiteX40270" fmla="*/ 2169352 w 4610101"/>
              <a:gd name="connsiteY40270" fmla="*/ 140945 h 6557032"/>
              <a:gd name="connsiteX40271" fmla="*/ 2170210 w 4610101"/>
              <a:gd name="connsiteY40271" fmla="*/ 141160 h 6557032"/>
              <a:gd name="connsiteX40272" fmla="*/ 2170210 w 4610101"/>
              <a:gd name="connsiteY40272" fmla="*/ 137516 h 6557032"/>
              <a:gd name="connsiteX40273" fmla="*/ 2133766 w 4610101"/>
              <a:gd name="connsiteY40273" fmla="*/ 137516 h 6557032"/>
              <a:gd name="connsiteX40274" fmla="*/ 2141055 w 4610101"/>
              <a:gd name="connsiteY40274" fmla="*/ 146626 h 6557032"/>
              <a:gd name="connsiteX40275" fmla="*/ 2133766 w 4610101"/>
              <a:gd name="connsiteY40275" fmla="*/ 137516 h 6557032"/>
              <a:gd name="connsiteX40276" fmla="*/ 2066346 w 4610101"/>
              <a:gd name="connsiteY40276" fmla="*/ 137516 h 6557032"/>
              <a:gd name="connsiteX40277" fmla="*/ 2075457 w 4610101"/>
              <a:gd name="connsiteY40277" fmla="*/ 146626 h 6557032"/>
              <a:gd name="connsiteX40278" fmla="*/ 2073634 w 4610101"/>
              <a:gd name="connsiteY40278" fmla="*/ 142982 h 6557032"/>
              <a:gd name="connsiteX40279" fmla="*/ 2082745 w 4610101"/>
              <a:gd name="connsiteY40279" fmla="*/ 146626 h 6557032"/>
              <a:gd name="connsiteX40280" fmla="*/ 2066346 w 4610101"/>
              <a:gd name="connsiteY40280" fmla="*/ 137516 h 6557032"/>
              <a:gd name="connsiteX40281" fmla="*/ 2520347 w 4610101"/>
              <a:gd name="connsiteY40281" fmla="*/ 136917 h 6557032"/>
              <a:gd name="connsiteX40282" fmla="*/ 2524395 w 4610101"/>
              <a:gd name="connsiteY40282" fmla="*/ 137828 h 6557032"/>
              <a:gd name="connsiteX40283" fmla="*/ 2525051 w 4610101"/>
              <a:gd name="connsiteY40283" fmla="*/ 138513 h 6557032"/>
              <a:gd name="connsiteX40284" fmla="*/ 2520067 w 4610101"/>
              <a:gd name="connsiteY40284" fmla="*/ 137516 h 6557032"/>
              <a:gd name="connsiteX40285" fmla="*/ 2310517 w 4610101"/>
              <a:gd name="connsiteY40285" fmla="*/ 135693 h 6557032"/>
              <a:gd name="connsiteX40286" fmla="*/ 2299584 w 4610101"/>
              <a:gd name="connsiteY40286" fmla="*/ 141160 h 6557032"/>
              <a:gd name="connsiteX40287" fmla="*/ 2312339 w 4610101"/>
              <a:gd name="connsiteY40287" fmla="*/ 141160 h 6557032"/>
              <a:gd name="connsiteX40288" fmla="*/ 2310517 w 4610101"/>
              <a:gd name="connsiteY40288" fmla="*/ 135693 h 6557032"/>
              <a:gd name="connsiteX40289" fmla="*/ 2128300 w 4610101"/>
              <a:gd name="connsiteY40289" fmla="*/ 135693 h 6557032"/>
              <a:gd name="connsiteX40290" fmla="*/ 2126477 w 4610101"/>
              <a:gd name="connsiteY40290" fmla="*/ 137516 h 6557032"/>
              <a:gd name="connsiteX40291" fmla="*/ 2130122 w 4610101"/>
              <a:gd name="connsiteY40291" fmla="*/ 150271 h 6557032"/>
              <a:gd name="connsiteX40292" fmla="*/ 2141055 w 4610101"/>
              <a:gd name="connsiteY40292" fmla="*/ 166670 h 6557032"/>
              <a:gd name="connsiteX40293" fmla="*/ 2159277 w 4610101"/>
              <a:gd name="connsiteY40293" fmla="*/ 161204 h 6557032"/>
              <a:gd name="connsiteX40294" fmla="*/ 2151988 w 4610101"/>
              <a:gd name="connsiteY40294" fmla="*/ 161204 h 6557032"/>
              <a:gd name="connsiteX40295" fmla="*/ 2155632 w 4610101"/>
              <a:gd name="connsiteY40295" fmla="*/ 157559 h 6557032"/>
              <a:gd name="connsiteX40296" fmla="*/ 2166565 w 4610101"/>
              <a:gd name="connsiteY40296" fmla="*/ 164848 h 6557032"/>
              <a:gd name="connsiteX40297" fmla="*/ 2166565 w 4610101"/>
              <a:gd name="connsiteY40297" fmla="*/ 155737 h 6557032"/>
              <a:gd name="connsiteX40298" fmla="*/ 2150166 w 4610101"/>
              <a:gd name="connsiteY40298" fmla="*/ 157559 h 6557032"/>
              <a:gd name="connsiteX40299" fmla="*/ 2150166 w 4610101"/>
              <a:gd name="connsiteY40299" fmla="*/ 152093 h 6557032"/>
              <a:gd name="connsiteX40300" fmla="*/ 2128300 w 4610101"/>
              <a:gd name="connsiteY40300" fmla="*/ 135693 h 6557032"/>
              <a:gd name="connsiteX40301" fmla="*/ 2793272 w 4610101"/>
              <a:gd name="connsiteY40301" fmla="*/ 135086 h 6557032"/>
              <a:gd name="connsiteX40302" fmla="*/ 2797949 w 4610101"/>
              <a:gd name="connsiteY40302" fmla="*/ 138427 h 6557032"/>
              <a:gd name="connsiteX40303" fmla="*/ 2798860 w 4610101"/>
              <a:gd name="connsiteY40303" fmla="*/ 148449 h 6557032"/>
              <a:gd name="connsiteX40304" fmla="*/ 2970752 w 4610101"/>
              <a:gd name="connsiteY40304" fmla="*/ 135085 h 6557032"/>
              <a:gd name="connsiteX40305" fmla="*/ 2970144 w 4610101"/>
              <a:gd name="connsiteY40305" fmla="*/ 137516 h 6557032"/>
              <a:gd name="connsiteX40306" fmla="*/ 2969476 w 4610101"/>
              <a:gd name="connsiteY40306" fmla="*/ 136361 h 6557032"/>
              <a:gd name="connsiteX40307" fmla="*/ 2302090 w 4610101"/>
              <a:gd name="connsiteY40307" fmla="*/ 132732 h 6557032"/>
              <a:gd name="connsiteX40308" fmla="*/ 2295940 w 4610101"/>
              <a:gd name="connsiteY40308" fmla="*/ 133871 h 6557032"/>
              <a:gd name="connsiteX40309" fmla="*/ 2306873 w 4610101"/>
              <a:gd name="connsiteY40309" fmla="*/ 135693 h 6557032"/>
              <a:gd name="connsiteX40310" fmla="*/ 2302090 w 4610101"/>
              <a:gd name="connsiteY40310" fmla="*/ 132732 h 6557032"/>
              <a:gd name="connsiteX40311" fmla="*/ 2792143 w 4610101"/>
              <a:gd name="connsiteY40311" fmla="*/ 132385 h 6557032"/>
              <a:gd name="connsiteX40312" fmla="*/ 2793272 w 4610101"/>
              <a:gd name="connsiteY40312" fmla="*/ 135086 h 6557032"/>
              <a:gd name="connsiteX40313" fmla="*/ 2791571 w 4610101"/>
              <a:gd name="connsiteY40313" fmla="*/ 133871 h 6557032"/>
              <a:gd name="connsiteX40314" fmla="*/ 3081297 w 4610101"/>
              <a:gd name="connsiteY40314" fmla="*/ 132049 h 6557032"/>
              <a:gd name="connsiteX40315" fmla="*/ 3088585 w 4610101"/>
              <a:gd name="connsiteY40315" fmla="*/ 146626 h 6557032"/>
              <a:gd name="connsiteX40316" fmla="*/ 3086763 w 4610101"/>
              <a:gd name="connsiteY40316" fmla="*/ 139338 h 6557032"/>
              <a:gd name="connsiteX40317" fmla="*/ 3090407 w 4610101"/>
              <a:gd name="connsiteY40317" fmla="*/ 141160 h 6557032"/>
              <a:gd name="connsiteX40318" fmla="*/ 3083119 w 4610101"/>
              <a:gd name="connsiteY40318" fmla="*/ 168493 h 6557032"/>
              <a:gd name="connsiteX40319" fmla="*/ 3063075 w 4610101"/>
              <a:gd name="connsiteY40319" fmla="*/ 152093 h 6557032"/>
              <a:gd name="connsiteX40320" fmla="*/ 3062415 w 4610101"/>
              <a:gd name="connsiteY40320" fmla="*/ 152753 h 6557032"/>
              <a:gd name="connsiteX40321" fmla="*/ 3066264 w 4610101"/>
              <a:gd name="connsiteY40321" fmla="*/ 147992 h 6557032"/>
              <a:gd name="connsiteX40322" fmla="*/ 3072186 w 4610101"/>
              <a:gd name="connsiteY40322" fmla="*/ 133871 h 6557032"/>
              <a:gd name="connsiteX40323" fmla="*/ 3081297 w 4610101"/>
              <a:gd name="connsiteY40323" fmla="*/ 139338 h 6557032"/>
              <a:gd name="connsiteX40324" fmla="*/ 3081297 w 4610101"/>
              <a:gd name="connsiteY40324" fmla="*/ 132049 h 6557032"/>
              <a:gd name="connsiteX40325" fmla="*/ 2549222 w 4610101"/>
              <a:gd name="connsiteY40325" fmla="*/ 132049 h 6557032"/>
              <a:gd name="connsiteX40326" fmla="*/ 2541933 w 4610101"/>
              <a:gd name="connsiteY40326" fmla="*/ 141160 h 6557032"/>
              <a:gd name="connsiteX40327" fmla="*/ 2551044 w 4610101"/>
              <a:gd name="connsiteY40327" fmla="*/ 139338 h 6557032"/>
              <a:gd name="connsiteX40328" fmla="*/ 2549222 w 4610101"/>
              <a:gd name="connsiteY40328" fmla="*/ 132049 h 6557032"/>
              <a:gd name="connsiteX40329" fmla="*/ 2315983 w 4610101"/>
              <a:gd name="connsiteY40329" fmla="*/ 132049 h 6557032"/>
              <a:gd name="connsiteX40330" fmla="*/ 2315983 w 4610101"/>
              <a:gd name="connsiteY40330" fmla="*/ 139338 h 6557032"/>
              <a:gd name="connsiteX40331" fmla="*/ 2315983 w 4610101"/>
              <a:gd name="connsiteY40331" fmla="*/ 132049 h 6557032"/>
              <a:gd name="connsiteX40332" fmla="*/ 2971966 w 4610101"/>
              <a:gd name="connsiteY40332" fmla="*/ 130227 h 6557032"/>
              <a:gd name="connsiteX40333" fmla="*/ 2971530 w 4610101"/>
              <a:gd name="connsiteY40333" fmla="*/ 131971 h 6557032"/>
              <a:gd name="connsiteX40334" fmla="*/ 2969852 w 4610101"/>
              <a:gd name="connsiteY40334" fmla="*/ 131673 h 6557032"/>
              <a:gd name="connsiteX40335" fmla="*/ 2961717 w 4610101"/>
              <a:gd name="connsiteY40335" fmla="*/ 130226 h 6557032"/>
              <a:gd name="connsiteX40336" fmla="*/ 2969852 w 4610101"/>
              <a:gd name="connsiteY40336" fmla="*/ 131673 h 6557032"/>
              <a:gd name="connsiteX40337" fmla="*/ 2967639 w 4610101"/>
              <a:gd name="connsiteY40337" fmla="*/ 133187 h 6557032"/>
              <a:gd name="connsiteX40338" fmla="*/ 2969476 w 4610101"/>
              <a:gd name="connsiteY40338" fmla="*/ 136361 h 6557032"/>
              <a:gd name="connsiteX40339" fmla="*/ 2966727 w 4610101"/>
              <a:gd name="connsiteY40339" fmla="*/ 139110 h 6557032"/>
              <a:gd name="connsiteX40340" fmla="*/ 2955566 w 4610101"/>
              <a:gd name="connsiteY40340" fmla="*/ 139338 h 6557032"/>
              <a:gd name="connsiteX40341" fmla="*/ 2961717 w 4610101"/>
              <a:gd name="connsiteY40341" fmla="*/ 130226 h 6557032"/>
              <a:gd name="connsiteX40342" fmla="*/ 2536466 w 4610101"/>
              <a:gd name="connsiteY40342" fmla="*/ 126583 h 6557032"/>
              <a:gd name="connsiteX40343" fmla="*/ 2524850 w 4610101"/>
              <a:gd name="connsiteY40343" fmla="*/ 127266 h 6557032"/>
              <a:gd name="connsiteX40344" fmla="*/ 2520347 w 4610101"/>
              <a:gd name="connsiteY40344" fmla="*/ 136917 h 6557032"/>
              <a:gd name="connsiteX40345" fmla="*/ 2511868 w 4610101"/>
              <a:gd name="connsiteY40345" fmla="*/ 135010 h 6557032"/>
              <a:gd name="connsiteX40346" fmla="*/ 2485446 w 4610101"/>
              <a:gd name="connsiteY40346" fmla="*/ 141160 h 6557032"/>
              <a:gd name="connsiteX40347" fmla="*/ 2485446 w 4610101"/>
              <a:gd name="connsiteY40347" fmla="*/ 137516 h 6557032"/>
              <a:gd name="connsiteX40348" fmla="*/ 2485446 w 4610101"/>
              <a:gd name="connsiteY40348" fmla="*/ 146626 h 6557032"/>
              <a:gd name="connsiteX40349" fmla="*/ 2479979 w 4610101"/>
              <a:gd name="connsiteY40349" fmla="*/ 153915 h 6557032"/>
              <a:gd name="connsiteX40350" fmla="*/ 2478157 w 4610101"/>
              <a:gd name="connsiteY40350" fmla="*/ 148449 h 6557032"/>
              <a:gd name="connsiteX40351" fmla="*/ 2469046 w 4610101"/>
              <a:gd name="connsiteY40351" fmla="*/ 190359 h 6557032"/>
              <a:gd name="connsiteX40352" fmla="*/ 2470868 w 4610101"/>
              <a:gd name="connsiteY40352" fmla="*/ 183070 h 6557032"/>
              <a:gd name="connsiteX40353" fmla="*/ 2487268 w 4610101"/>
              <a:gd name="connsiteY40353" fmla="*/ 190359 h 6557032"/>
              <a:gd name="connsiteX40354" fmla="*/ 2485446 w 4610101"/>
              <a:gd name="connsiteY40354" fmla="*/ 168493 h 6557032"/>
              <a:gd name="connsiteX40355" fmla="*/ 2501845 w 4610101"/>
              <a:gd name="connsiteY40355" fmla="*/ 183070 h 6557032"/>
              <a:gd name="connsiteX40356" fmla="*/ 2510956 w 4610101"/>
              <a:gd name="connsiteY40356" fmla="*/ 192181 h 6557032"/>
              <a:gd name="connsiteX40357" fmla="*/ 2510956 w 4610101"/>
              <a:gd name="connsiteY40357" fmla="*/ 173959 h 6557032"/>
              <a:gd name="connsiteX40358" fmla="*/ 2501845 w 4610101"/>
              <a:gd name="connsiteY40358" fmla="*/ 146626 h 6557032"/>
              <a:gd name="connsiteX40359" fmla="*/ 2523711 w 4610101"/>
              <a:gd name="connsiteY40359" fmla="*/ 146626 h 6557032"/>
              <a:gd name="connsiteX40360" fmla="*/ 2523711 w 4610101"/>
              <a:gd name="connsiteY40360" fmla="*/ 164848 h 6557032"/>
              <a:gd name="connsiteX40361" fmla="*/ 2538289 w 4610101"/>
              <a:gd name="connsiteY40361" fmla="*/ 183070 h 6557032"/>
              <a:gd name="connsiteX40362" fmla="*/ 2545577 w 4610101"/>
              <a:gd name="connsiteY40362" fmla="*/ 184892 h 6557032"/>
              <a:gd name="connsiteX40363" fmla="*/ 2543755 w 4610101"/>
              <a:gd name="connsiteY40363" fmla="*/ 163026 h 6557032"/>
              <a:gd name="connsiteX40364" fmla="*/ 2552945 w 4610101"/>
              <a:gd name="connsiteY40364" fmla="*/ 167060 h 6557032"/>
              <a:gd name="connsiteX40365" fmla="*/ 2553112 w 4610101"/>
              <a:gd name="connsiteY40365" fmla="*/ 167148 h 6557032"/>
              <a:gd name="connsiteX40366" fmla="*/ 2558332 w 4610101"/>
              <a:gd name="connsiteY40366" fmla="*/ 173959 h 6557032"/>
              <a:gd name="connsiteX40367" fmla="*/ 2551044 w 4610101"/>
              <a:gd name="connsiteY40367" fmla="*/ 179426 h 6557032"/>
              <a:gd name="connsiteX40368" fmla="*/ 2549222 w 4610101"/>
              <a:gd name="connsiteY40368" fmla="*/ 173959 h 6557032"/>
              <a:gd name="connsiteX40369" fmla="*/ 2547400 w 4610101"/>
              <a:gd name="connsiteY40369" fmla="*/ 208580 h 6557032"/>
              <a:gd name="connsiteX40370" fmla="*/ 2545577 w 4610101"/>
              <a:gd name="connsiteY40370" fmla="*/ 204936 h 6557032"/>
              <a:gd name="connsiteX40371" fmla="*/ 2541933 w 4610101"/>
              <a:gd name="connsiteY40371" fmla="*/ 214047 h 6557032"/>
              <a:gd name="connsiteX40372" fmla="*/ 2549222 w 4610101"/>
              <a:gd name="connsiteY40372" fmla="*/ 215869 h 6557032"/>
              <a:gd name="connsiteX40373" fmla="*/ 2540111 w 4610101"/>
              <a:gd name="connsiteY40373" fmla="*/ 219513 h 6557032"/>
              <a:gd name="connsiteX40374" fmla="*/ 2545577 w 4610101"/>
              <a:gd name="connsiteY40374" fmla="*/ 221336 h 6557032"/>
              <a:gd name="connsiteX40375" fmla="*/ 2536466 w 4610101"/>
              <a:gd name="connsiteY40375" fmla="*/ 241379 h 6557032"/>
              <a:gd name="connsiteX40376" fmla="*/ 2507312 w 4610101"/>
              <a:gd name="connsiteY40376" fmla="*/ 234091 h 6557032"/>
              <a:gd name="connsiteX40377" fmla="*/ 2523711 w 4610101"/>
              <a:gd name="connsiteY40377" fmla="*/ 214047 h 6557032"/>
              <a:gd name="connsiteX40378" fmla="*/ 2532822 w 4610101"/>
              <a:gd name="connsiteY40378" fmla="*/ 217691 h 6557032"/>
              <a:gd name="connsiteX40379" fmla="*/ 2512778 w 4610101"/>
              <a:gd name="connsiteY40379" fmla="*/ 210403 h 6557032"/>
              <a:gd name="connsiteX40380" fmla="*/ 2507312 w 4610101"/>
              <a:gd name="connsiteY40380" fmla="*/ 219513 h 6557032"/>
              <a:gd name="connsiteX40381" fmla="*/ 2509134 w 4610101"/>
              <a:gd name="connsiteY40381" fmla="*/ 212225 h 6557032"/>
              <a:gd name="connsiteX40382" fmla="*/ 2503667 w 4610101"/>
              <a:gd name="connsiteY40382" fmla="*/ 210403 h 6557032"/>
              <a:gd name="connsiteX40383" fmla="*/ 2500023 w 4610101"/>
              <a:gd name="connsiteY40383" fmla="*/ 214046 h 6557032"/>
              <a:gd name="connsiteX40384" fmla="*/ 2503667 w 4610101"/>
              <a:gd name="connsiteY40384" fmla="*/ 206758 h 6557032"/>
              <a:gd name="connsiteX40385" fmla="*/ 2500479 w 4610101"/>
              <a:gd name="connsiteY40385" fmla="*/ 209036 h 6557032"/>
              <a:gd name="connsiteX40386" fmla="*/ 2500023 w 4610101"/>
              <a:gd name="connsiteY40386" fmla="*/ 214046 h 6557032"/>
              <a:gd name="connsiteX40387" fmla="*/ 2500023 w 4610101"/>
              <a:gd name="connsiteY40387" fmla="*/ 214047 h 6557032"/>
              <a:gd name="connsiteX40388" fmla="*/ 2492507 w 4610101"/>
              <a:gd name="connsiteY40388" fmla="*/ 221563 h 6557032"/>
              <a:gd name="connsiteX40389" fmla="*/ 2490912 w 4610101"/>
              <a:gd name="connsiteY40389" fmla="*/ 239557 h 6557032"/>
              <a:gd name="connsiteX40390" fmla="*/ 2485446 w 4610101"/>
              <a:gd name="connsiteY40390" fmla="*/ 237735 h 6557032"/>
              <a:gd name="connsiteX40391" fmla="*/ 2478157 w 4610101"/>
              <a:gd name="connsiteY40391" fmla="*/ 226802 h 6557032"/>
              <a:gd name="connsiteX40392" fmla="*/ 2476335 w 4610101"/>
              <a:gd name="connsiteY40392" fmla="*/ 234091 h 6557032"/>
              <a:gd name="connsiteX40393" fmla="*/ 2485446 w 4610101"/>
              <a:gd name="connsiteY40393" fmla="*/ 239557 h 6557032"/>
              <a:gd name="connsiteX40394" fmla="*/ 2483624 w 4610101"/>
              <a:gd name="connsiteY40394" fmla="*/ 254135 h 6557032"/>
              <a:gd name="connsiteX40395" fmla="*/ 2489090 w 4610101"/>
              <a:gd name="connsiteY40395" fmla="*/ 268712 h 6557032"/>
              <a:gd name="connsiteX40396" fmla="*/ 2494556 w 4610101"/>
              <a:gd name="connsiteY40396" fmla="*/ 268712 h 6557032"/>
              <a:gd name="connsiteX40397" fmla="*/ 2494556 w 4610101"/>
              <a:gd name="connsiteY40397" fmla="*/ 290578 h 6557032"/>
              <a:gd name="connsiteX40398" fmla="*/ 2561977 w 4610101"/>
              <a:gd name="connsiteY40398" fmla="*/ 263246 h 6557032"/>
              <a:gd name="connsiteX40399" fmla="*/ 2567760 w 4610101"/>
              <a:gd name="connsiteY40399" fmla="*/ 264692 h 6557032"/>
              <a:gd name="connsiteX40400" fmla="*/ 2563344 w 4610101"/>
              <a:gd name="connsiteY40400" fmla="*/ 271445 h 6557032"/>
              <a:gd name="connsiteX40401" fmla="*/ 2558332 w 4610101"/>
              <a:gd name="connsiteY40401" fmla="*/ 283289 h 6557032"/>
              <a:gd name="connsiteX40402" fmla="*/ 2569266 w 4610101"/>
              <a:gd name="connsiteY40402" fmla="*/ 283289 h 6557032"/>
              <a:gd name="connsiteX40403" fmla="*/ 2571088 w 4610101"/>
              <a:gd name="connsiteY40403" fmla="*/ 286934 h 6557032"/>
              <a:gd name="connsiteX40404" fmla="*/ 2567443 w 4610101"/>
              <a:gd name="connsiteY40404" fmla="*/ 285112 h 6557032"/>
              <a:gd name="connsiteX40405" fmla="*/ 2565621 w 4610101"/>
              <a:gd name="connsiteY40405" fmla="*/ 296045 h 6557032"/>
              <a:gd name="connsiteX40406" fmla="*/ 2607531 w 4610101"/>
              <a:gd name="connsiteY40406" fmla="*/ 259601 h 6557032"/>
              <a:gd name="connsiteX40407" fmla="*/ 2603887 w 4610101"/>
              <a:gd name="connsiteY40407" fmla="*/ 259601 h 6557032"/>
              <a:gd name="connsiteX40408" fmla="*/ 2611176 w 4610101"/>
              <a:gd name="connsiteY40408" fmla="*/ 245024 h 6557032"/>
              <a:gd name="connsiteX40409" fmla="*/ 2596598 w 4610101"/>
              <a:gd name="connsiteY40409" fmla="*/ 239557 h 6557032"/>
              <a:gd name="connsiteX40410" fmla="*/ 2578377 w 4610101"/>
              <a:gd name="connsiteY40410" fmla="*/ 245024 h 6557032"/>
              <a:gd name="connsiteX40411" fmla="*/ 2582021 w 4610101"/>
              <a:gd name="connsiteY40411" fmla="*/ 232269 h 6557032"/>
              <a:gd name="connsiteX40412" fmla="*/ 2580199 w 4610101"/>
              <a:gd name="connsiteY40412" fmla="*/ 234091 h 6557032"/>
              <a:gd name="connsiteX40413" fmla="*/ 2594776 w 4610101"/>
              <a:gd name="connsiteY40413" fmla="*/ 232269 h 6557032"/>
              <a:gd name="connsiteX40414" fmla="*/ 2591132 w 4610101"/>
              <a:gd name="connsiteY40414" fmla="*/ 235913 h 6557032"/>
              <a:gd name="connsiteX40415" fmla="*/ 2594776 w 4610101"/>
              <a:gd name="connsiteY40415" fmla="*/ 234091 h 6557032"/>
              <a:gd name="connsiteX40416" fmla="*/ 2594776 w 4610101"/>
              <a:gd name="connsiteY40416" fmla="*/ 232269 h 6557032"/>
              <a:gd name="connsiteX40417" fmla="*/ 2594776 w 4610101"/>
              <a:gd name="connsiteY40417" fmla="*/ 230446 h 6557032"/>
              <a:gd name="connsiteX40418" fmla="*/ 2605709 w 4610101"/>
              <a:gd name="connsiteY40418" fmla="*/ 214047 h 6557032"/>
              <a:gd name="connsiteX40419" fmla="*/ 2581338 w 4610101"/>
              <a:gd name="connsiteY40419" fmla="*/ 182159 h 6557032"/>
              <a:gd name="connsiteX40420" fmla="*/ 2553112 w 4610101"/>
              <a:gd name="connsiteY40420" fmla="*/ 167148 h 6557032"/>
              <a:gd name="connsiteX40421" fmla="*/ 2553094 w 4610101"/>
              <a:gd name="connsiteY40421" fmla="*/ 167125 h 6557032"/>
              <a:gd name="connsiteX40422" fmla="*/ 2552945 w 4610101"/>
              <a:gd name="connsiteY40422" fmla="*/ 167060 h 6557032"/>
              <a:gd name="connsiteX40423" fmla="*/ 2541933 w 4610101"/>
              <a:gd name="connsiteY40423" fmla="*/ 161204 h 6557032"/>
              <a:gd name="connsiteX40424" fmla="*/ 2540111 w 4610101"/>
              <a:gd name="connsiteY40424" fmla="*/ 153915 h 6557032"/>
              <a:gd name="connsiteX40425" fmla="*/ 2527356 w 4610101"/>
              <a:gd name="connsiteY40425" fmla="*/ 164848 h 6557032"/>
              <a:gd name="connsiteX40426" fmla="*/ 2532822 w 4610101"/>
              <a:gd name="connsiteY40426" fmla="*/ 146626 h 6557032"/>
              <a:gd name="connsiteX40427" fmla="*/ 2525051 w 4610101"/>
              <a:gd name="connsiteY40427" fmla="*/ 138513 h 6557032"/>
              <a:gd name="connsiteX40428" fmla="*/ 2538289 w 4610101"/>
              <a:gd name="connsiteY40428" fmla="*/ 141160 h 6557032"/>
              <a:gd name="connsiteX40429" fmla="*/ 2541933 w 4610101"/>
              <a:gd name="connsiteY40429" fmla="*/ 128405 h 6557032"/>
              <a:gd name="connsiteX40430" fmla="*/ 2536466 w 4610101"/>
              <a:gd name="connsiteY40430" fmla="*/ 133871 h 6557032"/>
              <a:gd name="connsiteX40431" fmla="*/ 2536466 w 4610101"/>
              <a:gd name="connsiteY40431" fmla="*/ 126583 h 6557032"/>
              <a:gd name="connsiteX40432" fmla="*/ 2334205 w 4610101"/>
              <a:gd name="connsiteY40432" fmla="*/ 126583 h 6557032"/>
              <a:gd name="connsiteX40433" fmla="*/ 2321450 w 4610101"/>
              <a:gd name="connsiteY40433" fmla="*/ 141160 h 6557032"/>
              <a:gd name="connsiteX40434" fmla="*/ 2343316 w 4610101"/>
              <a:gd name="connsiteY40434" fmla="*/ 141160 h 6557032"/>
              <a:gd name="connsiteX40435" fmla="*/ 2334205 w 4610101"/>
              <a:gd name="connsiteY40435" fmla="*/ 126583 h 6557032"/>
              <a:gd name="connsiteX40436" fmla="*/ 2277718 w 4610101"/>
              <a:gd name="connsiteY40436" fmla="*/ 126583 h 6557032"/>
              <a:gd name="connsiteX40437" fmla="*/ 2277718 w 4610101"/>
              <a:gd name="connsiteY40437" fmla="*/ 135693 h 6557032"/>
              <a:gd name="connsiteX40438" fmla="*/ 2277718 w 4610101"/>
              <a:gd name="connsiteY40438" fmla="*/ 126583 h 6557032"/>
              <a:gd name="connsiteX40439" fmla="*/ 2753860 w 4610101"/>
              <a:gd name="connsiteY40439" fmla="*/ 125315 h 6557032"/>
              <a:gd name="connsiteX40440" fmla="*/ 2756950 w 4610101"/>
              <a:gd name="connsiteY40440" fmla="*/ 128405 h 6557032"/>
              <a:gd name="connsiteX40441" fmla="*/ 2753078 w 4610101"/>
              <a:gd name="connsiteY40441" fmla="*/ 128632 h 6557032"/>
              <a:gd name="connsiteX40442" fmla="*/ 2752250 w 4610101"/>
              <a:gd name="connsiteY40442" fmla="*/ 128884 h 6557032"/>
              <a:gd name="connsiteX40443" fmla="*/ 2751483 w 4610101"/>
              <a:gd name="connsiteY40443" fmla="*/ 126583 h 6557032"/>
              <a:gd name="connsiteX40444" fmla="*/ 2356071 w 4610101"/>
              <a:gd name="connsiteY40444" fmla="*/ 124760 h 6557032"/>
              <a:gd name="connsiteX40445" fmla="*/ 2359716 w 4610101"/>
              <a:gd name="connsiteY40445" fmla="*/ 133871 h 6557032"/>
              <a:gd name="connsiteX40446" fmla="*/ 2368827 w 4610101"/>
              <a:gd name="connsiteY40446" fmla="*/ 130227 h 6557032"/>
              <a:gd name="connsiteX40447" fmla="*/ 2356071 w 4610101"/>
              <a:gd name="connsiteY40447" fmla="*/ 124760 h 6557032"/>
              <a:gd name="connsiteX40448" fmla="*/ 2285007 w 4610101"/>
              <a:gd name="connsiteY40448" fmla="*/ 124760 h 6557032"/>
              <a:gd name="connsiteX40449" fmla="*/ 2286829 w 4610101"/>
              <a:gd name="connsiteY40449" fmla="*/ 135693 h 6557032"/>
              <a:gd name="connsiteX40450" fmla="*/ 2285007 w 4610101"/>
              <a:gd name="connsiteY40450" fmla="*/ 124760 h 6557032"/>
              <a:gd name="connsiteX40451" fmla="*/ 2423492 w 4610101"/>
              <a:gd name="connsiteY40451" fmla="*/ 122938 h 6557032"/>
              <a:gd name="connsiteX40452" fmla="*/ 2416203 w 4610101"/>
              <a:gd name="connsiteY40452" fmla="*/ 132049 h 6557032"/>
              <a:gd name="connsiteX40453" fmla="*/ 2427136 w 4610101"/>
              <a:gd name="connsiteY40453" fmla="*/ 133871 h 6557032"/>
              <a:gd name="connsiteX40454" fmla="*/ 2399803 w 4610101"/>
              <a:gd name="connsiteY40454" fmla="*/ 126583 h 6557032"/>
              <a:gd name="connsiteX40455" fmla="*/ 2394337 w 4610101"/>
              <a:gd name="connsiteY40455" fmla="*/ 141160 h 6557032"/>
              <a:gd name="connsiteX40456" fmla="*/ 2390693 w 4610101"/>
              <a:gd name="connsiteY40456" fmla="*/ 130227 h 6557032"/>
              <a:gd name="connsiteX40457" fmla="*/ 2365182 w 4610101"/>
              <a:gd name="connsiteY40457" fmla="*/ 141160 h 6557032"/>
              <a:gd name="connsiteX40458" fmla="*/ 2363360 w 4610101"/>
              <a:gd name="connsiteY40458" fmla="*/ 135693 h 6557032"/>
              <a:gd name="connsiteX40459" fmla="*/ 2361538 w 4610101"/>
              <a:gd name="connsiteY40459" fmla="*/ 148449 h 6557032"/>
              <a:gd name="connsiteX40460" fmla="*/ 2357893 w 4610101"/>
              <a:gd name="connsiteY40460" fmla="*/ 139338 h 6557032"/>
              <a:gd name="connsiteX40461" fmla="*/ 2341494 w 4610101"/>
              <a:gd name="connsiteY40461" fmla="*/ 153915 h 6557032"/>
              <a:gd name="connsiteX40462" fmla="*/ 2339672 w 4610101"/>
              <a:gd name="connsiteY40462" fmla="*/ 142982 h 6557032"/>
              <a:gd name="connsiteX40463" fmla="*/ 2321450 w 4610101"/>
              <a:gd name="connsiteY40463" fmla="*/ 144804 h 6557032"/>
              <a:gd name="connsiteX40464" fmla="*/ 2312339 w 4610101"/>
              <a:gd name="connsiteY40464" fmla="*/ 153915 h 6557032"/>
              <a:gd name="connsiteX40465" fmla="*/ 2309689 w 4610101"/>
              <a:gd name="connsiteY40465" fmla="*/ 152921 h 6557032"/>
              <a:gd name="connsiteX40466" fmla="*/ 2314161 w 4610101"/>
              <a:gd name="connsiteY40466" fmla="*/ 148449 h 6557032"/>
              <a:gd name="connsiteX40467" fmla="*/ 2297762 w 4610101"/>
              <a:gd name="connsiteY40467" fmla="*/ 164848 h 6557032"/>
              <a:gd name="connsiteX40468" fmla="*/ 2302621 w 4610101"/>
              <a:gd name="connsiteY40468" fmla="*/ 159989 h 6557032"/>
              <a:gd name="connsiteX40469" fmla="*/ 2301406 w 4610101"/>
              <a:gd name="connsiteY40469" fmla="*/ 163026 h 6557032"/>
              <a:gd name="connsiteX40470" fmla="*/ 2314161 w 4610101"/>
              <a:gd name="connsiteY40470" fmla="*/ 177603 h 6557032"/>
              <a:gd name="connsiteX40471" fmla="*/ 2345138 w 4610101"/>
              <a:gd name="connsiteY40471" fmla="*/ 163026 h 6557032"/>
              <a:gd name="connsiteX40472" fmla="*/ 2339672 w 4610101"/>
              <a:gd name="connsiteY40472" fmla="*/ 173959 h 6557032"/>
              <a:gd name="connsiteX40473" fmla="*/ 2342512 w 4610101"/>
              <a:gd name="connsiteY40473" fmla="*/ 174364 h 6557032"/>
              <a:gd name="connsiteX40474" fmla="*/ 2336027 w 4610101"/>
              <a:gd name="connsiteY40474" fmla="*/ 175781 h 6557032"/>
              <a:gd name="connsiteX40475" fmla="*/ 2332383 w 4610101"/>
              <a:gd name="connsiteY40475" fmla="*/ 183070 h 6557032"/>
              <a:gd name="connsiteX40476" fmla="*/ 2334205 w 4610101"/>
              <a:gd name="connsiteY40476" fmla="*/ 175781 h 6557032"/>
              <a:gd name="connsiteX40477" fmla="*/ 2314161 w 4610101"/>
              <a:gd name="connsiteY40477" fmla="*/ 186714 h 6557032"/>
              <a:gd name="connsiteX40478" fmla="*/ 2315983 w 4610101"/>
              <a:gd name="connsiteY40478" fmla="*/ 184892 h 6557032"/>
              <a:gd name="connsiteX40479" fmla="*/ 2285007 w 4610101"/>
              <a:gd name="connsiteY40479" fmla="*/ 173959 h 6557032"/>
              <a:gd name="connsiteX40480" fmla="*/ 2281362 w 4610101"/>
              <a:gd name="connsiteY40480" fmla="*/ 177603 h 6557032"/>
              <a:gd name="connsiteX40481" fmla="*/ 2274074 w 4610101"/>
              <a:gd name="connsiteY40481" fmla="*/ 172137 h 6557032"/>
              <a:gd name="connsiteX40482" fmla="*/ 2275896 w 4610101"/>
              <a:gd name="connsiteY40482" fmla="*/ 175781 h 6557032"/>
              <a:gd name="connsiteX40483" fmla="*/ 2268078 w 4610101"/>
              <a:gd name="connsiteY40483" fmla="*/ 170060 h 6557032"/>
              <a:gd name="connsiteX40484" fmla="*/ 2276124 w 4610101"/>
              <a:gd name="connsiteY40484" fmla="*/ 169403 h 6557032"/>
              <a:gd name="connsiteX40485" fmla="*/ 2277718 w 4610101"/>
              <a:gd name="connsiteY40485" fmla="*/ 163026 h 6557032"/>
              <a:gd name="connsiteX40486" fmla="*/ 2268607 w 4610101"/>
              <a:gd name="connsiteY40486" fmla="*/ 159382 h 6557032"/>
              <a:gd name="connsiteX40487" fmla="*/ 2265368 w 4610101"/>
              <a:gd name="connsiteY40487" fmla="*/ 169100 h 6557032"/>
              <a:gd name="connsiteX40488" fmla="*/ 2255852 w 4610101"/>
              <a:gd name="connsiteY40488" fmla="*/ 170315 h 6557032"/>
              <a:gd name="connsiteX40489" fmla="*/ 2257674 w 4610101"/>
              <a:gd name="connsiteY40489" fmla="*/ 177603 h 6557032"/>
              <a:gd name="connsiteX40490" fmla="*/ 2253574 w 4610101"/>
              <a:gd name="connsiteY40490" fmla="*/ 172820 h 6557032"/>
              <a:gd name="connsiteX40491" fmla="*/ 2252223 w 4610101"/>
              <a:gd name="connsiteY40491" fmla="*/ 166738 h 6557032"/>
              <a:gd name="connsiteX40492" fmla="*/ 2252301 w 4610101"/>
              <a:gd name="connsiteY40492" fmla="*/ 166679 h 6557032"/>
              <a:gd name="connsiteX40493" fmla="*/ 2259269 w 4610101"/>
              <a:gd name="connsiteY40493" fmla="*/ 167353 h 6557032"/>
              <a:gd name="connsiteX40494" fmla="*/ 2264963 w 4610101"/>
              <a:gd name="connsiteY40494" fmla="*/ 166670 h 6557032"/>
              <a:gd name="connsiteX40495" fmla="*/ 2259496 w 4610101"/>
              <a:gd name="connsiteY40495" fmla="*/ 161204 h 6557032"/>
              <a:gd name="connsiteX40496" fmla="*/ 2252301 w 4610101"/>
              <a:gd name="connsiteY40496" fmla="*/ 166679 h 6557032"/>
              <a:gd name="connsiteX40497" fmla="*/ 2252207 w 4610101"/>
              <a:gd name="connsiteY40497" fmla="*/ 166670 h 6557032"/>
              <a:gd name="connsiteX40498" fmla="*/ 2252223 w 4610101"/>
              <a:gd name="connsiteY40498" fmla="*/ 166738 h 6557032"/>
              <a:gd name="connsiteX40499" fmla="*/ 2249019 w 4610101"/>
              <a:gd name="connsiteY40499" fmla="*/ 169175 h 6557032"/>
              <a:gd name="connsiteX40500" fmla="*/ 2252207 w 4610101"/>
              <a:gd name="connsiteY40500" fmla="*/ 181248 h 6557032"/>
              <a:gd name="connsiteX40501" fmla="*/ 2230341 w 4610101"/>
              <a:gd name="connsiteY40501" fmla="*/ 181248 h 6557032"/>
              <a:gd name="connsiteX40502" fmla="*/ 2228519 w 4610101"/>
              <a:gd name="connsiteY40502" fmla="*/ 172137 h 6557032"/>
              <a:gd name="connsiteX40503" fmla="*/ 2223053 w 4610101"/>
              <a:gd name="connsiteY40503" fmla="*/ 172137 h 6557032"/>
              <a:gd name="connsiteX40504" fmla="*/ 2228519 w 4610101"/>
              <a:gd name="connsiteY40504" fmla="*/ 188536 h 6557032"/>
              <a:gd name="connsiteX40505" fmla="*/ 2219408 w 4610101"/>
              <a:gd name="connsiteY40505" fmla="*/ 181248 h 6557032"/>
              <a:gd name="connsiteX40506" fmla="*/ 2217586 w 4610101"/>
              <a:gd name="connsiteY40506" fmla="*/ 194003 h 6557032"/>
              <a:gd name="connsiteX40507" fmla="*/ 2237630 w 4610101"/>
              <a:gd name="connsiteY40507" fmla="*/ 192181 h 6557032"/>
              <a:gd name="connsiteX40508" fmla="*/ 2243096 w 4610101"/>
              <a:gd name="connsiteY40508" fmla="*/ 195825 h 6557032"/>
              <a:gd name="connsiteX40509" fmla="*/ 2244919 w 4610101"/>
              <a:gd name="connsiteY40509" fmla="*/ 190359 h 6557032"/>
              <a:gd name="connsiteX40510" fmla="*/ 2261318 w 4610101"/>
              <a:gd name="connsiteY40510" fmla="*/ 179426 h 6557032"/>
              <a:gd name="connsiteX40511" fmla="*/ 2263140 w 4610101"/>
              <a:gd name="connsiteY40511" fmla="*/ 183070 h 6557032"/>
              <a:gd name="connsiteX40512" fmla="*/ 2250385 w 4610101"/>
              <a:gd name="connsiteY40512" fmla="*/ 201292 h 6557032"/>
              <a:gd name="connsiteX40513" fmla="*/ 2252207 w 4610101"/>
              <a:gd name="connsiteY40513" fmla="*/ 199469 h 6557032"/>
              <a:gd name="connsiteX40514" fmla="*/ 2248563 w 4610101"/>
              <a:gd name="connsiteY40514" fmla="*/ 214047 h 6557032"/>
              <a:gd name="connsiteX40515" fmla="*/ 2243096 w 4610101"/>
              <a:gd name="connsiteY40515" fmla="*/ 206758 h 6557032"/>
              <a:gd name="connsiteX40516" fmla="*/ 2244919 w 4610101"/>
              <a:gd name="connsiteY40516" fmla="*/ 210403 h 6557032"/>
              <a:gd name="connsiteX40517" fmla="*/ 2215764 w 4610101"/>
              <a:gd name="connsiteY40517" fmla="*/ 206758 h 6557032"/>
              <a:gd name="connsiteX40518" fmla="*/ 2219408 w 4610101"/>
              <a:gd name="connsiteY40518" fmla="*/ 214047 h 6557032"/>
              <a:gd name="connsiteX40519" fmla="*/ 2217586 w 4610101"/>
              <a:gd name="connsiteY40519" fmla="*/ 243202 h 6557032"/>
              <a:gd name="connsiteX40520" fmla="*/ 2219408 w 4610101"/>
              <a:gd name="connsiteY40520" fmla="*/ 230446 h 6557032"/>
              <a:gd name="connsiteX40521" fmla="*/ 2219408 w 4610101"/>
              <a:gd name="connsiteY40521" fmla="*/ 245024 h 6557032"/>
              <a:gd name="connsiteX40522" fmla="*/ 2250385 w 4610101"/>
              <a:gd name="connsiteY40522" fmla="*/ 224980 h 6557032"/>
              <a:gd name="connsiteX40523" fmla="*/ 2241274 w 4610101"/>
              <a:gd name="connsiteY40523" fmla="*/ 243202 h 6557032"/>
              <a:gd name="connsiteX40524" fmla="*/ 2243096 w 4610101"/>
              <a:gd name="connsiteY40524" fmla="*/ 237735 h 6557032"/>
              <a:gd name="connsiteX40525" fmla="*/ 2252207 w 4610101"/>
              <a:gd name="connsiteY40525" fmla="*/ 245024 h 6557032"/>
              <a:gd name="connsiteX40526" fmla="*/ 2254030 w 4610101"/>
              <a:gd name="connsiteY40526" fmla="*/ 235913 h 6557032"/>
              <a:gd name="connsiteX40527" fmla="*/ 2288651 w 4610101"/>
              <a:gd name="connsiteY40527" fmla="*/ 239557 h 6557032"/>
              <a:gd name="connsiteX40528" fmla="*/ 2286829 w 4610101"/>
              <a:gd name="connsiteY40528" fmla="*/ 232269 h 6557032"/>
              <a:gd name="connsiteX40529" fmla="*/ 2275896 w 4610101"/>
              <a:gd name="connsiteY40529" fmla="*/ 239557 h 6557032"/>
              <a:gd name="connsiteX40530" fmla="*/ 2285462 w 4610101"/>
              <a:gd name="connsiteY40530" fmla="*/ 222474 h 6557032"/>
              <a:gd name="connsiteX40531" fmla="*/ 2289488 w 4610101"/>
              <a:gd name="connsiteY40531" fmla="*/ 219120 h 6557032"/>
              <a:gd name="connsiteX40532" fmla="*/ 2292751 w 4610101"/>
              <a:gd name="connsiteY40532" fmla="*/ 231813 h 6557032"/>
              <a:gd name="connsiteX40533" fmla="*/ 2305050 w 4610101"/>
              <a:gd name="connsiteY40533" fmla="*/ 245024 h 6557032"/>
              <a:gd name="connsiteX40534" fmla="*/ 2310517 w 4610101"/>
              <a:gd name="connsiteY40534" fmla="*/ 230446 h 6557032"/>
              <a:gd name="connsiteX40535" fmla="*/ 2336027 w 4610101"/>
              <a:gd name="connsiteY40535" fmla="*/ 232269 h 6557032"/>
              <a:gd name="connsiteX40536" fmla="*/ 2337850 w 4610101"/>
              <a:gd name="connsiteY40536" fmla="*/ 237735 h 6557032"/>
              <a:gd name="connsiteX40537" fmla="*/ 2343316 w 4610101"/>
              <a:gd name="connsiteY40537" fmla="*/ 214047 h 6557032"/>
              <a:gd name="connsiteX40538" fmla="*/ 2350605 w 4610101"/>
              <a:gd name="connsiteY40538" fmla="*/ 215869 h 6557032"/>
              <a:gd name="connsiteX40539" fmla="*/ 2350605 w 4610101"/>
              <a:gd name="connsiteY40539" fmla="*/ 226802 h 6557032"/>
              <a:gd name="connsiteX40540" fmla="*/ 2357893 w 4610101"/>
              <a:gd name="connsiteY40540" fmla="*/ 217691 h 6557032"/>
              <a:gd name="connsiteX40541" fmla="*/ 2368827 w 4610101"/>
              <a:gd name="connsiteY40541" fmla="*/ 215869 h 6557032"/>
              <a:gd name="connsiteX40542" fmla="*/ 2374976 w 4610101"/>
              <a:gd name="connsiteY40542" fmla="*/ 209035 h 6557032"/>
              <a:gd name="connsiteX40543" fmla="*/ 2374320 w 4610101"/>
              <a:gd name="connsiteY40543" fmla="*/ 199849 h 6557032"/>
              <a:gd name="connsiteX40544" fmla="*/ 2379760 w 4610101"/>
              <a:gd name="connsiteY40544" fmla="*/ 203114 h 6557032"/>
              <a:gd name="connsiteX40545" fmla="*/ 2392515 w 4610101"/>
              <a:gd name="connsiteY40545" fmla="*/ 183070 h 6557032"/>
              <a:gd name="connsiteX40546" fmla="*/ 2385226 w 4610101"/>
              <a:gd name="connsiteY40546" fmla="*/ 199469 h 6557032"/>
              <a:gd name="connsiteX40547" fmla="*/ 2416203 w 4610101"/>
              <a:gd name="connsiteY40547" fmla="*/ 175781 h 6557032"/>
              <a:gd name="connsiteX40548" fmla="*/ 2405270 w 4610101"/>
              <a:gd name="connsiteY40548" fmla="*/ 177603 h 6557032"/>
              <a:gd name="connsiteX40549" fmla="*/ 2407092 w 4610101"/>
              <a:gd name="connsiteY40549" fmla="*/ 172137 h 6557032"/>
              <a:gd name="connsiteX40550" fmla="*/ 2450824 w 4610101"/>
              <a:gd name="connsiteY40550" fmla="*/ 150271 h 6557032"/>
              <a:gd name="connsiteX40551" fmla="*/ 2418025 w 4610101"/>
              <a:gd name="connsiteY40551" fmla="*/ 159382 h 6557032"/>
              <a:gd name="connsiteX40552" fmla="*/ 2452647 w 4610101"/>
              <a:gd name="connsiteY40552" fmla="*/ 141160 h 6557032"/>
              <a:gd name="connsiteX40553" fmla="*/ 2450824 w 4610101"/>
              <a:gd name="connsiteY40553" fmla="*/ 124760 h 6557032"/>
              <a:gd name="connsiteX40554" fmla="*/ 2445358 w 4610101"/>
              <a:gd name="connsiteY40554" fmla="*/ 141160 h 6557032"/>
              <a:gd name="connsiteX40555" fmla="*/ 2438069 w 4610101"/>
              <a:gd name="connsiteY40555" fmla="*/ 135693 h 6557032"/>
              <a:gd name="connsiteX40556" fmla="*/ 2438069 w 4610101"/>
              <a:gd name="connsiteY40556" fmla="*/ 141160 h 6557032"/>
              <a:gd name="connsiteX40557" fmla="*/ 2436247 w 4610101"/>
              <a:gd name="connsiteY40557" fmla="*/ 128405 h 6557032"/>
              <a:gd name="connsiteX40558" fmla="*/ 2425314 w 4610101"/>
              <a:gd name="connsiteY40558" fmla="*/ 130227 h 6557032"/>
              <a:gd name="connsiteX40559" fmla="*/ 2423492 w 4610101"/>
              <a:gd name="connsiteY40559" fmla="*/ 122938 h 6557032"/>
              <a:gd name="connsiteX40560" fmla="*/ 2233986 w 4610101"/>
              <a:gd name="connsiteY40560" fmla="*/ 122938 h 6557032"/>
              <a:gd name="connsiteX40561" fmla="*/ 2226697 w 4610101"/>
              <a:gd name="connsiteY40561" fmla="*/ 130227 h 6557032"/>
              <a:gd name="connsiteX40562" fmla="*/ 2228519 w 4610101"/>
              <a:gd name="connsiteY40562" fmla="*/ 141160 h 6557032"/>
              <a:gd name="connsiteX40563" fmla="*/ 2223053 w 4610101"/>
              <a:gd name="connsiteY40563" fmla="*/ 137516 h 6557032"/>
              <a:gd name="connsiteX40564" fmla="*/ 2224875 w 4610101"/>
              <a:gd name="connsiteY40564" fmla="*/ 144804 h 6557032"/>
              <a:gd name="connsiteX40565" fmla="*/ 2232163 w 4610101"/>
              <a:gd name="connsiteY40565" fmla="*/ 139338 h 6557032"/>
              <a:gd name="connsiteX40566" fmla="*/ 2235808 w 4610101"/>
              <a:gd name="connsiteY40566" fmla="*/ 130227 h 6557032"/>
              <a:gd name="connsiteX40567" fmla="*/ 2233986 w 4610101"/>
              <a:gd name="connsiteY40567" fmla="*/ 122938 h 6557032"/>
              <a:gd name="connsiteX40568" fmla="*/ 2130122 w 4610101"/>
              <a:gd name="connsiteY40568" fmla="*/ 122938 h 6557032"/>
              <a:gd name="connsiteX40569" fmla="*/ 2128300 w 4610101"/>
              <a:gd name="connsiteY40569" fmla="*/ 128405 h 6557032"/>
              <a:gd name="connsiteX40570" fmla="*/ 2130122 w 4610101"/>
              <a:gd name="connsiteY40570" fmla="*/ 122938 h 6557032"/>
              <a:gd name="connsiteX40571" fmla="*/ 2072935 w 4610101"/>
              <a:gd name="connsiteY40571" fmla="*/ 122798 h 6557032"/>
              <a:gd name="connsiteX40572" fmla="*/ 2073114 w 4610101"/>
              <a:gd name="connsiteY40572" fmla="*/ 124239 h 6557032"/>
              <a:gd name="connsiteX40573" fmla="*/ 2072723 w 4610101"/>
              <a:gd name="connsiteY40573" fmla="*/ 123849 h 6557032"/>
              <a:gd name="connsiteX40574" fmla="*/ 2089123 w 4610101"/>
              <a:gd name="connsiteY40574" fmla="*/ 120661 h 6557032"/>
              <a:gd name="connsiteX40575" fmla="*/ 2086390 w 4610101"/>
              <a:gd name="connsiteY40575" fmla="*/ 122938 h 6557032"/>
              <a:gd name="connsiteX40576" fmla="*/ 2099145 w 4610101"/>
              <a:gd name="connsiteY40576" fmla="*/ 135693 h 6557032"/>
              <a:gd name="connsiteX40577" fmla="*/ 2091856 w 4610101"/>
              <a:gd name="connsiteY40577" fmla="*/ 121116 h 6557032"/>
              <a:gd name="connsiteX40578" fmla="*/ 2089123 w 4610101"/>
              <a:gd name="connsiteY40578" fmla="*/ 120661 h 6557032"/>
              <a:gd name="connsiteX40579" fmla="*/ 2173854 w 4610101"/>
              <a:gd name="connsiteY40579" fmla="*/ 119294 h 6557032"/>
              <a:gd name="connsiteX40580" fmla="*/ 2179320 w 4610101"/>
              <a:gd name="connsiteY40580" fmla="*/ 130227 h 6557032"/>
              <a:gd name="connsiteX40581" fmla="*/ 2179320 w 4610101"/>
              <a:gd name="connsiteY40581" fmla="*/ 119294 h 6557032"/>
              <a:gd name="connsiteX40582" fmla="*/ 2173854 w 4610101"/>
              <a:gd name="connsiteY40582" fmla="*/ 119294 h 6557032"/>
              <a:gd name="connsiteX40583" fmla="*/ 2285007 w 4610101"/>
              <a:gd name="connsiteY40583" fmla="*/ 117472 h 6557032"/>
              <a:gd name="connsiteX40584" fmla="*/ 2279540 w 4610101"/>
              <a:gd name="connsiteY40584" fmla="*/ 121116 h 6557032"/>
              <a:gd name="connsiteX40585" fmla="*/ 2286829 w 4610101"/>
              <a:gd name="connsiteY40585" fmla="*/ 122938 h 6557032"/>
              <a:gd name="connsiteX40586" fmla="*/ 2285007 w 4610101"/>
              <a:gd name="connsiteY40586" fmla="*/ 117472 h 6557032"/>
              <a:gd name="connsiteX40587" fmla="*/ 2270429 w 4610101"/>
              <a:gd name="connsiteY40587" fmla="*/ 117472 h 6557032"/>
              <a:gd name="connsiteX40588" fmla="*/ 2264963 w 4610101"/>
              <a:gd name="connsiteY40588" fmla="*/ 126583 h 6557032"/>
              <a:gd name="connsiteX40589" fmla="*/ 2274074 w 4610101"/>
              <a:gd name="connsiteY40589" fmla="*/ 124760 h 6557032"/>
              <a:gd name="connsiteX40590" fmla="*/ 2270429 w 4610101"/>
              <a:gd name="connsiteY40590" fmla="*/ 117472 h 6557032"/>
              <a:gd name="connsiteX40591" fmla="*/ 2550860 w 4610101"/>
              <a:gd name="connsiteY40591" fmla="*/ 116154 h 6557032"/>
              <a:gd name="connsiteX40592" fmla="*/ 2550361 w 4610101"/>
              <a:gd name="connsiteY40592" fmla="*/ 122482 h 6557032"/>
              <a:gd name="connsiteX40593" fmla="*/ 2548002 w 4610101"/>
              <a:gd name="connsiteY40593" fmla="*/ 125403 h 6557032"/>
              <a:gd name="connsiteX40594" fmla="*/ 2547713 w 4610101"/>
              <a:gd name="connsiteY40594" fmla="*/ 124817 h 6557032"/>
              <a:gd name="connsiteX40595" fmla="*/ 2186609 w 4610101"/>
              <a:gd name="connsiteY40595" fmla="*/ 115649 h 6557032"/>
              <a:gd name="connsiteX40596" fmla="*/ 2188431 w 4610101"/>
              <a:gd name="connsiteY40596" fmla="*/ 124760 h 6557032"/>
              <a:gd name="connsiteX40597" fmla="*/ 2186609 w 4610101"/>
              <a:gd name="connsiteY40597" fmla="*/ 115649 h 6557032"/>
              <a:gd name="connsiteX40598" fmla="*/ 2294117 w 4610101"/>
              <a:gd name="connsiteY40598" fmla="*/ 113827 h 6557032"/>
              <a:gd name="connsiteX40599" fmla="*/ 2299584 w 4610101"/>
              <a:gd name="connsiteY40599" fmla="*/ 121116 h 6557032"/>
              <a:gd name="connsiteX40600" fmla="*/ 2294117 w 4610101"/>
              <a:gd name="connsiteY40600" fmla="*/ 113827 h 6557032"/>
              <a:gd name="connsiteX40601" fmla="*/ 2259496 w 4610101"/>
              <a:gd name="connsiteY40601" fmla="*/ 110183 h 6557032"/>
              <a:gd name="connsiteX40602" fmla="*/ 2255852 w 4610101"/>
              <a:gd name="connsiteY40602" fmla="*/ 115649 h 6557032"/>
              <a:gd name="connsiteX40603" fmla="*/ 2261318 w 4610101"/>
              <a:gd name="connsiteY40603" fmla="*/ 115649 h 6557032"/>
              <a:gd name="connsiteX40604" fmla="*/ 2259496 w 4610101"/>
              <a:gd name="connsiteY40604" fmla="*/ 110183 h 6557032"/>
              <a:gd name="connsiteX40605" fmla="*/ 2150166 w 4610101"/>
              <a:gd name="connsiteY40605" fmla="*/ 110183 h 6557032"/>
              <a:gd name="connsiteX40606" fmla="*/ 2146521 w 4610101"/>
              <a:gd name="connsiteY40606" fmla="*/ 113827 h 6557032"/>
              <a:gd name="connsiteX40607" fmla="*/ 2153810 w 4610101"/>
              <a:gd name="connsiteY40607" fmla="*/ 112005 h 6557032"/>
              <a:gd name="connsiteX40608" fmla="*/ 2150166 w 4610101"/>
              <a:gd name="connsiteY40608" fmla="*/ 110183 h 6557032"/>
              <a:gd name="connsiteX40609" fmla="*/ 2095500 w 4610101"/>
              <a:gd name="connsiteY40609" fmla="*/ 110183 h 6557032"/>
              <a:gd name="connsiteX40610" fmla="*/ 2093679 w 4610101"/>
              <a:gd name="connsiteY40610" fmla="*/ 117472 h 6557032"/>
              <a:gd name="connsiteX40611" fmla="*/ 2099145 w 4610101"/>
              <a:gd name="connsiteY40611" fmla="*/ 119294 h 6557032"/>
              <a:gd name="connsiteX40612" fmla="*/ 2108256 w 4610101"/>
              <a:gd name="connsiteY40612" fmla="*/ 137516 h 6557032"/>
              <a:gd name="connsiteX40613" fmla="*/ 2108256 w 4610101"/>
              <a:gd name="connsiteY40613" fmla="*/ 128405 h 6557032"/>
              <a:gd name="connsiteX40614" fmla="*/ 2117366 w 4610101"/>
              <a:gd name="connsiteY40614" fmla="*/ 133871 h 6557032"/>
              <a:gd name="connsiteX40615" fmla="*/ 2102790 w 4610101"/>
              <a:gd name="connsiteY40615" fmla="*/ 113827 h 6557032"/>
              <a:gd name="connsiteX40616" fmla="*/ 2106433 w 4610101"/>
              <a:gd name="connsiteY40616" fmla="*/ 115649 h 6557032"/>
              <a:gd name="connsiteX40617" fmla="*/ 2095500 w 4610101"/>
              <a:gd name="connsiteY40617" fmla="*/ 110183 h 6557032"/>
              <a:gd name="connsiteX40618" fmla="*/ 2263140 w 4610101"/>
              <a:gd name="connsiteY40618" fmla="*/ 108361 h 6557032"/>
              <a:gd name="connsiteX40619" fmla="*/ 2264963 w 4610101"/>
              <a:gd name="connsiteY40619" fmla="*/ 115649 h 6557032"/>
              <a:gd name="connsiteX40620" fmla="*/ 2263140 w 4610101"/>
              <a:gd name="connsiteY40620" fmla="*/ 108361 h 6557032"/>
              <a:gd name="connsiteX40621" fmla="*/ 2496379 w 4610101"/>
              <a:gd name="connsiteY40621" fmla="*/ 106539 h 6557032"/>
              <a:gd name="connsiteX40622" fmla="*/ 2503667 w 4610101"/>
              <a:gd name="connsiteY40622" fmla="*/ 108361 h 6557032"/>
              <a:gd name="connsiteX40623" fmla="*/ 2496379 w 4610101"/>
              <a:gd name="connsiteY40623" fmla="*/ 110183 h 6557032"/>
              <a:gd name="connsiteX40624" fmla="*/ 2496379 w 4610101"/>
              <a:gd name="connsiteY40624" fmla="*/ 106539 h 6557032"/>
              <a:gd name="connsiteX40625" fmla="*/ 2394337 w 4610101"/>
              <a:gd name="connsiteY40625" fmla="*/ 106539 h 6557032"/>
              <a:gd name="connsiteX40626" fmla="*/ 2385226 w 4610101"/>
              <a:gd name="connsiteY40626" fmla="*/ 110183 h 6557032"/>
              <a:gd name="connsiteX40627" fmla="*/ 2387048 w 4610101"/>
              <a:gd name="connsiteY40627" fmla="*/ 117472 h 6557032"/>
              <a:gd name="connsiteX40628" fmla="*/ 2392515 w 4610101"/>
              <a:gd name="connsiteY40628" fmla="*/ 115649 h 6557032"/>
              <a:gd name="connsiteX40629" fmla="*/ 2403448 w 4610101"/>
              <a:gd name="connsiteY40629" fmla="*/ 122938 h 6557032"/>
              <a:gd name="connsiteX40630" fmla="*/ 2394337 w 4610101"/>
              <a:gd name="connsiteY40630" fmla="*/ 106539 h 6557032"/>
              <a:gd name="connsiteX40631" fmla="*/ 2478157 w 4610101"/>
              <a:gd name="connsiteY40631" fmla="*/ 102894 h 6557032"/>
              <a:gd name="connsiteX40632" fmla="*/ 2478157 w 4610101"/>
              <a:gd name="connsiteY40632" fmla="*/ 112005 h 6557032"/>
              <a:gd name="connsiteX40633" fmla="*/ 2478157 w 4610101"/>
              <a:gd name="connsiteY40633" fmla="*/ 102894 h 6557032"/>
              <a:gd name="connsiteX40634" fmla="*/ 2385226 w 4610101"/>
              <a:gd name="connsiteY40634" fmla="*/ 102894 h 6557032"/>
              <a:gd name="connsiteX40635" fmla="*/ 2377937 w 4610101"/>
              <a:gd name="connsiteY40635" fmla="*/ 121116 h 6557032"/>
              <a:gd name="connsiteX40636" fmla="*/ 2385226 w 4610101"/>
              <a:gd name="connsiteY40636" fmla="*/ 102894 h 6557032"/>
              <a:gd name="connsiteX40637" fmla="*/ 2263140 w 4610101"/>
              <a:gd name="connsiteY40637" fmla="*/ 102894 h 6557032"/>
              <a:gd name="connsiteX40638" fmla="*/ 2270429 w 4610101"/>
              <a:gd name="connsiteY40638" fmla="*/ 110183 h 6557032"/>
              <a:gd name="connsiteX40639" fmla="*/ 2270429 w 4610101"/>
              <a:gd name="connsiteY40639" fmla="*/ 104716 h 6557032"/>
              <a:gd name="connsiteX40640" fmla="*/ 2263140 w 4610101"/>
              <a:gd name="connsiteY40640" fmla="*/ 102894 h 6557032"/>
              <a:gd name="connsiteX40641" fmla="*/ 2128300 w 4610101"/>
              <a:gd name="connsiteY40641" fmla="*/ 102894 h 6557032"/>
              <a:gd name="connsiteX40642" fmla="*/ 2129758 w 4610101"/>
              <a:gd name="connsiteY40642" fmla="*/ 107267 h 6557032"/>
              <a:gd name="connsiteX40643" fmla="*/ 2129149 w 4610101"/>
              <a:gd name="connsiteY40643" fmla="*/ 108485 h 6557032"/>
              <a:gd name="connsiteX40644" fmla="*/ 2127659 w 4610101"/>
              <a:gd name="connsiteY40644" fmla="*/ 108676 h 6557032"/>
              <a:gd name="connsiteX40645" fmla="*/ 2125461 w 4610101"/>
              <a:gd name="connsiteY40645" fmla="*/ 103511 h 6557032"/>
              <a:gd name="connsiteX40646" fmla="*/ 2458113 w 4610101"/>
              <a:gd name="connsiteY40646" fmla="*/ 101072 h 6557032"/>
              <a:gd name="connsiteX40647" fmla="*/ 2454469 w 4610101"/>
              <a:gd name="connsiteY40647" fmla="*/ 102894 h 6557032"/>
              <a:gd name="connsiteX40648" fmla="*/ 2445358 w 4610101"/>
              <a:gd name="connsiteY40648" fmla="*/ 113827 h 6557032"/>
              <a:gd name="connsiteX40649" fmla="*/ 2449002 w 4610101"/>
              <a:gd name="connsiteY40649" fmla="*/ 117472 h 6557032"/>
              <a:gd name="connsiteX40650" fmla="*/ 2458113 w 4610101"/>
              <a:gd name="connsiteY40650" fmla="*/ 112005 h 6557032"/>
              <a:gd name="connsiteX40651" fmla="*/ 2461757 w 4610101"/>
              <a:gd name="connsiteY40651" fmla="*/ 117472 h 6557032"/>
              <a:gd name="connsiteX40652" fmla="*/ 2467224 w 4610101"/>
              <a:gd name="connsiteY40652" fmla="*/ 104716 h 6557032"/>
              <a:gd name="connsiteX40653" fmla="*/ 2465402 w 4610101"/>
              <a:gd name="connsiteY40653" fmla="*/ 110183 h 6557032"/>
              <a:gd name="connsiteX40654" fmla="*/ 2458113 w 4610101"/>
              <a:gd name="connsiteY40654" fmla="*/ 106539 h 6557032"/>
              <a:gd name="connsiteX40655" fmla="*/ 2458113 w 4610101"/>
              <a:gd name="connsiteY40655" fmla="*/ 101072 h 6557032"/>
              <a:gd name="connsiteX40656" fmla="*/ 2560155 w 4610101"/>
              <a:gd name="connsiteY40656" fmla="*/ 99250 h 6557032"/>
              <a:gd name="connsiteX40657" fmla="*/ 2554688 w 4610101"/>
              <a:gd name="connsiteY40657" fmla="*/ 108361 h 6557032"/>
              <a:gd name="connsiteX40658" fmla="*/ 2560155 w 4610101"/>
              <a:gd name="connsiteY40658" fmla="*/ 99250 h 6557032"/>
              <a:gd name="connsiteX40659" fmla="*/ 2370649 w 4610101"/>
              <a:gd name="connsiteY40659" fmla="*/ 99250 h 6557032"/>
              <a:gd name="connsiteX40660" fmla="*/ 2352427 w 4610101"/>
              <a:gd name="connsiteY40660" fmla="*/ 110183 h 6557032"/>
              <a:gd name="connsiteX40661" fmla="*/ 2363360 w 4610101"/>
              <a:gd name="connsiteY40661" fmla="*/ 112005 h 6557032"/>
              <a:gd name="connsiteX40662" fmla="*/ 2376115 w 4610101"/>
              <a:gd name="connsiteY40662" fmla="*/ 121116 h 6557032"/>
              <a:gd name="connsiteX40663" fmla="*/ 2363360 w 4610101"/>
              <a:gd name="connsiteY40663" fmla="*/ 106539 h 6557032"/>
              <a:gd name="connsiteX40664" fmla="*/ 2370649 w 4610101"/>
              <a:gd name="connsiteY40664" fmla="*/ 99250 h 6557032"/>
              <a:gd name="connsiteX40665" fmla="*/ 2098689 w 4610101"/>
              <a:gd name="connsiteY40665" fmla="*/ 98794 h 6557032"/>
              <a:gd name="connsiteX40666" fmla="*/ 2099116 w 4610101"/>
              <a:gd name="connsiteY40666" fmla="*/ 98958 h 6557032"/>
              <a:gd name="connsiteX40667" fmla="*/ 2099145 w 4610101"/>
              <a:gd name="connsiteY40667" fmla="*/ 99250 h 6557032"/>
              <a:gd name="connsiteX40668" fmla="*/ 2098523 w 4610101"/>
              <a:gd name="connsiteY40668" fmla="*/ 98818 h 6557032"/>
              <a:gd name="connsiteX40669" fmla="*/ 2159277 w 4610101"/>
              <a:gd name="connsiteY40669" fmla="*/ 97428 h 6557032"/>
              <a:gd name="connsiteX40670" fmla="*/ 2161099 w 4610101"/>
              <a:gd name="connsiteY40670" fmla="*/ 112005 h 6557032"/>
              <a:gd name="connsiteX40671" fmla="*/ 2161099 w 4610101"/>
              <a:gd name="connsiteY40671" fmla="*/ 110183 h 6557032"/>
              <a:gd name="connsiteX40672" fmla="*/ 2164743 w 4610101"/>
              <a:gd name="connsiteY40672" fmla="*/ 108361 h 6557032"/>
              <a:gd name="connsiteX40673" fmla="*/ 2159277 w 4610101"/>
              <a:gd name="connsiteY40673" fmla="*/ 97428 h 6557032"/>
              <a:gd name="connsiteX40674" fmla="*/ 2363360 w 4610101"/>
              <a:gd name="connsiteY40674" fmla="*/ 95606 h 6557032"/>
              <a:gd name="connsiteX40675" fmla="*/ 2343316 w 4610101"/>
              <a:gd name="connsiteY40675" fmla="*/ 97428 h 6557032"/>
              <a:gd name="connsiteX40676" fmla="*/ 2343316 w 4610101"/>
              <a:gd name="connsiteY40676" fmla="*/ 106539 h 6557032"/>
              <a:gd name="connsiteX40677" fmla="*/ 2346960 w 4610101"/>
              <a:gd name="connsiteY40677" fmla="*/ 99250 h 6557032"/>
              <a:gd name="connsiteX40678" fmla="*/ 2356071 w 4610101"/>
              <a:gd name="connsiteY40678" fmla="*/ 99250 h 6557032"/>
              <a:gd name="connsiteX40679" fmla="*/ 2357893 w 4610101"/>
              <a:gd name="connsiteY40679" fmla="*/ 102894 h 6557032"/>
              <a:gd name="connsiteX40680" fmla="*/ 2363360 w 4610101"/>
              <a:gd name="connsiteY40680" fmla="*/ 95606 h 6557032"/>
              <a:gd name="connsiteX40681" fmla="*/ 2213942 w 4610101"/>
              <a:gd name="connsiteY40681" fmla="*/ 95606 h 6557032"/>
              <a:gd name="connsiteX40682" fmla="*/ 2215764 w 4610101"/>
              <a:gd name="connsiteY40682" fmla="*/ 102894 h 6557032"/>
              <a:gd name="connsiteX40683" fmla="*/ 2223053 w 4610101"/>
              <a:gd name="connsiteY40683" fmla="*/ 101072 h 6557032"/>
              <a:gd name="connsiteX40684" fmla="*/ 2223053 w 4610101"/>
              <a:gd name="connsiteY40684" fmla="*/ 104716 h 6557032"/>
              <a:gd name="connsiteX40685" fmla="*/ 2206653 w 4610101"/>
              <a:gd name="connsiteY40685" fmla="*/ 112005 h 6557032"/>
              <a:gd name="connsiteX40686" fmla="*/ 2213942 w 4610101"/>
              <a:gd name="connsiteY40686" fmla="*/ 95606 h 6557032"/>
              <a:gd name="connsiteX40687" fmla="*/ 2567443 w 4610101"/>
              <a:gd name="connsiteY40687" fmla="*/ 93783 h 6557032"/>
              <a:gd name="connsiteX40688" fmla="*/ 2561977 w 4610101"/>
              <a:gd name="connsiteY40688" fmla="*/ 95606 h 6557032"/>
              <a:gd name="connsiteX40689" fmla="*/ 2569266 w 4610101"/>
              <a:gd name="connsiteY40689" fmla="*/ 97428 h 6557032"/>
              <a:gd name="connsiteX40690" fmla="*/ 2567443 w 4610101"/>
              <a:gd name="connsiteY40690" fmla="*/ 93783 h 6557032"/>
              <a:gd name="connsiteX40691" fmla="*/ 2111605 w 4610101"/>
              <a:gd name="connsiteY40691" fmla="*/ 93561 h 6557032"/>
              <a:gd name="connsiteX40692" fmla="*/ 2111900 w 4610101"/>
              <a:gd name="connsiteY40692" fmla="*/ 93783 h 6557032"/>
              <a:gd name="connsiteX40693" fmla="*/ 2111918 w 4610101"/>
              <a:gd name="connsiteY40693" fmla="*/ 93863 h 6557032"/>
              <a:gd name="connsiteX40694" fmla="*/ 2616642 w 4610101"/>
              <a:gd name="connsiteY40694" fmla="*/ 91961 h 6557032"/>
              <a:gd name="connsiteX40695" fmla="*/ 2620287 w 4610101"/>
              <a:gd name="connsiteY40695" fmla="*/ 97428 h 6557032"/>
              <a:gd name="connsiteX40696" fmla="*/ 2620287 w 4610101"/>
              <a:gd name="connsiteY40696" fmla="*/ 93783 h 6557032"/>
              <a:gd name="connsiteX40697" fmla="*/ 2616642 w 4610101"/>
              <a:gd name="connsiteY40697" fmla="*/ 91961 h 6557032"/>
              <a:gd name="connsiteX40698" fmla="*/ 2308695 w 4610101"/>
              <a:gd name="connsiteY40698" fmla="*/ 91961 h 6557032"/>
              <a:gd name="connsiteX40699" fmla="*/ 2303228 w 4610101"/>
              <a:gd name="connsiteY40699" fmla="*/ 97428 h 6557032"/>
              <a:gd name="connsiteX40700" fmla="*/ 2312339 w 4610101"/>
              <a:gd name="connsiteY40700" fmla="*/ 102894 h 6557032"/>
              <a:gd name="connsiteX40701" fmla="*/ 2305050 w 4610101"/>
              <a:gd name="connsiteY40701" fmla="*/ 97428 h 6557032"/>
              <a:gd name="connsiteX40702" fmla="*/ 2308695 w 4610101"/>
              <a:gd name="connsiteY40702" fmla="*/ 97428 h 6557032"/>
              <a:gd name="connsiteX40703" fmla="*/ 2308695 w 4610101"/>
              <a:gd name="connsiteY40703" fmla="*/ 91961 h 6557032"/>
              <a:gd name="connsiteX40704" fmla="*/ 2279540 w 4610101"/>
              <a:gd name="connsiteY40704" fmla="*/ 91961 h 6557032"/>
              <a:gd name="connsiteX40705" fmla="*/ 2275896 w 4610101"/>
              <a:gd name="connsiteY40705" fmla="*/ 102894 h 6557032"/>
              <a:gd name="connsiteX40706" fmla="*/ 2281362 w 4610101"/>
              <a:gd name="connsiteY40706" fmla="*/ 95606 h 6557032"/>
              <a:gd name="connsiteX40707" fmla="*/ 2279540 w 4610101"/>
              <a:gd name="connsiteY40707" fmla="*/ 91961 h 6557032"/>
              <a:gd name="connsiteX40708" fmla="*/ 2403448 w 4610101"/>
              <a:gd name="connsiteY40708" fmla="*/ 90139 h 6557032"/>
              <a:gd name="connsiteX40709" fmla="*/ 2399803 w 4610101"/>
              <a:gd name="connsiteY40709" fmla="*/ 101072 h 6557032"/>
              <a:gd name="connsiteX40710" fmla="*/ 2403448 w 4610101"/>
              <a:gd name="connsiteY40710" fmla="*/ 90139 h 6557032"/>
              <a:gd name="connsiteX40711" fmla="*/ 2263140 w 4610101"/>
              <a:gd name="connsiteY40711" fmla="*/ 90139 h 6557032"/>
              <a:gd name="connsiteX40712" fmla="*/ 2257674 w 4610101"/>
              <a:gd name="connsiteY40712" fmla="*/ 97428 h 6557032"/>
              <a:gd name="connsiteX40713" fmla="*/ 2264963 w 4610101"/>
              <a:gd name="connsiteY40713" fmla="*/ 95606 h 6557032"/>
              <a:gd name="connsiteX40714" fmla="*/ 2263140 w 4610101"/>
              <a:gd name="connsiteY40714" fmla="*/ 90139 h 6557032"/>
              <a:gd name="connsiteX40715" fmla="*/ 2105594 w 4610101"/>
              <a:gd name="connsiteY40715" fmla="*/ 89054 h 6557032"/>
              <a:gd name="connsiteX40716" fmla="*/ 2107117 w 4610101"/>
              <a:gd name="connsiteY40716" fmla="*/ 89228 h 6557032"/>
              <a:gd name="connsiteX40717" fmla="*/ 2111605 w 4610101"/>
              <a:gd name="connsiteY40717" fmla="*/ 93561 h 6557032"/>
              <a:gd name="connsiteX40718" fmla="*/ 2598421 w 4610101"/>
              <a:gd name="connsiteY40718" fmla="*/ 88317 h 6557032"/>
              <a:gd name="connsiteX40719" fmla="*/ 2598421 w 4610101"/>
              <a:gd name="connsiteY40719" fmla="*/ 93783 h 6557032"/>
              <a:gd name="connsiteX40720" fmla="*/ 2598421 w 4610101"/>
              <a:gd name="connsiteY40720" fmla="*/ 88317 h 6557032"/>
              <a:gd name="connsiteX40721" fmla="*/ 2248563 w 4610101"/>
              <a:gd name="connsiteY40721" fmla="*/ 88317 h 6557032"/>
              <a:gd name="connsiteX40722" fmla="*/ 2246741 w 4610101"/>
              <a:gd name="connsiteY40722" fmla="*/ 93783 h 6557032"/>
              <a:gd name="connsiteX40723" fmla="*/ 2255852 w 4610101"/>
              <a:gd name="connsiteY40723" fmla="*/ 93783 h 6557032"/>
              <a:gd name="connsiteX40724" fmla="*/ 2248563 w 4610101"/>
              <a:gd name="connsiteY40724" fmla="*/ 88317 h 6557032"/>
              <a:gd name="connsiteX40725" fmla="*/ 2113722 w 4610101"/>
              <a:gd name="connsiteY40725" fmla="*/ 88317 h 6557032"/>
              <a:gd name="connsiteX40726" fmla="*/ 2130122 w 4610101"/>
              <a:gd name="connsiteY40726" fmla="*/ 90139 h 6557032"/>
              <a:gd name="connsiteX40727" fmla="*/ 2123745 w 4610101"/>
              <a:gd name="connsiteY40727" fmla="*/ 99477 h 6557032"/>
              <a:gd name="connsiteX40728" fmla="*/ 2125461 w 4610101"/>
              <a:gd name="connsiteY40728" fmla="*/ 103511 h 6557032"/>
              <a:gd name="connsiteX40729" fmla="*/ 2123061 w 4610101"/>
              <a:gd name="connsiteY40729" fmla="*/ 104033 h 6557032"/>
              <a:gd name="connsiteX40730" fmla="*/ 2119189 w 4610101"/>
              <a:gd name="connsiteY40730" fmla="*/ 101072 h 6557032"/>
              <a:gd name="connsiteX40731" fmla="*/ 2121011 w 4610101"/>
              <a:gd name="connsiteY40731" fmla="*/ 106539 h 6557032"/>
              <a:gd name="connsiteX40732" fmla="*/ 2113722 w 4610101"/>
              <a:gd name="connsiteY40732" fmla="*/ 102210 h 6557032"/>
              <a:gd name="connsiteX40733" fmla="*/ 2111918 w 4610101"/>
              <a:gd name="connsiteY40733" fmla="*/ 93863 h 6557032"/>
              <a:gd name="connsiteX40734" fmla="*/ 2113722 w 4610101"/>
              <a:gd name="connsiteY40734" fmla="*/ 95606 h 6557032"/>
              <a:gd name="connsiteX40735" fmla="*/ 2113722 w 4610101"/>
              <a:gd name="connsiteY40735" fmla="*/ 88317 h 6557032"/>
              <a:gd name="connsiteX40736" fmla="*/ 2104611 w 4610101"/>
              <a:gd name="connsiteY40736" fmla="*/ 88317 h 6557032"/>
              <a:gd name="connsiteX40737" fmla="*/ 2105594 w 4610101"/>
              <a:gd name="connsiteY40737" fmla="*/ 89054 h 6557032"/>
              <a:gd name="connsiteX40738" fmla="*/ 2104312 w 4610101"/>
              <a:gd name="connsiteY40738" fmla="*/ 88907 h 6557032"/>
              <a:gd name="connsiteX40739" fmla="*/ 2099145 w 4610101"/>
              <a:gd name="connsiteY40739" fmla="*/ 88317 h 6557032"/>
              <a:gd name="connsiteX40740" fmla="*/ 2104312 w 4610101"/>
              <a:gd name="connsiteY40740" fmla="*/ 88907 h 6557032"/>
              <a:gd name="connsiteX40741" fmla="*/ 2102562 w 4610101"/>
              <a:gd name="connsiteY40741" fmla="*/ 92359 h 6557032"/>
              <a:gd name="connsiteX40742" fmla="*/ 2104611 w 4610101"/>
              <a:gd name="connsiteY40742" fmla="*/ 101072 h 6557032"/>
              <a:gd name="connsiteX40743" fmla="*/ 2099116 w 4610101"/>
              <a:gd name="connsiteY40743" fmla="*/ 98958 h 6557032"/>
              <a:gd name="connsiteX40744" fmla="*/ 2098462 w 4610101"/>
              <a:gd name="connsiteY40744" fmla="*/ 92417 h 6557032"/>
              <a:gd name="connsiteX40745" fmla="*/ 2099145 w 4610101"/>
              <a:gd name="connsiteY40745" fmla="*/ 88317 h 6557032"/>
              <a:gd name="connsiteX40746" fmla="*/ 2787927 w 4610101"/>
              <a:gd name="connsiteY40746" fmla="*/ 86495 h 6557032"/>
              <a:gd name="connsiteX40747" fmla="*/ 2787927 w 4610101"/>
              <a:gd name="connsiteY40747" fmla="*/ 94663 h 6557032"/>
              <a:gd name="connsiteX40748" fmla="*/ 2784282 w 4610101"/>
              <a:gd name="connsiteY40748" fmla="*/ 97428 h 6557032"/>
              <a:gd name="connsiteX40749" fmla="*/ 2782460 w 4610101"/>
              <a:gd name="connsiteY40749" fmla="*/ 93783 h 6557032"/>
              <a:gd name="connsiteX40750" fmla="*/ 2781640 w 4610101"/>
              <a:gd name="connsiteY40750" fmla="*/ 94837 h 6557032"/>
              <a:gd name="connsiteX40751" fmla="*/ 2780638 w 4610101"/>
              <a:gd name="connsiteY40751" fmla="*/ 93783 h 6557032"/>
              <a:gd name="connsiteX40752" fmla="*/ 2787927 w 4610101"/>
              <a:gd name="connsiteY40752" fmla="*/ 86495 h 6557032"/>
              <a:gd name="connsiteX40753" fmla="*/ 2600243 w 4610101"/>
              <a:gd name="connsiteY40753" fmla="*/ 86495 h 6557032"/>
              <a:gd name="connsiteX40754" fmla="*/ 2607531 w 4610101"/>
              <a:gd name="connsiteY40754" fmla="*/ 91961 h 6557032"/>
              <a:gd name="connsiteX40755" fmla="*/ 2603887 w 4610101"/>
              <a:gd name="connsiteY40755" fmla="*/ 88317 h 6557032"/>
              <a:gd name="connsiteX40756" fmla="*/ 2600243 w 4610101"/>
              <a:gd name="connsiteY40756" fmla="*/ 86495 h 6557032"/>
              <a:gd name="connsiteX40757" fmla="*/ 2461757 w 4610101"/>
              <a:gd name="connsiteY40757" fmla="*/ 86495 h 6557032"/>
              <a:gd name="connsiteX40758" fmla="*/ 2465402 w 4610101"/>
              <a:gd name="connsiteY40758" fmla="*/ 102894 h 6557032"/>
              <a:gd name="connsiteX40759" fmla="*/ 2476335 w 4610101"/>
              <a:gd name="connsiteY40759" fmla="*/ 99250 h 6557032"/>
              <a:gd name="connsiteX40760" fmla="*/ 2465402 w 4610101"/>
              <a:gd name="connsiteY40760" fmla="*/ 86495 h 6557032"/>
              <a:gd name="connsiteX40761" fmla="*/ 2461757 w 4610101"/>
              <a:gd name="connsiteY40761" fmla="*/ 86495 h 6557032"/>
              <a:gd name="connsiteX40762" fmla="*/ 2793393 w 4610101"/>
              <a:gd name="connsiteY40762" fmla="*/ 84673 h 6557032"/>
              <a:gd name="connsiteX40763" fmla="*/ 2794789 w 4610101"/>
              <a:gd name="connsiteY40763" fmla="*/ 89457 h 6557032"/>
              <a:gd name="connsiteX40764" fmla="*/ 2791738 w 4610101"/>
              <a:gd name="connsiteY40764" fmla="*/ 91772 h 6557032"/>
              <a:gd name="connsiteX40765" fmla="*/ 2791799 w 4610101"/>
              <a:gd name="connsiteY40765" fmla="*/ 89683 h 6557032"/>
              <a:gd name="connsiteX40766" fmla="*/ 2793393 w 4610101"/>
              <a:gd name="connsiteY40766" fmla="*/ 84673 h 6557032"/>
              <a:gd name="connsiteX40767" fmla="*/ 2330561 w 4610101"/>
              <a:gd name="connsiteY40767" fmla="*/ 84673 h 6557032"/>
              <a:gd name="connsiteX40768" fmla="*/ 2326916 w 4610101"/>
              <a:gd name="connsiteY40768" fmla="*/ 90139 h 6557032"/>
              <a:gd name="connsiteX40769" fmla="*/ 2330561 w 4610101"/>
              <a:gd name="connsiteY40769" fmla="*/ 84673 h 6557032"/>
              <a:gd name="connsiteX40770" fmla="*/ 2561977 w 4610101"/>
              <a:gd name="connsiteY40770" fmla="*/ 82850 h 6557032"/>
              <a:gd name="connsiteX40771" fmla="*/ 2536466 w 4610101"/>
              <a:gd name="connsiteY40771" fmla="*/ 110183 h 6557032"/>
              <a:gd name="connsiteX40772" fmla="*/ 2552866 w 4610101"/>
              <a:gd name="connsiteY40772" fmla="*/ 113827 h 6557032"/>
              <a:gd name="connsiteX40773" fmla="*/ 2560155 w 4610101"/>
              <a:gd name="connsiteY40773" fmla="*/ 95606 h 6557032"/>
              <a:gd name="connsiteX40774" fmla="*/ 2561977 w 4610101"/>
              <a:gd name="connsiteY40774" fmla="*/ 82850 h 6557032"/>
              <a:gd name="connsiteX40775" fmla="*/ 2503667 w 4610101"/>
              <a:gd name="connsiteY40775" fmla="*/ 82850 h 6557032"/>
              <a:gd name="connsiteX40776" fmla="*/ 2505490 w 4610101"/>
              <a:gd name="connsiteY40776" fmla="*/ 90139 h 6557032"/>
              <a:gd name="connsiteX40777" fmla="*/ 2503667 w 4610101"/>
              <a:gd name="connsiteY40777" fmla="*/ 82850 h 6557032"/>
              <a:gd name="connsiteX40778" fmla="*/ 2524623 w 4610101"/>
              <a:gd name="connsiteY40778" fmla="*/ 81939 h 6557032"/>
              <a:gd name="connsiteX40779" fmla="*/ 2521889 w 4610101"/>
              <a:gd name="connsiteY40779" fmla="*/ 84673 h 6557032"/>
              <a:gd name="connsiteX40780" fmla="*/ 2527356 w 4610101"/>
              <a:gd name="connsiteY40780" fmla="*/ 84673 h 6557032"/>
              <a:gd name="connsiteX40781" fmla="*/ 2524623 w 4610101"/>
              <a:gd name="connsiteY40781" fmla="*/ 81939 h 6557032"/>
              <a:gd name="connsiteX40782" fmla="*/ 2576554 w 4610101"/>
              <a:gd name="connsiteY40782" fmla="*/ 81028 h 6557032"/>
              <a:gd name="connsiteX40783" fmla="*/ 2563799 w 4610101"/>
              <a:gd name="connsiteY40783" fmla="*/ 90139 h 6557032"/>
              <a:gd name="connsiteX40784" fmla="*/ 2571088 w 4610101"/>
              <a:gd name="connsiteY40784" fmla="*/ 95606 h 6557032"/>
              <a:gd name="connsiteX40785" fmla="*/ 2576554 w 4610101"/>
              <a:gd name="connsiteY40785" fmla="*/ 81028 h 6557032"/>
              <a:gd name="connsiteX40786" fmla="*/ 2339444 w 4610101"/>
              <a:gd name="connsiteY40786" fmla="*/ 80800 h 6557032"/>
              <a:gd name="connsiteX40787" fmla="*/ 2332383 w 4610101"/>
              <a:gd name="connsiteY40787" fmla="*/ 81028 h 6557032"/>
              <a:gd name="connsiteX40788" fmla="*/ 2339672 w 4610101"/>
              <a:gd name="connsiteY40788" fmla="*/ 84673 h 6557032"/>
              <a:gd name="connsiteX40789" fmla="*/ 2343316 w 4610101"/>
              <a:gd name="connsiteY40789" fmla="*/ 91961 h 6557032"/>
              <a:gd name="connsiteX40790" fmla="*/ 2341494 w 4610101"/>
              <a:gd name="connsiteY40790" fmla="*/ 81028 h 6557032"/>
              <a:gd name="connsiteX40791" fmla="*/ 2339672 w 4610101"/>
              <a:gd name="connsiteY40791" fmla="*/ 84673 h 6557032"/>
              <a:gd name="connsiteX40792" fmla="*/ 2339444 w 4610101"/>
              <a:gd name="connsiteY40792" fmla="*/ 80800 h 6557032"/>
              <a:gd name="connsiteX40793" fmla="*/ 2326006 w 4610101"/>
              <a:gd name="connsiteY40793" fmla="*/ 78751 h 6557032"/>
              <a:gd name="connsiteX40794" fmla="*/ 2319628 w 4610101"/>
              <a:gd name="connsiteY40794" fmla="*/ 81028 h 6557032"/>
              <a:gd name="connsiteX40795" fmla="*/ 2332383 w 4610101"/>
              <a:gd name="connsiteY40795" fmla="*/ 79206 h 6557032"/>
              <a:gd name="connsiteX40796" fmla="*/ 2326006 w 4610101"/>
              <a:gd name="connsiteY40796" fmla="*/ 78751 h 6557032"/>
              <a:gd name="connsiteX40797" fmla="*/ 2449002 w 4610101"/>
              <a:gd name="connsiteY40797" fmla="*/ 77384 h 6557032"/>
              <a:gd name="connsiteX40798" fmla="*/ 2447180 w 4610101"/>
              <a:gd name="connsiteY40798" fmla="*/ 86495 h 6557032"/>
              <a:gd name="connsiteX40799" fmla="*/ 2458113 w 4610101"/>
              <a:gd name="connsiteY40799" fmla="*/ 79206 h 6557032"/>
              <a:gd name="connsiteX40800" fmla="*/ 2449002 w 4610101"/>
              <a:gd name="connsiteY40800" fmla="*/ 77384 h 6557032"/>
              <a:gd name="connsiteX40801" fmla="*/ 2470868 w 4610101"/>
              <a:gd name="connsiteY40801" fmla="*/ 75562 h 6557032"/>
              <a:gd name="connsiteX40802" fmla="*/ 2463580 w 4610101"/>
              <a:gd name="connsiteY40802" fmla="*/ 77384 h 6557032"/>
              <a:gd name="connsiteX40803" fmla="*/ 2476335 w 4610101"/>
              <a:gd name="connsiteY40803" fmla="*/ 93783 h 6557032"/>
              <a:gd name="connsiteX40804" fmla="*/ 2478157 w 4610101"/>
              <a:gd name="connsiteY40804" fmla="*/ 84673 h 6557032"/>
              <a:gd name="connsiteX40805" fmla="*/ 2470868 w 4610101"/>
              <a:gd name="connsiteY40805" fmla="*/ 75562 h 6557032"/>
              <a:gd name="connsiteX40806" fmla="*/ 2551044 w 4610101"/>
              <a:gd name="connsiteY40806" fmla="*/ 73739 h 6557032"/>
              <a:gd name="connsiteX40807" fmla="*/ 2558332 w 4610101"/>
              <a:gd name="connsiteY40807" fmla="*/ 77384 h 6557032"/>
              <a:gd name="connsiteX40808" fmla="*/ 2551044 w 4610101"/>
              <a:gd name="connsiteY40808" fmla="*/ 73739 h 6557032"/>
              <a:gd name="connsiteX40809" fmla="*/ 2540111 w 4610101"/>
              <a:gd name="connsiteY40809" fmla="*/ 73739 h 6557032"/>
              <a:gd name="connsiteX40810" fmla="*/ 2529178 w 4610101"/>
              <a:gd name="connsiteY40810" fmla="*/ 88317 h 6557032"/>
              <a:gd name="connsiteX40811" fmla="*/ 2525534 w 4610101"/>
              <a:gd name="connsiteY40811" fmla="*/ 101072 h 6557032"/>
              <a:gd name="connsiteX40812" fmla="*/ 2527356 w 4610101"/>
              <a:gd name="connsiteY40812" fmla="*/ 90139 h 6557032"/>
              <a:gd name="connsiteX40813" fmla="*/ 2516423 w 4610101"/>
              <a:gd name="connsiteY40813" fmla="*/ 95606 h 6557032"/>
              <a:gd name="connsiteX40814" fmla="*/ 2516423 w 4610101"/>
              <a:gd name="connsiteY40814" fmla="*/ 88317 h 6557032"/>
              <a:gd name="connsiteX40815" fmla="*/ 2509134 w 4610101"/>
              <a:gd name="connsiteY40815" fmla="*/ 110183 h 6557032"/>
              <a:gd name="connsiteX40816" fmla="*/ 2514600 w 4610101"/>
              <a:gd name="connsiteY40816" fmla="*/ 106539 h 6557032"/>
              <a:gd name="connsiteX40817" fmla="*/ 2510956 w 4610101"/>
              <a:gd name="connsiteY40817" fmla="*/ 122938 h 6557032"/>
              <a:gd name="connsiteX40818" fmla="*/ 2503667 w 4610101"/>
              <a:gd name="connsiteY40818" fmla="*/ 108361 h 6557032"/>
              <a:gd name="connsiteX40819" fmla="*/ 2505490 w 4610101"/>
              <a:gd name="connsiteY40819" fmla="*/ 97428 h 6557032"/>
              <a:gd name="connsiteX40820" fmla="*/ 2485446 w 4610101"/>
              <a:gd name="connsiteY40820" fmla="*/ 110183 h 6557032"/>
              <a:gd name="connsiteX40821" fmla="*/ 2485446 w 4610101"/>
              <a:gd name="connsiteY40821" fmla="*/ 112005 h 6557032"/>
              <a:gd name="connsiteX40822" fmla="*/ 2487268 w 4610101"/>
              <a:gd name="connsiteY40822" fmla="*/ 110183 h 6557032"/>
              <a:gd name="connsiteX40823" fmla="*/ 2489090 w 4610101"/>
              <a:gd name="connsiteY40823" fmla="*/ 113827 h 6557032"/>
              <a:gd name="connsiteX40824" fmla="*/ 2503667 w 4610101"/>
              <a:gd name="connsiteY40824" fmla="*/ 117472 h 6557032"/>
              <a:gd name="connsiteX40825" fmla="*/ 2494556 w 4610101"/>
              <a:gd name="connsiteY40825" fmla="*/ 128405 h 6557032"/>
              <a:gd name="connsiteX40826" fmla="*/ 2505490 w 4610101"/>
              <a:gd name="connsiteY40826" fmla="*/ 126583 h 6557032"/>
              <a:gd name="connsiteX40827" fmla="*/ 2505490 w 4610101"/>
              <a:gd name="connsiteY40827" fmla="*/ 130227 h 6557032"/>
              <a:gd name="connsiteX40828" fmla="*/ 2509134 w 4610101"/>
              <a:gd name="connsiteY40828" fmla="*/ 128405 h 6557032"/>
              <a:gd name="connsiteX40829" fmla="*/ 2498201 w 4610101"/>
              <a:gd name="connsiteY40829" fmla="*/ 133871 h 6557032"/>
              <a:gd name="connsiteX40830" fmla="*/ 2540111 w 4610101"/>
              <a:gd name="connsiteY40830" fmla="*/ 73739 h 6557032"/>
              <a:gd name="connsiteX40831" fmla="*/ 2500023 w 4610101"/>
              <a:gd name="connsiteY40831" fmla="*/ 73739 h 6557032"/>
              <a:gd name="connsiteX40832" fmla="*/ 2498201 w 4610101"/>
              <a:gd name="connsiteY40832" fmla="*/ 79206 h 6557032"/>
              <a:gd name="connsiteX40833" fmla="*/ 2496379 w 4610101"/>
              <a:gd name="connsiteY40833" fmla="*/ 77384 h 6557032"/>
              <a:gd name="connsiteX40834" fmla="*/ 2498201 w 4610101"/>
              <a:gd name="connsiteY40834" fmla="*/ 84673 h 6557032"/>
              <a:gd name="connsiteX40835" fmla="*/ 2501845 w 4610101"/>
              <a:gd name="connsiteY40835" fmla="*/ 81028 h 6557032"/>
              <a:gd name="connsiteX40836" fmla="*/ 2500023 w 4610101"/>
              <a:gd name="connsiteY40836" fmla="*/ 73739 h 6557032"/>
              <a:gd name="connsiteX40837" fmla="*/ 2738728 w 4610101"/>
              <a:gd name="connsiteY40837" fmla="*/ 71937 h 6557032"/>
              <a:gd name="connsiteX40838" fmla="*/ 2735084 w 4610101"/>
              <a:gd name="connsiteY40838" fmla="*/ 79226 h 6557032"/>
              <a:gd name="connsiteX40839" fmla="*/ 2738728 w 4610101"/>
              <a:gd name="connsiteY40839" fmla="*/ 71937 h 6557032"/>
              <a:gd name="connsiteX40840" fmla="*/ 2582021 w 4610101"/>
              <a:gd name="connsiteY40840" fmla="*/ 71917 h 6557032"/>
              <a:gd name="connsiteX40841" fmla="*/ 2582021 w 4610101"/>
              <a:gd name="connsiteY40841" fmla="*/ 82850 h 6557032"/>
              <a:gd name="connsiteX40842" fmla="*/ 2583843 w 4610101"/>
              <a:gd name="connsiteY40842" fmla="*/ 77384 h 6557032"/>
              <a:gd name="connsiteX40843" fmla="*/ 2587487 w 4610101"/>
              <a:gd name="connsiteY40843" fmla="*/ 79206 h 6557032"/>
              <a:gd name="connsiteX40844" fmla="*/ 2582021 w 4610101"/>
              <a:gd name="connsiteY40844" fmla="*/ 71917 h 6557032"/>
              <a:gd name="connsiteX40845" fmla="*/ 2436247 w 4610101"/>
              <a:gd name="connsiteY40845" fmla="*/ 70095 h 6557032"/>
              <a:gd name="connsiteX40846" fmla="*/ 2418025 w 4610101"/>
              <a:gd name="connsiteY40846" fmla="*/ 79206 h 6557032"/>
              <a:gd name="connsiteX40847" fmla="*/ 2425314 w 4610101"/>
              <a:gd name="connsiteY40847" fmla="*/ 90139 h 6557032"/>
              <a:gd name="connsiteX40848" fmla="*/ 2418025 w 4610101"/>
              <a:gd name="connsiteY40848" fmla="*/ 97428 h 6557032"/>
              <a:gd name="connsiteX40849" fmla="*/ 2425314 w 4610101"/>
              <a:gd name="connsiteY40849" fmla="*/ 95606 h 6557032"/>
              <a:gd name="connsiteX40850" fmla="*/ 2421669 w 4610101"/>
              <a:gd name="connsiteY40850" fmla="*/ 108361 h 6557032"/>
              <a:gd name="connsiteX40851" fmla="*/ 2414381 w 4610101"/>
              <a:gd name="connsiteY40851" fmla="*/ 99250 h 6557032"/>
              <a:gd name="connsiteX40852" fmla="*/ 2408914 w 4610101"/>
              <a:gd name="connsiteY40852" fmla="*/ 113827 h 6557032"/>
              <a:gd name="connsiteX40853" fmla="*/ 2414381 w 4610101"/>
              <a:gd name="connsiteY40853" fmla="*/ 110183 h 6557032"/>
              <a:gd name="connsiteX40854" fmla="*/ 2416203 w 4610101"/>
              <a:gd name="connsiteY40854" fmla="*/ 117472 h 6557032"/>
              <a:gd name="connsiteX40855" fmla="*/ 2439891 w 4610101"/>
              <a:gd name="connsiteY40855" fmla="*/ 99250 h 6557032"/>
              <a:gd name="connsiteX40856" fmla="*/ 2445358 w 4610101"/>
              <a:gd name="connsiteY40856" fmla="*/ 99250 h 6557032"/>
              <a:gd name="connsiteX40857" fmla="*/ 2445358 w 4610101"/>
              <a:gd name="connsiteY40857" fmla="*/ 79206 h 6557032"/>
              <a:gd name="connsiteX40858" fmla="*/ 2436247 w 4610101"/>
              <a:gd name="connsiteY40858" fmla="*/ 81028 h 6557032"/>
              <a:gd name="connsiteX40859" fmla="*/ 2436247 w 4610101"/>
              <a:gd name="connsiteY40859" fmla="*/ 70095 h 6557032"/>
              <a:gd name="connsiteX40860" fmla="*/ 2254030 w 4610101"/>
              <a:gd name="connsiteY40860" fmla="*/ 70095 h 6557032"/>
              <a:gd name="connsiteX40861" fmla="*/ 2252207 w 4610101"/>
              <a:gd name="connsiteY40861" fmla="*/ 79206 h 6557032"/>
              <a:gd name="connsiteX40862" fmla="*/ 2259496 w 4610101"/>
              <a:gd name="connsiteY40862" fmla="*/ 73739 h 6557032"/>
              <a:gd name="connsiteX40863" fmla="*/ 2254030 w 4610101"/>
              <a:gd name="connsiteY40863" fmla="*/ 70095 h 6557032"/>
              <a:gd name="connsiteX40864" fmla="*/ 2556510 w 4610101"/>
              <a:gd name="connsiteY40864" fmla="*/ 68273 h 6557032"/>
              <a:gd name="connsiteX40865" fmla="*/ 2558332 w 4610101"/>
              <a:gd name="connsiteY40865" fmla="*/ 73739 h 6557032"/>
              <a:gd name="connsiteX40866" fmla="*/ 2556510 w 4610101"/>
              <a:gd name="connsiteY40866" fmla="*/ 68273 h 6557032"/>
              <a:gd name="connsiteX40867" fmla="*/ 2585665 w 4610101"/>
              <a:gd name="connsiteY40867" fmla="*/ 66451 h 6557032"/>
              <a:gd name="connsiteX40868" fmla="*/ 2591132 w 4610101"/>
              <a:gd name="connsiteY40868" fmla="*/ 71917 h 6557032"/>
              <a:gd name="connsiteX40869" fmla="*/ 2589310 w 4610101"/>
              <a:gd name="connsiteY40869" fmla="*/ 66451 h 6557032"/>
              <a:gd name="connsiteX40870" fmla="*/ 2585665 w 4610101"/>
              <a:gd name="connsiteY40870" fmla="*/ 66451 h 6557032"/>
              <a:gd name="connsiteX40871" fmla="*/ 2394337 w 4610101"/>
              <a:gd name="connsiteY40871" fmla="*/ 64629 h 6557032"/>
              <a:gd name="connsiteX40872" fmla="*/ 2394337 w 4610101"/>
              <a:gd name="connsiteY40872" fmla="*/ 70095 h 6557032"/>
              <a:gd name="connsiteX40873" fmla="*/ 2397981 w 4610101"/>
              <a:gd name="connsiteY40873" fmla="*/ 64629 h 6557032"/>
              <a:gd name="connsiteX40874" fmla="*/ 2394337 w 4610101"/>
              <a:gd name="connsiteY40874" fmla="*/ 64629 h 6557032"/>
              <a:gd name="connsiteX40875" fmla="*/ 2377937 w 4610101"/>
              <a:gd name="connsiteY40875" fmla="*/ 64629 h 6557032"/>
              <a:gd name="connsiteX40876" fmla="*/ 2368827 w 4610101"/>
              <a:gd name="connsiteY40876" fmla="*/ 66451 h 6557032"/>
              <a:gd name="connsiteX40877" fmla="*/ 2365182 w 4610101"/>
              <a:gd name="connsiteY40877" fmla="*/ 70095 h 6557032"/>
              <a:gd name="connsiteX40878" fmla="*/ 2361538 w 4610101"/>
              <a:gd name="connsiteY40878" fmla="*/ 79206 h 6557032"/>
              <a:gd name="connsiteX40879" fmla="*/ 2379760 w 4610101"/>
              <a:gd name="connsiteY40879" fmla="*/ 75562 h 6557032"/>
              <a:gd name="connsiteX40880" fmla="*/ 2377937 w 4610101"/>
              <a:gd name="connsiteY40880" fmla="*/ 64629 h 6557032"/>
              <a:gd name="connsiteX40881" fmla="*/ 2154473 w 4610101"/>
              <a:gd name="connsiteY40881" fmla="*/ 64131 h 6557032"/>
              <a:gd name="connsiteX40882" fmla="*/ 2157454 w 4610101"/>
              <a:gd name="connsiteY40882" fmla="*/ 64629 h 6557032"/>
              <a:gd name="connsiteX40883" fmla="*/ 2155632 w 4610101"/>
              <a:gd name="connsiteY40883" fmla="*/ 66451 h 6557032"/>
              <a:gd name="connsiteX40884" fmla="*/ 2505490 w 4610101"/>
              <a:gd name="connsiteY40884" fmla="*/ 62806 h 6557032"/>
              <a:gd name="connsiteX40885" fmla="*/ 2501845 w 4610101"/>
              <a:gd name="connsiteY40885" fmla="*/ 71917 h 6557032"/>
              <a:gd name="connsiteX40886" fmla="*/ 2507312 w 4610101"/>
              <a:gd name="connsiteY40886" fmla="*/ 66451 h 6557032"/>
              <a:gd name="connsiteX40887" fmla="*/ 2507312 w 4610101"/>
              <a:gd name="connsiteY40887" fmla="*/ 77384 h 6557032"/>
              <a:gd name="connsiteX40888" fmla="*/ 2512778 w 4610101"/>
              <a:gd name="connsiteY40888" fmla="*/ 64629 h 6557032"/>
              <a:gd name="connsiteX40889" fmla="*/ 2510956 w 4610101"/>
              <a:gd name="connsiteY40889" fmla="*/ 66451 h 6557032"/>
              <a:gd name="connsiteX40890" fmla="*/ 2505490 w 4610101"/>
              <a:gd name="connsiteY40890" fmla="*/ 62806 h 6557032"/>
              <a:gd name="connsiteX40891" fmla="*/ 2153810 w 4610101"/>
              <a:gd name="connsiteY40891" fmla="*/ 62806 h 6557032"/>
              <a:gd name="connsiteX40892" fmla="*/ 2154473 w 4610101"/>
              <a:gd name="connsiteY40892" fmla="*/ 64131 h 6557032"/>
              <a:gd name="connsiteX40893" fmla="*/ 2153427 w 4610101"/>
              <a:gd name="connsiteY40893" fmla="*/ 63957 h 6557032"/>
              <a:gd name="connsiteX40894" fmla="*/ 2439891 w 4610101"/>
              <a:gd name="connsiteY40894" fmla="*/ 60984 h 6557032"/>
              <a:gd name="connsiteX40895" fmla="*/ 2432603 w 4610101"/>
              <a:gd name="connsiteY40895" fmla="*/ 62806 h 6557032"/>
              <a:gd name="connsiteX40896" fmla="*/ 2436247 w 4610101"/>
              <a:gd name="connsiteY40896" fmla="*/ 68273 h 6557032"/>
              <a:gd name="connsiteX40897" fmla="*/ 2439891 w 4610101"/>
              <a:gd name="connsiteY40897" fmla="*/ 60984 h 6557032"/>
              <a:gd name="connsiteX40898" fmla="*/ 2405270 w 4610101"/>
              <a:gd name="connsiteY40898" fmla="*/ 60984 h 6557032"/>
              <a:gd name="connsiteX40899" fmla="*/ 2408914 w 4610101"/>
              <a:gd name="connsiteY40899" fmla="*/ 66451 h 6557032"/>
              <a:gd name="connsiteX40900" fmla="*/ 2414381 w 4610101"/>
              <a:gd name="connsiteY40900" fmla="*/ 60984 h 6557032"/>
              <a:gd name="connsiteX40901" fmla="*/ 2405270 w 4610101"/>
              <a:gd name="connsiteY40901" fmla="*/ 60984 h 6557032"/>
              <a:gd name="connsiteX40902" fmla="*/ 2281362 w 4610101"/>
              <a:gd name="connsiteY40902" fmla="*/ 59162 h 6557032"/>
              <a:gd name="connsiteX40903" fmla="*/ 2281806 w 4610101"/>
              <a:gd name="connsiteY40903" fmla="*/ 59309 h 6557032"/>
              <a:gd name="connsiteX40904" fmla="*/ 2281923 w 4610101"/>
              <a:gd name="connsiteY40904" fmla="*/ 59451 h 6557032"/>
              <a:gd name="connsiteX40905" fmla="*/ 2259496 w 4610101"/>
              <a:gd name="connsiteY40905" fmla="*/ 59162 h 6557032"/>
              <a:gd name="connsiteX40906" fmla="*/ 2254030 w 4610101"/>
              <a:gd name="connsiteY40906" fmla="*/ 68273 h 6557032"/>
              <a:gd name="connsiteX40907" fmla="*/ 2268607 w 4610101"/>
              <a:gd name="connsiteY40907" fmla="*/ 64629 h 6557032"/>
              <a:gd name="connsiteX40908" fmla="*/ 2259496 w 4610101"/>
              <a:gd name="connsiteY40908" fmla="*/ 59162 h 6557032"/>
              <a:gd name="connsiteX40909" fmla="*/ 2736906 w 4610101"/>
              <a:gd name="connsiteY40909" fmla="*/ 57360 h 6557032"/>
              <a:gd name="connsiteX40910" fmla="*/ 2738728 w 4610101"/>
              <a:gd name="connsiteY40910" fmla="*/ 68293 h 6557032"/>
              <a:gd name="connsiteX40911" fmla="*/ 2736906 w 4610101"/>
              <a:gd name="connsiteY40911" fmla="*/ 57360 h 6557032"/>
              <a:gd name="connsiteX40912" fmla="*/ 2691351 w 4610101"/>
              <a:gd name="connsiteY40912" fmla="*/ 55538 h 6557032"/>
              <a:gd name="connsiteX40913" fmla="*/ 2687707 w 4610101"/>
              <a:gd name="connsiteY40913" fmla="*/ 61004 h 6557032"/>
              <a:gd name="connsiteX40914" fmla="*/ 2691351 w 4610101"/>
              <a:gd name="connsiteY40914" fmla="*/ 61004 h 6557032"/>
              <a:gd name="connsiteX40915" fmla="*/ 2691351 w 4610101"/>
              <a:gd name="connsiteY40915" fmla="*/ 55538 h 6557032"/>
              <a:gd name="connsiteX40916" fmla="*/ 2495240 w 4610101"/>
              <a:gd name="connsiteY40916" fmla="*/ 55517 h 6557032"/>
              <a:gd name="connsiteX40917" fmla="*/ 2489090 w 4610101"/>
              <a:gd name="connsiteY40917" fmla="*/ 55518 h 6557032"/>
              <a:gd name="connsiteX40918" fmla="*/ 2490912 w 4610101"/>
              <a:gd name="connsiteY40918" fmla="*/ 60984 h 6557032"/>
              <a:gd name="connsiteX40919" fmla="*/ 2481801 w 4610101"/>
              <a:gd name="connsiteY40919" fmla="*/ 60984 h 6557032"/>
              <a:gd name="connsiteX40920" fmla="*/ 2485446 w 4610101"/>
              <a:gd name="connsiteY40920" fmla="*/ 75562 h 6557032"/>
              <a:gd name="connsiteX40921" fmla="*/ 2481801 w 4610101"/>
              <a:gd name="connsiteY40921" fmla="*/ 71917 h 6557032"/>
              <a:gd name="connsiteX40922" fmla="*/ 2489090 w 4610101"/>
              <a:gd name="connsiteY40922" fmla="*/ 81028 h 6557032"/>
              <a:gd name="connsiteX40923" fmla="*/ 2501845 w 4610101"/>
              <a:gd name="connsiteY40923" fmla="*/ 59162 h 6557032"/>
              <a:gd name="connsiteX40924" fmla="*/ 2496379 w 4610101"/>
              <a:gd name="connsiteY40924" fmla="*/ 60984 h 6557032"/>
              <a:gd name="connsiteX40925" fmla="*/ 2500023 w 4610101"/>
              <a:gd name="connsiteY40925" fmla="*/ 55518 h 6557032"/>
              <a:gd name="connsiteX40926" fmla="*/ 2495240 w 4610101"/>
              <a:gd name="connsiteY40926" fmla="*/ 55517 h 6557032"/>
              <a:gd name="connsiteX40927" fmla="*/ 2747839 w 4610101"/>
              <a:gd name="connsiteY40927" fmla="*/ 53716 h 6557032"/>
              <a:gd name="connsiteX40928" fmla="*/ 2742372 w 4610101"/>
              <a:gd name="connsiteY40928" fmla="*/ 55538 h 6557032"/>
              <a:gd name="connsiteX40929" fmla="*/ 2744195 w 4610101"/>
              <a:gd name="connsiteY40929" fmla="*/ 55538 h 6557032"/>
              <a:gd name="connsiteX40930" fmla="*/ 2747839 w 4610101"/>
              <a:gd name="connsiteY40930" fmla="*/ 68293 h 6557032"/>
              <a:gd name="connsiteX40931" fmla="*/ 2747839 w 4610101"/>
              <a:gd name="connsiteY40931" fmla="*/ 53716 h 6557032"/>
              <a:gd name="connsiteX40932" fmla="*/ 2199364 w 4610101"/>
              <a:gd name="connsiteY40932" fmla="*/ 50051 h 6557032"/>
              <a:gd name="connsiteX40933" fmla="*/ 2199364 w 4610101"/>
              <a:gd name="connsiteY40933" fmla="*/ 53696 h 6557032"/>
              <a:gd name="connsiteX40934" fmla="*/ 2206653 w 4610101"/>
              <a:gd name="connsiteY40934" fmla="*/ 53696 h 6557032"/>
              <a:gd name="connsiteX40935" fmla="*/ 2199364 w 4610101"/>
              <a:gd name="connsiteY40935" fmla="*/ 50051 h 6557032"/>
              <a:gd name="connsiteX40936" fmla="*/ 2432603 w 4610101"/>
              <a:gd name="connsiteY40936" fmla="*/ 48229 h 6557032"/>
              <a:gd name="connsiteX40937" fmla="*/ 2436247 w 4610101"/>
              <a:gd name="connsiteY40937" fmla="*/ 55518 h 6557032"/>
              <a:gd name="connsiteX40938" fmla="*/ 2432603 w 4610101"/>
              <a:gd name="connsiteY40938" fmla="*/ 48229 h 6557032"/>
              <a:gd name="connsiteX40939" fmla="*/ 2448547 w 4610101"/>
              <a:gd name="connsiteY40939" fmla="*/ 45951 h 6557032"/>
              <a:gd name="connsiteX40940" fmla="*/ 2449002 w 4610101"/>
              <a:gd name="connsiteY40940" fmla="*/ 46030 h 6557032"/>
              <a:gd name="connsiteX40941" fmla="*/ 2449002 w 4610101"/>
              <a:gd name="connsiteY40941" fmla="*/ 55518 h 6557032"/>
              <a:gd name="connsiteX40942" fmla="*/ 2446725 w 4610101"/>
              <a:gd name="connsiteY40942" fmla="*/ 49368 h 6557032"/>
              <a:gd name="connsiteX40943" fmla="*/ 2443380 w 4610101"/>
              <a:gd name="connsiteY40943" fmla="*/ 46176 h 6557032"/>
              <a:gd name="connsiteX40944" fmla="*/ 2507768 w 4610101"/>
              <a:gd name="connsiteY40944" fmla="*/ 45723 h 6557032"/>
              <a:gd name="connsiteX40945" fmla="*/ 2500023 w 4610101"/>
              <a:gd name="connsiteY40945" fmla="*/ 46407 h 6557032"/>
              <a:gd name="connsiteX40946" fmla="*/ 2500023 w 4610101"/>
              <a:gd name="connsiteY40946" fmla="*/ 51873 h 6557032"/>
              <a:gd name="connsiteX40947" fmla="*/ 2507312 w 4610101"/>
              <a:gd name="connsiteY40947" fmla="*/ 51873 h 6557032"/>
              <a:gd name="connsiteX40948" fmla="*/ 2507768 w 4610101"/>
              <a:gd name="connsiteY40948" fmla="*/ 45723 h 6557032"/>
              <a:gd name="connsiteX40949" fmla="*/ 2449002 w 4610101"/>
              <a:gd name="connsiteY40949" fmla="*/ 44585 h 6557032"/>
              <a:gd name="connsiteX40950" fmla="*/ 2453414 w 4610101"/>
              <a:gd name="connsiteY40950" fmla="*/ 46790 h 6557032"/>
              <a:gd name="connsiteX40951" fmla="*/ 2449002 w 4610101"/>
              <a:gd name="connsiteY40951" fmla="*/ 46030 h 6557032"/>
              <a:gd name="connsiteX40952" fmla="*/ 2441713 w 4610101"/>
              <a:gd name="connsiteY40952" fmla="*/ 44585 h 6557032"/>
              <a:gd name="connsiteX40953" fmla="*/ 2443380 w 4610101"/>
              <a:gd name="connsiteY40953" fmla="*/ 46176 h 6557032"/>
              <a:gd name="connsiteX40954" fmla="*/ 2438938 w 4610101"/>
              <a:gd name="connsiteY40954" fmla="*/ 46369 h 6557032"/>
              <a:gd name="connsiteX40955" fmla="*/ 2270429 w 4610101"/>
              <a:gd name="connsiteY40955" fmla="*/ 44585 h 6557032"/>
              <a:gd name="connsiteX40956" fmla="*/ 2270429 w 4610101"/>
              <a:gd name="connsiteY40956" fmla="*/ 47269 h 6557032"/>
              <a:gd name="connsiteX40957" fmla="*/ 2269083 w 4610101"/>
              <a:gd name="connsiteY40957" fmla="*/ 50671 h 6557032"/>
              <a:gd name="connsiteX40958" fmla="*/ 2268894 w 4610101"/>
              <a:gd name="connsiteY40958" fmla="*/ 50727 h 6557032"/>
              <a:gd name="connsiteX40959" fmla="*/ 2546033 w 4610101"/>
              <a:gd name="connsiteY40959" fmla="*/ 43218 h 6557032"/>
              <a:gd name="connsiteX40960" fmla="*/ 2540111 w 4610101"/>
              <a:gd name="connsiteY40960" fmla="*/ 44585 h 6557032"/>
              <a:gd name="connsiteX40961" fmla="*/ 2541933 w 4610101"/>
              <a:gd name="connsiteY40961" fmla="*/ 50051 h 6557032"/>
              <a:gd name="connsiteX40962" fmla="*/ 2549222 w 4610101"/>
              <a:gd name="connsiteY40962" fmla="*/ 44585 h 6557032"/>
              <a:gd name="connsiteX40963" fmla="*/ 2546033 w 4610101"/>
              <a:gd name="connsiteY40963" fmla="*/ 43218 h 6557032"/>
              <a:gd name="connsiteX40964" fmla="*/ 2707751 w 4610101"/>
              <a:gd name="connsiteY40964" fmla="*/ 42783 h 6557032"/>
              <a:gd name="connsiteX40965" fmla="*/ 2711395 w 4610101"/>
              <a:gd name="connsiteY40965" fmla="*/ 51894 h 6557032"/>
              <a:gd name="connsiteX40966" fmla="*/ 2707751 w 4610101"/>
              <a:gd name="connsiteY40966" fmla="*/ 42783 h 6557032"/>
              <a:gd name="connsiteX40967" fmla="*/ 2427136 w 4610101"/>
              <a:gd name="connsiteY40967" fmla="*/ 42763 h 6557032"/>
              <a:gd name="connsiteX40968" fmla="*/ 2425314 w 4610101"/>
              <a:gd name="connsiteY40968" fmla="*/ 53696 h 6557032"/>
              <a:gd name="connsiteX40969" fmla="*/ 2428958 w 4610101"/>
              <a:gd name="connsiteY40969" fmla="*/ 48229 h 6557032"/>
              <a:gd name="connsiteX40970" fmla="*/ 2427136 w 4610101"/>
              <a:gd name="connsiteY40970" fmla="*/ 42763 h 6557032"/>
              <a:gd name="connsiteX40971" fmla="*/ 2410312 w 4610101"/>
              <a:gd name="connsiteY40971" fmla="*/ 33782 h 6557032"/>
              <a:gd name="connsiteX40972" fmla="*/ 2410053 w 4610101"/>
              <a:gd name="connsiteY40972" fmla="*/ 34107 h 6557032"/>
              <a:gd name="connsiteX40973" fmla="*/ 2409351 w 4610101"/>
              <a:gd name="connsiteY40973" fmla="*/ 34076 h 6557032"/>
              <a:gd name="connsiteX40974" fmla="*/ 2694996 w 4610101"/>
              <a:gd name="connsiteY40974" fmla="*/ 31850 h 6557032"/>
              <a:gd name="connsiteX40975" fmla="*/ 2704106 w 4610101"/>
              <a:gd name="connsiteY40975" fmla="*/ 42783 h 6557032"/>
              <a:gd name="connsiteX40976" fmla="*/ 2705929 w 4610101"/>
              <a:gd name="connsiteY40976" fmla="*/ 33672 h 6557032"/>
              <a:gd name="connsiteX40977" fmla="*/ 2716862 w 4610101"/>
              <a:gd name="connsiteY40977" fmla="*/ 57360 h 6557032"/>
              <a:gd name="connsiteX40978" fmla="*/ 2735084 w 4610101"/>
              <a:gd name="connsiteY40978" fmla="*/ 55538 h 6557032"/>
              <a:gd name="connsiteX40979" fmla="*/ 2731439 w 4610101"/>
              <a:gd name="connsiteY40979" fmla="*/ 62827 h 6557032"/>
              <a:gd name="connsiteX40980" fmla="*/ 2736906 w 4610101"/>
              <a:gd name="connsiteY40980" fmla="*/ 64649 h 6557032"/>
              <a:gd name="connsiteX40981" fmla="*/ 2742372 w 4610101"/>
              <a:gd name="connsiteY40981" fmla="*/ 50071 h 6557032"/>
              <a:gd name="connsiteX40982" fmla="*/ 2756950 w 4610101"/>
              <a:gd name="connsiteY40982" fmla="*/ 71937 h 6557032"/>
              <a:gd name="connsiteX40983" fmla="*/ 2749661 w 4610101"/>
              <a:gd name="connsiteY40983" fmla="*/ 70115 h 6557032"/>
              <a:gd name="connsiteX40984" fmla="*/ 2749661 w 4610101"/>
              <a:gd name="connsiteY40984" fmla="*/ 77404 h 6557032"/>
              <a:gd name="connsiteX40985" fmla="*/ 2725973 w 4610101"/>
              <a:gd name="connsiteY40985" fmla="*/ 101092 h 6557032"/>
              <a:gd name="connsiteX40986" fmla="*/ 2729617 w 4610101"/>
              <a:gd name="connsiteY40986" fmla="*/ 81048 h 6557032"/>
              <a:gd name="connsiteX40987" fmla="*/ 2718684 w 4610101"/>
              <a:gd name="connsiteY40987" fmla="*/ 62827 h 6557032"/>
              <a:gd name="connsiteX40988" fmla="*/ 2727795 w 4610101"/>
              <a:gd name="connsiteY40988" fmla="*/ 75582 h 6557032"/>
              <a:gd name="connsiteX40989" fmla="*/ 2727795 w 4610101"/>
              <a:gd name="connsiteY40989" fmla="*/ 64649 h 6557032"/>
              <a:gd name="connsiteX40990" fmla="*/ 2718684 w 4610101"/>
              <a:gd name="connsiteY40990" fmla="*/ 62827 h 6557032"/>
              <a:gd name="connsiteX40991" fmla="*/ 2704106 w 4610101"/>
              <a:gd name="connsiteY40991" fmla="*/ 68293 h 6557032"/>
              <a:gd name="connsiteX40992" fmla="*/ 2702284 w 4610101"/>
              <a:gd name="connsiteY40992" fmla="*/ 64649 h 6557032"/>
              <a:gd name="connsiteX40993" fmla="*/ 2698640 w 4610101"/>
              <a:gd name="connsiteY40993" fmla="*/ 37316 h 6557032"/>
              <a:gd name="connsiteX40994" fmla="*/ 2693174 w 4610101"/>
              <a:gd name="connsiteY40994" fmla="*/ 42783 h 6557032"/>
              <a:gd name="connsiteX40995" fmla="*/ 2689529 w 4610101"/>
              <a:gd name="connsiteY40995" fmla="*/ 39138 h 6557032"/>
              <a:gd name="connsiteX40996" fmla="*/ 2685885 w 4610101"/>
              <a:gd name="connsiteY40996" fmla="*/ 53716 h 6557032"/>
              <a:gd name="connsiteX40997" fmla="*/ 2700462 w 4610101"/>
              <a:gd name="connsiteY40997" fmla="*/ 51894 h 6557032"/>
              <a:gd name="connsiteX40998" fmla="*/ 2678596 w 4610101"/>
              <a:gd name="connsiteY40998" fmla="*/ 66471 h 6557032"/>
              <a:gd name="connsiteX40999" fmla="*/ 2682240 w 4610101"/>
              <a:gd name="connsiteY40999" fmla="*/ 57360 h 6557032"/>
              <a:gd name="connsiteX41000" fmla="*/ 2694996 w 4610101"/>
              <a:gd name="connsiteY41000" fmla="*/ 31850 h 6557032"/>
              <a:gd name="connsiteX41001" fmla="*/ 2399348 w 4610101"/>
              <a:gd name="connsiteY41001" fmla="*/ 23174 h 6557032"/>
              <a:gd name="connsiteX41002" fmla="*/ 2408914 w 4610101"/>
              <a:gd name="connsiteY41002" fmla="*/ 26363 h 6557032"/>
              <a:gd name="connsiteX41003" fmla="*/ 2399803 w 4610101"/>
              <a:gd name="connsiteY41003" fmla="*/ 33652 h 6557032"/>
              <a:gd name="connsiteX41004" fmla="*/ 2409351 w 4610101"/>
              <a:gd name="connsiteY41004" fmla="*/ 34076 h 6557032"/>
              <a:gd name="connsiteX41005" fmla="*/ 2399576 w 4610101"/>
              <a:gd name="connsiteY41005" fmla="*/ 37068 h 6557032"/>
              <a:gd name="connsiteX41006" fmla="*/ 2392515 w 4610101"/>
              <a:gd name="connsiteY41006" fmla="*/ 28185 h 6557032"/>
              <a:gd name="connsiteX41007" fmla="*/ 2399348 w 4610101"/>
              <a:gd name="connsiteY41007" fmla="*/ 23174 h 6557032"/>
              <a:gd name="connsiteX41008" fmla="*/ 2565621 w 4610101"/>
              <a:gd name="connsiteY41008" fmla="*/ 19074 h 6557032"/>
              <a:gd name="connsiteX41009" fmla="*/ 2565621 w 4610101"/>
              <a:gd name="connsiteY41009" fmla="*/ 30007 h 6557032"/>
              <a:gd name="connsiteX41010" fmla="*/ 2565621 w 4610101"/>
              <a:gd name="connsiteY41010" fmla="*/ 19074 h 6557032"/>
              <a:gd name="connsiteX41011" fmla="*/ 2560155 w 4610101"/>
              <a:gd name="connsiteY41011" fmla="*/ 11786 h 6557032"/>
              <a:gd name="connsiteX41012" fmla="*/ 2556510 w 4610101"/>
              <a:gd name="connsiteY41012" fmla="*/ 19074 h 6557032"/>
              <a:gd name="connsiteX41013" fmla="*/ 2560155 w 4610101"/>
              <a:gd name="connsiteY41013" fmla="*/ 11786 h 6557032"/>
              <a:gd name="connsiteX41014" fmla="*/ 2540111 w 4610101"/>
              <a:gd name="connsiteY41014" fmla="*/ 853 h 6557032"/>
              <a:gd name="connsiteX41015" fmla="*/ 2561977 w 4610101"/>
              <a:gd name="connsiteY41015" fmla="*/ 8141 h 6557032"/>
              <a:gd name="connsiteX41016" fmla="*/ 2567443 w 4610101"/>
              <a:gd name="connsiteY41016" fmla="*/ 6319 h 6557032"/>
              <a:gd name="connsiteX41017" fmla="*/ 2583843 w 4610101"/>
              <a:gd name="connsiteY41017" fmla="*/ 24541 h 6557032"/>
              <a:gd name="connsiteX41018" fmla="*/ 2582021 w 4610101"/>
              <a:gd name="connsiteY41018" fmla="*/ 19074 h 6557032"/>
              <a:gd name="connsiteX41019" fmla="*/ 2589310 w 4610101"/>
              <a:gd name="connsiteY41019" fmla="*/ 19074 h 6557032"/>
              <a:gd name="connsiteX41020" fmla="*/ 2587487 w 4610101"/>
              <a:gd name="connsiteY41020" fmla="*/ 24541 h 6557032"/>
              <a:gd name="connsiteX41021" fmla="*/ 2607531 w 4610101"/>
              <a:gd name="connsiteY41021" fmla="*/ 15430 h 6557032"/>
              <a:gd name="connsiteX41022" fmla="*/ 2602065 w 4610101"/>
              <a:gd name="connsiteY41022" fmla="*/ 17252 h 6557032"/>
              <a:gd name="connsiteX41023" fmla="*/ 2609353 w 4610101"/>
              <a:gd name="connsiteY41023" fmla="*/ 28185 h 6557032"/>
              <a:gd name="connsiteX41024" fmla="*/ 2589310 w 4610101"/>
              <a:gd name="connsiteY41024" fmla="*/ 30007 h 6557032"/>
              <a:gd name="connsiteX41025" fmla="*/ 2607531 w 4610101"/>
              <a:gd name="connsiteY41025" fmla="*/ 37296 h 6557032"/>
              <a:gd name="connsiteX41026" fmla="*/ 2598421 w 4610101"/>
              <a:gd name="connsiteY41026" fmla="*/ 44585 h 6557032"/>
              <a:gd name="connsiteX41027" fmla="*/ 2609353 w 4610101"/>
              <a:gd name="connsiteY41027" fmla="*/ 50051 h 6557032"/>
              <a:gd name="connsiteX41028" fmla="*/ 2607531 w 4610101"/>
              <a:gd name="connsiteY41028" fmla="*/ 55518 h 6557032"/>
              <a:gd name="connsiteX41029" fmla="*/ 2614820 w 4610101"/>
              <a:gd name="connsiteY41029" fmla="*/ 60984 h 6557032"/>
              <a:gd name="connsiteX41030" fmla="*/ 2620287 w 4610101"/>
              <a:gd name="connsiteY41030" fmla="*/ 55518 h 6557032"/>
              <a:gd name="connsiteX41031" fmla="*/ 2640330 w 4610101"/>
              <a:gd name="connsiteY41031" fmla="*/ 70095 h 6557032"/>
              <a:gd name="connsiteX41032" fmla="*/ 2642153 w 4610101"/>
              <a:gd name="connsiteY41032" fmla="*/ 91961 h 6557032"/>
              <a:gd name="connsiteX41033" fmla="*/ 2620287 w 4610101"/>
              <a:gd name="connsiteY41033" fmla="*/ 91961 h 6557032"/>
              <a:gd name="connsiteX41034" fmla="*/ 2614820 w 4610101"/>
              <a:gd name="connsiteY41034" fmla="*/ 110183 h 6557032"/>
              <a:gd name="connsiteX41035" fmla="*/ 2611176 w 4610101"/>
              <a:gd name="connsiteY41035" fmla="*/ 97428 h 6557032"/>
              <a:gd name="connsiteX41036" fmla="*/ 2587487 w 4610101"/>
              <a:gd name="connsiteY41036" fmla="*/ 88317 h 6557032"/>
              <a:gd name="connsiteX41037" fmla="*/ 2583843 w 4610101"/>
              <a:gd name="connsiteY41037" fmla="*/ 95606 h 6557032"/>
              <a:gd name="connsiteX41038" fmla="*/ 2554688 w 4610101"/>
              <a:gd name="connsiteY41038" fmla="*/ 112005 h 6557032"/>
              <a:gd name="connsiteX41039" fmla="*/ 2567443 w 4610101"/>
              <a:gd name="connsiteY41039" fmla="*/ 101072 h 6557032"/>
              <a:gd name="connsiteX41040" fmla="*/ 2558332 w 4610101"/>
              <a:gd name="connsiteY41040" fmla="*/ 121116 h 6557032"/>
              <a:gd name="connsiteX41041" fmla="*/ 2551044 w 4610101"/>
              <a:gd name="connsiteY41041" fmla="*/ 115649 h 6557032"/>
              <a:gd name="connsiteX41042" fmla="*/ 2550860 w 4610101"/>
              <a:gd name="connsiteY41042" fmla="*/ 116154 h 6557032"/>
              <a:gd name="connsiteX41043" fmla="*/ 2551044 w 4610101"/>
              <a:gd name="connsiteY41043" fmla="*/ 113827 h 6557032"/>
              <a:gd name="connsiteX41044" fmla="*/ 2538289 w 4610101"/>
              <a:gd name="connsiteY41044" fmla="*/ 112005 h 6557032"/>
              <a:gd name="connsiteX41045" fmla="*/ 2536466 w 4610101"/>
              <a:gd name="connsiteY41045" fmla="*/ 122938 h 6557032"/>
              <a:gd name="connsiteX41046" fmla="*/ 2540111 w 4610101"/>
              <a:gd name="connsiteY41046" fmla="*/ 119294 h 6557032"/>
              <a:gd name="connsiteX41047" fmla="*/ 2545577 w 4610101"/>
              <a:gd name="connsiteY41047" fmla="*/ 128405 h 6557032"/>
              <a:gd name="connsiteX41048" fmla="*/ 2548002 w 4610101"/>
              <a:gd name="connsiteY41048" fmla="*/ 125403 h 6557032"/>
              <a:gd name="connsiteX41049" fmla="*/ 2551727 w 4610101"/>
              <a:gd name="connsiteY41049" fmla="*/ 132960 h 6557032"/>
              <a:gd name="connsiteX41050" fmla="*/ 2567443 w 4610101"/>
              <a:gd name="connsiteY41050" fmla="*/ 144804 h 6557032"/>
              <a:gd name="connsiteX41051" fmla="*/ 2569266 w 4610101"/>
              <a:gd name="connsiteY41051" fmla="*/ 141160 h 6557032"/>
              <a:gd name="connsiteX41052" fmla="*/ 2587487 w 4610101"/>
              <a:gd name="connsiteY41052" fmla="*/ 153915 h 6557032"/>
              <a:gd name="connsiteX41053" fmla="*/ 2569266 w 4610101"/>
              <a:gd name="connsiteY41053" fmla="*/ 150271 h 6557032"/>
              <a:gd name="connsiteX41054" fmla="*/ 2571088 w 4610101"/>
              <a:gd name="connsiteY41054" fmla="*/ 159382 h 6557032"/>
              <a:gd name="connsiteX41055" fmla="*/ 2587487 w 4610101"/>
              <a:gd name="connsiteY41055" fmla="*/ 159382 h 6557032"/>
              <a:gd name="connsiteX41056" fmla="*/ 2602065 w 4610101"/>
              <a:gd name="connsiteY41056" fmla="*/ 186714 h 6557032"/>
              <a:gd name="connsiteX41057" fmla="*/ 2596598 w 4610101"/>
              <a:gd name="connsiteY41057" fmla="*/ 188536 h 6557032"/>
              <a:gd name="connsiteX41058" fmla="*/ 2612998 w 4610101"/>
              <a:gd name="connsiteY41058" fmla="*/ 201292 h 6557032"/>
              <a:gd name="connsiteX41059" fmla="*/ 2607531 w 4610101"/>
              <a:gd name="connsiteY41059" fmla="*/ 206758 h 6557032"/>
              <a:gd name="connsiteX41060" fmla="*/ 2609353 w 4610101"/>
              <a:gd name="connsiteY41060" fmla="*/ 210403 h 6557032"/>
              <a:gd name="connsiteX41061" fmla="*/ 2616642 w 4610101"/>
              <a:gd name="connsiteY41061" fmla="*/ 206758 h 6557032"/>
              <a:gd name="connsiteX41062" fmla="*/ 2616642 w 4610101"/>
              <a:gd name="connsiteY41062" fmla="*/ 219513 h 6557032"/>
              <a:gd name="connsiteX41063" fmla="*/ 2627575 w 4610101"/>
              <a:gd name="connsiteY41063" fmla="*/ 221336 h 6557032"/>
              <a:gd name="connsiteX41064" fmla="*/ 2633042 w 4610101"/>
              <a:gd name="connsiteY41064" fmla="*/ 208580 h 6557032"/>
              <a:gd name="connsiteX41065" fmla="*/ 2633042 w 4610101"/>
              <a:gd name="connsiteY41065" fmla="*/ 215869 h 6557032"/>
              <a:gd name="connsiteX41066" fmla="*/ 2651263 w 4610101"/>
              <a:gd name="connsiteY41066" fmla="*/ 201292 h 6557032"/>
              <a:gd name="connsiteX41067" fmla="*/ 2658552 w 4610101"/>
              <a:gd name="connsiteY41067" fmla="*/ 204936 h 6557032"/>
              <a:gd name="connsiteX41068" fmla="*/ 2669485 w 4610101"/>
              <a:gd name="connsiteY41068" fmla="*/ 188536 h 6557032"/>
              <a:gd name="connsiteX41069" fmla="*/ 2666134 w 4610101"/>
              <a:gd name="connsiteY41069" fmla="*/ 184347 h 6557032"/>
              <a:gd name="connsiteX41070" fmla="*/ 2667436 w 4610101"/>
              <a:gd name="connsiteY41070" fmla="*/ 181931 h 6557032"/>
              <a:gd name="connsiteX41071" fmla="*/ 2667663 w 4610101"/>
              <a:gd name="connsiteY41071" fmla="*/ 177603 h 6557032"/>
              <a:gd name="connsiteX41072" fmla="*/ 2674952 w 4610101"/>
              <a:gd name="connsiteY41072" fmla="*/ 179426 h 6557032"/>
              <a:gd name="connsiteX41073" fmla="*/ 2676774 w 4610101"/>
              <a:gd name="connsiteY41073" fmla="*/ 166670 h 6557032"/>
              <a:gd name="connsiteX41074" fmla="*/ 2680874 w 4610101"/>
              <a:gd name="connsiteY41074" fmla="*/ 178514 h 6557032"/>
              <a:gd name="connsiteX41075" fmla="*/ 2684776 w 4610101"/>
              <a:gd name="connsiteY41075" fmla="*/ 185278 h 6557032"/>
              <a:gd name="connsiteX41076" fmla="*/ 2674952 w 4610101"/>
              <a:gd name="connsiteY41076" fmla="*/ 199469 h 6557032"/>
              <a:gd name="connsiteX41077" fmla="*/ 2673130 w 4610101"/>
              <a:gd name="connsiteY41077" fmla="*/ 195825 h 6557032"/>
              <a:gd name="connsiteX41078" fmla="*/ 2676774 w 4610101"/>
              <a:gd name="connsiteY41078" fmla="*/ 210403 h 6557032"/>
              <a:gd name="connsiteX41079" fmla="*/ 2696818 w 4610101"/>
              <a:gd name="connsiteY41079" fmla="*/ 203114 h 6557032"/>
              <a:gd name="connsiteX41080" fmla="*/ 2720506 w 4610101"/>
              <a:gd name="connsiteY41080" fmla="*/ 190359 h 6557032"/>
              <a:gd name="connsiteX41081" fmla="*/ 2724150 w 4610101"/>
              <a:gd name="connsiteY41081" fmla="*/ 166670 h 6557032"/>
              <a:gd name="connsiteX41082" fmla="*/ 2720051 w 4610101"/>
              <a:gd name="connsiteY41082" fmla="*/ 159837 h 6557032"/>
              <a:gd name="connsiteX41083" fmla="*/ 2719531 w 4610101"/>
              <a:gd name="connsiteY41083" fmla="*/ 156200 h 6557032"/>
              <a:gd name="connsiteX41084" fmla="*/ 2723481 w 4610101"/>
              <a:gd name="connsiteY41084" fmla="*/ 154799 h 6557032"/>
              <a:gd name="connsiteX41085" fmla="*/ 2724150 w 4610101"/>
              <a:gd name="connsiteY41085" fmla="*/ 155737 h 6557032"/>
              <a:gd name="connsiteX41086" fmla="*/ 2724225 w 4610101"/>
              <a:gd name="connsiteY41086" fmla="*/ 154535 h 6557032"/>
              <a:gd name="connsiteX41087" fmla="*/ 2725973 w 4610101"/>
              <a:gd name="connsiteY41087" fmla="*/ 153915 h 6557032"/>
              <a:gd name="connsiteX41088" fmla="*/ 2733261 w 4610101"/>
              <a:gd name="connsiteY41088" fmla="*/ 128405 h 6557032"/>
              <a:gd name="connsiteX41089" fmla="*/ 2736906 w 4610101"/>
              <a:gd name="connsiteY41089" fmla="*/ 130227 h 6557032"/>
              <a:gd name="connsiteX41090" fmla="*/ 2736906 w 4610101"/>
              <a:gd name="connsiteY41090" fmla="*/ 119294 h 6557032"/>
              <a:gd name="connsiteX41091" fmla="*/ 2742372 w 4610101"/>
              <a:gd name="connsiteY41091" fmla="*/ 124760 h 6557032"/>
              <a:gd name="connsiteX41092" fmla="*/ 2749661 w 4610101"/>
              <a:gd name="connsiteY41092" fmla="*/ 126583 h 6557032"/>
              <a:gd name="connsiteX41093" fmla="*/ 2747839 w 4610101"/>
              <a:gd name="connsiteY41093" fmla="*/ 130227 h 6557032"/>
              <a:gd name="connsiteX41094" fmla="*/ 2752250 w 4610101"/>
              <a:gd name="connsiteY41094" fmla="*/ 128884 h 6557032"/>
              <a:gd name="connsiteX41095" fmla="*/ 2753305 w 4610101"/>
              <a:gd name="connsiteY41095" fmla="*/ 132049 h 6557032"/>
              <a:gd name="connsiteX41096" fmla="*/ 2762416 w 4610101"/>
              <a:gd name="connsiteY41096" fmla="*/ 130227 h 6557032"/>
              <a:gd name="connsiteX41097" fmla="*/ 2762416 w 4610101"/>
              <a:gd name="connsiteY41097" fmla="*/ 113827 h 6557032"/>
              <a:gd name="connsiteX41098" fmla="*/ 2758316 w 4610101"/>
              <a:gd name="connsiteY41098" fmla="*/ 122938 h 6557032"/>
              <a:gd name="connsiteX41099" fmla="*/ 2753860 w 4610101"/>
              <a:gd name="connsiteY41099" fmla="*/ 125315 h 6557032"/>
              <a:gd name="connsiteX41100" fmla="*/ 2753305 w 4610101"/>
              <a:gd name="connsiteY41100" fmla="*/ 124760 h 6557032"/>
              <a:gd name="connsiteX41101" fmla="*/ 2764238 w 4610101"/>
              <a:gd name="connsiteY41101" fmla="*/ 97428 h 6557032"/>
              <a:gd name="connsiteX41102" fmla="*/ 2771527 w 4610101"/>
              <a:gd name="connsiteY41102" fmla="*/ 99250 h 6557032"/>
              <a:gd name="connsiteX41103" fmla="*/ 2777677 w 4610101"/>
              <a:gd name="connsiteY41103" fmla="*/ 99933 h 6557032"/>
              <a:gd name="connsiteX41104" fmla="*/ 2781640 w 4610101"/>
              <a:gd name="connsiteY41104" fmla="*/ 94837 h 6557032"/>
              <a:gd name="connsiteX41105" fmla="*/ 2784966 w 4610101"/>
              <a:gd name="connsiteY41105" fmla="*/ 98338 h 6557032"/>
              <a:gd name="connsiteX41106" fmla="*/ 2787927 w 4610101"/>
              <a:gd name="connsiteY41106" fmla="*/ 97428 h 6557032"/>
              <a:gd name="connsiteX41107" fmla="*/ 2787927 w 4610101"/>
              <a:gd name="connsiteY41107" fmla="*/ 94663 h 6557032"/>
              <a:gd name="connsiteX41108" fmla="*/ 2791738 w 4610101"/>
              <a:gd name="connsiteY41108" fmla="*/ 91772 h 6557032"/>
              <a:gd name="connsiteX41109" fmla="*/ 2791571 w 4610101"/>
              <a:gd name="connsiteY41109" fmla="*/ 97428 h 6557032"/>
              <a:gd name="connsiteX41110" fmla="*/ 2795215 w 4610101"/>
              <a:gd name="connsiteY41110" fmla="*/ 95606 h 6557032"/>
              <a:gd name="connsiteX41111" fmla="*/ 2794988 w 4610101"/>
              <a:gd name="connsiteY41111" fmla="*/ 90139 h 6557032"/>
              <a:gd name="connsiteX41112" fmla="*/ 2794789 w 4610101"/>
              <a:gd name="connsiteY41112" fmla="*/ 89457 h 6557032"/>
              <a:gd name="connsiteX41113" fmla="*/ 2797493 w 4610101"/>
              <a:gd name="connsiteY41113" fmla="*/ 87405 h 6557032"/>
              <a:gd name="connsiteX41114" fmla="*/ 2813437 w 4610101"/>
              <a:gd name="connsiteY41114" fmla="*/ 88317 h 6557032"/>
              <a:gd name="connsiteX41115" fmla="*/ 2815259 w 4610101"/>
              <a:gd name="connsiteY41115" fmla="*/ 115649 h 6557032"/>
              <a:gd name="connsiteX41116" fmla="*/ 2811615 w 4610101"/>
              <a:gd name="connsiteY41116" fmla="*/ 115649 h 6557032"/>
              <a:gd name="connsiteX41117" fmla="*/ 2809793 w 4610101"/>
              <a:gd name="connsiteY41117" fmla="*/ 108361 h 6557032"/>
              <a:gd name="connsiteX41118" fmla="*/ 2806148 w 4610101"/>
              <a:gd name="connsiteY41118" fmla="*/ 115649 h 6557032"/>
              <a:gd name="connsiteX41119" fmla="*/ 2806148 w 4610101"/>
              <a:gd name="connsiteY41119" fmla="*/ 112005 h 6557032"/>
              <a:gd name="connsiteX41120" fmla="*/ 2804326 w 4610101"/>
              <a:gd name="connsiteY41120" fmla="*/ 117472 h 6557032"/>
              <a:gd name="connsiteX41121" fmla="*/ 2807971 w 4610101"/>
              <a:gd name="connsiteY41121" fmla="*/ 135693 h 6557032"/>
              <a:gd name="connsiteX41122" fmla="*/ 2800682 w 4610101"/>
              <a:gd name="connsiteY41122" fmla="*/ 110183 h 6557032"/>
              <a:gd name="connsiteX41123" fmla="*/ 2792143 w 4610101"/>
              <a:gd name="connsiteY41123" fmla="*/ 132385 h 6557032"/>
              <a:gd name="connsiteX41124" fmla="*/ 2788382 w 4610101"/>
              <a:gd name="connsiteY41124" fmla="*/ 123394 h 6557032"/>
              <a:gd name="connsiteX41125" fmla="*/ 2791571 w 4610101"/>
              <a:gd name="connsiteY41125" fmla="*/ 95606 h 6557032"/>
              <a:gd name="connsiteX41126" fmla="*/ 2784282 w 4610101"/>
              <a:gd name="connsiteY41126" fmla="*/ 102894 h 6557032"/>
              <a:gd name="connsiteX41127" fmla="*/ 2773349 w 4610101"/>
              <a:gd name="connsiteY41127" fmla="*/ 153915 h 6557032"/>
              <a:gd name="connsiteX41128" fmla="*/ 2767882 w 4610101"/>
              <a:gd name="connsiteY41128" fmla="*/ 141160 h 6557032"/>
              <a:gd name="connsiteX41129" fmla="*/ 2764238 w 4610101"/>
              <a:gd name="connsiteY41129" fmla="*/ 148449 h 6557032"/>
              <a:gd name="connsiteX41130" fmla="*/ 2764238 w 4610101"/>
              <a:gd name="connsiteY41130" fmla="*/ 142982 h 6557032"/>
              <a:gd name="connsiteX41131" fmla="*/ 2760594 w 4610101"/>
              <a:gd name="connsiteY41131" fmla="*/ 144804 h 6557032"/>
              <a:gd name="connsiteX41132" fmla="*/ 2767882 w 4610101"/>
              <a:gd name="connsiteY41132" fmla="*/ 159382 h 6557032"/>
              <a:gd name="connsiteX41133" fmla="*/ 2769705 w 4610101"/>
              <a:gd name="connsiteY41133" fmla="*/ 153915 h 6557032"/>
              <a:gd name="connsiteX41134" fmla="*/ 2776993 w 4610101"/>
              <a:gd name="connsiteY41134" fmla="*/ 177603 h 6557032"/>
              <a:gd name="connsiteX41135" fmla="*/ 2775171 w 4610101"/>
              <a:gd name="connsiteY41135" fmla="*/ 175781 h 6557032"/>
              <a:gd name="connsiteX41136" fmla="*/ 2767882 w 4610101"/>
              <a:gd name="connsiteY41136" fmla="*/ 179426 h 6557032"/>
              <a:gd name="connsiteX41137" fmla="*/ 2775171 w 4610101"/>
              <a:gd name="connsiteY41137" fmla="*/ 188536 h 6557032"/>
              <a:gd name="connsiteX41138" fmla="*/ 2769705 w 4610101"/>
              <a:gd name="connsiteY41138" fmla="*/ 195825 h 6557032"/>
              <a:gd name="connsiteX41139" fmla="*/ 2776993 w 4610101"/>
              <a:gd name="connsiteY41139" fmla="*/ 217691 h 6557032"/>
              <a:gd name="connsiteX41140" fmla="*/ 2770367 w 4610101"/>
              <a:gd name="connsiteY41140" fmla="*/ 210256 h 6557032"/>
              <a:gd name="connsiteX41141" fmla="*/ 2767882 w 4610101"/>
              <a:gd name="connsiteY41141" fmla="*/ 214066 h 6557032"/>
              <a:gd name="connsiteX41142" fmla="*/ 2766060 w 4610101"/>
              <a:gd name="connsiteY41142" fmla="*/ 214066 h 6557032"/>
              <a:gd name="connsiteX41143" fmla="*/ 2767655 w 4610101"/>
              <a:gd name="connsiteY41143" fmla="*/ 207460 h 6557032"/>
              <a:gd name="connsiteX41144" fmla="*/ 2767662 w 4610101"/>
              <a:gd name="connsiteY41144" fmla="*/ 207221 h 6557032"/>
              <a:gd name="connsiteX41145" fmla="*/ 2767655 w 4610101"/>
              <a:gd name="connsiteY41145" fmla="*/ 207213 h 6557032"/>
              <a:gd name="connsiteX41146" fmla="*/ 2756950 w 4610101"/>
              <a:gd name="connsiteY41146" fmla="*/ 194003 h 6557032"/>
              <a:gd name="connsiteX41147" fmla="*/ 2747839 w 4610101"/>
              <a:gd name="connsiteY41147" fmla="*/ 195825 h 6557032"/>
              <a:gd name="connsiteX41148" fmla="*/ 2746016 w 4610101"/>
              <a:gd name="connsiteY41148" fmla="*/ 190359 h 6557032"/>
              <a:gd name="connsiteX41149" fmla="*/ 2750572 w 4610101"/>
              <a:gd name="connsiteY41149" fmla="*/ 187853 h 6557032"/>
              <a:gd name="connsiteX41150" fmla="*/ 2749914 w 4610101"/>
              <a:gd name="connsiteY41150" fmla="*/ 183082 h 6557032"/>
              <a:gd name="connsiteX41151" fmla="*/ 2751483 w 4610101"/>
              <a:gd name="connsiteY41151" fmla="*/ 180337 h 6557032"/>
              <a:gd name="connsiteX41152" fmla="*/ 2751483 w 4610101"/>
              <a:gd name="connsiteY41152" fmla="*/ 172137 h 6557032"/>
              <a:gd name="connsiteX41153" fmla="*/ 2747839 w 4610101"/>
              <a:gd name="connsiteY41153" fmla="*/ 179426 h 6557032"/>
              <a:gd name="connsiteX41154" fmla="*/ 2747839 w 4610101"/>
              <a:gd name="connsiteY41154" fmla="*/ 168493 h 6557032"/>
              <a:gd name="connsiteX41155" fmla="*/ 2742600 w 4610101"/>
              <a:gd name="connsiteY41155" fmla="*/ 177375 h 6557032"/>
              <a:gd name="connsiteX41156" fmla="*/ 2743562 w 4610101"/>
              <a:gd name="connsiteY41156" fmla="*/ 185211 h 6557032"/>
              <a:gd name="connsiteX41157" fmla="*/ 2740550 w 4610101"/>
              <a:gd name="connsiteY41157" fmla="*/ 187169 h 6557032"/>
              <a:gd name="connsiteX41158" fmla="*/ 2736906 w 4610101"/>
              <a:gd name="connsiteY41158" fmla="*/ 195825 h 6557032"/>
              <a:gd name="connsiteX41159" fmla="*/ 2742372 w 4610101"/>
              <a:gd name="connsiteY41159" fmla="*/ 195825 h 6557032"/>
              <a:gd name="connsiteX41160" fmla="*/ 2733261 w 4610101"/>
              <a:gd name="connsiteY41160" fmla="*/ 204936 h 6557032"/>
              <a:gd name="connsiteX41161" fmla="*/ 2735084 w 4610101"/>
              <a:gd name="connsiteY41161" fmla="*/ 199469 h 6557032"/>
              <a:gd name="connsiteX41162" fmla="*/ 2715040 w 4610101"/>
              <a:gd name="connsiteY41162" fmla="*/ 214047 h 6557032"/>
              <a:gd name="connsiteX41163" fmla="*/ 2713217 w 4610101"/>
              <a:gd name="connsiteY41163" fmla="*/ 210403 h 6557032"/>
              <a:gd name="connsiteX41164" fmla="*/ 2700462 w 4610101"/>
              <a:gd name="connsiteY41164" fmla="*/ 212225 h 6557032"/>
              <a:gd name="connsiteX41165" fmla="*/ 2689529 w 4610101"/>
              <a:gd name="connsiteY41165" fmla="*/ 219513 h 6557032"/>
              <a:gd name="connsiteX41166" fmla="*/ 2731439 w 4610101"/>
              <a:gd name="connsiteY41166" fmla="*/ 265068 h 6557032"/>
              <a:gd name="connsiteX41167" fmla="*/ 2731439 w 4610101"/>
              <a:gd name="connsiteY41167" fmla="*/ 272356 h 6557032"/>
              <a:gd name="connsiteX41168" fmla="*/ 2724150 w 4610101"/>
              <a:gd name="connsiteY41168" fmla="*/ 272356 h 6557032"/>
              <a:gd name="connsiteX41169" fmla="*/ 2722328 w 4610101"/>
              <a:gd name="connsiteY41169" fmla="*/ 266890 h 6557032"/>
              <a:gd name="connsiteX41170" fmla="*/ 2724150 w 4610101"/>
              <a:gd name="connsiteY41170" fmla="*/ 279645 h 6557032"/>
              <a:gd name="connsiteX41171" fmla="*/ 2725973 w 4610101"/>
              <a:gd name="connsiteY41171" fmla="*/ 274179 h 6557032"/>
              <a:gd name="connsiteX41172" fmla="*/ 2729617 w 4610101"/>
              <a:gd name="connsiteY41172" fmla="*/ 281467 h 6557032"/>
              <a:gd name="connsiteX41173" fmla="*/ 2756950 w 4610101"/>
              <a:gd name="connsiteY41173" fmla="*/ 276001 h 6557032"/>
              <a:gd name="connsiteX41174" fmla="*/ 2756950 w 4610101"/>
              <a:gd name="connsiteY41174" fmla="*/ 268712 h 6557032"/>
              <a:gd name="connsiteX41175" fmla="*/ 2760594 w 4610101"/>
              <a:gd name="connsiteY41175" fmla="*/ 270534 h 6557032"/>
              <a:gd name="connsiteX41176" fmla="*/ 2760594 w 4610101"/>
              <a:gd name="connsiteY41176" fmla="*/ 263246 h 6557032"/>
              <a:gd name="connsiteX41177" fmla="*/ 2744194 w 4610101"/>
              <a:gd name="connsiteY41177" fmla="*/ 263246 h 6557032"/>
              <a:gd name="connsiteX41178" fmla="*/ 2778816 w 4610101"/>
              <a:gd name="connsiteY41178" fmla="*/ 261423 h 6557032"/>
              <a:gd name="connsiteX41179" fmla="*/ 2782460 w 4610101"/>
              <a:gd name="connsiteY41179" fmla="*/ 259601 h 6557032"/>
              <a:gd name="connsiteX41180" fmla="*/ 2776993 w 4610101"/>
              <a:gd name="connsiteY41180" fmla="*/ 270534 h 6557032"/>
              <a:gd name="connsiteX41181" fmla="*/ 2775171 w 4610101"/>
              <a:gd name="connsiteY41181" fmla="*/ 265068 h 6557032"/>
              <a:gd name="connsiteX41182" fmla="*/ 2771527 w 4610101"/>
              <a:gd name="connsiteY41182" fmla="*/ 266890 h 6557032"/>
              <a:gd name="connsiteX41183" fmla="*/ 2771527 w 4610101"/>
              <a:gd name="connsiteY41183" fmla="*/ 277823 h 6557032"/>
              <a:gd name="connsiteX41184" fmla="*/ 2766060 w 4610101"/>
              <a:gd name="connsiteY41184" fmla="*/ 274179 h 6557032"/>
              <a:gd name="connsiteX41185" fmla="*/ 2767882 w 4610101"/>
              <a:gd name="connsiteY41185" fmla="*/ 285112 h 6557032"/>
              <a:gd name="connsiteX41186" fmla="*/ 2762416 w 4610101"/>
              <a:gd name="connsiteY41186" fmla="*/ 296045 h 6557032"/>
              <a:gd name="connsiteX41187" fmla="*/ 2762416 w 4610101"/>
              <a:gd name="connsiteY41187" fmla="*/ 292400 h 6557032"/>
              <a:gd name="connsiteX41188" fmla="*/ 2758772 w 4610101"/>
              <a:gd name="connsiteY41188" fmla="*/ 292400 h 6557032"/>
              <a:gd name="connsiteX41189" fmla="*/ 2758772 w 4610101"/>
              <a:gd name="connsiteY41189" fmla="*/ 276001 h 6557032"/>
              <a:gd name="connsiteX41190" fmla="*/ 2753305 w 4610101"/>
              <a:gd name="connsiteY41190" fmla="*/ 294223 h 6557032"/>
              <a:gd name="connsiteX41191" fmla="*/ 2755127 w 4610101"/>
              <a:gd name="connsiteY41191" fmla="*/ 294223 h 6557032"/>
              <a:gd name="connsiteX41192" fmla="*/ 2751483 w 4610101"/>
              <a:gd name="connsiteY41192" fmla="*/ 303333 h 6557032"/>
              <a:gd name="connsiteX41193" fmla="*/ 2749661 w 4610101"/>
              <a:gd name="connsiteY41193" fmla="*/ 297867 h 6557032"/>
              <a:gd name="connsiteX41194" fmla="*/ 2746016 w 4610101"/>
              <a:gd name="connsiteY41194" fmla="*/ 299689 h 6557032"/>
              <a:gd name="connsiteX41195" fmla="*/ 2746016 w 4610101"/>
              <a:gd name="connsiteY41195" fmla="*/ 283289 h 6557032"/>
              <a:gd name="connsiteX41196" fmla="*/ 2740550 w 4610101"/>
              <a:gd name="connsiteY41196" fmla="*/ 288756 h 6557032"/>
              <a:gd name="connsiteX41197" fmla="*/ 2711395 w 4610101"/>
              <a:gd name="connsiteY41197" fmla="*/ 299689 h 6557032"/>
              <a:gd name="connsiteX41198" fmla="*/ 2706612 w 4610101"/>
              <a:gd name="connsiteY41198" fmla="*/ 286705 h 6557032"/>
              <a:gd name="connsiteX41199" fmla="*/ 2696500 w 4610101"/>
              <a:gd name="connsiteY41199" fmla="*/ 278972 h 6557032"/>
              <a:gd name="connsiteX41200" fmla="*/ 2700462 w 4610101"/>
              <a:gd name="connsiteY41200" fmla="*/ 276001 h 6557032"/>
              <a:gd name="connsiteX41201" fmla="*/ 2693174 w 4610101"/>
              <a:gd name="connsiteY41201" fmla="*/ 277823 h 6557032"/>
              <a:gd name="connsiteX41202" fmla="*/ 2698640 w 4610101"/>
              <a:gd name="connsiteY41202" fmla="*/ 265068 h 6557032"/>
              <a:gd name="connsiteX41203" fmla="*/ 2704106 w 4610101"/>
              <a:gd name="connsiteY41203" fmla="*/ 272356 h 6557032"/>
              <a:gd name="connsiteX41204" fmla="*/ 2705929 w 4610101"/>
              <a:gd name="connsiteY41204" fmla="*/ 261423 h 6557032"/>
              <a:gd name="connsiteX41205" fmla="*/ 2694996 w 4610101"/>
              <a:gd name="connsiteY41205" fmla="*/ 259601 h 6557032"/>
              <a:gd name="connsiteX41206" fmla="*/ 2691253 w 4610101"/>
              <a:gd name="connsiteY41206" fmla="*/ 268023 h 6557032"/>
              <a:gd name="connsiteX41207" fmla="*/ 2690213 w 4610101"/>
              <a:gd name="connsiteY41207" fmla="*/ 260740 h 6557032"/>
              <a:gd name="connsiteX41208" fmla="*/ 2682240 w 4610101"/>
              <a:gd name="connsiteY41208" fmla="*/ 254135 h 6557032"/>
              <a:gd name="connsiteX41209" fmla="*/ 2681764 w 4610101"/>
              <a:gd name="connsiteY41209" fmla="*/ 255469 h 6557032"/>
              <a:gd name="connsiteX41210" fmla="*/ 2661741 w 4610101"/>
              <a:gd name="connsiteY41210" fmla="*/ 235001 h 6557032"/>
              <a:gd name="connsiteX41211" fmla="*/ 2641705 w 4610101"/>
              <a:gd name="connsiteY41211" fmla="*/ 231821 h 6557032"/>
              <a:gd name="connsiteX41212" fmla="*/ 2640330 w 4610101"/>
              <a:gd name="connsiteY41212" fmla="*/ 230446 h 6557032"/>
              <a:gd name="connsiteX41213" fmla="*/ 2640330 w 4610101"/>
              <a:gd name="connsiteY41213" fmla="*/ 231603 h 6557032"/>
              <a:gd name="connsiteX41214" fmla="*/ 2633042 w 4610101"/>
              <a:gd name="connsiteY41214" fmla="*/ 230446 h 6557032"/>
              <a:gd name="connsiteX41215" fmla="*/ 2640330 w 4610101"/>
              <a:gd name="connsiteY41215" fmla="*/ 235913 h 6557032"/>
              <a:gd name="connsiteX41216" fmla="*/ 2640331 w 4610101"/>
              <a:gd name="connsiteY41216" fmla="*/ 233179 h 6557032"/>
              <a:gd name="connsiteX41217" fmla="*/ 2640330 w 4610101"/>
              <a:gd name="connsiteY41217" fmla="*/ 231603 h 6557032"/>
              <a:gd name="connsiteX41218" fmla="*/ 2641705 w 4610101"/>
              <a:gd name="connsiteY41218" fmla="*/ 231821 h 6557032"/>
              <a:gd name="connsiteX41219" fmla="*/ 2643975 w 4610101"/>
              <a:gd name="connsiteY41219" fmla="*/ 234091 h 6557032"/>
              <a:gd name="connsiteX41220" fmla="*/ 2636686 w 4610101"/>
              <a:gd name="connsiteY41220" fmla="*/ 245024 h 6557032"/>
              <a:gd name="connsiteX41221" fmla="*/ 2640330 w 4610101"/>
              <a:gd name="connsiteY41221" fmla="*/ 243202 h 6557032"/>
              <a:gd name="connsiteX41222" fmla="*/ 2634864 w 4610101"/>
              <a:gd name="connsiteY41222" fmla="*/ 252313 h 6557032"/>
              <a:gd name="connsiteX41223" fmla="*/ 2629397 w 4610101"/>
              <a:gd name="connsiteY41223" fmla="*/ 248668 h 6557032"/>
              <a:gd name="connsiteX41224" fmla="*/ 2623931 w 4610101"/>
              <a:gd name="connsiteY41224" fmla="*/ 257779 h 6557032"/>
              <a:gd name="connsiteX41225" fmla="*/ 2623931 w 4610101"/>
              <a:gd name="connsiteY41225" fmla="*/ 248668 h 6557032"/>
              <a:gd name="connsiteX41226" fmla="*/ 2618464 w 4610101"/>
              <a:gd name="connsiteY41226" fmla="*/ 250490 h 6557032"/>
              <a:gd name="connsiteX41227" fmla="*/ 2616158 w 4610101"/>
              <a:gd name="connsiteY41227" fmla="*/ 278164 h 6557032"/>
              <a:gd name="connsiteX41228" fmla="*/ 2622898 w 4610101"/>
              <a:gd name="connsiteY41228" fmla="*/ 280114 h 6557032"/>
              <a:gd name="connsiteX41229" fmla="*/ 2612087 w 4610101"/>
              <a:gd name="connsiteY41229" fmla="*/ 281922 h 6557032"/>
              <a:gd name="connsiteX41230" fmla="*/ 2589310 w 4610101"/>
              <a:gd name="connsiteY41230" fmla="*/ 301511 h 6557032"/>
              <a:gd name="connsiteX41231" fmla="*/ 2582021 w 4610101"/>
              <a:gd name="connsiteY41231" fmla="*/ 301511 h 6557032"/>
              <a:gd name="connsiteX41232" fmla="*/ 2585665 w 4610101"/>
              <a:gd name="connsiteY41232" fmla="*/ 328844 h 6557032"/>
              <a:gd name="connsiteX41233" fmla="*/ 2592954 w 4610101"/>
              <a:gd name="connsiteY41233" fmla="*/ 327022 h 6557032"/>
              <a:gd name="connsiteX41234" fmla="*/ 2585665 w 4610101"/>
              <a:gd name="connsiteY41234" fmla="*/ 336133 h 6557032"/>
              <a:gd name="connsiteX41235" fmla="*/ 2578832 w 4610101"/>
              <a:gd name="connsiteY41235" fmla="*/ 323604 h 6557032"/>
              <a:gd name="connsiteX41236" fmla="*/ 2572341 w 4610101"/>
              <a:gd name="connsiteY41236" fmla="*/ 316031 h 6557032"/>
              <a:gd name="connsiteX41237" fmla="*/ 2572910 w 4610101"/>
              <a:gd name="connsiteY41237" fmla="*/ 315177 h 6557032"/>
              <a:gd name="connsiteX41238" fmla="*/ 2569266 w 4610101"/>
              <a:gd name="connsiteY41238" fmla="*/ 312444 h 6557032"/>
              <a:gd name="connsiteX41239" fmla="*/ 2572341 w 4610101"/>
              <a:gd name="connsiteY41239" fmla="*/ 316031 h 6557032"/>
              <a:gd name="connsiteX41240" fmla="*/ 2571088 w 4610101"/>
              <a:gd name="connsiteY41240" fmla="*/ 317911 h 6557032"/>
              <a:gd name="connsiteX41241" fmla="*/ 2567443 w 4610101"/>
              <a:gd name="connsiteY41241" fmla="*/ 316089 h 6557032"/>
              <a:gd name="connsiteX41242" fmla="*/ 2569266 w 4610101"/>
              <a:gd name="connsiteY41242" fmla="*/ 323377 h 6557032"/>
              <a:gd name="connsiteX41243" fmla="*/ 2571088 w 4610101"/>
              <a:gd name="connsiteY41243" fmla="*/ 321555 h 6557032"/>
              <a:gd name="connsiteX41244" fmla="*/ 2565621 w 4610101"/>
              <a:gd name="connsiteY41244" fmla="*/ 354354 h 6557032"/>
              <a:gd name="connsiteX41245" fmla="*/ 2563799 w 4610101"/>
              <a:gd name="connsiteY41245" fmla="*/ 352532 h 6557032"/>
              <a:gd name="connsiteX41246" fmla="*/ 2554688 w 4610101"/>
              <a:gd name="connsiteY41246" fmla="*/ 372576 h 6557032"/>
              <a:gd name="connsiteX41247" fmla="*/ 2552866 w 4610101"/>
              <a:gd name="connsiteY41247" fmla="*/ 370754 h 6557032"/>
              <a:gd name="connsiteX41248" fmla="*/ 2549222 w 4610101"/>
              <a:gd name="connsiteY41248" fmla="*/ 372576 h 6557032"/>
              <a:gd name="connsiteX41249" fmla="*/ 2551044 w 4610101"/>
              <a:gd name="connsiteY41249" fmla="*/ 354354 h 6557032"/>
              <a:gd name="connsiteX41250" fmla="*/ 2554688 w 4610101"/>
              <a:gd name="connsiteY41250" fmla="*/ 356176 h 6557032"/>
              <a:gd name="connsiteX41251" fmla="*/ 2551955 w 4610101"/>
              <a:gd name="connsiteY41251" fmla="*/ 348888 h 6557032"/>
              <a:gd name="connsiteX41252" fmla="*/ 2551011 w 4610101"/>
              <a:gd name="connsiteY41252" fmla="*/ 348678 h 6557032"/>
              <a:gd name="connsiteX41253" fmla="*/ 2549678 w 4610101"/>
              <a:gd name="connsiteY41253" fmla="*/ 340232 h 6557032"/>
              <a:gd name="connsiteX41254" fmla="*/ 2551044 w 4610101"/>
              <a:gd name="connsiteY41254" fmla="*/ 328844 h 6557032"/>
              <a:gd name="connsiteX41255" fmla="*/ 2545577 w 4610101"/>
              <a:gd name="connsiteY41255" fmla="*/ 330666 h 6557032"/>
              <a:gd name="connsiteX41256" fmla="*/ 2549222 w 4610101"/>
              <a:gd name="connsiteY41256" fmla="*/ 327022 h 6557032"/>
              <a:gd name="connsiteX41257" fmla="*/ 2546489 w 4610101"/>
              <a:gd name="connsiteY41257" fmla="*/ 326793 h 6557032"/>
              <a:gd name="connsiteX41258" fmla="*/ 2544392 w 4610101"/>
              <a:gd name="connsiteY41258" fmla="*/ 325570 h 6557032"/>
              <a:gd name="connsiteX41259" fmla="*/ 2547400 w 4610101"/>
              <a:gd name="connsiteY41259" fmla="*/ 305155 h 6557032"/>
              <a:gd name="connsiteX41260" fmla="*/ 2536466 w 4610101"/>
              <a:gd name="connsiteY41260" fmla="*/ 303333 h 6557032"/>
              <a:gd name="connsiteX41261" fmla="*/ 2534644 w 4610101"/>
              <a:gd name="connsiteY41261" fmla="*/ 312444 h 6557032"/>
              <a:gd name="connsiteX41262" fmla="*/ 2531000 w 4610101"/>
              <a:gd name="connsiteY41262" fmla="*/ 301511 h 6557032"/>
              <a:gd name="connsiteX41263" fmla="*/ 2523711 w 4610101"/>
              <a:gd name="connsiteY41263" fmla="*/ 308800 h 6557032"/>
              <a:gd name="connsiteX41264" fmla="*/ 2532822 w 4610101"/>
              <a:gd name="connsiteY41264" fmla="*/ 323377 h 6557032"/>
              <a:gd name="connsiteX41265" fmla="*/ 2534644 w 4610101"/>
              <a:gd name="connsiteY41265" fmla="*/ 314266 h 6557032"/>
              <a:gd name="connsiteX41266" fmla="*/ 2523711 w 4610101"/>
              <a:gd name="connsiteY41266" fmla="*/ 337954 h 6557032"/>
              <a:gd name="connsiteX41267" fmla="*/ 2534644 w 4610101"/>
              <a:gd name="connsiteY41267" fmla="*/ 341598 h 6557032"/>
              <a:gd name="connsiteX41268" fmla="*/ 2532822 w 4610101"/>
              <a:gd name="connsiteY41268" fmla="*/ 348888 h 6557032"/>
              <a:gd name="connsiteX41269" fmla="*/ 2538289 w 4610101"/>
              <a:gd name="connsiteY41269" fmla="*/ 350710 h 6557032"/>
              <a:gd name="connsiteX41270" fmla="*/ 2531000 w 4610101"/>
              <a:gd name="connsiteY41270" fmla="*/ 361642 h 6557032"/>
              <a:gd name="connsiteX41271" fmla="*/ 2525534 w 4610101"/>
              <a:gd name="connsiteY41271" fmla="*/ 350710 h 6557032"/>
              <a:gd name="connsiteX41272" fmla="*/ 2518245 w 4610101"/>
              <a:gd name="connsiteY41272" fmla="*/ 354354 h 6557032"/>
              <a:gd name="connsiteX41273" fmla="*/ 2516423 w 4610101"/>
              <a:gd name="connsiteY41273" fmla="*/ 365059 h 6557032"/>
              <a:gd name="connsiteX41274" fmla="*/ 2515227 w 4610101"/>
              <a:gd name="connsiteY41274" fmla="*/ 371185 h 6557032"/>
              <a:gd name="connsiteX41275" fmla="*/ 2515056 w 4610101"/>
              <a:gd name="connsiteY41275" fmla="*/ 371209 h 6557032"/>
              <a:gd name="connsiteX41276" fmla="*/ 2514600 w 4610101"/>
              <a:gd name="connsiteY41276" fmla="*/ 374397 h 6557032"/>
              <a:gd name="connsiteX41277" fmla="*/ 2515227 w 4610101"/>
              <a:gd name="connsiteY41277" fmla="*/ 371185 h 6557032"/>
              <a:gd name="connsiteX41278" fmla="*/ 2518245 w 4610101"/>
              <a:gd name="connsiteY41278" fmla="*/ 370754 h 6557032"/>
              <a:gd name="connsiteX41279" fmla="*/ 2523711 w 4610101"/>
              <a:gd name="connsiteY41279" fmla="*/ 396264 h 6557032"/>
              <a:gd name="connsiteX41280" fmla="*/ 2525534 w 4610101"/>
              <a:gd name="connsiteY41280" fmla="*/ 387152 h 6557032"/>
              <a:gd name="connsiteX41281" fmla="*/ 2523711 w 4610101"/>
              <a:gd name="connsiteY41281" fmla="*/ 390797 h 6557032"/>
              <a:gd name="connsiteX41282" fmla="*/ 2523711 w 4610101"/>
              <a:gd name="connsiteY41282" fmla="*/ 370754 h 6557032"/>
              <a:gd name="connsiteX41283" fmla="*/ 2531000 w 4610101"/>
              <a:gd name="connsiteY41283" fmla="*/ 388976 h 6557032"/>
              <a:gd name="connsiteX41284" fmla="*/ 2529178 w 4610101"/>
              <a:gd name="connsiteY41284" fmla="*/ 368932 h 6557032"/>
              <a:gd name="connsiteX41285" fmla="*/ 2534644 w 4610101"/>
              <a:gd name="connsiteY41285" fmla="*/ 374397 h 6557032"/>
              <a:gd name="connsiteX41286" fmla="*/ 2538289 w 4610101"/>
              <a:gd name="connsiteY41286" fmla="*/ 359821 h 6557032"/>
              <a:gd name="connsiteX41287" fmla="*/ 2543755 w 4610101"/>
              <a:gd name="connsiteY41287" fmla="*/ 361642 h 6557032"/>
              <a:gd name="connsiteX41288" fmla="*/ 2536466 w 4610101"/>
              <a:gd name="connsiteY41288" fmla="*/ 368932 h 6557032"/>
              <a:gd name="connsiteX41289" fmla="*/ 2534644 w 4610101"/>
              <a:gd name="connsiteY41289" fmla="*/ 365287 h 6557032"/>
              <a:gd name="connsiteX41290" fmla="*/ 2538289 w 4610101"/>
              <a:gd name="connsiteY41290" fmla="*/ 376220 h 6557032"/>
              <a:gd name="connsiteX41291" fmla="*/ 2565621 w 4610101"/>
              <a:gd name="connsiteY41291" fmla="*/ 372576 h 6557032"/>
              <a:gd name="connsiteX41292" fmla="*/ 2560155 w 4610101"/>
              <a:gd name="connsiteY41292" fmla="*/ 372576 h 6557032"/>
              <a:gd name="connsiteX41293" fmla="*/ 2561977 w 4610101"/>
              <a:gd name="connsiteY41293" fmla="*/ 363465 h 6557032"/>
              <a:gd name="connsiteX41294" fmla="*/ 2572910 w 4610101"/>
              <a:gd name="connsiteY41294" fmla="*/ 376220 h 6557032"/>
              <a:gd name="connsiteX41295" fmla="*/ 2574732 w 4610101"/>
              <a:gd name="connsiteY41295" fmla="*/ 385331 h 6557032"/>
              <a:gd name="connsiteX41296" fmla="*/ 2580199 w 4610101"/>
              <a:gd name="connsiteY41296" fmla="*/ 367109 h 6557032"/>
              <a:gd name="connsiteX41297" fmla="*/ 2576554 w 4610101"/>
              <a:gd name="connsiteY41297" fmla="*/ 368932 h 6557032"/>
              <a:gd name="connsiteX41298" fmla="*/ 2578377 w 4610101"/>
              <a:gd name="connsiteY41298" fmla="*/ 357998 h 6557032"/>
              <a:gd name="connsiteX41299" fmla="*/ 2600243 w 4610101"/>
              <a:gd name="connsiteY41299" fmla="*/ 343421 h 6557032"/>
              <a:gd name="connsiteX41300" fmla="*/ 2594776 w 4610101"/>
              <a:gd name="connsiteY41300" fmla="*/ 356176 h 6557032"/>
              <a:gd name="connsiteX41301" fmla="*/ 2600243 w 4610101"/>
              <a:gd name="connsiteY41301" fmla="*/ 356176 h 6557032"/>
              <a:gd name="connsiteX41302" fmla="*/ 2607531 w 4610101"/>
              <a:gd name="connsiteY41302" fmla="*/ 341598 h 6557032"/>
              <a:gd name="connsiteX41303" fmla="*/ 2623931 w 4610101"/>
              <a:gd name="connsiteY41303" fmla="*/ 370754 h 6557032"/>
              <a:gd name="connsiteX41304" fmla="*/ 2633042 w 4610101"/>
              <a:gd name="connsiteY41304" fmla="*/ 357998 h 6557032"/>
              <a:gd name="connsiteX41305" fmla="*/ 2634864 w 4610101"/>
              <a:gd name="connsiteY41305" fmla="*/ 385331 h 6557032"/>
              <a:gd name="connsiteX41306" fmla="*/ 2636686 w 4610101"/>
              <a:gd name="connsiteY41306" fmla="*/ 372576 h 6557032"/>
              <a:gd name="connsiteX41307" fmla="*/ 2643975 w 4610101"/>
              <a:gd name="connsiteY41307" fmla="*/ 385331 h 6557032"/>
              <a:gd name="connsiteX41308" fmla="*/ 2645797 w 4610101"/>
              <a:gd name="connsiteY41308" fmla="*/ 374397 h 6557032"/>
              <a:gd name="connsiteX41309" fmla="*/ 2653086 w 4610101"/>
              <a:gd name="connsiteY41309" fmla="*/ 385331 h 6557032"/>
              <a:gd name="connsiteX41310" fmla="*/ 2654908 w 4610101"/>
              <a:gd name="connsiteY41310" fmla="*/ 356176 h 6557032"/>
              <a:gd name="connsiteX41311" fmla="*/ 2665841 w 4610101"/>
              <a:gd name="connsiteY41311" fmla="*/ 399908 h 6557032"/>
              <a:gd name="connsiteX41312" fmla="*/ 2651263 w 4610101"/>
              <a:gd name="connsiteY41312" fmla="*/ 388976 h 6557032"/>
              <a:gd name="connsiteX41313" fmla="*/ 2649441 w 4610101"/>
              <a:gd name="connsiteY41313" fmla="*/ 398085 h 6557032"/>
              <a:gd name="connsiteX41314" fmla="*/ 2645797 w 4610101"/>
              <a:gd name="connsiteY41314" fmla="*/ 396264 h 6557032"/>
              <a:gd name="connsiteX41315" fmla="*/ 2645797 w 4610101"/>
              <a:gd name="connsiteY41315" fmla="*/ 403552 h 6557032"/>
              <a:gd name="connsiteX41316" fmla="*/ 2642153 w 4610101"/>
              <a:gd name="connsiteY41316" fmla="*/ 392620 h 6557032"/>
              <a:gd name="connsiteX41317" fmla="*/ 2638508 w 4610101"/>
              <a:gd name="connsiteY41317" fmla="*/ 394441 h 6557032"/>
              <a:gd name="connsiteX41318" fmla="*/ 2656730 w 4610101"/>
              <a:gd name="connsiteY41318" fmla="*/ 409019 h 6557032"/>
              <a:gd name="connsiteX41319" fmla="*/ 2658552 w 4610101"/>
              <a:gd name="connsiteY41319" fmla="*/ 423596 h 6557032"/>
              <a:gd name="connsiteX41320" fmla="*/ 2651263 w 4610101"/>
              <a:gd name="connsiteY41320" fmla="*/ 423596 h 6557032"/>
              <a:gd name="connsiteX41321" fmla="*/ 2654908 w 4610101"/>
              <a:gd name="connsiteY41321" fmla="*/ 429063 h 6557032"/>
              <a:gd name="connsiteX41322" fmla="*/ 2642153 w 4610101"/>
              <a:gd name="connsiteY41322" fmla="*/ 432707 h 6557032"/>
              <a:gd name="connsiteX41323" fmla="*/ 2653086 w 4610101"/>
              <a:gd name="connsiteY41323" fmla="*/ 434530 h 6557032"/>
              <a:gd name="connsiteX41324" fmla="*/ 2651263 w 4610101"/>
              <a:gd name="connsiteY41324" fmla="*/ 441819 h 6557032"/>
              <a:gd name="connsiteX41325" fmla="*/ 2660374 w 4610101"/>
              <a:gd name="connsiteY41325" fmla="*/ 434530 h 6557032"/>
              <a:gd name="connsiteX41326" fmla="*/ 2665841 w 4610101"/>
              <a:gd name="connsiteY41326" fmla="*/ 441819 h 6557032"/>
              <a:gd name="connsiteX41327" fmla="*/ 2662197 w 4610101"/>
              <a:gd name="connsiteY41327" fmla="*/ 427240 h 6557032"/>
              <a:gd name="connsiteX41328" fmla="*/ 2673130 w 4610101"/>
              <a:gd name="connsiteY41328" fmla="*/ 450928 h 6557032"/>
              <a:gd name="connsiteX41329" fmla="*/ 2665841 w 4610101"/>
              <a:gd name="connsiteY41329" fmla="*/ 458218 h 6557032"/>
              <a:gd name="connsiteX41330" fmla="*/ 2671307 w 4610101"/>
              <a:gd name="connsiteY41330" fmla="*/ 460039 h 6557032"/>
              <a:gd name="connsiteX41331" fmla="*/ 2676774 w 4610101"/>
              <a:gd name="connsiteY41331" fmla="*/ 427240 h 6557032"/>
              <a:gd name="connsiteX41332" fmla="*/ 2680418 w 4610101"/>
              <a:gd name="connsiteY41332" fmla="*/ 452751 h 6557032"/>
              <a:gd name="connsiteX41333" fmla="*/ 2691351 w 4610101"/>
              <a:gd name="connsiteY41333" fmla="*/ 445463 h 6557032"/>
              <a:gd name="connsiteX41334" fmla="*/ 2682240 w 4610101"/>
              <a:gd name="connsiteY41334" fmla="*/ 456395 h 6557032"/>
              <a:gd name="connsiteX41335" fmla="*/ 2689529 w 4610101"/>
              <a:gd name="connsiteY41335" fmla="*/ 467328 h 6557032"/>
              <a:gd name="connsiteX41336" fmla="*/ 2687707 w 4610101"/>
              <a:gd name="connsiteY41336" fmla="*/ 461862 h 6557032"/>
              <a:gd name="connsiteX41337" fmla="*/ 2682240 w 4610101"/>
              <a:gd name="connsiteY41337" fmla="*/ 461862 h 6557032"/>
              <a:gd name="connsiteX41338" fmla="*/ 2689529 w 4610101"/>
              <a:gd name="connsiteY41338" fmla="*/ 476439 h 6557032"/>
              <a:gd name="connsiteX41339" fmla="*/ 2700462 w 4610101"/>
              <a:gd name="connsiteY41339" fmla="*/ 469150 h 6557032"/>
              <a:gd name="connsiteX41340" fmla="*/ 2702284 w 4610101"/>
              <a:gd name="connsiteY41340" fmla="*/ 452751 h 6557032"/>
              <a:gd name="connsiteX41341" fmla="*/ 2713217 w 4610101"/>
              <a:gd name="connsiteY41341" fmla="*/ 456395 h 6557032"/>
              <a:gd name="connsiteX41342" fmla="*/ 2713217 w 4610101"/>
              <a:gd name="connsiteY41342" fmla="*/ 466144 h 6557032"/>
              <a:gd name="connsiteX41343" fmla="*/ 2711395 w 4610101"/>
              <a:gd name="connsiteY41343" fmla="*/ 467328 h 6557032"/>
              <a:gd name="connsiteX41344" fmla="*/ 2713217 w 4610101"/>
              <a:gd name="connsiteY41344" fmla="*/ 468191 h 6557032"/>
              <a:gd name="connsiteX41345" fmla="*/ 2713217 w 4610101"/>
              <a:gd name="connsiteY41345" fmla="*/ 474618 h 6557032"/>
              <a:gd name="connsiteX41346" fmla="*/ 2716862 w 4610101"/>
              <a:gd name="connsiteY41346" fmla="*/ 476439 h 6557032"/>
              <a:gd name="connsiteX41347" fmla="*/ 2718684 w 4610101"/>
              <a:gd name="connsiteY41347" fmla="*/ 472795 h 6557032"/>
              <a:gd name="connsiteX41348" fmla="*/ 2715723 w 4610101"/>
              <a:gd name="connsiteY41348" fmla="*/ 469378 h 6557032"/>
              <a:gd name="connsiteX41349" fmla="*/ 2713217 w 4610101"/>
              <a:gd name="connsiteY41349" fmla="*/ 468191 h 6557032"/>
              <a:gd name="connsiteX41350" fmla="*/ 2713217 w 4610101"/>
              <a:gd name="connsiteY41350" fmla="*/ 467328 h 6557032"/>
              <a:gd name="connsiteX41351" fmla="*/ 2713217 w 4610101"/>
              <a:gd name="connsiteY41351" fmla="*/ 466144 h 6557032"/>
              <a:gd name="connsiteX41352" fmla="*/ 2715951 w 4610101"/>
              <a:gd name="connsiteY41352" fmla="*/ 464368 h 6557032"/>
              <a:gd name="connsiteX41353" fmla="*/ 2720506 w 4610101"/>
              <a:gd name="connsiteY41353" fmla="*/ 460039 h 6557032"/>
              <a:gd name="connsiteX41354" fmla="*/ 2724150 w 4610101"/>
              <a:gd name="connsiteY41354" fmla="*/ 474618 h 6557032"/>
              <a:gd name="connsiteX41355" fmla="*/ 2729617 w 4610101"/>
              <a:gd name="connsiteY41355" fmla="*/ 472795 h 6557032"/>
              <a:gd name="connsiteX41356" fmla="*/ 2735084 w 4610101"/>
              <a:gd name="connsiteY41356" fmla="*/ 458218 h 6557032"/>
              <a:gd name="connsiteX41357" fmla="*/ 2738728 w 4610101"/>
              <a:gd name="connsiteY41357" fmla="*/ 467328 h 6557032"/>
              <a:gd name="connsiteX41358" fmla="*/ 2735084 w 4610101"/>
              <a:gd name="connsiteY41358" fmla="*/ 465506 h 6557032"/>
              <a:gd name="connsiteX41359" fmla="*/ 2746016 w 4610101"/>
              <a:gd name="connsiteY41359" fmla="*/ 476439 h 6557032"/>
              <a:gd name="connsiteX41360" fmla="*/ 2751483 w 4610101"/>
              <a:gd name="connsiteY41360" fmla="*/ 472795 h 6557032"/>
              <a:gd name="connsiteX41361" fmla="*/ 2766060 w 4610101"/>
              <a:gd name="connsiteY41361" fmla="*/ 483728 h 6557032"/>
              <a:gd name="connsiteX41362" fmla="*/ 2751483 w 4610101"/>
              <a:gd name="connsiteY41362" fmla="*/ 487373 h 6557032"/>
              <a:gd name="connsiteX41363" fmla="*/ 2747839 w 4610101"/>
              <a:gd name="connsiteY41363" fmla="*/ 478262 h 6557032"/>
              <a:gd name="connsiteX41364" fmla="*/ 2746016 w 4610101"/>
              <a:gd name="connsiteY41364" fmla="*/ 511061 h 6557032"/>
              <a:gd name="connsiteX41365" fmla="*/ 2740550 w 4610101"/>
              <a:gd name="connsiteY41365" fmla="*/ 500127 h 6557032"/>
              <a:gd name="connsiteX41366" fmla="*/ 2733261 w 4610101"/>
              <a:gd name="connsiteY41366" fmla="*/ 520171 h 6557032"/>
              <a:gd name="connsiteX41367" fmla="*/ 2729617 w 4610101"/>
              <a:gd name="connsiteY41367" fmla="*/ 518349 h 6557032"/>
              <a:gd name="connsiteX41368" fmla="*/ 2727795 w 4610101"/>
              <a:gd name="connsiteY41368" fmla="*/ 503771 h 6557032"/>
              <a:gd name="connsiteX41369" fmla="*/ 2725973 w 4610101"/>
              <a:gd name="connsiteY41369" fmla="*/ 511061 h 6557032"/>
              <a:gd name="connsiteX41370" fmla="*/ 2718684 w 4610101"/>
              <a:gd name="connsiteY41370" fmla="*/ 509238 h 6557032"/>
              <a:gd name="connsiteX41371" fmla="*/ 2722328 w 4610101"/>
              <a:gd name="connsiteY41371" fmla="*/ 523815 h 6557032"/>
              <a:gd name="connsiteX41372" fmla="*/ 2718684 w 4610101"/>
              <a:gd name="connsiteY41372" fmla="*/ 525638 h 6557032"/>
              <a:gd name="connsiteX41373" fmla="*/ 2715040 w 4610101"/>
              <a:gd name="connsiteY41373" fmla="*/ 518349 h 6557032"/>
              <a:gd name="connsiteX41374" fmla="*/ 2713217 w 4610101"/>
              <a:gd name="connsiteY41374" fmla="*/ 525638 h 6557032"/>
              <a:gd name="connsiteX41375" fmla="*/ 2711395 w 4610101"/>
              <a:gd name="connsiteY41375" fmla="*/ 523815 h 6557032"/>
              <a:gd name="connsiteX41376" fmla="*/ 2709573 w 4610101"/>
              <a:gd name="connsiteY41376" fmla="*/ 536571 h 6557032"/>
              <a:gd name="connsiteX41377" fmla="*/ 2707751 w 4610101"/>
              <a:gd name="connsiteY41377" fmla="*/ 525638 h 6557032"/>
              <a:gd name="connsiteX41378" fmla="*/ 2698640 w 4610101"/>
              <a:gd name="connsiteY41378" fmla="*/ 573014 h 6557032"/>
              <a:gd name="connsiteX41379" fmla="*/ 2696818 w 4610101"/>
              <a:gd name="connsiteY41379" fmla="*/ 571192 h 6557032"/>
              <a:gd name="connsiteX41380" fmla="*/ 2696818 w 4610101"/>
              <a:gd name="connsiteY41380" fmla="*/ 578481 h 6557032"/>
              <a:gd name="connsiteX41381" fmla="*/ 2694996 w 4610101"/>
              <a:gd name="connsiteY41381" fmla="*/ 573014 h 6557032"/>
              <a:gd name="connsiteX41382" fmla="*/ 2693174 w 4610101"/>
              <a:gd name="connsiteY41382" fmla="*/ 576658 h 6557032"/>
              <a:gd name="connsiteX41383" fmla="*/ 2691351 w 4610101"/>
              <a:gd name="connsiteY41383" fmla="*/ 563904 h 6557032"/>
              <a:gd name="connsiteX41384" fmla="*/ 2684063 w 4610101"/>
              <a:gd name="connsiteY41384" fmla="*/ 573014 h 6557032"/>
              <a:gd name="connsiteX41385" fmla="*/ 2682240 w 4610101"/>
              <a:gd name="connsiteY41385" fmla="*/ 569370 h 6557032"/>
              <a:gd name="connsiteX41386" fmla="*/ 2680646 w 4610101"/>
              <a:gd name="connsiteY41386" fmla="*/ 569598 h 6557032"/>
              <a:gd name="connsiteX41387" fmla="*/ 2680558 w 4610101"/>
              <a:gd name="connsiteY41387" fmla="*/ 570211 h 6557032"/>
              <a:gd name="connsiteX41388" fmla="*/ 2680418 w 4610101"/>
              <a:gd name="connsiteY41388" fmla="*/ 569370 h 6557032"/>
              <a:gd name="connsiteX41389" fmla="*/ 2673130 w 4610101"/>
              <a:gd name="connsiteY41389" fmla="*/ 578481 h 6557032"/>
              <a:gd name="connsiteX41390" fmla="*/ 2662197 w 4610101"/>
              <a:gd name="connsiteY41390" fmla="*/ 569370 h 6557032"/>
              <a:gd name="connsiteX41391" fmla="*/ 2662828 w 4610101"/>
              <a:gd name="connsiteY41391" fmla="*/ 566217 h 6557032"/>
              <a:gd name="connsiteX41392" fmla="*/ 2667663 w 4610101"/>
              <a:gd name="connsiteY41392" fmla="*/ 569370 h 6557032"/>
              <a:gd name="connsiteX41393" fmla="*/ 2664019 w 4610101"/>
              <a:gd name="connsiteY41393" fmla="*/ 558437 h 6557032"/>
              <a:gd name="connsiteX41394" fmla="*/ 2663651 w 4610101"/>
              <a:gd name="connsiteY41394" fmla="*/ 560175 h 6557032"/>
              <a:gd name="connsiteX41395" fmla="*/ 2658097 w 4610101"/>
              <a:gd name="connsiteY41395" fmla="*/ 558893 h 6557032"/>
              <a:gd name="connsiteX41396" fmla="*/ 2654908 w 4610101"/>
              <a:gd name="connsiteY41396" fmla="*/ 554792 h 6557032"/>
              <a:gd name="connsiteX41397" fmla="*/ 2654908 w 4610101"/>
              <a:gd name="connsiteY41397" fmla="*/ 569370 h 6557032"/>
              <a:gd name="connsiteX41398" fmla="*/ 2662197 w 4610101"/>
              <a:gd name="connsiteY41398" fmla="*/ 571192 h 6557032"/>
              <a:gd name="connsiteX41399" fmla="*/ 2660374 w 4610101"/>
              <a:gd name="connsiteY41399" fmla="*/ 576658 h 6557032"/>
              <a:gd name="connsiteX41400" fmla="*/ 2649441 w 4610101"/>
              <a:gd name="connsiteY41400" fmla="*/ 576658 h 6557032"/>
              <a:gd name="connsiteX41401" fmla="*/ 2647619 w 4610101"/>
              <a:gd name="connsiteY41401" fmla="*/ 571192 h 6557032"/>
              <a:gd name="connsiteX41402" fmla="*/ 2636686 w 4610101"/>
              <a:gd name="connsiteY41402" fmla="*/ 582125 h 6557032"/>
              <a:gd name="connsiteX41403" fmla="*/ 2631219 w 4610101"/>
              <a:gd name="connsiteY41403" fmla="*/ 578481 h 6557032"/>
              <a:gd name="connsiteX41404" fmla="*/ 2627575 w 4610101"/>
              <a:gd name="connsiteY41404" fmla="*/ 585769 h 6557032"/>
              <a:gd name="connsiteX41405" fmla="*/ 2625753 w 4610101"/>
              <a:gd name="connsiteY41405" fmla="*/ 580303 h 6557032"/>
              <a:gd name="connsiteX41406" fmla="*/ 2616642 w 4610101"/>
              <a:gd name="connsiteY41406" fmla="*/ 569370 h 6557032"/>
              <a:gd name="connsiteX41407" fmla="*/ 2615428 w 4610101"/>
              <a:gd name="connsiteY41407" fmla="*/ 568763 h 6557032"/>
              <a:gd name="connsiteX41408" fmla="*/ 2614820 w 4610101"/>
              <a:gd name="connsiteY41408" fmla="*/ 565725 h 6557032"/>
              <a:gd name="connsiteX41409" fmla="*/ 2613909 w 4610101"/>
              <a:gd name="connsiteY41409" fmla="*/ 568004 h 6557032"/>
              <a:gd name="connsiteX41410" fmla="*/ 2612998 w 4610101"/>
              <a:gd name="connsiteY41410" fmla="*/ 567548 h 6557032"/>
              <a:gd name="connsiteX41411" fmla="*/ 2613210 w 4610101"/>
              <a:gd name="connsiteY41411" fmla="*/ 569750 h 6557032"/>
              <a:gd name="connsiteX41412" fmla="*/ 2612998 w 4610101"/>
              <a:gd name="connsiteY41412" fmla="*/ 570281 h 6557032"/>
              <a:gd name="connsiteX41413" fmla="*/ 2613298 w 4610101"/>
              <a:gd name="connsiteY41413" fmla="*/ 570655 h 6557032"/>
              <a:gd name="connsiteX41414" fmla="*/ 2614820 w 4610101"/>
              <a:gd name="connsiteY41414" fmla="*/ 586453 h 6557032"/>
              <a:gd name="connsiteX41415" fmla="*/ 2627575 w 4610101"/>
              <a:gd name="connsiteY41415" fmla="*/ 603991 h 6557032"/>
              <a:gd name="connsiteX41416" fmla="*/ 2627575 w 4610101"/>
              <a:gd name="connsiteY41416" fmla="*/ 614924 h 6557032"/>
              <a:gd name="connsiteX41417" fmla="*/ 2631219 w 4610101"/>
              <a:gd name="connsiteY41417" fmla="*/ 613103 h 6557032"/>
              <a:gd name="connsiteX41418" fmla="*/ 2627575 w 4610101"/>
              <a:gd name="connsiteY41418" fmla="*/ 624035 h 6557032"/>
              <a:gd name="connsiteX41419" fmla="*/ 2616642 w 4610101"/>
              <a:gd name="connsiteY41419" fmla="*/ 614924 h 6557032"/>
              <a:gd name="connsiteX41420" fmla="*/ 2620287 w 4610101"/>
              <a:gd name="connsiteY41420" fmla="*/ 629501 h 6557032"/>
              <a:gd name="connsiteX41421" fmla="*/ 2618464 w 4610101"/>
              <a:gd name="connsiteY41421" fmla="*/ 625857 h 6557032"/>
              <a:gd name="connsiteX41422" fmla="*/ 2616642 w 4610101"/>
              <a:gd name="connsiteY41422" fmla="*/ 627679 h 6557032"/>
              <a:gd name="connsiteX41423" fmla="*/ 2634864 w 4610101"/>
              <a:gd name="connsiteY41423" fmla="*/ 634968 h 6557032"/>
              <a:gd name="connsiteX41424" fmla="*/ 2636686 w 4610101"/>
              <a:gd name="connsiteY41424" fmla="*/ 627679 h 6557032"/>
              <a:gd name="connsiteX41425" fmla="*/ 2660374 w 4610101"/>
              <a:gd name="connsiteY41425" fmla="*/ 629501 h 6557032"/>
              <a:gd name="connsiteX41426" fmla="*/ 2667663 w 4610101"/>
              <a:gd name="connsiteY41426" fmla="*/ 624035 h 6557032"/>
              <a:gd name="connsiteX41427" fmla="*/ 2671307 w 4610101"/>
              <a:gd name="connsiteY41427" fmla="*/ 631324 h 6557032"/>
              <a:gd name="connsiteX41428" fmla="*/ 2660374 w 4610101"/>
              <a:gd name="connsiteY41428" fmla="*/ 638612 h 6557032"/>
              <a:gd name="connsiteX41429" fmla="*/ 2653086 w 4610101"/>
              <a:gd name="connsiteY41429" fmla="*/ 634968 h 6557032"/>
              <a:gd name="connsiteX41430" fmla="*/ 2654908 w 4610101"/>
              <a:gd name="connsiteY41430" fmla="*/ 647723 h 6557032"/>
              <a:gd name="connsiteX41431" fmla="*/ 2645797 w 4610101"/>
              <a:gd name="connsiteY41431" fmla="*/ 636790 h 6557032"/>
              <a:gd name="connsiteX41432" fmla="*/ 2648360 w 4610101"/>
              <a:gd name="connsiteY41432" fmla="*/ 645503 h 6557032"/>
              <a:gd name="connsiteX41433" fmla="*/ 2647798 w 4610101"/>
              <a:gd name="connsiteY41433" fmla="*/ 648569 h 6557032"/>
              <a:gd name="connsiteX41434" fmla="*/ 2645797 w 4610101"/>
              <a:gd name="connsiteY41434" fmla="*/ 645901 h 6557032"/>
              <a:gd name="connsiteX41435" fmla="*/ 2647619 w 4610101"/>
              <a:gd name="connsiteY41435" fmla="*/ 649545 h 6557032"/>
              <a:gd name="connsiteX41436" fmla="*/ 2647798 w 4610101"/>
              <a:gd name="connsiteY41436" fmla="*/ 648569 h 6557032"/>
              <a:gd name="connsiteX41437" fmla="*/ 2656730 w 4610101"/>
              <a:gd name="connsiteY41437" fmla="*/ 660478 h 6557032"/>
              <a:gd name="connsiteX41438" fmla="*/ 2658552 w 4610101"/>
              <a:gd name="connsiteY41438" fmla="*/ 653190 h 6557032"/>
              <a:gd name="connsiteX41439" fmla="*/ 2660374 w 4610101"/>
              <a:gd name="connsiteY41439" fmla="*/ 665945 h 6557032"/>
              <a:gd name="connsiteX41440" fmla="*/ 2642153 w 4610101"/>
              <a:gd name="connsiteY41440" fmla="*/ 656834 h 6557032"/>
              <a:gd name="connsiteX41441" fmla="*/ 2640330 w 4610101"/>
              <a:gd name="connsiteY41441" fmla="*/ 667767 h 6557032"/>
              <a:gd name="connsiteX41442" fmla="*/ 2638508 w 4610101"/>
              <a:gd name="connsiteY41442" fmla="*/ 665945 h 6557032"/>
              <a:gd name="connsiteX41443" fmla="*/ 2656730 w 4610101"/>
              <a:gd name="connsiteY41443" fmla="*/ 702388 h 6557032"/>
              <a:gd name="connsiteX41444" fmla="*/ 2656730 w 4610101"/>
              <a:gd name="connsiteY41444" fmla="*/ 695100 h 6557032"/>
              <a:gd name="connsiteX41445" fmla="*/ 2670624 w 4610101"/>
              <a:gd name="connsiteY41445" fmla="*/ 711727 h 6557032"/>
              <a:gd name="connsiteX41446" fmla="*/ 2673283 w 4610101"/>
              <a:gd name="connsiteY41446" fmla="*/ 726139 h 6557032"/>
              <a:gd name="connsiteX41447" fmla="*/ 2673130 w 4610101"/>
              <a:gd name="connsiteY41447" fmla="*/ 726077 h 6557032"/>
              <a:gd name="connsiteX41448" fmla="*/ 2673294 w 4610101"/>
              <a:gd name="connsiteY41448" fmla="*/ 726200 h 6557032"/>
              <a:gd name="connsiteX41449" fmla="*/ 2674952 w 4610101"/>
              <a:gd name="connsiteY41449" fmla="*/ 735188 h 6557032"/>
              <a:gd name="connsiteX41450" fmla="*/ 2665841 w 4610101"/>
              <a:gd name="connsiteY41450" fmla="*/ 731543 h 6557032"/>
              <a:gd name="connsiteX41451" fmla="*/ 2649441 w 4610101"/>
              <a:gd name="connsiteY41451" fmla="*/ 707855 h 6557032"/>
              <a:gd name="connsiteX41452" fmla="*/ 2656730 w 4610101"/>
              <a:gd name="connsiteY41452" fmla="*/ 718788 h 6557032"/>
              <a:gd name="connsiteX41453" fmla="*/ 2651263 w 4610101"/>
              <a:gd name="connsiteY41453" fmla="*/ 716966 h 6557032"/>
              <a:gd name="connsiteX41454" fmla="*/ 2653086 w 4610101"/>
              <a:gd name="connsiteY41454" fmla="*/ 729721 h 6557032"/>
              <a:gd name="connsiteX41455" fmla="*/ 2642153 w 4610101"/>
              <a:gd name="connsiteY41455" fmla="*/ 715144 h 6557032"/>
              <a:gd name="connsiteX41456" fmla="*/ 2638508 w 4610101"/>
              <a:gd name="connsiteY41456" fmla="*/ 726077 h 6557032"/>
              <a:gd name="connsiteX41457" fmla="*/ 2674952 w 4610101"/>
              <a:gd name="connsiteY41457" fmla="*/ 735188 h 6557032"/>
              <a:gd name="connsiteX41458" fmla="*/ 2678596 w 4610101"/>
              <a:gd name="connsiteY41458" fmla="*/ 740654 h 6557032"/>
              <a:gd name="connsiteX41459" fmla="*/ 2676774 w 4610101"/>
              <a:gd name="connsiteY41459" fmla="*/ 742476 h 6557032"/>
              <a:gd name="connsiteX41460" fmla="*/ 2691351 w 4610101"/>
              <a:gd name="connsiteY41460" fmla="*/ 746121 h 6557032"/>
              <a:gd name="connsiteX41461" fmla="*/ 2684063 w 4610101"/>
              <a:gd name="connsiteY41461" fmla="*/ 738832 h 6557032"/>
              <a:gd name="connsiteX41462" fmla="*/ 2687707 w 4610101"/>
              <a:gd name="connsiteY41462" fmla="*/ 742476 h 6557032"/>
              <a:gd name="connsiteX41463" fmla="*/ 2683152 w 4610101"/>
              <a:gd name="connsiteY41463" fmla="*/ 733594 h 6557032"/>
              <a:gd name="connsiteX41464" fmla="*/ 2673294 w 4610101"/>
              <a:gd name="connsiteY41464" fmla="*/ 726200 h 6557032"/>
              <a:gd name="connsiteX41465" fmla="*/ 2673283 w 4610101"/>
              <a:gd name="connsiteY41465" fmla="*/ 726139 h 6557032"/>
              <a:gd name="connsiteX41466" fmla="*/ 2691124 w 4610101"/>
              <a:gd name="connsiteY41466" fmla="*/ 733366 h 6557032"/>
              <a:gd name="connsiteX41467" fmla="*/ 2702284 w 4610101"/>
              <a:gd name="connsiteY41467" fmla="*/ 746121 h 6557032"/>
              <a:gd name="connsiteX41468" fmla="*/ 2693174 w 4610101"/>
              <a:gd name="connsiteY41468" fmla="*/ 744298 h 6557032"/>
              <a:gd name="connsiteX41469" fmla="*/ 2693174 w 4610101"/>
              <a:gd name="connsiteY41469" fmla="*/ 747943 h 6557032"/>
              <a:gd name="connsiteX41470" fmla="*/ 2707751 w 4610101"/>
              <a:gd name="connsiteY41470" fmla="*/ 746121 h 6557032"/>
              <a:gd name="connsiteX41471" fmla="*/ 2707751 w 4610101"/>
              <a:gd name="connsiteY41471" fmla="*/ 742476 h 6557032"/>
              <a:gd name="connsiteX41472" fmla="*/ 2713217 w 4610101"/>
              <a:gd name="connsiteY41472" fmla="*/ 746121 h 6557032"/>
              <a:gd name="connsiteX41473" fmla="*/ 2707751 w 4610101"/>
              <a:gd name="connsiteY41473" fmla="*/ 747943 h 6557032"/>
              <a:gd name="connsiteX41474" fmla="*/ 2727795 w 4610101"/>
              <a:gd name="connsiteY41474" fmla="*/ 758876 h 6557032"/>
              <a:gd name="connsiteX41475" fmla="*/ 2725973 w 4610101"/>
              <a:gd name="connsiteY41475" fmla="*/ 751587 h 6557032"/>
              <a:gd name="connsiteX41476" fmla="*/ 2733261 w 4610101"/>
              <a:gd name="connsiteY41476" fmla="*/ 753409 h 6557032"/>
              <a:gd name="connsiteX41477" fmla="*/ 2744194 w 4610101"/>
              <a:gd name="connsiteY41477" fmla="*/ 746121 h 6557032"/>
              <a:gd name="connsiteX41478" fmla="*/ 2711395 w 4610101"/>
              <a:gd name="connsiteY41478" fmla="*/ 691455 h 6557032"/>
              <a:gd name="connsiteX41479" fmla="*/ 2707751 w 4610101"/>
              <a:gd name="connsiteY41479" fmla="*/ 678700 h 6557032"/>
              <a:gd name="connsiteX41480" fmla="*/ 2715040 w 4610101"/>
              <a:gd name="connsiteY41480" fmla="*/ 680522 h 6557032"/>
              <a:gd name="connsiteX41481" fmla="*/ 2724150 w 4610101"/>
              <a:gd name="connsiteY41481" fmla="*/ 669589 h 6557032"/>
              <a:gd name="connsiteX41482" fmla="*/ 2751483 w 4610101"/>
              <a:gd name="connsiteY41482" fmla="*/ 735188 h 6557032"/>
              <a:gd name="connsiteX41483" fmla="*/ 2782460 w 4610101"/>
              <a:gd name="connsiteY41483" fmla="*/ 706033 h 6557032"/>
              <a:gd name="connsiteX41484" fmla="*/ 2776993 w 4610101"/>
              <a:gd name="connsiteY41484" fmla="*/ 695100 h 6557032"/>
              <a:gd name="connsiteX41485" fmla="*/ 2775171 w 4610101"/>
              <a:gd name="connsiteY41485" fmla="*/ 698744 h 6557032"/>
              <a:gd name="connsiteX41486" fmla="*/ 2764238 w 4610101"/>
              <a:gd name="connsiteY41486" fmla="*/ 695100 h 6557032"/>
              <a:gd name="connsiteX41487" fmla="*/ 2775171 w 4610101"/>
              <a:gd name="connsiteY41487" fmla="*/ 685989 h 6557032"/>
              <a:gd name="connsiteX41488" fmla="*/ 2766060 w 4610101"/>
              <a:gd name="connsiteY41488" fmla="*/ 667767 h 6557032"/>
              <a:gd name="connsiteX41489" fmla="*/ 2766789 w 4610101"/>
              <a:gd name="connsiteY41489" fmla="*/ 667767 h 6557032"/>
              <a:gd name="connsiteX41490" fmla="*/ 2767199 w 4610101"/>
              <a:gd name="connsiteY41490" fmla="*/ 669134 h 6557032"/>
              <a:gd name="connsiteX41491" fmla="*/ 2778816 w 4610101"/>
              <a:gd name="connsiteY41491" fmla="*/ 682345 h 6557032"/>
              <a:gd name="connsiteX41492" fmla="*/ 2775171 w 4610101"/>
              <a:gd name="connsiteY41492" fmla="*/ 669589 h 6557032"/>
              <a:gd name="connsiteX41493" fmla="*/ 2777677 w 4610101"/>
              <a:gd name="connsiteY41493" fmla="*/ 660023 h 6557032"/>
              <a:gd name="connsiteX41494" fmla="*/ 2769341 w 4610101"/>
              <a:gd name="connsiteY41494" fmla="*/ 656291 h 6557032"/>
              <a:gd name="connsiteX41495" fmla="*/ 2768794 w 4610101"/>
              <a:gd name="connsiteY41495" fmla="*/ 653418 h 6557032"/>
              <a:gd name="connsiteX41496" fmla="*/ 2763371 w 4610101"/>
              <a:gd name="connsiteY41496" fmla="*/ 644832 h 6557032"/>
              <a:gd name="connsiteX41497" fmla="*/ 2759141 w 4610101"/>
              <a:gd name="connsiteY41497" fmla="*/ 630732 h 6557032"/>
              <a:gd name="connsiteX41498" fmla="*/ 2763328 w 4610101"/>
              <a:gd name="connsiteY41498" fmla="*/ 612192 h 6557032"/>
              <a:gd name="connsiteX41499" fmla="*/ 2762717 w 4610101"/>
              <a:gd name="connsiteY41499" fmla="*/ 605981 h 6557032"/>
              <a:gd name="connsiteX41500" fmla="*/ 2763381 w 4610101"/>
              <a:gd name="connsiteY41500" fmla="*/ 606349 h 6557032"/>
              <a:gd name="connsiteX41501" fmla="*/ 2767882 w 4610101"/>
              <a:gd name="connsiteY41501" fmla="*/ 613103 h 6557032"/>
              <a:gd name="connsiteX41502" fmla="*/ 2766516 w 4610101"/>
              <a:gd name="connsiteY41502" fmla="*/ 608091 h 6557032"/>
              <a:gd name="connsiteX41503" fmla="*/ 2763381 w 4610101"/>
              <a:gd name="connsiteY41503" fmla="*/ 606349 h 6557032"/>
              <a:gd name="connsiteX41504" fmla="*/ 2762645 w 4610101"/>
              <a:gd name="connsiteY41504" fmla="*/ 605246 h 6557032"/>
              <a:gd name="connsiteX41505" fmla="*/ 2762416 w 4610101"/>
              <a:gd name="connsiteY41505" fmla="*/ 602914 h 6557032"/>
              <a:gd name="connsiteX41506" fmla="*/ 2762416 w 4610101"/>
              <a:gd name="connsiteY41506" fmla="*/ 589414 h 6557032"/>
              <a:gd name="connsiteX41507" fmla="*/ 2756950 w 4610101"/>
              <a:gd name="connsiteY41507" fmla="*/ 591236 h 6557032"/>
              <a:gd name="connsiteX41508" fmla="*/ 2758336 w 4610101"/>
              <a:gd name="connsiteY41508" fmla="*/ 595164 h 6557032"/>
              <a:gd name="connsiteX41509" fmla="*/ 2753305 w 4610101"/>
              <a:gd name="connsiteY41509" fmla="*/ 589414 h 6557032"/>
              <a:gd name="connsiteX41510" fmla="*/ 2755127 w 4610101"/>
              <a:gd name="connsiteY41510" fmla="*/ 582125 h 6557032"/>
              <a:gd name="connsiteX41511" fmla="*/ 2762416 w 4610101"/>
              <a:gd name="connsiteY41511" fmla="*/ 583947 h 6557032"/>
              <a:gd name="connsiteX41512" fmla="*/ 2764238 w 4610101"/>
              <a:gd name="connsiteY41512" fmla="*/ 576658 h 6557032"/>
              <a:gd name="connsiteX41513" fmla="*/ 2758772 w 4610101"/>
              <a:gd name="connsiteY41513" fmla="*/ 576658 h 6557032"/>
              <a:gd name="connsiteX41514" fmla="*/ 2760594 w 4610101"/>
              <a:gd name="connsiteY41514" fmla="*/ 571192 h 6557032"/>
              <a:gd name="connsiteX41515" fmla="*/ 2771527 w 4610101"/>
              <a:gd name="connsiteY41515" fmla="*/ 583947 h 6557032"/>
              <a:gd name="connsiteX41516" fmla="*/ 2776993 w 4610101"/>
              <a:gd name="connsiteY41516" fmla="*/ 580303 h 6557032"/>
              <a:gd name="connsiteX41517" fmla="*/ 2780638 w 4610101"/>
              <a:gd name="connsiteY41517" fmla="*/ 587591 h 6557032"/>
              <a:gd name="connsiteX41518" fmla="*/ 2784282 w 4610101"/>
              <a:gd name="connsiteY41518" fmla="*/ 582125 h 6557032"/>
              <a:gd name="connsiteX41519" fmla="*/ 2776993 w 4610101"/>
              <a:gd name="connsiteY41519" fmla="*/ 567548 h 6557032"/>
              <a:gd name="connsiteX41520" fmla="*/ 2780638 w 4610101"/>
              <a:gd name="connsiteY41520" fmla="*/ 569370 h 6557032"/>
              <a:gd name="connsiteX41521" fmla="*/ 2778816 w 4610101"/>
              <a:gd name="connsiteY41521" fmla="*/ 574836 h 6557032"/>
              <a:gd name="connsiteX41522" fmla="*/ 2784282 w 4610101"/>
              <a:gd name="connsiteY41522" fmla="*/ 574836 h 6557032"/>
              <a:gd name="connsiteX41523" fmla="*/ 2784282 w 4610101"/>
              <a:gd name="connsiteY41523" fmla="*/ 565725 h 6557032"/>
              <a:gd name="connsiteX41524" fmla="*/ 2804326 w 4610101"/>
              <a:gd name="connsiteY41524" fmla="*/ 587591 h 6557032"/>
              <a:gd name="connsiteX41525" fmla="*/ 2806148 w 4610101"/>
              <a:gd name="connsiteY41525" fmla="*/ 582125 h 6557032"/>
              <a:gd name="connsiteX41526" fmla="*/ 2807326 w 4610101"/>
              <a:gd name="connsiteY41526" fmla="*/ 584480 h 6557032"/>
              <a:gd name="connsiteX41527" fmla="*/ 2806148 w 4610101"/>
              <a:gd name="connsiteY41527" fmla="*/ 585769 h 6557032"/>
              <a:gd name="connsiteX41528" fmla="*/ 2807401 w 4610101"/>
              <a:gd name="connsiteY41528" fmla="*/ 586161 h 6557032"/>
              <a:gd name="connsiteX41529" fmla="*/ 2796355 w 4610101"/>
              <a:gd name="connsiteY41529" fmla="*/ 593742 h 6557032"/>
              <a:gd name="connsiteX41530" fmla="*/ 2797037 w 4610101"/>
              <a:gd name="connsiteY41530" fmla="*/ 605813 h 6557032"/>
              <a:gd name="connsiteX41531" fmla="*/ 2782460 w 4610101"/>
              <a:gd name="connsiteY41531" fmla="*/ 596702 h 6557032"/>
              <a:gd name="connsiteX41532" fmla="*/ 2789749 w 4610101"/>
              <a:gd name="connsiteY41532" fmla="*/ 605813 h 6557032"/>
              <a:gd name="connsiteX41533" fmla="*/ 2787927 w 4610101"/>
              <a:gd name="connsiteY41533" fmla="*/ 609459 h 6557032"/>
              <a:gd name="connsiteX41534" fmla="*/ 2791571 w 4610101"/>
              <a:gd name="connsiteY41534" fmla="*/ 611280 h 6557032"/>
              <a:gd name="connsiteX41535" fmla="*/ 2793393 w 4610101"/>
              <a:gd name="connsiteY41535" fmla="*/ 607635 h 6557032"/>
              <a:gd name="connsiteX41536" fmla="*/ 2800682 w 4610101"/>
              <a:gd name="connsiteY41536" fmla="*/ 613103 h 6557032"/>
              <a:gd name="connsiteX41537" fmla="*/ 2798860 w 4610101"/>
              <a:gd name="connsiteY41537" fmla="*/ 598524 h 6557032"/>
              <a:gd name="connsiteX41538" fmla="*/ 2815259 w 4610101"/>
              <a:gd name="connsiteY41538" fmla="*/ 600347 h 6557032"/>
              <a:gd name="connsiteX41539" fmla="*/ 2822548 w 4610101"/>
              <a:gd name="connsiteY41539" fmla="*/ 609459 h 6557032"/>
              <a:gd name="connsiteX41540" fmla="*/ 2824370 w 4610101"/>
              <a:gd name="connsiteY41540" fmla="*/ 600347 h 6557032"/>
              <a:gd name="connsiteX41541" fmla="*/ 2824370 w 4610101"/>
              <a:gd name="connsiteY41541" fmla="*/ 607635 h 6557032"/>
              <a:gd name="connsiteX41542" fmla="*/ 2828014 w 4610101"/>
              <a:gd name="connsiteY41542" fmla="*/ 607635 h 6557032"/>
              <a:gd name="connsiteX41543" fmla="*/ 2829837 w 4610101"/>
              <a:gd name="connsiteY41543" fmla="*/ 602169 h 6557032"/>
              <a:gd name="connsiteX41544" fmla="*/ 2851703 w 4610101"/>
              <a:gd name="connsiteY41544" fmla="*/ 594880 h 6557032"/>
              <a:gd name="connsiteX41545" fmla="*/ 2858991 w 4610101"/>
              <a:gd name="connsiteY41545" fmla="*/ 594880 h 6557032"/>
              <a:gd name="connsiteX41546" fmla="*/ 2820726 w 4610101"/>
              <a:gd name="connsiteY41546" fmla="*/ 574836 h 6557032"/>
              <a:gd name="connsiteX41547" fmla="*/ 2822548 w 4610101"/>
              <a:gd name="connsiteY41547" fmla="*/ 585769 h 6557032"/>
              <a:gd name="connsiteX41548" fmla="*/ 2813437 w 4610101"/>
              <a:gd name="connsiteY41548" fmla="*/ 583947 h 6557032"/>
              <a:gd name="connsiteX41549" fmla="*/ 2813437 w 4610101"/>
              <a:gd name="connsiteY41549" fmla="*/ 589414 h 6557032"/>
              <a:gd name="connsiteX41550" fmla="*/ 2809793 w 4610101"/>
              <a:gd name="connsiteY41550" fmla="*/ 586908 h 6557032"/>
              <a:gd name="connsiteX41551" fmla="*/ 2807401 w 4610101"/>
              <a:gd name="connsiteY41551" fmla="*/ 586161 h 6557032"/>
              <a:gd name="connsiteX41552" fmla="*/ 2807971 w 4610101"/>
              <a:gd name="connsiteY41552" fmla="*/ 585769 h 6557032"/>
              <a:gd name="connsiteX41553" fmla="*/ 2807326 w 4610101"/>
              <a:gd name="connsiteY41553" fmla="*/ 584480 h 6557032"/>
              <a:gd name="connsiteX41554" fmla="*/ 2810931 w 4610101"/>
              <a:gd name="connsiteY41554" fmla="*/ 580531 h 6557032"/>
              <a:gd name="connsiteX41555" fmla="*/ 2817081 w 4610101"/>
              <a:gd name="connsiteY41555" fmla="*/ 576658 h 6557032"/>
              <a:gd name="connsiteX41556" fmla="*/ 2784282 w 4610101"/>
              <a:gd name="connsiteY41556" fmla="*/ 543860 h 6557032"/>
              <a:gd name="connsiteX41557" fmla="*/ 2787927 w 4610101"/>
              <a:gd name="connsiteY41557" fmla="*/ 542037 h 6557032"/>
              <a:gd name="connsiteX41558" fmla="*/ 2795215 w 4610101"/>
              <a:gd name="connsiteY41558" fmla="*/ 554792 h 6557032"/>
              <a:gd name="connsiteX41559" fmla="*/ 2802504 w 4610101"/>
              <a:gd name="connsiteY41559" fmla="*/ 552970 h 6557032"/>
              <a:gd name="connsiteX41560" fmla="*/ 2813437 w 4610101"/>
              <a:gd name="connsiteY41560" fmla="*/ 569370 h 6557032"/>
              <a:gd name="connsiteX41561" fmla="*/ 2820726 w 4610101"/>
              <a:gd name="connsiteY41561" fmla="*/ 554792 h 6557032"/>
              <a:gd name="connsiteX41562" fmla="*/ 2818903 w 4610101"/>
              <a:gd name="connsiteY41562" fmla="*/ 543860 h 6557032"/>
              <a:gd name="connsiteX41563" fmla="*/ 2820726 w 4610101"/>
              <a:gd name="connsiteY41563" fmla="*/ 543860 h 6557032"/>
              <a:gd name="connsiteX41564" fmla="*/ 2818903 w 4610101"/>
              <a:gd name="connsiteY41564" fmla="*/ 525638 h 6557032"/>
              <a:gd name="connsiteX41565" fmla="*/ 2824370 w 4610101"/>
              <a:gd name="connsiteY41565" fmla="*/ 527461 h 6557032"/>
              <a:gd name="connsiteX41566" fmla="*/ 2829837 w 4610101"/>
              <a:gd name="connsiteY41566" fmla="*/ 554792 h 6557032"/>
              <a:gd name="connsiteX41567" fmla="*/ 2824370 w 4610101"/>
              <a:gd name="connsiteY41567" fmla="*/ 556616 h 6557032"/>
              <a:gd name="connsiteX41568" fmla="*/ 2831659 w 4610101"/>
              <a:gd name="connsiteY41568" fmla="*/ 565725 h 6557032"/>
              <a:gd name="connsiteX41569" fmla="*/ 2820726 w 4610101"/>
              <a:gd name="connsiteY41569" fmla="*/ 567548 h 6557032"/>
              <a:gd name="connsiteX41570" fmla="*/ 2855347 w 4610101"/>
              <a:gd name="connsiteY41570" fmla="*/ 583947 h 6557032"/>
              <a:gd name="connsiteX41571" fmla="*/ 2862636 w 4610101"/>
              <a:gd name="connsiteY41571" fmla="*/ 576658 h 6557032"/>
              <a:gd name="connsiteX41572" fmla="*/ 2860813 w 4610101"/>
              <a:gd name="connsiteY41572" fmla="*/ 571192 h 6557032"/>
              <a:gd name="connsiteX41573" fmla="*/ 2880857 w 4610101"/>
              <a:gd name="connsiteY41573" fmla="*/ 578481 h 6557032"/>
              <a:gd name="connsiteX41574" fmla="*/ 2880857 w 4610101"/>
              <a:gd name="connsiteY41574" fmla="*/ 585769 h 6557032"/>
              <a:gd name="connsiteX41575" fmla="*/ 2880857 w 4610101"/>
              <a:gd name="connsiteY41575" fmla="*/ 578481 h 6557032"/>
              <a:gd name="connsiteX41576" fmla="*/ 2877578 w 4610101"/>
              <a:gd name="connsiteY41576" fmla="*/ 571921 h 6557032"/>
              <a:gd name="connsiteX41577" fmla="*/ 2879035 w 4610101"/>
              <a:gd name="connsiteY41577" fmla="*/ 567548 h 6557032"/>
              <a:gd name="connsiteX41578" fmla="*/ 2873140 w 4610101"/>
              <a:gd name="connsiteY41578" fmla="*/ 565190 h 6557032"/>
              <a:gd name="connsiteX41579" fmla="*/ 2873569 w 4610101"/>
              <a:gd name="connsiteY41579" fmla="*/ 563904 h 6557032"/>
              <a:gd name="connsiteX41580" fmla="*/ 2870216 w 4610101"/>
              <a:gd name="connsiteY41580" fmla="*/ 562227 h 6557032"/>
              <a:gd name="connsiteX41581" fmla="*/ 2872430 w 4610101"/>
              <a:gd name="connsiteY41581" fmla="*/ 562310 h 6557032"/>
              <a:gd name="connsiteX41582" fmla="*/ 2877213 w 4610101"/>
              <a:gd name="connsiteY41582" fmla="*/ 552970 h 6557032"/>
              <a:gd name="connsiteX41583" fmla="*/ 2873569 w 4610101"/>
              <a:gd name="connsiteY41583" fmla="*/ 556616 h 6557032"/>
              <a:gd name="connsiteX41584" fmla="*/ 2868649 w 4610101"/>
              <a:gd name="connsiteY41584" fmla="*/ 550055 h 6557032"/>
              <a:gd name="connsiteX41585" fmla="*/ 2869924 w 4610101"/>
              <a:gd name="connsiteY41585" fmla="*/ 534749 h 6557032"/>
              <a:gd name="connsiteX41586" fmla="*/ 2877213 w 4610101"/>
              <a:gd name="connsiteY41586" fmla="*/ 532926 h 6557032"/>
              <a:gd name="connsiteX41587" fmla="*/ 2873569 w 4610101"/>
              <a:gd name="connsiteY41587" fmla="*/ 523815 h 6557032"/>
              <a:gd name="connsiteX41588" fmla="*/ 2869924 w 4610101"/>
              <a:gd name="connsiteY41588" fmla="*/ 532926 h 6557032"/>
              <a:gd name="connsiteX41589" fmla="*/ 2862636 w 4610101"/>
              <a:gd name="connsiteY41589" fmla="*/ 521993 h 6557032"/>
              <a:gd name="connsiteX41590" fmla="*/ 2855347 w 4610101"/>
              <a:gd name="connsiteY41590" fmla="*/ 531105 h 6557032"/>
              <a:gd name="connsiteX41591" fmla="*/ 2846236 w 4610101"/>
              <a:gd name="connsiteY41591" fmla="*/ 514705 h 6557032"/>
              <a:gd name="connsiteX41592" fmla="*/ 2857169 w 4610101"/>
              <a:gd name="connsiteY41592" fmla="*/ 514705 h 6557032"/>
              <a:gd name="connsiteX41593" fmla="*/ 2858991 w 4610101"/>
              <a:gd name="connsiteY41593" fmla="*/ 521993 h 6557032"/>
              <a:gd name="connsiteX41594" fmla="*/ 2855347 w 4610101"/>
              <a:gd name="connsiteY41594" fmla="*/ 512882 h 6557032"/>
              <a:gd name="connsiteX41595" fmla="*/ 2860813 w 4610101"/>
              <a:gd name="connsiteY41595" fmla="*/ 503771 h 6557032"/>
              <a:gd name="connsiteX41596" fmla="*/ 2864230 w 4610101"/>
              <a:gd name="connsiteY41596" fmla="*/ 508099 h 6557032"/>
              <a:gd name="connsiteX41597" fmla="*/ 2865715 w 4610101"/>
              <a:gd name="connsiteY41597" fmla="*/ 510244 h 6557032"/>
              <a:gd name="connsiteX41598" fmla="*/ 2862636 w 4610101"/>
              <a:gd name="connsiteY41598" fmla="*/ 512882 h 6557032"/>
              <a:gd name="connsiteX41599" fmla="*/ 2871747 w 4610101"/>
              <a:gd name="connsiteY41599" fmla="*/ 521993 h 6557032"/>
              <a:gd name="connsiteX41600" fmla="*/ 2873569 w 4610101"/>
              <a:gd name="connsiteY41600" fmla="*/ 507417 h 6557032"/>
              <a:gd name="connsiteX41601" fmla="*/ 2867419 w 4610101"/>
              <a:gd name="connsiteY41601" fmla="*/ 508783 h 6557032"/>
              <a:gd name="connsiteX41602" fmla="*/ 2866608 w 4610101"/>
              <a:gd name="connsiteY41602" fmla="*/ 509479 h 6557032"/>
              <a:gd name="connsiteX41603" fmla="*/ 2867647 w 4610101"/>
              <a:gd name="connsiteY41603" fmla="*/ 504455 h 6557032"/>
              <a:gd name="connsiteX41604" fmla="*/ 2871747 w 4610101"/>
              <a:gd name="connsiteY41604" fmla="*/ 496483 h 6557032"/>
              <a:gd name="connsiteX41605" fmla="*/ 2884502 w 4610101"/>
              <a:gd name="connsiteY41605" fmla="*/ 496483 h 6557032"/>
              <a:gd name="connsiteX41606" fmla="*/ 2882680 w 4610101"/>
              <a:gd name="connsiteY41606" fmla="*/ 483728 h 6557032"/>
              <a:gd name="connsiteX41607" fmla="*/ 2897257 w 4610101"/>
              <a:gd name="connsiteY41607" fmla="*/ 507417 h 6557032"/>
              <a:gd name="connsiteX41608" fmla="*/ 2899079 w 4610101"/>
              <a:gd name="connsiteY41608" fmla="*/ 500127 h 6557032"/>
              <a:gd name="connsiteX41609" fmla="*/ 2911834 w 4610101"/>
              <a:gd name="connsiteY41609" fmla="*/ 507417 h 6557032"/>
              <a:gd name="connsiteX41610" fmla="*/ 2904546 w 4610101"/>
              <a:gd name="connsiteY41610" fmla="*/ 503771 h 6557032"/>
              <a:gd name="connsiteX41611" fmla="*/ 2900901 w 4610101"/>
              <a:gd name="connsiteY41611" fmla="*/ 505594 h 6557032"/>
              <a:gd name="connsiteX41612" fmla="*/ 2900901 w 4610101"/>
              <a:gd name="connsiteY41612" fmla="*/ 512882 h 6557032"/>
              <a:gd name="connsiteX41613" fmla="*/ 2928234 w 4610101"/>
              <a:gd name="connsiteY41613" fmla="*/ 534749 h 6557032"/>
              <a:gd name="connsiteX41614" fmla="*/ 2939167 w 4610101"/>
              <a:gd name="connsiteY41614" fmla="*/ 532926 h 6557032"/>
              <a:gd name="connsiteX41615" fmla="*/ 2946456 w 4610101"/>
              <a:gd name="connsiteY41615" fmla="*/ 523815 h 6557032"/>
              <a:gd name="connsiteX41616" fmla="*/ 2942811 w 4610101"/>
              <a:gd name="connsiteY41616" fmla="*/ 520171 h 6557032"/>
              <a:gd name="connsiteX41617" fmla="*/ 2944634 w 4610101"/>
              <a:gd name="connsiteY41617" fmla="*/ 521993 h 6557032"/>
              <a:gd name="connsiteX41618" fmla="*/ 2948278 w 4610101"/>
              <a:gd name="connsiteY41618" fmla="*/ 518349 h 6557032"/>
              <a:gd name="connsiteX41619" fmla="*/ 2951922 w 4610101"/>
              <a:gd name="connsiteY41619" fmla="*/ 520171 h 6557032"/>
              <a:gd name="connsiteX41620" fmla="*/ 2950100 w 4610101"/>
              <a:gd name="connsiteY41620" fmla="*/ 527461 h 6557032"/>
              <a:gd name="connsiteX41621" fmla="*/ 2961033 w 4610101"/>
              <a:gd name="connsiteY41621" fmla="*/ 512882 h 6557032"/>
              <a:gd name="connsiteX41622" fmla="*/ 2965361 w 4610101"/>
              <a:gd name="connsiteY41622" fmla="*/ 519260 h 6557032"/>
              <a:gd name="connsiteX41623" fmla="*/ 2966851 w 4610101"/>
              <a:gd name="connsiteY41623" fmla="*/ 519719 h 6557032"/>
              <a:gd name="connsiteX41624" fmla="*/ 2966500 w 4610101"/>
              <a:gd name="connsiteY41624" fmla="*/ 520171 h 6557032"/>
              <a:gd name="connsiteX41625" fmla="*/ 2977432 w 4610101"/>
              <a:gd name="connsiteY41625" fmla="*/ 521993 h 6557032"/>
              <a:gd name="connsiteX41626" fmla="*/ 2977432 w 4610101"/>
              <a:gd name="connsiteY41626" fmla="*/ 507417 h 6557032"/>
              <a:gd name="connsiteX41627" fmla="*/ 2971966 w 4610101"/>
              <a:gd name="connsiteY41627" fmla="*/ 513111 h 6557032"/>
              <a:gd name="connsiteX41628" fmla="*/ 2968384 w 4610101"/>
              <a:gd name="connsiteY41628" fmla="*/ 517738 h 6557032"/>
              <a:gd name="connsiteX41629" fmla="*/ 2968521 w 4610101"/>
              <a:gd name="connsiteY41629" fmla="*/ 512370 h 6557032"/>
              <a:gd name="connsiteX41630" fmla="*/ 2963083 w 4610101"/>
              <a:gd name="connsiteY41630" fmla="*/ 506961 h 6557032"/>
              <a:gd name="connsiteX41631" fmla="*/ 2961067 w 4610101"/>
              <a:gd name="connsiteY41631" fmla="*/ 505534 h 6557032"/>
              <a:gd name="connsiteX41632" fmla="*/ 2963083 w 4610101"/>
              <a:gd name="connsiteY41632" fmla="*/ 501950 h 6557032"/>
              <a:gd name="connsiteX41633" fmla="*/ 2961033 w 4610101"/>
              <a:gd name="connsiteY41633" fmla="*/ 498306 h 6557032"/>
              <a:gd name="connsiteX41634" fmla="*/ 2950853 w 4610101"/>
              <a:gd name="connsiteY41634" fmla="*/ 498306 h 6557032"/>
              <a:gd name="connsiteX41635" fmla="*/ 2948278 w 4610101"/>
              <a:gd name="connsiteY41635" fmla="*/ 496483 h 6557032"/>
              <a:gd name="connsiteX41636" fmla="*/ 2955566 w 4610101"/>
              <a:gd name="connsiteY41636" fmla="*/ 487373 h 6557032"/>
              <a:gd name="connsiteX41637" fmla="*/ 2957113 w 4610101"/>
              <a:gd name="connsiteY41637" fmla="*/ 488146 h 6557032"/>
              <a:gd name="connsiteX41638" fmla="*/ 2957161 w 4610101"/>
              <a:gd name="connsiteY41638" fmla="*/ 488283 h 6557032"/>
              <a:gd name="connsiteX41639" fmla="*/ 2957389 w 4610101"/>
              <a:gd name="connsiteY41639" fmla="*/ 492838 h 6557032"/>
              <a:gd name="connsiteX41640" fmla="*/ 2961293 w 4610101"/>
              <a:gd name="connsiteY41640" fmla="*/ 490236 h 6557032"/>
              <a:gd name="connsiteX41641" fmla="*/ 2962855 w 4610101"/>
              <a:gd name="connsiteY41641" fmla="*/ 491017 h 6557032"/>
              <a:gd name="connsiteX41642" fmla="*/ 2962280 w 4610101"/>
              <a:gd name="connsiteY41642" fmla="*/ 489578 h 6557032"/>
              <a:gd name="connsiteX41643" fmla="*/ 2962855 w 4610101"/>
              <a:gd name="connsiteY41643" fmla="*/ 489194 h 6557032"/>
              <a:gd name="connsiteX41644" fmla="*/ 2979255 w 4610101"/>
              <a:gd name="connsiteY41644" fmla="*/ 489194 h 6557032"/>
              <a:gd name="connsiteX41645" fmla="*/ 2971966 w 4610101"/>
              <a:gd name="connsiteY41645" fmla="*/ 474618 h 6557032"/>
              <a:gd name="connsiteX41646" fmla="*/ 2975610 w 4610101"/>
              <a:gd name="connsiteY41646" fmla="*/ 470972 h 6557032"/>
              <a:gd name="connsiteX41647" fmla="*/ 2977432 w 4610101"/>
              <a:gd name="connsiteY41647" fmla="*/ 474618 h 6557032"/>
              <a:gd name="connsiteX41648" fmla="*/ 2982899 w 4610101"/>
              <a:gd name="connsiteY41648" fmla="*/ 467328 h 6557032"/>
              <a:gd name="connsiteX41649" fmla="*/ 2986543 w 4610101"/>
              <a:gd name="connsiteY41649" fmla="*/ 474618 h 6557032"/>
              <a:gd name="connsiteX41650" fmla="*/ 2999299 w 4610101"/>
              <a:gd name="connsiteY41650" fmla="*/ 452751 h 6557032"/>
              <a:gd name="connsiteX41651" fmla="*/ 2953175 w 4610101"/>
              <a:gd name="connsiteY41651" fmla="*/ 465051 h 6557032"/>
              <a:gd name="connsiteX41652" fmla="*/ 2952739 w 4610101"/>
              <a:gd name="connsiteY41652" fmla="*/ 466928 h 6557032"/>
              <a:gd name="connsiteX41653" fmla="*/ 2951922 w 4610101"/>
              <a:gd name="connsiteY41653" fmla="*/ 460039 h 6557032"/>
              <a:gd name="connsiteX41654" fmla="*/ 3008410 w 4610101"/>
              <a:gd name="connsiteY41654" fmla="*/ 434530 h 6557032"/>
              <a:gd name="connsiteX41655" fmla="*/ 3002943 w 4610101"/>
              <a:gd name="connsiteY41655" fmla="*/ 432707 h 6557032"/>
              <a:gd name="connsiteX41656" fmla="*/ 3010232 w 4610101"/>
              <a:gd name="connsiteY41656" fmla="*/ 432707 h 6557032"/>
              <a:gd name="connsiteX41657" fmla="*/ 3013876 w 4610101"/>
              <a:gd name="connsiteY41657" fmla="*/ 399908 h 6557032"/>
              <a:gd name="connsiteX41658" fmla="*/ 3015698 w 4610101"/>
              <a:gd name="connsiteY41658" fmla="*/ 399908 h 6557032"/>
              <a:gd name="connsiteX41659" fmla="*/ 2995654 w 4610101"/>
              <a:gd name="connsiteY41659" fmla="*/ 390797 h 6557032"/>
              <a:gd name="connsiteX41660" fmla="*/ 2992010 w 4610101"/>
              <a:gd name="connsiteY41660" fmla="*/ 383509 h 6557032"/>
              <a:gd name="connsiteX41661" fmla="*/ 2981077 w 4610101"/>
              <a:gd name="connsiteY41661" fmla="*/ 390797 h 6557032"/>
              <a:gd name="connsiteX41662" fmla="*/ 2959211 w 4610101"/>
              <a:gd name="connsiteY41662" fmla="*/ 367109 h 6557032"/>
              <a:gd name="connsiteX41663" fmla="*/ 2957389 w 4610101"/>
              <a:gd name="connsiteY41663" fmla="*/ 359821 h 6557032"/>
              <a:gd name="connsiteX41664" fmla="*/ 2959211 w 4610101"/>
              <a:gd name="connsiteY41664" fmla="*/ 359821 h 6557032"/>
              <a:gd name="connsiteX41665" fmla="*/ 2953744 w 4610101"/>
              <a:gd name="connsiteY41665" fmla="*/ 345242 h 6557032"/>
              <a:gd name="connsiteX41666" fmla="*/ 2950100 w 4610101"/>
              <a:gd name="connsiteY41666" fmla="*/ 348888 h 6557032"/>
              <a:gd name="connsiteX41667" fmla="*/ 2951922 w 4610101"/>
              <a:gd name="connsiteY41667" fmla="*/ 356176 h 6557032"/>
              <a:gd name="connsiteX41668" fmla="*/ 2939167 w 4610101"/>
              <a:gd name="connsiteY41668" fmla="*/ 354354 h 6557032"/>
              <a:gd name="connsiteX41669" fmla="*/ 2933700 w 4610101"/>
              <a:gd name="connsiteY41669" fmla="*/ 337954 h 6557032"/>
              <a:gd name="connsiteX41670" fmla="*/ 2931878 w 4610101"/>
              <a:gd name="connsiteY41670" fmla="*/ 339777 h 6557032"/>
              <a:gd name="connsiteX41671" fmla="*/ 2930056 w 4610101"/>
              <a:gd name="connsiteY41671" fmla="*/ 321555 h 6557032"/>
              <a:gd name="connsiteX41672" fmla="*/ 2928234 w 4610101"/>
              <a:gd name="connsiteY41672" fmla="*/ 328844 h 6557032"/>
              <a:gd name="connsiteX41673" fmla="*/ 2930056 w 4610101"/>
              <a:gd name="connsiteY41673" fmla="*/ 308800 h 6557032"/>
              <a:gd name="connsiteX41674" fmla="*/ 2942811 w 4610101"/>
              <a:gd name="connsiteY41674" fmla="*/ 319733 h 6557032"/>
              <a:gd name="connsiteX41675" fmla="*/ 2951922 w 4610101"/>
              <a:gd name="connsiteY41675" fmla="*/ 299992 h 6557032"/>
              <a:gd name="connsiteX41676" fmla="*/ 2951922 w 4610101"/>
              <a:gd name="connsiteY41676" fmla="*/ 305155 h 6557032"/>
              <a:gd name="connsiteX41677" fmla="*/ 2955566 w 4610101"/>
              <a:gd name="connsiteY41677" fmla="*/ 303333 h 6557032"/>
              <a:gd name="connsiteX41678" fmla="*/ 2953744 w 4610101"/>
              <a:gd name="connsiteY41678" fmla="*/ 308800 h 6557032"/>
              <a:gd name="connsiteX41679" fmla="*/ 2959211 w 4610101"/>
              <a:gd name="connsiteY41679" fmla="*/ 301511 h 6557032"/>
              <a:gd name="connsiteX41680" fmla="*/ 2959211 w 4610101"/>
              <a:gd name="connsiteY41680" fmla="*/ 297867 h 6557032"/>
              <a:gd name="connsiteX41681" fmla="*/ 2951922 w 4610101"/>
              <a:gd name="connsiteY41681" fmla="*/ 294223 h 6557032"/>
              <a:gd name="connsiteX41682" fmla="*/ 2951922 w 4610101"/>
              <a:gd name="connsiteY41682" fmla="*/ 295640 h 6557032"/>
              <a:gd name="connsiteX41683" fmla="*/ 2937345 w 4610101"/>
              <a:gd name="connsiteY41683" fmla="*/ 292400 h 6557032"/>
              <a:gd name="connsiteX41684" fmla="*/ 2920945 w 4610101"/>
              <a:gd name="connsiteY41684" fmla="*/ 294223 h 6557032"/>
              <a:gd name="connsiteX41685" fmla="*/ 2913656 w 4610101"/>
              <a:gd name="connsiteY41685" fmla="*/ 286934 h 6557032"/>
              <a:gd name="connsiteX41686" fmla="*/ 2913656 w 4610101"/>
              <a:gd name="connsiteY41686" fmla="*/ 294223 h 6557032"/>
              <a:gd name="connsiteX41687" fmla="*/ 2906368 w 4610101"/>
              <a:gd name="connsiteY41687" fmla="*/ 285112 h 6557032"/>
              <a:gd name="connsiteX41688" fmla="*/ 2897257 w 4610101"/>
              <a:gd name="connsiteY41688" fmla="*/ 305155 h 6557032"/>
              <a:gd name="connsiteX41689" fmla="*/ 2893613 w 4610101"/>
              <a:gd name="connsiteY41689" fmla="*/ 299689 h 6557032"/>
              <a:gd name="connsiteX41690" fmla="*/ 2893613 w 4610101"/>
              <a:gd name="connsiteY41690" fmla="*/ 285112 h 6557032"/>
              <a:gd name="connsiteX41691" fmla="*/ 2893613 w 4610101"/>
              <a:gd name="connsiteY41691" fmla="*/ 294223 h 6557032"/>
              <a:gd name="connsiteX41692" fmla="*/ 2886324 w 4610101"/>
              <a:gd name="connsiteY41692" fmla="*/ 279645 h 6557032"/>
              <a:gd name="connsiteX41693" fmla="*/ 2882680 w 4610101"/>
              <a:gd name="connsiteY41693" fmla="*/ 281467 h 6557032"/>
              <a:gd name="connsiteX41694" fmla="*/ 2884502 w 4610101"/>
              <a:gd name="connsiteY41694" fmla="*/ 276001 h 6557032"/>
              <a:gd name="connsiteX41695" fmla="*/ 2893613 w 4610101"/>
              <a:gd name="connsiteY41695" fmla="*/ 265068 h 6557032"/>
              <a:gd name="connsiteX41696" fmla="*/ 2900901 w 4610101"/>
              <a:gd name="connsiteY41696" fmla="*/ 281467 h 6557032"/>
              <a:gd name="connsiteX41697" fmla="*/ 2919123 w 4610101"/>
              <a:gd name="connsiteY41697" fmla="*/ 272356 h 6557032"/>
              <a:gd name="connsiteX41698" fmla="*/ 2926412 w 4610101"/>
              <a:gd name="connsiteY41698" fmla="*/ 283289 h 6557032"/>
              <a:gd name="connsiteX41699" fmla="*/ 2924590 w 4610101"/>
              <a:gd name="connsiteY41699" fmla="*/ 276001 h 6557032"/>
              <a:gd name="connsiteX41700" fmla="*/ 2933700 w 4610101"/>
              <a:gd name="connsiteY41700" fmla="*/ 276001 h 6557032"/>
              <a:gd name="connsiteX41701" fmla="*/ 2930056 w 4610101"/>
              <a:gd name="connsiteY41701" fmla="*/ 279645 h 6557032"/>
              <a:gd name="connsiteX41702" fmla="*/ 2937345 w 4610101"/>
              <a:gd name="connsiteY41702" fmla="*/ 286934 h 6557032"/>
              <a:gd name="connsiteX41703" fmla="*/ 2942811 w 4610101"/>
              <a:gd name="connsiteY41703" fmla="*/ 283289 h 6557032"/>
              <a:gd name="connsiteX41704" fmla="*/ 2939167 w 4610101"/>
              <a:gd name="connsiteY41704" fmla="*/ 276001 h 6557032"/>
              <a:gd name="connsiteX41705" fmla="*/ 2948278 w 4610101"/>
              <a:gd name="connsiteY41705" fmla="*/ 285112 h 6557032"/>
              <a:gd name="connsiteX41706" fmla="*/ 2953744 w 4610101"/>
              <a:gd name="connsiteY41706" fmla="*/ 274179 h 6557032"/>
              <a:gd name="connsiteX41707" fmla="*/ 2959211 w 4610101"/>
              <a:gd name="connsiteY41707" fmla="*/ 277823 h 6557032"/>
              <a:gd name="connsiteX41708" fmla="*/ 2975610 w 4610101"/>
              <a:gd name="connsiteY41708" fmla="*/ 270534 h 6557032"/>
              <a:gd name="connsiteX41709" fmla="*/ 2975610 w 4610101"/>
              <a:gd name="connsiteY41709" fmla="*/ 263246 h 6557032"/>
              <a:gd name="connsiteX41710" fmla="*/ 2977432 w 4610101"/>
              <a:gd name="connsiteY41710" fmla="*/ 268712 h 6557032"/>
              <a:gd name="connsiteX41711" fmla="*/ 2984721 w 4610101"/>
              <a:gd name="connsiteY41711" fmla="*/ 255957 h 6557032"/>
              <a:gd name="connsiteX41712" fmla="*/ 2973788 w 4610101"/>
              <a:gd name="connsiteY41712" fmla="*/ 250490 h 6557032"/>
              <a:gd name="connsiteX41713" fmla="*/ 2979255 w 4610101"/>
              <a:gd name="connsiteY41713" fmla="*/ 246846 h 6557032"/>
              <a:gd name="connsiteX41714" fmla="*/ 2973788 w 4610101"/>
              <a:gd name="connsiteY41714" fmla="*/ 250490 h 6557032"/>
              <a:gd name="connsiteX41715" fmla="*/ 2975155 w 4610101"/>
              <a:gd name="connsiteY41715" fmla="*/ 237279 h 6557032"/>
              <a:gd name="connsiteX41716" fmla="*/ 2974853 w 4610101"/>
              <a:gd name="connsiteY41716" fmla="*/ 236815 h 6557032"/>
              <a:gd name="connsiteX41717" fmla="*/ 2975155 w 4610101"/>
              <a:gd name="connsiteY41717" fmla="*/ 235001 h 6557032"/>
              <a:gd name="connsiteX41718" fmla="*/ 2973788 w 4610101"/>
              <a:gd name="connsiteY41718" fmla="*/ 226802 h 6557032"/>
              <a:gd name="connsiteX41719" fmla="*/ 2971768 w 4610101"/>
              <a:gd name="connsiteY41719" fmla="*/ 232085 h 6557032"/>
              <a:gd name="connsiteX41720" fmla="*/ 2968322 w 4610101"/>
              <a:gd name="connsiteY41720" fmla="*/ 226802 h 6557032"/>
              <a:gd name="connsiteX41721" fmla="*/ 2969375 w 4610101"/>
              <a:gd name="connsiteY41721" fmla="*/ 215527 h 6557032"/>
              <a:gd name="connsiteX41722" fmla="*/ 2967717 w 4610101"/>
              <a:gd name="connsiteY41722" fmla="*/ 213825 h 6557032"/>
              <a:gd name="connsiteX41723" fmla="*/ 2971511 w 4610101"/>
              <a:gd name="connsiteY41723" fmla="*/ 213135 h 6557032"/>
              <a:gd name="connsiteX41724" fmla="*/ 2973685 w 4610101"/>
              <a:gd name="connsiteY41724" fmla="*/ 207047 h 6557032"/>
              <a:gd name="connsiteX41725" fmla="*/ 2975610 w 4610101"/>
              <a:gd name="connsiteY41725" fmla="*/ 208580 h 6557032"/>
              <a:gd name="connsiteX41726" fmla="*/ 2971966 w 4610101"/>
              <a:gd name="connsiteY41726" fmla="*/ 199469 h 6557032"/>
              <a:gd name="connsiteX41727" fmla="*/ 2975610 w 4610101"/>
              <a:gd name="connsiteY41727" fmla="*/ 192181 h 6557032"/>
              <a:gd name="connsiteX41728" fmla="*/ 2975272 w 4610101"/>
              <a:gd name="connsiteY41728" fmla="*/ 192011 h 6557032"/>
              <a:gd name="connsiteX41729" fmla="*/ 2981760 w 4610101"/>
              <a:gd name="connsiteY41729" fmla="*/ 177375 h 6557032"/>
              <a:gd name="connsiteX41730" fmla="*/ 2979255 w 4610101"/>
              <a:gd name="connsiteY41730" fmla="*/ 153915 h 6557032"/>
              <a:gd name="connsiteX41731" fmla="*/ 2979255 w 4610101"/>
              <a:gd name="connsiteY41731" fmla="*/ 164848 h 6557032"/>
              <a:gd name="connsiteX41732" fmla="*/ 2962856 w 4610101"/>
              <a:gd name="connsiteY41732" fmla="*/ 157559 h 6557032"/>
              <a:gd name="connsiteX41733" fmla="*/ 2966500 w 4610101"/>
              <a:gd name="connsiteY41733" fmla="*/ 152093 h 6557032"/>
              <a:gd name="connsiteX41734" fmla="*/ 2968322 w 4610101"/>
              <a:gd name="connsiteY41734" fmla="*/ 157559 h 6557032"/>
              <a:gd name="connsiteX41735" fmla="*/ 2970144 w 4610101"/>
              <a:gd name="connsiteY41735" fmla="*/ 144804 h 6557032"/>
              <a:gd name="connsiteX41736" fmla="*/ 2975610 w 4610101"/>
              <a:gd name="connsiteY41736" fmla="*/ 152093 h 6557032"/>
              <a:gd name="connsiteX41737" fmla="*/ 2973788 w 4610101"/>
              <a:gd name="connsiteY41737" fmla="*/ 132049 h 6557032"/>
              <a:gd name="connsiteX41738" fmla="*/ 2970752 w 4610101"/>
              <a:gd name="connsiteY41738" fmla="*/ 135085 h 6557032"/>
              <a:gd name="connsiteX41739" fmla="*/ 2971530 w 4610101"/>
              <a:gd name="connsiteY41739" fmla="*/ 131971 h 6557032"/>
              <a:gd name="connsiteX41740" fmla="*/ 2971966 w 4610101"/>
              <a:gd name="connsiteY41740" fmla="*/ 132049 h 6557032"/>
              <a:gd name="connsiteX41741" fmla="*/ 2986543 w 4610101"/>
              <a:gd name="connsiteY41741" fmla="*/ 106539 h 6557032"/>
              <a:gd name="connsiteX41742" fmla="*/ 2992010 w 4610101"/>
              <a:gd name="connsiteY41742" fmla="*/ 130227 h 6557032"/>
              <a:gd name="connsiteX41743" fmla="*/ 2986543 w 4610101"/>
              <a:gd name="connsiteY41743" fmla="*/ 159382 h 6557032"/>
              <a:gd name="connsiteX41744" fmla="*/ 2986543 w 4610101"/>
              <a:gd name="connsiteY41744" fmla="*/ 146626 h 6557032"/>
              <a:gd name="connsiteX41745" fmla="*/ 2997477 w 4610101"/>
              <a:gd name="connsiteY41745" fmla="*/ 152093 h 6557032"/>
              <a:gd name="connsiteX41746" fmla="*/ 2992010 w 4610101"/>
              <a:gd name="connsiteY41746" fmla="*/ 137516 h 6557032"/>
              <a:gd name="connsiteX41747" fmla="*/ 2995654 w 4610101"/>
              <a:gd name="connsiteY41747" fmla="*/ 139338 h 6557032"/>
              <a:gd name="connsiteX41748" fmla="*/ 2997477 w 4610101"/>
              <a:gd name="connsiteY41748" fmla="*/ 132049 h 6557032"/>
              <a:gd name="connsiteX41749" fmla="*/ 3004765 w 4610101"/>
              <a:gd name="connsiteY41749" fmla="*/ 142982 h 6557032"/>
              <a:gd name="connsiteX41750" fmla="*/ 3006587 w 4610101"/>
              <a:gd name="connsiteY41750" fmla="*/ 137516 h 6557032"/>
              <a:gd name="connsiteX41751" fmla="*/ 3004765 w 4610101"/>
              <a:gd name="connsiteY41751" fmla="*/ 148449 h 6557032"/>
              <a:gd name="connsiteX41752" fmla="*/ 3008410 w 4610101"/>
              <a:gd name="connsiteY41752" fmla="*/ 143818 h 6557032"/>
              <a:gd name="connsiteX41753" fmla="*/ 3008410 w 4610101"/>
              <a:gd name="connsiteY41753" fmla="*/ 153915 h 6557032"/>
              <a:gd name="connsiteX41754" fmla="*/ 3009777 w 4610101"/>
              <a:gd name="connsiteY41754" fmla="*/ 147537 h 6557032"/>
              <a:gd name="connsiteX41755" fmla="*/ 3008858 w 4610101"/>
              <a:gd name="connsiteY41755" fmla="*/ 143250 h 6557032"/>
              <a:gd name="connsiteX41756" fmla="*/ 3013193 w 4610101"/>
              <a:gd name="connsiteY41756" fmla="*/ 137743 h 6557032"/>
              <a:gd name="connsiteX41757" fmla="*/ 3006587 w 4610101"/>
              <a:gd name="connsiteY41757" fmla="*/ 122938 h 6557032"/>
              <a:gd name="connsiteX41758" fmla="*/ 3022987 w 4610101"/>
              <a:gd name="connsiteY41758" fmla="*/ 119294 h 6557032"/>
              <a:gd name="connsiteX41759" fmla="*/ 3021165 w 4610101"/>
              <a:gd name="connsiteY41759" fmla="*/ 130227 h 6557032"/>
              <a:gd name="connsiteX41760" fmla="*/ 3037564 w 4610101"/>
              <a:gd name="connsiteY41760" fmla="*/ 152093 h 6557032"/>
              <a:gd name="connsiteX41761" fmla="*/ 3050319 w 4610101"/>
              <a:gd name="connsiteY41761" fmla="*/ 144804 h 6557032"/>
              <a:gd name="connsiteX41762" fmla="*/ 3052142 w 4610101"/>
              <a:gd name="connsiteY41762" fmla="*/ 153915 h 6557032"/>
              <a:gd name="connsiteX41763" fmla="*/ 3061816 w 4610101"/>
              <a:gd name="connsiteY41763" fmla="*/ 153352 h 6557032"/>
              <a:gd name="connsiteX41764" fmla="*/ 3055786 w 4610101"/>
              <a:gd name="connsiteY41764" fmla="*/ 159382 h 6557032"/>
              <a:gd name="connsiteX41765" fmla="*/ 3063075 w 4610101"/>
              <a:gd name="connsiteY41765" fmla="*/ 155737 h 6557032"/>
              <a:gd name="connsiteX41766" fmla="*/ 3063075 w 4610101"/>
              <a:gd name="connsiteY41766" fmla="*/ 157559 h 6557032"/>
              <a:gd name="connsiteX41767" fmla="*/ 3066719 w 4610101"/>
              <a:gd name="connsiteY41767" fmla="*/ 155737 h 6557032"/>
              <a:gd name="connsiteX41768" fmla="*/ 3068541 w 4610101"/>
              <a:gd name="connsiteY41768" fmla="*/ 164848 h 6557032"/>
              <a:gd name="connsiteX41769" fmla="*/ 3075830 w 4610101"/>
              <a:gd name="connsiteY41769" fmla="*/ 161204 h 6557032"/>
              <a:gd name="connsiteX41770" fmla="*/ 3075830 w 4610101"/>
              <a:gd name="connsiteY41770" fmla="*/ 186714 h 6557032"/>
              <a:gd name="connsiteX41771" fmla="*/ 3070363 w 4610101"/>
              <a:gd name="connsiteY41771" fmla="*/ 184892 h 6557032"/>
              <a:gd name="connsiteX41772" fmla="*/ 3070363 w 4610101"/>
              <a:gd name="connsiteY41772" fmla="*/ 190359 h 6557032"/>
              <a:gd name="connsiteX41773" fmla="*/ 3064897 w 4610101"/>
              <a:gd name="connsiteY41773" fmla="*/ 188536 h 6557032"/>
              <a:gd name="connsiteX41774" fmla="*/ 3063075 w 4610101"/>
              <a:gd name="connsiteY41774" fmla="*/ 204936 h 6557032"/>
              <a:gd name="connsiteX41775" fmla="*/ 3079474 w 4610101"/>
              <a:gd name="connsiteY41775" fmla="*/ 208580 h 6557032"/>
              <a:gd name="connsiteX41776" fmla="*/ 3077652 w 4610101"/>
              <a:gd name="connsiteY41776" fmla="*/ 223158 h 6557032"/>
              <a:gd name="connsiteX41777" fmla="*/ 3053964 w 4610101"/>
              <a:gd name="connsiteY41777" fmla="*/ 212225 h 6557032"/>
              <a:gd name="connsiteX41778" fmla="*/ 3048497 w 4610101"/>
              <a:gd name="connsiteY41778" fmla="*/ 219513 h 6557032"/>
              <a:gd name="connsiteX41779" fmla="*/ 3055786 w 4610101"/>
              <a:gd name="connsiteY41779" fmla="*/ 239557 h 6557032"/>
              <a:gd name="connsiteX41780" fmla="*/ 3061253 w 4610101"/>
              <a:gd name="connsiteY41780" fmla="*/ 230446 h 6557032"/>
              <a:gd name="connsiteX41781" fmla="*/ 3063075 w 4610101"/>
              <a:gd name="connsiteY41781" fmla="*/ 232269 h 6557032"/>
              <a:gd name="connsiteX41782" fmla="*/ 3064897 w 4610101"/>
              <a:gd name="connsiteY41782" fmla="*/ 230446 h 6557032"/>
              <a:gd name="connsiteX41783" fmla="*/ 3063075 w 4610101"/>
              <a:gd name="connsiteY41783" fmla="*/ 234091 h 6557032"/>
              <a:gd name="connsiteX41784" fmla="*/ 3064897 w 4610101"/>
              <a:gd name="connsiteY41784" fmla="*/ 235913 h 6557032"/>
              <a:gd name="connsiteX41785" fmla="*/ 3072186 w 4610101"/>
              <a:gd name="connsiteY41785" fmla="*/ 230446 h 6557032"/>
              <a:gd name="connsiteX41786" fmla="*/ 3077652 w 4610101"/>
              <a:gd name="connsiteY41786" fmla="*/ 245024 h 6557032"/>
              <a:gd name="connsiteX41787" fmla="*/ 3078305 w 4610101"/>
              <a:gd name="connsiteY41787" fmla="*/ 238822 h 6557032"/>
              <a:gd name="connsiteX41788" fmla="*/ 3083119 w 4610101"/>
              <a:gd name="connsiteY41788" fmla="*/ 246846 h 6557032"/>
              <a:gd name="connsiteX41789" fmla="*/ 3083119 w 4610101"/>
              <a:gd name="connsiteY41789" fmla="*/ 241379 h 6557032"/>
              <a:gd name="connsiteX41790" fmla="*/ 3078369 w 4610101"/>
              <a:gd name="connsiteY41790" fmla="*/ 238212 h 6557032"/>
              <a:gd name="connsiteX41791" fmla="*/ 3078563 w 4610101"/>
              <a:gd name="connsiteY41791" fmla="*/ 236368 h 6557032"/>
              <a:gd name="connsiteX41792" fmla="*/ 3084941 w 4610101"/>
              <a:gd name="connsiteY41792" fmla="*/ 230446 h 6557032"/>
              <a:gd name="connsiteX41793" fmla="*/ 3086829 w 4610101"/>
              <a:gd name="connsiteY41793" fmla="*/ 221477 h 6557032"/>
              <a:gd name="connsiteX41794" fmla="*/ 3091091 w 4610101"/>
              <a:gd name="connsiteY41794" fmla="*/ 230674 h 6557032"/>
              <a:gd name="connsiteX41795" fmla="*/ 3099518 w 4610101"/>
              <a:gd name="connsiteY41795" fmla="*/ 230446 h 6557032"/>
              <a:gd name="connsiteX41796" fmla="*/ 3090407 w 4610101"/>
              <a:gd name="connsiteY41796" fmla="*/ 228624 h 6557032"/>
              <a:gd name="connsiteX41797" fmla="*/ 3095874 w 4610101"/>
              <a:gd name="connsiteY41797" fmla="*/ 226802 h 6557032"/>
              <a:gd name="connsiteX41798" fmla="*/ 3092230 w 4610101"/>
              <a:gd name="connsiteY41798" fmla="*/ 217691 h 6557032"/>
              <a:gd name="connsiteX41799" fmla="*/ 3092230 w 4610101"/>
              <a:gd name="connsiteY41799" fmla="*/ 223158 h 6557032"/>
              <a:gd name="connsiteX41800" fmla="*/ 3088813 w 4610101"/>
              <a:gd name="connsiteY41800" fmla="*/ 220880 h 6557032"/>
              <a:gd name="connsiteX41801" fmla="*/ 3086864 w 4610101"/>
              <a:gd name="connsiteY41801" fmla="*/ 221313 h 6557032"/>
              <a:gd name="connsiteX41802" fmla="*/ 3087674 w 4610101"/>
              <a:gd name="connsiteY41802" fmla="*/ 217463 h 6557032"/>
              <a:gd name="connsiteX41803" fmla="*/ 3079474 w 4610101"/>
              <a:gd name="connsiteY41803" fmla="*/ 208580 h 6557032"/>
              <a:gd name="connsiteX41804" fmla="*/ 3095874 w 4610101"/>
              <a:gd name="connsiteY41804" fmla="*/ 195825 h 6557032"/>
              <a:gd name="connsiteX41805" fmla="*/ 3099518 w 4610101"/>
              <a:gd name="connsiteY41805" fmla="*/ 203114 h 6557032"/>
              <a:gd name="connsiteX41806" fmla="*/ 3101340 w 4610101"/>
              <a:gd name="connsiteY41806" fmla="*/ 194003 h 6557032"/>
              <a:gd name="connsiteX41807" fmla="*/ 3108629 w 4610101"/>
              <a:gd name="connsiteY41807" fmla="*/ 203114 h 6557032"/>
              <a:gd name="connsiteX41808" fmla="*/ 3106807 w 4610101"/>
              <a:gd name="connsiteY41808" fmla="*/ 179426 h 6557032"/>
              <a:gd name="connsiteX41809" fmla="*/ 3104985 w 4610101"/>
              <a:gd name="connsiteY41809" fmla="*/ 190359 h 6557032"/>
              <a:gd name="connsiteX41810" fmla="*/ 3099518 w 4610101"/>
              <a:gd name="connsiteY41810" fmla="*/ 188536 h 6557032"/>
              <a:gd name="connsiteX41811" fmla="*/ 3101340 w 4610101"/>
              <a:gd name="connsiteY41811" fmla="*/ 173959 h 6557032"/>
              <a:gd name="connsiteX41812" fmla="*/ 3099518 w 4610101"/>
              <a:gd name="connsiteY41812" fmla="*/ 175781 h 6557032"/>
              <a:gd name="connsiteX41813" fmla="*/ 3110451 w 4610101"/>
              <a:gd name="connsiteY41813" fmla="*/ 173959 h 6557032"/>
              <a:gd name="connsiteX41814" fmla="*/ 3114096 w 4610101"/>
              <a:gd name="connsiteY41814" fmla="*/ 188536 h 6557032"/>
              <a:gd name="connsiteX41815" fmla="*/ 3126851 w 4610101"/>
              <a:gd name="connsiteY41815" fmla="*/ 177603 h 6557032"/>
              <a:gd name="connsiteX41816" fmla="*/ 3126951 w 4610101"/>
              <a:gd name="connsiteY41816" fmla="*/ 178002 h 6557032"/>
              <a:gd name="connsiteX41817" fmla="*/ 3125029 w 4610101"/>
              <a:gd name="connsiteY41817" fmla="*/ 183070 h 6557032"/>
              <a:gd name="connsiteX41818" fmla="*/ 3127888 w 4610101"/>
              <a:gd name="connsiteY41818" fmla="*/ 181750 h 6557032"/>
              <a:gd name="connsiteX41819" fmla="*/ 3128673 w 4610101"/>
              <a:gd name="connsiteY41819" fmla="*/ 184892 h 6557032"/>
              <a:gd name="connsiteX41820" fmla="*/ 3129663 w 4610101"/>
              <a:gd name="connsiteY41820" fmla="*/ 180931 h 6557032"/>
              <a:gd name="connsiteX41821" fmla="*/ 3132510 w 4610101"/>
              <a:gd name="connsiteY41821" fmla="*/ 179617 h 6557032"/>
              <a:gd name="connsiteX41822" fmla="*/ 3134140 w 4610101"/>
              <a:gd name="connsiteY41822" fmla="*/ 181248 h 6557032"/>
              <a:gd name="connsiteX41823" fmla="*/ 3133135 w 4610101"/>
              <a:gd name="connsiteY41823" fmla="*/ 179328 h 6557032"/>
              <a:gd name="connsiteX41824" fmla="*/ 3136873 w 4610101"/>
              <a:gd name="connsiteY41824" fmla="*/ 177603 h 6557032"/>
              <a:gd name="connsiteX41825" fmla="*/ 3143250 w 4610101"/>
              <a:gd name="connsiteY41825" fmla="*/ 166670 h 6557032"/>
              <a:gd name="connsiteX41826" fmla="*/ 3143250 w 4610101"/>
              <a:gd name="connsiteY41826" fmla="*/ 181248 h 6557032"/>
              <a:gd name="connsiteX41827" fmla="*/ 3156006 w 4610101"/>
              <a:gd name="connsiteY41827" fmla="*/ 170315 h 6557032"/>
              <a:gd name="connsiteX41828" fmla="*/ 3159650 w 4610101"/>
              <a:gd name="connsiteY41828" fmla="*/ 175781 h 6557032"/>
              <a:gd name="connsiteX41829" fmla="*/ 3157828 w 4610101"/>
              <a:gd name="connsiteY41829" fmla="*/ 184892 h 6557032"/>
              <a:gd name="connsiteX41830" fmla="*/ 3152361 w 4610101"/>
              <a:gd name="connsiteY41830" fmla="*/ 181248 h 6557032"/>
              <a:gd name="connsiteX41831" fmla="*/ 3161472 w 4610101"/>
              <a:gd name="connsiteY41831" fmla="*/ 201292 h 6557032"/>
              <a:gd name="connsiteX41832" fmla="*/ 3192478 w 4610101"/>
              <a:gd name="connsiteY41832" fmla="*/ 201291 h 6557032"/>
              <a:gd name="connsiteX41833" fmla="*/ 3197916 w 4610101"/>
              <a:gd name="connsiteY41833" fmla="*/ 206751 h 6557032"/>
              <a:gd name="connsiteX41834" fmla="*/ 3197916 w 4610101"/>
              <a:gd name="connsiteY41834" fmla="*/ 208580 h 6557032"/>
              <a:gd name="connsiteX41835" fmla="*/ 3192449 w 4610101"/>
              <a:gd name="connsiteY41835" fmla="*/ 204936 h 6557032"/>
              <a:gd name="connsiteX41836" fmla="*/ 3192449 w 4610101"/>
              <a:gd name="connsiteY41836" fmla="*/ 210403 h 6557032"/>
              <a:gd name="connsiteX41837" fmla="*/ 3188805 w 4610101"/>
              <a:gd name="connsiteY41837" fmla="*/ 206758 h 6557032"/>
              <a:gd name="connsiteX41838" fmla="*/ 3186072 w 4610101"/>
              <a:gd name="connsiteY41838" fmla="*/ 217919 h 6557032"/>
              <a:gd name="connsiteX41839" fmla="*/ 3187182 w 4610101"/>
              <a:gd name="connsiteY41839" fmla="*/ 220675 h 6557032"/>
              <a:gd name="connsiteX41840" fmla="*/ 3186982 w 4610101"/>
              <a:gd name="connsiteY41840" fmla="*/ 221336 h 6557032"/>
              <a:gd name="connsiteX41841" fmla="*/ 3187520 w 4610101"/>
              <a:gd name="connsiteY41841" fmla="*/ 221515 h 6557032"/>
              <a:gd name="connsiteX41842" fmla="*/ 3189318 w 4610101"/>
              <a:gd name="connsiteY41842" fmla="*/ 225976 h 6557032"/>
              <a:gd name="connsiteX41843" fmla="*/ 3188805 w 4610101"/>
              <a:gd name="connsiteY41843" fmla="*/ 235913 h 6557032"/>
              <a:gd name="connsiteX41844" fmla="*/ 3181516 w 4610101"/>
              <a:gd name="connsiteY41844" fmla="*/ 232269 h 6557032"/>
              <a:gd name="connsiteX41845" fmla="*/ 3179694 w 4610101"/>
              <a:gd name="connsiteY41845" fmla="*/ 224980 h 6557032"/>
              <a:gd name="connsiteX41846" fmla="*/ 3201560 w 4610101"/>
              <a:gd name="connsiteY41846" fmla="*/ 261423 h 6557032"/>
              <a:gd name="connsiteX41847" fmla="*/ 3210671 w 4610101"/>
              <a:gd name="connsiteY41847" fmla="*/ 261423 h 6557032"/>
              <a:gd name="connsiteX41848" fmla="*/ 3210671 w 4610101"/>
              <a:gd name="connsiteY41848" fmla="*/ 245024 h 6557032"/>
              <a:gd name="connsiteX41849" fmla="*/ 3201560 w 4610101"/>
              <a:gd name="connsiteY41849" fmla="*/ 241379 h 6557032"/>
              <a:gd name="connsiteX41850" fmla="*/ 3196093 w 4610101"/>
              <a:gd name="connsiteY41850" fmla="*/ 248668 h 6557032"/>
              <a:gd name="connsiteX41851" fmla="*/ 3194271 w 4610101"/>
              <a:gd name="connsiteY41851" fmla="*/ 243201 h 6557032"/>
              <a:gd name="connsiteX41852" fmla="*/ 3197592 w 4610101"/>
              <a:gd name="connsiteY41852" fmla="*/ 238221 h 6557032"/>
              <a:gd name="connsiteX41853" fmla="*/ 3203610 w 4610101"/>
              <a:gd name="connsiteY41853" fmla="*/ 240924 h 6557032"/>
              <a:gd name="connsiteX41854" fmla="*/ 3216137 w 4610101"/>
              <a:gd name="connsiteY41854" fmla="*/ 243202 h 6557032"/>
              <a:gd name="connsiteX41855" fmla="*/ 3212493 w 4610101"/>
              <a:gd name="connsiteY41855" fmla="*/ 237735 h 6557032"/>
              <a:gd name="connsiteX41856" fmla="*/ 3223223 w 4610101"/>
              <a:gd name="connsiteY41856" fmla="*/ 247724 h 6557032"/>
              <a:gd name="connsiteX41857" fmla="*/ 3225704 w 4610101"/>
              <a:gd name="connsiteY41857" fmla="*/ 250034 h 6557032"/>
              <a:gd name="connsiteX41858" fmla="*/ 3236181 w 4610101"/>
              <a:gd name="connsiteY41858" fmla="*/ 270534 h 6557032"/>
              <a:gd name="connsiteX41859" fmla="*/ 3219782 w 4610101"/>
              <a:gd name="connsiteY41859" fmla="*/ 281467 h 6557032"/>
              <a:gd name="connsiteX41860" fmla="*/ 3225704 w 4610101"/>
              <a:gd name="connsiteY41860" fmla="*/ 284656 h 6557032"/>
              <a:gd name="connsiteX41861" fmla="*/ 3228268 w 4610101"/>
              <a:gd name="connsiteY41861" fmla="*/ 289416 h 6557032"/>
              <a:gd name="connsiteX41862" fmla="*/ 3224793 w 4610101"/>
              <a:gd name="connsiteY41862" fmla="*/ 293083 h 6557032"/>
              <a:gd name="connsiteX41863" fmla="*/ 3228893 w 4610101"/>
              <a:gd name="connsiteY41863" fmla="*/ 296045 h 6557032"/>
              <a:gd name="connsiteX41864" fmla="*/ 3228893 w 4610101"/>
              <a:gd name="connsiteY41864" fmla="*/ 290578 h 6557032"/>
              <a:gd name="connsiteX41865" fmla="*/ 3236181 w 4610101"/>
              <a:gd name="connsiteY41865" fmla="*/ 270534 h 6557032"/>
              <a:gd name="connsiteX41866" fmla="*/ 3236865 w 4610101"/>
              <a:gd name="connsiteY41866" fmla="*/ 261651 h 6557032"/>
              <a:gd name="connsiteX41867" fmla="*/ 3238744 w 4610101"/>
              <a:gd name="connsiteY41867" fmla="*/ 258698 h 6557032"/>
              <a:gd name="connsiteX41868" fmla="*/ 3243470 w 4610101"/>
              <a:gd name="connsiteY41868" fmla="*/ 265068 h 6557032"/>
              <a:gd name="connsiteX41869" fmla="*/ 3242331 w 4610101"/>
              <a:gd name="connsiteY41869" fmla="*/ 258690 h 6557032"/>
              <a:gd name="connsiteX41870" fmla="*/ 3240964 w 4610101"/>
              <a:gd name="connsiteY41870" fmla="*/ 255209 h 6557032"/>
              <a:gd name="connsiteX41871" fmla="*/ 3241648 w 4610101"/>
              <a:gd name="connsiteY41871" fmla="*/ 254135 h 6557032"/>
              <a:gd name="connsiteX41872" fmla="*/ 3250759 w 4610101"/>
              <a:gd name="connsiteY41872" fmla="*/ 261423 h 6557032"/>
              <a:gd name="connsiteX41873" fmla="*/ 3258047 w 4610101"/>
              <a:gd name="connsiteY41873" fmla="*/ 254135 h 6557032"/>
              <a:gd name="connsiteX41874" fmla="*/ 3278091 w 4610101"/>
              <a:gd name="connsiteY41874" fmla="*/ 268712 h 6557032"/>
              <a:gd name="connsiteX41875" fmla="*/ 3274447 w 4610101"/>
              <a:gd name="connsiteY41875" fmla="*/ 232269 h 6557032"/>
              <a:gd name="connsiteX41876" fmla="*/ 3276269 w 4610101"/>
              <a:gd name="connsiteY41876" fmla="*/ 246846 h 6557032"/>
              <a:gd name="connsiteX41877" fmla="*/ 3279913 w 4610101"/>
              <a:gd name="connsiteY41877" fmla="*/ 234091 h 6557032"/>
              <a:gd name="connsiteX41878" fmla="*/ 3286519 w 4610101"/>
              <a:gd name="connsiteY41878" fmla="*/ 247301 h 6557032"/>
              <a:gd name="connsiteX41879" fmla="*/ 3295383 w 4610101"/>
              <a:gd name="connsiteY41879" fmla="*/ 254212 h 6557032"/>
              <a:gd name="connsiteX41880" fmla="*/ 3294491 w 4610101"/>
              <a:gd name="connsiteY41880" fmla="*/ 257779 h 6557032"/>
              <a:gd name="connsiteX41881" fmla="*/ 3296886 w 4610101"/>
              <a:gd name="connsiteY41881" fmla="*/ 255384 h 6557032"/>
              <a:gd name="connsiteX41882" fmla="*/ 3299957 w 4610101"/>
              <a:gd name="connsiteY41882" fmla="*/ 257779 h 6557032"/>
              <a:gd name="connsiteX41883" fmla="*/ 3299957 w 4610101"/>
              <a:gd name="connsiteY41883" fmla="*/ 252312 h 6557032"/>
              <a:gd name="connsiteX41884" fmla="*/ 3301780 w 4610101"/>
              <a:gd name="connsiteY41884" fmla="*/ 250490 h 6557032"/>
              <a:gd name="connsiteX41885" fmla="*/ 3299958 w 4610101"/>
              <a:gd name="connsiteY41885" fmla="*/ 250945 h 6557032"/>
              <a:gd name="connsiteX41886" fmla="*/ 3299958 w 4610101"/>
              <a:gd name="connsiteY41886" fmla="*/ 248668 h 6557032"/>
              <a:gd name="connsiteX41887" fmla="*/ 3299957 w 4610101"/>
              <a:gd name="connsiteY41887" fmla="*/ 239557 h 6557032"/>
              <a:gd name="connsiteX41888" fmla="*/ 3307246 w 4610101"/>
              <a:gd name="connsiteY41888" fmla="*/ 246846 h 6557032"/>
              <a:gd name="connsiteX41889" fmla="*/ 3309068 w 4610101"/>
              <a:gd name="connsiteY41889" fmla="*/ 243202 h 6557032"/>
              <a:gd name="connsiteX41890" fmla="*/ 3314535 w 4610101"/>
              <a:gd name="connsiteY41890" fmla="*/ 268712 h 6557032"/>
              <a:gd name="connsiteX41891" fmla="*/ 3320001 w 4610101"/>
              <a:gd name="connsiteY41891" fmla="*/ 265068 h 6557032"/>
              <a:gd name="connsiteX41892" fmla="*/ 3318179 w 4610101"/>
              <a:gd name="connsiteY41892" fmla="*/ 276001 h 6557032"/>
              <a:gd name="connsiteX41893" fmla="*/ 3330934 w 4610101"/>
              <a:gd name="connsiteY41893" fmla="*/ 272356 h 6557032"/>
              <a:gd name="connsiteX41894" fmla="*/ 3325468 w 4610101"/>
              <a:gd name="connsiteY41894" fmla="*/ 265068 h 6557032"/>
              <a:gd name="connsiteX41895" fmla="*/ 3323646 w 4610101"/>
              <a:gd name="connsiteY41895" fmla="*/ 268712 h 6557032"/>
              <a:gd name="connsiteX41896" fmla="*/ 3330934 w 4610101"/>
              <a:gd name="connsiteY41896" fmla="*/ 257779 h 6557032"/>
              <a:gd name="connsiteX41897" fmla="*/ 3341867 w 4610101"/>
              <a:gd name="connsiteY41897" fmla="*/ 286934 h 6557032"/>
              <a:gd name="connsiteX41898" fmla="*/ 3345512 w 4610101"/>
              <a:gd name="connsiteY41898" fmla="*/ 266890 h 6557032"/>
              <a:gd name="connsiteX41899" fmla="*/ 3356445 w 4610101"/>
              <a:gd name="connsiteY41899" fmla="*/ 279645 h 6557032"/>
              <a:gd name="connsiteX41900" fmla="*/ 3347855 w 4610101"/>
              <a:gd name="connsiteY41900" fmla="*/ 286517 h 6557032"/>
              <a:gd name="connsiteX41901" fmla="*/ 3347334 w 4610101"/>
              <a:gd name="connsiteY41901" fmla="*/ 283289 h 6557032"/>
              <a:gd name="connsiteX41902" fmla="*/ 3343007 w 4610101"/>
              <a:gd name="connsiteY41902" fmla="*/ 290350 h 6557032"/>
              <a:gd name="connsiteX41903" fmla="*/ 3345301 w 4610101"/>
              <a:gd name="connsiteY41903" fmla="*/ 295563 h 6557032"/>
              <a:gd name="connsiteX41904" fmla="*/ 3344145 w 4610101"/>
              <a:gd name="connsiteY41904" fmla="*/ 302878 h 6557032"/>
              <a:gd name="connsiteX41905" fmla="*/ 3350978 w 4610101"/>
              <a:gd name="connsiteY41905" fmla="*/ 308800 h 6557032"/>
              <a:gd name="connsiteX41906" fmla="*/ 3362376 w 4610101"/>
              <a:gd name="connsiteY41906" fmla="*/ 310066 h 6557032"/>
              <a:gd name="connsiteX41907" fmla="*/ 3363734 w 4610101"/>
              <a:gd name="connsiteY41907" fmla="*/ 310622 h 6557032"/>
              <a:gd name="connsiteX41908" fmla="*/ 3363594 w 4610101"/>
              <a:gd name="connsiteY41908" fmla="*/ 310201 h 6557032"/>
              <a:gd name="connsiteX41909" fmla="*/ 3367378 w 4610101"/>
              <a:gd name="connsiteY41909" fmla="*/ 310622 h 6557032"/>
              <a:gd name="connsiteX41910" fmla="*/ 3358495 w 4610101"/>
              <a:gd name="connsiteY41910" fmla="*/ 315177 h 6557032"/>
              <a:gd name="connsiteX41911" fmla="*/ 3356771 w 4610101"/>
              <a:gd name="connsiteY41911" fmla="*/ 323606 h 6557032"/>
              <a:gd name="connsiteX41912" fmla="*/ 3356445 w 4610101"/>
              <a:gd name="connsiteY41912" fmla="*/ 323377 h 6557032"/>
              <a:gd name="connsiteX41913" fmla="*/ 3354623 w 4610101"/>
              <a:gd name="connsiteY41913" fmla="*/ 327022 h 6557032"/>
              <a:gd name="connsiteX41914" fmla="*/ 3360089 w 4610101"/>
              <a:gd name="connsiteY41914" fmla="*/ 328844 h 6557032"/>
              <a:gd name="connsiteX41915" fmla="*/ 3360317 w 4610101"/>
              <a:gd name="connsiteY41915" fmla="*/ 326110 h 6557032"/>
              <a:gd name="connsiteX41916" fmla="*/ 3357513 w 4610101"/>
              <a:gd name="connsiteY41916" fmla="*/ 324131 h 6557032"/>
              <a:gd name="connsiteX41917" fmla="*/ 3363734 w 4610101"/>
              <a:gd name="connsiteY41917" fmla="*/ 317911 h 6557032"/>
              <a:gd name="connsiteX41918" fmla="*/ 3383777 w 4610101"/>
              <a:gd name="connsiteY41918" fmla="*/ 319733 h 6557032"/>
              <a:gd name="connsiteX41919" fmla="*/ 3381955 w 4610101"/>
              <a:gd name="connsiteY41919" fmla="*/ 285112 h 6557032"/>
              <a:gd name="connsiteX41920" fmla="*/ 3383777 w 4610101"/>
              <a:gd name="connsiteY41920" fmla="*/ 279645 h 6557032"/>
              <a:gd name="connsiteX41921" fmla="*/ 3389244 w 4610101"/>
              <a:gd name="connsiteY41921" fmla="*/ 294223 h 6557032"/>
              <a:gd name="connsiteX41922" fmla="*/ 3394710 w 4610101"/>
              <a:gd name="connsiteY41922" fmla="*/ 279645 h 6557032"/>
              <a:gd name="connsiteX41923" fmla="*/ 3387422 w 4610101"/>
              <a:gd name="connsiteY41923" fmla="*/ 274179 h 6557032"/>
              <a:gd name="connsiteX41924" fmla="*/ 3385600 w 4610101"/>
              <a:gd name="connsiteY41924" fmla="*/ 277823 h 6557032"/>
              <a:gd name="connsiteX41925" fmla="*/ 3374666 w 4610101"/>
              <a:gd name="connsiteY41925" fmla="*/ 268712 h 6557032"/>
              <a:gd name="connsiteX41926" fmla="*/ 3374666 w 4610101"/>
              <a:gd name="connsiteY41926" fmla="*/ 257779 h 6557032"/>
              <a:gd name="connsiteX41927" fmla="*/ 3381955 w 4610101"/>
              <a:gd name="connsiteY41927" fmla="*/ 261423 h 6557032"/>
              <a:gd name="connsiteX41928" fmla="*/ 3369200 w 4610101"/>
              <a:gd name="connsiteY41928" fmla="*/ 245024 h 6557032"/>
              <a:gd name="connsiteX41929" fmla="*/ 3378311 w 4610101"/>
              <a:gd name="connsiteY41929" fmla="*/ 237735 h 6557032"/>
              <a:gd name="connsiteX41930" fmla="*/ 3387422 w 4610101"/>
              <a:gd name="connsiteY41930" fmla="*/ 239557 h 6557032"/>
              <a:gd name="connsiteX41931" fmla="*/ 3391066 w 4610101"/>
              <a:gd name="connsiteY41931" fmla="*/ 224980 h 6557032"/>
              <a:gd name="connsiteX41932" fmla="*/ 3400177 w 4610101"/>
              <a:gd name="connsiteY41932" fmla="*/ 235913 h 6557032"/>
              <a:gd name="connsiteX41933" fmla="*/ 3394710 w 4610101"/>
              <a:gd name="connsiteY41933" fmla="*/ 223158 h 6557032"/>
              <a:gd name="connsiteX41934" fmla="*/ 3407466 w 4610101"/>
              <a:gd name="connsiteY41934" fmla="*/ 212225 h 6557032"/>
              <a:gd name="connsiteX41935" fmla="*/ 3418399 w 4610101"/>
              <a:gd name="connsiteY41935" fmla="*/ 208580 h 6557032"/>
              <a:gd name="connsiteX41936" fmla="*/ 3420221 w 4610101"/>
              <a:gd name="connsiteY41936" fmla="*/ 195825 h 6557032"/>
              <a:gd name="connsiteX41937" fmla="*/ 3414754 w 4610101"/>
              <a:gd name="connsiteY41937" fmla="*/ 197647 h 6557032"/>
              <a:gd name="connsiteX41938" fmla="*/ 3414754 w 4610101"/>
              <a:gd name="connsiteY41938" fmla="*/ 183070 h 6557032"/>
              <a:gd name="connsiteX41939" fmla="*/ 3418399 w 4610101"/>
              <a:gd name="connsiteY41939" fmla="*/ 188536 h 6557032"/>
              <a:gd name="connsiteX41940" fmla="*/ 3420221 w 4610101"/>
              <a:gd name="connsiteY41940" fmla="*/ 172137 h 6557032"/>
              <a:gd name="connsiteX41941" fmla="*/ 3431154 w 4610101"/>
              <a:gd name="connsiteY41941" fmla="*/ 175781 h 6557032"/>
              <a:gd name="connsiteX41942" fmla="*/ 3425687 w 4610101"/>
              <a:gd name="connsiteY41942" fmla="*/ 175781 h 6557032"/>
              <a:gd name="connsiteX41943" fmla="*/ 3425687 w 4610101"/>
              <a:gd name="connsiteY41943" fmla="*/ 181248 h 6557032"/>
              <a:gd name="connsiteX41944" fmla="*/ 3442087 w 4610101"/>
              <a:gd name="connsiteY41944" fmla="*/ 192181 h 6557032"/>
              <a:gd name="connsiteX41945" fmla="*/ 3438443 w 4610101"/>
              <a:gd name="connsiteY41945" fmla="*/ 194003 h 6557032"/>
              <a:gd name="connsiteX41946" fmla="*/ 3431154 w 4610101"/>
              <a:gd name="connsiteY41946" fmla="*/ 183070 h 6557032"/>
              <a:gd name="connsiteX41947" fmla="*/ 3438443 w 4610101"/>
              <a:gd name="connsiteY41947" fmla="*/ 199469 h 6557032"/>
              <a:gd name="connsiteX41948" fmla="*/ 3447553 w 4610101"/>
              <a:gd name="connsiteY41948" fmla="*/ 197647 h 6557032"/>
              <a:gd name="connsiteX41949" fmla="*/ 3443909 w 4610101"/>
              <a:gd name="connsiteY41949" fmla="*/ 188536 h 6557032"/>
              <a:gd name="connsiteX41950" fmla="*/ 3449376 w 4610101"/>
              <a:gd name="connsiteY41950" fmla="*/ 186714 h 6557032"/>
              <a:gd name="connsiteX41951" fmla="*/ 3451198 w 4610101"/>
              <a:gd name="connsiteY41951" fmla="*/ 197647 h 6557032"/>
              <a:gd name="connsiteX41952" fmla="*/ 3456664 w 4610101"/>
              <a:gd name="connsiteY41952" fmla="*/ 195825 h 6557032"/>
              <a:gd name="connsiteX41953" fmla="*/ 3456664 w 4610101"/>
              <a:gd name="connsiteY41953" fmla="*/ 204936 h 6557032"/>
              <a:gd name="connsiteX41954" fmla="*/ 3458487 w 4610101"/>
              <a:gd name="connsiteY41954" fmla="*/ 234091 h 6557032"/>
              <a:gd name="connsiteX41955" fmla="*/ 3460309 w 4610101"/>
              <a:gd name="connsiteY41955" fmla="*/ 219513 h 6557032"/>
              <a:gd name="connsiteX41956" fmla="*/ 3471242 w 4610101"/>
              <a:gd name="connsiteY41956" fmla="*/ 250490 h 6557032"/>
              <a:gd name="connsiteX41957" fmla="*/ 3462131 w 4610101"/>
              <a:gd name="connsiteY41957" fmla="*/ 254135 h 6557032"/>
              <a:gd name="connsiteX41958" fmla="*/ 3449376 w 4610101"/>
              <a:gd name="connsiteY41958" fmla="*/ 243202 h 6557032"/>
              <a:gd name="connsiteX41959" fmla="*/ 3447553 w 4610101"/>
              <a:gd name="connsiteY41959" fmla="*/ 250490 h 6557032"/>
              <a:gd name="connsiteX41960" fmla="*/ 3436621 w 4610101"/>
              <a:gd name="connsiteY41960" fmla="*/ 248668 h 6557032"/>
              <a:gd name="connsiteX41961" fmla="*/ 3425687 w 4610101"/>
              <a:gd name="connsiteY41961" fmla="*/ 268712 h 6557032"/>
              <a:gd name="connsiteX41962" fmla="*/ 3427510 w 4610101"/>
              <a:gd name="connsiteY41962" fmla="*/ 234091 h 6557032"/>
              <a:gd name="connsiteX41963" fmla="*/ 3422043 w 4610101"/>
              <a:gd name="connsiteY41963" fmla="*/ 235913 h 6557032"/>
              <a:gd name="connsiteX41964" fmla="*/ 3425687 w 4610101"/>
              <a:gd name="connsiteY41964" fmla="*/ 250490 h 6557032"/>
              <a:gd name="connsiteX41965" fmla="*/ 3423826 w 4610101"/>
              <a:gd name="connsiteY41965" fmla="*/ 246767 h 6557032"/>
              <a:gd name="connsiteX41966" fmla="*/ 3423865 w 4610101"/>
              <a:gd name="connsiteY41966" fmla="*/ 245024 h 6557032"/>
              <a:gd name="connsiteX41967" fmla="*/ 3423562 w 4610101"/>
              <a:gd name="connsiteY41967" fmla="*/ 246238 h 6557032"/>
              <a:gd name="connsiteX41968" fmla="*/ 3422043 w 4610101"/>
              <a:gd name="connsiteY41968" fmla="*/ 243202 h 6557032"/>
              <a:gd name="connsiteX41969" fmla="*/ 3418695 w 4610101"/>
              <a:gd name="connsiteY41969" fmla="*/ 250022 h 6557032"/>
              <a:gd name="connsiteX41970" fmla="*/ 3417716 w 4610101"/>
              <a:gd name="connsiteY41970" fmla="*/ 249351 h 6557032"/>
              <a:gd name="connsiteX41971" fmla="*/ 3420221 w 4610101"/>
              <a:gd name="connsiteY41971" fmla="*/ 245024 h 6557032"/>
              <a:gd name="connsiteX41972" fmla="*/ 3411110 w 4610101"/>
              <a:gd name="connsiteY41972" fmla="*/ 261423 h 6557032"/>
              <a:gd name="connsiteX41973" fmla="*/ 3412465 w 4610101"/>
              <a:gd name="connsiteY41973" fmla="*/ 262713 h 6557032"/>
              <a:gd name="connsiteX41974" fmla="*/ 3409744 w 4610101"/>
              <a:gd name="connsiteY41974" fmla="*/ 268256 h 6557032"/>
              <a:gd name="connsiteX41975" fmla="*/ 3410483 w 4610101"/>
              <a:gd name="connsiteY41975" fmla="*/ 283289 h 6557032"/>
              <a:gd name="connsiteX41976" fmla="*/ 3409288 w 4610101"/>
              <a:gd name="connsiteY41976" fmla="*/ 283289 h 6557032"/>
              <a:gd name="connsiteX41977" fmla="*/ 3410606 w 4610101"/>
              <a:gd name="connsiteY41977" fmla="*/ 285793 h 6557032"/>
              <a:gd name="connsiteX41978" fmla="*/ 3411110 w 4610101"/>
              <a:gd name="connsiteY41978" fmla="*/ 296045 h 6557032"/>
              <a:gd name="connsiteX41979" fmla="*/ 3405643 w 4610101"/>
              <a:gd name="connsiteY41979" fmla="*/ 294223 h 6557032"/>
              <a:gd name="connsiteX41980" fmla="*/ 3403821 w 4610101"/>
              <a:gd name="connsiteY41980" fmla="*/ 312444 h 6557032"/>
              <a:gd name="connsiteX41981" fmla="*/ 3422043 w 4610101"/>
              <a:gd name="connsiteY41981" fmla="*/ 325199 h 6557032"/>
              <a:gd name="connsiteX41982" fmla="*/ 3412932 w 4610101"/>
              <a:gd name="connsiteY41982" fmla="*/ 299689 h 6557032"/>
              <a:gd name="connsiteX41983" fmla="*/ 3416577 w 4610101"/>
              <a:gd name="connsiteY41983" fmla="*/ 305155 h 6557032"/>
              <a:gd name="connsiteX41984" fmla="*/ 3416577 w 4610101"/>
              <a:gd name="connsiteY41984" fmla="*/ 290578 h 6557032"/>
              <a:gd name="connsiteX41985" fmla="*/ 3411566 w 4610101"/>
              <a:gd name="connsiteY41985" fmla="*/ 287617 h 6557032"/>
              <a:gd name="connsiteX41986" fmla="*/ 3410606 w 4610101"/>
              <a:gd name="connsiteY41986" fmla="*/ 285793 h 6557032"/>
              <a:gd name="connsiteX41987" fmla="*/ 3410483 w 4610101"/>
              <a:gd name="connsiteY41987" fmla="*/ 283289 h 6557032"/>
              <a:gd name="connsiteX41988" fmla="*/ 3423865 w 4610101"/>
              <a:gd name="connsiteY41988" fmla="*/ 283289 h 6557032"/>
              <a:gd name="connsiteX41989" fmla="*/ 3426827 w 4610101"/>
              <a:gd name="connsiteY41989" fmla="*/ 312216 h 6557032"/>
              <a:gd name="connsiteX41990" fmla="*/ 3435659 w 4610101"/>
              <a:gd name="connsiteY41990" fmla="*/ 337070 h 6557032"/>
              <a:gd name="connsiteX41991" fmla="*/ 3429332 w 4610101"/>
              <a:gd name="connsiteY41991" fmla="*/ 332488 h 6557032"/>
              <a:gd name="connsiteX41992" fmla="*/ 3438443 w 4610101"/>
              <a:gd name="connsiteY41992" fmla="*/ 343421 h 6557032"/>
              <a:gd name="connsiteX41993" fmla="*/ 3436621 w 4610101"/>
              <a:gd name="connsiteY41993" fmla="*/ 338949 h 6557032"/>
              <a:gd name="connsiteX41994" fmla="*/ 3436621 w 4610101"/>
              <a:gd name="connsiteY41994" fmla="*/ 337954 h 6557032"/>
              <a:gd name="connsiteX41995" fmla="*/ 3443909 w 4610101"/>
              <a:gd name="connsiteY41995" fmla="*/ 337954 h 6557032"/>
              <a:gd name="connsiteX41996" fmla="*/ 3453020 w 4610101"/>
              <a:gd name="connsiteY41996" fmla="*/ 345242 h 6557032"/>
              <a:gd name="connsiteX41997" fmla="*/ 3451198 w 4610101"/>
              <a:gd name="connsiteY41997" fmla="*/ 334310 h 6557032"/>
              <a:gd name="connsiteX41998" fmla="*/ 3462131 w 4610101"/>
              <a:gd name="connsiteY41998" fmla="*/ 334310 h 6557032"/>
              <a:gd name="connsiteX41999" fmla="*/ 3456671 w 4610101"/>
              <a:gd name="connsiteY41999" fmla="*/ 329568 h 6557032"/>
              <a:gd name="connsiteX42000" fmla="*/ 3457120 w 4610101"/>
              <a:gd name="connsiteY42000" fmla="*/ 329299 h 6557032"/>
              <a:gd name="connsiteX42001" fmla="*/ 3456664 w 4610101"/>
              <a:gd name="connsiteY42001" fmla="*/ 325199 h 6557032"/>
              <a:gd name="connsiteX42002" fmla="*/ 3483997 w 4610101"/>
              <a:gd name="connsiteY42002" fmla="*/ 339777 h 6557032"/>
              <a:gd name="connsiteX42003" fmla="*/ 3482175 w 4610101"/>
              <a:gd name="connsiteY42003" fmla="*/ 328844 h 6557032"/>
              <a:gd name="connsiteX42004" fmla="*/ 3485819 w 4610101"/>
              <a:gd name="connsiteY42004" fmla="*/ 347066 h 6557032"/>
              <a:gd name="connsiteX42005" fmla="*/ 3478530 w 4610101"/>
              <a:gd name="connsiteY42005" fmla="*/ 345242 h 6557032"/>
              <a:gd name="connsiteX42006" fmla="*/ 3476708 w 4610101"/>
              <a:gd name="connsiteY42006" fmla="*/ 350710 h 6557032"/>
              <a:gd name="connsiteX42007" fmla="*/ 3474886 w 4610101"/>
              <a:gd name="connsiteY42007" fmla="*/ 339777 h 6557032"/>
              <a:gd name="connsiteX42008" fmla="*/ 3463953 w 4610101"/>
              <a:gd name="connsiteY42008" fmla="*/ 332488 h 6557032"/>
              <a:gd name="connsiteX42009" fmla="*/ 3456664 w 4610101"/>
              <a:gd name="connsiteY42009" fmla="*/ 341598 h 6557032"/>
              <a:gd name="connsiteX42010" fmla="*/ 3474886 w 4610101"/>
              <a:gd name="connsiteY42010" fmla="*/ 357998 h 6557032"/>
              <a:gd name="connsiteX42011" fmla="*/ 3478530 w 4610101"/>
              <a:gd name="connsiteY42011" fmla="*/ 350710 h 6557032"/>
              <a:gd name="connsiteX42012" fmla="*/ 3500397 w 4610101"/>
              <a:gd name="connsiteY42012" fmla="*/ 367109 h 6557032"/>
              <a:gd name="connsiteX42013" fmla="*/ 3498574 w 4610101"/>
              <a:gd name="connsiteY42013" fmla="*/ 363465 h 6557032"/>
              <a:gd name="connsiteX42014" fmla="*/ 3509507 w 4610101"/>
              <a:gd name="connsiteY42014" fmla="*/ 372576 h 6557032"/>
              <a:gd name="connsiteX42015" fmla="*/ 3507685 w 4610101"/>
              <a:gd name="connsiteY42015" fmla="*/ 352532 h 6557032"/>
              <a:gd name="connsiteX42016" fmla="*/ 3522263 w 4610101"/>
              <a:gd name="connsiteY42016" fmla="*/ 376220 h 6557032"/>
              <a:gd name="connsiteX42017" fmla="*/ 3533196 w 4610101"/>
              <a:gd name="connsiteY42017" fmla="*/ 374397 h 6557032"/>
              <a:gd name="connsiteX42018" fmla="*/ 3529551 w 4610101"/>
              <a:gd name="connsiteY42018" fmla="*/ 368932 h 6557032"/>
              <a:gd name="connsiteX42019" fmla="*/ 3531374 w 4610101"/>
              <a:gd name="connsiteY42019" fmla="*/ 372576 h 6557032"/>
              <a:gd name="connsiteX42020" fmla="*/ 3522263 w 4610101"/>
              <a:gd name="connsiteY42020" fmla="*/ 363465 h 6557032"/>
              <a:gd name="connsiteX42021" fmla="*/ 3525907 w 4610101"/>
              <a:gd name="connsiteY42021" fmla="*/ 361642 h 6557032"/>
              <a:gd name="connsiteX42022" fmla="*/ 3505863 w 4610101"/>
              <a:gd name="connsiteY42022" fmla="*/ 339777 h 6557032"/>
              <a:gd name="connsiteX42023" fmla="*/ 3504041 w 4610101"/>
              <a:gd name="connsiteY42023" fmla="*/ 357998 h 6557032"/>
              <a:gd name="connsiteX42024" fmla="*/ 3498574 w 4610101"/>
              <a:gd name="connsiteY42024" fmla="*/ 337954 h 6557032"/>
              <a:gd name="connsiteX42025" fmla="*/ 3491286 w 4610101"/>
              <a:gd name="connsiteY42025" fmla="*/ 321555 h 6557032"/>
              <a:gd name="connsiteX42026" fmla="*/ 3498574 w 4610101"/>
              <a:gd name="connsiteY42026" fmla="*/ 319733 h 6557032"/>
              <a:gd name="connsiteX42027" fmla="*/ 3509507 w 4610101"/>
              <a:gd name="connsiteY42027" fmla="*/ 332488 h 6557032"/>
              <a:gd name="connsiteX42028" fmla="*/ 3511330 w 4610101"/>
              <a:gd name="connsiteY42028" fmla="*/ 325199 h 6557032"/>
              <a:gd name="connsiteX42029" fmla="*/ 3513152 w 4610101"/>
              <a:gd name="connsiteY42029" fmla="*/ 332488 h 6557032"/>
              <a:gd name="connsiteX42030" fmla="*/ 3529551 w 4610101"/>
              <a:gd name="connsiteY42030" fmla="*/ 330666 h 6557032"/>
              <a:gd name="connsiteX42031" fmla="*/ 3527729 w 4610101"/>
              <a:gd name="connsiteY42031" fmla="*/ 339777 h 6557032"/>
              <a:gd name="connsiteX42032" fmla="*/ 3545951 w 4610101"/>
              <a:gd name="connsiteY42032" fmla="*/ 347066 h 6557032"/>
              <a:gd name="connsiteX42033" fmla="*/ 3540484 w 4610101"/>
              <a:gd name="connsiteY42033" fmla="*/ 356176 h 6557032"/>
              <a:gd name="connsiteX42034" fmla="*/ 3529551 w 4610101"/>
              <a:gd name="connsiteY42034" fmla="*/ 345242 h 6557032"/>
              <a:gd name="connsiteX42035" fmla="*/ 3544129 w 4610101"/>
              <a:gd name="connsiteY42035" fmla="*/ 365287 h 6557032"/>
              <a:gd name="connsiteX42036" fmla="*/ 3573284 w 4610101"/>
              <a:gd name="connsiteY42036" fmla="*/ 376220 h 6557032"/>
              <a:gd name="connsiteX42037" fmla="*/ 3571461 w 4610101"/>
              <a:gd name="connsiteY42037" fmla="*/ 374397 h 6557032"/>
              <a:gd name="connsiteX42038" fmla="*/ 3596972 w 4610101"/>
              <a:gd name="connsiteY42038" fmla="*/ 394441 h 6557032"/>
              <a:gd name="connsiteX42039" fmla="*/ 3602438 w 4610101"/>
              <a:gd name="connsiteY42039" fmla="*/ 396264 h 6557032"/>
              <a:gd name="connsiteX42040" fmla="*/ 3600616 w 4610101"/>
              <a:gd name="connsiteY42040" fmla="*/ 416308 h 6557032"/>
              <a:gd name="connsiteX42041" fmla="*/ 3595150 w 4610101"/>
              <a:gd name="connsiteY42041" fmla="*/ 409019 h 6557032"/>
              <a:gd name="connsiteX42042" fmla="*/ 3596972 w 4610101"/>
              <a:gd name="connsiteY42042" fmla="*/ 412664 h 6557032"/>
              <a:gd name="connsiteX42043" fmla="*/ 3587861 w 4610101"/>
              <a:gd name="connsiteY42043" fmla="*/ 412664 h 6557032"/>
              <a:gd name="connsiteX42044" fmla="*/ 3582394 w 4610101"/>
              <a:gd name="connsiteY42044" fmla="*/ 403552 h 6557032"/>
              <a:gd name="connsiteX42045" fmla="*/ 3578750 w 4610101"/>
              <a:gd name="connsiteY42045" fmla="*/ 405375 h 6557032"/>
              <a:gd name="connsiteX42046" fmla="*/ 3587861 w 4610101"/>
              <a:gd name="connsiteY42046" fmla="*/ 412664 h 6557032"/>
              <a:gd name="connsiteX42047" fmla="*/ 3586039 w 4610101"/>
              <a:gd name="connsiteY42047" fmla="*/ 412664 h 6557032"/>
              <a:gd name="connsiteX42048" fmla="*/ 3587218 w 4610101"/>
              <a:gd name="connsiteY42048" fmla="*/ 416522 h 6557032"/>
              <a:gd name="connsiteX42049" fmla="*/ 3582394 w 4610101"/>
              <a:gd name="connsiteY42049" fmla="*/ 412664 h 6557032"/>
              <a:gd name="connsiteX42050" fmla="*/ 3583533 w 4610101"/>
              <a:gd name="connsiteY42050" fmla="*/ 418358 h 6557032"/>
              <a:gd name="connsiteX42051" fmla="*/ 3588055 w 4610101"/>
              <a:gd name="connsiteY42051" fmla="*/ 419262 h 6557032"/>
              <a:gd name="connsiteX42052" fmla="*/ 3588544 w 4610101"/>
              <a:gd name="connsiteY42052" fmla="*/ 420863 h 6557032"/>
              <a:gd name="connsiteX42053" fmla="*/ 3588889 w 4610101"/>
              <a:gd name="connsiteY42053" fmla="*/ 423344 h 6557032"/>
              <a:gd name="connsiteX42054" fmla="*/ 3582394 w 4610101"/>
              <a:gd name="connsiteY42054" fmla="*/ 427240 h 6557032"/>
              <a:gd name="connsiteX42055" fmla="*/ 3589430 w 4610101"/>
              <a:gd name="connsiteY42055" fmla="*/ 427240 h 6557032"/>
              <a:gd name="connsiteX42056" fmla="*/ 3589683 w 4610101"/>
              <a:gd name="connsiteY42056" fmla="*/ 429063 h 6557032"/>
              <a:gd name="connsiteX42057" fmla="*/ 3598794 w 4610101"/>
              <a:gd name="connsiteY42057" fmla="*/ 430886 h 6557032"/>
              <a:gd name="connsiteX42058" fmla="*/ 3599421 w 4610101"/>
              <a:gd name="connsiteY42058" fmla="*/ 433462 h 6557032"/>
              <a:gd name="connsiteX42059" fmla="*/ 3595150 w 4610101"/>
              <a:gd name="connsiteY42059" fmla="*/ 434530 h 6557032"/>
              <a:gd name="connsiteX42060" fmla="*/ 3591505 w 4610101"/>
              <a:gd name="connsiteY42060" fmla="*/ 441819 h 6557032"/>
              <a:gd name="connsiteX42061" fmla="*/ 3584216 w 4610101"/>
              <a:gd name="connsiteY42061" fmla="*/ 434530 h 6557032"/>
              <a:gd name="connsiteX42062" fmla="*/ 3587861 w 4610101"/>
              <a:gd name="connsiteY42062" fmla="*/ 449107 h 6557032"/>
              <a:gd name="connsiteX42063" fmla="*/ 3584216 w 4610101"/>
              <a:gd name="connsiteY42063" fmla="*/ 450928 h 6557032"/>
              <a:gd name="connsiteX42064" fmla="*/ 3573284 w 4610101"/>
              <a:gd name="connsiteY42064" fmla="*/ 441819 h 6557032"/>
              <a:gd name="connsiteX42065" fmla="*/ 3570323 w 4610101"/>
              <a:gd name="connsiteY42065" fmla="*/ 436580 h 6557032"/>
              <a:gd name="connsiteX42066" fmla="*/ 3567684 w 4610101"/>
              <a:gd name="connsiteY42066" fmla="*/ 430886 h 6557032"/>
              <a:gd name="connsiteX42067" fmla="*/ 3567817 w 4610101"/>
              <a:gd name="connsiteY42067" fmla="*/ 430886 h 6557032"/>
              <a:gd name="connsiteX42068" fmla="*/ 3565995 w 4610101"/>
              <a:gd name="connsiteY42068" fmla="*/ 427240 h 6557032"/>
              <a:gd name="connsiteX42069" fmla="*/ 3567684 w 4610101"/>
              <a:gd name="connsiteY42069" fmla="*/ 430886 h 6557032"/>
              <a:gd name="connsiteX42070" fmla="*/ 3564173 w 4610101"/>
              <a:gd name="connsiteY42070" fmla="*/ 430886 h 6557032"/>
              <a:gd name="connsiteX42071" fmla="*/ 3547773 w 4610101"/>
              <a:gd name="connsiteY42071" fmla="*/ 423596 h 6557032"/>
              <a:gd name="connsiteX42072" fmla="*/ 3549595 w 4610101"/>
              <a:gd name="connsiteY42072" fmla="*/ 429063 h 6557032"/>
              <a:gd name="connsiteX42073" fmla="*/ 3529551 w 4610101"/>
              <a:gd name="connsiteY42073" fmla="*/ 429063 h 6557032"/>
              <a:gd name="connsiteX42074" fmla="*/ 3538662 w 4610101"/>
              <a:gd name="connsiteY42074" fmla="*/ 436351 h 6557032"/>
              <a:gd name="connsiteX42075" fmla="*/ 3536840 w 4610101"/>
              <a:gd name="connsiteY42075" fmla="*/ 445463 h 6557032"/>
              <a:gd name="connsiteX42076" fmla="*/ 3527729 w 4610101"/>
              <a:gd name="connsiteY42076" fmla="*/ 436351 h 6557032"/>
              <a:gd name="connsiteX42077" fmla="*/ 3540484 w 4610101"/>
              <a:gd name="connsiteY42077" fmla="*/ 481906 h 6557032"/>
              <a:gd name="connsiteX42078" fmla="*/ 3591505 w 4610101"/>
              <a:gd name="connsiteY42078" fmla="*/ 467328 h 6557032"/>
              <a:gd name="connsiteX42079" fmla="*/ 3601072 w 4610101"/>
              <a:gd name="connsiteY42079" fmla="*/ 464823 h 6557032"/>
              <a:gd name="connsiteX42080" fmla="*/ 3606315 w 4610101"/>
              <a:gd name="connsiteY42080" fmla="*/ 459755 h 6557032"/>
              <a:gd name="connsiteX42081" fmla="*/ 3607905 w 4610101"/>
              <a:gd name="connsiteY42081" fmla="*/ 469150 h 6557032"/>
              <a:gd name="connsiteX42082" fmla="*/ 3615193 w 4610101"/>
              <a:gd name="connsiteY42082" fmla="*/ 470972 h 6557032"/>
              <a:gd name="connsiteX42083" fmla="*/ 3607905 w 4610101"/>
              <a:gd name="connsiteY42083" fmla="*/ 470972 h 6557032"/>
              <a:gd name="connsiteX42084" fmla="*/ 3569639 w 4610101"/>
              <a:gd name="connsiteY42084" fmla="*/ 485550 h 6557032"/>
              <a:gd name="connsiteX42085" fmla="*/ 3586039 w 4610101"/>
              <a:gd name="connsiteY42085" fmla="*/ 489194 h 6557032"/>
              <a:gd name="connsiteX42086" fmla="*/ 3587861 w 4610101"/>
              <a:gd name="connsiteY42086" fmla="*/ 492838 h 6557032"/>
              <a:gd name="connsiteX42087" fmla="*/ 3591505 w 4610101"/>
              <a:gd name="connsiteY42087" fmla="*/ 489194 h 6557032"/>
              <a:gd name="connsiteX42088" fmla="*/ 3612460 w 4610101"/>
              <a:gd name="connsiteY42088" fmla="*/ 506505 h 6557032"/>
              <a:gd name="connsiteX42089" fmla="*/ 3631246 w 4610101"/>
              <a:gd name="connsiteY42089" fmla="*/ 514926 h 6557032"/>
              <a:gd name="connsiteX42090" fmla="*/ 3631365 w 4610101"/>
              <a:gd name="connsiteY42090" fmla="*/ 515389 h 6557032"/>
              <a:gd name="connsiteX42091" fmla="*/ 3631593 w 4610101"/>
              <a:gd name="connsiteY42091" fmla="*/ 520171 h 6557032"/>
              <a:gd name="connsiteX42092" fmla="*/ 3633735 w 4610101"/>
              <a:gd name="connsiteY42092" fmla="*/ 516042 h 6557032"/>
              <a:gd name="connsiteX42093" fmla="*/ 3638882 w 4610101"/>
              <a:gd name="connsiteY42093" fmla="*/ 518349 h 6557032"/>
              <a:gd name="connsiteX42094" fmla="*/ 3638882 w 4610101"/>
              <a:gd name="connsiteY42094" fmla="*/ 507417 h 6557032"/>
              <a:gd name="connsiteX42095" fmla="*/ 3647993 w 4610101"/>
              <a:gd name="connsiteY42095" fmla="*/ 501949 h 6557032"/>
              <a:gd name="connsiteX42096" fmla="*/ 3647993 w 4610101"/>
              <a:gd name="connsiteY42096" fmla="*/ 503771 h 6557032"/>
              <a:gd name="connsiteX42097" fmla="*/ 3652336 w 4610101"/>
              <a:gd name="connsiteY42097" fmla="*/ 507246 h 6557032"/>
              <a:gd name="connsiteX42098" fmla="*/ 3652321 w 4610101"/>
              <a:gd name="connsiteY42098" fmla="*/ 507417 h 6557032"/>
              <a:gd name="connsiteX42099" fmla="*/ 3660748 w 4610101"/>
              <a:gd name="connsiteY42099" fmla="*/ 514705 h 6557032"/>
              <a:gd name="connsiteX42100" fmla="*/ 3664392 w 4610101"/>
              <a:gd name="connsiteY42100" fmla="*/ 500127 h 6557032"/>
              <a:gd name="connsiteX42101" fmla="*/ 3658926 w 4610101"/>
              <a:gd name="connsiteY42101" fmla="*/ 503771 h 6557032"/>
              <a:gd name="connsiteX42102" fmla="*/ 3655281 w 4610101"/>
              <a:gd name="connsiteY42102" fmla="*/ 489194 h 6557032"/>
              <a:gd name="connsiteX42103" fmla="*/ 3658926 w 4610101"/>
              <a:gd name="connsiteY42103" fmla="*/ 483728 h 6557032"/>
              <a:gd name="connsiteX42104" fmla="*/ 3669859 w 4610101"/>
              <a:gd name="connsiteY42104" fmla="*/ 494662 h 6557032"/>
              <a:gd name="connsiteX42105" fmla="*/ 3682614 w 4610101"/>
              <a:gd name="connsiteY42105" fmla="*/ 507417 h 6557032"/>
              <a:gd name="connsiteX42106" fmla="*/ 3666214 w 4610101"/>
              <a:gd name="connsiteY42106" fmla="*/ 498306 h 6557032"/>
              <a:gd name="connsiteX42107" fmla="*/ 3662570 w 4610101"/>
              <a:gd name="connsiteY42107" fmla="*/ 511061 h 6557032"/>
              <a:gd name="connsiteX42108" fmla="*/ 3668037 w 4610101"/>
              <a:gd name="connsiteY42108" fmla="*/ 512882 h 6557032"/>
              <a:gd name="connsiteX42109" fmla="*/ 3669859 w 4610101"/>
              <a:gd name="connsiteY42109" fmla="*/ 509238 h 6557032"/>
              <a:gd name="connsiteX42110" fmla="*/ 3668037 w 4610101"/>
              <a:gd name="connsiteY42110" fmla="*/ 520171 h 6557032"/>
              <a:gd name="connsiteX42111" fmla="*/ 3664392 w 4610101"/>
              <a:gd name="connsiteY42111" fmla="*/ 516527 h 6557032"/>
              <a:gd name="connsiteX42112" fmla="*/ 3662570 w 4610101"/>
              <a:gd name="connsiteY42112" fmla="*/ 529282 h 6557032"/>
              <a:gd name="connsiteX42113" fmla="*/ 3669859 w 4610101"/>
              <a:gd name="connsiteY42113" fmla="*/ 536571 h 6557032"/>
              <a:gd name="connsiteX42114" fmla="*/ 3646171 w 4610101"/>
              <a:gd name="connsiteY42114" fmla="*/ 527461 h 6557032"/>
              <a:gd name="connsiteX42115" fmla="*/ 3638882 w 4610101"/>
              <a:gd name="connsiteY42115" fmla="*/ 534749 h 6557032"/>
              <a:gd name="connsiteX42116" fmla="*/ 3638882 w 4610101"/>
              <a:gd name="connsiteY42116" fmla="*/ 525638 h 6557032"/>
              <a:gd name="connsiteX42117" fmla="*/ 3627949 w 4610101"/>
              <a:gd name="connsiteY42117" fmla="*/ 531105 h 6557032"/>
              <a:gd name="connsiteX42118" fmla="*/ 3629771 w 4610101"/>
              <a:gd name="connsiteY42118" fmla="*/ 543860 h 6557032"/>
              <a:gd name="connsiteX42119" fmla="*/ 3622482 w 4610101"/>
              <a:gd name="connsiteY42119" fmla="*/ 534749 h 6557032"/>
              <a:gd name="connsiteX42120" fmla="*/ 3624304 w 4610101"/>
              <a:gd name="connsiteY42120" fmla="*/ 549326 h 6557032"/>
              <a:gd name="connsiteX42121" fmla="*/ 3613371 w 4610101"/>
              <a:gd name="connsiteY42121" fmla="*/ 520171 h 6557032"/>
              <a:gd name="connsiteX42122" fmla="*/ 3615193 w 4610101"/>
              <a:gd name="connsiteY42122" fmla="*/ 512882 h 6557032"/>
              <a:gd name="connsiteX42123" fmla="*/ 3587861 w 4610101"/>
              <a:gd name="connsiteY42123" fmla="*/ 505594 h 6557032"/>
              <a:gd name="connsiteX42124" fmla="*/ 3533196 w 4610101"/>
              <a:gd name="connsiteY42124" fmla="*/ 507417 h 6557032"/>
              <a:gd name="connsiteX42125" fmla="*/ 3536840 w 4610101"/>
              <a:gd name="connsiteY42125" fmla="*/ 511061 h 6557032"/>
              <a:gd name="connsiteX42126" fmla="*/ 3527729 w 4610101"/>
              <a:gd name="connsiteY42126" fmla="*/ 505594 h 6557032"/>
              <a:gd name="connsiteX42127" fmla="*/ 3525907 w 4610101"/>
              <a:gd name="connsiteY42127" fmla="*/ 512882 h 6557032"/>
              <a:gd name="connsiteX42128" fmla="*/ 3509507 w 4610101"/>
              <a:gd name="connsiteY42128" fmla="*/ 527461 h 6557032"/>
              <a:gd name="connsiteX42129" fmla="*/ 3493108 w 4610101"/>
              <a:gd name="connsiteY42129" fmla="*/ 547504 h 6557032"/>
              <a:gd name="connsiteX42130" fmla="*/ 3486446 w 4610101"/>
              <a:gd name="connsiteY42130" fmla="*/ 567747 h 6557032"/>
              <a:gd name="connsiteX42131" fmla="*/ 3484838 w 4610101"/>
              <a:gd name="connsiteY42131" fmla="*/ 572403 h 6557032"/>
              <a:gd name="connsiteX42132" fmla="*/ 3485136 w 4610101"/>
              <a:gd name="connsiteY42132" fmla="*/ 569598 h 6557032"/>
              <a:gd name="connsiteX42133" fmla="*/ 3482175 w 4610101"/>
              <a:gd name="connsiteY42133" fmla="*/ 565725 h 6557032"/>
              <a:gd name="connsiteX42134" fmla="*/ 3467597 w 4610101"/>
              <a:gd name="connsiteY42134" fmla="*/ 589414 h 6557032"/>
              <a:gd name="connsiteX42135" fmla="*/ 3478917 w 4610101"/>
              <a:gd name="connsiteY42135" fmla="*/ 583126 h 6557032"/>
              <a:gd name="connsiteX42136" fmla="*/ 3478075 w 4610101"/>
              <a:gd name="connsiteY42136" fmla="*/ 586681 h 6557032"/>
              <a:gd name="connsiteX42137" fmla="*/ 3465775 w 4610101"/>
              <a:gd name="connsiteY42137" fmla="*/ 598524 h 6557032"/>
              <a:gd name="connsiteX42138" fmla="*/ 3482175 w 4610101"/>
              <a:gd name="connsiteY42138" fmla="*/ 587591 h 6557032"/>
              <a:gd name="connsiteX42139" fmla="*/ 3482859 w 4610101"/>
              <a:gd name="connsiteY42139" fmla="*/ 582809 h 6557032"/>
              <a:gd name="connsiteX42140" fmla="*/ 3482663 w 4610101"/>
              <a:gd name="connsiteY42140" fmla="*/ 581045 h 6557032"/>
              <a:gd name="connsiteX42141" fmla="*/ 3483997 w 4610101"/>
              <a:gd name="connsiteY42141" fmla="*/ 580303 h 6557032"/>
              <a:gd name="connsiteX42142" fmla="*/ 3484470 w 4610101"/>
              <a:gd name="connsiteY42142" fmla="*/ 575864 h 6557032"/>
              <a:gd name="connsiteX42143" fmla="*/ 3488097 w 4610101"/>
              <a:gd name="connsiteY42143" fmla="*/ 574609 h 6557032"/>
              <a:gd name="connsiteX42144" fmla="*/ 3491286 w 4610101"/>
              <a:gd name="connsiteY42144" fmla="*/ 571192 h 6557032"/>
              <a:gd name="connsiteX42145" fmla="*/ 3494930 w 4610101"/>
              <a:gd name="connsiteY42145" fmla="*/ 580303 h 6557032"/>
              <a:gd name="connsiteX42146" fmla="*/ 3502219 w 4610101"/>
              <a:gd name="connsiteY42146" fmla="*/ 573014 h 6557032"/>
              <a:gd name="connsiteX42147" fmla="*/ 3509507 w 4610101"/>
              <a:gd name="connsiteY42147" fmla="*/ 576658 h 6557032"/>
              <a:gd name="connsiteX42148" fmla="*/ 3509507 w 4610101"/>
              <a:gd name="connsiteY42148" fmla="*/ 565725 h 6557032"/>
              <a:gd name="connsiteX42149" fmla="*/ 3511330 w 4610101"/>
              <a:gd name="connsiteY42149" fmla="*/ 573014 h 6557032"/>
              <a:gd name="connsiteX42150" fmla="*/ 3514974 w 4610101"/>
              <a:gd name="connsiteY42150" fmla="*/ 573014 h 6557032"/>
              <a:gd name="connsiteX42151" fmla="*/ 3516796 w 4610101"/>
              <a:gd name="connsiteY42151" fmla="*/ 563904 h 6557032"/>
              <a:gd name="connsiteX42152" fmla="*/ 3522263 w 4610101"/>
              <a:gd name="connsiteY42152" fmla="*/ 573014 h 6557032"/>
              <a:gd name="connsiteX42153" fmla="*/ 3531374 w 4610101"/>
              <a:gd name="connsiteY42153" fmla="*/ 571192 h 6557032"/>
              <a:gd name="connsiteX42154" fmla="*/ 3522263 w 4610101"/>
              <a:gd name="connsiteY42154" fmla="*/ 578481 h 6557032"/>
              <a:gd name="connsiteX42155" fmla="*/ 3535018 w 4610101"/>
              <a:gd name="connsiteY42155" fmla="*/ 580303 h 6557032"/>
              <a:gd name="connsiteX42156" fmla="*/ 3536840 w 4610101"/>
              <a:gd name="connsiteY42156" fmla="*/ 565725 h 6557032"/>
              <a:gd name="connsiteX42157" fmla="*/ 3542535 w 4610101"/>
              <a:gd name="connsiteY42157" fmla="*/ 575520 h 6557032"/>
              <a:gd name="connsiteX42158" fmla="*/ 3543238 w 4610101"/>
              <a:gd name="connsiteY42158" fmla="*/ 581647 h 6557032"/>
              <a:gd name="connsiteX42159" fmla="*/ 3541851 w 4610101"/>
              <a:gd name="connsiteY42159" fmla="*/ 583264 h 6557032"/>
              <a:gd name="connsiteX42160" fmla="*/ 3543750 w 4610101"/>
              <a:gd name="connsiteY42160" fmla="*/ 586113 h 6557032"/>
              <a:gd name="connsiteX42161" fmla="*/ 3544129 w 4610101"/>
              <a:gd name="connsiteY42161" fmla="*/ 589414 h 6557032"/>
              <a:gd name="connsiteX42162" fmla="*/ 3545496 w 4610101"/>
              <a:gd name="connsiteY42162" fmla="*/ 588731 h 6557032"/>
              <a:gd name="connsiteX42163" fmla="*/ 3545951 w 4610101"/>
              <a:gd name="connsiteY42163" fmla="*/ 589414 h 6557032"/>
              <a:gd name="connsiteX42164" fmla="*/ 3546047 w 4610101"/>
              <a:gd name="connsiteY42164" fmla="*/ 588455 h 6557032"/>
              <a:gd name="connsiteX42165" fmla="*/ 3547773 w 4610101"/>
              <a:gd name="connsiteY42165" fmla="*/ 587591 h 6557032"/>
              <a:gd name="connsiteX42166" fmla="*/ 3549595 w 4610101"/>
              <a:gd name="connsiteY42166" fmla="*/ 598524 h 6557032"/>
              <a:gd name="connsiteX42167" fmla="*/ 3540484 w 4610101"/>
              <a:gd name="connsiteY42167" fmla="*/ 596702 h 6557032"/>
              <a:gd name="connsiteX42168" fmla="*/ 3549595 w 4610101"/>
              <a:gd name="connsiteY42168" fmla="*/ 607635 h 6557032"/>
              <a:gd name="connsiteX42169" fmla="*/ 3551417 w 4610101"/>
              <a:gd name="connsiteY42169" fmla="*/ 598524 h 6557032"/>
              <a:gd name="connsiteX42170" fmla="*/ 3558706 w 4610101"/>
              <a:gd name="connsiteY42170" fmla="*/ 605813 h 6557032"/>
              <a:gd name="connsiteX42171" fmla="*/ 3567817 w 4610101"/>
              <a:gd name="connsiteY42171" fmla="*/ 616746 h 6557032"/>
              <a:gd name="connsiteX42172" fmla="*/ 3565995 w 4610101"/>
              <a:gd name="connsiteY42172" fmla="*/ 624035 h 6557032"/>
              <a:gd name="connsiteX42173" fmla="*/ 3560528 w 4610101"/>
              <a:gd name="connsiteY42173" fmla="*/ 620391 h 6557032"/>
              <a:gd name="connsiteX42174" fmla="*/ 3560528 w 4610101"/>
              <a:gd name="connsiteY42174" fmla="*/ 631324 h 6557032"/>
              <a:gd name="connsiteX42175" fmla="*/ 3553240 w 4610101"/>
              <a:gd name="connsiteY42175" fmla="*/ 640435 h 6557032"/>
              <a:gd name="connsiteX42176" fmla="*/ 3578750 w 4610101"/>
              <a:gd name="connsiteY42176" fmla="*/ 649545 h 6557032"/>
              <a:gd name="connsiteX42177" fmla="*/ 3553240 w 4610101"/>
              <a:gd name="connsiteY42177" fmla="*/ 642257 h 6557032"/>
              <a:gd name="connsiteX42178" fmla="*/ 3565995 w 4610101"/>
              <a:gd name="connsiteY42178" fmla="*/ 660478 h 6557032"/>
              <a:gd name="connsiteX42179" fmla="*/ 3569639 w 4610101"/>
              <a:gd name="connsiteY42179" fmla="*/ 658656 h 6557032"/>
              <a:gd name="connsiteX42180" fmla="*/ 3567817 w 4610101"/>
              <a:gd name="connsiteY42180" fmla="*/ 651368 h 6557032"/>
              <a:gd name="connsiteX42181" fmla="*/ 3573284 w 4610101"/>
              <a:gd name="connsiteY42181" fmla="*/ 658656 h 6557032"/>
              <a:gd name="connsiteX42182" fmla="*/ 3578750 w 4610101"/>
              <a:gd name="connsiteY42182" fmla="*/ 649545 h 6557032"/>
              <a:gd name="connsiteX42183" fmla="*/ 3580572 w 4610101"/>
              <a:gd name="connsiteY42183" fmla="*/ 642257 h 6557032"/>
              <a:gd name="connsiteX42184" fmla="*/ 3582394 w 4610101"/>
              <a:gd name="connsiteY42184" fmla="*/ 649545 h 6557032"/>
              <a:gd name="connsiteX42185" fmla="*/ 3596972 w 4610101"/>
              <a:gd name="connsiteY42185" fmla="*/ 654101 h 6557032"/>
              <a:gd name="connsiteX42186" fmla="*/ 3609307 w 4610101"/>
              <a:gd name="connsiteY42186" fmla="*/ 662582 h 6557032"/>
              <a:gd name="connsiteX42187" fmla="*/ 3607905 w 4610101"/>
              <a:gd name="connsiteY42187" fmla="*/ 662301 h 6557032"/>
              <a:gd name="connsiteX42188" fmla="*/ 3615193 w 4610101"/>
              <a:gd name="connsiteY42188" fmla="*/ 669589 h 6557032"/>
              <a:gd name="connsiteX42189" fmla="*/ 3617016 w 4610101"/>
              <a:gd name="connsiteY42189" fmla="*/ 664123 h 6557032"/>
              <a:gd name="connsiteX42190" fmla="*/ 3612460 w 4610101"/>
              <a:gd name="connsiteY42190" fmla="*/ 663212 h 6557032"/>
              <a:gd name="connsiteX42191" fmla="*/ 3613371 w 4610101"/>
              <a:gd name="connsiteY42191" fmla="*/ 662301 h 6557032"/>
              <a:gd name="connsiteX42192" fmla="*/ 3615193 w 4610101"/>
              <a:gd name="connsiteY42192" fmla="*/ 651368 h 6557032"/>
              <a:gd name="connsiteX42193" fmla="*/ 3613371 w 4610101"/>
              <a:gd name="connsiteY42193" fmla="*/ 645901 h 6557032"/>
              <a:gd name="connsiteX42194" fmla="*/ 3596972 w 4610101"/>
              <a:gd name="connsiteY42194" fmla="*/ 647723 h 6557032"/>
              <a:gd name="connsiteX42195" fmla="*/ 3593327 w 4610101"/>
              <a:gd name="connsiteY42195" fmla="*/ 636790 h 6557032"/>
              <a:gd name="connsiteX42196" fmla="*/ 3602438 w 4610101"/>
              <a:gd name="connsiteY42196" fmla="*/ 638612 h 6557032"/>
              <a:gd name="connsiteX42197" fmla="*/ 3602438 w 4610101"/>
              <a:gd name="connsiteY42197" fmla="*/ 633146 h 6557032"/>
              <a:gd name="connsiteX42198" fmla="*/ 3606082 w 4610101"/>
              <a:gd name="connsiteY42198" fmla="*/ 644079 h 6557032"/>
              <a:gd name="connsiteX42199" fmla="*/ 3626127 w 4610101"/>
              <a:gd name="connsiteY42199" fmla="*/ 651368 h 6557032"/>
              <a:gd name="connsiteX42200" fmla="*/ 3617016 w 4610101"/>
              <a:gd name="connsiteY42200" fmla="*/ 653190 h 6557032"/>
              <a:gd name="connsiteX42201" fmla="*/ 3629771 w 4610101"/>
              <a:gd name="connsiteY42201" fmla="*/ 665945 h 6557032"/>
              <a:gd name="connsiteX42202" fmla="*/ 3627949 w 4610101"/>
              <a:gd name="connsiteY42202" fmla="*/ 653190 h 6557032"/>
              <a:gd name="connsiteX42203" fmla="*/ 3629771 w 4610101"/>
              <a:gd name="connsiteY42203" fmla="*/ 651368 h 6557032"/>
              <a:gd name="connsiteX42204" fmla="*/ 3642526 w 4610101"/>
              <a:gd name="connsiteY42204" fmla="*/ 660478 h 6557032"/>
              <a:gd name="connsiteX42205" fmla="*/ 3638882 w 4610101"/>
              <a:gd name="connsiteY42205" fmla="*/ 658656 h 6557032"/>
              <a:gd name="connsiteX42206" fmla="*/ 3640704 w 4610101"/>
              <a:gd name="connsiteY42206" fmla="*/ 665945 h 6557032"/>
              <a:gd name="connsiteX42207" fmla="*/ 3633415 w 4610101"/>
              <a:gd name="connsiteY42207" fmla="*/ 667767 h 6557032"/>
              <a:gd name="connsiteX42208" fmla="*/ 3637060 w 4610101"/>
              <a:gd name="connsiteY42208" fmla="*/ 676878 h 6557032"/>
              <a:gd name="connsiteX42209" fmla="*/ 3654143 w 4610101"/>
              <a:gd name="connsiteY42209" fmla="*/ 679156 h 6557032"/>
              <a:gd name="connsiteX42210" fmla="*/ 3655044 w 4610101"/>
              <a:gd name="connsiteY42210" fmla="*/ 679443 h 6557032"/>
              <a:gd name="connsiteX42211" fmla="*/ 3646171 w 4610101"/>
              <a:gd name="connsiteY42211" fmla="*/ 680522 h 6557032"/>
              <a:gd name="connsiteX42212" fmla="*/ 3620660 w 4610101"/>
              <a:gd name="connsiteY42212" fmla="*/ 671411 h 6557032"/>
              <a:gd name="connsiteX42213" fmla="*/ 3624304 w 4610101"/>
              <a:gd name="connsiteY42213" fmla="*/ 684167 h 6557032"/>
              <a:gd name="connsiteX42214" fmla="*/ 3652776 w 4610101"/>
              <a:gd name="connsiteY42214" fmla="*/ 689178 h 6557032"/>
              <a:gd name="connsiteX42215" fmla="*/ 3669775 w 4610101"/>
              <a:gd name="connsiteY42215" fmla="*/ 686954 h 6557032"/>
              <a:gd name="connsiteX42216" fmla="*/ 3669631 w 4610101"/>
              <a:gd name="connsiteY42216" fmla="*/ 691684 h 6557032"/>
              <a:gd name="connsiteX42217" fmla="*/ 3668037 w 4610101"/>
              <a:gd name="connsiteY42217" fmla="*/ 700566 h 6557032"/>
              <a:gd name="connsiteX42218" fmla="*/ 3631593 w 4610101"/>
              <a:gd name="connsiteY42218" fmla="*/ 693278 h 6557032"/>
              <a:gd name="connsiteX42219" fmla="*/ 3611549 w 4610101"/>
              <a:gd name="connsiteY42219" fmla="*/ 695100 h 6557032"/>
              <a:gd name="connsiteX42220" fmla="*/ 3600616 w 4610101"/>
              <a:gd name="connsiteY42220" fmla="*/ 691455 h 6557032"/>
              <a:gd name="connsiteX42221" fmla="*/ 3602438 w 4610101"/>
              <a:gd name="connsiteY42221" fmla="*/ 709677 h 6557032"/>
              <a:gd name="connsiteX42222" fmla="*/ 3593327 w 4610101"/>
              <a:gd name="connsiteY42222" fmla="*/ 702388 h 6557032"/>
              <a:gd name="connsiteX42223" fmla="*/ 3598794 w 4610101"/>
              <a:gd name="connsiteY42223" fmla="*/ 695100 h 6557032"/>
              <a:gd name="connsiteX42224" fmla="*/ 3582394 w 4610101"/>
              <a:gd name="connsiteY42224" fmla="*/ 687811 h 6557032"/>
              <a:gd name="connsiteX42225" fmla="*/ 3584278 w 4610101"/>
              <a:gd name="connsiteY42225" fmla="*/ 691578 h 6557032"/>
              <a:gd name="connsiteX42226" fmla="*/ 3579491 w 4610101"/>
              <a:gd name="connsiteY42226" fmla="*/ 686958 h 6557032"/>
              <a:gd name="connsiteX42227" fmla="*/ 3560528 w 4610101"/>
              <a:gd name="connsiteY42227" fmla="*/ 698744 h 6557032"/>
              <a:gd name="connsiteX42228" fmla="*/ 3556884 w 4610101"/>
              <a:gd name="connsiteY42228" fmla="*/ 700566 h 6557032"/>
              <a:gd name="connsiteX42229" fmla="*/ 3560528 w 4610101"/>
              <a:gd name="connsiteY42229" fmla="*/ 724254 h 6557032"/>
              <a:gd name="connsiteX42230" fmla="*/ 3576700 w 4610101"/>
              <a:gd name="connsiteY42230" fmla="*/ 722432 h 6557032"/>
              <a:gd name="connsiteX42231" fmla="*/ 3587646 w 4610101"/>
              <a:gd name="connsiteY42231" fmla="*/ 721085 h 6557032"/>
              <a:gd name="connsiteX42232" fmla="*/ 3587861 w 4610101"/>
              <a:gd name="connsiteY42232" fmla="*/ 722432 h 6557032"/>
              <a:gd name="connsiteX42233" fmla="*/ 3620660 w 4610101"/>
              <a:gd name="connsiteY42233" fmla="*/ 718788 h 6557032"/>
              <a:gd name="connsiteX42234" fmla="*/ 3613371 w 4610101"/>
              <a:gd name="connsiteY42234" fmla="*/ 722432 h 6557032"/>
              <a:gd name="connsiteX42235" fmla="*/ 3624304 w 4610101"/>
              <a:gd name="connsiteY42235" fmla="*/ 724254 h 6557032"/>
              <a:gd name="connsiteX42236" fmla="*/ 3605172 w 4610101"/>
              <a:gd name="connsiteY42236" fmla="*/ 724027 h 6557032"/>
              <a:gd name="connsiteX42237" fmla="*/ 3586476 w 4610101"/>
              <a:gd name="connsiteY42237" fmla="*/ 727811 h 6557032"/>
              <a:gd name="connsiteX42238" fmla="*/ 3578522 w 4610101"/>
              <a:gd name="connsiteY42238" fmla="*/ 727671 h 6557032"/>
              <a:gd name="connsiteX42239" fmla="*/ 3569639 w 4610101"/>
              <a:gd name="connsiteY42239" fmla="*/ 731543 h 6557032"/>
              <a:gd name="connsiteX42240" fmla="*/ 3587406 w 4610101"/>
              <a:gd name="connsiteY42240" fmla="*/ 728583 h 6557032"/>
              <a:gd name="connsiteX42241" fmla="*/ 3593327 w 4610101"/>
              <a:gd name="connsiteY42241" fmla="*/ 731543 h 6557032"/>
              <a:gd name="connsiteX42242" fmla="*/ 3549595 w 4610101"/>
              <a:gd name="connsiteY42242" fmla="*/ 737010 h 6557032"/>
              <a:gd name="connsiteX42243" fmla="*/ 3551417 w 4610101"/>
              <a:gd name="connsiteY42243" fmla="*/ 742476 h 6557032"/>
              <a:gd name="connsiteX42244" fmla="*/ 3538662 w 4610101"/>
              <a:gd name="connsiteY42244" fmla="*/ 738832 h 6557032"/>
              <a:gd name="connsiteX42245" fmla="*/ 3535018 w 4610101"/>
              <a:gd name="connsiteY42245" fmla="*/ 746121 h 6557032"/>
              <a:gd name="connsiteX42246" fmla="*/ 3522263 w 4610101"/>
              <a:gd name="connsiteY42246" fmla="*/ 735188 h 6557032"/>
              <a:gd name="connsiteX42247" fmla="*/ 3545951 w 4610101"/>
              <a:gd name="connsiteY42247" fmla="*/ 780742 h 6557032"/>
              <a:gd name="connsiteX42248" fmla="*/ 3544129 w 4610101"/>
              <a:gd name="connsiteY42248" fmla="*/ 773453 h 6557032"/>
              <a:gd name="connsiteX42249" fmla="*/ 3549595 w 4610101"/>
              <a:gd name="connsiteY42249" fmla="*/ 775275 h 6557032"/>
              <a:gd name="connsiteX42250" fmla="*/ 3545951 w 4610101"/>
              <a:gd name="connsiteY42250" fmla="*/ 769809 h 6557032"/>
              <a:gd name="connsiteX42251" fmla="*/ 3547773 w 4610101"/>
              <a:gd name="connsiteY42251" fmla="*/ 771631 h 6557032"/>
              <a:gd name="connsiteX42252" fmla="*/ 3536840 w 4610101"/>
              <a:gd name="connsiteY42252" fmla="*/ 767987 h 6557032"/>
              <a:gd name="connsiteX42253" fmla="*/ 3562350 w 4610101"/>
              <a:gd name="connsiteY42253" fmla="*/ 762520 h 6557032"/>
              <a:gd name="connsiteX42254" fmla="*/ 3562350 w 4610101"/>
              <a:gd name="connsiteY42254" fmla="*/ 757054 h 6557032"/>
              <a:gd name="connsiteX42255" fmla="*/ 3569639 w 4610101"/>
              <a:gd name="connsiteY42255" fmla="*/ 764342 h 6557032"/>
              <a:gd name="connsiteX42256" fmla="*/ 3556884 w 4610101"/>
              <a:gd name="connsiteY42256" fmla="*/ 767987 h 6557032"/>
              <a:gd name="connsiteX42257" fmla="*/ 3567817 w 4610101"/>
              <a:gd name="connsiteY42257" fmla="*/ 778920 h 6557032"/>
              <a:gd name="connsiteX42258" fmla="*/ 3564173 w 4610101"/>
              <a:gd name="connsiteY42258" fmla="*/ 780742 h 6557032"/>
              <a:gd name="connsiteX42259" fmla="*/ 3575106 w 4610101"/>
              <a:gd name="connsiteY42259" fmla="*/ 789853 h 6557032"/>
              <a:gd name="connsiteX42260" fmla="*/ 3576928 w 4610101"/>
              <a:gd name="connsiteY42260" fmla="*/ 784386 h 6557032"/>
              <a:gd name="connsiteX42261" fmla="*/ 3587861 w 4610101"/>
              <a:gd name="connsiteY42261" fmla="*/ 798964 h 6557032"/>
              <a:gd name="connsiteX42262" fmla="*/ 3569639 w 4610101"/>
              <a:gd name="connsiteY42262" fmla="*/ 793497 h 6557032"/>
              <a:gd name="connsiteX42263" fmla="*/ 3571461 w 4610101"/>
              <a:gd name="connsiteY42263" fmla="*/ 800786 h 6557032"/>
              <a:gd name="connsiteX42264" fmla="*/ 3555062 w 4610101"/>
              <a:gd name="connsiteY42264" fmla="*/ 798964 h 6557032"/>
              <a:gd name="connsiteX42265" fmla="*/ 3555062 w 4610101"/>
              <a:gd name="connsiteY42265" fmla="*/ 808074 h 6557032"/>
              <a:gd name="connsiteX42266" fmla="*/ 3564173 w 4610101"/>
              <a:gd name="connsiteY42266" fmla="*/ 802608 h 6557032"/>
              <a:gd name="connsiteX42267" fmla="*/ 3558706 w 4610101"/>
              <a:gd name="connsiteY42267" fmla="*/ 811719 h 6557032"/>
              <a:gd name="connsiteX42268" fmla="*/ 3600616 w 4610101"/>
              <a:gd name="connsiteY42268" fmla="*/ 809897 h 6557032"/>
              <a:gd name="connsiteX42269" fmla="*/ 3607905 w 4610101"/>
              <a:gd name="connsiteY42269" fmla="*/ 806252 h 6557032"/>
              <a:gd name="connsiteX42270" fmla="*/ 3602438 w 4610101"/>
              <a:gd name="connsiteY42270" fmla="*/ 802608 h 6557032"/>
              <a:gd name="connsiteX42271" fmla="*/ 3609727 w 4610101"/>
              <a:gd name="connsiteY42271" fmla="*/ 804430 h 6557032"/>
              <a:gd name="connsiteX42272" fmla="*/ 3602438 w 4610101"/>
              <a:gd name="connsiteY42272" fmla="*/ 795319 h 6557032"/>
              <a:gd name="connsiteX42273" fmla="*/ 3609727 w 4610101"/>
              <a:gd name="connsiteY42273" fmla="*/ 795319 h 6557032"/>
              <a:gd name="connsiteX42274" fmla="*/ 3609727 w 4610101"/>
              <a:gd name="connsiteY42274" fmla="*/ 789853 h 6557032"/>
              <a:gd name="connsiteX42275" fmla="*/ 3626127 w 4610101"/>
              <a:gd name="connsiteY42275" fmla="*/ 791675 h 6557032"/>
              <a:gd name="connsiteX42276" fmla="*/ 3626127 w 4610101"/>
              <a:gd name="connsiteY42276" fmla="*/ 784386 h 6557032"/>
              <a:gd name="connsiteX42277" fmla="*/ 3629771 w 4610101"/>
              <a:gd name="connsiteY42277" fmla="*/ 786208 h 6557032"/>
              <a:gd name="connsiteX42278" fmla="*/ 3627949 w 4610101"/>
              <a:gd name="connsiteY42278" fmla="*/ 780742 h 6557032"/>
              <a:gd name="connsiteX42279" fmla="*/ 3638882 w 4610101"/>
              <a:gd name="connsiteY42279" fmla="*/ 780742 h 6557032"/>
              <a:gd name="connsiteX42280" fmla="*/ 3658926 w 4610101"/>
              <a:gd name="connsiteY42280" fmla="*/ 793497 h 6557032"/>
              <a:gd name="connsiteX42281" fmla="*/ 3645715 w 4610101"/>
              <a:gd name="connsiteY42281" fmla="*/ 797142 h 6557032"/>
              <a:gd name="connsiteX42282" fmla="*/ 3645375 w 4610101"/>
              <a:gd name="connsiteY42282" fmla="*/ 797761 h 6557032"/>
              <a:gd name="connsiteX42283" fmla="*/ 3645032 w 4610101"/>
              <a:gd name="connsiteY42283" fmla="*/ 796458 h 6557032"/>
              <a:gd name="connsiteX42284" fmla="*/ 3642526 w 4610101"/>
              <a:gd name="connsiteY42284" fmla="*/ 793497 h 6557032"/>
              <a:gd name="connsiteX42285" fmla="*/ 3640704 w 4610101"/>
              <a:gd name="connsiteY42285" fmla="*/ 802608 h 6557032"/>
              <a:gd name="connsiteX42286" fmla="*/ 3643158 w 4610101"/>
              <a:gd name="connsiteY42286" fmla="*/ 801791 h 6557032"/>
              <a:gd name="connsiteX42287" fmla="*/ 3640704 w 4610101"/>
              <a:gd name="connsiteY42287" fmla="*/ 806252 h 6557032"/>
              <a:gd name="connsiteX42288" fmla="*/ 3636600 w 4610101"/>
              <a:gd name="connsiteY42288" fmla="*/ 801977 h 6557032"/>
              <a:gd name="connsiteX42289" fmla="*/ 3638882 w 4610101"/>
              <a:gd name="connsiteY42289" fmla="*/ 800786 h 6557032"/>
              <a:gd name="connsiteX42290" fmla="*/ 3635456 w 4610101"/>
              <a:gd name="connsiteY42290" fmla="*/ 800786 h 6557032"/>
              <a:gd name="connsiteX42291" fmla="*/ 3635238 w 4610101"/>
              <a:gd name="connsiteY42291" fmla="*/ 800559 h 6557032"/>
              <a:gd name="connsiteX42292" fmla="*/ 3634916 w 4610101"/>
              <a:gd name="connsiteY42292" fmla="*/ 800786 h 6557032"/>
              <a:gd name="connsiteX42293" fmla="*/ 3629771 w 4610101"/>
              <a:gd name="connsiteY42293" fmla="*/ 800786 h 6557032"/>
              <a:gd name="connsiteX42294" fmla="*/ 3632348 w 4610101"/>
              <a:gd name="connsiteY42294" fmla="*/ 802605 h 6557032"/>
              <a:gd name="connsiteX42295" fmla="*/ 3629771 w 4610101"/>
              <a:gd name="connsiteY42295" fmla="*/ 804430 h 6557032"/>
              <a:gd name="connsiteX42296" fmla="*/ 3609727 w 4610101"/>
              <a:gd name="connsiteY42296" fmla="*/ 820830 h 6557032"/>
              <a:gd name="connsiteX42297" fmla="*/ 3606082 w 4610101"/>
              <a:gd name="connsiteY42297" fmla="*/ 813541 h 6557032"/>
              <a:gd name="connsiteX42298" fmla="*/ 3613371 w 4610101"/>
              <a:gd name="connsiteY42298" fmla="*/ 813541 h 6557032"/>
              <a:gd name="connsiteX42299" fmla="*/ 3602438 w 4610101"/>
              <a:gd name="connsiteY42299" fmla="*/ 813541 h 6557032"/>
              <a:gd name="connsiteX42300" fmla="*/ 3607905 w 4610101"/>
              <a:gd name="connsiteY42300" fmla="*/ 829941 h 6557032"/>
              <a:gd name="connsiteX42301" fmla="*/ 3589609 w 4610101"/>
              <a:gd name="connsiteY42301" fmla="*/ 821239 h 6557032"/>
              <a:gd name="connsiteX42302" fmla="*/ 3598794 w 4610101"/>
              <a:gd name="connsiteY42302" fmla="*/ 822652 h 6557032"/>
              <a:gd name="connsiteX42303" fmla="*/ 3575106 w 4610101"/>
              <a:gd name="connsiteY42303" fmla="*/ 819008 h 6557032"/>
              <a:gd name="connsiteX42304" fmla="*/ 3587118 w 4610101"/>
              <a:gd name="connsiteY42304" fmla="*/ 820856 h 6557032"/>
              <a:gd name="connsiteX42305" fmla="*/ 3567817 w 4610101"/>
              <a:gd name="connsiteY42305" fmla="*/ 819008 h 6557032"/>
              <a:gd name="connsiteX42306" fmla="*/ 3602438 w 4610101"/>
              <a:gd name="connsiteY42306" fmla="*/ 839051 h 6557032"/>
              <a:gd name="connsiteX42307" fmla="*/ 3560528 w 4610101"/>
              <a:gd name="connsiteY42307" fmla="*/ 822652 h 6557032"/>
              <a:gd name="connsiteX42308" fmla="*/ 3556884 w 4610101"/>
              <a:gd name="connsiteY42308" fmla="*/ 826296 h 6557032"/>
              <a:gd name="connsiteX42309" fmla="*/ 3537752 w 4610101"/>
              <a:gd name="connsiteY42309" fmla="*/ 819919 h 6557032"/>
              <a:gd name="connsiteX42310" fmla="*/ 3534115 w 4610101"/>
              <a:gd name="connsiteY42310" fmla="*/ 819746 h 6557032"/>
              <a:gd name="connsiteX42311" fmla="*/ 3535018 w 4610101"/>
              <a:gd name="connsiteY42311" fmla="*/ 817185 h 6557032"/>
              <a:gd name="connsiteX42312" fmla="*/ 3529551 w 4610101"/>
              <a:gd name="connsiteY42312" fmla="*/ 817185 h 6557032"/>
              <a:gd name="connsiteX42313" fmla="*/ 3529551 w 4610101"/>
              <a:gd name="connsiteY42313" fmla="*/ 819528 h 6557032"/>
              <a:gd name="connsiteX42314" fmla="*/ 3518618 w 4610101"/>
              <a:gd name="connsiteY42314" fmla="*/ 819008 h 6557032"/>
              <a:gd name="connsiteX42315" fmla="*/ 3509507 w 4610101"/>
              <a:gd name="connsiteY42315" fmla="*/ 826296 h 6557032"/>
              <a:gd name="connsiteX42316" fmla="*/ 3489463 w 4610101"/>
              <a:gd name="connsiteY42316" fmla="*/ 811719 h 6557032"/>
              <a:gd name="connsiteX42317" fmla="*/ 3487641 w 4610101"/>
              <a:gd name="connsiteY42317" fmla="*/ 815363 h 6557032"/>
              <a:gd name="connsiteX42318" fmla="*/ 3488330 w 4610101"/>
              <a:gd name="connsiteY42318" fmla="*/ 818118 h 6557032"/>
              <a:gd name="connsiteX42319" fmla="*/ 3487870 w 4610101"/>
              <a:gd name="connsiteY42319" fmla="*/ 819236 h 6557032"/>
              <a:gd name="connsiteX42320" fmla="*/ 3488601 w 4610101"/>
              <a:gd name="connsiteY42320" fmla="*/ 819204 h 6557032"/>
              <a:gd name="connsiteX42321" fmla="*/ 3489463 w 4610101"/>
              <a:gd name="connsiteY42321" fmla="*/ 822652 h 6557032"/>
              <a:gd name="connsiteX42322" fmla="*/ 3467597 w 4610101"/>
              <a:gd name="connsiteY42322" fmla="*/ 815363 h 6557032"/>
              <a:gd name="connsiteX42323" fmla="*/ 3482175 w 4610101"/>
              <a:gd name="connsiteY42323" fmla="*/ 815363 h 6557032"/>
              <a:gd name="connsiteX42324" fmla="*/ 3474886 w 4610101"/>
              <a:gd name="connsiteY42324" fmla="*/ 804430 h 6557032"/>
              <a:gd name="connsiteX42325" fmla="*/ 3456664 w 4610101"/>
              <a:gd name="connsiteY42325" fmla="*/ 808074 h 6557032"/>
              <a:gd name="connsiteX42326" fmla="*/ 3467597 w 4610101"/>
              <a:gd name="connsiteY42326" fmla="*/ 819008 h 6557032"/>
              <a:gd name="connsiteX42327" fmla="*/ 3443909 w 4610101"/>
              <a:gd name="connsiteY42327" fmla="*/ 804430 h 6557032"/>
              <a:gd name="connsiteX42328" fmla="*/ 3437076 w 4610101"/>
              <a:gd name="connsiteY42328" fmla="*/ 806025 h 6557032"/>
              <a:gd name="connsiteX42329" fmla="*/ 3437568 w 4610101"/>
              <a:gd name="connsiteY42329" fmla="*/ 808074 h 6557032"/>
              <a:gd name="connsiteX42330" fmla="*/ 3432976 w 4610101"/>
              <a:gd name="connsiteY42330" fmla="*/ 808074 h 6557032"/>
              <a:gd name="connsiteX42331" fmla="*/ 3437304 w 4610101"/>
              <a:gd name="connsiteY42331" fmla="*/ 810808 h 6557032"/>
              <a:gd name="connsiteX42332" fmla="*/ 3438058 w 4610101"/>
              <a:gd name="connsiteY42332" fmla="*/ 810113 h 6557032"/>
              <a:gd name="connsiteX42333" fmla="*/ 3438443 w 4610101"/>
              <a:gd name="connsiteY42333" fmla="*/ 811719 h 6557032"/>
              <a:gd name="connsiteX42334" fmla="*/ 3454842 w 4610101"/>
              <a:gd name="connsiteY42334" fmla="*/ 819008 h 6557032"/>
              <a:gd name="connsiteX42335" fmla="*/ 3460309 w 4610101"/>
              <a:gd name="connsiteY42335" fmla="*/ 826296 h 6557032"/>
              <a:gd name="connsiteX42336" fmla="*/ 3489463 w 4610101"/>
              <a:gd name="connsiteY42336" fmla="*/ 851807 h 6557032"/>
              <a:gd name="connsiteX42337" fmla="*/ 3486732 w 4610101"/>
              <a:gd name="connsiteY42337" fmla="*/ 858531 h 6557032"/>
              <a:gd name="connsiteX42338" fmla="*/ 3480353 w 4610101"/>
              <a:gd name="connsiteY42338" fmla="*/ 851807 h 6557032"/>
              <a:gd name="connsiteX42339" fmla="*/ 3465775 w 4610101"/>
              <a:gd name="connsiteY42339" fmla="*/ 848162 h 6557032"/>
              <a:gd name="connsiteX42340" fmla="*/ 3463953 w 4610101"/>
              <a:gd name="connsiteY42340" fmla="*/ 853629 h 6557032"/>
              <a:gd name="connsiteX42341" fmla="*/ 3460309 w 4610101"/>
              <a:gd name="connsiteY42341" fmla="*/ 849985 h 6557032"/>
              <a:gd name="connsiteX42342" fmla="*/ 3453020 w 4610101"/>
              <a:gd name="connsiteY42342" fmla="*/ 857273 h 6557032"/>
              <a:gd name="connsiteX42343" fmla="*/ 3449376 w 4610101"/>
              <a:gd name="connsiteY42343" fmla="*/ 853629 h 6557032"/>
              <a:gd name="connsiteX42344" fmla="*/ 3445731 w 4610101"/>
              <a:gd name="connsiteY42344" fmla="*/ 857273 h 6557032"/>
              <a:gd name="connsiteX42345" fmla="*/ 3447553 w 4610101"/>
              <a:gd name="connsiteY42345" fmla="*/ 860918 h 6557032"/>
              <a:gd name="connsiteX42346" fmla="*/ 3436621 w 4610101"/>
              <a:gd name="connsiteY42346" fmla="*/ 862740 h 6557032"/>
              <a:gd name="connsiteX42347" fmla="*/ 3416577 w 4610101"/>
              <a:gd name="connsiteY42347" fmla="*/ 844518 h 6557032"/>
              <a:gd name="connsiteX42348" fmla="*/ 3420221 w 4610101"/>
              <a:gd name="connsiteY42348" fmla="*/ 839051 h 6557032"/>
              <a:gd name="connsiteX42349" fmla="*/ 3432976 w 4610101"/>
              <a:gd name="connsiteY42349" fmla="*/ 849985 h 6557032"/>
              <a:gd name="connsiteX42350" fmla="*/ 3432976 w 4610101"/>
              <a:gd name="connsiteY42350" fmla="*/ 839051 h 6557032"/>
              <a:gd name="connsiteX42351" fmla="*/ 3427510 w 4610101"/>
              <a:gd name="connsiteY42351" fmla="*/ 840874 h 6557032"/>
              <a:gd name="connsiteX42352" fmla="*/ 3429332 w 4610101"/>
              <a:gd name="connsiteY42352" fmla="*/ 835407 h 6557032"/>
              <a:gd name="connsiteX42353" fmla="*/ 3394710 w 4610101"/>
              <a:gd name="connsiteY42353" fmla="*/ 831763 h 6557032"/>
              <a:gd name="connsiteX42354" fmla="*/ 3401999 w 4610101"/>
              <a:gd name="connsiteY42354" fmla="*/ 846340 h 6557032"/>
              <a:gd name="connsiteX42355" fmla="*/ 3411110 w 4610101"/>
              <a:gd name="connsiteY42355" fmla="*/ 846340 h 6557032"/>
              <a:gd name="connsiteX42356" fmla="*/ 3403821 w 4610101"/>
              <a:gd name="connsiteY42356" fmla="*/ 853629 h 6557032"/>
              <a:gd name="connsiteX42357" fmla="*/ 3409516 w 4610101"/>
              <a:gd name="connsiteY42357" fmla="*/ 855907 h 6557032"/>
              <a:gd name="connsiteX42358" fmla="*/ 3411054 w 4610101"/>
              <a:gd name="connsiteY42358" fmla="*/ 855808 h 6557032"/>
              <a:gd name="connsiteX42359" fmla="*/ 3410427 w 4610101"/>
              <a:gd name="connsiteY42359" fmla="*/ 859779 h 6557032"/>
              <a:gd name="connsiteX42360" fmla="*/ 3405643 w 4610101"/>
              <a:gd name="connsiteY42360" fmla="*/ 862740 h 6557032"/>
              <a:gd name="connsiteX42361" fmla="*/ 3407466 w 4610101"/>
              <a:gd name="connsiteY42361" fmla="*/ 879139 h 6557032"/>
              <a:gd name="connsiteX42362" fmla="*/ 3400177 w 4610101"/>
              <a:gd name="connsiteY42362" fmla="*/ 877317 h 6557032"/>
              <a:gd name="connsiteX42363" fmla="*/ 3405643 w 4610101"/>
              <a:gd name="connsiteY42363" fmla="*/ 873673 h 6557032"/>
              <a:gd name="connsiteX42364" fmla="*/ 3401999 w 4610101"/>
              <a:gd name="connsiteY42364" fmla="*/ 853629 h 6557032"/>
              <a:gd name="connsiteX42365" fmla="*/ 3389244 w 4610101"/>
              <a:gd name="connsiteY42365" fmla="*/ 859095 h 6557032"/>
              <a:gd name="connsiteX42366" fmla="*/ 3374666 w 4610101"/>
              <a:gd name="connsiteY42366" fmla="*/ 849985 h 6557032"/>
              <a:gd name="connsiteX42367" fmla="*/ 3374666 w 4610101"/>
              <a:gd name="connsiteY42367" fmla="*/ 853629 h 6557032"/>
              <a:gd name="connsiteX42368" fmla="*/ 3363734 w 4610101"/>
              <a:gd name="connsiteY42368" fmla="*/ 855451 h 6557032"/>
              <a:gd name="connsiteX42369" fmla="*/ 3365556 w 4610101"/>
              <a:gd name="connsiteY42369" fmla="*/ 871851 h 6557032"/>
              <a:gd name="connsiteX42370" fmla="*/ 3376489 w 4610101"/>
              <a:gd name="connsiteY42370" fmla="*/ 868206 h 6557032"/>
              <a:gd name="connsiteX42371" fmla="*/ 3391066 w 4610101"/>
              <a:gd name="connsiteY42371" fmla="*/ 880961 h 6557032"/>
              <a:gd name="connsiteX42372" fmla="*/ 3392888 w 4610101"/>
              <a:gd name="connsiteY42372" fmla="*/ 888250 h 6557032"/>
              <a:gd name="connsiteX42373" fmla="*/ 3396532 w 4610101"/>
              <a:gd name="connsiteY42373" fmla="*/ 880961 h 6557032"/>
              <a:gd name="connsiteX42374" fmla="*/ 3416577 w 4610101"/>
              <a:gd name="connsiteY42374" fmla="*/ 888250 h 6557032"/>
              <a:gd name="connsiteX42375" fmla="*/ 3471998 w 4610101"/>
              <a:gd name="connsiteY42375" fmla="*/ 875935 h 6557032"/>
              <a:gd name="connsiteX42376" fmla="*/ 3489464 w 4610101"/>
              <a:gd name="connsiteY42376" fmla="*/ 878912 h 6557032"/>
              <a:gd name="connsiteX42377" fmla="*/ 3504041 w 4610101"/>
              <a:gd name="connsiteY42377" fmla="*/ 891894 h 6557032"/>
              <a:gd name="connsiteX42378" fmla="*/ 3494702 w 4610101"/>
              <a:gd name="connsiteY42378" fmla="*/ 899639 h 6557032"/>
              <a:gd name="connsiteX42379" fmla="*/ 3493014 w 4610101"/>
              <a:gd name="connsiteY42379" fmla="*/ 903015 h 6557032"/>
              <a:gd name="connsiteX42380" fmla="*/ 3489463 w 4610101"/>
              <a:gd name="connsiteY42380" fmla="*/ 902827 h 6557032"/>
              <a:gd name="connsiteX42381" fmla="*/ 3491286 w 4610101"/>
              <a:gd name="connsiteY42381" fmla="*/ 899183 h 6557032"/>
              <a:gd name="connsiteX42382" fmla="*/ 3485819 w 4610101"/>
              <a:gd name="connsiteY42382" fmla="*/ 893717 h 6557032"/>
              <a:gd name="connsiteX42383" fmla="*/ 3482175 w 4610101"/>
              <a:gd name="connsiteY42383" fmla="*/ 901005 h 6557032"/>
              <a:gd name="connsiteX42384" fmla="*/ 3489463 w 4610101"/>
              <a:gd name="connsiteY42384" fmla="*/ 904878 h 6557032"/>
              <a:gd name="connsiteX42385" fmla="*/ 3492124 w 4610101"/>
              <a:gd name="connsiteY42385" fmla="*/ 904795 h 6557032"/>
              <a:gd name="connsiteX42386" fmla="*/ 3489463 w 4610101"/>
              <a:gd name="connsiteY42386" fmla="*/ 910117 h 6557032"/>
              <a:gd name="connsiteX42387" fmla="*/ 3498574 w 4610101"/>
              <a:gd name="connsiteY42387" fmla="*/ 917405 h 6557032"/>
              <a:gd name="connsiteX42388" fmla="*/ 3500397 w 4610101"/>
              <a:gd name="connsiteY42388" fmla="*/ 924695 h 6557032"/>
              <a:gd name="connsiteX42389" fmla="*/ 3487641 w 4610101"/>
              <a:gd name="connsiteY42389" fmla="*/ 926516 h 6557032"/>
              <a:gd name="connsiteX42390" fmla="*/ 3480353 w 4610101"/>
              <a:gd name="connsiteY42390" fmla="*/ 921049 h 6557032"/>
              <a:gd name="connsiteX42391" fmla="*/ 3478530 w 4610101"/>
              <a:gd name="connsiteY42391" fmla="*/ 928339 h 6557032"/>
              <a:gd name="connsiteX42392" fmla="*/ 3476708 w 4610101"/>
              <a:gd name="connsiteY42392" fmla="*/ 915583 h 6557032"/>
              <a:gd name="connsiteX42393" fmla="*/ 3483997 w 4610101"/>
              <a:gd name="connsiteY42393" fmla="*/ 908295 h 6557032"/>
              <a:gd name="connsiteX42394" fmla="*/ 3467597 w 4610101"/>
              <a:gd name="connsiteY42394" fmla="*/ 911939 h 6557032"/>
              <a:gd name="connsiteX42395" fmla="*/ 3469419 w 4610101"/>
              <a:gd name="connsiteY42395" fmla="*/ 926516 h 6557032"/>
              <a:gd name="connsiteX42396" fmla="*/ 3443909 w 4610101"/>
              <a:gd name="connsiteY42396" fmla="*/ 930160 h 6557032"/>
              <a:gd name="connsiteX42397" fmla="*/ 3436621 w 4610101"/>
              <a:gd name="connsiteY42397" fmla="*/ 928339 h 6557032"/>
              <a:gd name="connsiteX42398" fmla="*/ 3426197 w 4610101"/>
              <a:gd name="connsiteY42398" fmla="*/ 935843 h 6557032"/>
              <a:gd name="connsiteX42399" fmla="*/ 3424776 w 4610101"/>
              <a:gd name="connsiteY42399" fmla="*/ 930160 h 6557032"/>
              <a:gd name="connsiteX42400" fmla="*/ 3422043 w 4610101"/>
              <a:gd name="connsiteY42400" fmla="*/ 919227 h 6557032"/>
              <a:gd name="connsiteX42401" fmla="*/ 3418399 w 4610101"/>
              <a:gd name="connsiteY42401" fmla="*/ 930160 h 6557032"/>
              <a:gd name="connsiteX42402" fmla="*/ 3422271 w 4610101"/>
              <a:gd name="connsiteY42402" fmla="*/ 934944 h 6557032"/>
              <a:gd name="connsiteX42403" fmla="*/ 3423856 w 4610101"/>
              <a:gd name="connsiteY42403" fmla="*/ 936805 h 6557032"/>
              <a:gd name="connsiteX42404" fmla="*/ 3411110 w 4610101"/>
              <a:gd name="connsiteY42404" fmla="*/ 939272 h 6557032"/>
              <a:gd name="connsiteX42405" fmla="*/ 3401999 w 4610101"/>
              <a:gd name="connsiteY42405" fmla="*/ 928339 h 6557032"/>
              <a:gd name="connsiteX42406" fmla="*/ 3400177 w 4610101"/>
              <a:gd name="connsiteY42406" fmla="*/ 933804 h 6557032"/>
              <a:gd name="connsiteX42407" fmla="*/ 3380133 w 4610101"/>
              <a:gd name="connsiteY42407" fmla="*/ 917405 h 6557032"/>
              <a:gd name="connsiteX42408" fmla="*/ 3385600 w 4610101"/>
              <a:gd name="connsiteY42408" fmla="*/ 913761 h 6557032"/>
              <a:gd name="connsiteX42409" fmla="*/ 3380319 w 4610101"/>
              <a:gd name="connsiteY42409" fmla="*/ 911958 h 6557032"/>
              <a:gd name="connsiteX42410" fmla="*/ 3382667 w 4610101"/>
              <a:gd name="connsiteY42410" fmla="*/ 908978 h 6557032"/>
              <a:gd name="connsiteX42411" fmla="*/ 3380133 w 4610101"/>
              <a:gd name="connsiteY42411" fmla="*/ 901005 h 6557032"/>
              <a:gd name="connsiteX42412" fmla="*/ 3375247 w 4610101"/>
              <a:gd name="connsiteY42412" fmla="*/ 901450 h 6557032"/>
              <a:gd name="connsiteX42413" fmla="*/ 3380817 w 4610101"/>
              <a:gd name="connsiteY42413" fmla="*/ 899183 h 6557032"/>
              <a:gd name="connsiteX42414" fmla="*/ 3392888 w 4610101"/>
              <a:gd name="connsiteY42414" fmla="*/ 893717 h 6557032"/>
              <a:gd name="connsiteX42415" fmla="*/ 3380133 w 4610101"/>
              <a:gd name="connsiteY42415" fmla="*/ 886428 h 6557032"/>
              <a:gd name="connsiteX42416" fmla="*/ 3378311 w 4610101"/>
              <a:gd name="connsiteY42416" fmla="*/ 890072 h 6557032"/>
              <a:gd name="connsiteX42417" fmla="*/ 3372845 w 4610101"/>
              <a:gd name="connsiteY42417" fmla="*/ 890072 h 6557032"/>
              <a:gd name="connsiteX42418" fmla="*/ 3371022 w 4610101"/>
              <a:gd name="connsiteY42418" fmla="*/ 890072 h 6557032"/>
              <a:gd name="connsiteX42419" fmla="*/ 3358267 w 4610101"/>
              <a:gd name="connsiteY42419" fmla="*/ 890072 h 6557032"/>
              <a:gd name="connsiteX42420" fmla="*/ 3358267 w 4610101"/>
              <a:gd name="connsiteY42420" fmla="*/ 879139 h 6557032"/>
              <a:gd name="connsiteX42421" fmla="*/ 3340045 w 4610101"/>
              <a:gd name="connsiteY42421" fmla="*/ 875495 h 6557032"/>
              <a:gd name="connsiteX42422" fmla="*/ 3327290 w 4610101"/>
              <a:gd name="connsiteY42422" fmla="*/ 879139 h 6557032"/>
              <a:gd name="connsiteX42423" fmla="*/ 3329112 w 4610101"/>
              <a:gd name="connsiteY42423" fmla="*/ 884606 h 6557032"/>
              <a:gd name="connsiteX42424" fmla="*/ 3336401 w 4610101"/>
              <a:gd name="connsiteY42424" fmla="*/ 884606 h 6557032"/>
              <a:gd name="connsiteX42425" fmla="*/ 3329112 w 4610101"/>
              <a:gd name="connsiteY42425" fmla="*/ 899183 h 6557032"/>
              <a:gd name="connsiteX42426" fmla="*/ 3321824 w 4610101"/>
              <a:gd name="connsiteY42426" fmla="*/ 897361 h 6557032"/>
              <a:gd name="connsiteX42427" fmla="*/ 3301780 w 4610101"/>
              <a:gd name="connsiteY42427" fmla="*/ 924695 h 6557032"/>
              <a:gd name="connsiteX42428" fmla="*/ 3294491 w 4610101"/>
              <a:gd name="connsiteY42428" fmla="*/ 928339 h 6557032"/>
              <a:gd name="connsiteX42429" fmla="*/ 3332756 w 4610101"/>
              <a:gd name="connsiteY42429" fmla="*/ 933804 h 6557032"/>
              <a:gd name="connsiteX42430" fmla="*/ 3338223 w 4610101"/>
              <a:gd name="connsiteY42430" fmla="*/ 922872 h 6557032"/>
              <a:gd name="connsiteX42431" fmla="*/ 3316357 w 4610101"/>
              <a:gd name="connsiteY42431" fmla="*/ 926516 h 6557032"/>
              <a:gd name="connsiteX42432" fmla="*/ 3330934 w 4610101"/>
              <a:gd name="connsiteY42432" fmla="*/ 917405 h 6557032"/>
              <a:gd name="connsiteX42433" fmla="*/ 3352800 w 4610101"/>
              <a:gd name="connsiteY42433" fmla="*/ 915583 h 6557032"/>
              <a:gd name="connsiteX42434" fmla="*/ 3349156 w 4610101"/>
              <a:gd name="connsiteY42434" fmla="*/ 915583 h 6557032"/>
              <a:gd name="connsiteX42435" fmla="*/ 3350978 w 4610101"/>
              <a:gd name="connsiteY42435" fmla="*/ 902827 h 6557032"/>
              <a:gd name="connsiteX42436" fmla="*/ 3341867 w 4610101"/>
              <a:gd name="connsiteY42436" fmla="*/ 890072 h 6557032"/>
              <a:gd name="connsiteX42437" fmla="*/ 3355306 w 4610101"/>
              <a:gd name="connsiteY42437" fmla="*/ 901917 h 6557032"/>
              <a:gd name="connsiteX42438" fmla="*/ 3360670 w 4610101"/>
              <a:gd name="connsiteY42438" fmla="*/ 915974 h 6557032"/>
              <a:gd name="connsiteX42439" fmla="*/ 3359634 w 4610101"/>
              <a:gd name="connsiteY42439" fmla="*/ 916722 h 6557032"/>
              <a:gd name="connsiteX42440" fmla="*/ 3359449 w 4610101"/>
              <a:gd name="connsiteY42440" fmla="*/ 917307 h 6557032"/>
              <a:gd name="connsiteX42441" fmla="*/ 3358267 w 4610101"/>
              <a:gd name="connsiteY42441" fmla="*/ 913761 h 6557032"/>
              <a:gd name="connsiteX42442" fmla="*/ 3355762 w 4610101"/>
              <a:gd name="connsiteY42442" fmla="*/ 917178 h 6557032"/>
              <a:gd name="connsiteX42443" fmla="*/ 3359005 w 4610101"/>
              <a:gd name="connsiteY42443" fmla="*/ 918714 h 6557032"/>
              <a:gd name="connsiteX42444" fmla="*/ 3358267 w 4610101"/>
              <a:gd name="connsiteY42444" fmla="*/ 921049 h 6557032"/>
              <a:gd name="connsiteX42445" fmla="*/ 3365556 w 4610101"/>
              <a:gd name="connsiteY42445" fmla="*/ 922872 h 6557032"/>
              <a:gd name="connsiteX42446" fmla="*/ 3355762 w 4610101"/>
              <a:gd name="connsiteY42446" fmla="*/ 922872 h 6557032"/>
              <a:gd name="connsiteX42447" fmla="*/ 3351684 w 4610101"/>
              <a:gd name="connsiteY42447" fmla="*/ 925517 h 6557032"/>
              <a:gd name="connsiteX42448" fmla="*/ 3352800 w 4610101"/>
              <a:gd name="connsiteY42448" fmla="*/ 921049 h 6557032"/>
              <a:gd name="connsiteX42449" fmla="*/ 3349156 w 4610101"/>
              <a:gd name="connsiteY42449" fmla="*/ 922872 h 6557032"/>
              <a:gd name="connsiteX42450" fmla="*/ 3350330 w 4610101"/>
              <a:gd name="connsiteY42450" fmla="*/ 926395 h 6557032"/>
              <a:gd name="connsiteX42451" fmla="*/ 3347334 w 4610101"/>
              <a:gd name="connsiteY42451" fmla="*/ 928339 h 6557032"/>
              <a:gd name="connsiteX42452" fmla="*/ 3349156 w 4610101"/>
              <a:gd name="connsiteY42452" fmla="*/ 933804 h 6557032"/>
              <a:gd name="connsiteX42453" fmla="*/ 3341867 w 4610101"/>
              <a:gd name="connsiteY42453" fmla="*/ 935628 h 6557032"/>
              <a:gd name="connsiteX42454" fmla="*/ 3345512 w 4610101"/>
              <a:gd name="connsiteY42454" fmla="*/ 948383 h 6557032"/>
              <a:gd name="connsiteX42455" fmla="*/ 3330934 w 4610101"/>
              <a:gd name="connsiteY42455" fmla="*/ 944738 h 6557032"/>
              <a:gd name="connsiteX42456" fmla="*/ 3331979 w 4610101"/>
              <a:gd name="connsiteY42456" fmla="*/ 947292 h 6557032"/>
              <a:gd name="connsiteX42457" fmla="*/ 3327290 w 4610101"/>
              <a:gd name="connsiteY42457" fmla="*/ 948610 h 6557032"/>
              <a:gd name="connsiteX42458" fmla="*/ 3320001 w 4610101"/>
              <a:gd name="connsiteY42458" fmla="*/ 946560 h 6557032"/>
              <a:gd name="connsiteX42459" fmla="*/ 3321824 w 4610101"/>
              <a:gd name="connsiteY42459" fmla="*/ 964782 h 6557032"/>
              <a:gd name="connsiteX42460" fmla="*/ 3327518 w 4610101"/>
              <a:gd name="connsiteY42460" fmla="*/ 956354 h 6557032"/>
              <a:gd name="connsiteX42461" fmla="*/ 3332730 w 4610101"/>
              <a:gd name="connsiteY42461" fmla="*/ 949126 h 6557032"/>
              <a:gd name="connsiteX42462" fmla="*/ 3332985 w 4610101"/>
              <a:gd name="connsiteY42462" fmla="*/ 949749 h 6557032"/>
              <a:gd name="connsiteX42463" fmla="*/ 3341867 w 4610101"/>
              <a:gd name="connsiteY42463" fmla="*/ 952026 h 6557032"/>
              <a:gd name="connsiteX42464" fmla="*/ 3349156 w 4610101"/>
              <a:gd name="connsiteY42464" fmla="*/ 950204 h 6557032"/>
              <a:gd name="connsiteX42465" fmla="*/ 3387422 w 4610101"/>
              <a:gd name="connsiteY42465" fmla="*/ 959316 h 6557032"/>
              <a:gd name="connsiteX42466" fmla="*/ 3367378 w 4610101"/>
              <a:gd name="connsiteY42466" fmla="*/ 935628 h 6557032"/>
              <a:gd name="connsiteX42467" fmla="*/ 3376489 w 4610101"/>
              <a:gd name="connsiteY42467" fmla="*/ 935628 h 6557032"/>
              <a:gd name="connsiteX42468" fmla="*/ 3378311 w 4610101"/>
              <a:gd name="connsiteY42468" fmla="*/ 928339 h 6557032"/>
              <a:gd name="connsiteX42469" fmla="*/ 3387422 w 4610101"/>
              <a:gd name="connsiteY42469" fmla="*/ 939272 h 6557032"/>
              <a:gd name="connsiteX42470" fmla="*/ 3394710 w 4610101"/>
              <a:gd name="connsiteY42470" fmla="*/ 946560 h 6557032"/>
              <a:gd name="connsiteX42471" fmla="*/ 3387422 w 4610101"/>
              <a:gd name="connsiteY42471" fmla="*/ 948383 h 6557032"/>
              <a:gd name="connsiteX42472" fmla="*/ 3400177 w 4610101"/>
              <a:gd name="connsiteY42472" fmla="*/ 968427 h 6557032"/>
              <a:gd name="connsiteX42473" fmla="*/ 3394710 w 4610101"/>
              <a:gd name="connsiteY42473" fmla="*/ 972071 h 6557032"/>
              <a:gd name="connsiteX42474" fmla="*/ 3398810 w 4610101"/>
              <a:gd name="connsiteY42474" fmla="*/ 974348 h 6557032"/>
              <a:gd name="connsiteX42475" fmla="*/ 3404012 w 4610101"/>
              <a:gd name="connsiteY42475" fmla="*/ 974001 h 6557032"/>
              <a:gd name="connsiteX42476" fmla="*/ 3405416 w 4610101"/>
              <a:gd name="connsiteY42476" fmla="*/ 974804 h 6557032"/>
              <a:gd name="connsiteX42477" fmla="*/ 3405694 w 4610101"/>
              <a:gd name="connsiteY42477" fmla="*/ 974848 h 6557032"/>
              <a:gd name="connsiteX42478" fmla="*/ 3406099 w 4610101"/>
              <a:gd name="connsiteY42478" fmla="*/ 982549 h 6557032"/>
              <a:gd name="connsiteX42479" fmla="*/ 3403821 w 4610101"/>
              <a:gd name="connsiteY42479" fmla="*/ 988471 h 6557032"/>
              <a:gd name="connsiteX42480" fmla="*/ 3394710 w 4610101"/>
              <a:gd name="connsiteY42480" fmla="*/ 975715 h 6557032"/>
              <a:gd name="connsiteX42481" fmla="*/ 3385600 w 4610101"/>
              <a:gd name="connsiteY42481" fmla="*/ 984826 h 6557032"/>
              <a:gd name="connsiteX42482" fmla="*/ 3392888 w 4610101"/>
              <a:gd name="connsiteY42482" fmla="*/ 986649 h 6557032"/>
              <a:gd name="connsiteX42483" fmla="*/ 3389244 w 4610101"/>
              <a:gd name="connsiteY42483" fmla="*/ 999403 h 6557032"/>
              <a:gd name="connsiteX42484" fmla="*/ 3394710 w 4610101"/>
              <a:gd name="connsiteY42484" fmla="*/ 997582 h 6557032"/>
              <a:gd name="connsiteX42485" fmla="*/ 3391066 w 4610101"/>
              <a:gd name="connsiteY42485" fmla="*/ 995759 h 6557032"/>
              <a:gd name="connsiteX42486" fmla="*/ 3398355 w 4610101"/>
              <a:gd name="connsiteY42486" fmla="*/ 993937 h 6557032"/>
              <a:gd name="connsiteX42487" fmla="*/ 3398355 w 4610101"/>
              <a:gd name="connsiteY42487" fmla="*/ 1001226 h 6557032"/>
              <a:gd name="connsiteX42488" fmla="*/ 3409288 w 4610101"/>
              <a:gd name="connsiteY42488" fmla="*/ 1003047 h 6557032"/>
              <a:gd name="connsiteX42489" fmla="*/ 3420221 w 4610101"/>
              <a:gd name="connsiteY42489" fmla="*/ 988471 h 6557032"/>
              <a:gd name="connsiteX42490" fmla="*/ 3409288 w 4610101"/>
              <a:gd name="connsiteY42490" fmla="*/ 981182 h 6557032"/>
              <a:gd name="connsiteX42491" fmla="*/ 3411110 w 4610101"/>
              <a:gd name="connsiteY42491" fmla="*/ 975715 h 6557032"/>
              <a:gd name="connsiteX42492" fmla="*/ 3405694 w 4610101"/>
              <a:gd name="connsiteY42492" fmla="*/ 974848 h 6557032"/>
              <a:gd name="connsiteX42493" fmla="*/ 3405643 w 4610101"/>
              <a:gd name="connsiteY42493" fmla="*/ 973893 h 6557032"/>
              <a:gd name="connsiteX42494" fmla="*/ 3404012 w 4610101"/>
              <a:gd name="connsiteY42494" fmla="*/ 974001 h 6557032"/>
              <a:gd name="connsiteX42495" fmla="*/ 3403821 w 4610101"/>
              <a:gd name="connsiteY42495" fmla="*/ 973893 h 6557032"/>
              <a:gd name="connsiteX42496" fmla="*/ 3414754 w 4610101"/>
              <a:gd name="connsiteY42496" fmla="*/ 962960 h 6557032"/>
              <a:gd name="connsiteX42497" fmla="*/ 3418399 w 4610101"/>
              <a:gd name="connsiteY42497" fmla="*/ 970249 h 6557032"/>
              <a:gd name="connsiteX42498" fmla="*/ 3412932 w 4610101"/>
              <a:gd name="connsiteY42498" fmla="*/ 972071 h 6557032"/>
              <a:gd name="connsiteX42499" fmla="*/ 3425687 w 4610101"/>
              <a:gd name="connsiteY42499" fmla="*/ 972071 h 6557032"/>
              <a:gd name="connsiteX42500" fmla="*/ 3427510 w 4610101"/>
              <a:gd name="connsiteY42500" fmla="*/ 979360 h 6557032"/>
              <a:gd name="connsiteX42501" fmla="*/ 3418399 w 4610101"/>
              <a:gd name="connsiteY42501" fmla="*/ 977538 h 6557032"/>
              <a:gd name="connsiteX42502" fmla="*/ 3423865 w 4610101"/>
              <a:gd name="connsiteY42502" fmla="*/ 983004 h 6557032"/>
              <a:gd name="connsiteX42503" fmla="*/ 3471242 w 4610101"/>
              <a:gd name="connsiteY42503" fmla="*/ 970249 h 6557032"/>
              <a:gd name="connsiteX42504" fmla="*/ 3454842 w 4610101"/>
              <a:gd name="connsiteY42504" fmla="*/ 975715 h 6557032"/>
              <a:gd name="connsiteX42505" fmla="*/ 3478530 w 4610101"/>
              <a:gd name="connsiteY42505" fmla="*/ 981182 h 6557032"/>
              <a:gd name="connsiteX42506" fmla="*/ 3478530 w 4610101"/>
              <a:gd name="connsiteY42506" fmla="*/ 977538 h 6557032"/>
              <a:gd name="connsiteX42507" fmla="*/ 3509507 w 4610101"/>
              <a:gd name="connsiteY42507" fmla="*/ 973893 h 6557032"/>
              <a:gd name="connsiteX42508" fmla="*/ 3505863 w 4610101"/>
              <a:gd name="connsiteY42508" fmla="*/ 975715 h 6557032"/>
              <a:gd name="connsiteX42509" fmla="*/ 3525907 w 4610101"/>
              <a:gd name="connsiteY42509" fmla="*/ 1008515 h 6557032"/>
              <a:gd name="connsiteX42510" fmla="*/ 3522263 w 4610101"/>
              <a:gd name="connsiteY42510" fmla="*/ 1006692 h 6557032"/>
              <a:gd name="connsiteX42511" fmla="*/ 3520440 w 4610101"/>
              <a:gd name="connsiteY42511" fmla="*/ 1013981 h 6557032"/>
              <a:gd name="connsiteX42512" fmla="*/ 3509507 w 4610101"/>
              <a:gd name="connsiteY42512" fmla="*/ 1012159 h 6557032"/>
              <a:gd name="connsiteX42513" fmla="*/ 3516796 w 4610101"/>
              <a:gd name="connsiteY42513" fmla="*/ 1010337 h 6557032"/>
              <a:gd name="connsiteX42514" fmla="*/ 3520440 w 4610101"/>
              <a:gd name="connsiteY42514" fmla="*/ 1003047 h 6557032"/>
              <a:gd name="connsiteX42515" fmla="*/ 3502219 w 4610101"/>
              <a:gd name="connsiteY42515" fmla="*/ 995759 h 6557032"/>
              <a:gd name="connsiteX42516" fmla="*/ 3509507 w 4610101"/>
              <a:gd name="connsiteY42516" fmla="*/ 1008515 h 6557032"/>
              <a:gd name="connsiteX42517" fmla="*/ 3493108 w 4610101"/>
              <a:gd name="connsiteY42517" fmla="*/ 1019448 h 6557032"/>
              <a:gd name="connsiteX42518" fmla="*/ 3498574 w 4610101"/>
              <a:gd name="connsiteY42518" fmla="*/ 1023092 h 6557032"/>
              <a:gd name="connsiteX42519" fmla="*/ 3531374 w 4610101"/>
              <a:gd name="connsiteY42519" fmla="*/ 1013981 h 6557032"/>
              <a:gd name="connsiteX42520" fmla="*/ 3538662 w 4610101"/>
              <a:gd name="connsiteY42520" fmla="*/ 1021270 h 6557032"/>
              <a:gd name="connsiteX42521" fmla="*/ 3533196 w 4610101"/>
              <a:gd name="connsiteY42521" fmla="*/ 1010337 h 6557032"/>
              <a:gd name="connsiteX42522" fmla="*/ 3545951 w 4610101"/>
              <a:gd name="connsiteY42522" fmla="*/ 1008515 h 6557032"/>
              <a:gd name="connsiteX42523" fmla="*/ 3540484 w 4610101"/>
              <a:gd name="connsiteY42523" fmla="*/ 1001226 h 6557032"/>
              <a:gd name="connsiteX42524" fmla="*/ 3553240 w 4610101"/>
              <a:gd name="connsiteY42524" fmla="*/ 999403 h 6557032"/>
              <a:gd name="connsiteX42525" fmla="*/ 3555062 w 4610101"/>
              <a:gd name="connsiteY42525" fmla="*/ 1004870 h 6557032"/>
              <a:gd name="connsiteX42526" fmla="*/ 3551417 w 4610101"/>
              <a:gd name="connsiteY42526" fmla="*/ 1003047 h 6557032"/>
              <a:gd name="connsiteX42527" fmla="*/ 3565995 w 4610101"/>
              <a:gd name="connsiteY42527" fmla="*/ 1019448 h 6557032"/>
              <a:gd name="connsiteX42528" fmla="*/ 3564173 w 4610101"/>
              <a:gd name="connsiteY42528" fmla="*/ 1010337 h 6557032"/>
              <a:gd name="connsiteX42529" fmla="*/ 3575106 w 4610101"/>
              <a:gd name="connsiteY42529" fmla="*/ 1013981 h 6557032"/>
              <a:gd name="connsiteX42530" fmla="*/ 3576928 w 4610101"/>
              <a:gd name="connsiteY42530" fmla="*/ 1008515 h 6557032"/>
              <a:gd name="connsiteX42531" fmla="*/ 3578750 w 4610101"/>
              <a:gd name="connsiteY42531" fmla="*/ 1019448 h 6557032"/>
              <a:gd name="connsiteX42532" fmla="*/ 3569639 w 4610101"/>
              <a:gd name="connsiteY42532" fmla="*/ 1019448 h 6557032"/>
              <a:gd name="connsiteX42533" fmla="*/ 3578750 w 4610101"/>
              <a:gd name="connsiteY42533" fmla="*/ 1030381 h 6557032"/>
              <a:gd name="connsiteX42534" fmla="*/ 3600616 w 4610101"/>
              <a:gd name="connsiteY42534" fmla="*/ 1028559 h 6557032"/>
              <a:gd name="connsiteX42535" fmla="*/ 3602438 w 4610101"/>
              <a:gd name="connsiteY42535" fmla="*/ 1035847 h 6557032"/>
              <a:gd name="connsiteX42536" fmla="*/ 3629771 w 4610101"/>
              <a:gd name="connsiteY42536" fmla="*/ 1044958 h 6557032"/>
              <a:gd name="connsiteX42537" fmla="*/ 3627949 w 4610101"/>
              <a:gd name="connsiteY42537" fmla="*/ 1061358 h 6557032"/>
              <a:gd name="connsiteX42538" fmla="*/ 3626127 w 4610101"/>
              <a:gd name="connsiteY42538" fmla="*/ 1063180 h 6557032"/>
              <a:gd name="connsiteX42539" fmla="*/ 3618838 w 4610101"/>
              <a:gd name="connsiteY42539" fmla="*/ 1052247 h 6557032"/>
              <a:gd name="connsiteX42540" fmla="*/ 3638882 w 4610101"/>
              <a:gd name="connsiteY42540" fmla="*/ 1072291 h 6557032"/>
              <a:gd name="connsiteX42541" fmla="*/ 3642526 w 4610101"/>
              <a:gd name="connsiteY42541" fmla="*/ 1083224 h 6557032"/>
              <a:gd name="connsiteX42542" fmla="*/ 3635237 w 4610101"/>
              <a:gd name="connsiteY42542" fmla="*/ 1085046 h 6557032"/>
              <a:gd name="connsiteX42543" fmla="*/ 3646171 w 4610101"/>
              <a:gd name="connsiteY42543" fmla="*/ 1095979 h 6557032"/>
              <a:gd name="connsiteX42544" fmla="*/ 3631593 w 4610101"/>
              <a:gd name="connsiteY42544" fmla="*/ 1116023 h 6557032"/>
              <a:gd name="connsiteX42545" fmla="*/ 3638882 w 4610101"/>
              <a:gd name="connsiteY42545" fmla="*/ 1121489 h 6557032"/>
              <a:gd name="connsiteX42546" fmla="*/ 3638882 w 4610101"/>
              <a:gd name="connsiteY42546" fmla="*/ 1125134 h 6557032"/>
              <a:gd name="connsiteX42547" fmla="*/ 3635237 w 4610101"/>
              <a:gd name="connsiteY42547" fmla="*/ 1123312 h 6557032"/>
              <a:gd name="connsiteX42548" fmla="*/ 3622482 w 4610101"/>
              <a:gd name="connsiteY42548" fmla="*/ 1123312 h 6557032"/>
              <a:gd name="connsiteX42549" fmla="*/ 3622482 w 4610101"/>
              <a:gd name="connsiteY42549" fmla="*/ 1128778 h 6557032"/>
              <a:gd name="connsiteX42550" fmla="*/ 3637060 w 4610101"/>
              <a:gd name="connsiteY42550" fmla="*/ 1137889 h 6557032"/>
              <a:gd name="connsiteX42551" fmla="*/ 3635237 w 4610101"/>
              <a:gd name="connsiteY42551" fmla="*/ 1134245 h 6557032"/>
              <a:gd name="connsiteX42552" fmla="*/ 3638882 w 4610101"/>
              <a:gd name="connsiteY42552" fmla="*/ 1128778 h 6557032"/>
              <a:gd name="connsiteX42553" fmla="*/ 3658926 w 4610101"/>
              <a:gd name="connsiteY42553" fmla="*/ 1139711 h 6557032"/>
              <a:gd name="connsiteX42554" fmla="*/ 3655281 w 4610101"/>
              <a:gd name="connsiteY42554" fmla="*/ 1145178 h 6557032"/>
              <a:gd name="connsiteX42555" fmla="*/ 3666214 w 4610101"/>
              <a:gd name="connsiteY42555" fmla="*/ 1156111 h 6557032"/>
              <a:gd name="connsiteX42556" fmla="*/ 3664392 w 4610101"/>
              <a:gd name="connsiteY42556" fmla="*/ 1152466 h 6557032"/>
              <a:gd name="connsiteX42557" fmla="*/ 3657103 w 4610101"/>
              <a:gd name="connsiteY42557" fmla="*/ 1174332 h 6557032"/>
              <a:gd name="connsiteX42558" fmla="*/ 3646171 w 4610101"/>
              <a:gd name="connsiteY42558" fmla="*/ 1163399 h 6557032"/>
              <a:gd name="connsiteX42559" fmla="*/ 3653459 w 4610101"/>
              <a:gd name="connsiteY42559" fmla="*/ 1161577 h 6557032"/>
              <a:gd name="connsiteX42560" fmla="*/ 3651637 w 4610101"/>
              <a:gd name="connsiteY42560" fmla="*/ 1150644 h 6557032"/>
              <a:gd name="connsiteX42561" fmla="*/ 3655281 w 4610101"/>
              <a:gd name="connsiteY42561" fmla="*/ 1148822 h 6557032"/>
              <a:gd name="connsiteX42562" fmla="*/ 3638882 w 4610101"/>
              <a:gd name="connsiteY42562" fmla="*/ 1143355 h 6557032"/>
              <a:gd name="connsiteX42563" fmla="*/ 3646171 w 4610101"/>
              <a:gd name="connsiteY42563" fmla="*/ 1150644 h 6557032"/>
              <a:gd name="connsiteX42564" fmla="*/ 3633415 w 4610101"/>
              <a:gd name="connsiteY42564" fmla="*/ 1150644 h 6557032"/>
              <a:gd name="connsiteX42565" fmla="*/ 3613371 w 4610101"/>
              <a:gd name="connsiteY42565" fmla="*/ 1134245 h 6557032"/>
              <a:gd name="connsiteX42566" fmla="*/ 3606082 w 4610101"/>
              <a:gd name="connsiteY42566" fmla="*/ 1139711 h 6557032"/>
              <a:gd name="connsiteX42567" fmla="*/ 3596972 w 4610101"/>
              <a:gd name="connsiteY42567" fmla="*/ 1137889 h 6557032"/>
              <a:gd name="connsiteX42568" fmla="*/ 3596972 w 4610101"/>
              <a:gd name="connsiteY42568" fmla="*/ 1126956 h 6557032"/>
              <a:gd name="connsiteX42569" fmla="*/ 3576928 w 4610101"/>
              <a:gd name="connsiteY42569" fmla="*/ 1108734 h 6557032"/>
              <a:gd name="connsiteX42570" fmla="*/ 3578750 w 4610101"/>
              <a:gd name="connsiteY42570" fmla="*/ 1132422 h 6557032"/>
              <a:gd name="connsiteX42571" fmla="*/ 3567817 w 4610101"/>
              <a:gd name="connsiteY42571" fmla="*/ 1134245 h 6557032"/>
              <a:gd name="connsiteX42572" fmla="*/ 3575106 w 4610101"/>
              <a:gd name="connsiteY42572" fmla="*/ 1126956 h 6557032"/>
              <a:gd name="connsiteX42573" fmla="*/ 3565995 w 4610101"/>
              <a:gd name="connsiteY42573" fmla="*/ 1126956 h 6557032"/>
              <a:gd name="connsiteX42574" fmla="*/ 3567817 w 4610101"/>
              <a:gd name="connsiteY42574" fmla="*/ 1119667 h 6557032"/>
              <a:gd name="connsiteX42575" fmla="*/ 3556884 w 4610101"/>
              <a:gd name="connsiteY42575" fmla="*/ 1105090 h 6557032"/>
              <a:gd name="connsiteX42576" fmla="*/ 3542306 w 4610101"/>
              <a:gd name="connsiteY42576" fmla="*/ 1108734 h 6557032"/>
              <a:gd name="connsiteX42577" fmla="*/ 3547773 w 4610101"/>
              <a:gd name="connsiteY42577" fmla="*/ 1097801 h 6557032"/>
              <a:gd name="connsiteX42578" fmla="*/ 3544129 w 4610101"/>
              <a:gd name="connsiteY42578" fmla="*/ 1095979 h 6557032"/>
              <a:gd name="connsiteX42579" fmla="*/ 3544129 w 4610101"/>
              <a:gd name="connsiteY42579" fmla="*/ 1086868 h 6557032"/>
              <a:gd name="connsiteX42580" fmla="*/ 3536840 w 4610101"/>
              <a:gd name="connsiteY42580" fmla="*/ 1086868 h 6557032"/>
              <a:gd name="connsiteX42581" fmla="*/ 3522263 w 4610101"/>
              <a:gd name="connsiteY42581" fmla="*/ 1085046 h 6557032"/>
              <a:gd name="connsiteX42582" fmla="*/ 3531374 w 4610101"/>
              <a:gd name="connsiteY42582" fmla="*/ 1072291 h 6557032"/>
              <a:gd name="connsiteX42583" fmla="*/ 3525907 w 4610101"/>
              <a:gd name="connsiteY42583" fmla="*/ 1070469 h 6557032"/>
              <a:gd name="connsiteX42584" fmla="*/ 3518618 w 4610101"/>
              <a:gd name="connsiteY42584" fmla="*/ 1063180 h 6557032"/>
              <a:gd name="connsiteX42585" fmla="*/ 3514974 w 4610101"/>
              <a:gd name="connsiteY42585" fmla="*/ 1072291 h 6557032"/>
              <a:gd name="connsiteX42586" fmla="*/ 3520440 w 4610101"/>
              <a:gd name="connsiteY42586" fmla="*/ 1079579 h 6557032"/>
              <a:gd name="connsiteX42587" fmla="*/ 3504041 w 4610101"/>
              <a:gd name="connsiteY42587" fmla="*/ 1079579 h 6557032"/>
              <a:gd name="connsiteX42588" fmla="*/ 3504041 w 4610101"/>
              <a:gd name="connsiteY42588" fmla="*/ 1086868 h 6557032"/>
              <a:gd name="connsiteX42589" fmla="*/ 3509507 w 4610101"/>
              <a:gd name="connsiteY42589" fmla="*/ 1086868 h 6557032"/>
              <a:gd name="connsiteX42590" fmla="*/ 3502219 w 4610101"/>
              <a:gd name="connsiteY42590" fmla="*/ 1099623 h 6557032"/>
              <a:gd name="connsiteX42591" fmla="*/ 3494930 w 4610101"/>
              <a:gd name="connsiteY42591" fmla="*/ 1092335 h 6557032"/>
              <a:gd name="connsiteX42592" fmla="*/ 3480353 w 4610101"/>
              <a:gd name="connsiteY42592" fmla="*/ 1094157 h 6557032"/>
              <a:gd name="connsiteX42593" fmla="*/ 3483997 w 4610101"/>
              <a:gd name="connsiteY42593" fmla="*/ 1095979 h 6557032"/>
              <a:gd name="connsiteX42594" fmla="*/ 3465775 w 4610101"/>
              <a:gd name="connsiteY42594" fmla="*/ 1094157 h 6557032"/>
              <a:gd name="connsiteX42595" fmla="*/ 3458487 w 4610101"/>
              <a:gd name="connsiteY42595" fmla="*/ 1095979 h 6557032"/>
              <a:gd name="connsiteX42596" fmla="*/ 3487641 w 4610101"/>
              <a:gd name="connsiteY42596" fmla="*/ 1110556 h 6557032"/>
              <a:gd name="connsiteX42597" fmla="*/ 3476708 w 4610101"/>
              <a:gd name="connsiteY42597" fmla="*/ 1108734 h 6557032"/>
              <a:gd name="connsiteX42598" fmla="*/ 3476708 w 4610101"/>
              <a:gd name="connsiteY42598" fmla="*/ 1114201 h 6557032"/>
              <a:gd name="connsiteX42599" fmla="*/ 3469419 w 4610101"/>
              <a:gd name="connsiteY42599" fmla="*/ 1108734 h 6557032"/>
              <a:gd name="connsiteX42600" fmla="*/ 3491286 w 4610101"/>
              <a:gd name="connsiteY42600" fmla="*/ 1123312 h 6557032"/>
              <a:gd name="connsiteX42601" fmla="*/ 3489463 w 4610101"/>
              <a:gd name="connsiteY42601" fmla="*/ 1126956 h 6557032"/>
              <a:gd name="connsiteX42602" fmla="*/ 3503177 w 4610101"/>
              <a:gd name="connsiteY42602" fmla="*/ 1133285 h 6557032"/>
              <a:gd name="connsiteX42603" fmla="*/ 3493108 w 4610101"/>
              <a:gd name="connsiteY42603" fmla="*/ 1130600 h 6557032"/>
              <a:gd name="connsiteX42604" fmla="*/ 3485819 w 4610101"/>
              <a:gd name="connsiteY42604" fmla="*/ 1130600 h 6557032"/>
              <a:gd name="connsiteX42605" fmla="*/ 3443909 w 4610101"/>
              <a:gd name="connsiteY42605" fmla="*/ 1088690 h 6557032"/>
              <a:gd name="connsiteX42606" fmla="*/ 3443909 w 4610101"/>
              <a:gd name="connsiteY42606" fmla="*/ 1090512 h 6557032"/>
              <a:gd name="connsiteX42607" fmla="*/ 3420221 w 4610101"/>
              <a:gd name="connsiteY42607" fmla="*/ 1070469 h 6557032"/>
              <a:gd name="connsiteX42608" fmla="*/ 3385600 w 4610101"/>
              <a:gd name="connsiteY42608" fmla="*/ 1063180 h 6557032"/>
              <a:gd name="connsiteX42609" fmla="*/ 3381955 w 4610101"/>
              <a:gd name="connsiteY42609" fmla="*/ 1059535 h 6557032"/>
              <a:gd name="connsiteX42610" fmla="*/ 3371022 w 4610101"/>
              <a:gd name="connsiteY42610" fmla="*/ 1070469 h 6557032"/>
              <a:gd name="connsiteX42611" fmla="*/ 3363734 w 4610101"/>
              <a:gd name="connsiteY42611" fmla="*/ 1057713 h 6557032"/>
              <a:gd name="connsiteX42612" fmla="*/ 3356445 w 4610101"/>
              <a:gd name="connsiteY42612" fmla="*/ 1065002 h 6557032"/>
              <a:gd name="connsiteX42613" fmla="*/ 3354623 w 4610101"/>
              <a:gd name="connsiteY42613" fmla="*/ 1052247 h 6557032"/>
              <a:gd name="connsiteX42614" fmla="*/ 3352800 w 4610101"/>
              <a:gd name="connsiteY42614" fmla="*/ 1075935 h 6557032"/>
              <a:gd name="connsiteX42615" fmla="*/ 3340045 w 4610101"/>
              <a:gd name="connsiteY42615" fmla="*/ 1043136 h 6557032"/>
              <a:gd name="connsiteX42616" fmla="*/ 3347334 w 4610101"/>
              <a:gd name="connsiteY42616" fmla="*/ 1039492 h 6557032"/>
              <a:gd name="connsiteX42617" fmla="*/ 3297233 w 4610101"/>
              <a:gd name="connsiteY42617" fmla="*/ 1045564 h 6557032"/>
              <a:gd name="connsiteX42618" fmla="*/ 3327290 w 4610101"/>
              <a:gd name="connsiteY42618" fmla="*/ 1035847 h 6557032"/>
              <a:gd name="connsiteX42619" fmla="*/ 3330934 w 4610101"/>
              <a:gd name="connsiteY42619" fmla="*/ 1030381 h 6557032"/>
              <a:gd name="connsiteX42620" fmla="*/ 3320001 w 4610101"/>
              <a:gd name="connsiteY42620" fmla="*/ 1019448 h 6557032"/>
              <a:gd name="connsiteX42621" fmla="*/ 3305424 w 4610101"/>
              <a:gd name="connsiteY42621" fmla="*/ 1026736 h 6557032"/>
              <a:gd name="connsiteX42622" fmla="*/ 3296313 w 4610101"/>
              <a:gd name="connsiteY42622" fmla="*/ 1026736 h 6557032"/>
              <a:gd name="connsiteX42623" fmla="*/ 3305424 w 4610101"/>
              <a:gd name="connsiteY42623" fmla="*/ 1034025 h 6557032"/>
              <a:gd name="connsiteX42624" fmla="*/ 3318179 w 4610101"/>
              <a:gd name="connsiteY42624" fmla="*/ 1030381 h 6557032"/>
              <a:gd name="connsiteX42625" fmla="*/ 3307246 w 4610101"/>
              <a:gd name="connsiteY42625" fmla="*/ 1037669 h 6557032"/>
              <a:gd name="connsiteX42626" fmla="*/ 3287202 w 4610101"/>
              <a:gd name="connsiteY42626" fmla="*/ 1026736 h 6557032"/>
              <a:gd name="connsiteX42627" fmla="*/ 3279913 w 4610101"/>
              <a:gd name="connsiteY42627" fmla="*/ 1034025 h 6557032"/>
              <a:gd name="connsiteX42628" fmla="*/ 3238003 w 4610101"/>
              <a:gd name="connsiteY42628" fmla="*/ 1066824 h 6557032"/>
              <a:gd name="connsiteX42629" fmla="*/ 3254403 w 4610101"/>
              <a:gd name="connsiteY42629" fmla="*/ 1074113 h 6557032"/>
              <a:gd name="connsiteX42630" fmla="*/ 3265336 w 4610101"/>
              <a:gd name="connsiteY42630" fmla="*/ 1059535 h 6557032"/>
              <a:gd name="connsiteX42631" fmla="*/ 3289969 w 4610101"/>
              <a:gd name="connsiteY42631" fmla="*/ 1048725 h 6557032"/>
              <a:gd name="connsiteX42632" fmla="*/ 3271230 w 4610101"/>
              <a:gd name="connsiteY42632" fmla="*/ 1059991 h 6557032"/>
              <a:gd name="connsiteX42633" fmla="*/ 3254403 w 4610101"/>
              <a:gd name="connsiteY42633" fmla="*/ 1079579 h 6557032"/>
              <a:gd name="connsiteX42634" fmla="*/ 3270803 w 4610101"/>
              <a:gd name="connsiteY42634" fmla="*/ 1068646 h 6557032"/>
              <a:gd name="connsiteX42635" fmla="*/ 3268980 w 4610101"/>
              <a:gd name="connsiteY42635" fmla="*/ 1079579 h 6557032"/>
              <a:gd name="connsiteX42636" fmla="*/ 3276269 w 4610101"/>
              <a:gd name="connsiteY42636" fmla="*/ 1077757 h 6557032"/>
              <a:gd name="connsiteX42637" fmla="*/ 3330934 w 4610101"/>
              <a:gd name="connsiteY42637" fmla="*/ 1070469 h 6557032"/>
              <a:gd name="connsiteX42638" fmla="*/ 3338223 w 4610101"/>
              <a:gd name="connsiteY42638" fmla="*/ 1070469 h 6557032"/>
              <a:gd name="connsiteX42639" fmla="*/ 3336401 w 4610101"/>
              <a:gd name="connsiteY42639" fmla="*/ 1068646 h 6557032"/>
              <a:gd name="connsiteX42640" fmla="*/ 3340045 w 4610101"/>
              <a:gd name="connsiteY42640" fmla="*/ 1068646 h 6557032"/>
              <a:gd name="connsiteX42641" fmla="*/ 3349156 w 4610101"/>
              <a:gd name="connsiteY42641" fmla="*/ 1079579 h 6557032"/>
              <a:gd name="connsiteX42642" fmla="*/ 3354623 w 4610101"/>
              <a:gd name="connsiteY42642" fmla="*/ 1099623 h 6557032"/>
              <a:gd name="connsiteX42643" fmla="*/ 3329112 w 4610101"/>
              <a:gd name="connsiteY42643" fmla="*/ 1094157 h 6557032"/>
              <a:gd name="connsiteX42644" fmla="*/ 3323646 w 4610101"/>
              <a:gd name="connsiteY42644" fmla="*/ 1086868 h 6557032"/>
              <a:gd name="connsiteX42645" fmla="*/ 3294491 w 4610101"/>
              <a:gd name="connsiteY42645" fmla="*/ 1095979 h 6557032"/>
              <a:gd name="connsiteX42646" fmla="*/ 3305424 w 4610101"/>
              <a:gd name="connsiteY42646" fmla="*/ 1110556 h 6557032"/>
              <a:gd name="connsiteX42647" fmla="*/ 3309068 w 4610101"/>
              <a:gd name="connsiteY42647" fmla="*/ 1105090 h 6557032"/>
              <a:gd name="connsiteX42648" fmla="*/ 3327262 w 4610101"/>
              <a:gd name="connsiteY42648" fmla="*/ 1121489 h 6557032"/>
              <a:gd name="connsiteX42649" fmla="*/ 3328239 w 4610101"/>
              <a:gd name="connsiteY42649" fmla="*/ 1125341 h 6557032"/>
              <a:gd name="connsiteX42650" fmla="*/ 3328201 w 4610101"/>
              <a:gd name="connsiteY42650" fmla="*/ 1125589 h 6557032"/>
              <a:gd name="connsiteX42651" fmla="*/ 3328325 w 4610101"/>
              <a:gd name="connsiteY42651" fmla="*/ 1125675 h 6557032"/>
              <a:gd name="connsiteX42652" fmla="*/ 3329112 w 4610101"/>
              <a:gd name="connsiteY42652" fmla="*/ 1128778 h 6557032"/>
              <a:gd name="connsiteX42653" fmla="*/ 3331797 w 4610101"/>
              <a:gd name="connsiteY42653" fmla="*/ 1128107 h 6557032"/>
              <a:gd name="connsiteX42654" fmla="*/ 3332756 w 4610101"/>
              <a:gd name="connsiteY42654" fmla="*/ 1128778 h 6557032"/>
              <a:gd name="connsiteX42655" fmla="*/ 3332425 w 4610101"/>
              <a:gd name="connsiteY42655" fmla="*/ 1127950 h 6557032"/>
              <a:gd name="connsiteX42656" fmla="*/ 3336401 w 4610101"/>
              <a:gd name="connsiteY42656" fmla="*/ 1126956 h 6557032"/>
              <a:gd name="connsiteX42657" fmla="*/ 3331542 w 4610101"/>
              <a:gd name="connsiteY42657" fmla="*/ 1125741 h 6557032"/>
              <a:gd name="connsiteX42658" fmla="*/ 3331299 w 4610101"/>
              <a:gd name="connsiteY42658" fmla="*/ 1125134 h 6557032"/>
              <a:gd name="connsiteX42659" fmla="*/ 3347562 w 4610101"/>
              <a:gd name="connsiteY42659" fmla="*/ 1125134 h 6557032"/>
              <a:gd name="connsiteX42660" fmla="*/ 3361911 w 4610101"/>
              <a:gd name="connsiteY42660" fmla="*/ 1114201 h 6557032"/>
              <a:gd name="connsiteX42661" fmla="*/ 3360089 w 4610101"/>
              <a:gd name="connsiteY42661" fmla="*/ 1110556 h 6557032"/>
              <a:gd name="connsiteX42662" fmla="*/ 3374666 w 4610101"/>
              <a:gd name="connsiteY42662" fmla="*/ 1103268 h 6557032"/>
              <a:gd name="connsiteX42663" fmla="*/ 3383777 w 4610101"/>
              <a:gd name="connsiteY42663" fmla="*/ 1126956 h 6557032"/>
              <a:gd name="connsiteX42664" fmla="*/ 3374666 w 4610101"/>
              <a:gd name="connsiteY42664" fmla="*/ 1125134 h 6557032"/>
              <a:gd name="connsiteX42665" fmla="*/ 3383777 w 4610101"/>
              <a:gd name="connsiteY42665" fmla="*/ 1132422 h 6557032"/>
              <a:gd name="connsiteX42666" fmla="*/ 3376489 w 4610101"/>
              <a:gd name="connsiteY42666" fmla="*/ 1130600 h 6557032"/>
              <a:gd name="connsiteX42667" fmla="*/ 3372617 w 4610101"/>
              <a:gd name="connsiteY42667" fmla="*/ 1139256 h 6557032"/>
              <a:gd name="connsiteX42668" fmla="*/ 3377304 w 4610101"/>
              <a:gd name="connsiteY42668" fmla="*/ 1144130 h 6557032"/>
              <a:gd name="connsiteX42669" fmla="*/ 3371022 w 4610101"/>
              <a:gd name="connsiteY42669" fmla="*/ 1145178 h 6557032"/>
              <a:gd name="connsiteX42670" fmla="*/ 3369200 w 4610101"/>
              <a:gd name="connsiteY42670" fmla="*/ 1159755 h 6557032"/>
              <a:gd name="connsiteX42671" fmla="*/ 3363734 w 4610101"/>
              <a:gd name="connsiteY42671" fmla="*/ 1157933 h 6557032"/>
              <a:gd name="connsiteX42672" fmla="*/ 3362139 w 4610101"/>
              <a:gd name="connsiteY42672" fmla="*/ 1148821 h 6557032"/>
              <a:gd name="connsiteX42673" fmla="*/ 3360374 w 4610101"/>
              <a:gd name="connsiteY42673" fmla="*/ 1147692 h 6557032"/>
              <a:gd name="connsiteX42674" fmla="*/ 3367378 w 4610101"/>
              <a:gd name="connsiteY42674" fmla="*/ 1145178 h 6557032"/>
              <a:gd name="connsiteX42675" fmla="*/ 3361911 w 4610101"/>
              <a:gd name="connsiteY42675" fmla="*/ 1136067 h 6557032"/>
              <a:gd name="connsiteX42676" fmla="*/ 3350978 w 4610101"/>
              <a:gd name="connsiteY42676" fmla="*/ 1148822 h 6557032"/>
              <a:gd name="connsiteX42677" fmla="*/ 3356142 w 4610101"/>
              <a:gd name="connsiteY42677" fmla="*/ 1148509 h 6557032"/>
              <a:gd name="connsiteX42678" fmla="*/ 3355990 w 4610101"/>
              <a:gd name="connsiteY42678" fmla="*/ 1150188 h 6557032"/>
              <a:gd name="connsiteX42679" fmla="*/ 3352800 w 4610101"/>
              <a:gd name="connsiteY42679" fmla="*/ 1152466 h 6557032"/>
              <a:gd name="connsiteX42680" fmla="*/ 3354623 w 4610101"/>
              <a:gd name="connsiteY42680" fmla="*/ 1150644 h 6557032"/>
              <a:gd name="connsiteX42681" fmla="*/ 3349156 w 4610101"/>
              <a:gd name="connsiteY42681" fmla="*/ 1150644 h 6557032"/>
              <a:gd name="connsiteX42682" fmla="*/ 3332756 w 4610101"/>
              <a:gd name="connsiteY42682" fmla="*/ 1165222 h 6557032"/>
              <a:gd name="connsiteX42683" fmla="*/ 3340045 w 4610101"/>
              <a:gd name="connsiteY42683" fmla="*/ 1167044 h 6557032"/>
              <a:gd name="connsiteX42684" fmla="*/ 3340045 w 4610101"/>
              <a:gd name="connsiteY42684" fmla="*/ 1170688 h 6557032"/>
              <a:gd name="connsiteX42685" fmla="*/ 3332756 w 4610101"/>
              <a:gd name="connsiteY42685" fmla="*/ 1172510 h 6557032"/>
              <a:gd name="connsiteX42686" fmla="*/ 3336401 w 4610101"/>
              <a:gd name="connsiteY42686" fmla="*/ 1181621 h 6557032"/>
              <a:gd name="connsiteX42687" fmla="*/ 3352800 w 4610101"/>
              <a:gd name="connsiteY42687" fmla="*/ 1179799 h 6557032"/>
              <a:gd name="connsiteX42688" fmla="*/ 3350978 w 4610101"/>
              <a:gd name="connsiteY42688" fmla="*/ 1176155 h 6557032"/>
              <a:gd name="connsiteX42689" fmla="*/ 3367378 w 4610101"/>
              <a:gd name="connsiteY42689" fmla="*/ 1177977 h 6557032"/>
              <a:gd name="connsiteX42690" fmla="*/ 3367112 w 4610101"/>
              <a:gd name="connsiteY42690" fmla="*/ 1179977 h 6557032"/>
              <a:gd name="connsiteX42691" fmla="*/ 3361911 w 4610101"/>
              <a:gd name="connsiteY42691" fmla="*/ 1183443 h 6557032"/>
              <a:gd name="connsiteX42692" fmla="*/ 3364257 w 4610101"/>
              <a:gd name="connsiteY42692" fmla="*/ 1184526 h 6557032"/>
              <a:gd name="connsiteX42693" fmla="*/ 3369318 w 4610101"/>
              <a:gd name="connsiteY42693" fmla="*/ 1195011 h 6557032"/>
              <a:gd name="connsiteX42694" fmla="*/ 3365556 w 4610101"/>
              <a:gd name="connsiteY42694" fmla="*/ 1198021 h 6557032"/>
              <a:gd name="connsiteX42695" fmla="*/ 3366446 w 4610101"/>
              <a:gd name="connsiteY42695" fmla="*/ 1198614 h 6557032"/>
              <a:gd name="connsiteX42696" fmla="*/ 3359862 w 4610101"/>
              <a:gd name="connsiteY42696" fmla="*/ 1202804 h 6557032"/>
              <a:gd name="connsiteX42697" fmla="*/ 3356445 w 4610101"/>
              <a:gd name="connsiteY42697" fmla="*/ 1214420 h 6557032"/>
              <a:gd name="connsiteX42698" fmla="*/ 3350978 w 4610101"/>
              <a:gd name="connsiteY42698" fmla="*/ 1216242 h 6557032"/>
              <a:gd name="connsiteX42699" fmla="*/ 3347334 w 4610101"/>
              <a:gd name="connsiteY42699" fmla="*/ 1230820 h 6557032"/>
              <a:gd name="connsiteX42700" fmla="*/ 3361911 w 4610101"/>
              <a:gd name="connsiteY42700" fmla="*/ 1228998 h 6557032"/>
              <a:gd name="connsiteX42701" fmla="*/ 3360089 w 4610101"/>
              <a:gd name="connsiteY42701" fmla="*/ 1225353 h 6557032"/>
              <a:gd name="connsiteX42702" fmla="*/ 3367378 w 4610101"/>
              <a:gd name="connsiteY42702" fmla="*/ 1225353 h 6557032"/>
              <a:gd name="connsiteX42703" fmla="*/ 3383777 w 4610101"/>
              <a:gd name="connsiteY42703" fmla="*/ 1232642 h 6557032"/>
              <a:gd name="connsiteX42704" fmla="*/ 3385600 w 4610101"/>
              <a:gd name="connsiteY42704" fmla="*/ 1225353 h 6557032"/>
              <a:gd name="connsiteX42705" fmla="*/ 3401316 w 4610101"/>
              <a:gd name="connsiteY42705" fmla="*/ 1221709 h 6557032"/>
              <a:gd name="connsiteX42706" fmla="*/ 3405028 w 4610101"/>
              <a:gd name="connsiteY42706" fmla="*/ 1229408 h 6557032"/>
              <a:gd name="connsiteX42707" fmla="*/ 3400177 w 4610101"/>
              <a:gd name="connsiteY42707" fmla="*/ 1232642 h 6557032"/>
              <a:gd name="connsiteX42708" fmla="*/ 3400861 w 4610101"/>
              <a:gd name="connsiteY42708" fmla="*/ 1235830 h 6557032"/>
              <a:gd name="connsiteX42709" fmla="*/ 3400934 w 4610101"/>
              <a:gd name="connsiteY42709" fmla="*/ 1235837 h 6557032"/>
              <a:gd name="connsiteX42710" fmla="*/ 3398355 w 4610101"/>
              <a:gd name="connsiteY42710" fmla="*/ 1236286 h 6557032"/>
              <a:gd name="connsiteX42711" fmla="*/ 3427510 w 4610101"/>
              <a:gd name="connsiteY42711" fmla="*/ 1238108 h 6557032"/>
              <a:gd name="connsiteX42712" fmla="*/ 3423865 w 4610101"/>
              <a:gd name="connsiteY42712" fmla="*/ 1243575 h 6557032"/>
              <a:gd name="connsiteX42713" fmla="*/ 3434798 w 4610101"/>
              <a:gd name="connsiteY42713" fmla="*/ 1270908 h 6557032"/>
              <a:gd name="connsiteX42714" fmla="*/ 3440265 w 4610101"/>
              <a:gd name="connsiteY42714" fmla="*/ 1269085 h 6557032"/>
              <a:gd name="connsiteX42715" fmla="*/ 3432976 w 4610101"/>
              <a:gd name="connsiteY42715" fmla="*/ 1249042 h 6557032"/>
              <a:gd name="connsiteX42716" fmla="*/ 3443909 w 4610101"/>
              <a:gd name="connsiteY42716" fmla="*/ 1247219 h 6557032"/>
              <a:gd name="connsiteX42717" fmla="*/ 3445731 w 4610101"/>
              <a:gd name="connsiteY42717" fmla="*/ 1252686 h 6557032"/>
              <a:gd name="connsiteX42718" fmla="*/ 3451198 w 4610101"/>
              <a:gd name="connsiteY42718" fmla="*/ 1250864 h 6557032"/>
              <a:gd name="connsiteX42719" fmla="*/ 3454842 w 4610101"/>
              <a:gd name="connsiteY42719" fmla="*/ 1265441 h 6557032"/>
              <a:gd name="connsiteX42720" fmla="*/ 3453020 w 4610101"/>
              <a:gd name="connsiteY42720" fmla="*/ 1278196 h 6557032"/>
              <a:gd name="connsiteX42721" fmla="*/ 3443909 w 4610101"/>
              <a:gd name="connsiteY42721" fmla="*/ 1276374 h 6557032"/>
              <a:gd name="connsiteX42722" fmla="*/ 3445731 w 4610101"/>
              <a:gd name="connsiteY42722" fmla="*/ 1281841 h 6557032"/>
              <a:gd name="connsiteX42723" fmla="*/ 3456664 w 4610101"/>
              <a:gd name="connsiteY42723" fmla="*/ 1278196 h 6557032"/>
              <a:gd name="connsiteX42724" fmla="*/ 3459626 w 4610101"/>
              <a:gd name="connsiteY42724" fmla="*/ 1283207 h 6557032"/>
              <a:gd name="connsiteX42725" fmla="*/ 3453113 w 4610101"/>
              <a:gd name="connsiteY42725" fmla="*/ 1290842 h 6557032"/>
              <a:gd name="connsiteX42726" fmla="*/ 3452890 w 4610101"/>
              <a:gd name="connsiteY42726" fmla="*/ 1290430 h 6557032"/>
              <a:gd name="connsiteX42727" fmla="*/ 3451198 w 4610101"/>
              <a:gd name="connsiteY42727" fmla="*/ 1283663 h 6557032"/>
              <a:gd name="connsiteX42728" fmla="*/ 3443909 w 4610101"/>
              <a:gd name="connsiteY42728" fmla="*/ 1287307 h 6557032"/>
              <a:gd name="connsiteX42729" fmla="*/ 3447553 w 4610101"/>
              <a:gd name="connsiteY42729" fmla="*/ 1292774 h 6557032"/>
              <a:gd name="connsiteX42730" fmla="*/ 3450098 w 4610101"/>
              <a:gd name="connsiteY42730" fmla="*/ 1291925 h 6557032"/>
              <a:gd name="connsiteX42731" fmla="*/ 3450059 w 4610101"/>
              <a:gd name="connsiteY42731" fmla="*/ 1292090 h 6557032"/>
              <a:gd name="connsiteX42732" fmla="*/ 3451261 w 4610101"/>
              <a:gd name="connsiteY42732" fmla="*/ 1294586 h 6557032"/>
              <a:gd name="connsiteX42733" fmla="*/ 3451198 w 4610101"/>
              <a:gd name="connsiteY42733" fmla="*/ 1294596 h 6557032"/>
              <a:gd name="connsiteX42734" fmla="*/ 3458487 w 4610101"/>
              <a:gd name="connsiteY42734" fmla="*/ 1305529 h 6557032"/>
              <a:gd name="connsiteX42735" fmla="*/ 3460309 w 4610101"/>
              <a:gd name="connsiteY42735" fmla="*/ 1294596 h 6557032"/>
              <a:gd name="connsiteX42736" fmla="*/ 3467597 w 4610101"/>
              <a:gd name="connsiteY42736" fmla="*/ 1296418 h 6557032"/>
              <a:gd name="connsiteX42737" fmla="*/ 3465775 w 4610101"/>
              <a:gd name="connsiteY42737" fmla="*/ 1310995 h 6557032"/>
              <a:gd name="connsiteX42738" fmla="*/ 3474886 w 4610101"/>
              <a:gd name="connsiteY42738" fmla="*/ 1307351 h 6557032"/>
              <a:gd name="connsiteX42739" fmla="*/ 3471242 w 4610101"/>
              <a:gd name="connsiteY42739" fmla="*/ 1303707 h 6557032"/>
              <a:gd name="connsiteX42740" fmla="*/ 3480353 w 4610101"/>
              <a:gd name="connsiteY42740" fmla="*/ 1301885 h 6557032"/>
              <a:gd name="connsiteX42741" fmla="*/ 3463953 w 4610101"/>
              <a:gd name="connsiteY42741" fmla="*/ 1316462 h 6557032"/>
              <a:gd name="connsiteX42742" fmla="*/ 3487641 w 4610101"/>
              <a:gd name="connsiteY42742" fmla="*/ 1310995 h 6557032"/>
              <a:gd name="connsiteX42743" fmla="*/ 3514974 w 4610101"/>
              <a:gd name="connsiteY42743" fmla="*/ 1318284 h 6557032"/>
              <a:gd name="connsiteX42744" fmla="*/ 3502219 w 4610101"/>
              <a:gd name="connsiteY42744" fmla="*/ 1320106 h 6557032"/>
              <a:gd name="connsiteX42745" fmla="*/ 3505863 w 4610101"/>
              <a:gd name="connsiteY42745" fmla="*/ 1327395 h 6557032"/>
              <a:gd name="connsiteX42746" fmla="*/ 3494930 w 4610101"/>
              <a:gd name="connsiteY42746" fmla="*/ 1318284 h 6557032"/>
              <a:gd name="connsiteX42747" fmla="*/ 3478530 w 4610101"/>
              <a:gd name="connsiteY42747" fmla="*/ 1338328 h 6557032"/>
              <a:gd name="connsiteX42748" fmla="*/ 3480353 w 4610101"/>
              <a:gd name="connsiteY42748" fmla="*/ 1345617 h 6557032"/>
              <a:gd name="connsiteX42749" fmla="*/ 3467541 w 4610101"/>
              <a:gd name="connsiteY42749" fmla="*/ 1327423 h 6557032"/>
              <a:gd name="connsiteX42750" fmla="*/ 3464015 w 4610101"/>
              <a:gd name="connsiteY42750" fmla="*/ 1328831 h 6557032"/>
              <a:gd name="connsiteX42751" fmla="*/ 3464864 w 4610101"/>
              <a:gd name="connsiteY42751" fmla="*/ 1323523 h 6557032"/>
              <a:gd name="connsiteX42752" fmla="*/ 3460309 w 4610101"/>
              <a:gd name="connsiteY42752" fmla="*/ 1321929 h 6557032"/>
              <a:gd name="connsiteX42753" fmla="*/ 3459398 w 4610101"/>
              <a:gd name="connsiteY42753" fmla="*/ 1326940 h 6557032"/>
              <a:gd name="connsiteX42754" fmla="*/ 3463552 w 4610101"/>
              <a:gd name="connsiteY42754" fmla="*/ 1329016 h 6557032"/>
              <a:gd name="connsiteX42755" fmla="*/ 3458487 w 4610101"/>
              <a:gd name="connsiteY42755" fmla="*/ 1331039 h 6557032"/>
              <a:gd name="connsiteX42756" fmla="*/ 3465673 w 4610101"/>
              <a:gd name="connsiteY42756" fmla="*/ 1332941 h 6557032"/>
              <a:gd name="connsiteX42757" fmla="*/ 3459626 w 4610101"/>
              <a:gd name="connsiteY42757" fmla="*/ 1337645 h 6557032"/>
              <a:gd name="connsiteX42758" fmla="*/ 3460107 w 4610101"/>
              <a:gd name="connsiteY42758" fmla="*/ 1341972 h 6557032"/>
              <a:gd name="connsiteX42759" fmla="*/ 3456664 w 4610101"/>
              <a:gd name="connsiteY42759" fmla="*/ 1341972 h 6557032"/>
              <a:gd name="connsiteX42760" fmla="*/ 3456664 w 4610101"/>
              <a:gd name="connsiteY42760" fmla="*/ 1351083 h 6557032"/>
              <a:gd name="connsiteX42761" fmla="*/ 3469419 w 4610101"/>
              <a:gd name="connsiteY42761" fmla="*/ 1352905 h 6557032"/>
              <a:gd name="connsiteX42762" fmla="*/ 3471242 w 4610101"/>
              <a:gd name="connsiteY42762" fmla="*/ 1345617 h 6557032"/>
              <a:gd name="connsiteX42763" fmla="*/ 3482175 w 4610101"/>
              <a:gd name="connsiteY42763" fmla="*/ 1358372 h 6557032"/>
              <a:gd name="connsiteX42764" fmla="*/ 3449376 w 4610101"/>
              <a:gd name="connsiteY42764" fmla="*/ 1365661 h 6557032"/>
              <a:gd name="connsiteX42765" fmla="*/ 3445731 w 4610101"/>
              <a:gd name="connsiteY42765" fmla="*/ 1351083 h 6557032"/>
              <a:gd name="connsiteX42766" fmla="*/ 3447553 w 4610101"/>
              <a:gd name="connsiteY42766" fmla="*/ 1365661 h 6557032"/>
              <a:gd name="connsiteX42767" fmla="*/ 3442087 w 4610101"/>
              <a:gd name="connsiteY42767" fmla="*/ 1351083 h 6557032"/>
              <a:gd name="connsiteX42768" fmla="*/ 3422043 w 4610101"/>
              <a:gd name="connsiteY42768" fmla="*/ 1360194 h 6557032"/>
              <a:gd name="connsiteX42769" fmla="*/ 3420221 w 4610101"/>
              <a:gd name="connsiteY42769" fmla="*/ 1374771 h 6557032"/>
              <a:gd name="connsiteX42770" fmla="*/ 3418399 w 4610101"/>
              <a:gd name="connsiteY42770" fmla="*/ 1372949 h 6557032"/>
              <a:gd name="connsiteX42771" fmla="*/ 3414754 w 4610101"/>
              <a:gd name="connsiteY42771" fmla="*/ 1374771 h 6557032"/>
              <a:gd name="connsiteX42772" fmla="*/ 3436621 w 4610101"/>
              <a:gd name="connsiteY42772" fmla="*/ 1374771 h 6557032"/>
              <a:gd name="connsiteX42773" fmla="*/ 3438443 w 4610101"/>
              <a:gd name="connsiteY42773" fmla="*/ 1380238 h 6557032"/>
              <a:gd name="connsiteX42774" fmla="*/ 3454842 w 4610101"/>
              <a:gd name="connsiteY42774" fmla="*/ 1369305 h 6557032"/>
              <a:gd name="connsiteX42775" fmla="*/ 3471242 w 4610101"/>
              <a:gd name="connsiteY42775" fmla="*/ 1374771 h 6557032"/>
              <a:gd name="connsiteX42776" fmla="*/ 3469419 w 4610101"/>
              <a:gd name="connsiteY42776" fmla="*/ 1369305 h 6557032"/>
              <a:gd name="connsiteX42777" fmla="*/ 3520440 w 4610101"/>
              <a:gd name="connsiteY42777" fmla="*/ 1362016 h 6557032"/>
              <a:gd name="connsiteX42778" fmla="*/ 3515849 w 4610101"/>
              <a:gd name="connsiteY42778" fmla="*/ 1376708 h 6557032"/>
              <a:gd name="connsiteX42779" fmla="*/ 3511330 w 4610101"/>
              <a:gd name="connsiteY42779" fmla="*/ 1374771 h 6557032"/>
              <a:gd name="connsiteX42780" fmla="*/ 3513152 w 4610101"/>
              <a:gd name="connsiteY42780" fmla="*/ 1383882 h 6557032"/>
              <a:gd name="connsiteX42781" fmla="*/ 3513815 w 4610101"/>
              <a:gd name="connsiteY42781" fmla="*/ 1383220 h 6557032"/>
              <a:gd name="connsiteX42782" fmla="*/ 3511330 w 4610101"/>
              <a:gd name="connsiteY42782" fmla="*/ 1391171 h 6557032"/>
              <a:gd name="connsiteX42783" fmla="*/ 3509507 w 4610101"/>
              <a:gd name="connsiteY42783" fmla="*/ 1383882 h 6557032"/>
              <a:gd name="connsiteX42784" fmla="*/ 3504998 w 4610101"/>
              <a:gd name="connsiteY42784" fmla="*/ 1390015 h 6557032"/>
              <a:gd name="connsiteX42785" fmla="*/ 3506091 w 4610101"/>
              <a:gd name="connsiteY42785" fmla="*/ 1386615 h 6557032"/>
              <a:gd name="connsiteX42786" fmla="*/ 3504041 w 4610101"/>
              <a:gd name="connsiteY42786" fmla="*/ 1380238 h 6557032"/>
              <a:gd name="connsiteX42787" fmla="*/ 3502675 w 4610101"/>
              <a:gd name="connsiteY42787" fmla="*/ 1385249 h 6557032"/>
              <a:gd name="connsiteX42788" fmla="*/ 3503807 w 4610101"/>
              <a:gd name="connsiteY42788" fmla="*/ 1391667 h 6557032"/>
              <a:gd name="connsiteX42789" fmla="*/ 3502219 w 4610101"/>
              <a:gd name="connsiteY42789" fmla="*/ 1402104 h 6557032"/>
              <a:gd name="connsiteX42790" fmla="*/ 3493480 w 4610101"/>
              <a:gd name="connsiteY42790" fmla="*/ 1398609 h 6557032"/>
              <a:gd name="connsiteX42791" fmla="*/ 3494475 w 4610101"/>
              <a:gd name="connsiteY42791" fmla="*/ 1394132 h 6557032"/>
              <a:gd name="connsiteX42792" fmla="*/ 3493108 w 4610101"/>
              <a:gd name="connsiteY42792" fmla="*/ 1389349 h 6557032"/>
              <a:gd name="connsiteX42793" fmla="*/ 3502219 w 4610101"/>
              <a:gd name="connsiteY42793" fmla="*/ 1380238 h 6557032"/>
              <a:gd name="connsiteX42794" fmla="*/ 3489463 w 4610101"/>
              <a:gd name="connsiteY42794" fmla="*/ 1382060 h 6557032"/>
              <a:gd name="connsiteX42795" fmla="*/ 3489919 w 4610101"/>
              <a:gd name="connsiteY42795" fmla="*/ 1391854 h 6557032"/>
              <a:gd name="connsiteX42796" fmla="*/ 3492844 w 4610101"/>
              <a:gd name="connsiteY42796" fmla="*/ 1399583 h 6557032"/>
              <a:gd name="connsiteX42797" fmla="*/ 3491391 w 4610101"/>
              <a:gd name="connsiteY42797" fmla="*/ 1405759 h 6557032"/>
              <a:gd name="connsiteX42798" fmla="*/ 3491286 w 4610101"/>
              <a:gd name="connsiteY42798" fmla="*/ 1402104 h 6557032"/>
              <a:gd name="connsiteX42799" fmla="*/ 3476708 w 4610101"/>
              <a:gd name="connsiteY42799" fmla="*/ 1420326 h 6557032"/>
              <a:gd name="connsiteX42800" fmla="*/ 3493108 w 4610101"/>
              <a:gd name="connsiteY42800" fmla="*/ 1416681 h 6557032"/>
              <a:gd name="connsiteX42801" fmla="*/ 3491514 w 4610101"/>
              <a:gd name="connsiteY42801" fmla="*/ 1410076 h 6557032"/>
              <a:gd name="connsiteX42802" fmla="*/ 3491414 w 4610101"/>
              <a:gd name="connsiteY42802" fmla="*/ 1406571 h 6557032"/>
              <a:gd name="connsiteX42803" fmla="*/ 3494930 w 4610101"/>
              <a:gd name="connsiteY42803" fmla="*/ 1416681 h 6557032"/>
              <a:gd name="connsiteX42804" fmla="*/ 3502219 w 4610101"/>
              <a:gd name="connsiteY42804" fmla="*/ 1409393 h 6557032"/>
              <a:gd name="connsiteX42805" fmla="*/ 3504041 w 4610101"/>
              <a:gd name="connsiteY42805" fmla="*/ 1414859 h 6557032"/>
              <a:gd name="connsiteX42806" fmla="*/ 3502219 w 4610101"/>
              <a:gd name="connsiteY42806" fmla="*/ 1425792 h 6557032"/>
              <a:gd name="connsiteX42807" fmla="*/ 3500397 w 4610101"/>
              <a:gd name="connsiteY42807" fmla="*/ 1413037 h 6557032"/>
              <a:gd name="connsiteX42808" fmla="*/ 3496041 w 4610101"/>
              <a:gd name="connsiteY42808" fmla="*/ 1447630 h 6557032"/>
              <a:gd name="connsiteX42809" fmla="*/ 3495477 w 4610101"/>
              <a:gd name="connsiteY42809" fmla="*/ 1447887 h 6557032"/>
              <a:gd name="connsiteX42810" fmla="*/ 3495841 w 4610101"/>
              <a:gd name="connsiteY42810" fmla="*/ 1445608 h 6557032"/>
              <a:gd name="connsiteX42811" fmla="*/ 3491286 w 4610101"/>
              <a:gd name="connsiteY42811" fmla="*/ 1444014 h 6557032"/>
              <a:gd name="connsiteX42812" fmla="*/ 3491741 w 4610101"/>
              <a:gd name="connsiteY42812" fmla="*/ 1449025 h 6557032"/>
              <a:gd name="connsiteX42813" fmla="*/ 3492225 w 4610101"/>
              <a:gd name="connsiteY42813" fmla="*/ 1449371 h 6557032"/>
              <a:gd name="connsiteX42814" fmla="*/ 3483997 w 4610101"/>
              <a:gd name="connsiteY42814" fmla="*/ 1453125 h 6557032"/>
              <a:gd name="connsiteX42815" fmla="*/ 3482175 w 4610101"/>
              <a:gd name="connsiteY42815" fmla="*/ 1449481 h 6557032"/>
              <a:gd name="connsiteX42816" fmla="*/ 3460309 w 4610101"/>
              <a:gd name="connsiteY42816" fmla="*/ 1460414 h 6557032"/>
              <a:gd name="connsiteX42817" fmla="*/ 3454842 w 4610101"/>
              <a:gd name="connsiteY42817" fmla="*/ 1444014 h 6557032"/>
              <a:gd name="connsiteX42818" fmla="*/ 3442087 w 4610101"/>
              <a:gd name="connsiteY42818" fmla="*/ 1462236 h 6557032"/>
              <a:gd name="connsiteX42819" fmla="*/ 3434798 w 4610101"/>
              <a:gd name="connsiteY42819" fmla="*/ 1458592 h 6557032"/>
              <a:gd name="connsiteX42820" fmla="*/ 3442087 w 4610101"/>
              <a:gd name="connsiteY42820" fmla="*/ 1444014 h 6557032"/>
              <a:gd name="connsiteX42821" fmla="*/ 3449376 w 4610101"/>
              <a:gd name="connsiteY42821" fmla="*/ 1442192 h 6557032"/>
              <a:gd name="connsiteX42822" fmla="*/ 3429332 w 4610101"/>
              <a:gd name="connsiteY42822" fmla="*/ 1456769 h 6557032"/>
              <a:gd name="connsiteX42823" fmla="*/ 3416577 w 4610101"/>
              <a:gd name="connsiteY42823" fmla="*/ 1449481 h 6557032"/>
              <a:gd name="connsiteX42824" fmla="*/ 3405416 w 4610101"/>
              <a:gd name="connsiteY42824" fmla="*/ 1457225 h 6557032"/>
              <a:gd name="connsiteX42825" fmla="*/ 3399332 w 4610101"/>
              <a:gd name="connsiteY42825" fmla="*/ 1466253 h 6557032"/>
              <a:gd name="connsiteX42826" fmla="*/ 3398583 w 4610101"/>
              <a:gd name="connsiteY42826" fmla="*/ 1464969 h 6557032"/>
              <a:gd name="connsiteX42827" fmla="*/ 3398355 w 4610101"/>
              <a:gd name="connsiteY42827" fmla="*/ 1462236 h 6557032"/>
              <a:gd name="connsiteX42828" fmla="*/ 3395849 w 4610101"/>
              <a:gd name="connsiteY42828" fmla="*/ 1466336 h 6557032"/>
              <a:gd name="connsiteX42829" fmla="*/ 3398675 w 4610101"/>
              <a:gd name="connsiteY42829" fmla="*/ 1467228 h 6557032"/>
              <a:gd name="connsiteX42830" fmla="*/ 3398355 w 4610101"/>
              <a:gd name="connsiteY42830" fmla="*/ 1467702 h 6557032"/>
              <a:gd name="connsiteX42831" fmla="*/ 3401999 w 4610101"/>
              <a:gd name="connsiteY42831" fmla="*/ 1473169 h 6557032"/>
              <a:gd name="connsiteX42832" fmla="*/ 3405643 w 4610101"/>
              <a:gd name="connsiteY42832" fmla="*/ 1460414 h 6557032"/>
              <a:gd name="connsiteX42833" fmla="*/ 3409288 w 4610101"/>
              <a:gd name="connsiteY42833" fmla="*/ 1480458 h 6557032"/>
              <a:gd name="connsiteX42834" fmla="*/ 3418399 w 4610101"/>
              <a:gd name="connsiteY42834" fmla="*/ 1474991 h 6557032"/>
              <a:gd name="connsiteX42835" fmla="*/ 3431154 w 4610101"/>
              <a:gd name="connsiteY42835" fmla="*/ 1480458 h 6557032"/>
              <a:gd name="connsiteX42836" fmla="*/ 3436621 w 4610101"/>
              <a:gd name="connsiteY42836" fmla="*/ 1467702 h 6557032"/>
              <a:gd name="connsiteX42837" fmla="*/ 3431154 w 4610101"/>
              <a:gd name="connsiteY42837" fmla="*/ 1482280 h 6557032"/>
              <a:gd name="connsiteX42838" fmla="*/ 3453020 w 4610101"/>
              <a:gd name="connsiteY42838" fmla="*/ 1478635 h 6557032"/>
              <a:gd name="connsiteX42839" fmla="*/ 3463270 w 4610101"/>
              <a:gd name="connsiteY42839" fmla="*/ 1488201 h 6557032"/>
              <a:gd name="connsiteX42840" fmla="*/ 3464156 w 4610101"/>
              <a:gd name="connsiteY42840" fmla="*/ 1489973 h 6557032"/>
              <a:gd name="connsiteX42841" fmla="*/ 3463498 w 4610101"/>
              <a:gd name="connsiteY42841" fmla="*/ 1489340 h 6557032"/>
              <a:gd name="connsiteX42842" fmla="*/ 3454842 w 4610101"/>
              <a:gd name="connsiteY42842" fmla="*/ 1493213 h 6557032"/>
              <a:gd name="connsiteX42843" fmla="*/ 3459775 w 4610101"/>
              <a:gd name="connsiteY42843" fmla="*/ 1495424 h 6557032"/>
              <a:gd name="connsiteX42844" fmla="*/ 3453020 w 4610101"/>
              <a:gd name="connsiteY42844" fmla="*/ 1496857 h 6557032"/>
              <a:gd name="connsiteX42845" fmla="*/ 3458487 w 4610101"/>
              <a:gd name="connsiteY42845" fmla="*/ 1516901 h 6557032"/>
              <a:gd name="connsiteX42846" fmla="*/ 3431154 w 4610101"/>
              <a:gd name="connsiteY42846" fmla="*/ 1498679 h 6557032"/>
              <a:gd name="connsiteX42847" fmla="*/ 3423865 w 4610101"/>
              <a:gd name="connsiteY42847" fmla="*/ 1491391 h 6557032"/>
              <a:gd name="connsiteX42848" fmla="*/ 3414754 w 4610101"/>
              <a:gd name="connsiteY42848" fmla="*/ 1496857 h 6557032"/>
              <a:gd name="connsiteX42849" fmla="*/ 3412932 w 4610101"/>
              <a:gd name="connsiteY42849" fmla="*/ 1491391 h 6557032"/>
              <a:gd name="connsiteX42850" fmla="*/ 3405643 w 4610101"/>
              <a:gd name="connsiteY42850" fmla="*/ 1495035 h 6557032"/>
              <a:gd name="connsiteX42851" fmla="*/ 3407466 w 4610101"/>
              <a:gd name="connsiteY42851" fmla="*/ 1502324 h 6557032"/>
              <a:gd name="connsiteX42852" fmla="*/ 3406859 w 4610101"/>
              <a:gd name="connsiteY42852" fmla="*/ 1503134 h 6557032"/>
              <a:gd name="connsiteX42853" fmla="*/ 3403821 w 4610101"/>
              <a:gd name="connsiteY42853" fmla="*/ 1496857 h 6557032"/>
              <a:gd name="connsiteX42854" fmla="*/ 3396532 w 4610101"/>
              <a:gd name="connsiteY42854" fmla="*/ 1482280 h 6557032"/>
              <a:gd name="connsiteX42855" fmla="*/ 3396532 w 4610101"/>
              <a:gd name="connsiteY42855" fmla="*/ 1489568 h 6557032"/>
              <a:gd name="connsiteX42856" fmla="*/ 3392888 w 4610101"/>
              <a:gd name="connsiteY42856" fmla="*/ 1484102 h 6557032"/>
              <a:gd name="connsiteX42857" fmla="*/ 3400177 w 4610101"/>
              <a:gd name="connsiteY42857" fmla="*/ 1498679 h 6557032"/>
              <a:gd name="connsiteX42858" fmla="*/ 3394755 w 4610101"/>
              <a:gd name="connsiteY42858" fmla="*/ 1500486 h 6557032"/>
              <a:gd name="connsiteX42859" fmla="*/ 3394710 w 4610101"/>
              <a:gd name="connsiteY42859" fmla="*/ 1498679 h 6557032"/>
              <a:gd name="connsiteX42860" fmla="*/ 3394710 w 4610101"/>
              <a:gd name="connsiteY42860" fmla="*/ 1500501 h 6557032"/>
              <a:gd name="connsiteX42861" fmla="*/ 3394755 w 4610101"/>
              <a:gd name="connsiteY42861" fmla="*/ 1500486 h 6557032"/>
              <a:gd name="connsiteX42862" fmla="*/ 3394938 w 4610101"/>
              <a:gd name="connsiteY42862" fmla="*/ 1507790 h 6557032"/>
              <a:gd name="connsiteX42863" fmla="*/ 3401999 w 4610101"/>
              <a:gd name="connsiteY42863" fmla="*/ 1511434 h 6557032"/>
              <a:gd name="connsiteX42864" fmla="*/ 3403725 w 4610101"/>
              <a:gd name="connsiteY42864" fmla="*/ 1508845 h 6557032"/>
              <a:gd name="connsiteX42865" fmla="*/ 3406099 w 4610101"/>
              <a:gd name="connsiteY42865" fmla="*/ 1507790 h 6557032"/>
              <a:gd name="connsiteX42866" fmla="*/ 3407466 w 4610101"/>
              <a:gd name="connsiteY42866" fmla="*/ 1511434 h 6557032"/>
              <a:gd name="connsiteX42867" fmla="*/ 3408417 w 4610101"/>
              <a:gd name="connsiteY42867" fmla="*/ 1508741 h 6557032"/>
              <a:gd name="connsiteX42868" fmla="*/ 3409288 w 4610101"/>
              <a:gd name="connsiteY42868" fmla="*/ 1509612 h 6557032"/>
              <a:gd name="connsiteX42869" fmla="*/ 3408693 w 4610101"/>
              <a:gd name="connsiteY42869" fmla="*/ 1507958 h 6557032"/>
              <a:gd name="connsiteX42870" fmla="*/ 3408833 w 4610101"/>
              <a:gd name="connsiteY42870" fmla="*/ 1507562 h 6557032"/>
              <a:gd name="connsiteX42871" fmla="*/ 3407466 w 4610101"/>
              <a:gd name="connsiteY42871" fmla="*/ 1502324 h 6557032"/>
              <a:gd name="connsiteX42872" fmla="*/ 3412932 w 4610101"/>
              <a:gd name="connsiteY42872" fmla="*/ 1509612 h 6557032"/>
              <a:gd name="connsiteX42873" fmla="*/ 3416577 w 4610101"/>
              <a:gd name="connsiteY42873" fmla="*/ 1498679 h 6557032"/>
              <a:gd name="connsiteX42874" fmla="*/ 3420221 w 4610101"/>
              <a:gd name="connsiteY42874" fmla="*/ 1502324 h 6557032"/>
              <a:gd name="connsiteX42875" fmla="*/ 3422043 w 4610101"/>
              <a:gd name="connsiteY42875" fmla="*/ 1495035 h 6557032"/>
              <a:gd name="connsiteX42876" fmla="*/ 3430243 w 4610101"/>
              <a:gd name="connsiteY42876" fmla="*/ 1506651 h 6557032"/>
              <a:gd name="connsiteX42877" fmla="*/ 3430935 w 4610101"/>
              <a:gd name="connsiteY42877" fmla="*/ 1510632 h 6557032"/>
              <a:gd name="connsiteX42878" fmla="*/ 3429332 w 4610101"/>
              <a:gd name="connsiteY42878" fmla="*/ 1511434 h 6557032"/>
              <a:gd name="connsiteX42879" fmla="*/ 3431313 w 4610101"/>
              <a:gd name="connsiteY42879" fmla="*/ 1512806 h 6557032"/>
              <a:gd name="connsiteX42880" fmla="*/ 3432976 w 4610101"/>
              <a:gd name="connsiteY42880" fmla="*/ 1522368 h 6557032"/>
              <a:gd name="connsiteX42881" fmla="*/ 3440265 w 4610101"/>
              <a:gd name="connsiteY42881" fmla="*/ 1524190 h 6557032"/>
              <a:gd name="connsiteX42882" fmla="*/ 3442087 w 4610101"/>
              <a:gd name="connsiteY42882" fmla="*/ 1538767 h 6557032"/>
              <a:gd name="connsiteX42883" fmla="*/ 3423865 w 4610101"/>
              <a:gd name="connsiteY42883" fmla="*/ 1533301 h 6557032"/>
              <a:gd name="connsiteX42884" fmla="*/ 3420221 w 4610101"/>
              <a:gd name="connsiteY42884" fmla="*/ 1536945 h 6557032"/>
              <a:gd name="connsiteX42885" fmla="*/ 3423865 w 4610101"/>
              <a:gd name="connsiteY42885" fmla="*/ 1549700 h 6557032"/>
              <a:gd name="connsiteX42886" fmla="*/ 3407466 w 4610101"/>
              <a:gd name="connsiteY42886" fmla="*/ 1529656 h 6557032"/>
              <a:gd name="connsiteX42887" fmla="*/ 3409288 w 4610101"/>
              <a:gd name="connsiteY42887" fmla="*/ 1518723 h 6557032"/>
              <a:gd name="connsiteX42888" fmla="*/ 3405643 w 4610101"/>
              <a:gd name="connsiteY42888" fmla="*/ 1526012 h 6557032"/>
              <a:gd name="connsiteX42889" fmla="*/ 3398355 w 4610101"/>
              <a:gd name="connsiteY42889" fmla="*/ 1518723 h 6557032"/>
              <a:gd name="connsiteX42890" fmla="*/ 3396532 w 4610101"/>
              <a:gd name="connsiteY42890" fmla="*/ 1511434 h 6557032"/>
              <a:gd name="connsiteX42891" fmla="*/ 3394710 w 4610101"/>
              <a:gd name="connsiteY42891" fmla="*/ 1513257 h 6557032"/>
              <a:gd name="connsiteX42892" fmla="*/ 3345512 w 4610101"/>
              <a:gd name="connsiteY42892" fmla="*/ 1469525 h 6557032"/>
              <a:gd name="connsiteX42893" fmla="*/ 3334579 w 4610101"/>
              <a:gd name="connsiteY42893" fmla="*/ 1473169 h 6557032"/>
              <a:gd name="connsiteX42894" fmla="*/ 3334579 w 4610101"/>
              <a:gd name="connsiteY42894" fmla="*/ 1471347 h 6557032"/>
              <a:gd name="connsiteX42895" fmla="*/ 3330376 w 4610101"/>
              <a:gd name="connsiteY42895" fmla="*/ 1474578 h 6557032"/>
              <a:gd name="connsiteX42896" fmla="*/ 3329112 w 4610101"/>
              <a:gd name="connsiteY42896" fmla="*/ 1471347 h 6557032"/>
              <a:gd name="connsiteX42897" fmla="*/ 3323646 w 4610101"/>
              <a:gd name="connsiteY42897" fmla="*/ 1474991 h 6557032"/>
              <a:gd name="connsiteX42898" fmla="*/ 3329112 w 4610101"/>
              <a:gd name="connsiteY42898" fmla="*/ 1480458 h 6557032"/>
              <a:gd name="connsiteX42899" fmla="*/ 3329637 w 4610101"/>
              <a:gd name="connsiteY42899" fmla="*/ 1479467 h 6557032"/>
              <a:gd name="connsiteX42900" fmla="*/ 3330934 w 4610101"/>
              <a:gd name="connsiteY42900" fmla="*/ 1484102 h 6557032"/>
              <a:gd name="connsiteX42901" fmla="*/ 3332756 w 4610101"/>
              <a:gd name="connsiteY42901" fmla="*/ 1484102 h 6557032"/>
              <a:gd name="connsiteX42902" fmla="*/ 3329112 w 4610101"/>
              <a:gd name="connsiteY42902" fmla="*/ 1498679 h 6557032"/>
              <a:gd name="connsiteX42903" fmla="*/ 3323646 w 4610101"/>
              <a:gd name="connsiteY42903" fmla="*/ 1501868 h 6557032"/>
              <a:gd name="connsiteX42904" fmla="*/ 3320619 w 4610101"/>
              <a:gd name="connsiteY42904" fmla="*/ 1505147 h 6557032"/>
              <a:gd name="connsiteX42905" fmla="*/ 3316813 w 4610101"/>
              <a:gd name="connsiteY42905" fmla="*/ 1502551 h 6557032"/>
              <a:gd name="connsiteX42906" fmla="*/ 3309068 w 4610101"/>
              <a:gd name="connsiteY42906" fmla="*/ 1505968 h 6557032"/>
              <a:gd name="connsiteX42907" fmla="*/ 3314535 w 4610101"/>
              <a:gd name="connsiteY42907" fmla="*/ 1524190 h 6557032"/>
              <a:gd name="connsiteX42908" fmla="*/ 3318180 w 4610101"/>
              <a:gd name="connsiteY42908" fmla="*/ 1514395 h 6557032"/>
              <a:gd name="connsiteX42909" fmla="*/ 3320034 w 4610101"/>
              <a:gd name="connsiteY42909" fmla="*/ 1510108 h 6557032"/>
              <a:gd name="connsiteX42910" fmla="*/ 3325468 w 4610101"/>
              <a:gd name="connsiteY42910" fmla="*/ 1516901 h 6557032"/>
              <a:gd name="connsiteX42911" fmla="*/ 3325468 w 4610101"/>
              <a:gd name="connsiteY42911" fmla="*/ 1520545 h 6557032"/>
              <a:gd name="connsiteX42912" fmla="*/ 3323646 w 4610101"/>
              <a:gd name="connsiteY42912" fmla="*/ 1521326 h 6557032"/>
              <a:gd name="connsiteX42913" fmla="*/ 3323646 w 4610101"/>
              <a:gd name="connsiteY42913" fmla="*/ 1516901 h 6557032"/>
              <a:gd name="connsiteX42914" fmla="*/ 3322407 w 4610101"/>
              <a:gd name="connsiteY42914" fmla="*/ 1521857 h 6557032"/>
              <a:gd name="connsiteX42915" fmla="*/ 3312713 w 4610101"/>
              <a:gd name="connsiteY42915" fmla="*/ 1526012 h 6557032"/>
              <a:gd name="connsiteX42916" fmla="*/ 3323646 w 4610101"/>
              <a:gd name="connsiteY42916" fmla="*/ 1531478 h 6557032"/>
              <a:gd name="connsiteX42917" fmla="*/ 3318179 w 4610101"/>
              <a:gd name="connsiteY42917" fmla="*/ 1606188 h 6557032"/>
              <a:gd name="connsiteX42918" fmla="*/ 3310890 w 4610101"/>
              <a:gd name="connsiteY42918" fmla="*/ 1602543 h 6557032"/>
              <a:gd name="connsiteX42919" fmla="*/ 3307246 w 4610101"/>
              <a:gd name="connsiteY42919" fmla="*/ 1606188 h 6557032"/>
              <a:gd name="connsiteX42920" fmla="*/ 3305424 w 4610101"/>
              <a:gd name="connsiteY42920" fmla="*/ 1600721 h 6557032"/>
              <a:gd name="connsiteX42921" fmla="*/ 3294491 w 4610101"/>
              <a:gd name="connsiteY42921" fmla="*/ 1608010 h 6557032"/>
              <a:gd name="connsiteX42922" fmla="*/ 3259869 w 4610101"/>
              <a:gd name="connsiteY42922" fmla="*/ 1567922 h 6557032"/>
              <a:gd name="connsiteX42923" fmla="*/ 3245086 w 4610101"/>
              <a:gd name="connsiteY42923" fmla="*/ 1568142 h 6557032"/>
              <a:gd name="connsiteX42924" fmla="*/ 3245292 w 4610101"/>
              <a:gd name="connsiteY42924" fmla="*/ 1567922 h 6557032"/>
              <a:gd name="connsiteX42925" fmla="*/ 3232537 w 4610101"/>
              <a:gd name="connsiteY42925" fmla="*/ 1567922 h 6557032"/>
              <a:gd name="connsiteX42926" fmla="*/ 3236565 w 4610101"/>
              <a:gd name="connsiteY42926" fmla="*/ 1572238 h 6557032"/>
              <a:gd name="connsiteX42927" fmla="*/ 3230715 w 4610101"/>
              <a:gd name="connsiteY42927" fmla="*/ 1575211 h 6557032"/>
              <a:gd name="connsiteX42928" fmla="*/ 3214315 w 4610101"/>
              <a:gd name="connsiteY42928" fmla="*/ 1567922 h 6557032"/>
              <a:gd name="connsiteX42929" fmla="*/ 3207027 w 4610101"/>
              <a:gd name="connsiteY42929" fmla="*/ 1575211 h 6557032"/>
              <a:gd name="connsiteX42930" fmla="*/ 3196093 w 4610101"/>
              <a:gd name="connsiteY42930" fmla="*/ 1571566 h 6557032"/>
              <a:gd name="connsiteX42931" fmla="*/ 3188805 w 4610101"/>
              <a:gd name="connsiteY42931" fmla="*/ 1577033 h 6557032"/>
              <a:gd name="connsiteX42932" fmla="*/ 3181516 w 4610101"/>
              <a:gd name="connsiteY42932" fmla="*/ 1575211 h 6557032"/>
              <a:gd name="connsiteX42933" fmla="*/ 3168761 w 4610101"/>
              <a:gd name="connsiteY42933" fmla="*/ 1602543 h 6557032"/>
              <a:gd name="connsiteX42934" fmla="*/ 3170583 w 4610101"/>
              <a:gd name="connsiteY42934" fmla="*/ 1600721 h 6557032"/>
              <a:gd name="connsiteX42935" fmla="*/ 3196093 w 4610101"/>
              <a:gd name="connsiteY42935" fmla="*/ 1608010 h 6557032"/>
              <a:gd name="connsiteX42936" fmla="*/ 3196093 w 4610101"/>
              <a:gd name="connsiteY42936" fmla="*/ 1613476 h 6557032"/>
              <a:gd name="connsiteX42937" fmla="*/ 3197916 w 4610101"/>
              <a:gd name="connsiteY42937" fmla="*/ 1617121 h 6557032"/>
              <a:gd name="connsiteX42938" fmla="*/ 3185160 w 4610101"/>
              <a:gd name="connsiteY42938" fmla="*/ 1617121 h 6557032"/>
              <a:gd name="connsiteX42939" fmla="*/ 3170583 w 4610101"/>
              <a:gd name="connsiteY42939" fmla="*/ 1624409 h 6557032"/>
              <a:gd name="connsiteX42940" fmla="*/ 3163294 w 4610101"/>
              <a:gd name="connsiteY42940" fmla="*/ 1617121 h 6557032"/>
              <a:gd name="connsiteX42941" fmla="*/ 3166939 w 4610101"/>
              <a:gd name="connsiteY42941" fmla="*/ 1609832 h 6557032"/>
              <a:gd name="connsiteX42942" fmla="*/ 3163294 w 4610101"/>
              <a:gd name="connsiteY42942" fmla="*/ 1584321 h 6557032"/>
              <a:gd name="connsiteX42943" fmla="*/ 3152361 w 4610101"/>
              <a:gd name="connsiteY42943" fmla="*/ 1589788 h 6557032"/>
              <a:gd name="connsiteX42944" fmla="*/ 3150539 w 4610101"/>
              <a:gd name="connsiteY42944" fmla="*/ 1595255 h 6557032"/>
              <a:gd name="connsiteX42945" fmla="*/ 3139606 w 4610101"/>
              <a:gd name="connsiteY42945" fmla="*/ 1597077 h 6557032"/>
              <a:gd name="connsiteX42946" fmla="*/ 3125029 w 4610101"/>
              <a:gd name="connsiteY42946" fmla="*/ 1609832 h 6557032"/>
              <a:gd name="connsiteX42947" fmla="*/ 3117740 w 4610101"/>
              <a:gd name="connsiteY42947" fmla="*/ 1613476 h 6557032"/>
              <a:gd name="connsiteX42948" fmla="*/ 3117740 w 4610101"/>
              <a:gd name="connsiteY42948" fmla="*/ 1626231 h 6557032"/>
              <a:gd name="connsiteX42949" fmla="*/ 3106807 w 4610101"/>
              <a:gd name="connsiteY42949" fmla="*/ 1620765 h 6557032"/>
              <a:gd name="connsiteX42950" fmla="*/ 3103163 w 4610101"/>
              <a:gd name="connsiteY42950" fmla="*/ 1631698 h 6557032"/>
              <a:gd name="connsiteX42951" fmla="*/ 3101340 w 4610101"/>
              <a:gd name="connsiteY42951" fmla="*/ 1624409 h 6557032"/>
              <a:gd name="connsiteX42952" fmla="*/ 3092230 w 4610101"/>
              <a:gd name="connsiteY42952" fmla="*/ 1629876 h 6557032"/>
              <a:gd name="connsiteX42953" fmla="*/ 3095874 w 4610101"/>
              <a:gd name="connsiteY42953" fmla="*/ 1628054 h 6557032"/>
              <a:gd name="connsiteX42954" fmla="*/ 3095874 w 4610101"/>
              <a:gd name="connsiteY42954" fmla="*/ 1638987 h 6557032"/>
              <a:gd name="connsiteX42955" fmla="*/ 3099518 w 4610101"/>
              <a:gd name="connsiteY42955" fmla="*/ 1639122 h 6557032"/>
              <a:gd name="connsiteX42956" fmla="*/ 3102024 w 4610101"/>
              <a:gd name="connsiteY42956" fmla="*/ 1639214 h 6557032"/>
              <a:gd name="connsiteX42957" fmla="*/ 3106807 w 4610101"/>
              <a:gd name="connsiteY42957" fmla="*/ 1635342 h 6557032"/>
              <a:gd name="connsiteX42958" fmla="*/ 3114096 w 4610101"/>
              <a:gd name="connsiteY42958" fmla="*/ 1638987 h 6557032"/>
              <a:gd name="connsiteX42959" fmla="*/ 3168761 w 4610101"/>
              <a:gd name="connsiteY42959" fmla="*/ 1642631 h 6557032"/>
              <a:gd name="connsiteX42960" fmla="*/ 3177872 w 4610101"/>
              <a:gd name="connsiteY42960" fmla="*/ 1642631 h 6557032"/>
              <a:gd name="connsiteX42961" fmla="*/ 3179694 w 4610101"/>
              <a:gd name="connsiteY42961" fmla="*/ 1642631 h 6557032"/>
              <a:gd name="connsiteX42962" fmla="*/ 3177872 w 4610101"/>
              <a:gd name="connsiteY42962" fmla="*/ 1644453 h 6557032"/>
              <a:gd name="connsiteX42963" fmla="*/ 3179694 w 4610101"/>
              <a:gd name="connsiteY42963" fmla="*/ 1648097 h 6557032"/>
              <a:gd name="connsiteX42964" fmla="*/ 3188155 w 4610101"/>
              <a:gd name="connsiteY42964" fmla="*/ 1651742 h 6557032"/>
              <a:gd name="connsiteX42965" fmla="*/ 3185160 w 4610101"/>
              <a:gd name="connsiteY42965" fmla="*/ 1651742 h 6557032"/>
              <a:gd name="connsiteX42966" fmla="*/ 3190627 w 4610101"/>
              <a:gd name="connsiteY42966" fmla="*/ 1664497 h 6557032"/>
              <a:gd name="connsiteX42967" fmla="*/ 3188805 w 4610101"/>
              <a:gd name="connsiteY42967" fmla="*/ 1668142 h 6557032"/>
              <a:gd name="connsiteX42968" fmla="*/ 3196093 w 4610101"/>
              <a:gd name="connsiteY42968" fmla="*/ 1664497 h 6557032"/>
              <a:gd name="connsiteX42969" fmla="*/ 3196549 w 4610101"/>
              <a:gd name="connsiteY42969" fmla="*/ 1658120 h 6557032"/>
              <a:gd name="connsiteX42970" fmla="*/ 3189518 w 4610101"/>
              <a:gd name="connsiteY42970" fmla="*/ 1652329 h 6557032"/>
              <a:gd name="connsiteX42971" fmla="*/ 3194499 w 4610101"/>
              <a:gd name="connsiteY42971" fmla="*/ 1654475 h 6557032"/>
              <a:gd name="connsiteX42972" fmla="*/ 3210671 w 4610101"/>
              <a:gd name="connsiteY42972" fmla="*/ 1655386 h 6557032"/>
              <a:gd name="connsiteX42973" fmla="*/ 3210671 w 4610101"/>
              <a:gd name="connsiteY42973" fmla="*/ 1657208 h 6557032"/>
              <a:gd name="connsiteX42974" fmla="*/ 3212493 w 4610101"/>
              <a:gd name="connsiteY42974" fmla="*/ 1657208 h 6557032"/>
              <a:gd name="connsiteX42975" fmla="*/ 3217960 w 4610101"/>
              <a:gd name="connsiteY42975" fmla="*/ 1668142 h 6557032"/>
              <a:gd name="connsiteX42976" fmla="*/ 3216137 w 4610101"/>
              <a:gd name="connsiteY42976" fmla="*/ 1668142 h 6557032"/>
              <a:gd name="connsiteX42977" fmla="*/ 3214315 w 4610101"/>
              <a:gd name="connsiteY42977" fmla="*/ 1671786 h 6557032"/>
              <a:gd name="connsiteX42978" fmla="*/ 3218416 w 4610101"/>
              <a:gd name="connsiteY42978" fmla="*/ 1671786 h 6557032"/>
              <a:gd name="connsiteX42979" fmla="*/ 3219782 w 4610101"/>
              <a:gd name="connsiteY42979" fmla="*/ 1677252 h 6557032"/>
              <a:gd name="connsiteX42980" fmla="*/ 3221225 w 4610101"/>
              <a:gd name="connsiteY42980" fmla="*/ 1675153 h 6557032"/>
              <a:gd name="connsiteX42981" fmla="*/ 3225248 w 4610101"/>
              <a:gd name="connsiteY42981" fmla="*/ 1684541 h 6557032"/>
              <a:gd name="connsiteX42982" fmla="*/ 3216137 w 4610101"/>
              <a:gd name="connsiteY42982" fmla="*/ 1684541 h 6557032"/>
              <a:gd name="connsiteX42983" fmla="*/ 3210671 w 4610101"/>
              <a:gd name="connsiteY42983" fmla="*/ 1679075 h 6557032"/>
              <a:gd name="connsiteX42984" fmla="*/ 3208849 w 4610101"/>
              <a:gd name="connsiteY42984" fmla="*/ 1682719 h 6557032"/>
              <a:gd name="connsiteX42985" fmla="*/ 3208849 w 4610101"/>
              <a:gd name="connsiteY42985" fmla="*/ 1682719 h 6557032"/>
              <a:gd name="connsiteX42986" fmla="*/ 3207027 w 4610101"/>
              <a:gd name="connsiteY42986" fmla="*/ 1680897 h 6557032"/>
              <a:gd name="connsiteX42987" fmla="*/ 3196093 w 4610101"/>
              <a:gd name="connsiteY42987" fmla="*/ 1680897 h 6557032"/>
              <a:gd name="connsiteX42988" fmla="*/ 3194271 w 4610101"/>
              <a:gd name="connsiteY42988" fmla="*/ 1690008 h 6557032"/>
              <a:gd name="connsiteX42989" fmla="*/ 3208849 w 4610101"/>
              <a:gd name="connsiteY42989" fmla="*/ 1688185 h 6557032"/>
              <a:gd name="connsiteX42990" fmla="*/ 3209262 w 4610101"/>
              <a:gd name="connsiteY42990" fmla="*/ 1683644 h 6557032"/>
              <a:gd name="connsiteX42991" fmla="*/ 3214487 w 4610101"/>
              <a:gd name="connsiteY42991" fmla="*/ 1695347 h 6557032"/>
              <a:gd name="connsiteX42992" fmla="*/ 3201560 w 4610101"/>
              <a:gd name="connsiteY42992" fmla="*/ 1693652 h 6557032"/>
              <a:gd name="connsiteX42993" fmla="*/ 3197916 w 4610101"/>
              <a:gd name="connsiteY42993" fmla="*/ 1699118 h 6557032"/>
              <a:gd name="connsiteX42994" fmla="*/ 3207027 w 4610101"/>
              <a:gd name="connsiteY42994" fmla="*/ 1735562 h 6557032"/>
              <a:gd name="connsiteX42995" fmla="*/ 3225248 w 4610101"/>
              <a:gd name="connsiteY42995" fmla="*/ 1706407 h 6557032"/>
              <a:gd name="connsiteX42996" fmla="*/ 3214315 w 4610101"/>
              <a:gd name="connsiteY42996" fmla="*/ 1704585 h 6557032"/>
              <a:gd name="connsiteX42997" fmla="*/ 3225248 w 4610101"/>
              <a:gd name="connsiteY42997" fmla="*/ 1702763 h 6557032"/>
              <a:gd name="connsiteX42998" fmla="*/ 3216542 w 4610101"/>
              <a:gd name="connsiteY42998" fmla="*/ 1696284 h 6557032"/>
              <a:gd name="connsiteX42999" fmla="*/ 3232537 w 4610101"/>
              <a:gd name="connsiteY42999" fmla="*/ 1702763 h 6557032"/>
              <a:gd name="connsiteX43000" fmla="*/ 3225248 w 4610101"/>
              <a:gd name="connsiteY43000" fmla="*/ 1688185 h 6557032"/>
              <a:gd name="connsiteX43001" fmla="*/ 3227071 w 4610101"/>
              <a:gd name="connsiteY43001" fmla="*/ 1688185 h 6557032"/>
              <a:gd name="connsiteX43002" fmla="*/ 3237761 w 4610101"/>
              <a:gd name="connsiteY43002" fmla="*/ 1710536 h 6557032"/>
              <a:gd name="connsiteX43003" fmla="*/ 3236181 w 4610101"/>
              <a:gd name="connsiteY43003" fmla="*/ 1713696 h 6557032"/>
              <a:gd name="connsiteX43004" fmla="*/ 3239691 w 4610101"/>
              <a:gd name="connsiteY43004" fmla="*/ 1714573 h 6557032"/>
              <a:gd name="connsiteX43005" fmla="*/ 3247114 w 4610101"/>
              <a:gd name="connsiteY43005" fmla="*/ 1730095 h 6557032"/>
              <a:gd name="connsiteX43006" fmla="*/ 3245292 w 4610101"/>
              <a:gd name="connsiteY43006" fmla="*/ 1735562 h 6557032"/>
              <a:gd name="connsiteX43007" fmla="*/ 3243470 w 4610101"/>
              <a:gd name="connsiteY43007" fmla="*/ 1739206 h 6557032"/>
              <a:gd name="connsiteX43008" fmla="*/ 3247114 w 4610101"/>
              <a:gd name="connsiteY43008" fmla="*/ 1744673 h 6557032"/>
              <a:gd name="connsiteX43009" fmla="*/ 3245292 w 4610101"/>
              <a:gd name="connsiteY43009" fmla="*/ 1737384 h 6557032"/>
              <a:gd name="connsiteX43010" fmla="*/ 3250759 w 4610101"/>
              <a:gd name="connsiteY43010" fmla="*/ 1735562 h 6557032"/>
              <a:gd name="connsiteX43011" fmla="*/ 3252581 w 4610101"/>
              <a:gd name="connsiteY43011" fmla="*/ 1741028 h 6557032"/>
              <a:gd name="connsiteX43012" fmla="*/ 3259869 w 4610101"/>
              <a:gd name="connsiteY43012" fmla="*/ 1753784 h 6557032"/>
              <a:gd name="connsiteX43013" fmla="*/ 3261692 w 4610101"/>
              <a:gd name="connsiteY43013" fmla="*/ 1757428 h 6557032"/>
              <a:gd name="connsiteX43014" fmla="*/ 3268980 w 4610101"/>
              <a:gd name="connsiteY43014" fmla="*/ 1770183 h 6557032"/>
              <a:gd name="connsiteX43015" fmla="*/ 3256225 w 4610101"/>
              <a:gd name="connsiteY43015" fmla="*/ 1762894 h 6557032"/>
              <a:gd name="connsiteX43016" fmla="*/ 3258047 w 4610101"/>
              <a:gd name="connsiteY43016" fmla="*/ 1768361 h 6557032"/>
              <a:gd name="connsiteX43017" fmla="*/ 3250759 w 4610101"/>
              <a:gd name="connsiteY43017" fmla="*/ 1761072 h 6557032"/>
              <a:gd name="connsiteX43018" fmla="*/ 3245292 w 4610101"/>
              <a:gd name="connsiteY43018" fmla="*/ 1761072 h 6557032"/>
              <a:gd name="connsiteX43019" fmla="*/ 3247114 w 4610101"/>
              <a:gd name="connsiteY43019" fmla="*/ 1770183 h 6557032"/>
              <a:gd name="connsiteX43020" fmla="*/ 3268980 w 4610101"/>
              <a:gd name="connsiteY43020" fmla="*/ 1801160 h 6557032"/>
              <a:gd name="connsiteX43021" fmla="*/ 3265336 w 4610101"/>
              <a:gd name="connsiteY43021" fmla="*/ 1808449 h 6557032"/>
              <a:gd name="connsiteX43022" fmla="*/ 3309068 w 4610101"/>
              <a:gd name="connsiteY43022" fmla="*/ 1855825 h 6557032"/>
              <a:gd name="connsiteX43023" fmla="*/ 3284718 w 4610101"/>
              <a:gd name="connsiteY43023" fmla="*/ 1838432 h 6557032"/>
              <a:gd name="connsiteX43024" fmla="*/ 3287202 w 4610101"/>
              <a:gd name="connsiteY43024" fmla="*/ 1837604 h 6557032"/>
              <a:gd name="connsiteX43025" fmla="*/ 3272625 w 4610101"/>
              <a:gd name="connsiteY43025" fmla="*/ 1823026 h 6557032"/>
              <a:gd name="connsiteX43026" fmla="*/ 3265336 w 4610101"/>
              <a:gd name="connsiteY43026" fmla="*/ 1844892 h 6557032"/>
              <a:gd name="connsiteX43027" fmla="*/ 3283987 w 4610101"/>
              <a:gd name="connsiteY43027" fmla="*/ 1838675 h 6557032"/>
              <a:gd name="connsiteX43028" fmla="*/ 3290847 w 4610101"/>
              <a:gd name="connsiteY43028" fmla="*/ 1855825 h 6557032"/>
              <a:gd name="connsiteX43029" fmla="*/ 3296313 w 4610101"/>
              <a:gd name="connsiteY43029" fmla="*/ 1863114 h 6557032"/>
              <a:gd name="connsiteX43030" fmla="*/ 3287202 w 4610101"/>
              <a:gd name="connsiteY43030" fmla="*/ 1861292 h 6557032"/>
              <a:gd name="connsiteX43031" fmla="*/ 3276269 w 4610101"/>
              <a:gd name="connsiteY43031" fmla="*/ 1866758 h 6557032"/>
              <a:gd name="connsiteX43032" fmla="*/ 3278091 w 4610101"/>
              <a:gd name="connsiteY43032" fmla="*/ 1872225 h 6557032"/>
              <a:gd name="connsiteX43033" fmla="*/ 3217960 w 4610101"/>
              <a:gd name="connsiteY43033" fmla="*/ 1841248 h 6557032"/>
              <a:gd name="connsiteX43034" fmla="*/ 3207027 w 4610101"/>
              <a:gd name="connsiteY43034" fmla="*/ 1846714 h 6557032"/>
              <a:gd name="connsiteX43035" fmla="*/ 3245292 w 4610101"/>
              <a:gd name="connsiteY43035" fmla="*/ 1937823 h 6557032"/>
              <a:gd name="connsiteX43036" fmla="*/ 3055786 w 4610101"/>
              <a:gd name="connsiteY43036" fmla="*/ 1863114 h 6557032"/>
              <a:gd name="connsiteX43037" fmla="*/ 3046675 w 4610101"/>
              <a:gd name="connsiteY43037" fmla="*/ 1870403 h 6557032"/>
              <a:gd name="connsiteX43038" fmla="*/ 3123206 w 4610101"/>
              <a:gd name="connsiteY43038" fmla="*/ 1983376 h 6557032"/>
              <a:gd name="connsiteX43039" fmla="*/ 3075830 w 4610101"/>
              <a:gd name="connsiteY43039" fmla="*/ 1972444 h 6557032"/>
              <a:gd name="connsiteX43040" fmla="*/ 2889968 w 4610101"/>
              <a:gd name="connsiteY43040" fmla="*/ 1950578 h 6557032"/>
              <a:gd name="connsiteX43041" fmla="*/ 2753305 w 4610101"/>
              <a:gd name="connsiteY43041" fmla="*/ 1928712 h 6557032"/>
              <a:gd name="connsiteX43042" fmla="*/ 2749661 w 4610101"/>
              <a:gd name="connsiteY43042" fmla="*/ 1941468 h 6557032"/>
              <a:gd name="connsiteX43043" fmla="*/ 2928234 w 4610101"/>
              <a:gd name="connsiteY43043" fmla="*/ 2036220 h 6557032"/>
              <a:gd name="connsiteX43044" fmla="*/ 2704106 w 4610101"/>
              <a:gd name="connsiteY43044" fmla="*/ 2008887 h 6557032"/>
              <a:gd name="connsiteX43045" fmla="*/ 2698640 w 4610101"/>
              <a:gd name="connsiteY43045" fmla="*/ 2016176 h 6557032"/>
              <a:gd name="connsiteX43046" fmla="*/ 2813437 w 4610101"/>
              <a:gd name="connsiteY43046" fmla="*/ 2110928 h 6557032"/>
              <a:gd name="connsiteX43047" fmla="*/ 2791571 w 4610101"/>
              <a:gd name="connsiteY43047" fmla="*/ 2114572 h 6557032"/>
              <a:gd name="connsiteX43048" fmla="*/ 2791571 w 4610101"/>
              <a:gd name="connsiteY43048" fmla="*/ 2127328 h 6557032"/>
              <a:gd name="connsiteX43049" fmla="*/ 2873569 w 4610101"/>
              <a:gd name="connsiteY43049" fmla="*/ 2169238 h 6557032"/>
              <a:gd name="connsiteX43050" fmla="*/ 2826192 w 4610101"/>
              <a:gd name="connsiteY43050" fmla="*/ 2147372 h 6557032"/>
              <a:gd name="connsiteX43051" fmla="*/ 2680418 w 4610101"/>
              <a:gd name="connsiteY43051" fmla="*/ 2138261 h 6557032"/>
              <a:gd name="connsiteX43052" fmla="*/ 2541933 w 4610101"/>
              <a:gd name="connsiteY43052" fmla="*/ 2120040 h 6557032"/>
              <a:gd name="connsiteX43053" fmla="*/ 2532822 w 4610101"/>
              <a:gd name="connsiteY43053" fmla="*/ 2130973 h 6557032"/>
              <a:gd name="connsiteX43054" fmla="*/ 2647619 w 4610101"/>
              <a:gd name="connsiteY43054" fmla="*/ 2274925 h 6557032"/>
              <a:gd name="connsiteX43055" fmla="*/ 2868102 w 4610101"/>
              <a:gd name="connsiteY43055" fmla="*/ 2364211 h 6557032"/>
              <a:gd name="connsiteX43056" fmla="*/ 2964677 w 4610101"/>
              <a:gd name="connsiteY43056" fmla="*/ 2360567 h 6557032"/>
              <a:gd name="connsiteX43057" fmla="*/ 2941335 w 4610101"/>
              <a:gd name="connsiteY43057" fmla="*/ 2366565 h 6557032"/>
              <a:gd name="connsiteX43058" fmla="*/ 2948277 w 4610101"/>
              <a:gd name="connsiteY43058" fmla="*/ 2373513 h 6557032"/>
              <a:gd name="connsiteX43059" fmla="*/ 2944633 w 4610101"/>
              <a:gd name="connsiteY43059" fmla="*/ 2377147 h 6557032"/>
              <a:gd name="connsiteX43060" fmla="*/ 2937344 w 4610101"/>
              <a:gd name="connsiteY43060" fmla="*/ 2369872 h 6557032"/>
              <a:gd name="connsiteX43061" fmla="*/ 2940405 w 4610101"/>
              <a:gd name="connsiteY43061" fmla="*/ 2366805 h 6557032"/>
              <a:gd name="connsiteX43062" fmla="*/ 2923906 w 4610101"/>
              <a:gd name="connsiteY43062" fmla="*/ 2371045 h 6557032"/>
              <a:gd name="connsiteX43063" fmla="*/ 2884502 w 4610101"/>
              <a:gd name="connsiteY43063" fmla="*/ 2373323 h 6557032"/>
              <a:gd name="connsiteX43064" fmla="*/ 2880857 w 4610101"/>
              <a:gd name="connsiteY43064" fmla="*/ 2386077 h 6557032"/>
              <a:gd name="connsiteX43065" fmla="*/ 2948278 w 4610101"/>
              <a:gd name="connsiteY43065" fmla="*/ 2415233 h 6557032"/>
              <a:gd name="connsiteX43066" fmla="*/ 2928572 w 4610101"/>
              <a:gd name="connsiteY43066" fmla="*/ 2412755 h 6557032"/>
              <a:gd name="connsiteX43067" fmla="*/ 2930057 w 4610101"/>
              <a:gd name="connsiteY43067" fmla="*/ 2417208 h 6557032"/>
              <a:gd name="connsiteX43068" fmla="*/ 2928235 w 4610101"/>
              <a:gd name="connsiteY43068" fmla="*/ 2420848 h 6557032"/>
              <a:gd name="connsiteX43069" fmla="*/ 2922768 w 4610101"/>
              <a:gd name="connsiteY43069" fmla="*/ 2415389 h 6557032"/>
              <a:gd name="connsiteX43070" fmla="*/ 2927015 w 4610101"/>
              <a:gd name="connsiteY43070" fmla="*/ 2412560 h 6557032"/>
              <a:gd name="connsiteX43071" fmla="*/ 2868558 w 4610101"/>
              <a:gd name="connsiteY43071" fmla="*/ 2405210 h 6557032"/>
              <a:gd name="connsiteX43072" fmla="*/ 2811698 w 4610101"/>
              <a:gd name="connsiteY43072" fmla="*/ 2389734 h 6557032"/>
              <a:gd name="connsiteX43073" fmla="*/ 2809792 w 4610101"/>
              <a:gd name="connsiteY43073" fmla="*/ 2393545 h 6557032"/>
              <a:gd name="connsiteX43074" fmla="*/ 2808204 w 4610101"/>
              <a:gd name="connsiteY43074" fmla="*/ 2388783 h 6557032"/>
              <a:gd name="connsiteX43075" fmla="*/ 2807339 w 4610101"/>
              <a:gd name="connsiteY43075" fmla="*/ 2388548 h 6557032"/>
              <a:gd name="connsiteX43076" fmla="*/ 2803642 w 4610101"/>
              <a:gd name="connsiteY43076" fmla="*/ 2391269 h 6557032"/>
              <a:gd name="connsiteX43077" fmla="*/ 2801016 w 4610101"/>
              <a:gd name="connsiteY43077" fmla="*/ 2386827 h 6557032"/>
              <a:gd name="connsiteX43078" fmla="*/ 2791571 w 4610101"/>
              <a:gd name="connsiteY43078" fmla="*/ 2384256 h 6557032"/>
              <a:gd name="connsiteX43079" fmla="*/ 2784282 w 4610101"/>
              <a:gd name="connsiteY43079" fmla="*/ 2393367 h 6557032"/>
              <a:gd name="connsiteX43080" fmla="*/ 2788976 w 4610101"/>
              <a:gd name="connsiteY43080" fmla="*/ 2399775 h 6557032"/>
              <a:gd name="connsiteX43081" fmla="*/ 2791571 w 4610101"/>
              <a:gd name="connsiteY43081" fmla="*/ 2397183 h 6557032"/>
              <a:gd name="connsiteX43082" fmla="*/ 2806148 w 4610101"/>
              <a:gd name="connsiteY43082" fmla="*/ 2408106 h 6557032"/>
              <a:gd name="connsiteX43083" fmla="*/ 2813437 w 4610101"/>
              <a:gd name="connsiteY43083" fmla="*/ 2404465 h 6557032"/>
              <a:gd name="connsiteX43084" fmla="*/ 2815259 w 4610101"/>
              <a:gd name="connsiteY43084" fmla="*/ 2409926 h 6557032"/>
              <a:gd name="connsiteX43085" fmla="*/ 2811615 w 4610101"/>
              <a:gd name="connsiteY43085" fmla="*/ 2417208 h 6557032"/>
              <a:gd name="connsiteX43086" fmla="*/ 2800681 w 4610101"/>
              <a:gd name="connsiteY43086" fmla="*/ 2409926 h 6557032"/>
              <a:gd name="connsiteX43087" fmla="*/ 2799889 w 4610101"/>
              <a:gd name="connsiteY43087" fmla="*/ 2414675 h 6557032"/>
              <a:gd name="connsiteX43088" fmla="*/ 2818853 w 4610101"/>
              <a:gd name="connsiteY43088" fmla="*/ 2440566 h 6557032"/>
              <a:gd name="connsiteX43089" fmla="*/ 2820725 w 4610101"/>
              <a:gd name="connsiteY43089" fmla="*/ 2440877 h 6557032"/>
              <a:gd name="connsiteX43090" fmla="*/ 2820211 w 4610101"/>
              <a:gd name="connsiteY43090" fmla="*/ 2442420 h 6557032"/>
              <a:gd name="connsiteX43091" fmla="*/ 2824022 w 4610101"/>
              <a:gd name="connsiteY43091" fmla="*/ 2447623 h 6557032"/>
              <a:gd name="connsiteX43092" fmla="*/ 2826192 w 4610101"/>
              <a:gd name="connsiteY43092" fmla="*/ 2448166 h 6557032"/>
              <a:gd name="connsiteX43093" fmla="*/ 2828219 w 4610101"/>
              <a:gd name="connsiteY43093" fmla="*/ 2453353 h 6557032"/>
              <a:gd name="connsiteX43094" fmla="*/ 2828362 w 4610101"/>
              <a:gd name="connsiteY43094" fmla="*/ 2453549 h 6557032"/>
              <a:gd name="connsiteX43095" fmla="*/ 2831658 w 4610101"/>
              <a:gd name="connsiteY43095" fmla="*/ 2457287 h 6557032"/>
              <a:gd name="connsiteX43096" fmla="*/ 2831209 w 4610101"/>
              <a:gd name="connsiteY43096" fmla="*/ 2457436 h 6557032"/>
              <a:gd name="connsiteX43097" fmla="*/ 2834165 w 4610101"/>
              <a:gd name="connsiteY43097" fmla="*/ 2461470 h 6557032"/>
              <a:gd name="connsiteX43098" fmla="*/ 2846235 w 4610101"/>
              <a:gd name="connsiteY43098" fmla="*/ 2473911 h 6557032"/>
              <a:gd name="connsiteX43099" fmla="*/ 2846235 w 4610101"/>
              <a:gd name="connsiteY43099" fmla="*/ 2471884 h 6557032"/>
              <a:gd name="connsiteX43100" fmla="*/ 2858990 w 4610101"/>
              <a:gd name="connsiteY43100" fmla="*/ 2471884 h 6557032"/>
              <a:gd name="connsiteX43101" fmla="*/ 2869924 w 4610101"/>
              <a:gd name="connsiteY43101" fmla="*/ 2481005 h 6557032"/>
              <a:gd name="connsiteX43102" fmla="*/ 2864913 w 4610101"/>
              <a:gd name="connsiteY43102" fmla="*/ 2489455 h 6557032"/>
              <a:gd name="connsiteX43103" fmla="*/ 2862583 w 4610101"/>
              <a:gd name="connsiteY43103" fmla="*/ 2490760 h 6557032"/>
              <a:gd name="connsiteX43104" fmla="*/ 2893613 w 4610101"/>
              <a:gd name="connsiteY43104" fmla="*/ 2522741 h 6557032"/>
              <a:gd name="connsiteX43105" fmla="*/ 2888146 w 4610101"/>
              <a:gd name="connsiteY43105" fmla="*/ 2522741 h 6557032"/>
              <a:gd name="connsiteX43106" fmla="*/ 2722328 w 4610101"/>
              <a:gd name="connsiteY43106" fmla="*/ 2570118 h 6557032"/>
              <a:gd name="connsiteX43107" fmla="*/ 2720506 w 4610101"/>
              <a:gd name="connsiteY43107" fmla="*/ 2581050 h 6557032"/>
              <a:gd name="connsiteX43108" fmla="*/ 2979255 w 4610101"/>
              <a:gd name="connsiteY43108" fmla="*/ 2732292 h 6557032"/>
              <a:gd name="connsiteX43109" fmla="*/ 2968322 w 4610101"/>
              <a:gd name="connsiteY43109" fmla="*/ 2735937 h 6557032"/>
              <a:gd name="connsiteX43110" fmla="*/ 2831659 w 4610101"/>
              <a:gd name="connsiteY43110" fmla="*/ 2814291 h 6557032"/>
              <a:gd name="connsiteX43111" fmla="*/ 2831659 w 4610101"/>
              <a:gd name="connsiteY43111" fmla="*/ 2823401 h 6557032"/>
              <a:gd name="connsiteX43112" fmla="*/ 3035742 w 4610101"/>
              <a:gd name="connsiteY43112" fmla="*/ 2890821 h 6557032"/>
              <a:gd name="connsiteX43113" fmla="*/ 2920945 w 4610101"/>
              <a:gd name="connsiteY43113" fmla="*/ 2892643 h 6557032"/>
              <a:gd name="connsiteX43114" fmla="*/ 2919123 w 4610101"/>
              <a:gd name="connsiteY43114" fmla="*/ 2905399 h 6557032"/>
              <a:gd name="connsiteX43115" fmla="*/ 3030276 w 4610101"/>
              <a:gd name="connsiteY43115" fmla="*/ 2963707 h 6557032"/>
              <a:gd name="connsiteX43116" fmla="*/ 3125029 w 4610101"/>
              <a:gd name="connsiteY43116" fmla="*/ 3009260 h 6557032"/>
              <a:gd name="connsiteX43117" fmla="*/ 3216137 w 4610101"/>
              <a:gd name="connsiteY43117" fmla="*/ 3005616 h 6557032"/>
              <a:gd name="connsiteX43118" fmla="*/ 3212493 w 4610101"/>
              <a:gd name="connsiteY43118" fmla="*/ 3014728 h 6557032"/>
              <a:gd name="connsiteX43119" fmla="*/ 3234359 w 4610101"/>
              <a:gd name="connsiteY43119" fmla="*/ 3014728 h 6557032"/>
              <a:gd name="connsiteX43120" fmla="*/ 3230715 w 4610101"/>
              <a:gd name="connsiteY43120" fmla="*/ 3001972 h 6557032"/>
              <a:gd name="connsiteX43121" fmla="*/ 3243470 w 4610101"/>
              <a:gd name="connsiteY43121" fmla="*/ 2998328 h 6557032"/>
              <a:gd name="connsiteX43122" fmla="*/ 3245292 w 4610101"/>
              <a:gd name="connsiteY43122" fmla="*/ 3005616 h 6557032"/>
              <a:gd name="connsiteX43123" fmla="*/ 3285380 w 4610101"/>
              <a:gd name="connsiteY43123" fmla="*/ 3040237 h 6557032"/>
              <a:gd name="connsiteX43124" fmla="*/ 3177872 w 4610101"/>
              <a:gd name="connsiteY43124" fmla="*/ 3113123 h 6557032"/>
              <a:gd name="connsiteX43125" fmla="*/ 3177872 w 4610101"/>
              <a:gd name="connsiteY43125" fmla="*/ 3124057 h 6557032"/>
              <a:gd name="connsiteX43126" fmla="*/ 3197916 w 4610101"/>
              <a:gd name="connsiteY43126" fmla="*/ 3133169 h 6557032"/>
              <a:gd name="connsiteX43127" fmla="*/ 3203382 w 4610101"/>
              <a:gd name="connsiteY43127" fmla="*/ 3144100 h 6557032"/>
              <a:gd name="connsiteX43128" fmla="*/ 3212493 w 4610101"/>
              <a:gd name="connsiteY43128" fmla="*/ 3138635 h 6557032"/>
              <a:gd name="connsiteX43129" fmla="*/ 3225248 w 4610101"/>
              <a:gd name="connsiteY43129" fmla="*/ 3142278 h 6557032"/>
              <a:gd name="connsiteX43130" fmla="*/ 3232537 w 4610101"/>
              <a:gd name="connsiteY43130" fmla="*/ 3151390 h 6557032"/>
              <a:gd name="connsiteX43131" fmla="*/ 3232537 w 4610101"/>
              <a:gd name="connsiteY43131" fmla="*/ 3145922 h 6557032"/>
              <a:gd name="connsiteX43132" fmla="*/ 3259869 w 4610101"/>
              <a:gd name="connsiteY43132" fmla="*/ 3151390 h 6557032"/>
              <a:gd name="connsiteX43133" fmla="*/ 3265336 w 4610101"/>
              <a:gd name="connsiteY43133" fmla="*/ 3156856 h 6557032"/>
              <a:gd name="connsiteX43134" fmla="*/ 3247114 w 4610101"/>
              <a:gd name="connsiteY43134" fmla="*/ 3164144 h 6557032"/>
              <a:gd name="connsiteX43135" fmla="*/ 3239826 w 4610101"/>
              <a:gd name="connsiteY43135" fmla="*/ 3158678 h 6557032"/>
              <a:gd name="connsiteX43136" fmla="*/ 3234359 w 4610101"/>
              <a:gd name="connsiteY43136" fmla="*/ 3169612 h 6557032"/>
              <a:gd name="connsiteX43137" fmla="*/ 3114096 w 4610101"/>
              <a:gd name="connsiteY43137" fmla="*/ 3186011 h 6557032"/>
              <a:gd name="connsiteX43138" fmla="*/ 3110451 w 4610101"/>
              <a:gd name="connsiteY43138" fmla="*/ 3198765 h 6557032"/>
              <a:gd name="connsiteX43139" fmla="*/ 3150539 w 4610101"/>
              <a:gd name="connsiteY43139" fmla="*/ 3213343 h 6557032"/>
              <a:gd name="connsiteX43140" fmla="*/ 3150539 w 4610101"/>
              <a:gd name="connsiteY43140" fmla="*/ 3220631 h 6557032"/>
              <a:gd name="connsiteX43141" fmla="*/ 3166939 w 4610101"/>
              <a:gd name="connsiteY43141" fmla="*/ 3218810 h 6557032"/>
              <a:gd name="connsiteX43142" fmla="*/ 3165116 w 4610101"/>
              <a:gd name="connsiteY43142" fmla="*/ 3216987 h 6557032"/>
              <a:gd name="connsiteX43143" fmla="*/ 3179694 w 4610101"/>
              <a:gd name="connsiteY43143" fmla="*/ 3220631 h 6557032"/>
              <a:gd name="connsiteX43144" fmla="*/ 3194271 w 4610101"/>
              <a:gd name="connsiteY43144" fmla="*/ 3240676 h 6557032"/>
              <a:gd name="connsiteX43145" fmla="*/ 3172405 w 4610101"/>
              <a:gd name="connsiteY43145" fmla="*/ 3264364 h 6557032"/>
              <a:gd name="connsiteX43146" fmla="*/ 3150539 w 4610101"/>
              <a:gd name="connsiteY43146" fmla="*/ 3264364 h 6557032"/>
              <a:gd name="connsiteX43147" fmla="*/ 3150539 w 4610101"/>
              <a:gd name="connsiteY43147" fmla="*/ 3278941 h 6557032"/>
              <a:gd name="connsiteX43148" fmla="*/ 3166939 w 4610101"/>
              <a:gd name="connsiteY43148" fmla="*/ 3278941 h 6557032"/>
              <a:gd name="connsiteX43149" fmla="*/ 3157828 w 4610101"/>
              <a:gd name="connsiteY43149" fmla="*/ 3308096 h 6557032"/>
              <a:gd name="connsiteX43150" fmla="*/ 3134140 w 4610101"/>
              <a:gd name="connsiteY43150" fmla="*/ 3317207 h 6557032"/>
              <a:gd name="connsiteX43151" fmla="*/ 3119562 w 4610101"/>
              <a:gd name="connsiteY43151" fmla="*/ 3309918 h 6557032"/>
              <a:gd name="connsiteX43152" fmla="*/ 3119562 w 4610101"/>
              <a:gd name="connsiteY43152" fmla="*/ 3331784 h 6557032"/>
              <a:gd name="connsiteX43153" fmla="*/ 3126851 w 4610101"/>
              <a:gd name="connsiteY43153" fmla="*/ 3353650 h 6557032"/>
              <a:gd name="connsiteX43154" fmla="*/ 3135962 w 4610101"/>
              <a:gd name="connsiteY43154" fmla="*/ 3331784 h 6557032"/>
              <a:gd name="connsiteX43155" fmla="*/ 3148717 w 4610101"/>
              <a:gd name="connsiteY43155" fmla="*/ 3315384 h 6557032"/>
              <a:gd name="connsiteX43156" fmla="*/ 3172405 w 4610101"/>
              <a:gd name="connsiteY43156" fmla="*/ 3315384 h 6557032"/>
              <a:gd name="connsiteX43157" fmla="*/ 3165116 w 4610101"/>
              <a:gd name="connsiteY43157" fmla="*/ 3300807 h 6557032"/>
              <a:gd name="connsiteX43158" fmla="*/ 3172405 w 4610101"/>
              <a:gd name="connsiteY43158" fmla="*/ 3269831 h 6557032"/>
              <a:gd name="connsiteX43159" fmla="*/ 3217960 w 4610101"/>
              <a:gd name="connsiteY43159" fmla="*/ 3247964 h 6557032"/>
              <a:gd name="connsiteX43160" fmla="*/ 3239826 w 4610101"/>
              <a:gd name="connsiteY43160" fmla="*/ 3262542 h 6557032"/>
              <a:gd name="connsiteX43161" fmla="*/ 3248937 w 4610101"/>
              <a:gd name="connsiteY43161" fmla="*/ 3255254 h 6557032"/>
              <a:gd name="connsiteX43162" fmla="*/ 3241648 w 4610101"/>
              <a:gd name="connsiteY43162" fmla="*/ 3240676 h 6557032"/>
              <a:gd name="connsiteX43163" fmla="*/ 3241648 w 4610101"/>
              <a:gd name="connsiteY43163" fmla="*/ 3227920 h 6557032"/>
              <a:gd name="connsiteX43164" fmla="*/ 3258047 w 4610101"/>
              <a:gd name="connsiteY43164" fmla="*/ 3227920 h 6557032"/>
              <a:gd name="connsiteX43165" fmla="*/ 3265336 w 4610101"/>
              <a:gd name="connsiteY43165" fmla="*/ 3240676 h 6557032"/>
              <a:gd name="connsiteX43166" fmla="*/ 3259869 w 4610101"/>
              <a:gd name="connsiteY43166" fmla="*/ 3253432 h 6557032"/>
              <a:gd name="connsiteX43167" fmla="*/ 3272625 w 4610101"/>
              <a:gd name="connsiteY43167" fmla="*/ 3284408 h 6557032"/>
              <a:gd name="connsiteX43168" fmla="*/ 3316357 w 4610101"/>
              <a:gd name="connsiteY43168" fmla="*/ 3247964 h 6557032"/>
              <a:gd name="connsiteX43169" fmla="*/ 3332756 w 4610101"/>
              <a:gd name="connsiteY43169" fmla="*/ 3260720 h 6557032"/>
              <a:gd name="connsiteX43170" fmla="*/ 3349156 w 4610101"/>
              <a:gd name="connsiteY43170" fmla="*/ 3246142 h 6557032"/>
              <a:gd name="connsiteX43171" fmla="*/ 3341867 w 4610101"/>
              <a:gd name="connsiteY43171" fmla="*/ 3231566 h 6557032"/>
              <a:gd name="connsiteX43172" fmla="*/ 3358267 w 4610101"/>
              <a:gd name="connsiteY43172" fmla="*/ 3218810 h 6557032"/>
              <a:gd name="connsiteX43173" fmla="*/ 3387422 w 4610101"/>
              <a:gd name="connsiteY43173" fmla="*/ 3211521 h 6557032"/>
              <a:gd name="connsiteX43174" fmla="*/ 3387422 w 4610101"/>
              <a:gd name="connsiteY43174" fmla="*/ 3237032 h 6557032"/>
              <a:gd name="connsiteX43175" fmla="*/ 3365556 w 4610101"/>
              <a:gd name="connsiteY43175" fmla="*/ 3244320 h 6557032"/>
              <a:gd name="connsiteX43176" fmla="*/ 3387422 w 4610101"/>
              <a:gd name="connsiteY43176" fmla="*/ 3246142 h 6557032"/>
              <a:gd name="connsiteX43177" fmla="*/ 3418399 w 4610101"/>
              <a:gd name="connsiteY43177" fmla="*/ 3282585 h 6557032"/>
              <a:gd name="connsiteX43178" fmla="*/ 3387422 w 4610101"/>
              <a:gd name="connsiteY43178" fmla="*/ 3282585 h 6557032"/>
              <a:gd name="connsiteX43179" fmla="*/ 3387422 w 4610101"/>
              <a:gd name="connsiteY43179" fmla="*/ 3297163 h 6557032"/>
              <a:gd name="connsiteX43180" fmla="*/ 3418399 w 4610101"/>
              <a:gd name="connsiteY43180" fmla="*/ 3291696 h 6557032"/>
              <a:gd name="connsiteX43181" fmla="*/ 3411110 w 4610101"/>
              <a:gd name="connsiteY43181" fmla="*/ 3306274 h 6557032"/>
              <a:gd name="connsiteX43182" fmla="*/ 3463953 w 4610101"/>
              <a:gd name="connsiteY43182" fmla="*/ 3268009 h 6557032"/>
              <a:gd name="connsiteX43183" fmla="*/ 3485819 w 4610101"/>
              <a:gd name="connsiteY43183" fmla="*/ 3275297 h 6557032"/>
              <a:gd name="connsiteX43184" fmla="*/ 3471242 w 4610101"/>
              <a:gd name="connsiteY43184" fmla="*/ 3304452 h 6557032"/>
              <a:gd name="connsiteX43185" fmla="*/ 3449376 w 4610101"/>
              <a:gd name="connsiteY43185" fmla="*/ 3297163 h 6557032"/>
              <a:gd name="connsiteX43186" fmla="*/ 3449376 w 4610101"/>
              <a:gd name="connsiteY43186" fmla="*/ 3311740 h 6557032"/>
              <a:gd name="connsiteX43187" fmla="*/ 3425687 w 4610101"/>
              <a:gd name="connsiteY43187" fmla="*/ 3311740 h 6557032"/>
              <a:gd name="connsiteX43188" fmla="*/ 3432976 w 4610101"/>
              <a:gd name="connsiteY43188" fmla="*/ 3326318 h 6557032"/>
              <a:gd name="connsiteX43189" fmla="*/ 3416577 w 4610101"/>
              <a:gd name="connsiteY43189" fmla="*/ 3329962 h 6557032"/>
              <a:gd name="connsiteX43190" fmla="*/ 3431154 w 4610101"/>
              <a:gd name="connsiteY43190" fmla="*/ 3333606 h 6557032"/>
              <a:gd name="connsiteX43191" fmla="*/ 3425687 w 4610101"/>
              <a:gd name="connsiteY43191" fmla="*/ 3364583 h 6557032"/>
              <a:gd name="connsiteX43192" fmla="*/ 3440265 w 4610101"/>
              <a:gd name="connsiteY43192" fmla="*/ 3357294 h 6557032"/>
              <a:gd name="connsiteX43193" fmla="*/ 3447157 w 4610101"/>
              <a:gd name="connsiteY43193" fmla="*/ 3371080 h 6557032"/>
              <a:gd name="connsiteX43194" fmla="*/ 3445731 w 4610101"/>
              <a:gd name="connsiteY43194" fmla="*/ 3371872 h 6557032"/>
              <a:gd name="connsiteX43195" fmla="*/ 3423865 w 4610101"/>
              <a:gd name="connsiteY43195" fmla="*/ 3371872 h 6557032"/>
              <a:gd name="connsiteX43196" fmla="*/ 3440265 w 4610101"/>
              <a:gd name="connsiteY43196" fmla="*/ 3393738 h 6557032"/>
              <a:gd name="connsiteX43197" fmla="*/ 3438443 w 4610101"/>
              <a:gd name="connsiteY43197" fmla="*/ 3393738 h 6557032"/>
              <a:gd name="connsiteX43198" fmla="*/ 3438443 w 4610101"/>
              <a:gd name="connsiteY43198" fmla="*/ 3395560 h 6557032"/>
              <a:gd name="connsiteX43199" fmla="*/ 3432976 w 4610101"/>
              <a:gd name="connsiteY43199" fmla="*/ 3401027 h 6557032"/>
              <a:gd name="connsiteX43200" fmla="*/ 3411110 w 4610101"/>
              <a:gd name="connsiteY43200" fmla="*/ 3406493 h 6557032"/>
              <a:gd name="connsiteX43201" fmla="*/ 3416577 w 4610101"/>
              <a:gd name="connsiteY43201" fmla="*/ 3415604 h 6557032"/>
              <a:gd name="connsiteX43202" fmla="*/ 3438443 w 4610101"/>
              <a:gd name="connsiteY43202" fmla="*/ 3408315 h 6557032"/>
              <a:gd name="connsiteX43203" fmla="*/ 3438443 w 4610101"/>
              <a:gd name="connsiteY43203" fmla="*/ 3395560 h 6557032"/>
              <a:gd name="connsiteX43204" fmla="*/ 3440265 w 4610101"/>
              <a:gd name="connsiteY43204" fmla="*/ 3393738 h 6557032"/>
              <a:gd name="connsiteX43205" fmla="*/ 3462131 w 4610101"/>
              <a:gd name="connsiteY43205" fmla="*/ 3393738 h 6557032"/>
              <a:gd name="connsiteX43206" fmla="*/ 3445731 w 4610101"/>
              <a:gd name="connsiteY43206" fmla="*/ 3371872 h 6557032"/>
              <a:gd name="connsiteX43207" fmla="*/ 3447553 w 4610101"/>
              <a:gd name="connsiteY43207" fmla="*/ 3371872 h 6557032"/>
              <a:gd name="connsiteX43208" fmla="*/ 3447157 w 4610101"/>
              <a:gd name="connsiteY43208" fmla="*/ 3371080 h 6557032"/>
              <a:gd name="connsiteX43209" fmla="*/ 3462131 w 4610101"/>
              <a:gd name="connsiteY43209" fmla="*/ 3362761 h 6557032"/>
              <a:gd name="connsiteX43210" fmla="*/ 3438443 w 4610101"/>
              <a:gd name="connsiteY43210" fmla="*/ 3342717 h 6557032"/>
              <a:gd name="connsiteX43211" fmla="*/ 3445731 w 4610101"/>
              <a:gd name="connsiteY43211" fmla="*/ 3320851 h 6557032"/>
              <a:gd name="connsiteX43212" fmla="*/ 3467597 w 4610101"/>
              <a:gd name="connsiteY43212" fmla="*/ 3311740 h 6557032"/>
              <a:gd name="connsiteX43213" fmla="*/ 3474886 w 4610101"/>
              <a:gd name="connsiteY43213" fmla="*/ 3333606 h 6557032"/>
              <a:gd name="connsiteX43214" fmla="*/ 3505863 w 4610101"/>
              <a:gd name="connsiteY43214" fmla="*/ 3333606 h 6557032"/>
              <a:gd name="connsiteX43215" fmla="*/ 3498574 w 4610101"/>
              <a:gd name="connsiteY43215" fmla="*/ 3360939 h 6557032"/>
              <a:gd name="connsiteX43216" fmla="*/ 3511330 w 4610101"/>
              <a:gd name="connsiteY43216" fmla="*/ 3375516 h 6557032"/>
              <a:gd name="connsiteX43217" fmla="*/ 3504041 w 4610101"/>
              <a:gd name="connsiteY43217" fmla="*/ 3384627 h 6557032"/>
              <a:gd name="connsiteX43218" fmla="*/ 3483997 w 4610101"/>
              <a:gd name="connsiteY43218" fmla="*/ 3370050 h 6557032"/>
              <a:gd name="connsiteX43219" fmla="*/ 3469419 w 4610101"/>
              <a:gd name="connsiteY43219" fmla="*/ 3390094 h 6557032"/>
              <a:gd name="connsiteX43220" fmla="*/ 3505863 w 4610101"/>
              <a:gd name="connsiteY43220" fmla="*/ 3421071 h 6557032"/>
              <a:gd name="connsiteX43221" fmla="*/ 3505863 w 4610101"/>
              <a:gd name="connsiteY43221" fmla="*/ 3391916 h 6557032"/>
              <a:gd name="connsiteX43222" fmla="*/ 3529551 w 4610101"/>
              <a:gd name="connsiteY43222" fmla="*/ 3399205 h 6557032"/>
              <a:gd name="connsiteX43223" fmla="*/ 3558706 w 4610101"/>
              <a:gd name="connsiteY43223" fmla="*/ 3428359 h 6557032"/>
              <a:gd name="connsiteX43224" fmla="*/ 3565995 w 4610101"/>
              <a:gd name="connsiteY43224" fmla="*/ 3413783 h 6557032"/>
              <a:gd name="connsiteX43225" fmla="*/ 3573284 w 4610101"/>
              <a:gd name="connsiteY43225" fmla="*/ 3435648 h 6557032"/>
              <a:gd name="connsiteX43226" fmla="*/ 3565995 w 4610101"/>
              <a:gd name="connsiteY43226" fmla="*/ 3457514 h 6557032"/>
              <a:gd name="connsiteX43227" fmla="*/ 3542306 w 4610101"/>
              <a:gd name="connsiteY43227" fmla="*/ 3459336 h 6557032"/>
              <a:gd name="connsiteX43228" fmla="*/ 3565995 w 4610101"/>
              <a:gd name="connsiteY43228" fmla="*/ 3488491 h 6557032"/>
              <a:gd name="connsiteX43229" fmla="*/ 3578750 w 4610101"/>
              <a:gd name="connsiteY43229" fmla="*/ 3481202 h 6557032"/>
              <a:gd name="connsiteX43230" fmla="*/ 3587861 w 4610101"/>
              <a:gd name="connsiteY43230" fmla="*/ 3503068 h 6557032"/>
              <a:gd name="connsiteX43231" fmla="*/ 3587861 w 4610101"/>
              <a:gd name="connsiteY43231" fmla="*/ 3514001 h 6557032"/>
              <a:gd name="connsiteX43232" fmla="*/ 3549595 w 4610101"/>
              <a:gd name="connsiteY43232" fmla="*/ 3530401 h 6557032"/>
              <a:gd name="connsiteX43233" fmla="*/ 3558706 w 4610101"/>
              <a:gd name="connsiteY43233" fmla="*/ 3546800 h 6557032"/>
              <a:gd name="connsiteX43234" fmla="*/ 3573284 w 4610101"/>
              <a:gd name="connsiteY43234" fmla="*/ 3530401 h 6557032"/>
              <a:gd name="connsiteX43235" fmla="*/ 3587861 w 4610101"/>
              <a:gd name="connsiteY43235" fmla="*/ 3537690 h 6557032"/>
              <a:gd name="connsiteX43236" fmla="*/ 3604260 w 4610101"/>
              <a:gd name="connsiteY43236" fmla="*/ 3548623 h 6557032"/>
              <a:gd name="connsiteX43237" fmla="*/ 3587861 w 4610101"/>
              <a:gd name="connsiteY43237" fmla="*/ 3554089 h 6557032"/>
              <a:gd name="connsiteX43238" fmla="*/ 3595150 w 4610101"/>
              <a:gd name="connsiteY43238" fmla="*/ 3566844 h 6557032"/>
              <a:gd name="connsiteX43239" fmla="*/ 3624304 w 4610101"/>
              <a:gd name="connsiteY43239" fmla="*/ 3559556 h 6557032"/>
              <a:gd name="connsiteX43240" fmla="*/ 3631593 w 4610101"/>
              <a:gd name="connsiteY43240" fmla="*/ 3544978 h 6557032"/>
              <a:gd name="connsiteX43241" fmla="*/ 3653459 w 4610101"/>
              <a:gd name="connsiteY43241" fmla="*/ 3544978 h 6557032"/>
              <a:gd name="connsiteX43242" fmla="*/ 3653459 w 4610101"/>
              <a:gd name="connsiteY43242" fmla="*/ 3559556 h 6557032"/>
              <a:gd name="connsiteX43243" fmla="*/ 3669859 w 4610101"/>
              <a:gd name="connsiteY43243" fmla="*/ 3559556 h 6557032"/>
              <a:gd name="connsiteX43244" fmla="*/ 3664392 w 4610101"/>
              <a:gd name="connsiteY43244" fmla="*/ 3572311 h 6557032"/>
              <a:gd name="connsiteX43245" fmla="*/ 3668037 w 4610101"/>
              <a:gd name="connsiteY43245" fmla="*/ 3588710 h 6557032"/>
              <a:gd name="connsiteX43246" fmla="*/ 3699013 w 4610101"/>
              <a:gd name="connsiteY43246" fmla="*/ 3574133 h 6557032"/>
              <a:gd name="connsiteX43247" fmla="*/ 3691725 w 4610101"/>
              <a:gd name="connsiteY43247" fmla="*/ 3586888 h 6557032"/>
              <a:gd name="connsiteX43248" fmla="*/ 3713591 w 4610101"/>
              <a:gd name="connsiteY43248" fmla="*/ 3603288 h 6557032"/>
              <a:gd name="connsiteX43249" fmla="*/ 3704480 w 4610101"/>
              <a:gd name="connsiteY43249" fmla="*/ 3626976 h 6557032"/>
              <a:gd name="connsiteX43250" fmla="*/ 3720880 w 4610101"/>
              <a:gd name="connsiteY43250" fmla="*/ 3648842 h 6557032"/>
              <a:gd name="connsiteX43251" fmla="*/ 3742746 w 4610101"/>
              <a:gd name="connsiteY43251" fmla="*/ 3648842 h 6557032"/>
              <a:gd name="connsiteX43252" fmla="*/ 3773723 w 4610101"/>
              <a:gd name="connsiteY43252" fmla="*/ 3663420 h 6557032"/>
              <a:gd name="connsiteX43253" fmla="*/ 3773723 w 4610101"/>
              <a:gd name="connsiteY43253" fmla="*/ 3641554 h 6557032"/>
              <a:gd name="connsiteX43254" fmla="*/ 3795589 w 4610101"/>
              <a:gd name="connsiteY43254" fmla="*/ 3648842 h 6557032"/>
              <a:gd name="connsiteX43255" fmla="*/ 3804700 w 4610101"/>
              <a:gd name="connsiteY43255" fmla="*/ 3634265 h 6557032"/>
              <a:gd name="connsiteX43256" fmla="*/ 3797411 w 4610101"/>
              <a:gd name="connsiteY43256" fmla="*/ 3619687 h 6557032"/>
              <a:gd name="connsiteX43257" fmla="*/ 3819277 w 4610101"/>
              <a:gd name="connsiteY43257" fmla="*/ 3574133 h 6557032"/>
              <a:gd name="connsiteX43258" fmla="*/ 3841143 w 4610101"/>
              <a:gd name="connsiteY43258" fmla="*/ 3574133 h 6557032"/>
              <a:gd name="connsiteX43259" fmla="*/ 3841143 w 4610101"/>
              <a:gd name="connsiteY43259" fmla="*/ 3559556 h 6557032"/>
              <a:gd name="connsiteX43260" fmla="*/ 3855721 w 4610101"/>
              <a:gd name="connsiteY43260" fmla="*/ 3559556 h 6557032"/>
              <a:gd name="connsiteX43261" fmla="*/ 3855721 w 4610101"/>
              <a:gd name="connsiteY43261" fmla="*/ 3544978 h 6557032"/>
              <a:gd name="connsiteX43262" fmla="*/ 3877587 w 4610101"/>
              <a:gd name="connsiteY43262" fmla="*/ 3544978 h 6557032"/>
              <a:gd name="connsiteX43263" fmla="*/ 3877587 w 4610101"/>
              <a:gd name="connsiteY43263" fmla="*/ 3559556 h 6557032"/>
              <a:gd name="connsiteX43264" fmla="*/ 3893986 w 4610101"/>
              <a:gd name="connsiteY43264" fmla="*/ 3559556 h 6557032"/>
              <a:gd name="connsiteX43265" fmla="*/ 3886697 w 4610101"/>
              <a:gd name="connsiteY43265" fmla="*/ 3574133 h 6557032"/>
              <a:gd name="connsiteX43266" fmla="*/ 3901275 w 4610101"/>
              <a:gd name="connsiteY43266" fmla="*/ 3574133 h 6557032"/>
              <a:gd name="connsiteX43267" fmla="*/ 3870298 w 4610101"/>
              <a:gd name="connsiteY43267" fmla="*/ 3612399 h 6557032"/>
              <a:gd name="connsiteX43268" fmla="*/ 3877587 w 4610101"/>
              <a:gd name="connsiteY43268" fmla="*/ 3628798 h 6557032"/>
              <a:gd name="connsiteX43269" fmla="*/ 3848432 w 4610101"/>
              <a:gd name="connsiteY43269" fmla="*/ 3619687 h 6557032"/>
              <a:gd name="connsiteX43270" fmla="*/ 3819277 w 4610101"/>
              <a:gd name="connsiteY43270" fmla="*/ 3626976 h 6557032"/>
              <a:gd name="connsiteX43271" fmla="*/ 3810166 w 4610101"/>
              <a:gd name="connsiteY43271" fmla="*/ 3641554 h 6557032"/>
              <a:gd name="connsiteX43272" fmla="*/ 3815632 w 4610101"/>
              <a:gd name="connsiteY43272" fmla="*/ 3654309 h 6557032"/>
              <a:gd name="connsiteX43273" fmla="*/ 3811988 w 4610101"/>
              <a:gd name="connsiteY43273" fmla="*/ 3670708 h 6557032"/>
              <a:gd name="connsiteX43274" fmla="*/ 3819277 w 4610101"/>
              <a:gd name="connsiteY43274" fmla="*/ 3692574 h 6557032"/>
              <a:gd name="connsiteX43275" fmla="*/ 3835677 w 4610101"/>
              <a:gd name="connsiteY43275" fmla="*/ 3692574 h 6557032"/>
              <a:gd name="connsiteX43276" fmla="*/ 3826566 w 4610101"/>
              <a:gd name="connsiteY43276" fmla="*/ 3663420 h 6557032"/>
              <a:gd name="connsiteX43277" fmla="*/ 3841143 w 4610101"/>
              <a:gd name="connsiteY43277" fmla="*/ 3656131 h 6557032"/>
              <a:gd name="connsiteX43278" fmla="*/ 3872120 w 4610101"/>
              <a:gd name="connsiteY43278" fmla="*/ 3663420 h 6557032"/>
              <a:gd name="connsiteX43279" fmla="*/ 3850254 w 4610101"/>
              <a:gd name="connsiteY43279" fmla="*/ 3685286 h 6557032"/>
              <a:gd name="connsiteX43280" fmla="*/ 3872120 w 4610101"/>
              <a:gd name="connsiteY43280" fmla="*/ 3685286 h 6557032"/>
              <a:gd name="connsiteX43281" fmla="*/ 3872120 w 4610101"/>
              <a:gd name="connsiteY43281" fmla="*/ 3710796 h 6557032"/>
              <a:gd name="connsiteX43282" fmla="*/ 3835677 w 4610101"/>
              <a:gd name="connsiteY43282" fmla="*/ 3716263 h 6557032"/>
              <a:gd name="connsiteX43283" fmla="*/ 3866653 w 4610101"/>
              <a:gd name="connsiteY43283" fmla="*/ 3727196 h 6557032"/>
              <a:gd name="connsiteX43284" fmla="*/ 3841143 w 4610101"/>
              <a:gd name="connsiteY43284" fmla="*/ 3749062 h 6557032"/>
              <a:gd name="connsiteX43285" fmla="*/ 3857543 w 4610101"/>
              <a:gd name="connsiteY43285" fmla="*/ 3770928 h 6557032"/>
              <a:gd name="connsiteX43286" fmla="*/ 3879409 w 4610101"/>
              <a:gd name="connsiteY43286" fmla="*/ 3770928 h 6557032"/>
              <a:gd name="connsiteX43287" fmla="*/ 3873942 w 4610101"/>
              <a:gd name="connsiteY43287" fmla="*/ 3801905 h 6557032"/>
              <a:gd name="connsiteX43288" fmla="*/ 3895808 w 4610101"/>
              <a:gd name="connsiteY43288" fmla="*/ 3801905 h 6557032"/>
              <a:gd name="connsiteX43289" fmla="*/ 3895808 w 4610101"/>
              <a:gd name="connsiteY43289" fmla="*/ 3809194 h 6557032"/>
              <a:gd name="connsiteX43290" fmla="*/ 3873942 w 4610101"/>
              <a:gd name="connsiteY43290" fmla="*/ 3809194 h 6557032"/>
              <a:gd name="connsiteX43291" fmla="*/ 3873942 w 4610101"/>
              <a:gd name="connsiteY43291" fmla="*/ 3831060 h 6557032"/>
              <a:gd name="connsiteX43292" fmla="*/ 3888519 w 4610101"/>
              <a:gd name="connsiteY43292" fmla="*/ 3831060 h 6557032"/>
              <a:gd name="connsiteX43293" fmla="*/ 3888519 w 4610101"/>
              <a:gd name="connsiteY43293" fmla="*/ 3845637 h 6557032"/>
              <a:gd name="connsiteX43294" fmla="*/ 3873942 w 4610101"/>
              <a:gd name="connsiteY43294" fmla="*/ 3852926 h 6557032"/>
              <a:gd name="connsiteX43295" fmla="*/ 3841143 w 4610101"/>
              <a:gd name="connsiteY43295" fmla="*/ 3816482 h 6557032"/>
              <a:gd name="connsiteX43296" fmla="*/ 3850254 w 4610101"/>
              <a:gd name="connsiteY43296" fmla="*/ 3792794 h 6557032"/>
              <a:gd name="connsiteX43297" fmla="*/ 3813810 w 4610101"/>
              <a:gd name="connsiteY43297" fmla="*/ 3770928 h 6557032"/>
              <a:gd name="connsiteX43298" fmla="*/ 3791944 w 4610101"/>
              <a:gd name="connsiteY43298" fmla="*/ 3792794 h 6557032"/>
              <a:gd name="connsiteX43299" fmla="*/ 3777367 w 4610101"/>
              <a:gd name="connsiteY43299" fmla="*/ 3761817 h 6557032"/>
              <a:gd name="connsiteX43300" fmla="*/ 3755501 w 4610101"/>
              <a:gd name="connsiteY43300" fmla="*/ 3761817 h 6557032"/>
              <a:gd name="connsiteX43301" fmla="*/ 3764612 w 4610101"/>
              <a:gd name="connsiteY43301" fmla="*/ 3790972 h 6557032"/>
              <a:gd name="connsiteX43302" fmla="*/ 3784656 w 4610101"/>
              <a:gd name="connsiteY43302" fmla="*/ 3807371 h 6557032"/>
              <a:gd name="connsiteX43303" fmla="*/ 3793766 w 4610101"/>
              <a:gd name="connsiteY43303" fmla="*/ 3790972 h 6557032"/>
              <a:gd name="connsiteX43304" fmla="*/ 3815632 w 4610101"/>
              <a:gd name="connsiteY43304" fmla="*/ 3798260 h 6557032"/>
              <a:gd name="connsiteX43305" fmla="*/ 3837499 w 4610101"/>
              <a:gd name="connsiteY43305" fmla="*/ 3798260 h 6557032"/>
              <a:gd name="connsiteX43306" fmla="*/ 3837499 w 4610101"/>
              <a:gd name="connsiteY43306" fmla="*/ 3820126 h 6557032"/>
              <a:gd name="connsiteX43307" fmla="*/ 3821099 w 4610101"/>
              <a:gd name="connsiteY43307" fmla="*/ 3832882 h 6557032"/>
              <a:gd name="connsiteX43308" fmla="*/ 3852076 w 4610101"/>
              <a:gd name="connsiteY43308" fmla="*/ 3863859 h 6557032"/>
              <a:gd name="connsiteX43309" fmla="*/ 3897630 w 4610101"/>
              <a:gd name="connsiteY43309" fmla="*/ 3872970 h 6557032"/>
              <a:gd name="connsiteX43310" fmla="*/ 3897630 w 4610101"/>
              <a:gd name="connsiteY43310" fmla="*/ 3849281 h 6557032"/>
              <a:gd name="connsiteX43311" fmla="*/ 3890342 w 4610101"/>
              <a:gd name="connsiteY43311" fmla="*/ 3841993 h 6557032"/>
              <a:gd name="connsiteX43312" fmla="*/ 3904919 w 4610101"/>
              <a:gd name="connsiteY43312" fmla="*/ 3841993 h 6557032"/>
              <a:gd name="connsiteX43313" fmla="*/ 3928607 w 4610101"/>
              <a:gd name="connsiteY43313" fmla="*/ 3827415 h 6557032"/>
              <a:gd name="connsiteX43314" fmla="*/ 3921319 w 4610101"/>
              <a:gd name="connsiteY43314" fmla="*/ 3841993 h 6557032"/>
              <a:gd name="connsiteX43315" fmla="*/ 3945007 w 4610101"/>
              <a:gd name="connsiteY43315" fmla="*/ 3862036 h 6557032"/>
              <a:gd name="connsiteX43316" fmla="*/ 3928607 w 4610101"/>
              <a:gd name="connsiteY43316" fmla="*/ 3869325 h 6557032"/>
              <a:gd name="connsiteX43317" fmla="*/ 3935896 w 4610101"/>
              <a:gd name="connsiteY43317" fmla="*/ 3882081 h 6557032"/>
              <a:gd name="connsiteX43318" fmla="*/ 3908985 w 4610101"/>
              <a:gd name="connsiteY43318" fmla="*/ 3903946 h 6557032"/>
              <a:gd name="connsiteX43319" fmla="*/ 3914030 w 4610101"/>
              <a:gd name="connsiteY43319" fmla="*/ 3903946 h 6557032"/>
              <a:gd name="connsiteX43320" fmla="*/ 3908563 w 4610101"/>
              <a:gd name="connsiteY43320" fmla="*/ 3918524 h 6557032"/>
              <a:gd name="connsiteX43321" fmla="*/ 3914030 w 4610101"/>
              <a:gd name="connsiteY43321" fmla="*/ 3925812 h 6557032"/>
              <a:gd name="connsiteX43322" fmla="*/ 3952295 w 4610101"/>
              <a:gd name="connsiteY43322" fmla="*/ 3920346 h 6557032"/>
              <a:gd name="connsiteX43323" fmla="*/ 3952295 w 4610101"/>
              <a:gd name="connsiteY43323" fmla="*/ 3934013 h 6557032"/>
              <a:gd name="connsiteX43324" fmla="*/ 3965052 w 4610101"/>
              <a:gd name="connsiteY43324" fmla="*/ 3940391 h 6557032"/>
              <a:gd name="connsiteX43325" fmla="*/ 3981451 w 4610101"/>
              <a:gd name="connsiteY43325" fmla="*/ 3918524 h 6557032"/>
              <a:gd name="connsiteX43326" fmla="*/ 3950474 w 4610101"/>
              <a:gd name="connsiteY43326" fmla="*/ 3954969 h 6557032"/>
              <a:gd name="connsiteX43327" fmla="*/ 3950474 w 4610101"/>
              <a:gd name="connsiteY43327" fmla="*/ 3935935 h 6557032"/>
              <a:gd name="connsiteX43328" fmla="*/ 3935896 w 4610101"/>
              <a:gd name="connsiteY43328" fmla="*/ 3944034 h 6557032"/>
              <a:gd name="connsiteX43329" fmla="*/ 3914030 w 4610101"/>
              <a:gd name="connsiteY43329" fmla="*/ 3934923 h 6557032"/>
              <a:gd name="connsiteX43330" fmla="*/ 3903096 w 4610101"/>
              <a:gd name="connsiteY43330" fmla="*/ 3944034 h 6557032"/>
              <a:gd name="connsiteX43331" fmla="*/ 3899452 w 4610101"/>
              <a:gd name="connsiteY43331" fmla="*/ 3956789 h 6557032"/>
              <a:gd name="connsiteX43332" fmla="*/ 3886697 w 4610101"/>
              <a:gd name="connsiteY43332" fmla="*/ 3956789 h 6557032"/>
              <a:gd name="connsiteX43333" fmla="*/ 3877586 w 4610101"/>
              <a:gd name="connsiteY43333" fmla="*/ 3934923 h 6557032"/>
              <a:gd name="connsiteX43334" fmla="*/ 3892164 w 4610101"/>
              <a:gd name="connsiteY43334" fmla="*/ 3927634 h 6557032"/>
              <a:gd name="connsiteX43335" fmla="*/ 3870297 w 4610101"/>
              <a:gd name="connsiteY43335" fmla="*/ 3918524 h 6557032"/>
              <a:gd name="connsiteX43336" fmla="*/ 3884875 w 4610101"/>
              <a:gd name="connsiteY43336" fmla="*/ 3894835 h 6557032"/>
              <a:gd name="connsiteX43337" fmla="*/ 3899452 w 4610101"/>
              <a:gd name="connsiteY43337" fmla="*/ 3903946 h 6557032"/>
              <a:gd name="connsiteX43338" fmla="*/ 3905360 w 4610101"/>
              <a:gd name="connsiteY43338" fmla="*/ 3903946 h 6557032"/>
              <a:gd name="connsiteX43339" fmla="*/ 3895353 w 4610101"/>
              <a:gd name="connsiteY43339" fmla="*/ 3890736 h 6557032"/>
              <a:gd name="connsiteX43340" fmla="*/ 3875764 w 4610101"/>
              <a:gd name="connsiteY43340" fmla="*/ 3883903 h 6557032"/>
              <a:gd name="connsiteX43341" fmla="*/ 3861187 w 4610101"/>
              <a:gd name="connsiteY43341" fmla="*/ 3922168 h 6557032"/>
              <a:gd name="connsiteX43342" fmla="*/ 3839321 w 4610101"/>
              <a:gd name="connsiteY43342" fmla="*/ 3953145 h 6557032"/>
              <a:gd name="connsiteX43343" fmla="*/ 3861187 w 4610101"/>
              <a:gd name="connsiteY43343" fmla="*/ 3953145 h 6557032"/>
              <a:gd name="connsiteX43344" fmla="*/ 3846610 w 4610101"/>
              <a:gd name="connsiteY43344" fmla="*/ 3967723 h 6557032"/>
              <a:gd name="connsiteX43345" fmla="*/ 3830210 w 4610101"/>
              <a:gd name="connsiteY43345" fmla="*/ 3945857 h 6557032"/>
              <a:gd name="connsiteX43346" fmla="*/ 3824743 w 4610101"/>
              <a:gd name="connsiteY43346" fmla="*/ 3936746 h 6557032"/>
              <a:gd name="connsiteX43347" fmla="*/ 3841143 w 4610101"/>
              <a:gd name="connsiteY43347" fmla="*/ 3923991 h 6557032"/>
              <a:gd name="connsiteX43348" fmla="*/ 3826566 w 4610101"/>
              <a:gd name="connsiteY43348" fmla="*/ 3920346 h 6557032"/>
              <a:gd name="connsiteX43349" fmla="*/ 3817455 w 4610101"/>
              <a:gd name="connsiteY43349" fmla="*/ 3907591 h 6557032"/>
              <a:gd name="connsiteX43350" fmla="*/ 3824743 w 4610101"/>
              <a:gd name="connsiteY43350" fmla="*/ 3938568 h 6557032"/>
              <a:gd name="connsiteX43351" fmla="*/ 3808344 w 4610101"/>
              <a:gd name="connsiteY43351" fmla="*/ 3945857 h 6557032"/>
              <a:gd name="connsiteX43352" fmla="*/ 3815632 w 4610101"/>
              <a:gd name="connsiteY43352" fmla="*/ 3960434 h 6557032"/>
              <a:gd name="connsiteX43353" fmla="*/ 3791944 w 4610101"/>
              <a:gd name="connsiteY43353" fmla="*/ 3960434 h 6557032"/>
              <a:gd name="connsiteX43354" fmla="*/ 3799233 w 4610101"/>
              <a:gd name="connsiteY43354" fmla="*/ 3975011 h 6557032"/>
              <a:gd name="connsiteX43355" fmla="*/ 3775545 w 4610101"/>
              <a:gd name="connsiteY43355" fmla="*/ 3978656 h 6557032"/>
              <a:gd name="connsiteX43356" fmla="*/ 3791944 w 4610101"/>
              <a:gd name="connsiteY43356" fmla="*/ 3982300 h 6557032"/>
              <a:gd name="connsiteX43357" fmla="*/ 3791944 w 4610101"/>
              <a:gd name="connsiteY43357" fmla="*/ 4013277 h 6557032"/>
              <a:gd name="connsiteX43358" fmla="*/ 3775545 w 4610101"/>
              <a:gd name="connsiteY43358" fmla="*/ 4035143 h 6557032"/>
              <a:gd name="connsiteX43359" fmla="*/ 3768256 w 4610101"/>
              <a:gd name="connsiteY43359" fmla="*/ 4049720 h 6557032"/>
              <a:gd name="connsiteX43360" fmla="*/ 3737279 w 4610101"/>
              <a:gd name="connsiteY43360" fmla="*/ 4011455 h 6557032"/>
              <a:gd name="connsiteX43361" fmla="*/ 3728168 w 4610101"/>
              <a:gd name="connsiteY43361" fmla="*/ 3996878 h 6557032"/>
              <a:gd name="connsiteX43362" fmla="*/ 3711769 w 4610101"/>
              <a:gd name="connsiteY43362" fmla="*/ 4009633 h 6557032"/>
              <a:gd name="connsiteX43363" fmla="*/ 3735457 w 4610101"/>
              <a:gd name="connsiteY43363" fmla="*/ 4011455 h 6557032"/>
              <a:gd name="connsiteX43364" fmla="*/ 3728168 w 4610101"/>
              <a:gd name="connsiteY43364" fmla="*/ 4026032 h 6557032"/>
              <a:gd name="connsiteX43365" fmla="*/ 3759145 w 4610101"/>
              <a:gd name="connsiteY43365" fmla="*/ 4051543 h 6557032"/>
              <a:gd name="connsiteX43366" fmla="*/ 3748430 w 4610101"/>
              <a:gd name="connsiteY43366" fmla="*/ 4067021 h 6557032"/>
              <a:gd name="connsiteX43367" fmla="*/ 3750034 w 4610101"/>
              <a:gd name="connsiteY43367" fmla="*/ 4062476 h 6557032"/>
              <a:gd name="connsiteX43368" fmla="*/ 3739101 w 4610101"/>
              <a:gd name="connsiteY43368" fmla="*/ 4073409 h 6557032"/>
              <a:gd name="connsiteX43369" fmla="*/ 3724524 w 4610101"/>
              <a:gd name="connsiteY43369" fmla="*/ 4078875 h 6557032"/>
              <a:gd name="connsiteX43370" fmla="*/ 3739101 w 4610101"/>
              <a:gd name="connsiteY43370" fmla="*/ 4093452 h 6557032"/>
              <a:gd name="connsiteX43371" fmla="*/ 3745878 w 4610101"/>
              <a:gd name="connsiteY43371" fmla="*/ 4074253 h 6557032"/>
              <a:gd name="connsiteX43372" fmla="*/ 3771900 w 4610101"/>
              <a:gd name="connsiteY43372" fmla="*/ 4066120 h 6557032"/>
              <a:gd name="connsiteX43373" fmla="*/ 3770078 w 4610101"/>
              <a:gd name="connsiteY43373" fmla="*/ 4104386 h 6557032"/>
              <a:gd name="connsiteX43374" fmla="*/ 3748212 w 4610101"/>
              <a:gd name="connsiteY43374" fmla="*/ 4087986 h 6557032"/>
              <a:gd name="connsiteX43375" fmla="*/ 3762790 w 4610101"/>
              <a:gd name="connsiteY43375" fmla="*/ 4140829 h 6557032"/>
              <a:gd name="connsiteX43376" fmla="*/ 3777367 w 4610101"/>
              <a:gd name="connsiteY43376" fmla="*/ 4131718 h 6557032"/>
              <a:gd name="connsiteX43377" fmla="*/ 3777367 w 4610101"/>
              <a:gd name="connsiteY43377" fmla="*/ 4153584 h 6557032"/>
              <a:gd name="connsiteX43378" fmla="*/ 3746390 w 4610101"/>
              <a:gd name="connsiteY43378" fmla="*/ 4153584 h 6557032"/>
              <a:gd name="connsiteX43379" fmla="*/ 3746390 w 4610101"/>
              <a:gd name="connsiteY43379" fmla="*/ 4122607 h 6557032"/>
              <a:gd name="connsiteX43380" fmla="*/ 3740924 w 4610101"/>
              <a:gd name="connsiteY43380" fmla="*/ 4159051 h 6557032"/>
              <a:gd name="connsiteX43381" fmla="*/ 3753679 w 4610101"/>
              <a:gd name="connsiteY43381" fmla="*/ 4175450 h 6557032"/>
              <a:gd name="connsiteX43382" fmla="*/ 3775545 w 4610101"/>
              <a:gd name="connsiteY43382" fmla="*/ 4175450 h 6557032"/>
              <a:gd name="connsiteX43383" fmla="*/ 3775545 w 4610101"/>
              <a:gd name="connsiteY43383" fmla="*/ 4197317 h 6557032"/>
              <a:gd name="connsiteX43384" fmla="*/ 3795589 w 4610101"/>
              <a:gd name="connsiteY43384" fmla="*/ 4199139 h 6557032"/>
              <a:gd name="connsiteX43385" fmla="*/ 3837499 w 4610101"/>
              <a:gd name="connsiteY43385" fmla="*/ 4237404 h 6557032"/>
              <a:gd name="connsiteX43386" fmla="*/ 3821019 w 4610101"/>
              <a:gd name="connsiteY43386" fmla="*/ 4251530 h 6557032"/>
              <a:gd name="connsiteX43387" fmla="*/ 3815632 w 4610101"/>
              <a:gd name="connsiteY43387" fmla="*/ 4221005 h 6557032"/>
              <a:gd name="connsiteX43388" fmla="*/ 3791944 w 4610101"/>
              <a:gd name="connsiteY43388" fmla="*/ 4228294 h 6557032"/>
              <a:gd name="connsiteX43389" fmla="*/ 3770078 w 4610101"/>
              <a:gd name="connsiteY43389" fmla="*/ 4228294 h 6557032"/>
              <a:gd name="connsiteX43390" fmla="*/ 3770078 w 4610101"/>
              <a:gd name="connsiteY43390" fmla="*/ 4206428 h 6557032"/>
              <a:gd name="connsiteX43391" fmla="*/ 3762790 w 4610101"/>
              <a:gd name="connsiteY43391" fmla="*/ 4206428 h 6557032"/>
              <a:gd name="connsiteX43392" fmla="*/ 3762790 w 4610101"/>
              <a:gd name="connsiteY43392" fmla="*/ 4228294 h 6557032"/>
              <a:gd name="connsiteX43393" fmla="*/ 3753679 w 4610101"/>
              <a:gd name="connsiteY43393" fmla="*/ 4253804 h 6557032"/>
              <a:gd name="connsiteX43394" fmla="*/ 3770078 w 4610101"/>
              <a:gd name="connsiteY43394" fmla="*/ 4266559 h 6557032"/>
              <a:gd name="connsiteX43395" fmla="*/ 3782834 w 4610101"/>
              <a:gd name="connsiteY43395" fmla="*/ 4259271 h 6557032"/>
              <a:gd name="connsiteX43396" fmla="*/ 3782834 w 4610101"/>
              <a:gd name="connsiteY43396" fmla="*/ 4275670 h 6557032"/>
              <a:gd name="connsiteX43397" fmla="*/ 3768256 w 4610101"/>
              <a:gd name="connsiteY43397" fmla="*/ 4275670 h 6557032"/>
              <a:gd name="connsiteX43398" fmla="*/ 3775545 w 4610101"/>
              <a:gd name="connsiteY43398" fmla="*/ 4290247 h 6557032"/>
              <a:gd name="connsiteX43399" fmla="*/ 3797411 w 4610101"/>
              <a:gd name="connsiteY43399" fmla="*/ 4275670 h 6557032"/>
              <a:gd name="connsiteX43400" fmla="*/ 3782834 w 4610101"/>
              <a:gd name="connsiteY43400" fmla="*/ 4237404 h 6557032"/>
              <a:gd name="connsiteX43401" fmla="*/ 3809739 w 4610101"/>
              <a:gd name="connsiteY43401" fmla="*/ 4243042 h 6557032"/>
              <a:gd name="connsiteX43402" fmla="*/ 3820783 w 4610101"/>
              <a:gd name="connsiteY43402" fmla="*/ 4251733 h 6557032"/>
              <a:gd name="connsiteX43403" fmla="*/ 3811988 w 4610101"/>
              <a:gd name="connsiteY43403" fmla="*/ 4259271 h 6557032"/>
              <a:gd name="connsiteX43404" fmla="*/ 3818105 w 4610101"/>
              <a:gd name="connsiteY43404" fmla="*/ 4267682 h 6557032"/>
              <a:gd name="connsiteX43405" fmla="*/ 3808344 w 4610101"/>
              <a:gd name="connsiteY43405" fmla="*/ 4288425 h 6557032"/>
              <a:gd name="connsiteX43406" fmla="*/ 3820131 w 4610101"/>
              <a:gd name="connsiteY43406" fmla="*/ 4278688 h 6557032"/>
              <a:gd name="connsiteX43407" fmla="*/ 3821046 w 4610101"/>
              <a:gd name="connsiteY43407" fmla="*/ 4271725 h 6557032"/>
              <a:gd name="connsiteX43408" fmla="*/ 3826566 w 4610101"/>
              <a:gd name="connsiteY43408" fmla="*/ 4279315 h 6557032"/>
              <a:gd name="connsiteX43409" fmla="*/ 3797411 w 4610101"/>
              <a:gd name="connsiteY43409" fmla="*/ 4310291 h 6557032"/>
              <a:gd name="connsiteX43410" fmla="*/ 3835677 w 4610101"/>
              <a:gd name="connsiteY43410" fmla="*/ 4317580 h 6557032"/>
              <a:gd name="connsiteX43411" fmla="*/ 3821099 w 4610101"/>
              <a:gd name="connsiteY43411" fmla="*/ 4332157 h 6557032"/>
              <a:gd name="connsiteX43412" fmla="*/ 3782834 w 4610101"/>
              <a:gd name="connsiteY43412" fmla="*/ 4317580 h 6557032"/>
              <a:gd name="connsiteX43413" fmla="*/ 3782834 w 4610101"/>
              <a:gd name="connsiteY43413" fmla="*/ 4301181 h 6557032"/>
              <a:gd name="connsiteX43414" fmla="*/ 3759145 w 4610101"/>
              <a:gd name="connsiteY43414" fmla="*/ 4312113 h 6557032"/>
              <a:gd name="connsiteX43415" fmla="*/ 3775545 w 4610101"/>
              <a:gd name="connsiteY43415" fmla="*/ 4324869 h 6557032"/>
              <a:gd name="connsiteX43416" fmla="*/ 3768256 w 4610101"/>
              <a:gd name="connsiteY43416" fmla="*/ 4355846 h 6557032"/>
              <a:gd name="connsiteX43417" fmla="*/ 3806522 w 4610101"/>
              <a:gd name="connsiteY43417" fmla="*/ 4355846 h 6557032"/>
              <a:gd name="connsiteX43418" fmla="*/ 3799233 w 4610101"/>
              <a:gd name="connsiteY43418" fmla="*/ 4370423 h 6557032"/>
              <a:gd name="connsiteX43419" fmla="*/ 3777367 w 4610101"/>
              <a:gd name="connsiteY43419" fmla="*/ 4370423 h 6557032"/>
              <a:gd name="connsiteX43420" fmla="*/ 3799233 w 4610101"/>
              <a:gd name="connsiteY43420" fmla="*/ 4385000 h 6557032"/>
              <a:gd name="connsiteX43421" fmla="*/ 3799233 w 4610101"/>
              <a:gd name="connsiteY43421" fmla="*/ 4370423 h 6557032"/>
              <a:gd name="connsiteX43422" fmla="*/ 3813810 w 4610101"/>
              <a:gd name="connsiteY43422" fmla="*/ 4370423 h 6557032"/>
              <a:gd name="connsiteX43423" fmla="*/ 3799233 w 4610101"/>
              <a:gd name="connsiteY43423" fmla="*/ 4401400 h 6557032"/>
              <a:gd name="connsiteX43424" fmla="*/ 3784656 w 4610101"/>
              <a:gd name="connsiteY43424" fmla="*/ 4394111 h 6557032"/>
              <a:gd name="connsiteX43425" fmla="*/ 3781011 w 4610101"/>
              <a:gd name="connsiteY43425" fmla="*/ 4410511 h 6557032"/>
              <a:gd name="connsiteX43426" fmla="*/ 3775545 w 4610101"/>
              <a:gd name="connsiteY43426" fmla="*/ 4394111 h 6557032"/>
              <a:gd name="connsiteX43427" fmla="*/ 3753679 w 4610101"/>
              <a:gd name="connsiteY43427" fmla="*/ 4410511 h 6557032"/>
              <a:gd name="connsiteX43428" fmla="*/ 3753679 w 4610101"/>
              <a:gd name="connsiteY43428" fmla="*/ 4388645 h 6557032"/>
              <a:gd name="connsiteX43429" fmla="*/ 3731813 w 4610101"/>
              <a:gd name="connsiteY43429" fmla="*/ 4403222 h 6557032"/>
              <a:gd name="connsiteX43430" fmla="*/ 3709947 w 4610101"/>
              <a:gd name="connsiteY43430" fmla="*/ 4395934 h 6557032"/>
              <a:gd name="connsiteX43431" fmla="*/ 3723478 w 4610101"/>
              <a:gd name="connsiteY43431" fmla="*/ 4370424 h 6557032"/>
              <a:gd name="connsiteX43432" fmla="*/ 3709947 w 4610101"/>
              <a:gd name="connsiteY43432" fmla="*/ 4370424 h 6557032"/>
              <a:gd name="connsiteX43433" fmla="*/ 3709947 w 4610101"/>
              <a:gd name="connsiteY43433" fmla="*/ 4386823 h 6557032"/>
              <a:gd name="connsiteX43434" fmla="*/ 3693547 w 4610101"/>
              <a:gd name="connsiteY43434" fmla="*/ 4377712 h 6557032"/>
              <a:gd name="connsiteX43435" fmla="*/ 3709946 w 4610101"/>
              <a:gd name="connsiteY43435" fmla="*/ 4355847 h 6557032"/>
              <a:gd name="connsiteX43436" fmla="*/ 3695370 w 4610101"/>
              <a:gd name="connsiteY43436" fmla="*/ 4348558 h 6557032"/>
              <a:gd name="connsiteX43437" fmla="*/ 3717235 w 4610101"/>
              <a:gd name="connsiteY43437" fmla="*/ 4328375 h 6557032"/>
              <a:gd name="connsiteX43438" fmla="*/ 3717235 w 4610101"/>
              <a:gd name="connsiteY43438" fmla="*/ 4304825 h 6557032"/>
              <a:gd name="connsiteX43439" fmla="*/ 3697191 w 4610101"/>
              <a:gd name="connsiteY43439" fmla="*/ 4319402 h 6557032"/>
              <a:gd name="connsiteX43440" fmla="*/ 3680792 w 4610101"/>
              <a:gd name="connsiteY43440" fmla="*/ 4306647 h 6557032"/>
              <a:gd name="connsiteX43441" fmla="*/ 3680792 w 4610101"/>
              <a:gd name="connsiteY43441" fmla="*/ 4328513 h 6557032"/>
              <a:gd name="connsiteX43442" fmla="*/ 3658926 w 4610101"/>
              <a:gd name="connsiteY43442" fmla="*/ 4328513 h 6557032"/>
              <a:gd name="connsiteX43443" fmla="*/ 3637060 w 4610101"/>
              <a:gd name="connsiteY43443" fmla="*/ 4333980 h 6557032"/>
              <a:gd name="connsiteX43444" fmla="*/ 3613371 w 4610101"/>
              <a:gd name="connsiteY43444" fmla="*/ 4312113 h 6557032"/>
              <a:gd name="connsiteX43445" fmla="*/ 3606082 w 4610101"/>
              <a:gd name="connsiteY43445" fmla="*/ 4343091 h 6557032"/>
              <a:gd name="connsiteX43446" fmla="*/ 3627949 w 4610101"/>
              <a:gd name="connsiteY43446" fmla="*/ 4343091 h 6557032"/>
              <a:gd name="connsiteX43447" fmla="*/ 3626924 w 4610101"/>
              <a:gd name="connsiteY43447" fmla="*/ 4364359 h 6557032"/>
              <a:gd name="connsiteX43448" fmla="*/ 3617162 w 4610101"/>
              <a:gd name="connsiteY43448" fmla="*/ 4371352 h 6557032"/>
              <a:gd name="connsiteX43449" fmla="*/ 3620660 w 4610101"/>
              <a:gd name="connsiteY43449" fmla="*/ 4370423 h 6557032"/>
              <a:gd name="connsiteX43450" fmla="*/ 3627949 w 4610101"/>
              <a:gd name="connsiteY43450" fmla="*/ 4395934 h 6557032"/>
              <a:gd name="connsiteX43451" fmla="*/ 3618838 w 4610101"/>
              <a:gd name="connsiteY43451" fmla="*/ 4410511 h 6557032"/>
              <a:gd name="connsiteX43452" fmla="*/ 3626127 w 4610101"/>
              <a:gd name="connsiteY43452" fmla="*/ 4425088 h 6557032"/>
              <a:gd name="connsiteX43453" fmla="*/ 3613372 w 4610101"/>
              <a:gd name="connsiteY43453" fmla="*/ 4421444 h 6557032"/>
              <a:gd name="connsiteX43454" fmla="*/ 3613021 w 4610101"/>
              <a:gd name="connsiteY43454" fmla="*/ 4421023 h 6557032"/>
              <a:gd name="connsiteX43455" fmla="*/ 3612688 w 4610101"/>
              <a:gd name="connsiteY43455" fmla="*/ 4422355 h 6557032"/>
              <a:gd name="connsiteX43456" fmla="*/ 3611065 w 4610101"/>
              <a:gd name="connsiteY43456" fmla="*/ 4420646 h 6557032"/>
              <a:gd name="connsiteX43457" fmla="*/ 3612263 w 4610101"/>
              <a:gd name="connsiteY43457" fmla="*/ 4420114 h 6557032"/>
              <a:gd name="connsiteX43458" fmla="*/ 3604261 w 4610101"/>
              <a:gd name="connsiteY43458" fmla="*/ 4410511 h 6557032"/>
              <a:gd name="connsiteX43459" fmla="*/ 3604261 w 4610101"/>
              <a:gd name="connsiteY43459" fmla="*/ 4432377 h 6557032"/>
              <a:gd name="connsiteX43460" fmla="*/ 3589683 w 4610101"/>
              <a:gd name="connsiteY43460" fmla="*/ 4401400 h 6557032"/>
              <a:gd name="connsiteX43461" fmla="*/ 3613372 w 4610101"/>
              <a:gd name="connsiteY43461" fmla="*/ 4401400 h 6557032"/>
              <a:gd name="connsiteX43462" fmla="*/ 3606083 w 4610101"/>
              <a:gd name="connsiteY43462" fmla="*/ 4374295 h 6557032"/>
              <a:gd name="connsiteX43463" fmla="*/ 3612503 w 4610101"/>
              <a:gd name="connsiteY43463" fmla="*/ 4372590 h 6557032"/>
              <a:gd name="connsiteX43464" fmla="*/ 3608503 w 4610101"/>
              <a:gd name="connsiteY43464" fmla="*/ 4365783 h 6557032"/>
              <a:gd name="connsiteX43465" fmla="*/ 3613371 w 4610101"/>
              <a:gd name="connsiteY43465" fmla="*/ 4352201 h 6557032"/>
              <a:gd name="connsiteX43466" fmla="*/ 3591505 w 4610101"/>
              <a:gd name="connsiteY43466" fmla="*/ 4352201 h 6557032"/>
              <a:gd name="connsiteX43467" fmla="*/ 3584216 w 4610101"/>
              <a:gd name="connsiteY43467" fmla="*/ 4330335 h 6557032"/>
              <a:gd name="connsiteX43468" fmla="*/ 3582394 w 4610101"/>
              <a:gd name="connsiteY43468" fmla="*/ 4354023 h 6557032"/>
              <a:gd name="connsiteX43469" fmla="*/ 3560528 w 4610101"/>
              <a:gd name="connsiteY43469" fmla="*/ 4337624 h 6557032"/>
              <a:gd name="connsiteX43470" fmla="*/ 3522263 w 4610101"/>
              <a:gd name="connsiteY43470" fmla="*/ 4368601 h 6557032"/>
              <a:gd name="connsiteX43471" fmla="*/ 3522263 w 4610101"/>
              <a:gd name="connsiteY43471" fmla="*/ 4354023 h 6557032"/>
              <a:gd name="connsiteX43472" fmla="*/ 3485819 w 4610101"/>
              <a:gd name="connsiteY43472" fmla="*/ 4368601 h 6557032"/>
              <a:gd name="connsiteX43473" fmla="*/ 3493108 w 4610101"/>
              <a:gd name="connsiteY43473" fmla="*/ 4390467 h 6557032"/>
              <a:gd name="connsiteX43474" fmla="*/ 3538662 w 4610101"/>
              <a:gd name="connsiteY43474" fmla="*/ 4397756 h 6557032"/>
              <a:gd name="connsiteX43475" fmla="*/ 3516796 w 4610101"/>
              <a:gd name="connsiteY43475" fmla="*/ 4397756 h 6557032"/>
              <a:gd name="connsiteX43476" fmla="*/ 3519985 w 4610101"/>
              <a:gd name="connsiteY43476" fmla="*/ 4412334 h 6557032"/>
              <a:gd name="connsiteX43477" fmla="*/ 3518429 w 4610101"/>
              <a:gd name="connsiteY43477" fmla="*/ 4413275 h 6557032"/>
              <a:gd name="connsiteX43478" fmla="*/ 3513152 w 4610101"/>
              <a:gd name="connsiteY43478" fmla="*/ 4401400 h 6557032"/>
              <a:gd name="connsiteX43479" fmla="*/ 3498574 w 4610101"/>
              <a:gd name="connsiteY43479" fmla="*/ 4406867 h 6557032"/>
              <a:gd name="connsiteX43480" fmla="*/ 3498574 w 4610101"/>
              <a:gd name="connsiteY43480" fmla="*/ 4392289 h 6557032"/>
              <a:gd name="connsiteX43481" fmla="*/ 3476708 w 4610101"/>
              <a:gd name="connsiteY43481" fmla="*/ 4392289 h 6557032"/>
              <a:gd name="connsiteX43482" fmla="*/ 3476708 w 4610101"/>
              <a:gd name="connsiteY43482" fmla="*/ 4377712 h 6557032"/>
              <a:gd name="connsiteX43483" fmla="*/ 3462131 w 4610101"/>
              <a:gd name="connsiteY43483" fmla="*/ 4386823 h 6557032"/>
              <a:gd name="connsiteX43484" fmla="*/ 3447553 w 4610101"/>
              <a:gd name="connsiteY43484" fmla="*/ 4370423 h 6557032"/>
              <a:gd name="connsiteX43485" fmla="*/ 3469419 w 4610101"/>
              <a:gd name="connsiteY43485" fmla="*/ 4394111 h 6557032"/>
              <a:gd name="connsiteX43486" fmla="*/ 3473064 w 4610101"/>
              <a:gd name="connsiteY43486" fmla="*/ 4417800 h 6557032"/>
              <a:gd name="connsiteX43487" fmla="*/ 3483997 w 4610101"/>
              <a:gd name="connsiteY43487" fmla="*/ 4439666 h 6557032"/>
              <a:gd name="connsiteX43488" fmla="*/ 3498574 w 4610101"/>
              <a:gd name="connsiteY43488" fmla="*/ 4408689 h 6557032"/>
              <a:gd name="connsiteX43489" fmla="*/ 3518481 w 4610101"/>
              <a:gd name="connsiteY43489" fmla="*/ 4416984 h 6557032"/>
              <a:gd name="connsiteX43490" fmla="*/ 3520440 w 4610101"/>
              <a:gd name="connsiteY43490" fmla="*/ 4426910 h 6557032"/>
              <a:gd name="connsiteX43491" fmla="*/ 3514974 w 4610101"/>
              <a:gd name="connsiteY43491" fmla="*/ 4445132 h 6557032"/>
              <a:gd name="connsiteX43492" fmla="*/ 3493108 w 4610101"/>
              <a:gd name="connsiteY43492" fmla="*/ 4436021 h 6557032"/>
              <a:gd name="connsiteX43493" fmla="*/ 3489691 w 4610101"/>
              <a:gd name="connsiteY43493" fmla="*/ 4451282 h 6557032"/>
              <a:gd name="connsiteX43494" fmla="*/ 3491017 w 4610101"/>
              <a:gd name="connsiteY43494" fmla="*/ 4452421 h 6557032"/>
              <a:gd name="connsiteX43495" fmla="*/ 3469419 w 4610101"/>
              <a:gd name="connsiteY43495" fmla="*/ 4452421 h 6557032"/>
              <a:gd name="connsiteX43496" fmla="*/ 3473064 w 4610101"/>
              <a:gd name="connsiteY43496" fmla="*/ 4472465 h 6557032"/>
              <a:gd name="connsiteX43497" fmla="*/ 3483997 w 4610101"/>
              <a:gd name="connsiteY43497" fmla="*/ 4476109 h 6557032"/>
              <a:gd name="connsiteX43498" fmla="*/ 3491230 w 4610101"/>
              <a:gd name="connsiteY43498" fmla="*/ 4452605 h 6557032"/>
              <a:gd name="connsiteX43499" fmla="*/ 3491314 w 4610101"/>
              <a:gd name="connsiteY43499" fmla="*/ 4452677 h 6557032"/>
              <a:gd name="connsiteX43500" fmla="*/ 3487641 w 4610101"/>
              <a:gd name="connsiteY43500" fmla="*/ 4465176 h 6557032"/>
              <a:gd name="connsiteX43501" fmla="*/ 3500397 w 4610101"/>
              <a:gd name="connsiteY43501" fmla="*/ 4479754 h 6557032"/>
              <a:gd name="connsiteX43502" fmla="*/ 3485819 w 4610101"/>
              <a:gd name="connsiteY43502" fmla="*/ 4496153 h 6557032"/>
              <a:gd name="connsiteX43503" fmla="*/ 3476465 w 4610101"/>
              <a:gd name="connsiteY43503" fmla="*/ 4490808 h 6557032"/>
              <a:gd name="connsiteX43504" fmla="*/ 3447554 w 4610101"/>
              <a:gd name="connsiteY43504" fmla="*/ 4505264 h 6557032"/>
              <a:gd name="connsiteX43505" fmla="*/ 3438443 w 4610101"/>
              <a:gd name="connsiteY43505" fmla="*/ 4490687 h 6557032"/>
              <a:gd name="connsiteX43506" fmla="*/ 3423865 w 4610101"/>
              <a:gd name="connsiteY43506" fmla="*/ 4476109 h 6557032"/>
              <a:gd name="connsiteX43507" fmla="*/ 3434596 w 4610101"/>
              <a:gd name="connsiteY43507" fmla="*/ 4476109 h 6557032"/>
              <a:gd name="connsiteX43508" fmla="*/ 3440265 w 4610101"/>
              <a:gd name="connsiteY43508" fmla="*/ 4463354 h 6557032"/>
              <a:gd name="connsiteX43509" fmla="*/ 3409288 w 4610101"/>
              <a:gd name="connsiteY43509" fmla="*/ 4448776 h 6557032"/>
              <a:gd name="connsiteX43510" fmla="*/ 3431154 w 4610101"/>
              <a:gd name="connsiteY43510" fmla="*/ 4432377 h 6557032"/>
              <a:gd name="connsiteX43511" fmla="*/ 3431154 w 4610101"/>
              <a:gd name="connsiteY43511" fmla="*/ 4448776 h 6557032"/>
              <a:gd name="connsiteX43512" fmla="*/ 3445731 w 4610101"/>
              <a:gd name="connsiteY43512" fmla="*/ 4448776 h 6557032"/>
              <a:gd name="connsiteX43513" fmla="*/ 3436621 w 4610101"/>
              <a:gd name="connsiteY43513" fmla="*/ 4426910 h 6557032"/>
              <a:gd name="connsiteX43514" fmla="*/ 3414754 w 4610101"/>
              <a:gd name="connsiteY43514" fmla="*/ 4419622 h 6557032"/>
              <a:gd name="connsiteX43515" fmla="*/ 3407466 w 4610101"/>
              <a:gd name="connsiteY43515" fmla="*/ 4448776 h 6557032"/>
              <a:gd name="connsiteX43516" fmla="*/ 3391066 w 4610101"/>
              <a:gd name="connsiteY43516" fmla="*/ 4446954 h 6557032"/>
              <a:gd name="connsiteX43517" fmla="*/ 3378311 w 4610101"/>
              <a:gd name="connsiteY43517" fmla="*/ 4461532 h 6557032"/>
              <a:gd name="connsiteX43518" fmla="*/ 3347334 w 4610101"/>
              <a:gd name="connsiteY43518" fmla="*/ 4456065 h 6557032"/>
              <a:gd name="connsiteX43519" fmla="*/ 3347334 w 4610101"/>
              <a:gd name="connsiteY43519" fmla="*/ 4434199 h 6557032"/>
              <a:gd name="connsiteX43520" fmla="*/ 3334579 w 4610101"/>
              <a:gd name="connsiteY43520" fmla="*/ 4443310 h 6557032"/>
              <a:gd name="connsiteX43521" fmla="*/ 3332756 w 4610101"/>
              <a:gd name="connsiteY43521" fmla="*/ 4457887 h 6557032"/>
              <a:gd name="connsiteX43522" fmla="*/ 3327290 w 4610101"/>
              <a:gd name="connsiteY43522" fmla="*/ 4463354 h 6557032"/>
              <a:gd name="connsiteX43523" fmla="*/ 3320001 w 4610101"/>
              <a:gd name="connsiteY43523" fmla="*/ 4459710 h 6557032"/>
              <a:gd name="connsiteX43524" fmla="*/ 3303602 w 4610101"/>
              <a:gd name="connsiteY43524" fmla="*/ 4472465 h 6557032"/>
              <a:gd name="connsiteX43525" fmla="*/ 3296313 w 4610101"/>
              <a:gd name="connsiteY43525" fmla="*/ 4457887 h 6557032"/>
              <a:gd name="connsiteX43526" fmla="*/ 3320001 w 4610101"/>
              <a:gd name="connsiteY43526" fmla="*/ 4436021 h 6557032"/>
              <a:gd name="connsiteX43527" fmla="*/ 3296313 w 4610101"/>
              <a:gd name="connsiteY43527" fmla="*/ 4426910 h 6557032"/>
              <a:gd name="connsiteX43528" fmla="*/ 3310890 w 4610101"/>
              <a:gd name="connsiteY43528" fmla="*/ 4426910 h 6557032"/>
              <a:gd name="connsiteX43529" fmla="*/ 3318179 w 4610101"/>
              <a:gd name="connsiteY43529" fmla="*/ 4403222 h 6557032"/>
              <a:gd name="connsiteX43530" fmla="*/ 3309068 w 4610101"/>
              <a:gd name="connsiteY43530" fmla="*/ 4397756 h 6557032"/>
              <a:gd name="connsiteX43531" fmla="*/ 3303602 w 4610101"/>
              <a:gd name="connsiteY43531" fmla="*/ 4419622 h 6557032"/>
              <a:gd name="connsiteX43532" fmla="*/ 3296313 w 4610101"/>
              <a:gd name="connsiteY43532" fmla="*/ 4426910 h 6557032"/>
              <a:gd name="connsiteX43533" fmla="*/ 3274447 w 4610101"/>
              <a:gd name="connsiteY43533" fmla="*/ 4434199 h 6557032"/>
              <a:gd name="connsiteX43534" fmla="*/ 3259869 w 4610101"/>
              <a:gd name="connsiteY43534" fmla="*/ 4426910 h 6557032"/>
              <a:gd name="connsiteX43535" fmla="*/ 3245292 w 4610101"/>
              <a:gd name="connsiteY43535" fmla="*/ 4426910 h 6557032"/>
              <a:gd name="connsiteX43536" fmla="*/ 3230715 w 4610101"/>
              <a:gd name="connsiteY43536" fmla="*/ 4434199 h 6557032"/>
              <a:gd name="connsiteX43537" fmla="*/ 3216137 w 4610101"/>
              <a:gd name="connsiteY43537" fmla="*/ 4426910 h 6557032"/>
              <a:gd name="connsiteX43538" fmla="*/ 3208849 w 4610101"/>
              <a:gd name="connsiteY43538" fmla="*/ 4434199 h 6557032"/>
              <a:gd name="connsiteX43539" fmla="*/ 3199738 w 4610101"/>
              <a:gd name="connsiteY43539" fmla="*/ 4419622 h 6557032"/>
              <a:gd name="connsiteX43540" fmla="*/ 3183338 w 4610101"/>
              <a:gd name="connsiteY43540" fmla="*/ 4432377 h 6557032"/>
              <a:gd name="connsiteX43541" fmla="*/ 3194271 w 4610101"/>
              <a:gd name="connsiteY43541" fmla="*/ 4439666 h 6557032"/>
              <a:gd name="connsiteX43542" fmla="*/ 3208849 w 4610101"/>
              <a:gd name="connsiteY43542" fmla="*/ 4434199 h 6557032"/>
              <a:gd name="connsiteX43543" fmla="*/ 3230715 w 4610101"/>
              <a:gd name="connsiteY43543" fmla="*/ 4456065 h 6557032"/>
              <a:gd name="connsiteX43544" fmla="*/ 3252581 w 4610101"/>
              <a:gd name="connsiteY43544" fmla="*/ 4465176 h 6557032"/>
              <a:gd name="connsiteX43545" fmla="*/ 3236181 w 4610101"/>
              <a:gd name="connsiteY43545" fmla="*/ 4443310 h 6557032"/>
              <a:gd name="connsiteX43546" fmla="*/ 3245292 w 4610101"/>
              <a:gd name="connsiteY43546" fmla="*/ 4436021 h 6557032"/>
              <a:gd name="connsiteX43547" fmla="*/ 3259869 w 4610101"/>
              <a:gd name="connsiteY43547" fmla="*/ 4448776 h 6557032"/>
              <a:gd name="connsiteX43548" fmla="*/ 3289024 w 4610101"/>
              <a:gd name="connsiteY43548" fmla="*/ 4443310 h 6557032"/>
              <a:gd name="connsiteX43549" fmla="*/ 3296313 w 4610101"/>
              <a:gd name="connsiteY43549" fmla="*/ 4457887 h 6557032"/>
              <a:gd name="connsiteX43550" fmla="*/ 3281736 w 4610101"/>
              <a:gd name="connsiteY43550" fmla="*/ 4457887 h 6557032"/>
              <a:gd name="connsiteX43551" fmla="*/ 3259869 w 4610101"/>
              <a:gd name="connsiteY43551" fmla="*/ 4472465 h 6557032"/>
              <a:gd name="connsiteX43552" fmla="*/ 3259869 w 4610101"/>
              <a:gd name="connsiteY43552" fmla="*/ 4496153 h 6557032"/>
              <a:gd name="connsiteX43553" fmla="*/ 3239826 w 4610101"/>
              <a:gd name="connsiteY43553" fmla="*/ 4481576 h 6557032"/>
              <a:gd name="connsiteX43554" fmla="*/ 3228893 w 4610101"/>
              <a:gd name="connsiteY43554" fmla="*/ 4488865 h 6557032"/>
              <a:gd name="connsiteX43555" fmla="*/ 3245292 w 4610101"/>
              <a:gd name="connsiteY43555" fmla="*/ 4503442 h 6557032"/>
              <a:gd name="connsiteX43556" fmla="*/ 3238003 w 4610101"/>
              <a:gd name="connsiteY43556" fmla="*/ 4516197 h 6557032"/>
              <a:gd name="connsiteX43557" fmla="*/ 3250759 w 4610101"/>
              <a:gd name="connsiteY43557" fmla="*/ 4530774 h 6557032"/>
              <a:gd name="connsiteX43558" fmla="*/ 3243470 w 4610101"/>
              <a:gd name="connsiteY43558" fmla="*/ 4541707 h 6557032"/>
              <a:gd name="connsiteX43559" fmla="*/ 3228893 w 4610101"/>
              <a:gd name="connsiteY43559" fmla="*/ 4525308 h 6557032"/>
              <a:gd name="connsiteX43560" fmla="*/ 3214315 w 4610101"/>
              <a:gd name="connsiteY43560" fmla="*/ 4532597 h 6557032"/>
              <a:gd name="connsiteX43561" fmla="*/ 3199738 w 4610101"/>
              <a:gd name="connsiteY43561" fmla="*/ 4494331 h 6557032"/>
              <a:gd name="connsiteX43562" fmla="*/ 3214315 w 4610101"/>
              <a:gd name="connsiteY43562" fmla="*/ 4501620 h 6557032"/>
              <a:gd name="connsiteX43563" fmla="*/ 3192449 w 4610101"/>
              <a:gd name="connsiteY43563" fmla="*/ 4463354 h 6557032"/>
              <a:gd name="connsiteX43564" fmla="*/ 3168761 w 4610101"/>
              <a:gd name="connsiteY43564" fmla="*/ 4472465 h 6557032"/>
              <a:gd name="connsiteX43565" fmla="*/ 3190627 w 4610101"/>
              <a:gd name="connsiteY43565" fmla="*/ 4499797 h 6557032"/>
              <a:gd name="connsiteX43566" fmla="*/ 3185160 w 4610101"/>
              <a:gd name="connsiteY43566" fmla="*/ 4508908 h 6557032"/>
              <a:gd name="connsiteX43567" fmla="*/ 3163294 w 4610101"/>
              <a:gd name="connsiteY43567" fmla="*/ 4477931 h 6557032"/>
              <a:gd name="connsiteX43568" fmla="*/ 3163294 w 4610101"/>
              <a:gd name="connsiteY43568" fmla="*/ 4461532 h 6557032"/>
              <a:gd name="connsiteX43569" fmla="*/ 3170583 w 4610101"/>
              <a:gd name="connsiteY43569" fmla="*/ 4446954 h 6557032"/>
              <a:gd name="connsiteX43570" fmla="*/ 3170583 w 4610101"/>
              <a:gd name="connsiteY43570" fmla="*/ 4415978 h 6557032"/>
              <a:gd name="connsiteX43571" fmla="*/ 3163294 w 4610101"/>
              <a:gd name="connsiteY43571" fmla="*/ 4437844 h 6557032"/>
              <a:gd name="connsiteX43572" fmla="*/ 3148717 w 4610101"/>
              <a:gd name="connsiteY43572" fmla="*/ 4445132 h 6557032"/>
              <a:gd name="connsiteX43573" fmla="*/ 3146895 w 4610101"/>
              <a:gd name="connsiteY43573" fmla="*/ 4468820 h 6557032"/>
              <a:gd name="connsiteX43574" fmla="*/ 3125029 w 4610101"/>
              <a:gd name="connsiteY43574" fmla="*/ 4445132 h 6557032"/>
              <a:gd name="connsiteX43575" fmla="*/ 3139606 w 4610101"/>
              <a:gd name="connsiteY43575" fmla="*/ 4445132 h 6557032"/>
              <a:gd name="connsiteX43576" fmla="*/ 3132317 w 4610101"/>
              <a:gd name="connsiteY43576" fmla="*/ 4423266 h 6557032"/>
              <a:gd name="connsiteX43577" fmla="*/ 3117740 w 4610101"/>
              <a:gd name="connsiteY43577" fmla="*/ 4432377 h 6557032"/>
              <a:gd name="connsiteX43578" fmla="*/ 3125029 w 4610101"/>
              <a:gd name="connsiteY43578" fmla="*/ 4446954 h 6557032"/>
              <a:gd name="connsiteX43579" fmla="*/ 3110451 w 4610101"/>
              <a:gd name="connsiteY43579" fmla="*/ 4454243 h 6557032"/>
              <a:gd name="connsiteX43580" fmla="*/ 3112274 w 4610101"/>
              <a:gd name="connsiteY43580" fmla="*/ 4476109 h 6557032"/>
              <a:gd name="connsiteX43581" fmla="*/ 3125029 w 4610101"/>
              <a:gd name="connsiteY43581" fmla="*/ 4492509 h 6557032"/>
              <a:gd name="connsiteX43582" fmla="*/ 3086763 w 4610101"/>
              <a:gd name="connsiteY43582" fmla="*/ 4492509 h 6557032"/>
              <a:gd name="connsiteX43583" fmla="*/ 3103163 w 4610101"/>
              <a:gd name="connsiteY43583" fmla="*/ 4470643 h 6557032"/>
              <a:gd name="connsiteX43584" fmla="*/ 3079474 w 4610101"/>
              <a:gd name="connsiteY43584" fmla="*/ 4468820 h 6557032"/>
              <a:gd name="connsiteX43585" fmla="*/ 3095874 w 4610101"/>
              <a:gd name="connsiteY43585" fmla="*/ 4446954 h 6557032"/>
              <a:gd name="connsiteX43586" fmla="*/ 3074008 w 4610101"/>
              <a:gd name="connsiteY43586" fmla="*/ 4439666 h 6557032"/>
              <a:gd name="connsiteX43587" fmla="*/ 3066719 w 4610101"/>
              <a:gd name="connsiteY43587" fmla="*/ 4439666 h 6557032"/>
              <a:gd name="connsiteX43588" fmla="*/ 3052142 w 4610101"/>
              <a:gd name="connsiteY43588" fmla="*/ 4446954 h 6557032"/>
              <a:gd name="connsiteX43589" fmla="*/ 3030276 w 4610101"/>
              <a:gd name="connsiteY43589" fmla="*/ 4439666 h 6557032"/>
              <a:gd name="connsiteX43590" fmla="*/ 3030276 w 4610101"/>
              <a:gd name="connsiteY43590" fmla="*/ 4454243 h 6557032"/>
              <a:gd name="connsiteX43591" fmla="*/ 3015698 w 4610101"/>
              <a:gd name="connsiteY43591" fmla="*/ 4454243 h 6557032"/>
              <a:gd name="connsiteX43592" fmla="*/ 3032098 w 4610101"/>
              <a:gd name="connsiteY43592" fmla="*/ 4430555 h 6557032"/>
              <a:gd name="connsiteX43593" fmla="*/ 3024809 w 4610101"/>
              <a:gd name="connsiteY43593" fmla="*/ 4415978 h 6557032"/>
              <a:gd name="connsiteX43594" fmla="*/ 3046675 w 4610101"/>
              <a:gd name="connsiteY43594" fmla="*/ 4415978 h 6557032"/>
              <a:gd name="connsiteX43595" fmla="*/ 3072186 w 4610101"/>
              <a:gd name="connsiteY43595" fmla="*/ 4423266 h 6557032"/>
              <a:gd name="connsiteX43596" fmla="*/ 3068541 w 4610101"/>
              <a:gd name="connsiteY43596" fmla="*/ 4355846 h 6557032"/>
              <a:gd name="connsiteX43597" fmla="*/ 3061253 w 4610101"/>
              <a:gd name="connsiteY43597" fmla="*/ 4377712 h 6557032"/>
              <a:gd name="connsiteX43598" fmla="*/ 3044853 w 4610101"/>
              <a:gd name="connsiteY43598" fmla="*/ 4377712 h 6557032"/>
              <a:gd name="connsiteX43599" fmla="*/ 3053964 w 4610101"/>
              <a:gd name="connsiteY43599" fmla="*/ 4403222 h 6557032"/>
              <a:gd name="connsiteX43600" fmla="*/ 3015698 w 4610101"/>
              <a:gd name="connsiteY43600" fmla="*/ 4399578 h 6557032"/>
              <a:gd name="connsiteX43601" fmla="*/ 3015698 w 4610101"/>
              <a:gd name="connsiteY43601" fmla="*/ 4421444 h 6557032"/>
              <a:gd name="connsiteX43602" fmla="*/ 3008410 w 4610101"/>
              <a:gd name="connsiteY43602" fmla="*/ 4406867 h 6557032"/>
              <a:gd name="connsiteX43603" fmla="*/ 2992010 w 4610101"/>
              <a:gd name="connsiteY43603" fmla="*/ 4406867 h 6557032"/>
              <a:gd name="connsiteX43604" fmla="*/ 2999299 w 4610101"/>
              <a:gd name="connsiteY43604" fmla="*/ 4390467 h 6557032"/>
              <a:gd name="connsiteX43605" fmla="*/ 2968322 w 4610101"/>
              <a:gd name="connsiteY43605" fmla="*/ 4399578 h 6557032"/>
              <a:gd name="connsiteX43606" fmla="*/ 2986543 w 4610101"/>
              <a:gd name="connsiteY43606" fmla="*/ 4370423 h 6557032"/>
              <a:gd name="connsiteX43607" fmla="*/ 2979255 w 4610101"/>
              <a:gd name="connsiteY43607" fmla="*/ 4355846 h 6557032"/>
              <a:gd name="connsiteX43608" fmla="*/ 3002943 w 4610101"/>
              <a:gd name="connsiteY43608" fmla="*/ 4354023 h 6557032"/>
              <a:gd name="connsiteX43609" fmla="*/ 2988610 w 4610101"/>
              <a:gd name="connsiteY43609" fmla="*/ 4342875 h 6557032"/>
              <a:gd name="connsiteX43610" fmla="*/ 2970144 w 4610101"/>
              <a:gd name="connsiteY43610" fmla="*/ 4348557 h 6557032"/>
              <a:gd name="connsiteX43611" fmla="*/ 2979255 w 4610101"/>
              <a:gd name="connsiteY43611" fmla="*/ 4332157 h 6557032"/>
              <a:gd name="connsiteX43612" fmla="*/ 2986543 w 4610101"/>
              <a:gd name="connsiteY43612" fmla="*/ 4336712 h 6557032"/>
              <a:gd name="connsiteX43613" fmla="*/ 2986543 w 4610101"/>
              <a:gd name="connsiteY43613" fmla="*/ 4317580 h 6557032"/>
              <a:gd name="connsiteX43614" fmla="*/ 2971966 w 4610101"/>
              <a:gd name="connsiteY43614" fmla="*/ 4324869 h 6557032"/>
              <a:gd name="connsiteX43615" fmla="*/ 2962855 w 4610101"/>
              <a:gd name="connsiteY43615" fmla="*/ 4310291 h 6557032"/>
              <a:gd name="connsiteX43616" fmla="*/ 2948278 w 4610101"/>
              <a:gd name="connsiteY43616" fmla="*/ 4317580 h 6557032"/>
              <a:gd name="connsiteX43617" fmla="*/ 2948278 w 4610101"/>
              <a:gd name="connsiteY43617" fmla="*/ 4295714 h 6557032"/>
              <a:gd name="connsiteX43618" fmla="*/ 2940989 w 4610101"/>
              <a:gd name="connsiteY43618" fmla="*/ 4317580 h 6557032"/>
              <a:gd name="connsiteX43619" fmla="*/ 2926412 w 4610101"/>
              <a:gd name="connsiteY43619" fmla="*/ 4317580 h 6557032"/>
              <a:gd name="connsiteX43620" fmla="*/ 2924590 w 4610101"/>
              <a:gd name="connsiteY43620" fmla="*/ 4333980 h 6557032"/>
              <a:gd name="connsiteX43621" fmla="*/ 2902724 w 4610101"/>
              <a:gd name="connsiteY43621" fmla="*/ 4310291 h 6557032"/>
              <a:gd name="connsiteX43622" fmla="*/ 2857169 w 4610101"/>
              <a:gd name="connsiteY43622" fmla="*/ 4341268 h 6557032"/>
              <a:gd name="connsiteX43623" fmla="*/ 2857169 w 4610101"/>
              <a:gd name="connsiteY43623" fmla="*/ 4350379 h 6557032"/>
              <a:gd name="connsiteX43624" fmla="*/ 2840769 w 4610101"/>
              <a:gd name="connsiteY43624" fmla="*/ 4343091 h 6557032"/>
              <a:gd name="connsiteX43625" fmla="*/ 2848058 w 4610101"/>
              <a:gd name="connsiteY43625" fmla="*/ 4328513 h 6557032"/>
              <a:gd name="connsiteX43626" fmla="*/ 2864458 w 4610101"/>
              <a:gd name="connsiteY43626" fmla="*/ 4315758 h 6557032"/>
              <a:gd name="connsiteX43627" fmla="*/ 2848058 w 4610101"/>
              <a:gd name="connsiteY43627" fmla="*/ 4313936 h 6557032"/>
              <a:gd name="connsiteX43628" fmla="*/ 2848058 w 4610101"/>
              <a:gd name="connsiteY43628" fmla="*/ 4328513 h 6557032"/>
              <a:gd name="connsiteX43629" fmla="*/ 2826192 w 4610101"/>
              <a:gd name="connsiteY43629" fmla="*/ 4328513 h 6557032"/>
              <a:gd name="connsiteX43630" fmla="*/ 2809793 w 4610101"/>
              <a:gd name="connsiteY43630" fmla="*/ 4304825 h 6557032"/>
              <a:gd name="connsiteX43631" fmla="*/ 2838947 w 4610101"/>
              <a:gd name="connsiteY43631" fmla="*/ 4310291 h 6557032"/>
              <a:gd name="connsiteX43632" fmla="*/ 2855347 w 4610101"/>
              <a:gd name="connsiteY43632" fmla="*/ 4306647 h 6557032"/>
              <a:gd name="connsiteX43633" fmla="*/ 2855347 w 4610101"/>
              <a:gd name="connsiteY43633" fmla="*/ 4298288 h 6557032"/>
              <a:gd name="connsiteX43634" fmla="*/ 2835304 w 4610101"/>
              <a:gd name="connsiteY43634" fmla="*/ 4303004 h 6557032"/>
              <a:gd name="connsiteX43635" fmla="*/ 2842592 w 4610101"/>
              <a:gd name="connsiteY43635" fmla="*/ 4288427 h 6557032"/>
              <a:gd name="connsiteX43636" fmla="*/ 2820726 w 4610101"/>
              <a:gd name="connsiteY43636" fmla="*/ 4288427 h 6557032"/>
              <a:gd name="connsiteX43637" fmla="*/ 2828698 w 4610101"/>
              <a:gd name="connsiteY43637" fmla="*/ 4272937 h 6557032"/>
              <a:gd name="connsiteX43638" fmla="*/ 2851703 w 4610101"/>
              <a:gd name="connsiteY43638" fmla="*/ 4273849 h 6557032"/>
              <a:gd name="connsiteX43639" fmla="*/ 2860947 w 4610101"/>
              <a:gd name="connsiteY43639" fmla="*/ 4287715 h 6557032"/>
              <a:gd name="connsiteX43640" fmla="*/ 2871747 w 4610101"/>
              <a:gd name="connsiteY43640" fmla="*/ 4279315 h 6557032"/>
              <a:gd name="connsiteX43641" fmla="*/ 2840769 w 4610101"/>
              <a:gd name="connsiteY43641" fmla="*/ 4270204 h 6557032"/>
              <a:gd name="connsiteX43642" fmla="*/ 2862636 w 4610101"/>
              <a:gd name="connsiteY43642" fmla="*/ 4239226 h 6557032"/>
              <a:gd name="connsiteX43643" fmla="*/ 2824370 w 4610101"/>
              <a:gd name="connsiteY43643" fmla="*/ 4239226 h 6557032"/>
              <a:gd name="connsiteX43644" fmla="*/ 2846236 w 4610101"/>
              <a:gd name="connsiteY43644" fmla="*/ 4193672 h 6557032"/>
              <a:gd name="connsiteX43645" fmla="*/ 2824370 w 4610101"/>
              <a:gd name="connsiteY43645" fmla="*/ 4171806 h 6557032"/>
              <a:gd name="connsiteX43646" fmla="*/ 2813437 w 4610101"/>
              <a:gd name="connsiteY43646" fmla="*/ 4200961 h 6557032"/>
              <a:gd name="connsiteX43647" fmla="*/ 2818903 w 4610101"/>
              <a:gd name="connsiteY43647" fmla="*/ 4217360 h 6557032"/>
              <a:gd name="connsiteX43648" fmla="*/ 2800682 w 4610101"/>
              <a:gd name="connsiteY43648" fmla="*/ 4241049 h 6557032"/>
              <a:gd name="connsiteX43649" fmla="*/ 2778816 w 4610101"/>
              <a:gd name="connsiteY43649" fmla="*/ 4217360 h 6557032"/>
              <a:gd name="connsiteX43650" fmla="*/ 2800682 w 4610101"/>
              <a:gd name="connsiteY43650" fmla="*/ 4217360 h 6557032"/>
              <a:gd name="connsiteX43651" fmla="*/ 2778816 w 4610101"/>
              <a:gd name="connsiteY43651" fmla="*/ 4210072 h 6557032"/>
              <a:gd name="connsiteX43652" fmla="*/ 2772154 w 4610101"/>
              <a:gd name="connsiteY43652" fmla="*/ 4184704 h 6557032"/>
              <a:gd name="connsiteX43653" fmla="*/ 2766464 w 4610101"/>
              <a:gd name="connsiteY43653" fmla="*/ 4176743 h 6557032"/>
              <a:gd name="connsiteX43654" fmla="*/ 2775171 w 4610101"/>
              <a:gd name="connsiteY43654" fmla="*/ 4204606 h 6557032"/>
              <a:gd name="connsiteX43655" fmla="*/ 2767882 w 4610101"/>
              <a:gd name="connsiteY43655" fmla="*/ 4226472 h 6557032"/>
              <a:gd name="connsiteX43656" fmla="*/ 2738728 w 4610101"/>
              <a:gd name="connsiteY43656" fmla="*/ 4219184 h 6557032"/>
              <a:gd name="connsiteX43657" fmla="*/ 2713217 w 4610101"/>
              <a:gd name="connsiteY43657" fmla="*/ 4191851 h 6557032"/>
              <a:gd name="connsiteX43658" fmla="*/ 2736906 w 4610101"/>
              <a:gd name="connsiteY43658" fmla="*/ 4190029 h 6557032"/>
              <a:gd name="connsiteX43659" fmla="*/ 2752850 w 4610101"/>
              <a:gd name="connsiteY43659" fmla="*/ 4186156 h 6557032"/>
              <a:gd name="connsiteX43660" fmla="*/ 2765731 w 4610101"/>
              <a:gd name="connsiteY43660" fmla="*/ 4175717 h 6557032"/>
              <a:gd name="connsiteX43661" fmla="*/ 2764238 w 4610101"/>
              <a:gd name="connsiteY43661" fmla="*/ 4173628 h 6557032"/>
              <a:gd name="connsiteX43662" fmla="*/ 2771527 w 4610101"/>
              <a:gd name="connsiteY43662" fmla="*/ 4164517 h 6557032"/>
              <a:gd name="connsiteX43663" fmla="*/ 2793393 w 4610101"/>
              <a:gd name="connsiteY43663" fmla="*/ 4180917 h 6557032"/>
              <a:gd name="connsiteX43664" fmla="*/ 2802504 w 4610101"/>
              <a:gd name="connsiteY43664" fmla="*/ 4166339 h 6557032"/>
              <a:gd name="connsiteX43665" fmla="*/ 2727795 w 4610101"/>
              <a:gd name="connsiteY43665" fmla="*/ 4151762 h 6557032"/>
              <a:gd name="connsiteX43666" fmla="*/ 2721645 w 4610101"/>
              <a:gd name="connsiteY43666" fmla="*/ 4134850 h 6557032"/>
              <a:gd name="connsiteX43667" fmla="*/ 2713630 w 4610101"/>
              <a:gd name="connsiteY43667" fmla="*/ 4130139 h 6557032"/>
              <a:gd name="connsiteX43668" fmla="*/ 2713290 w 4610101"/>
              <a:gd name="connsiteY43668" fmla="*/ 4129781 h 6557032"/>
              <a:gd name="connsiteX43669" fmla="*/ 2722328 w 4610101"/>
              <a:gd name="connsiteY43669" fmla="*/ 4115319 h 6557032"/>
              <a:gd name="connsiteX43670" fmla="*/ 2736906 w 4610101"/>
              <a:gd name="connsiteY43670" fmla="*/ 4122607 h 6557032"/>
              <a:gd name="connsiteX43671" fmla="*/ 2736906 w 4610101"/>
              <a:gd name="connsiteY43671" fmla="*/ 4142651 h 6557032"/>
              <a:gd name="connsiteX43672" fmla="*/ 2758772 w 4610101"/>
              <a:gd name="connsiteY43672" fmla="*/ 4142651 h 6557032"/>
              <a:gd name="connsiteX43673" fmla="*/ 2736906 w 4610101"/>
              <a:gd name="connsiteY43673" fmla="*/ 4120785 h 6557032"/>
              <a:gd name="connsiteX43674" fmla="*/ 2760594 w 4610101"/>
              <a:gd name="connsiteY43674" fmla="*/ 4091630 h 6557032"/>
              <a:gd name="connsiteX43675" fmla="*/ 2739962 w 4610101"/>
              <a:gd name="connsiteY43675" fmla="*/ 4083696 h 6557032"/>
              <a:gd name="connsiteX43676" fmla="*/ 2740550 w 4610101"/>
              <a:gd name="connsiteY43676" fmla="*/ 4082520 h 6557032"/>
              <a:gd name="connsiteX43677" fmla="*/ 2751483 w 4610101"/>
              <a:gd name="connsiteY43677" fmla="*/ 4082520 h 6557032"/>
              <a:gd name="connsiteX43678" fmla="*/ 2766060 w 4610101"/>
              <a:gd name="connsiteY43678" fmla="*/ 4075231 h 6557032"/>
              <a:gd name="connsiteX43679" fmla="*/ 2773349 w 4610101"/>
              <a:gd name="connsiteY43679" fmla="*/ 4082520 h 6557032"/>
              <a:gd name="connsiteX43680" fmla="*/ 2767882 w 4610101"/>
              <a:gd name="connsiteY43680" fmla="*/ 4091630 h 6557032"/>
              <a:gd name="connsiteX43681" fmla="*/ 2775171 w 4610101"/>
              <a:gd name="connsiteY43681" fmla="*/ 4104386 h 6557032"/>
              <a:gd name="connsiteX43682" fmla="*/ 2775171 w 4610101"/>
              <a:gd name="connsiteY43682" fmla="*/ 4135363 h 6557032"/>
              <a:gd name="connsiteX43683" fmla="*/ 2782460 w 4610101"/>
              <a:gd name="connsiteY43683" fmla="*/ 4113497 h 6557032"/>
              <a:gd name="connsiteX43684" fmla="*/ 2791571 w 4610101"/>
              <a:gd name="connsiteY43684" fmla="*/ 4091630 h 6557032"/>
              <a:gd name="connsiteX43685" fmla="*/ 2775171 w 4610101"/>
              <a:gd name="connsiteY43685" fmla="*/ 4084342 h 6557032"/>
              <a:gd name="connsiteX43686" fmla="*/ 2791571 w 4610101"/>
              <a:gd name="connsiteY43686" fmla="*/ 4062476 h 6557032"/>
              <a:gd name="connsiteX43687" fmla="*/ 2753305 w 4610101"/>
              <a:gd name="connsiteY43687" fmla="*/ 4053365 h 6557032"/>
              <a:gd name="connsiteX43688" fmla="*/ 2775171 w 4610101"/>
              <a:gd name="connsiteY43688" fmla="*/ 4053365 h 6557032"/>
              <a:gd name="connsiteX43689" fmla="*/ 2775171 w 4610101"/>
              <a:gd name="connsiteY43689" fmla="*/ 4031499 h 6557032"/>
              <a:gd name="connsiteX43690" fmla="*/ 2753305 w 4610101"/>
              <a:gd name="connsiteY43690" fmla="*/ 4031499 h 6557032"/>
              <a:gd name="connsiteX43691" fmla="*/ 2740550 w 4610101"/>
              <a:gd name="connsiteY43691" fmla="*/ 4015099 h 6557032"/>
              <a:gd name="connsiteX43692" fmla="*/ 2731439 w 4610101"/>
              <a:gd name="connsiteY43692" fmla="*/ 4002344 h 6557032"/>
              <a:gd name="connsiteX43693" fmla="*/ 2727795 w 4610101"/>
              <a:gd name="connsiteY43693" fmla="*/ 4018744 h 6557032"/>
              <a:gd name="connsiteX43694" fmla="*/ 2731439 w 4610101"/>
              <a:gd name="connsiteY43694" fmla="*/ 4040610 h 6557032"/>
              <a:gd name="connsiteX43695" fmla="*/ 2724150 w 4610101"/>
              <a:gd name="connsiteY43695" fmla="*/ 4055187 h 6557032"/>
              <a:gd name="connsiteX43696" fmla="*/ 2746016 w 4610101"/>
              <a:gd name="connsiteY43696" fmla="*/ 4071586 h 6557032"/>
              <a:gd name="connsiteX43697" fmla="*/ 2740550 w 4610101"/>
              <a:gd name="connsiteY43697" fmla="*/ 4082520 h 6557032"/>
              <a:gd name="connsiteX43698" fmla="*/ 2736906 w 4610101"/>
              <a:gd name="connsiteY43698" fmla="*/ 4082520 h 6557032"/>
              <a:gd name="connsiteX43699" fmla="*/ 2739962 w 4610101"/>
              <a:gd name="connsiteY43699" fmla="*/ 4083696 h 6557032"/>
              <a:gd name="connsiteX43700" fmla="*/ 2738728 w 4610101"/>
              <a:gd name="connsiteY43700" fmla="*/ 4086164 h 6557032"/>
              <a:gd name="connsiteX43701" fmla="*/ 2729617 w 4610101"/>
              <a:gd name="connsiteY43701" fmla="*/ 4080697 h 6557032"/>
              <a:gd name="connsiteX43702" fmla="*/ 2716862 w 4610101"/>
              <a:gd name="connsiteY43702" fmla="*/ 4087986 h 6557032"/>
              <a:gd name="connsiteX43703" fmla="*/ 2702284 w 4610101"/>
              <a:gd name="connsiteY43703" fmla="*/ 4071586 h 6557032"/>
              <a:gd name="connsiteX43704" fmla="*/ 2707751 w 4610101"/>
              <a:gd name="connsiteY43704" fmla="*/ 4104386 h 6557032"/>
              <a:gd name="connsiteX43705" fmla="*/ 2708206 w 4610101"/>
              <a:gd name="connsiteY43705" fmla="*/ 4124430 h 6557032"/>
              <a:gd name="connsiteX43706" fmla="*/ 2713290 w 4610101"/>
              <a:gd name="connsiteY43706" fmla="*/ 4129781 h 6557032"/>
              <a:gd name="connsiteX43707" fmla="*/ 2713217 w 4610101"/>
              <a:gd name="connsiteY43707" fmla="*/ 4129896 h 6557032"/>
              <a:gd name="connsiteX43708" fmla="*/ 2713630 w 4610101"/>
              <a:gd name="connsiteY43708" fmla="*/ 4130139 h 6557032"/>
              <a:gd name="connsiteX43709" fmla="*/ 2716862 w 4610101"/>
              <a:gd name="connsiteY43709" fmla="*/ 4133541 h 6557032"/>
              <a:gd name="connsiteX43710" fmla="*/ 2709573 w 4610101"/>
              <a:gd name="connsiteY43710" fmla="*/ 4140829 h 6557032"/>
              <a:gd name="connsiteX43711" fmla="*/ 2716862 w 4610101"/>
              <a:gd name="connsiteY43711" fmla="*/ 4155407 h 6557032"/>
              <a:gd name="connsiteX43712" fmla="*/ 2709573 w 4610101"/>
              <a:gd name="connsiteY43712" fmla="*/ 4162695 h 6557032"/>
              <a:gd name="connsiteX43713" fmla="*/ 2716862 w 4610101"/>
              <a:gd name="connsiteY43713" fmla="*/ 4184561 h 6557032"/>
              <a:gd name="connsiteX43714" fmla="*/ 2694996 w 4610101"/>
              <a:gd name="connsiteY43714" fmla="*/ 4184561 h 6557032"/>
              <a:gd name="connsiteX43715" fmla="*/ 2702284 w 4610101"/>
              <a:gd name="connsiteY43715" fmla="*/ 4153584 h 6557032"/>
              <a:gd name="connsiteX43716" fmla="*/ 2673130 w 4610101"/>
              <a:gd name="connsiteY43716" fmla="*/ 4162695 h 6557032"/>
              <a:gd name="connsiteX43717" fmla="*/ 2673130 w 4610101"/>
              <a:gd name="connsiteY43717" fmla="*/ 4148118 h 6557032"/>
              <a:gd name="connsiteX43718" fmla="*/ 2689529 w 4610101"/>
              <a:gd name="connsiteY43718" fmla="*/ 4146296 h 6557032"/>
              <a:gd name="connsiteX43719" fmla="*/ 2664019 w 4610101"/>
              <a:gd name="connsiteY43719" fmla="*/ 4124430 h 6557032"/>
              <a:gd name="connsiteX43720" fmla="*/ 2680418 w 4610101"/>
              <a:gd name="connsiteY43720" fmla="*/ 4100741 h 6557032"/>
              <a:gd name="connsiteX43721" fmla="*/ 2649441 w 4610101"/>
              <a:gd name="connsiteY43721" fmla="*/ 4093452 h 6557032"/>
              <a:gd name="connsiteX43722" fmla="*/ 2656730 w 4610101"/>
              <a:gd name="connsiteY43722" fmla="*/ 4080697 h 6557032"/>
              <a:gd name="connsiteX43723" fmla="*/ 2634864 w 4610101"/>
              <a:gd name="connsiteY43723" fmla="*/ 4055187 h 6557032"/>
              <a:gd name="connsiteX43724" fmla="*/ 2620287 w 4610101"/>
              <a:gd name="connsiteY43724" fmla="*/ 4062476 h 6557032"/>
              <a:gd name="connsiteX43725" fmla="*/ 2620287 w 4610101"/>
              <a:gd name="connsiteY43725" fmla="*/ 4040610 h 6557032"/>
              <a:gd name="connsiteX43726" fmla="*/ 2643975 w 4610101"/>
              <a:gd name="connsiteY43726" fmla="*/ 4040610 h 6557032"/>
              <a:gd name="connsiteX43727" fmla="*/ 2636686 w 4610101"/>
              <a:gd name="connsiteY43727" fmla="*/ 4026032 h 6557032"/>
              <a:gd name="connsiteX43728" fmla="*/ 2658552 w 4610101"/>
              <a:gd name="connsiteY43728" fmla="*/ 4024210 h 6557032"/>
              <a:gd name="connsiteX43729" fmla="*/ 2674952 w 4610101"/>
              <a:gd name="connsiteY43729" fmla="*/ 4009633 h 6557032"/>
              <a:gd name="connsiteX43730" fmla="*/ 2671307 w 4610101"/>
              <a:gd name="connsiteY43730" fmla="*/ 3995055 h 6557032"/>
              <a:gd name="connsiteX43731" fmla="*/ 2676774 w 4610101"/>
              <a:gd name="connsiteY43731" fmla="*/ 3969545 h 6557032"/>
              <a:gd name="connsiteX43732" fmla="*/ 2705929 w 4610101"/>
              <a:gd name="connsiteY43732" fmla="*/ 3993233 h 6557032"/>
              <a:gd name="connsiteX43733" fmla="*/ 2698640 w 4610101"/>
              <a:gd name="connsiteY43733" fmla="*/ 4007810 h 6557032"/>
              <a:gd name="connsiteX43734" fmla="*/ 2722328 w 4610101"/>
              <a:gd name="connsiteY43734" fmla="*/ 4007810 h 6557032"/>
              <a:gd name="connsiteX43735" fmla="*/ 2715040 w 4610101"/>
              <a:gd name="connsiteY43735" fmla="*/ 3993233 h 6557032"/>
              <a:gd name="connsiteX43736" fmla="*/ 2740550 w 4610101"/>
              <a:gd name="connsiteY43736" fmla="*/ 3993233 h 6557032"/>
              <a:gd name="connsiteX43737" fmla="*/ 2755127 w 4610101"/>
              <a:gd name="connsiteY43737" fmla="*/ 3962256 h 6557032"/>
              <a:gd name="connsiteX43738" fmla="*/ 2755127 w 4610101"/>
              <a:gd name="connsiteY43738" fmla="*/ 3947679 h 6557032"/>
              <a:gd name="connsiteX43739" fmla="*/ 2760594 w 4610101"/>
              <a:gd name="connsiteY43739" fmla="*/ 3942212 h 6557032"/>
              <a:gd name="connsiteX43740" fmla="*/ 2769705 w 4610101"/>
              <a:gd name="connsiteY43740" fmla="*/ 3947679 h 6557032"/>
              <a:gd name="connsiteX43741" fmla="*/ 2800682 w 4610101"/>
              <a:gd name="connsiteY43741" fmla="*/ 3933101 h 6557032"/>
              <a:gd name="connsiteX43742" fmla="*/ 2793393 w 4610101"/>
              <a:gd name="connsiteY43742" fmla="*/ 3918524 h 6557032"/>
              <a:gd name="connsiteX43743" fmla="*/ 2824370 w 4610101"/>
              <a:gd name="connsiteY43743" fmla="*/ 3887547 h 6557032"/>
              <a:gd name="connsiteX43744" fmla="*/ 2838947 w 4610101"/>
              <a:gd name="connsiteY43744" fmla="*/ 3887547 h 6557032"/>
              <a:gd name="connsiteX43745" fmla="*/ 2860813 w 4610101"/>
              <a:gd name="connsiteY43745" fmla="*/ 3896658 h 6557032"/>
              <a:gd name="connsiteX43746" fmla="*/ 2860813 w 4610101"/>
              <a:gd name="connsiteY43746" fmla="*/ 3865681 h 6557032"/>
              <a:gd name="connsiteX43747" fmla="*/ 2822548 w 4610101"/>
              <a:gd name="connsiteY43747" fmla="*/ 3887547 h 6557032"/>
              <a:gd name="connsiteX43748" fmla="*/ 2807971 w 4610101"/>
              <a:gd name="connsiteY43748" fmla="*/ 3880258 h 6557032"/>
              <a:gd name="connsiteX43749" fmla="*/ 2786104 w 4610101"/>
              <a:gd name="connsiteY43749" fmla="*/ 3905769 h 6557032"/>
              <a:gd name="connsiteX43750" fmla="*/ 2791571 w 4610101"/>
              <a:gd name="connsiteY43750" fmla="*/ 3918524 h 6557032"/>
              <a:gd name="connsiteX43751" fmla="*/ 2769705 w 4610101"/>
              <a:gd name="connsiteY43751" fmla="*/ 3925813 h 6557032"/>
              <a:gd name="connsiteX43752" fmla="*/ 2731439 w 4610101"/>
              <a:gd name="connsiteY43752" fmla="*/ 3911235 h 6557032"/>
              <a:gd name="connsiteX43753" fmla="*/ 2733261 w 4610101"/>
              <a:gd name="connsiteY43753" fmla="*/ 3889369 h 6557032"/>
              <a:gd name="connsiteX43754" fmla="*/ 2738728 w 4610101"/>
              <a:gd name="connsiteY43754" fmla="*/ 3880258 h 6557032"/>
              <a:gd name="connsiteX43755" fmla="*/ 2751483 w 4610101"/>
              <a:gd name="connsiteY43755" fmla="*/ 3874792 h 6557032"/>
              <a:gd name="connsiteX43756" fmla="*/ 2767882 w 4610101"/>
              <a:gd name="connsiteY43756" fmla="*/ 3887547 h 6557032"/>
              <a:gd name="connsiteX43757" fmla="*/ 2775171 w 4610101"/>
              <a:gd name="connsiteY43757" fmla="*/ 3902124 h 6557032"/>
              <a:gd name="connsiteX43758" fmla="*/ 2789749 w 4610101"/>
              <a:gd name="connsiteY43758" fmla="*/ 3871147 h 6557032"/>
              <a:gd name="connsiteX43759" fmla="*/ 2767882 w 4610101"/>
              <a:gd name="connsiteY43759" fmla="*/ 3871147 h 6557032"/>
              <a:gd name="connsiteX43760" fmla="*/ 2751483 w 4610101"/>
              <a:gd name="connsiteY43760" fmla="*/ 3849281 h 6557032"/>
              <a:gd name="connsiteX43761" fmla="*/ 2776993 w 4610101"/>
              <a:gd name="connsiteY43761" fmla="*/ 3840170 h 6557032"/>
              <a:gd name="connsiteX43762" fmla="*/ 2776993 w 4610101"/>
              <a:gd name="connsiteY43762" fmla="*/ 3854748 h 6557032"/>
              <a:gd name="connsiteX43763" fmla="*/ 2798860 w 4610101"/>
              <a:gd name="connsiteY43763" fmla="*/ 3852926 h 6557032"/>
              <a:gd name="connsiteX43764" fmla="*/ 2807971 w 4610101"/>
              <a:gd name="connsiteY43764" fmla="*/ 3847459 h 6557032"/>
              <a:gd name="connsiteX43765" fmla="*/ 2807971 w 4610101"/>
              <a:gd name="connsiteY43765" fmla="*/ 3869325 h 6557032"/>
              <a:gd name="connsiteX43766" fmla="*/ 2822548 w 4610101"/>
              <a:gd name="connsiteY43766" fmla="*/ 3854748 h 6557032"/>
              <a:gd name="connsiteX43767" fmla="*/ 2837125 w 4610101"/>
              <a:gd name="connsiteY43767" fmla="*/ 3854748 h 6557032"/>
              <a:gd name="connsiteX43768" fmla="*/ 2858991 w 4610101"/>
              <a:gd name="connsiteY43768" fmla="*/ 3823771 h 6557032"/>
              <a:gd name="connsiteX43769" fmla="*/ 2853525 w 4610101"/>
              <a:gd name="connsiteY43769" fmla="*/ 3854748 h 6557032"/>
              <a:gd name="connsiteX43770" fmla="*/ 2882680 w 4610101"/>
              <a:gd name="connsiteY43770" fmla="*/ 3847459 h 6557032"/>
              <a:gd name="connsiteX43771" fmla="*/ 2858991 w 4610101"/>
              <a:gd name="connsiteY43771" fmla="*/ 3823771 h 6557032"/>
              <a:gd name="connsiteX43772" fmla="*/ 2875391 w 4610101"/>
              <a:gd name="connsiteY43772" fmla="*/ 3801905 h 6557032"/>
              <a:gd name="connsiteX43773" fmla="*/ 2844414 w 4610101"/>
              <a:gd name="connsiteY43773" fmla="*/ 3794616 h 6557032"/>
              <a:gd name="connsiteX43774" fmla="*/ 2844414 w 4610101"/>
              <a:gd name="connsiteY43774" fmla="*/ 3816482 h 6557032"/>
              <a:gd name="connsiteX43775" fmla="*/ 2822548 w 4610101"/>
              <a:gd name="connsiteY43775" fmla="*/ 3832882 h 6557032"/>
              <a:gd name="connsiteX43776" fmla="*/ 2829837 w 4610101"/>
              <a:gd name="connsiteY43776" fmla="*/ 3845637 h 6557032"/>
              <a:gd name="connsiteX43777" fmla="*/ 2822548 w 4610101"/>
              <a:gd name="connsiteY43777" fmla="*/ 3852926 h 6557032"/>
              <a:gd name="connsiteX43778" fmla="*/ 2807971 w 4610101"/>
              <a:gd name="connsiteY43778" fmla="*/ 3845637 h 6557032"/>
              <a:gd name="connsiteX43779" fmla="*/ 2815259 w 4610101"/>
              <a:gd name="connsiteY43779" fmla="*/ 3831060 h 6557032"/>
              <a:gd name="connsiteX43780" fmla="*/ 2793393 w 4610101"/>
              <a:gd name="connsiteY43780" fmla="*/ 3831060 h 6557032"/>
              <a:gd name="connsiteX43781" fmla="*/ 2824370 w 4610101"/>
              <a:gd name="connsiteY43781" fmla="*/ 3814660 h 6557032"/>
              <a:gd name="connsiteX43782" fmla="*/ 2807971 w 4610101"/>
              <a:gd name="connsiteY43782" fmla="*/ 3792794 h 6557032"/>
              <a:gd name="connsiteX43783" fmla="*/ 2786104 w 4610101"/>
              <a:gd name="connsiteY43783" fmla="*/ 3794616 h 6557032"/>
              <a:gd name="connsiteX43784" fmla="*/ 2760594 w 4610101"/>
              <a:gd name="connsiteY43784" fmla="*/ 3816482 h 6557032"/>
              <a:gd name="connsiteX43785" fmla="*/ 2767882 w 4610101"/>
              <a:gd name="connsiteY43785" fmla="*/ 3832882 h 6557032"/>
              <a:gd name="connsiteX43786" fmla="*/ 2738728 w 4610101"/>
              <a:gd name="connsiteY43786" fmla="*/ 3823771 h 6557032"/>
              <a:gd name="connsiteX43787" fmla="*/ 2746016 w 4610101"/>
              <a:gd name="connsiteY43787" fmla="*/ 3809194 h 6557032"/>
              <a:gd name="connsiteX43788" fmla="*/ 2715040 w 4610101"/>
              <a:gd name="connsiteY43788" fmla="*/ 3794616 h 6557032"/>
              <a:gd name="connsiteX43789" fmla="*/ 2736906 w 4610101"/>
              <a:gd name="connsiteY43789" fmla="*/ 3794616 h 6557032"/>
              <a:gd name="connsiteX43790" fmla="*/ 2700462 w 4610101"/>
              <a:gd name="connsiteY43790" fmla="*/ 3789150 h 6557032"/>
              <a:gd name="connsiteX43791" fmla="*/ 2684063 w 4610101"/>
              <a:gd name="connsiteY43791" fmla="*/ 3803727 h 6557032"/>
              <a:gd name="connsiteX43792" fmla="*/ 2691351 w 4610101"/>
              <a:gd name="connsiteY43792" fmla="*/ 3818304 h 6557032"/>
              <a:gd name="connsiteX43793" fmla="*/ 2684063 w 4610101"/>
              <a:gd name="connsiteY43793" fmla="*/ 3840170 h 6557032"/>
              <a:gd name="connsiteX43794" fmla="*/ 2705929 w 4610101"/>
              <a:gd name="connsiteY43794" fmla="*/ 3840170 h 6557032"/>
              <a:gd name="connsiteX43795" fmla="*/ 2705929 w 4610101"/>
              <a:gd name="connsiteY43795" fmla="*/ 3880258 h 6557032"/>
              <a:gd name="connsiteX43796" fmla="*/ 2678596 w 4610101"/>
              <a:gd name="connsiteY43796" fmla="*/ 3872970 h 6557032"/>
              <a:gd name="connsiteX43797" fmla="*/ 2658552 w 4610101"/>
              <a:gd name="connsiteY43797" fmla="*/ 3885725 h 6557032"/>
              <a:gd name="connsiteX43798" fmla="*/ 2662197 w 4610101"/>
              <a:gd name="connsiteY43798" fmla="*/ 3847459 h 6557032"/>
              <a:gd name="connsiteX43799" fmla="*/ 2640330 w 4610101"/>
              <a:gd name="connsiteY43799" fmla="*/ 3847459 h 6557032"/>
              <a:gd name="connsiteX43800" fmla="*/ 2662197 w 4610101"/>
              <a:gd name="connsiteY43800" fmla="*/ 3823771 h 6557032"/>
              <a:gd name="connsiteX43801" fmla="*/ 2678596 w 4610101"/>
              <a:gd name="connsiteY43801" fmla="*/ 3811016 h 6557032"/>
              <a:gd name="connsiteX43802" fmla="*/ 2678596 w 4610101"/>
              <a:gd name="connsiteY43802" fmla="*/ 3787328 h 6557032"/>
              <a:gd name="connsiteX43803" fmla="*/ 2656730 w 4610101"/>
              <a:gd name="connsiteY43803" fmla="*/ 3792794 h 6557032"/>
              <a:gd name="connsiteX43804" fmla="*/ 2640330 w 4610101"/>
              <a:gd name="connsiteY43804" fmla="*/ 3789150 h 6557032"/>
              <a:gd name="connsiteX43805" fmla="*/ 2647619 w 4610101"/>
              <a:gd name="connsiteY43805" fmla="*/ 3743595 h 6557032"/>
              <a:gd name="connsiteX43806" fmla="*/ 2684063 w 4610101"/>
              <a:gd name="connsiteY43806" fmla="*/ 3758173 h 6557032"/>
              <a:gd name="connsiteX43807" fmla="*/ 2691351 w 4610101"/>
              <a:gd name="connsiteY43807" fmla="*/ 3743595 h 6557032"/>
              <a:gd name="connsiteX43808" fmla="*/ 2713217 w 4610101"/>
              <a:gd name="connsiteY43808" fmla="*/ 3734484 h 6557032"/>
              <a:gd name="connsiteX43809" fmla="*/ 2707751 w 4610101"/>
              <a:gd name="connsiteY43809" fmla="*/ 3767284 h 6557032"/>
              <a:gd name="connsiteX43810" fmla="*/ 2744194 w 4610101"/>
              <a:gd name="connsiteY43810" fmla="*/ 3772750 h 6557032"/>
              <a:gd name="connsiteX43811" fmla="*/ 2744194 w 4610101"/>
              <a:gd name="connsiteY43811" fmla="*/ 3759995 h 6557032"/>
              <a:gd name="connsiteX43812" fmla="*/ 2729617 w 4610101"/>
              <a:gd name="connsiteY43812" fmla="*/ 3759995 h 6557032"/>
              <a:gd name="connsiteX43813" fmla="*/ 2715040 w 4610101"/>
              <a:gd name="connsiteY43813" fmla="*/ 3721729 h 6557032"/>
              <a:gd name="connsiteX43814" fmla="*/ 2731439 w 4610101"/>
              <a:gd name="connsiteY43814" fmla="*/ 3696219 h 6557032"/>
              <a:gd name="connsiteX43815" fmla="*/ 2684063 w 4610101"/>
              <a:gd name="connsiteY43815" fmla="*/ 3648842 h 6557032"/>
              <a:gd name="connsiteX43816" fmla="*/ 2705929 w 4610101"/>
              <a:gd name="connsiteY43816" fmla="*/ 3639731 h 6557032"/>
              <a:gd name="connsiteX43817" fmla="*/ 2691351 w 4610101"/>
              <a:gd name="connsiteY43817" fmla="*/ 3634265 h 6557032"/>
              <a:gd name="connsiteX43818" fmla="*/ 2674952 w 4610101"/>
              <a:gd name="connsiteY43818" fmla="*/ 3612399 h 6557032"/>
              <a:gd name="connsiteX43819" fmla="*/ 2698640 w 4610101"/>
              <a:gd name="connsiteY43819" fmla="*/ 3595999 h 6557032"/>
              <a:gd name="connsiteX43820" fmla="*/ 2674952 w 4610101"/>
              <a:gd name="connsiteY43820" fmla="*/ 3568667 h 6557032"/>
              <a:gd name="connsiteX43821" fmla="*/ 2662197 w 4610101"/>
              <a:gd name="connsiteY43821" fmla="*/ 3575955 h 6557032"/>
              <a:gd name="connsiteX43822" fmla="*/ 2638508 w 4610101"/>
              <a:gd name="connsiteY43822" fmla="*/ 3546800 h 6557032"/>
              <a:gd name="connsiteX43823" fmla="*/ 2662197 w 4610101"/>
              <a:gd name="connsiteY43823" fmla="*/ 3523112 h 6557032"/>
              <a:gd name="connsiteX43824" fmla="*/ 2640330 w 4610101"/>
              <a:gd name="connsiteY43824" fmla="*/ 3523112 h 6557032"/>
              <a:gd name="connsiteX43825" fmla="*/ 2647619 w 4610101"/>
              <a:gd name="connsiteY43825" fmla="*/ 3537690 h 6557032"/>
              <a:gd name="connsiteX43826" fmla="*/ 2623931 w 4610101"/>
              <a:gd name="connsiteY43826" fmla="*/ 3537690 h 6557032"/>
              <a:gd name="connsiteX43827" fmla="*/ 2631219 w 4610101"/>
              <a:gd name="connsiteY43827" fmla="*/ 3523112 h 6557032"/>
              <a:gd name="connsiteX43828" fmla="*/ 2614820 w 4610101"/>
              <a:gd name="connsiteY43828" fmla="*/ 3515824 h 6557032"/>
              <a:gd name="connsiteX43829" fmla="*/ 2623931 w 4610101"/>
              <a:gd name="connsiteY43829" fmla="*/ 3537690 h 6557032"/>
              <a:gd name="connsiteX43830" fmla="*/ 2631219 w 4610101"/>
              <a:gd name="connsiteY43830" fmla="*/ 3552267 h 6557032"/>
              <a:gd name="connsiteX43831" fmla="*/ 2600243 w 4610101"/>
              <a:gd name="connsiteY43831" fmla="*/ 3575955 h 6557032"/>
              <a:gd name="connsiteX43832" fmla="*/ 2638508 w 4610101"/>
              <a:gd name="connsiteY43832" fmla="*/ 3561378 h 6557032"/>
              <a:gd name="connsiteX43833" fmla="*/ 2642153 w 4610101"/>
              <a:gd name="connsiteY43833" fmla="*/ 3577778 h 6557032"/>
              <a:gd name="connsiteX43834" fmla="*/ 2645797 w 4610101"/>
              <a:gd name="connsiteY43834" fmla="*/ 3599644 h 6557032"/>
              <a:gd name="connsiteX43835" fmla="*/ 2631219 w 4610101"/>
              <a:gd name="connsiteY43835" fmla="*/ 3606932 h 6557032"/>
              <a:gd name="connsiteX43836" fmla="*/ 2622109 w 4610101"/>
              <a:gd name="connsiteY43836" fmla="*/ 3590533 h 6557032"/>
              <a:gd name="connsiteX43837" fmla="*/ 2592954 w 4610101"/>
              <a:gd name="connsiteY43837" fmla="*/ 3614221 h 6557032"/>
              <a:gd name="connsiteX43838" fmla="*/ 2578377 w 4610101"/>
              <a:gd name="connsiteY43838" fmla="*/ 3614221 h 6557032"/>
              <a:gd name="connsiteX43839" fmla="*/ 2592954 w 4610101"/>
              <a:gd name="connsiteY43839" fmla="*/ 3599644 h 6557032"/>
              <a:gd name="connsiteX43840" fmla="*/ 2549222 w 4610101"/>
              <a:gd name="connsiteY43840" fmla="*/ 3563200 h 6557032"/>
              <a:gd name="connsiteX43841" fmla="*/ 2540111 w 4610101"/>
              <a:gd name="connsiteY43841" fmla="*/ 3585066 h 6557032"/>
              <a:gd name="connsiteX43842" fmla="*/ 2563799 w 4610101"/>
              <a:gd name="connsiteY43842" fmla="*/ 3594177 h 6557032"/>
              <a:gd name="connsiteX43843" fmla="*/ 2547400 w 4610101"/>
              <a:gd name="connsiteY43843" fmla="*/ 3605110 h 6557032"/>
              <a:gd name="connsiteX43844" fmla="*/ 2576554 w 4610101"/>
              <a:gd name="connsiteY43844" fmla="*/ 3614221 h 6557032"/>
              <a:gd name="connsiteX43845" fmla="*/ 2583843 w 4610101"/>
              <a:gd name="connsiteY43845" fmla="*/ 3628798 h 6557032"/>
              <a:gd name="connsiteX43846" fmla="*/ 2614820 w 4610101"/>
              <a:gd name="connsiteY43846" fmla="*/ 3623332 h 6557032"/>
              <a:gd name="connsiteX43847" fmla="*/ 2614820 w 4610101"/>
              <a:gd name="connsiteY43847" fmla="*/ 3608754 h 6557032"/>
              <a:gd name="connsiteX43848" fmla="*/ 2629397 w 4610101"/>
              <a:gd name="connsiteY43848" fmla="*/ 3608754 h 6557032"/>
              <a:gd name="connsiteX43849" fmla="*/ 2622109 w 4610101"/>
              <a:gd name="connsiteY43849" fmla="*/ 3623332 h 6557032"/>
              <a:gd name="connsiteX43850" fmla="*/ 2653086 w 4610101"/>
              <a:gd name="connsiteY43850" fmla="*/ 3654309 h 6557032"/>
              <a:gd name="connsiteX43851" fmla="*/ 2674952 w 4610101"/>
              <a:gd name="connsiteY43851" fmla="*/ 3654309 h 6557032"/>
              <a:gd name="connsiteX43852" fmla="*/ 2645797 w 4610101"/>
              <a:gd name="connsiteY43852" fmla="*/ 3685286 h 6557032"/>
              <a:gd name="connsiteX43853" fmla="*/ 2653086 w 4610101"/>
              <a:gd name="connsiteY43853" fmla="*/ 3698041 h 6557032"/>
              <a:gd name="connsiteX43854" fmla="*/ 2653086 w 4610101"/>
              <a:gd name="connsiteY43854" fmla="*/ 3714441 h 6557032"/>
              <a:gd name="connsiteX43855" fmla="*/ 2631219 w 4610101"/>
              <a:gd name="connsiteY43855" fmla="*/ 3729018 h 6557032"/>
              <a:gd name="connsiteX43856" fmla="*/ 2623931 w 4610101"/>
              <a:gd name="connsiteY43856" fmla="*/ 3714441 h 6557032"/>
              <a:gd name="connsiteX43857" fmla="*/ 2614820 w 4610101"/>
              <a:gd name="connsiteY43857" fmla="*/ 3714441 h 6557032"/>
              <a:gd name="connsiteX43858" fmla="*/ 2600243 w 4610101"/>
              <a:gd name="connsiteY43858" fmla="*/ 3685286 h 6557032"/>
              <a:gd name="connsiteX43859" fmla="*/ 2622109 w 4610101"/>
              <a:gd name="connsiteY43859" fmla="*/ 3668886 h 6557032"/>
              <a:gd name="connsiteX43860" fmla="*/ 2622109 w 4610101"/>
              <a:gd name="connsiteY43860" fmla="*/ 3647020 h 6557032"/>
              <a:gd name="connsiteX43861" fmla="*/ 2569266 w 4610101"/>
              <a:gd name="connsiteY43861" fmla="*/ 3647020 h 6557032"/>
              <a:gd name="connsiteX43862" fmla="*/ 2569266 w 4610101"/>
              <a:gd name="connsiteY43862" fmla="*/ 3654309 h 6557032"/>
              <a:gd name="connsiteX43863" fmla="*/ 2592954 w 4610101"/>
              <a:gd name="connsiteY43863" fmla="*/ 3654309 h 6557032"/>
              <a:gd name="connsiteX43864" fmla="*/ 2576554 w 4610101"/>
              <a:gd name="connsiteY43864" fmla="*/ 3677997 h 6557032"/>
              <a:gd name="connsiteX43865" fmla="*/ 2554688 w 4610101"/>
              <a:gd name="connsiteY43865" fmla="*/ 3661597 h 6557032"/>
              <a:gd name="connsiteX43866" fmla="*/ 2561977 w 4610101"/>
              <a:gd name="connsiteY43866" fmla="*/ 3647020 h 6557032"/>
              <a:gd name="connsiteX43867" fmla="*/ 2531000 w 4610101"/>
              <a:gd name="connsiteY43867" fmla="*/ 3661597 h 6557032"/>
              <a:gd name="connsiteX43868" fmla="*/ 2516423 w 4610101"/>
              <a:gd name="connsiteY43868" fmla="*/ 3654309 h 6557032"/>
              <a:gd name="connsiteX43869" fmla="*/ 2509134 w 4610101"/>
              <a:gd name="connsiteY43869" fmla="*/ 3617865 h 6557032"/>
              <a:gd name="connsiteX43870" fmla="*/ 2500023 w 4610101"/>
              <a:gd name="connsiteY43870" fmla="*/ 3632443 h 6557032"/>
              <a:gd name="connsiteX43871" fmla="*/ 2509134 w 4610101"/>
              <a:gd name="connsiteY43871" fmla="*/ 3648842 h 6557032"/>
              <a:gd name="connsiteX43872" fmla="*/ 2500023 w 4610101"/>
              <a:gd name="connsiteY43872" fmla="*/ 3654309 h 6557032"/>
              <a:gd name="connsiteX43873" fmla="*/ 2485446 w 4610101"/>
              <a:gd name="connsiteY43873" fmla="*/ 3632443 h 6557032"/>
              <a:gd name="connsiteX43874" fmla="*/ 2447180 w 4610101"/>
              <a:gd name="connsiteY43874" fmla="*/ 3647020 h 6557032"/>
              <a:gd name="connsiteX43875" fmla="*/ 2447180 w 4610101"/>
              <a:gd name="connsiteY43875" fmla="*/ 3632443 h 6557032"/>
              <a:gd name="connsiteX43876" fmla="*/ 2441713 w 4610101"/>
              <a:gd name="connsiteY43876" fmla="*/ 3632443 h 6557032"/>
              <a:gd name="connsiteX43877" fmla="*/ 2432603 w 4610101"/>
              <a:gd name="connsiteY43877" fmla="*/ 3632443 h 6557032"/>
              <a:gd name="connsiteX43878" fmla="*/ 2435990 w 4610101"/>
              <a:gd name="connsiteY43878" fmla="*/ 3626006 h 6557032"/>
              <a:gd name="connsiteX43879" fmla="*/ 2428823 w 4610101"/>
              <a:gd name="connsiteY43879" fmla="*/ 3617942 h 6557032"/>
              <a:gd name="connsiteX43880" fmla="*/ 2412559 w 4610101"/>
              <a:gd name="connsiteY43880" fmla="*/ 3626976 h 6557032"/>
              <a:gd name="connsiteX43881" fmla="*/ 2452647 w 4610101"/>
              <a:gd name="connsiteY43881" fmla="*/ 3670709 h 6557032"/>
              <a:gd name="connsiteX43882" fmla="*/ 2443536 w 4610101"/>
              <a:gd name="connsiteY43882" fmla="*/ 3692575 h 6557032"/>
              <a:gd name="connsiteX43883" fmla="*/ 2465402 w 4610101"/>
              <a:gd name="connsiteY43883" fmla="*/ 3692575 h 6557032"/>
              <a:gd name="connsiteX43884" fmla="*/ 2452647 w 4610101"/>
              <a:gd name="connsiteY43884" fmla="*/ 3701686 h 6557032"/>
              <a:gd name="connsiteX43885" fmla="*/ 2449003 w 4610101"/>
              <a:gd name="connsiteY43885" fmla="*/ 3716264 h 6557032"/>
              <a:gd name="connsiteX43886" fmla="*/ 2427137 w 4610101"/>
              <a:gd name="connsiteY43886" fmla="*/ 3699864 h 6557032"/>
              <a:gd name="connsiteX43887" fmla="*/ 2405271 w 4610101"/>
              <a:gd name="connsiteY43887" fmla="*/ 3714442 h 6557032"/>
              <a:gd name="connsiteX43888" fmla="*/ 2405271 w 4610101"/>
              <a:gd name="connsiteY43888" fmla="*/ 3699864 h 6557032"/>
              <a:gd name="connsiteX43889" fmla="*/ 2383405 w 4610101"/>
              <a:gd name="connsiteY43889" fmla="*/ 3701686 h 6557032"/>
              <a:gd name="connsiteX43890" fmla="*/ 2367005 w 4610101"/>
              <a:gd name="connsiteY43890" fmla="*/ 3714442 h 6557032"/>
              <a:gd name="connsiteX43891" fmla="*/ 2367005 w 4610101"/>
              <a:gd name="connsiteY43891" fmla="*/ 3745419 h 6557032"/>
              <a:gd name="connsiteX43892" fmla="*/ 2350605 w 4610101"/>
              <a:gd name="connsiteY43892" fmla="*/ 3745419 h 6557032"/>
              <a:gd name="connsiteX43893" fmla="*/ 2357894 w 4610101"/>
              <a:gd name="connsiteY43893" fmla="*/ 3758174 h 6557032"/>
              <a:gd name="connsiteX43894" fmla="*/ 2328739 w 4610101"/>
              <a:gd name="connsiteY43894" fmla="*/ 3765462 h 6557032"/>
              <a:gd name="connsiteX43895" fmla="*/ 2297761 w 4610101"/>
              <a:gd name="connsiteY43895" fmla="*/ 3729019 h 6557032"/>
              <a:gd name="connsiteX43896" fmla="*/ 2275895 w 4610101"/>
              <a:gd name="connsiteY43896" fmla="*/ 3729019 h 6557032"/>
              <a:gd name="connsiteX43897" fmla="*/ 2306872 w 4610101"/>
              <a:gd name="connsiteY43897" fmla="*/ 3721730 h 6557032"/>
              <a:gd name="connsiteX43898" fmla="*/ 2337850 w 4610101"/>
              <a:gd name="connsiteY43898" fmla="*/ 3690753 h 6557032"/>
              <a:gd name="connsiteX43899" fmla="*/ 2345139 w 4610101"/>
              <a:gd name="connsiteY43899" fmla="*/ 3690753 h 6557032"/>
              <a:gd name="connsiteX43900" fmla="*/ 2367005 w 4610101"/>
              <a:gd name="connsiteY43900" fmla="*/ 3698042 h 6557032"/>
              <a:gd name="connsiteX43901" fmla="*/ 2381582 w 4610101"/>
              <a:gd name="connsiteY43901" fmla="*/ 3668887 h 6557032"/>
              <a:gd name="connsiteX43902" fmla="*/ 2367005 w 4610101"/>
              <a:gd name="connsiteY43902" fmla="*/ 3630621 h 6557032"/>
              <a:gd name="connsiteX43903" fmla="*/ 2388871 w 4610101"/>
              <a:gd name="connsiteY43903" fmla="*/ 3628798 h 6557032"/>
              <a:gd name="connsiteX43904" fmla="*/ 2405271 w 4610101"/>
              <a:gd name="connsiteY43904" fmla="*/ 3616043 h 6557032"/>
              <a:gd name="connsiteX43905" fmla="*/ 2407093 w 4610101"/>
              <a:gd name="connsiteY43905" fmla="*/ 3594177 h 6557032"/>
              <a:gd name="connsiteX43906" fmla="*/ 2427236 w 4610101"/>
              <a:gd name="connsiteY43906" fmla="*/ 3615999 h 6557032"/>
              <a:gd name="connsiteX43907" fmla="*/ 2443535 w 4610101"/>
              <a:gd name="connsiteY43907" fmla="*/ 3608754 h 6557032"/>
              <a:gd name="connsiteX43908" fmla="*/ 2442733 w 4610101"/>
              <a:gd name="connsiteY43908" fmla="*/ 3619183 h 6557032"/>
              <a:gd name="connsiteX43909" fmla="*/ 2443622 w 4610101"/>
              <a:gd name="connsiteY43909" fmla="*/ 3619631 h 6557032"/>
              <a:gd name="connsiteX43910" fmla="*/ 2454469 w 4610101"/>
              <a:gd name="connsiteY43910" fmla="*/ 3625154 h 6557032"/>
              <a:gd name="connsiteX43911" fmla="*/ 2454469 w 4610101"/>
              <a:gd name="connsiteY43911" fmla="*/ 3601466 h 6557032"/>
              <a:gd name="connsiteX43912" fmla="*/ 2425314 w 4610101"/>
              <a:gd name="connsiteY43912" fmla="*/ 3608754 h 6557032"/>
              <a:gd name="connsiteX43913" fmla="*/ 2416203 w 4610101"/>
              <a:gd name="connsiteY43913" fmla="*/ 3603288 h 6557032"/>
              <a:gd name="connsiteX43914" fmla="*/ 2423492 w 4610101"/>
              <a:gd name="connsiteY43914" fmla="*/ 3588710 h 6557032"/>
              <a:gd name="connsiteX43915" fmla="*/ 2447180 w 4610101"/>
              <a:gd name="connsiteY43915" fmla="*/ 3586888 h 6557032"/>
              <a:gd name="connsiteX43916" fmla="*/ 2423492 w 4610101"/>
              <a:gd name="connsiteY43916" fmla="*/ 3565022 h 6557032"/>
              <a:gd name="connsiteX43917" fmla="*/ 2421669 w 4610101"/>
              <a:gd name="connsiteY43917" fmla="*/ 3541334 h 6557032"/>
              <a:gd name="connsiteX43918" fmla="*/ 2399803 w 4610101"/>
              <a:gd name="connsiteY43918" fmla="*/ 3566844 h 6557032"/>
              <a:gd name="connsiteX43919" fmla="*/ 2385226 w 4610101"/>
              <a:gd name="connsiteY43919" fmla="*/ 3550445 h 6557032"/>
              <a:gd name="connsiteX43920" fmla="*/ 2372471 w 4610101"/>
              <a:gd name="connsiteY43920" fmla="*/ 3557734 h 6557032"/>
              <a:gd name="connsiteX43921" fmla="*/ 2357005 w 4610101"/>
              <a:gd name="connsiteY43921" fmla="*/ 3537113 h 6557032"/>
              <a:gd name="connsiteX43922" fmla="*/ 2356413 w 4610101"/>
              <a:gd name="connsiteY43922" fmla="*/ 3539770 h 6557032"/>
              <a:gd name="connsiteX43923" fmla="*/ 2345139 w 4610101"/>
              <a:gd name="connsiteY43923" fmla="*/ 3555913 h 6557032"/>
              <a:gd name="connsiteX43924" fmla="*/ 2341494 w 4610101"/>
              <a:gd name="connsiteY43924" fmla="*/ 3541108 h 6557032"/>
              <a:gd name="connsiteX43925" fmla="*/ 2341494 w 4610101"/>
              <a:gd name="connsiteY43925" fmla="*/ 3535979 h 6557032"/>
              <a:gd name="connsiteX43926" fmla="*/ 2337850 w 4610101"/>
              <a:gd name="connsiteY43926" fmla="*/ 3524936 h 6557032"/>
              <a:gd name="connsiteX43927" fmla="*/ 2341494 w 4610101"/>
              <a:gd name="connsiteY43927" fmla="*/ 3523113 h 6557032"/>
              <a:gd name="connsiteX43928" fmla="*/ 2341494 w 4610101"/>
              <a:gd name="connsiteY43928" fmla="*/ 3514001 h 6557032"/>
              <a:gd name="connsiteX43929" fmla="*/ 2326916 w 4610101"/>
              <a:gd name="connsiteY43929" fmla="*/ 3514001 h 6557032"/>
              <a:gd name="connsiteX43930" fmla="*/ 2334205 w 4610101"/>
              <a:gd name="connsiteY43930" fmla="*/ 3499424 h 6557032"/>
              <a:gd name="connsiteX43931" fmla="*/ 2312339 w 4610101"/>
              <a:gd name="connsiteY43931" fmla="*/ 3499424 h 6557032"/>
              <a:gd name="connsiteX43932" fmla="*/ 2312339 w 4610101"/>
              <a:gd name="connsiteY43932" fmla="*/ 3514001 h 6557032"/>
              <a:gd name="connsiteX43933" fmla="*/ 2274074 w 4610101"/>
              <a:gd name="connsiteY43933" fmla="*/ 3506713 h 6557032"/>
              <a:gd name="connsiteX43934" fmla="*/ 2278971 w 4610101"/>
              <a:gd name="connsiteY43934" fmla="*/ 3516023 h 6557032"/>
              <a:gd name="connsiteX43935" fmla="*/ 2280013 w 4610101"/>
              <a:gd name="connsiteY43935" fmla="*/ 3517646 h 6557032"/>
              <a:gd name="connsiteX43936" fmla="*/ 2263140 w 4610101"/>
              <a:gd name="connsiteY43936" fmla="*/ 3517646 h 6557032"/>
              <a:gd name="connsiteX43937" fmla="*/ 2285007 w 4610101"/>
              <a:gd name="connsiteY43937" fmla="*/ 3488491 h 6557032"/>
              <a:gd name="connsiteX43938" fmla="*/ 2270429 w 4610101"/>
              <a:gd name="connsiteY43938" fmla="*/ 3479380 h 6557032"/>
              <a:gd name="connsiteX43939" fmla="*/ 2263140 w 4610101"/>
              <a:gd name="connsiteY43939" fmla="*/ 3503068 h 6557032"/>
              <a:gd name="connsiteX43940" fmla="*/ 2232163 w 4610101"/>
              <a:gd name="connsiteY43940" fmla="*/ 3503068 h 6557032"/>
              <a:gd name="connsiteX43941" fmla="*/ 2243096 w 4610101"/>
              <a:gd name="connsiteY43941" fmla="*/ 3512179 h 6557032"/>
              <a:gd name="connsiteX43942" fmla="*/ 2246741 w 4610101"/>
              <a:gd name="connsiteY43942" fmla="*/ 3526757 h 6557032"/>
              <a:gd name="connsiteX43943" fmla="*/ 2261318 w 4610101"/>
              <a:gd name="connsiteY43943" fmla="*/ 3519468 h 6557032"/>
              <a:gd name="connsiteX43944" fmla="*/ 2263140 w 4610101"/>
              <a:gd name="connsiteY43944" fmla="*/ 3543156 h 6557032"/>
              <a:gd name="connsiteX43945" fmla="*/ 2276123 w 4610101"/>
              <a:gd name="connsiteY43945" fmla="*/ 3528011 h 6557032"/>
              <a:gd name="connsiteX43946" fmla="*/ 2275896 w 4610101"/>
              <a:gd name="connsiteY43946" fmla="*/ 3528579 h 6557032"/>
              <a:gd name="connsiteX43947" fmla="*/ 2305050 w 4610101"/>
              <a:gd name="connsiteY43947" fmla="*/ 3559556 h 6557032"/>
              <a:gd name="connsiteX43948" fmla="*/ 2283184 w 4610101"/>
              <a:gd name="connsiteY43948" fmla="*/ 3559556 h 6557032"/>
              <a:gd name="connsiteX43949" fmla="*/ 2259496 w 4610101"/>
              <a:gd name="connsiteY43949" fmla="*/ 3588710 h 6557032"/>
              <a:gd name="connsiteX43950" fmla="*/ 2230341 w 4610101"/>
              <a:gd name="connsiteY43950" fmla="*/ 3597821 h 6557032"/>
              <a:gd name="connsiteX43951" fmla="*/ 2223053 w 4610101"/>
              <a:gd name="connsiteY43951" fmla="*/ 3583244 h 6557032"/>
              <a:gd name="connsiteX43952" fmla="*/ 2261318 w 4610101"/>
              <a:gd name="connsiteY43952" fmla="*/ 3568667 h 6557032"/>
              <a:gd name="connsiteX43953" fmla="*/ 2223053 w 4610101"/>
              <a:gd name="connsiteY43953" fmla="*/ 3561378 h 6557032"/>
              <a:gd name="connsiteX43954" fmla="*/ 2223053 w 4610101"/>
              <a:gd name="connsiteY43954" fmla="*/ 3583244 h 6557032"/>
              <a:gd name="connsiteX43955" fmla="*/ 2208475 w 4610101"/>
              <a:gd name="connsiteY43955" fmla="*/ 3575955 h 6557032"/>
              <a:gd name="connsiteX43956" fmla="*/ 2193898 w 4610101"/>
              <a:gd name="connsiteY43956" fmla="*/ 3590533 h 6557032"/>
              <a:gd name="connsiteX43957" fmla="*/ 2162921 w 4610101"/>
              <a:gd name="connsiteY43957" fmla="*/ 3574133 h 6557032"/>
              <a:gd name="connsiteX43958" fmla="*/ 2175393 w 4610101"/>
              <a:gd name="connsiteY43958" fmla="*/ 3563443 h 6557032"/>
              <a:gd name="connsiteX43959" fmla="*/ 2155633 w 4610101"/>
              <a:gd name="connsiteY43959" fmla="*/ 3548623 h 6557032"/>
              <a:gd name="connsiteX43960" fmla="*/ 2155633 w 4610101"/>
              <a:gd name="connsiteY43960" fmla="*/ 3526756 h 6557032"/>
              <a:gd name="connsiteX43961" fmla="*/ 2165421 w 4610101"/>
              <a:gd name="connsiteY43961" fmla="*/ 3532658 h 6557032"/>
              <a:gd name="connsiteX43962" fmla="*/ 2163775 w 4610101"/>
              <a:gd name="connsiteY43962" fmla="*/ 3525419 h 6557032"/>
              <a:gd name="connsiteX43963" fmla="*/ 2158878 w 4610101"/>
              <a:gd name="connsiteY43963" fmla="*/ 3515909 h 6557032"/>
              <a:gd name="connsiteX43964" fmla="*/ 2154719 w 4610101"/>
              <a:gd name="connsiteY43964" fmla="*/ 3510357 h 6557032"/>
              <a:gd name="connsiteX43965" fmla="*/ 2155632 w 4610101"/>
              <a:gd name="connsiteY43965" fmla="*/ 3510357 h 6557032"/>
              <a:gd name="connsiteX43966" fmla="*/ 2155632 w 4610101"/>
              <a:gd name="connsiteY43966" fmla="*/ 3506433 h 6557032"/>
              <a:gd name="connsiteX43967" fmla="*/ 2175676 w 4610101"/>
              <a:gd name="connsiteY43967" fmla="*/ 3504891 h 6557032"/>
              <a:gd name="connsiteX43968" fmla="*/ 2159277 w 4610101"/>
              <a:gd name="connsiteY43968" fmla="*/ 3492135 h 6557032"/>
              <a:gd name="connsiteX43969" fmla="*/ 2155632 w 4610101"/>
              <a:gd name="connsiteY43969" fmla="*/ 3499425 h 6557032"/>
              <a:gd name="connsiteX43970" fmla="*/ 2155632 w 4610101"/>
              <a:gd name="connsiteY43970" fmla="*/ 3495780 h 6557032"/>
              <a:gd name="connsiteX43971" fmla="*/ 2199364 w 4610101"/>
              <a:gd name="connsiteY43971" fmla="*/ 3448403 h 6557032"/>
              <a:gd name="connsiteX43972" fmla="*/ 2170210 w 4610101"/>
              <a:gd name="connsiteY43972" fmla="*/ 3457514 h 6557032"/>
              <a:gd name="connsiteX43973" fmla="*/ 2139233 w 4610101"/>
              <a:gd name="connsiteY43973" fmla="*/ 3459336 h 6557032"/>
              <a:gd name="connsiteX43974" fmla="*/ 2155632 w 4610101"/>
              <a:gd name="connsiteY43974" fmla="*/ 3481202 h 6557032"/>
              <a:gd name="connsiteX43975" fmla="*/ 2155632 w 4610101"/>
              <a:gd name="connsiteY43975" fmla="*/ 3495780 h 6557032"/>
              <a:gd name="connsiteX43976" fmla="*/ 2128300 w 4610101"/>
              <a:gd name="connsiteY43976" fmla="*/ 3472091 h 6557032"/>
              <a:gd name="connsiteX43977" fmla="*/ 2135588 w 4610101"/>
              <a:gd name="connsiteY43977" fmla="*/ 3457514 h 6557032"/>
              <a:gd name="connsiteX43978" fmla="*/ 2113722 w 4610101"/>
              <a:gd name="connsiteY43978" fmla="*/ 3457514 h 6557032"/>
              <a:gd name="connsiteX43979" fmla="*/ 2119189 w 4610101"/>
              <a:gd name="connsiteY43979" fmla="*/ 3488491 h 6557032"/>
              <a:gd name="connsiteX43980" fmla="*/ 2141055 w 4610101"/>
              <a:gd name="connsiteY43980" fmla="*/ 3510357 h 6557032"/>
              <a:gd name="connsiteX43981" fmla="*/ 2145914 w 4610101"/>
              <a:gd name="connsiteY43981" fmla="*/ 3510357 h 6557032"/>
              <a:gd name="connsiteX43982" fmla="*/ 2142877 w 4610101"/>
              <a:gd name="connsiteY43982" fmla="*/ 3512179 h 6557032"/>
              <a:gd name="connsiteX43983" fmla="*/ 2137410 w 4610101"/>
              <a:gd name="connsiteY43983" fmla="*/ 3521290 h 6557032"/>
              <a:gd name="connsiteX43984" fmla="*/ 2122273 w 4610101"/>
              <a:gd name="connsiteY43984" fmla="*/ 3514562 h 6557032"/>
              <a:gd name="connsiteX43985" fmla="*/ 2133766 w 4610101"/>
              <a:gd name="connsiteY43985" fmla="*/ 3503068 h 6557032"/>
              <a:gd name="connsiteX43986" fmla="*/ 2119189 w 4610101"/>
              <a:gd name="connsiteY43986" fmla="*/ 3503068 h 6557032"/>
              <a:gd name="connsiteX43987" fmla="*/ 2119189 w 4610101"/>
              <a:gd name="connsiteY43987" fmla="*/ 3517646 h 6557032"/>
              <a:gd name="connsiteX43988" fmla="*/ 2121315 w 4610101"/>
              <a:gd name="connsiteY43988" fmla="*/ 3515520 h 6557032"/>
              <a:gd name="connsiteX43989" fmla="*/ 2130122 w 4610101"/>
              <a:gd name="connsiteY43989" fmla="*/ 3559556 h 6557032"/>
              <a:gd name="connsiteX43990" fmla="*/ 2099145 w 4610101"/>
              <a:gd name="connsiteY43990" fmla="*/ 3544978 h 6557032"/>
              <a:gd name="connsiteX43991" fmla="*/ 2097323 w 4610101"/>
              <a:gd name="connsiteY43991" fmla="*/ 3561378 h 6557032"/>
              <a:gd name="connsiteX43992" fmla="*/ 2060879 w 4610101"/>
              <a:gd name="connsiteY43992" fmla="*/ 3530401 h 6557032"/>
              <a:gd name="connsiteX43993" fmla="*/ 2060879 w 4610101"/>
              <a:gd name="connsiteY43993" fmla="*/ 3506713 h 6557032"/>
              <a:gd name="connsiteX43994" fmla="*/ 2031724 w 4610101"/>
              <a:gd name="connsiteY43994" fmla="*/ 3515824 h 6557032"/>
              <a:gd name="connsiteX43995" fmla="*/ 2031724 w 4610101"/>
              <a:gd name="connsiteY43995" fmla="*/ 3493957 h 6557032"/>
              <a:gd name="connsiteX43996" fmla="*/ 1993459 w 4610101"/>
              <a:gd name="connsiteY43996" fmla="*/ 3508535 h 6557032"/>
              <a:gd name="connsiteX43997" fmla="*/ 1977059 w 4610101"/>
              <a:gd name="connsiteY43997" fmla="*/ 3499424 h 6557032"/>
              <a:gd name="connsiteX43998" fmla="*/ 1957015 w 4610101"/>
              <a:gd name="connsiteY43998" fmla="*/ 3514001 h 6557032"/>
              <a:gd name="connsiteX43999" fmla="*/ 1947904 w 4610101"/>
              <a:gd name="connsiteY43999" fmla="*/ 3508535 h 6557032"/>
              <a:gd name="connsiteX44000" fmla="*/ 1955194 w 4610101"/>
              <a:gd name="connsiteY44000" fmla="*/ 3484847 h 6557032"/>
              <a:gd name="connsiteX44001" fmla="*/ 1977059 w 4610101"/>
              <a:gd name="connsiteY44001" fmla="*/ 3470269 h 6557032"/>
              <a:gd name="connsiteX44002" fmla="*/ 1953371 w 4610101"/>
              <a:gd name="connsiteY44002" fmla="*/ 3470269 h 6557032"/>
              <a:gd name="connsiteX44003" fmla="*/ 1960659 w 4610101"/>
              <a:gd name="connsiteY44003" fmla="*/ 3453870 h 6557032"/>
              <a:gd name="connsiteX44004" fmla="*/ 1933327 w 4610101"/>
              <a:gd name="connsiteY44004" fmla="*/ 3461158 h 6557032"/>
              <a:gd name="connsiteX44005" fmla="*/ 1918750 w 4610101"/>
              <a:gd name="connsiteY44005" fmla="*/ 3448403 h 6557032"/>
              <a:gd name="connsiteX44006" fmla="*/ 1907816 w 4610101"/>
              <a:gd name="connsiteY44006" fmla="*/ 3455692 h 6557032"/>
              <a:gd name="connsiteX44007" fmla="*/ 1931505 w 4610101"/>
              <a:gd name="connsiteY44007" fmla="*/ 3483024 h 6557032"/>
              <a:gd name="connsiteX44008" fmla="*/ 1902350 w 4610101"/>
              <a:gd name="connsiteY44008" fmla="*/ 3492135 h 6557032"/>
              <a:gd name="connsiteX44009" fmla="*/ 1887773 w 4610101"/>
              <a:gd name="connsiteY44009" fmla="*/ 3439292 h 6557032"/>
              <a:gd name="connsiteX44010" fmla="*/ 1847685 w 4610101"/>
              <a:gd name="connsiteY44010" fmla="*/ 3441115 h 6557032"/>
              <a:gd name="connsiteX44011" fmla="*/ 1887773 w 4610101"/>
              <a:gd name="connsiteY44011" fmla="*/ 3477558 h 6557032"/>
              <a:gd name="connsiteX44012" fmla="*/ 1887773 w 4610101"/>
              <a:gd name="connsiteY44012" fmla="*/ 3499424 h 6557032"/>
              <a:gd name="connsiteX44013" fmla="*/ 1865906 w 4610101"/>
              <a:gd name="connsiteY44013" fmla="*/ 3499424 h 6557032"/>
              <a:gd name="connsiteX44014" fmla="*/ 1844040 w 4610101"/>
              <a:gd name="connsiteY44014" fmla="*/ 3506713 h 6557032"/>
              <a:gd name="connsiteX44015" fmla="*/ 1836753 w 4610101"/>
              <a:gd name="connsiteY44015" fmla="*/ 3492135 h 6557032"/>
              <a:gd name="connsiteX44016" fmla="*/ 1814886 w 4610101"/>
              <a:gd name="connsiteY44016" fmla="*/ 3499424 h 6557032"/>
              <a:gd name="connsiteX44017" fmla="*/ 1845864 w 4610101"/>
              <a:gd name="connsiteY44017" fmla="*/ 3477558 h 6557032"/>
              <a:gd name="connsiteX44018" fmla="*/ 1831285 w 4610101"/>
              <a:gd name="connsiteY44018" fmla="*/ 3446581 h 6557032"/>
              <a:gd name="connsiteX44019" fmla="*/ 1831285 w 4610101"/>
              <a:gd name="connsiteY44019" fmla="*/ 3450225 h 6557032"/>
              <a:gd name="connsiteX44020" fmla="*/ 1822174 w 4610101"/>
              <a:gd name="connsiteY44020" fmla="*/ 3433826 h 6557032"/>
              <a:gd name="connsiteX44021" fmla="*/ 1807598 w 4610101"/>
              <a:gd name="connsiteY44021" fmla="*/ 3448403 h 6557032"/>
              <a:gd name="connsiteX44022" fmla="*/ 1831285 w 4610101"/>
              <a:gd name="connsiteY44022" fmla="*/ 3450225 h 6557032"/>
              <a:gd name="connsiteX44023" fmla="*/ 1831285 w 4610101"/>
              <a:gd name="connsiteY44023" fmla="*/ 3470269 h 6557032"/>
              <a:gd name="connsiteX44024" fmla="*/ 1802130 w 4610101"/>
              <a:gd name="connsiteY44024" fmla="*/ 3461158 h 6557032"/>
              <a:gd name="connsiteX44025" fmla="*/ 1763865 w 4610101"/>
              <a:gd name="connsiteY44025" fmla="*/ 3439292 h 6557032"/>
              <a:gd name="connsiteX44026" fmla="*/ 1727421 w 4610101"/>
              <a:gd name="connsiteY44026" fmla="*/ 3461158 h 6557032"/>
              <a:gd name="connsiteX44027" fmla="*/ 1720133 w 4610101"/>
              <a:gd name="connsiteY44027" fmla="*/ 3433826 h 6557032"/>
              <a:gd name="connsiteX44028" fmla="*/ 1732888 w 4610101"/>
              <a:gd name="connsiteY44028" fmla="*/ 3419248 h 6557032"/>
              <a:gd name="connsiteX44029" fmla="*/ 1725599 w 4610101"/>
              <a:gd name="connsiteY44029" fmla="*/ 3410137 h 6557032"/>
              <a:gd name="connsiteX44030" fmla="*/ 1703733 w 4610101"/>
              <a:gd name="connsiteY44030" fmla="*/ 3426537 h 6557032"/>
              <a:gd name="connsiteX44031" fmla="*/ 1711022 w 4610101"/>
              <a:gd name="connsiteY44031" fmla="*/ 3457514 h 6557032"/>
              <a:gd name="connsiteX44032" fmla="*/ 1681867 w 4610101"/>
              <a:gd name="connsiteY44032" fmla="*/ 3448403 h 6557032"/>
              <a:gd name="connsiteX44033" fmla="*/ 1680046 w 4610101"/>
              <a:gd name="connsiteY44033" fmla="*/ 3424715 h 6557032"/>
              <a:gd name="connsiteX44034" fmla="*/ 1658179 w 4610101"/>
              <a:gd name="connsiteY44034" fmla="*/ 3442937 h 6557032"/>
              <a:gd name="connsiteX44035" fmla="*/ 1636313 w 4610101"/>
              <a:gd name="connsiteY44035" fmla="*/ 3433826 h 6557032"/>
              <a:gd name="connsiteX44036" fmla="*/ 1636313 w 4610101"/>
              <a:gd name="connsiteY44036" fmla="*/ 3455692 h 6557032"/>
              <a:gd name="connsiteX44037" fmla="*/ 1621735 w 4610101"/>
              <a:gd name="connsiteY44037" fmla="*/ 3430181 h 6557032"/>
              <a:gd name="connsiteX44038" fmla="*/ 1607158 w 4610101"/>
              <a:gd name="connsiteY44038" fmla="*/ 3426537 h 6557032"/>
              <a:gd name="connsiteX44039" fmla="*/ 1601691 w 4610101"/>
              <a:gd name="connsiteY44039" fmla="*/ 3421071 h 6557032"/>
              <a:gd name="connsiteX44040" fmla="*/ 1605336 w 4610101"/>
              <a:gd name="connsiteY44040" fmla="*/ 3413782 h 6557032"/>
              <a:gd name="connsiteX44041" fmla="*/ 1583470 w 4610101"/>
              <a:gd name="connsiteY44041" fmla="*/ 3390094 h 6557032"/>
              <a:gd name="connsiteX44042" fmla="*/ 1614447 w 4610101"/>
              <a:gd name="connsiteY44042" fmla="*/ 3375516 h 6557032"/>
              <a:gd name="connsiteX44043" fmla="*/ 1576181 w 4610101"/>
              <a:gd name="connsiteY44043" fmla="*/ 3353650 h 6557032"/>
              <a:gd name="connsiteX44044" fmla="*/ 1583470 w 4610101"/>
              <a:gd name="connsiteY44044" fmla="*/ 3368228 h 6557032"/>
              <a:gd name="connsiteX44045" fmla="*/ 1568892 w 4610101"/>
              <a:gd name="connsiteY44045" fmla="*/ 3406493 h 6557032"/>
              <a:gd name="connsiteX44046" fmla="*/ 1561603 w 4610101"/>
              <a:gd name="connsiteY44046" fmla="*/ 3399205 h 6557032"/>
              <a:gd name="connsiteX44047" fmla="*/ 1547026 w 4610101"/>
              <a:gd name="connsiteY44047" fmla="*/ 3399205 h 6557032"/>
              <a:gd name="connsiteX44048" fmla="*/ 1545204 w 4610101"/>
              <a:gd name="connsiteY44048" fmla="*/ 3384627 h 6557032"/>
              <a:gd name="connsiteX44049" fmla="*/ 1532450 w 4610101"/>
              <a:gd name="connsiteY44049" fmla="*/ 3375516 h 6557032"/>
              <a:gd name="connsiteX44050" fmla="*/ 1532450 w 4610101"/>
              <a:gd name="connsiteY44050" fmla="*/ 3408315 h 6557032"/>
              <a:gd name="connsiteX44051" fmla="*/ 1510583 w 4610101"/>
              <a:gd name="connsiteY44051" fmla="*/ 3408315 h 6557032"/>
              <a:gd name="connsiteX44052" fmla="*/ 1510583 w 4610101"/>
              <a:gd name="connsiteY44052" fmla="*/ 3386449 h 6557032"/>
              <a:gd name="connsiteX44053" fmla="*/ 1488716 w 4610101"/>
              <a:gd name="connsiteY44053" fmla="*/ 3408315 h 6557032"/>
              <a:gd name="connsiteX44054" fmla="*/ 1479606 w 4610101"/>
              <a:gd name="connsiteY44054" fmla="*/ 3386449 h 6557032"/>
              <a:gd name="connsiteX44055" fmla="*/ 1465028 w 4610101"/>
              <a:gd name="connsiteY44055" fmla="*/ 3393738 h 6557032"/>
              <a:gd name="connsiteX44056" fmla="*/ 1455917 w 4610101"/>
              <a:gd name="connsiteY44056" fmla="*/ 3379160 h 6557032"/>
              <a:gd name="connsiteX44057" fmla="*/ 1443162 w 4610101"/>
              <a:gd name="connsiteY44057" fmla="*/ 3386449 h 6557032"/>
              <a:gd name="connsiteX44058" fmla="*/ 1426763 w 4610101"/>
              <a:gd name="connsiteY44058" fmla="*/ 3364583 h 6557032"/>
              <a:gd name="connsiteX44059" fmla="*/ 1430407 w 4610101"/>
              <a:gd name="connsiteY44059" fmla="*/ 3362761 h 6557032"/>
              <a:gd name="connsiteX44060" fmla="*/ 1434051 w 4610101"/>
              <a:gd name="connsiteY44060" fmla="*/ 3360939 h 6557032"/>
              <a:gd name="connsiteX44061" fmla="*/ 1468673 w 4610101"/>
              <a:gd name="connsiteY44061" fmla="*/ 3364583 h 6557032"/>
              <a:gd name="connsiteX44062" fmla="*/ 1483250 w 4610101"/>
              <a:gd name="connsiteY44062" fmla="*/ 3371872 h 6557032"/>
              <a:gd name="connsiteX44063" fmla="*/ 1485072 w 4610101"/>
              <a:gd name="connsiteY44063" fmla="*/ 3368228 h 6557032"/>
              <a:gd name="connsiteX44064" fmla="*/ 1483250 w 4610101"/>
              <a:gd name="connsiteY44064" fmla="*/ 3364583 h 6557032"/>
              <a:gd name="connsiteX44065" fmla="*/ 1488716 w 4610101"/>
              <a:gd name="connsiteY44065" fmla="*/ 3362761 h 6557032"/>
              <a:gd name="connsiteX44066" fmla="*/ 1485072 w 4610101"/>
              <a:gd name="connsiteY44066" fmla="*/ 3357294 h 6557032"/>
              <a:gd name="connsiteX44067" fmla="*/ 1475961 w 4610101"/>
              <a:gd name="connsiteY44067" fmla="*/ 3357294 h 6557032"/>
              <a:gd name="connsiteX44068" fmla="*/ 1472317 w 4610101"/>
              <a:gd name="connsiteY44068" fmla="*/ 3355472 h 6557032"/>
              <a:gd name="connsiteX44069" fmla="*/ 1472317 w 4610101"/>
              <a:gd name="connsiteY44069" fmla="*/ 3351828 h 6557032"/>
              <a:gd name="connsiteX44070" fmla="*/ 1466850 w 4610101"/>
              <a:gd name="connsiteY44070" fmla="*/ 3351828 h 6557032"/>
              <a:gd name="connsiteX44071" fmla="*/ 1505117 w 4610101"/>
              <a:gd name="connsiteY44071" fmla="*/ 3342717 h 6557032"/>
              <a:gd name="connsiteX44072" fmla="*/ 1508760 w 4610101"/>
              <a:gd name="connsiteY44072" fmla="*/ 3344539 h 6557032"/>
              <a:gd name="connsiteX44073" fmla="*/ 1534271 w 4610101"/>
              <a:gd name="connsiteY44073" fmla="*/ 3335428 h 6557032"/>
              <a:gd name="connsiteX44074" fmla="*/ 1552492 w 4610101"/>
              <a:gd name="connsiteY44074" fmla="*/ 3326318 h 6557032"/>
              <a:gd name="connsiteX44075" fmla="*/ 1557959 w 4610101"/>
              <a:gd name="connsiteY44075" fmla="*/ 3326318 h 6557032"/>
              <a:gd name="connsiteX44076" fmla="*/ 1557959 w 4610101"/>
              <a:gd name="connsiteY44076" fmla="*/ 3322673 h 6557032"/>
              <a:gd name="connsiteX44077" fmla="*/ 1581647 w 4610101"/>
              <a:gd name="connsiteY44077" fmla="*/ 3306274 h 6557032"/>
              <a:gd name="connsiteX44078" fmla="*/ 1594403 w 4610101"/>
              <a:gd name="connsiteY44078" fmla="*/ 3300807 h 6557032"/>
              <a:gd name="connsiteX44079" fmla="*/ 1630846 w 4610101"/>
              <a:gd name="connsiteY44079" fmla="*/ 3278941 h 6557032"/>
              <a:gd name="connsiteX44080" fmla="*/ 1630846 w 4610101"/>
              <a:gd name="connsiteY44080" fmla="*/ 3275297 h 6557032"/>
              <a:gd name="connsiteX44081" fmla="*/ 1672756 w 4610101"/>
              <a:gd name="connsiteY44081" fmla="*/ 3249786 h 6557032"/>
              <a:gd name="connsiteX44082" fmla="*/ 1678223 w 4610101"/>
              <a:gd name="connsiteY44082" fmla="*/ 3278941 h 6557032"/>
              <a:gd name="connsiteX44083" fmla="*/ 1692800 w 4610101"/>
              <a:gd name="connsiteY44083" fmla="*/ 3255254 h 6557032"/>
              <a:gd name="connsiteX44084" fmla="*/ 1692800 w 4610101"/>
              <a:gd name="connsiteY44084" fmla="*/ 3251608 h 6557032"/>
              <a:gd name="connsiteX44085" fmla="*/ 1694622 w 4610101"/>
              <a:gd name="connsiteY44085" fmla="*/ 3251608 h 6557032"/>
              <a:gd name="connsiteX44086" fmla="*/ 1705555 w 4610101"/>
              <a:gd name="connsiteY44086" fmla="*/ 3284408 h 6557032"/>
              <a:gd name="connsiteX44087" fmla="*/ 1709200 w 4610101"/>
              <a:gd name="connsiteY44087" fmla="*/ 3282585 h 6557032"/>
              <a:gd name="connsiteX44088" fmla="*/ 1720133 w 4610101"/>
              <a:gd name="connsiteY44088" fmla="*/ 3289874 h 6557032"/>
              <a:gd name="connsiteX44089" fmla="*/ 1718310 w 4610101"/>
              <a:gd name="connsiteY44089" fmla="*/ 3268009 h 6557032"/>
              <a:gd name="connsiteX44090" fmla="*/ 1723777 w 4610101"/>
              <a:gd name="connsiteY44090" fmla="*/ 3269831 h 6557032"/>
              <a:gd name="connsiteX44091" fmla="*/ 1709200 w 4610101"/>
              <a:gd name="connsiteY44091" fmla="*/ 3253432 h 6557032"/>
              <a:gd name="connsiteX44092" fmla="*/ 1711022 w 4610101"/>
              <a:gd name="connsiteY44092" fmla="*/ 3251608 h 6557032"/>
              <a:gd name="connsiteX44093" fmla="*/ 1738354 w 4610101"/>
              <a:gd name="connsiteY44093" fmla="*/ 3251608 h 6557032"/>
              <a:gd name="connsiteX44094" fmla="*/ 1714666 w 4610101"/>
              <a:gd name="connsiteY44094" fmla="*/ 3246142 h 6557032"/>
              <a:gd name="connsiteX44095" fmla="*/ 1705555 w 4610101"/>
              <a:gd name="connsiteY44095" fmla="*/ 3246142 h 6557032"/>
              <a:gd name="connsiteX44096" fmla="*/ 1703733 w 4610101"/>
              <a:gd name="connsiteY44096" fmla="*/ 3235210 h 6557032"/>
              <a:gd name="connsiteX44097" fmla="*/ 1718310 w 4610101"/>
              <a:gd name="connsiteY44097" fmla="*/ 3237032 h 6557032"/>
              <a:gd name="connsiteX44098" fmla="*/ 1716488 w 4610101"/>
              <a:gd name="connsiteY44098" fmla="*/ 3233388 h 6557032"/>
              <a:gd name="connsiteX44099" fmla="*/ 1718310 w 4610101"/>
              <a:gd name="connsiteY44099" fmla="*/ 3229742 h 6557032"/>
              <a:gd name="connsiteX44100" fmla="*/ 1714666 w 4610101"/>
              <a:gd name="connsiteY44100" fmla="*/ 3227920 h 6557032"/>
              <a:gd name="connsiteX44101" fmla="*/ 1754754 w 4610101"/>
              <a:gd name="connsiteY44101" fmla="*/ 3207877 h 6557032"/>
              <a:gd name="connsiteX44102" fmla="*/ 1785731 w 4610101"/>
              <a:gd name="connsiteY44102" fmla="*/ 3207877 h 6557032"/>
              <a:gd name="connsiteX44103" fmla="*/ 1782087 w 4610101"/>
              <a:gd name="connsiteY44103" fmla="*/ 3218810 h 6557032"/>
              <a:gd name="connsiteX44104" fmla="*/ 1793020 w 4610101"/>
              <a:gd name="connsiteY44104" fmla="*/ 3206055 h 6557032"/>
              <a:gd name="connsiteX44105" fmla="*/ 1816709 w 4610101"/>
              <a:gd name="connsiteY44105" fmla="*/ 3206055 h 6557032"/>
              <a:gd name="connsiteX44106" fmla="*/ 1816709 w 4610101"/>
              <a:gd name="connsiteY44106" fmla="*/ 3207877 h 6557032"/>
              <a:gd name="connsiteX44107" fmla="*/ 1840396 w 4610101"/>
              <a:gd name="connsiteY44107" fmla="*/ 3209699 h 6557032"/>
              <a:gd name="connsiteX44108" fmla="*/ 1838574 w 4610101"/>
              <a:gd name="connsiteY44108" fmla="*/ 3213343 h 6557032"/>
              <a:gd name="connsiteX44109" fmla="*/ 1858618 w 4610101"/>
              <a:gd name="connsiteY44109" fmla="*/ 3213343 h 6557032"/>
              <a:gd name="connsiteX44110" fmla="*/ 1871373 w 4610101"/>
              <a:gd name="connsiteY44110" fmla="*/ 3216987 h 6557032"/>
              <a:gd name="connsiteX44111" fmla="*/ 1884128 w 4610101"/>
              <a:gd name="connsiteY44111" fmla="*/ 3218810 h 6557032"/>
              <a:gd name="connsiteX44112" fmla="*/ 1907816 w 4610101"/>
              <a:gd name="connsiteY44112" fmla="*/ 3226098 h 6557032"/>
              <a:gd name="connsiteX44113" fmla="*/ 1911461 w 4610101"/>
              <a:gd name="connsiteY44113" fmla="*/ 3227920 h 6557032"/>
              <a:gd name="connsiteX44114" fmla="*/ 1920572 w 4610101"/>
              <a:gd name="connsiteY44114" fmla="*/ 3229742 h 6557032"/>
              <a:gd name="connsiteX44115" fmla="*/ 1920572 w 4610101"/>
              <a:gd name="connsiteY44115" fmla="*/ 3226098 h 6557032"/>
              <a:gd name="connsiteX44116" fmla="*/ 1957015 w 4610101"/>
              <a:gd name="connsiteY44116" fmla="*/ 3235210 h 6557032"/>
              <a:gd name="connsiteX44117" fmla="*/ 1964305 w 4610101"/>
              <a:gd name="connsiteY44117" fmla="*/ 3238854 h 6557032"/>
              <a:gd name="connsiteX44118" fmla="*/ 1966126 w 4610101"/>
              <a:gd name="connsiteY44118" fmla="*/ 3235210 h 6557032"/>
              <a:gd name="connsiteX44119" fmla="*/ 1969770 w 4610101"/>
              <a:gd name="connsiteY44119" fmla="*/ 3235210 h 6557032"/>
              <a:gd name="connsiteX44120" fmla="*/ 1967948 w 4610101"/>
              <a:gd name="connsiteY44120" fmla="*/ 3227920 h 6557032"/>
              <a:gd name="connsiteX44121" fmla="*/ 1949726 w 4610101"/>
              <a:gd name="connsiteY44121" fmla="*/ 3222455 h 6557032"/>
              <a:gd name="connsiteX44122" fmla="*/ 1951549 w 4610101"/>
              <a:gd name="connsiteY44122" fmla="*/ 3218810 h 6557032"/>
              <a:gd name="connsiteX44123" fmla="*/ 1942438 w 4610101"/>
              <a:gd name="connsiteY44123" fmla="*/ 3218810 h 6557032"/>
              <a:gd name="connsiteX44124" fmla="*/ 1922394 w 4610101"/>
              <a:gd name="connsiteY44124" fmla="*/ 3216987 h 6557032"/>
              <a:gd name="connsiteX44125" fmla="*/ 1904172 w 4610101"/>
              <a:gd name="connsiteY44125" fmla="*/ 3213343 h 6557032"/>
              <a:gd name="connsiteX44126" fmla="*/ 1893239 w 4610101"/>
              <a:gd name="connsiteY44126" fmla="*/ 3207877 h 6557032"/>
              <a:gd name="connsiteX44127" fmla="*/ 1880484 w 4610101"/>
              <a:gd name="connsiteY44127" fmla="*/ 3204233 h 6557032"/>
              <a:gd name="connsiteX44128" fmla="*/ 1895061 w 4610101"/>
              <a:gd name="connsiteY44128" fmla="*/ 3202411 h 6557032"/>
              <a:gd name="connsiteX44129" fmla="*/ 1887773 w 4610101"/>
              <a:gd name="connsiteY44129" fmla="*/ 3189655 h 6557032"/>
              <a:gd name="connsiteX44130" fmla="*/ 1904172 w 4610101"/>
              <a:gd name="connsiteY44130" fmla="*/ 3186011 h 6557032"/>
              <a:gd name="connsiteX44131" fmla="*/ 1916927 w 4610101"/>
              <a:gd name="connsiteY44131" fmla="*/ 3167790 h 6557032"/>
              <a:gd name="connsiteX44132" fmla="*/ 1898706 w 4610101"/>
              <a:gd name="connsiteY44132" fmla="*/ 3167790 h 6557032"/>
              <a:gd name="connsiteX44133" fmla="*/ 1882306 w 4610101"/>
              <a:gd name="connsiteY44133" fmla="*/ 3171434 h 6557032"/>
              <a:gd name="connsiteX44134" fmla="*/ 1880484 w 4610101"/>
              <a:gd name="connsiteY44134" fmla="*/ 3175078 h 6557032"/>
              <a:gd name="connsiteX44135" fmla="*/ 1878662 w 4610101"/>
              <a:gd name="connsiteY44135" fmla="*/ 3171434 h 6557032"/>
              <a:gd name="connsiteX44136" fmla="*/ 1869551 w 4610101"/>
              <a:gd name="connsiteY44136" fmla="*/ 3136813 h 6557032"/>
              <a:gd name="connsiteX44137" fmla="*/ 1869551 w 4610101"/>
              <a:gd name="connsiteY44137" fmla="*/ 3180544 h 6557032"/>
              <a:gd name="connsiteX44138" fmla="*/ 1865906 w 4610101"/>
              <a:gd name="connsiteY44138" fmla="*/ 3182367 h 6557032"/>
              <a:gd name="connsiteX44139" fmla="*/ 1867729 w 4610101"/>
              <a:gd name="connsiteY44139" fmla="*/ 3186011 h 6557032"/>
              <a:gd name="connsiteX44140" fmla="*/ 1864084 w 4610101"/>
              <a:gd name="connsiteY44140" fmla="*/ 3180544 h 6557032"/>
              <a:gd name="connsiteX44141" fmla="*/ 1844040 w 4610101"/>
              <a:gd name="connsiteY44141" fmla="*/ 3171434 h 6557032"/>
              <a:gd name="connsiteX44142" fmla="*/ 1864084 w 4610101"/>
              <a:gd name="connsiteY44142" fmla="*/ 3187833 h 6557032"/>
              <a:gd name="connsiteX44143" fmla="*/ 1867729 w 4610101"/>
              <a:gd name="connsiteY44143" fmla="*/ 3189655 h 6557032"/>
              <a:gd name="connsiteX44144" fmla="*/ 1864540 w 4610101"/>
              <a:gd name="connsiteY44144" fmla="*/ 3190795 h 6557032"/>
              <a:gd name="connsiteX44145" fmla="*/ 1864084 w 4610101"/>
              <a:gd name="connsiteY44145" fmla="*/ 3193297 h 6557032"/>
              <a:gd name="connsiteX44146" fmla="*/ 1864084 w 4610101"/>
              <a:gd name="connsiteY44146" fmla="*/ 3195121 h 6557032"/>
              <a:gd name="connsiteX44147" fmla="*/ 1842218 w 4610101"/>
              <a:gd name="connsiteY44147" fmla="*/ 3195121 h 6557032"/>
              <a:gd name="connsiteX44148" fmla="*/ 1850877 w 4610101"/>
              <a:gd name="connsiteY44148" fmla="*/ 3191727 h 6557032"/>
              <a:gd name="connsiteX44149" fmla="*/ 1844952 w 4610101"/>
              <a:gd name="connsiteY44149" fmla="*/ 3191021 h 6557032"/>
              <a:gd name="connsiteX44150" fmla="*/ 1825820 w 4610101"/>
              <a:gd name="connsiteY44150" fmla="*/ 3196943 h 6557032"/>
              <a:gd name="connsiteX44151" fmla="*/ 1734710 w 4610101"/>
              <a:gd name="connsiteY44151" fmla="*/ 3191477 h 6557032"/>
              <a:gd name="connsiteX44152" fmla="*/ 1734710 w 4610101"/>
              <a:gd name="connsiteY44152" fmla="*/ 3182367 h 6557032"/>
              <a:gd name="connsiteX44153" fmla="*/ 1747465 w 4610101"/>
              <a:gd name="connsiteY44153" fmla="*/ 3182367 h 6557032"/>
              <a:gd name="connsiteX44154" fmla="*/ 1736532 w 4610101"/>
              <a:gd name="connsiteY44154" fmla="*/ 3175078 h 6557032"/>
              <a:gd name="connsiteX44155" fmla="*/ 1738354 w 4610101"/>
              <a:gd name="connsiteY44155" fmla="*/ 3162322 h 6557032"/>
              <a:gd name="connsiteX44156" fmla="*/ 1756576 w 4610101"/>
              <a:gd name="connsiteY44156" fmla="*/ 3158678 h 6557032"/>
              <a:gd name="connsiteX44157" fmla="*/ 1774798 w 4610101"/>
              <a:gd name="connsiteY44157" fmla="*/ 3138635 h 6557032"/>
              <a:gd name="connsiteX44158" fmla="*/ 1747465 w 4610101"/>
              <a:gd name="connsiteY44158" fmla="*/ 3145922 h 6557032"/>
              <a:gd name="connsiteX44159" fmla="*/ 1729243 w 4610101"/>
              <a:gd name="connsiteY44159" fmla="*/ 3145922 h 6557032"/>
              <a:gd name="connsiteX44160" fmla="*/ 1731066 w 4610101"/>
              <a:gd name="connsiteY44160" fmla="*/ 3140456 h 6557032"/>
              <a:gd name="connsiteX44161" fmla="*/ 1743821 w 4610101"/>
              <a:gd name="connsiteY44161" fmla="*/ 3136813 h 6557032"/>
              <a:gd name="connsiteX44162" fmla="*/ 1745643 w 4610101"/>
              <a:gd name="connsiteY44162" fmla="*/ 3133169 h 6557032"/>
              <a:gd name="connsiteX44163" fmla="*/ 1765687 w 4610101"/>
              <a:gd name="connsiteY44163" fmla="*/ 3120413 h 6557032"/>
              <a:gd name="connsiteX44164" fmla="*/ 1740176 w 4610101"/>
              <a:gd name="connsiteY44164" fmla="*/ 3125879 h 6557032"/>
              <a:gd name="connsiteX44165" fmla="*/ 1734710 w 4610101"/>
              <a:gd name="connsiteY44165" fmla="*/ 3133169 h 6557032"/>
              <a:gd name="connsiteX44166" fmla="*/ 1736532 w 4610101"/>
              <a:gd name="connsiteY44166" fmla="*/ 3125879 h 6557032"/>
              <a:gd name="connsiteX44167" fmla="*/ 1729243 w 4610101"/>
              <a:gd name="connsiteY44167" fmla="*/ 3087614 h 6557032"/>
              <a:gd name="connsiteX44168" fmla="*/ 1720133 w 4610101"/>
              <a:gd name="connsiteY44168" fmla="*/ 3109479 h 6557032"/>
              <a:gd name="connsiteX44169" fmla="*/ 1723777 w 4610101"/>
              <a:gd name="connsiteY44169" fmla="*/ 3125879 h 6557032"/>
              <a:gd name="connsiteX44170" fmla="*/ 1727421 w 4610101"/>
              <a:gd name="connsiteY44170" fmla="*/ 3134991 h 6557032"/>
              <a:gd name="connsiteX44171" fmla="*/ 1723777 w 4610101"/>
              <a:gd name="connsiteY44171" fmla="*/ 3133169 h 6557032"/>
              <a:gd name="connsiteX44172" fmla="*/ 1721955 w 4610101"/>
              <a:gd name="connsiteY44172" fmla="*/ 3134991 h 6557032"/>
              <a:gd name="connsiteX44173" fmla="*/ 1696444 w 4610101"/>
              <a:gd name="connsiteY44173" fmla="*/ 3104013 h 6557032"/>
              <a:gd name="connsiteX44174" fmla="*/ 1716488 w 4610101"/>
              <a:gd name="connsiteY44174" fmla="*/ 3134991 h 6557032"/>
              <a:gd name="connsiteX44175" fmla="*/ 1705555 w 4610101"/>
              <a:gd name="connsiteY44175" fmla="*/ 3140456 h 6557032"/>
              <a:gd name="connsiteX44176" fmla="*/ 1721955 w 4610101"/>
              <a:gd name="connsiteY44176" fmla="*/ 3142278 h 6557032"/>
              <a:gd name="connsiteX44177" fmla="*/ 1727421 w 4610101"/>
              <a:gd name="connsiteY44177" fmla="*/ 3151390 h 6557032"/>
              <a:gd name="connsiteX44178" fmla="*/ 1720133 w 4610101"/>
              <a:gd name="connsiteY44178" fmla="*/ 3149568 h 6557032"/>
              <a:gd name="connsiteX44179" fmla="*/ 1721955 w 4610101"/>
              <a:gd name="connsiteY44179" fmla="*/ 3153212 h 6557032"/>
              <a:gd name="connsiteX44180" fmla="*/ 1707377 w 4610101"/>
              <a:gd name="connsiteY44180" fmla="*/ 3145922 h 6557032"/>
              <a:gd name="connsiteX44181" fmla="*/ 1678223 w 4610101"/>
              <a:gd name="connsiteY44181" fmla="*/ 3147744 h 6557032"/>
              <a:gd name="connsiteX44182" fmla="*/ 1698266 w 4610101"/>
              <a:gd name="connsiteY44182" fmla="*/ 3156856 h 6557032"/>
              <a:gd name="connsiteX44183" fmla="*/ 1694622 w 4610101"/>
              <a:gd name="connsiteY44183" fmla="*/ 3167790 h 6557032"/>
              <a:gd name="connsiteX44184" fmla="*/ 1720133 w 4610101"/>
              <a:gd name="connsiteY44184" fmla="*/ 3160500 h 6557032"/>
              <a:gd name="connsiteX44185" fmla="*/ 1725599 w 4610101"/>
              <a:gd name="connsiteY44185" fmla="*/ 3167790 h 6557032"/>
              <a:gd name="connsiteX44186" fmla="*/ 1732888 w 4610101"/>
              <a:gd name="connsiteY44186" fmla="*/ 3180544 h 6557032"/>
              <a:gd name="connsiteX44187" fmla="*/ 1731066 w 4610101"/>
              <a:gd name="connsiteY44187" fmla="*/ 3186011 h 6557032"/>
              <a:gd name="connsiteX44188" fmla="*/ 1676400 w 4610101"/>
              <a:gd name="connsiteY44188" fmla="*/ 3195121 h 6557032"/>
              <a:gd name="connsiteX44189" fmla="*/ 1634491 w 4610101"/>
              <a:gd name="connsiteY44189" fmla="*/ 3200587 h 6557032"/>
              <a:gd name="connsiteX44190" fmla="*/ 1623558 w 4610101"/>
              <a:gd name="connsiteY44190" fmla="*/ 3191477 h 6557032"/>
              <a:gd name="connsiteX44191" fmla="*/ 1610802 w 4610101"/>
              <a:gd name="connsiteY44191" fmla="*/ 3180544 h 6557032"/>
              <a:gd name="connsiteX44192" fmla="*/ 1661824 w 4610101"/>
              <a:gd name="connsiteY44192" fmla="*/ 3176899 h 6557032"/>
              <a:gd name="connsiteX44193" fmla="*/ 1625380 w 4610101"/>
              <a:gd name="connsiteY44193" fmla="*/ 3167790 h 6557032"/>
              <a:gd name="connsiteX44194" fmla="*/ 1629024 w 4610101"/>
              <a:gd name="connsiteY44194" fmla="*/ 3160500 h 6557032"/>
              <a:gd name="connsiteX44195" fmla="*/ 1645423 w 4610101"/>
              <a:gd name="connsiteY44195" fmla="*/ 3156856 h 6557032"/>
              <a:gd name="connsiteX44196" fmla="*/ 1630846 w 4610101"/>
              <a:gd name="connsiteY44196" fmla="*/ 3153212 h 6557032"/>
              <a:gd name="connsiteX44197" fmla="*/ 1632669 w 4610101"/>
              <a:gd name="connsiteY44197" fmla="*/ 3144100 h 6557032"/>
              <a:gd name="connsiteX44198" fmla="*/ 1629024 w 4610101"/>
              <a:gd name="connsiteY44198" fmla="*/ 3138635 h 6557032"/>
              <a:gd name="connsiteX44199" fmla="*/ 1632669 w 4610101"/>
              <a:gd name="connsiteY44199" fmla="*/ 3127701 h 6557032"/>
              <a:gd name="connsiteX44200" fmla="*/ 1610802 w 4610101"/>
              <a:gd name="connsiteY44200" fmla="*/ 3142278 h 6557032"/>
              <a:gd name="connsiteX44201" fmla="*/ 1605336 w 4610101"/>
              <a:gd name="connsiteY44201" fmla="*/ 3122235 h 6557032"/>
              <a:gd name="connsiteX44202" fmla="*/ 1603513 w 4610101"/>
              <a:gd name="connsiteY44202" fmla="*/ 3153212 h 6557032"/>
              <a:gd name="connsiteX44203" fmla="*/ 1594403 w 4610101"/>
              <a:gd name="connsiteY44203" fmla="*/ 3151390 h 6557032"/>
              <a:gd name="connsiteX44204" fmla="*/ 1596225 w 4610101"/>
              <a:gd name="connsiteY44204" fmla="*/ 3155034 h 6557032"/>
              <a:gd name="connsiteX44205" fmla="*/ 1590758 w 4610101"/>
              <a:gd name="connsiteY44205" fmla="*/ 3162322 h 6557032"/>
              <a:gd name="connsiteX44206" fmla="*/ 1587114 w 4610101"/>
              <a:gd name="connsiteY44206" fmla="*/ 3125879 h 6557032"/>
              <a:gd name="connsiteX44207" fmla="*/ 1572537 w 4610101"/>
              <a:gd name="connsiteY44207" fmla="*/ 3104013 h 6557032"/>
              <a:gd name="connsiteX44208" fmla="*/ 1567070 w 4610101"/>
              <a:gd name="connsiteY44208" fmla="*/ 3109479 h 6557032"/>
              <a:gd name="connsiteX44209" fmla="*/ 1568892 w 4610101"/>
              <a:gd name="connsiteY44209" fmla="*/ 3140456 h 6557032"/>
              <a:gd name="connsiteX44210" fmla="*/ 1583470 w 4610101"/>
              <a:gd name="connsiteY44210" fmla="*/ 3169612 h 6557032"/>
              <a:gd name="connsiteX44211" fmla="*/ 1576181 w 4610101"/>
              <a:gd name="connsiteY44211" fmla="*/ 3169612 h 6557032"/>
              <a:gd name="connsiteX44212" fmla="*/ 1554315 w 4610101"/>
              <a:gd name="connsiteY44212" fmla="*/ 3165966 h 6557032"/>
              <a:gd name="connsiteX44213" fmla="*/ 1543382 w 4610101"/>
              <a:gd name="connsiteY44213" fmla="*/ 3171434 h 6557032"/>
              <a:gd name="connsiteX44214" fmla="*/ 1565248 w 4610101"/>
              <a:gd name="connsiteY44214" fmla="*/ 3180544 h 6557032"/>
              <a:gd name="connsiteX44215" fmla="*/ 1585292 w 4610101"/>
              <a:gd name="connsiteY44215" fmla="*/ 3176899 h 6557032"/>
              <a:gd name="connsiteX44216" fmla="*/ 1579825 w 4610101"/>
              <a:gd name="connsiteY44216" fmla="*/ 3184189 h 6557032"/>
              <a:gd name="connsiteX44217" fmla="*/ 1578003 w 4610101"/>
              <a:gd name="connsiteY44217" fmla="*/ 3180544 h 6557032"/>
              <a:gd name="connsiteX44218" fmla="*/ 1572537 w 4610101"/>
              <a:gd name="connsiteY44218" fmla="*/ 3180544 h 6557032"/>
              <a:gd name="connsiteX44219" fmla="*/ 1570714 w 4610101"/>
              <a:gd name="connsiteY44219" fmla="*/ 3187833 h 6557032"/>
              <a:gd name="connsiteX44220" fmla="*/ 1554315 w 4610101"/>
              <a:gd name="connsiteY44220" fmla="*/ 3195121 h 6557032"/>
              <a:gd name="connsiteX44221" fmla="*/ 1548848 w 4610101"/>
              <a:gd name="connsiteY44221" fmla="*/ 3200587 h 6557032"/>
              <a:gd name="connsiteX44222" fmla="*/ 1530626 w 4610101"/>
              <a:gd name="connsiteY44222" fmla="*/ 3202411 h 6557032"/>
              <a:gd name="connsiteX44223" fmla="*/ 1512405 w 4610101"/>
              <a:gd name="connsiteY44223" fmla="*/ 3204233 h 6557032"/>
              <a:gd name="connsiteX44224" fmla="*/ 1496006 w 4610101"/>
              <a:gd name="connsiteY44224" fmla="*/ 3191477 h 6557032"/>
              <a:gd name="connsiteX44225" fmla="*/ 1494183 w 4610101"/>
              <a:gd name="connsiteY44225" fmla="*/ 3206055 h 6557032"/>
              <a:gd name="connsiteX44226" fmla="*/ 1457739 w 4610101"/>
              <a:gd name="connsiteY44226" fmla="*/ 3200587 h 6557032"/>
              <a:gd name="connsiteX44227" fmla="*/ 1457739 w 4610101"/>
              <a:gd name="connsiteY44227" fmla="*/ 3191477 h 6557032"/>
              <a:gd name="connsiteX44228" fmla="*/ 1479606 w 4610101"/>
              <a:gd name="connsiteY44228" fmla="*/ 3165966 h 6557032"/>
              <a:gd name="connsiteX44229" fmla="*/ 1479606 w 4610101"/>
              <a:gd name="connsiteY44229" fmla="*/ 3162322 h 6557032"/>
              <a:gd name="connsiteX44230" fmla="*/ 1499650 w 4610101"/>
              <a:gd name="connsiteY44230" fmla="*/ 3156856 h 6557032"/>
              <a:gd name="connsiteX44231" fmla="*/ 1503294 w 4610101"/>
              <a:gd name="connsiteY44231" fmla="*/ 3164144 h 6557032"/>
              <a:gd name="connsiteX44232" fmla="*/ 1503294 w 4610101"/>
              <a:gd name="connsiteY44232" fmla="*/ 3156856 h 6557032"/>
              <a:gd name="connsiteX44233" fmla="*/ 1510583 w 4610101"/>
              <a:gd name="connsiteY44233" fmla="*/ 3162322 h 6557032"/>
              <a:gd name="connsiteX44234" fmla="*/ 1508760 w 4610101"/>
              <a:gd name="connsiteY44234" fmla="*/ 3158678 h 6557032"/>
              <a:gd name="connsiteX44235" fmla="*/ 1516049 w 4610101"/>
              <a:gd name="connsiteY44235" fmla="*/ 3158678 h 6557032"/>
              <a:gd name="connsiteX44236" fmla="*/ 1506938 w 4610101"/>
              <a:gd name="connsiteY44236" fmla="*/ 3153212 h 6557032"/>
              <a:gd name="connsiteX44237" fmla="*/ 1512405 w 4610101"/>
              <a:gd name="connsiteY44237" fmla="*/ 3149568 h 6557032"/>
              <a:gd name="connsiteX44238" fmla="*/ 1497827 w 4610101"/>
              <a:gd name="connsiteY44238" fmla="*/ 3151390 h 6557032"/>
              <a:gd name="connsiteX44239" fmla="*/ 1519693 w 4610101"/>
              <a:gd name="connsiteY44239" fmla="*/ 3140456 h 6557032"/>
              <a:gd name="connsiteX44240" fmla="*/ 1521516 w 4610101"/>
              <a:gd name="connsiteY44240" fmla="*/ 3136813 h 6557032"/>
              <a:gd name="connsiteX44241" fmla="*/ 1541559 w 4610101"/>
              <a:gd name="connsiteY44241" fmla="*/ 3125879 h 6557032"/>
              <a:gd name="connsiteX44242" fmla="*/ 1550670 w 4610101"/>
              <a:gd name="connsiteY44242" fmla="*/ 3118591 h 6557032"/>
              <a:gd name="connsiteX44243" fmla="*/ 1567070 w 4610101"/>
              <a:gd name="connsiteY44243" fmla="*/ 3098548 h 6557032"/>
              <a:gd name="connsiteX44244" fmla="*/ 1570714 w 4610101"/>
              <a:gd name="connsiteY44244" fmla="*/ 3096726 h 6557032"/>
              <a:gd name="connsiteX44245" fmla="*/ 1568892 w 4610101"/>
              <a:gd name="connsiteY44245" fmla="*/ 3094904 h 6557032"/>
              <a:gd name="connsiteX44246" fmla="*/ 1574359 w 4610101"/>
              <a:gd name="connsiteY44246" fmla="*/ 3087614 h 6557032"/>
              <a:gd name="connsiteX44247" fmla="*/ 1578003 w 4610101"/>
              <a:gd name="connsiteY44247" fmla="*/ 3091258 h 6557032"/>
              <a:gd name="connsiteX44248" fmla="*/ 1580733 w 4610101"/>
              <a:gd name="connsiteY44248" fmla="*/ 3085798 h 6557032"/>
              <a:gd name="connsiteX44249" fmla="*/ 1579824 w 4610101"/>
              <a:gd name="connsiteY44249" fmla="*/ 3085798 h 6557032"/>
              <a:gd name="connsiteX44250" fmla="*/ 1581036 w 4610101"/>
              <a:gd name="connsiteY44250" fmla="*/ 3085193 h 6557032"/>
              <a:gd name="connsiteX44251" fmla="*/ 1583470 w 4610101"/>
              <a:gd name="connsiteY44251" fmla="*/ 3080326 h 6557032"/>
              <a:gd name="connsiteX44252" fmla="*/ 1590758 w 4610101"/>
              <a:gd name="connsiteY44252" fmla="*/ 3089436 h 6557032"/>
              <a:gd name="connsiteX44253" fmla="*/ 1590758 w 4610101"/>
              <a:gd name="connsiteY44253" fmla="*/ 3083970 h 6557032"/>
              <a:gd name="connsiteX44254" fmla="*/ 1594403 w 4610101"/>
              <a:gd name="connsiteY44254" fmla="*/ 3083970 h 6557032"/>
              <a:gd name="connsiteX44255" fmla="*/ 1590758 w 4610101"/>
              <a:gd name="connsiteY44255" fmla="*/ 3078504 h 6557032"/>
              <a:gd name="connsiteX44256" fmla="*/ 1605336 w 4610101"/>
              <a:gd name="connsiteY44256" fmla="*/ 3089436 h 6557032"/>
              <a:gd name="connsiteX44257" fmla="*/ 1592580 w 4610101"/>
              <a:gd name="connsiteY44257" fmla="*/ 3076682 h 6557032"/>
              <a:gd name="connsiteX44258" fmla="*/ 1608980 w 4610101"/>
              <a:gd name="connsiteY44258" fmla="*/ 3060283 h 6557032"/>
              <a:gd name="connsiteX44259" fmla="*/ 1590758 w 4610101"/>
              <a:gd name="connsiteY44259" fmla="*/ 3071214 h 6557032"/>
              <a:gd name="connsiteX44260" fmla="*/ 1587114 w 4610101"/>
              <a:gd name="connsiteY44260" fmla="*/ 3051171 h 6557032"/>
              <a:gd name="connsiteX44261" fmla="*/ 1585292 w 4610101"/>
              <a:gd name="connsiteY44261" fmla="*/ 3073036 h 6557032"/>
              <a:gd name="connsiteX44262" fmla="*/ 1581647 w 4610101"/>
              <a:gd name="connsiteY44262" fmla="*/ 3069392 h 6557032"/>
              <a:gd name="connsiteX44263" fmla="*/ 1579825 w 4610101"/>
              <a:gd name="connsiteY44263" fmla="*/ 3073036 h 6557032"/>
              <a:gd name="connsiteX44264" fmla="*/ 1572537 w 4610101"/>
              <a:gd name="connsiteY44264" fmla="*/ 3073036 h 6557032"/>
              <a:gd name="connsiteX44265" fmla="*/ 1579825 w 4610101"/>
              <a:gd name="connsiteY44265" fmla="*/ 3078504 h 6557032"/>
              <a:gd name="connsiteX44266" fmla="*/ 1570714 w 4610101"/>
              <a:gd name="connsiteY44266" fmla="*/ 3089436 h 6557032"/>
              <a:gd name="connsiteX44267" fmla="*/ 1548848 w 4610101"/>
              <a:gd name="connsiteY44267" fmla="*/ 3116769 h 6557032"/>
              <a:gd name="connsiteX44268" fmla="*/ 1543382 w 4610101"/>
              <a:gd name="connsiteY44268" fmla="*/ 3118591 h 6557032"/>
              <a:gd name="connsiteX44269" fmla="*/ 1525160 w 4610101"/>
              <a:gd name="connsiteY44269" fmla="*/ 3131347 h 6557032"/>
              <a:gd name="connsiteX44270" fmla="*/ 1508760 w 4610101"/>
              <a:gd name="connsiteY44270" fmla="*/ 3138635 h 6557032"/>
              <a:gd name="connsiteX44271" fmla="*/ 1481428 w 4610101"/>
              <a:gd name="connsiteY44271" fmla="*/ 3155034 h 6557032"/>
              <a:gd name="connsiteX44272" fmla="*/ 1472317 w 4610101"/>
              <a:gd name="connsiteY44272" fmla="*/ 3162322 h 6557032"/>
              <a:gd name="connsiteX44273" fmla="*/ 1523339 w 4610101"/>
              <a:gd name="connsiteY44273" fmla="*/ 3074858 h 6557032"/>
              <a:gd name="connsiteX44274" fmla="*/ 1528804 w 4610101"/>
              <a:gd name="connsiteY44274" fmla="*/ 3069392 h 6557032"/>
              <a:gd name="connsiteX44275" fmla="*/ 1525160 w 4610101"/>
              <a:gd name="connsiteY44275" fmla="*/ 3067570 h 6557032"/>
              <a:gd name="connsiteX44276" fmla="*/ 1547026 w 4610101"/>
              <a:gd name="connsiteY44276" fmla="*/ 3023840 h 6557032"/>
              <a:gd name="connsiteX44277" fmla="*/ 1550670 w 4610101"/>
              <a:gd name="connsiteY44277" fmla="*/ 3022018 h 6557032"/>
              <a:gd name="connsiteX44278" fmla="*/ 1550670 w 4610101"/>
              <a:gd name="connsiteY44278" fmla="*/ 3016550 h 6557032"/>
              <a:gd name="connsiteX44279" fmla="*/ 1563426 w 4610101"/>
              <a:gd name="connsiteY44279" fmla="*/ 2996506 h 6557032"/>
              <a:gd name="connsiteX44280" fmla="*/ 1561603 w 4610101"/>
              <a:gd name="connsiteY44280" fmla="*/ 2992863 h 6557032"/>
              <a:gd name="connsiteX44281" fmla="*/ 1578003 w 4610101"/>
              <a:gd name="connsiteY44281" fmla="*/ 2961885 h 6557032"/>
              <a:gd name="connsiteX44282" fmla="*/ 1592580 w 4610101"/>
              <a:gd name="connsiteY44282" fmla="*/ 2947308 h 6557032"/>
              <a:gd name="connsiteX44283" fmla="*/ 1592580 w 4610101"/>
              <a:gd name="connsiteY44283" fmla="*/ 2943664 h 6557032"/>
              <a:gd name="connsiteX44284" fmla="*/ 1588936 w 4610101"/>
              <a:gd name="connsiteY44284" fmla="*/ 2941842 h 6557032"/>
              <a:gd name="connsiteX44285" fmla="*/ 1601691 w 4610101"/>
              <a:gd name="connsiteY44285" fmla="*/ 2921798 h 6557032"/>
              <a:gd name="connsiteX44286" fmla="*/ 1605336 w 4610101"/>
              <a:gd name="connsiteY44286" fmla="*/ 2916330 h 6557032"/>
              <a:gd name="connsiteX44287" fmla="*/ 1614447 w 4610101"/>
              <a:gd name="connsiteY44287" fmla="*/ 2907221 h 6557032"/>
              <a:gd name="connsiteX44288" fmla="*/ 1629024 w 4610101"/>
              <a:gd name="connsiteY44288" fmla="*/ 2896287 h 6557032"/>
              <a:gd name="connsiteX44289" fmla="*/ 1629024 w 4610101"/>
              <a:gd name="connsiteY44289" fmla="*/ 2890821 h 6557032"/>
              <a:gd name="connsiteX44290" fmla="*/ 1641780 w 4610101"/>
              <a:gd name="connsiteY44290" fmla="*/ 2879887 h 6557032"/>
              <a:gd name="connsiteX44291" fmla="*/ 1639957 w 4610101"/>
              <a:gd name="connsiteY44291" fmla="*/ 2876243 h 6557032"/>
              <a:gd name="connsiteX44292" fmla="*/ 1667289 w 4610101"/>
              <a:gd name="connsiteY44292" fmla="*/ 2848912 h 6557032"/>
              <a:gd name="connsiteX44293" fmla="*/ 1672756 w 4610101"/>
              <a:gd name="connsiteY44293" fmla="*/ 2845266 h 6557032"/>
              <a:gd name="connsiteX44294" fmla="*/ 1669112 w 4610101"/>
              <a:gd name="connsiteY44294" fmla="*/ 2843444 h 6557032"/>
              <a:gd name="connsiteX44295" fmla="*/ 1696444 w 4610101"/>
              <a:gd name="connsiteY44295" fmla="*/ 2823401 h 6557032"/>
              <a:gd name="connsiteX44296" fmla="*/ 1700089 w 4610101"/>
              <a:gd name="connsiteY44296" fmla="*/ 2812469 h 6557032"/>
              <a:gd name="connsiteX44297" fmla="*/ 1676400 w 4610101"/>
              <a:gd name="connsiteY44297" fmla="*/ 2832512 h 6557032"/>
              <a:gd name="connsiteX44298" fmla="*/ 1652713 w 4610101"/>
              <a:gd name="connsiteY44298" fmla="*/ 2854378 h 6557032"/>
              <a:gd name="connsiteX44299" fmla="*/ 1647246 w 4610101"/>
              <a:gd name="connsiteY44299" fmla="*/ 2852556 h 6557032"/>
              <a:gd name="connsiteX44300" fmla="*/ 1647246 w 4610101"/>
              <a:gd name="connsiteY44300" fmla="*/ 2858022 h 6557032"/>
              <a:gd name="connsiteX44301" fmla="*/ 1612624 w 4610101"/>
              <a:gd name="connsiteY44301" fmla="*/ 2903577 h 6557032"/>
              <a:gd name="connsiteX44302" fmla="*/ 1608980 w 4610101"/>
              <a:gd name="connsiteY44302" fmla="*/ 2899931 h 6557032"/>
              <a:gd name="connsiteX44303" fmla="*/ 1603513 w 4610101"/>
              <a:gd name="connsiteY44303" fmla="*/ 2901755 h 6557032"/>
              <a:gd name="connsiteX44304" fmla="*/ 1603513 w 4610101"/>
              <a:gd name="connsiteY44304" fmla="*/ 2896287 h 6557032"/>
              <a:gd name="connsiteX44305" fmla="*/ 1619913 w 4610101"/>
              <a:gd name="connsiteY44305" fmla="*/ 2879887 h 6557032"/>
              <a:gd name="connsiteX44306" fmla="*/ 1603513 w 4610101"/>
              <a:gd name="connsiteY44306" fmla="*/ 2890821 h 6557032"/>
              <a:gd name="connsiteX44307" fmla="*/ 1601691 w 4610101"/>
              <a:gd name="connsiteY44307" fmla="*/ 2858022 h 6557032"/>
              <a:gd name="connsiteX44308" fmla="*/ 1594403 w 4610101"/>
              <a:gd name="connsiteY44308" fmla="*/ 2874422 h 6557032"/>
              <a:gd name="connsiteX44309" fmla="*/ 1587114 w 4610101"/>
              <a:gd name="connsiteY44309" fmla="*/ 2867134 h 6557032"/>
              <a:gd name="connsiteX44310" fmla="*/ 1587114 w 4610101"/>
              <a:gd name="connsiteY44310" fmla="*/ 2878066 h 6557032"/>
              <a:gd name="connsiteX44311" fmla="*/ 1579825 w 4610101"/>
              <a:gd name="connsiteY44311" fmla="*/ 2874422 h 6557032"/>
              <a:gd name="connsiteX44312" fmla="*/ 1594403 w 4610101"/>
              <a:gd name="connsiteY44312" fmla="*/ 2903577 h 6557032"/>
              <a:gd name="connsiteX44313" fmla="*/ 1592887 w 4610101"/>
              <a:gd name="connsiteY44313" fmla="*/ 2904333 h 6557032"/>
              <a:gd name="connsiteX44314" fmla="*/ 1594402 w 4610101"/>
              <a:gd name="connsiteY44314" fmla="*/ 2907235 h 6557032"/>
              <a:gd name="connsiteX44315" fmla="*/ 1593515 w 4610101"/>
              <a:gd name="connsiteY44315" fmla="*/ 2907235 h 6557032"/>
              <a:gd name="connsiteX44316" fmla="*/ 1596225 w 4610101"/>
              <a:gd name="connsiteY44316" fmla="*/ 2909043 h 6557032"/>
              <a:gd name="connsiteX44317" fmla="*/ 1598047 w 4610101"/>
              <a:gd name="connsiteY44317" fmla="*/ 2919977 h 6557032"/>
              <a:gd name="connsiteX44318" fmla="*/ 1572537 w 4610101"/>
              <a:gd name="connsiteY44318" fmla="*/ 2961885 h 6557032"/>
              <a:gd name="connsiteX44319" fmla="*/ 1568892 w 4610101"/>
              <a:gd name="connsiteY44319" fmla="*/ 2961885 h 6557032"/>
              <a:gd name="connsiteX44320" fmla="*/ 1568892 w 4610101"/>
              <a:gd name="connsiteY44320" fmla="*/ 2967351 h 6557032"/>
              <a:gd name="connsiteX44321" fmla="*/ 1530626 w 4610101"/>
              <a:gd name="connsiteY44321" fmla="*/ 3040237 h 6557032"/>
              <a:gd name="connsiteX44322" fmla="*/ 1528804 w 4610101"/>
              <a:gd name="connsiteY44322" fmla="*/ 3038415 h 6557032"/>
              <a:gd name="connsiteX44323" fmla="*/ 1528804 w 4610101"/>
              <a:gd name="connsiteY44323" fmla="*/ 3045705 h 6557032"/>
              <a:gd name="connsiteX44324" fmla="*/ 1508760 w 4610101"/>
              <a:gd name="connsiteY44324" fmla="*/ 3087614 h 6557032"/>
              <a:gd name="connsiteX44325" fmla="*/ 1505117 w 4610101"/>
              <a:gd name="connsiteY44325" fmla="*/ 3087614 h 6557032"/>
              <a:gd name="connsiteX44326" fmla="*/ 1468673 w 4610101"/>
              <a:gd name="connsiteY44326" fmla="*/ 3155034 h 6557032"/>
              <a:gd name="connsiteX44327" fmla="*/ 1466850 w 4610101"/>
              <a:gd name="connsiteY44327" fmla="*/ 3155034 h 6557032"/>
              <a:gd name="connsiteX44328" fmla="*/ 1452273 w 4610101"/>
              <a:gd name="connsiteY44328" fmla="*/ 3169612 h 6557032"/>
              <a:gd name="connsiteX44329" fmla="*/ 1446806 w 4610101"/>
              <a:gd name="connsiteY44329" fmla="*/ 3165966 h 6557032"/>
              <a:gd name="connsiteX44330" fmla="*/ 1443162 w 4610101"/>
              <a:gd name="connsiteY44330" fmla="*/ 3164144 h 6557032"/>
              <a:gd name="connsiteX44331" fmla="*/ 1444984 w 4610101"/>
              <a:gd name="connsiteY44331" fmla="*/ 3175078 h 6557032"/>
              <a:gd name="connsiteX44332" fmla="*/ 1403074 w 4610101"/>
              <a:gd name="connsiteY44332" fmla="*/ 3191477 h 6557032"/>
              <a:gd name="connsiteX44333" fmla="*/ 1406719 w 4610101"/>
              <a:gd name="connsiteY44333" fmla="*/ 3182367 h 6557032"/>
              <a:gd name="connsiteX44334" fmla="*/ 1399430 w 4610101"/>
              <a:gd name="connsiteY44334" fmla="*/ 3178721 h 6557032"/>
              <a:gd name="connsiteX44335" fmla="*/ 1399430 w 4610101"/>
              <a:gd name="connsiteY44335" fmla="*/ 3184189 h 6557032"/>
              <a:gd name="connsiteX44336" fmla="*/ 1397608 w 4610101"/>
              <a:gd name="connsiteY44336" fmla="*/ 3193299 h 6557032"/>
              <a:gd name="connsiteX44337" fmla="*/ 1375743 w 4610101"/>
              <a:gd name="connsiteY44337" fmla="*/ 3195121 h 6557032"/>
              <a:gd name="connsiteX44338" fmla="*/ 1328365 w 4610101"/>
              <a:gd name="connsiteY44338" fmla="*/ 3187833 h 6557032"/>
              <a:gd name="connsiteX44339" fmla="*/ 1344765 w 4610101"/>
              <a:gd name="connsiteY44339" fmla="*/ 3162322 h 6557032"/>
              <a:gd name="connsiteX44340" fmla="*/ 1355698 w 4610101"/>
              <a:gd name="connsiteY44340" fmla="*/ 3160500 h 6557032"/>
              <a:gd name="connsiteX44341" fmla="*/ 1353876 w 4610101"/>
              <a:gd name="connsiteY44341" fmla="*/ 3156856 h 6557032"/>
              <a:gd name="connsiteX44342" fmla="*/ 1361164 w 4610101"/>
              <a:gd name="connsiteY44342" fmla="*/ 3155034 h 6557032"/>
              <a:gd name="connsiteX44343" fmla="*/ 1352053 w 4610101"/>
              <a:gd name="connsiteY44343" fmla="*/ 3149568 h 6557032"/>
              <a:gd name="connsiteX44344" fmla="*/ 1359342 w 4610101"/>
              <a:gd name="connsiteY44344" fmla="*/ 3140456 h 6557032"/>
              <a:gd name="connsiteX44345" fmla="*/ 1359342 w 4610101"/>
              <a:gd name="connsiteY44345" fmla="*/ 3138635 h 6557032"/>
              <a:gd name="connsiteX44346" fmla="*/ 1364809 w 4610101"/>
              <a:gd name="connsiteY44346" fmla="*/ 3140456 h 6557032"/>
              <a:gd name="connsiteX44347" fmla="*/ 1399430 w 4610101"/>
              <a:gd name="connsiteY44347" fmla="*/ 3093080 h 6557032"/>
              <a:gd name="connsiteX44348" fmla="*/ 1390319 w 4610101"/>
              <a:gd name="connsiteY44348" fmla="*/ 3085792 h 6557032"/>
              <a:gd name="connsiteX44349" fmla="*/ 1388497 w 4610101"/>
              <a:gd name="connsiteY44349" fmla="*/ 3083970 h 6557032"/>
              <a:gd name="connsiteX44350" fmla="*/ 1390319 w 4610101"/>
              <a:gd name="connsiteY44350" fmla="*/ 3083970 h 6557032"/>
              <a:gd name="connsiteX44351" fmla="*/ 1392141 w 4610101"/>
              <a:gd name="connsiteY44351" fmla="*/ 3085792 h 6557032"/>
              <a:gd name="connsiteX44352" fmla="*/ 1399430 w 4610101"/>
              <a:gd name="connsiteY44352" fmla="*/ 3091258 h 6557032"/>
              <a:gd name="connsiteX44353" fmla="*/ 1392141 w 4610101"/>
              <a:gd name="connsiteY44353" fmla="*/ 3080326 h 6557032"/>
              <a:gd name="connsiteX44354" fmla="*/ 1401252 w 4610101"/>
              <a:gd name="connsiteY44354" fmla="*/ 3076682 h 6557032"/>
              <a:gd name="connsiteX44355" fmla="*/ 1399430 w 4610101"/>
              <a:gd name="connsiteY44355" fmla="*/ 3073036 h 6557032"/>
              <a:gd name="connsiteX44356" fmla="*/ 1406719 w 4610101"/>
              <a:gd name="connsiteY44356" fmla="*/ 3073036 h 6557032"/>
              <a:gd name="connsiteX44357" fmla="*/ 1406719 w 4610101"/>
              <a:gd name="connsiteY44357" fmla="*/ 3065749 h 6557032"/>
              <a:gd name="connsiteX44358" fmla="*/ 1399430 w 4610101"/>
              <a:gd name="connsiteY44358" fmla="*/ 3067570 h 6557032"/>
              <a:gd name="connsiteX44359" fmla="*/ 1410363 w 4610101"/>
              <a:gd name="connsiteY44359" fmla="*/ 3047527 h 6557032"/>
              <a:gd name="connsiteX44360" fmla="*/ 1419474 w 4610101"/>
              <a:gd name="connsiteY44360" fmla="*/ 3031127 h 6557032"/>
              <a:gd name="connsiteX44361" fmla="*/ 1417652 w 4610101"/>
              <a:gd name="connsiteY44361" fmla="*/ 3029306 h 6557032"/>
              <a:gd name="connsiteX44362" fmla="*/ 1430407 w 4610101"/>
              <a:gd name="connsiteY44362" fmla="*/ 3003796 h 6557032"/>
              <a:gd name="connsiteX44363" fmla="*/ 1437696 w 4610101"/>
              <a:gd name="connsiteY44363" fmla="*/ 3005616 h 6557032"/>
              <a:gd name="connsiteX44364" fmla="*/ 1434051 w 4610101"/>
              <a:gd name="connsiteY44364" fmla="*/ 3000150 h 6557032"/>
              <a:gd name="connsiteX44365" fmla="*/ 1437696 w 4610101"/>
              <a:gd name="connsiteY44365" fmla="*/ 2998328 h 6557032"/>
              <a:gd name="connsiteX44366" fmla="*/ 1434051 w 4610101"/>
              <a:gd name="connsiteY44366" fmla="*/ 2996506 h 6557032"/>
              <a:gd name="connsiteX44367" fmla="*/ 1434051 w 4610101"/>
              <a:gd name="connsiteY44367" fmla="*/ 2992863 h 6557032"/>
              <a:gd name="connsiteX44368" fmla="*/ 1428585 w 4610101"/>
              <a:gd name="connsiteY44368" fmla="*/ 2994684 h 6557032"/>
              <a:gd name="connsiteX44369" fmla="*/ 1426763 w 4610101"/>
              <a:gd name="connsiteY44369" fmla="*/ 3000150 h 6557032"/>
              <a:gd name="connsiteX44370" fmla="*/ 1423118 w 4610101"/>
              <a:gd name="connsiteY44370" fmla="*/ 3001972 h 6557032"/>
              <a:gd name="connsiteX44371" fmla="*/ 1424940 w 4610101"/>
              <a:gd name="connsiteY44371" fmla="*/ 3003796 h 6557032"/>
              <a:gd name="connsiteX44372" fmla="*/ 1414007 w 4610101"/>
              <a:gd name="connsiteY44372" fmla="*/ 3020194 h 6557032"/>
              <a:gd name="connsiteX44373" fmla="*/ 1404896 w 4610101"/>
              <a:gd name="connsiteY44373" fmla="*/ 3040237 h 6557032"/>
              <a:gd name="connsiteX44374" fmla="*/ 1386676 w 4610101"/>
              <a:gd name="connsiteY44374" fmla="*/ 3071214 h 6557032"/>
              <a:gd name="connsiteX44375" fmla="*/ 1384854 w 4610101"/>
              <a:gd name="connsiteY44375" fmla="*/ 3069392 h 6557032"/>
              <a:gd name="connsiteX44376" fmla="*/ 1381208 w 4610101"/>
              <a:gd name="connsiteY44376" fmla="*/ 3074858 h 6557032"/>
              <a:gd name="connsiteX44377" fmla="*/ 1377564 w 4610101"/>
              <a:gd name="connsiteY44377" fmla="*/ 3069392 h 6557032"/>
              <a:gd name="connsiteX44378" fmla="*/ 1375743 w 4610101"/>
              <a:gd name="connsiteY44378" fmla="*/ 3069392 h 6557032"/>
              <a:gd name="connsiteX44379" fmla="*/ 1355698 w 4610101"/>
              <a:gd name="connsiteY44379" fmla="*/ 3083970 h 6557032"/>
              <a:gd name="connsiteX44380" fmla="*/ 1377206 w 4610101"/>
              <a:gd name="connsiteY44380" fmla="*/ 3085624 h 6557032"/>
              <a:gd name="connsiteX44381" fmla="*/ 1373919 w 4610101"/>
              <a:gd name="connsiteY44381" fmla="*/ 3083981 h 6557032"/>
              <a:gd name="connsiteX44382" fmla="*/ 1370274 w 4610101"/>
              <a:gd name="connsiteY44382" fmla="*/ 3078515 h 6557032"/>
              <a:gd name="connsiteX44383" fmla="*/ 1375741 w 4610101"/>
              <a:gd name="connsiteY44383" fmla="*/ 3082161 h 6557032"/>
              <a:gd name="connsiteX44384" fmla="*/ 1377484 w 4610101"/>
              <a:gd name="connsiteY44384" fmla="*/ 3085647 h 6557032"/>
              <a:gd name="connsiteX44385" fmla="*/ 1379386 w 4610101"/>
              <a:gd name="connsiteY44385" fmla="*/ 3085792 h 6557032"/>
              <a:gd name="connsiteX44386" fmla="*/ 1362987 w 4610101"/>
              <a:gd name="connsiteY44386" fmla="*/ 3098548 h 6557032"/>
              <a:gd name="connsiteX44387" fmla="*/ 1348410 w 4610101"/>
              <a:gd name="connsiteY44387" fmla="*/ 3091258 h 6557032"/>
              <a:gd name="connsiteX44388" fmla="*/ 1333832 w 4610101"/>
              <a:gd name="connsiteY44388" fmla="*/ 3091258 h 6557032"/>
              <a:gd name="connsiteX44389" fmla="*/ 1319254 w 4610101"/>
              <a:gd name="connsiteY44389" fmla="*/ 3069392 h 6557032"/>
              <a:gd name="connsiteX44390" fmla="*/ 1326543 w 4610101"/>
              <a:gd name="connsiteY44390" fmla="*/ 3060283 h 6557032"/>
              <a:gd name="connsiteX44391" fmla="*/ 1346587 w 4610101"/>
              <a:gd name="connsiteY44391" fmla="*/ 3074858 h 6557032"/>
              <a:gd name="connsiteX44392" fmla="*/ 1362987 w 4610101"/>
              <a:gd name="connsiteY44392" fmla="*/ 3062102 h 6557032"/>
              <a:gd name="connsiteX44393" fmla="*/ 1359342 w 4610101"/>
              <a:gd name="connsiteY44393" fmla="*/ 3052993 h 6557032"/>
              <a:gd name="connsiteX44394" fmla="*/ 1353876 w 4610101"/>
              <a:gd name="connsiteY44394" fmla="*/ 3045705 h 6557032"/>
              <a:gd name="connsiteX44395" fmla="*/ 1348410 w 4610101"/>
              <a:gd name="connsiteY44395" fmla="*/ 3036593 h 6557032"/>
              <a:gd name="connsiteX44396" fmla="*/ 1333832 w 4610101"/>
              <a:gd name="connsiteY44396" fmla="*/ 3047527 h 6557032"/>
              <a:gd name="connsiteX44397" fmla="*/ 1324721 w 4610101"/>
              <a:gd name="connsiteY44397" fmla="*/ 3031127 h 6557032"/>
              <a:gd name="connsiteX44398" fmla="*/ 1302855 w 4610101"/>
              <a:gd name="connsiteY44398" fmla="*/ 3047527 h 6557032"/>
              <a:gd name="connsiteX44399" fmla="*/ 1302855 w 4610101"/>
              <a:gd name="connsiteY44399" fmla="*/ 3023840 h 6557032"/>
              <a:gd name="connsiteX44400" fmla="*/ 1280989 w 4610101"/>
              <a:gd name="connsiteY44400" fmla="*/ 3040237 h 6557032"/>
              <a:gd name="connsiteX44401" fmla="*/ 1277344 w 4610101"/>
              <a:gd name="connsiteY44401" fmla="*/ 3018372 h 6557032"/>
              <a:gd name="connsiteX44402" fmla="*/ 1271878 w 4610101"/>
              <a:gd name="connsiteY44402" fmla="*/ 3003796 h 6557032"/>
              <a:gd name="connsiteX44403" fmla="*/ 1250012 w 4610101"/>
              <a:gd name="connsiteY44403" fmla="*/ 2994684 h 6557032"/>
              <a:gd name="connsiteX44404" fmla="*/ 1250012 w 4610101"/>
              <a:gd name="connsiteY44404" fmla="*/ 2980107 h 6557032"/>
              <a:gd name="connsiteX44405" fmla="*/ 1233612 w 4610101"/>
              <a:gd name="connsiteY44405" fmla="*/ 2981929 h 6557032"/>
              <a:gd name="connsiteX44406" fmla="*/ 1250012 w 4610101"/>
              <a:gd name="connsiteY44406" fmla="*/ 2994684 h 6557032"/>
              <a:gd name="connsiteX44407" fmla="*/ 1182592 w 4610101"/>
              <a:gd name="connsiteY44407" fmla="*/ 3016550 h 6557032"/>
              <a:gd name="connsiteX44408" fmla="*/ 1213568 w 4610101"/>
              <a:gd name="connsiteY44408" fmla="*/ 2985572 h 6557032"/>
              <a:gd name="connsiteX44409" fmla="*/ 1213568 w 4610101"/>
              <a:gd name="connsiteY44409" fmla="*/ 2970997 h 6557032"/>
              <a:gd name="connsiteX44410" fmla="*/ 1198991 w 4610101"/>
              <a:gd name="connsiteY44410" fmla="*/ 2970997 h 6557032"/>
              <a:gd name="connsiteX44411" fmla="*/ 1198991 w 4610101"/>
              <a:gd name="connsiteY44411" fmla="*/ 2956417 h 6557032"/>
              <a:gd name="connsiteX44412" fmla="*/ 1168014 w 4610101"/>
              <a:gd name="connsiteY44412" fmla="*/ 2978285 h 6557032"/>
              <a:gd name="connsiteX44413" fmla="*/ 1129748 w 4610101"/>
              <a:gd name="connsiteY44413" fmla="*/ 2947308 h 6557032"/>
              <a:gd name="connsiteX44414" fmla="*/ 1129748 w 4610101"/>
              <a:gd name="connsiteY44414" fmla="*/ 2925442 h 6557032"/>
              <a:gd name="connsiteX44415" fmla="*/ 1146148 w 4610101"/>
              <a:gd name="connsiteY44415" fmla="*/ 2901755 h 6557032"/>
              <a:gd name="connsiteX44416" fmla="*/ 1142503 w 4610101"/>
              <a:gd name="connsiteY44416" fmla="*/ 2896287 h 6557032"/>
              <a:gd name="connsiteX44417" fmla="*/ 1144326 w 4610101"/>
              <a:gd name="connsiteY44417" fmla="*/ 2894465 h 6557032"/>
              <a:gd name="connsiteX44418" fmla="*/ 1149792 w 4610101"/>
              <a:gd name="connsiteY44418" fmla="*/ 2887177 h 6557032"/>
              <a:gd name="connsiteX44419" fmla="*/ 1151614 w 4610101"/>
              <a:gd name="connsiteY44419" fmla="*/ 2887177 h 6557032"/>
              <a:gd name="connsiteX44420" fmla="*/ 1153436 w 4610101"/>
              <a:gd name="connsiteY44420" fmla="*/ 2885355 h 6557032"/>
              <a:gd name="connsiteX44421" fmla="*/ 1175303 w 4610101"/>
              <a:gd name="connsiteY44421" fmla="*/ 2865312 h 6557032"/>
              <a:gd name="connsiteX44422" fmla="*/ 1215390 w 4610101"/>
              <a:gd name="connsiteY44422" fmla="*/ 2828868 h 6557032"/>
              <a:gd name="connsiteX44423" fmla="*/ 1231790 w 4610101"/>
              <a:gd name="connsiteY44423" fmla="*/ 2819757 h 6557032"/>
              <a:gd name="connsiteX44424" fmla="*/ 1270056 w 4610101"/>
              <a:gd name="connsiteY44424" fmla="*/ 2797891 h 6557032"/>
              <a:gd name="connsiteX44425" fmla="*/ 1271878 w 4610101"/>
              <a:gd name="connsiteY44425" fmla="*/ 2796068 h 6557032"/>
              <a:gd name="connsiteX44426" fmla="*/ 1290100 w 4610101"/>
              <a:gd name="connsiteY44426" fmla="*/ 2785136 h 6557032"/>
              <a:gd name="connsiteX44427" fmla="*/ 1332009 w 4610101"/>
              <a:gd name="connsiteY44427" fmla="*/ 2768736 h 6557032"/>
              <a:gd name="connsiteX44428" fmla="*/ 1248189 w 4610101"/>
              <a:gd name="connsiteY44428" fmla="*/ 2799711 h 6557032"/>
              <a:gd name="connsiteX44429" fmla="*/ 1209925 w 4610101"/>
              <a:gd name="connsiteY44429" fmla="*/ 2827045 h 6557032"/>
              <a:gd name="connsiteX44430" fmla="*/ 1188058 w 4610101"/>
              <a:gd name="connsiteY44430" fmla="*/ 2843444 h 6557032"/>
              <a:gd name="connsiteX44431" fmla="*/ 1157081 w 4610101"/>
              <a:gd name="connsiteY44431" fmla="*/ 2870778 h 6557032"/>
              <a:gd name="connsiteX44432" fmla="*/ 1158903 w 4610101"/>
              <a:gd name="connsiteY44432" fmla="*/ 2865312 h 6557032"/>
              <a:gd name="connsiteX44433" fmla="*/ 1153436 w 4610101"/>
              <a:gd name="connsiteY44433" fmla="*/ 2856200 h 6557032"/>
              <a:gd name="connsiteX44434" fmla="*/ 1155259 w 4610101"/>
              <a:gd name="connsiteY44434" fmla="*/ 2856200 h 6557032"/>
              <a:gd name="connsiteX44435" fmla="*/ 1146148 w 4610101"/>
              <a:gd name="connsiteY44435" fmla="*/ 2836156 h 6557032"/>
              <a:gd name="connsiteX44436" fmla="*/ 1160725 w 4610101"/>
              <a:gd name="connsiteY44436" fmla="*/ 2830688 h 6557032"/>
              <a:gd name="connsiteX44437" fmla="*/ 1147970 w 4610101"/>
              <a:gd name="connsiteY44437" fmla="*/ 2823401 h 6557032"/>
              <a:gd name="connsiteX44438" fmla="*/ 1149792 w 4610101"/>
              <a:gd name="connsiteY44438" fmla="*/ 2810645 h 6557032"/>
              <a:gd name="connsiteX44439" fmla="*/ 1135215 w 4610101"/>
              <a:gd name="connsiteY44439" fmla="*/ 2825223 h 6557032"/>
              <a:gd name="connsiteX44440" fmla="*/ 1135215 w 4610101"/>
              <a:gd name="connsiteY44440" fmla="*/ 2819757 h 6557032"/>
              <a:gd name="connsiteX44441" fmla="*/ 1127926 w 4610101"/>
              <a:gd name="connsiteY44441" fmla="*/ 2827045 h 6557032"/>
              <a:gd name="connsiteX44442" fmla="*/ 1124282 w 4610101"/>
              <a:gd name="connsiteY44442" fmla="*/ 2827045 h 6557032"/>
              <a:gd name="connsiteX44443" fmla="*/ 1126104 w 4610101"/>
              <a:gd name="connsiteY44443" fmla="*/ 2825223 h 6557032"/>
              <a:gd name="connsiteX44444" fmla="*/ 1124282 w 4610101"/>
              <a:gd name="connsiteY44444" fmla="*/ 2823401 h 6557032"/>
              <a:gd name="connsiteX44445" fmla="*/ 1131570 w 4610101"/>
              <a:gd name="connsiteY44445" fmla="*/ 2805179 h 6557032"/>
              <a:gd name="connsiteX44446" fmla="*/ 1151614 w 4610101"/>
              <a:gd name="connsiteY44446" fmla="*/ 2796068 h 6557032"/>
              <a:gd name="connsiteX44447" fmla="*/ 1166192 w 4610101"/>
              <a:gd name="connsiteY44447" fmla="*/ 2786957 h 6557032"/>
              <a:gd name="connsiteX44448" fmla="*/ 1166192 w 4610101"/>
              <a:gd name="connsiteY44448" fmla="*/ 2783314 h 6557032"/>
              <a:gd name="connsiteX44449" fmla="*/ 1200814 w 4610101"/>
              <a:gd name="connsiteY44449" fmla="*/ 2770558 h 6557032"/>
              <a:gd name="connsiteX44450" fmla="*/ 1220858 w 4610101"/>
              <a:gd name="connsiteY44450" fmla="*/ 2763270 h 6557032"/>
              <a:gd name="connsiteX44451" fmla="*/ 1211747 w 4610101"/>
              <a:gd name="connsiteY44451" fmla="*/ 2759624 h 6557032"/>
              <a:gd name="connsiteX44452" fmla="*/ 1188058 w 4610101"/>
              <a:gd name="connsiteY44452" fmla="*/ 2768736 h 6557032"/>
              <a:gd name="connsiteX44453" fmla="*/ 1189880 w 4610101"/>
              <a:gd name="connsiteY44453" fmla="*/ 2763270 h 6557032"/>
              <a:gd name="connsiteX44454" fmla="*/ 1184414 w 4610101"/>
              <a:gd name="connsiteY44454" fmla="*/ 2768736 h 6557032"/>
              <a:gd name="connsiteX44455" fmla="*/ 1151614 w 4610101"/>
              <a:gd name="connsiteY44455" fmla="*/ 2790601 h 6557032"/>
              <a:gd name="connsiteX44456" fmla="*/ 1147970 w 4610101"/>
              <a:gd name="connsiteY44456" fmla="*/ 2790601 h 6557032"/>
              <a:gd name="connsiteX44457" fmla="*/ 1133393 w 4610101"/>
              <a:gd name="connsiteY44457" fmla="*/ 2799711 h 6557032"/>
              <a:gd name="connsiteX44458" fmla="*/ 1133393 w 4610101"/>
              <a:gd name="connsiteY44458" fmla="*/ 2797891 h 6557032"/>
              <a:gd name="connsiteX44459" fmla="*/ 1124282 w 4610101"/>
              <a:gd name="connsiteY44459" fmla="*/ 2785136 h 6557032"/>
              <a:gd name="connsiteX44460" fmla="*/ 1113349 w 4610101"/>
              <a:gd name="connsiteY44460" fmla="*/ 2779669 h 6557032"/>
              <a:gd name="connsiteX44461" fmla="*/ 1126104 w 4610101"/>
              <a:gd name="connsiteY44461" fmla="*/ 2777846 h 6557032"/>
              <a:gd name="connsiteX44462" fmla="*/ 1138859 w 4610101"/>
              <a:gd name="connsiteY44462" fmla="*/ 2770558 h 6557032"/>
              <a:gd name="connsiteX44463" fmla="*/ 1113349 w 4610101"/>
              <a:gd name="connsiteY44463" fmla="*/ 2770558 h 6557032"/>
              <a:gd name="connsiteX44464" fmla="*/ 1137037 w 4610101"/>
              <a:gd name="connsiteY44464" fmla="*/ 2757802 h 6557032"/>
              <a:gd name="connsiteX44465" fmla="*/ 1144326 w 4610101"/>
              <a:gd name="connsiteY44465" fmla="*/ 2755980 h 6557032"/>
              <a:gd name="connsiteX44466" fmla="*/ 1137037 w 4610101"/>
              <a:gd name="connsiteY44466" fmla="*/ 2755980 h 6557032"/>
              <a:gd name="connsiteX44467" fmla="*/ 1133393 w 4610101"/>
              <a:gd name="connsiteY44467" fmla="*/ 2750514 h 6557032"/>
              <a:gd name="connsiteX44468" fmla="*/ 1144326 w 4610101"/>
              <a:gd name="connsiteY44468" fmla="*/ 2746869 h 6557032"/>
              <a:gd name="connsiteX44469" fmla="*/ 1162547 w 4610101"/>
              <a:gd name="connsiteY44469" fmla="*/ 2746869 h 6557032"/>
              <a:gd name="connsiteX44470" fmla="*/ 1164370 w 4610101"/>
              <a:gd name="connsiteY44470" fmla="*/ 2743225 h 6557032"/>
              <a:gd name="connsiteX44471" fmla="*/ 1222679 w 4610101"/>
              <a:gd name="connsiteY44471" fmla="*/ 2734114 h 6557032"/>
              <a:gd name="connsiteX44472" fmla="*/ 1229969 w 4610101"/>
              <a:gd name="connsiteY44472" fmla="*/ 2743225 h 6557032"/>
              <a:gd name="connsiteX44473" fmla="*/ 1233612 w 4610101"/>
              <a:gd name="connsiteY44473" fmla="*/ 2737758 h 6557032"/>
              <a:gd name="connsiteX44474" fmla="*/ 1239080 w 4610101"/>
              <a:gd name="connsiteY44474" fmla="*/ 2737758 h 6557032"/>
              <a:gd name="connsiteX44475" fmla="*/ 1246367 w 4610101"/>
              <a:gd name="connsiteY44475" fmla="*/ 2743225 h 6557032"/>
              <a:gd name="connsiteX44476" fmla="*/ 1260945 w 4610101"/>
              <a:gd name="connsiteY44476" fmla="*/ 2759624 h 6557032"/>
              <a:gd name="connsiteX44477" fmla="*/ 1257300 w 4610101"/>
              <a:gd name="connsiteY44477" fmla="*/ 2745047 h 6557032"/>
              <a:gd name="connsiteX44478" fmla="*/ 1266411 w 4610101"/>
              <a:gd name="connsiteY44478" fmla="*/ 2754158 h 6557032"/>
              <a:gd name="connsiteX44479" fmla="*/ 1268233 w 4610101"/>
              <a:gd name="connsiteY44479" fmla="*/ 2750514 h 6557032"/>
              <a:gd name="connsiteX44480" fmla="*/ 1284633 w 4610101"/>
              <a:gd name="connsiteY44480" fmla="*/ 2757802 h 6557032"/>
              <a:gd name="connsiteX44481" fmla="*/ 1295566 w 4610101"/>
              <a:gd name="connsiteY44481" fmla="*/ 2754158 h 6557032"/>
              <a:gd name="connsiteX44482" fmla="*/ 1282811 w 4610101"/>
              <a:gd name="connsiteY44482" fmla="*/ 2741403 h 6557032"/>
              <a:gd name="connsiteX44483" fmla="*/ 1290100 w 4610101"/>
              <a:gd name="connsiteY44483" fmla="*/ 2735937 h 6557032"/>
              <a:gd name="connsiteX44484" fmla="*/ 1286455 w 4610101"/>
              <a:gd name="connsiteY44484" fmla="*/ 2732292 h 6557032"/>
              <a:gd name="connsiteX44485" fmla="*/ 1291922 w 4610101"/>
              <a:gd name="connsiteY44485" fmla="*/ 2726824 h 6557032"/>
              <a:gd name="connsiteX44486" fmla="*/ 1275522 w 4610101"/>
              <a:gd name="connsiteY44486" fmla="*/ 2725003 h 6557032"/>
              <a:gd name="connsiteX44487" fmla="*/ 1280989 w 4610101"/>
              <a:gd name="connsiteY44487" fmla="*/ 2719537 h 6557032"/>
              <a:gd name="connsiteX44488" fmla="*/ 1293744 w 4610101"/>
              <a:gd name="connsiteY44488" fmla="*/ 2723181 h 6557032"/>
              <a:gd name="connsiteX44489" fmla="*/ 1293744 w 4610101"/>
              <a:gd name="connsiteY44489" fmla="*/ 2717714 h 6557032"/>
              <a:gd name="connsiteX44490" fmla="*/ 1299210 w 4610101"/>
              <a:gd name="connsiteY44490" fmla="*/ 2717714 h 6557032"/>
              <a:gd name="connsiteX44491" fmla="*/ 1297388 w 4610101"/>
              <a:gd name="connsiteY44491" fmla="*/ 2723181 h 6557032"/>
              <a:gd name="connsiteX44492" fmla="*/ 1301033 w 4610101"/>
              <a:gd name="connsiteY44492" fmla="*/ 2725003 h 6557032"/>
              <a:gd name="connsiteX44493" fmla="*/ 1302855 w 4610101"/>
              <a:gd name="connsiteY44493" fmla="*/ 2721359 h 6557032"/>
              <a:gd name="connsiteX44494" fmla="*/ 1306499 w 4610101"/>
              <a:gd name="connsiteY44494" fmla="*/ 2723181 h 6557032"/>
              <a:gd name="connsiteX44495" fmla="*/ 1302855 w 4610101"/>
              <a:gd name="connsiteY44495" fmla="*/ 2715891 h 6557032"/>
              <a:gd name="connsiteX44496" fmla="*/ 1315610 w 4610101"/>
              <a:gd name="connsiteY44496" fmla="*/ 2712249 h 6557032"/>
              <a:gd name="connsiteX44497" fmla="*/ 1315610 w 4610101"/>
              <a:gd name="connsiteY44497" fmla="*/ 2715891 h 6557032"/>
              <a:gd name="connsiteX44498" fmla="*/ 1317432 w 4610101"/>
              <a:gd name="connsiteY44498" fmla="*/ 2712249 h 6557032"/>
              <a:gd name="connsiteX44499" fmla="*/ 1342942 w 4610101"/>
              <a:gd name="connsiteY44499" fmla="*/ 2708604 h 6557032"/>
              <a:gd name="connsiteX44500" fmla="*/ 1346587 w 4610101"/>
              <a:gd name="connsiteY44500" fmla="*/ 2706782 h 6557032"/>
              <a:gd name="connsiteX44501" fmla="*/ 1372097 w 4610101"/>
              <a:gd name="connsiteY44501" fmla="*/ 2703136 h 6557032"/>
              <a:gd name="connsiteX44502" fmla="*/ 1379386 w 4610101"/>
              <a:gd name="connsiteY44502" fmla="*/ 2701315 h 6557032"/>
              <a:gd name="connsiteX44503" fmla="*/ 1386676 w 4610101"/>
              <a:gd name="connsiteY44503" fmla="*/ 2699492 h 6557032"/>
              <a:gd name="connsiteX44504" fmla="*/ 1379386 w 4610101"/>
              <a:gd name="connsiteY44504" fmla="*/ 2697671 h 6557032"/>
              <a:gd name="connsiteX44505" fmla="*/ 1357521 w 4610101"/>
              <a:gd name="connsiteY44505" fmla="*/ 2701315 h 6557032"/>
              <a:gd name="connsiteX44506" fmla="*/ 1337704 w 4610101"/>
              <a:gd name="connsiteY44506" fmla="*/ 2705415 h 6557032"/>
              <a:gd name="connsiteX44507" fmla="*/ 1326728 w 4610101"/>
              <a:gd name="connsiteY44507" fmla="*/ 2706228 h 6557032"/>
              <a:gd name="connsiteX44508" fmla="*/ 1328365 w 4610101"/>
              <a:gd name="connsiteY44508" fmla="*/ 2701315 h 6557032"/>
              <a:gd name="connsiteX44509" fmla="*/ 1319254 w 4610101"/>
              <a:gd name="connsiteY44509" fmla="*/ 2697671 h 6557032"/>
              <a:gd name="connsiteX44510" fmla="*/ 1322899 w 4610101"/>
              <a:gd name="connsiteY44510" fmla="*/ 2690381 h 6557032"/>
              <a:gd name="connsiteX44511" fmla="*/ 1313788 w 4610101"/>
              <a:gd name="connsiteY44511" fmla="*/ 2701315 h 6557032"/>
              <a:gd name="connsiteX44512" fmla="*/ 1310143 w 4610101"/>
              <a:gd name="connsiteY44512" fmla="*/ 2699492 h 6557032"/>
              <a:gd name="connsiteX44513" fmla="*/ 1290100 w 4610101"/>
              <a:gd name="connsiteY44513" fmla="*/ 2714070 h 6557032"/>
              <a:gd name="connsiteX44514" fmla="*/ 1282811 w 4610101"/>
              <a:gd name="connsiteY44514" fmla="*/ 2710426 h 6557032"/>
              <a:gd name="connsiteX44515" fmla="*/ 1295566 w 4610101"/>
              <a:gd name="connsiteY44515" fmla="*/ 2701315 h 6557032"/>
              <a:gd name="connsiteX44516" fmla="*/ 1277344 w 4610101"/>
              <a:gd name="connsiteY44516" fmla="*/ 2699492 h 6557032"/>
              <a:gd name="connsiteX44517" fmla="*/ 1277344 w 4610101"/>
              <a:gd name="connsiteY44517" fmla="*/ 2695848 h 6557032"/>
              <a:gd name="connsiteX44518" fmla="*/ 1255478 w 4610101"/>
              <a:gd name="connsiteY44518" fmla="*/ 2719537 h 6557032"/>
              <a:gd name="connsiteX44519" fmla="*/ 1260945 w 4610101"/>
              <a:gd name="connsiteY44519" fmla="*/ 2703136 h 6557032"/>
              <a:gd name="connsiteX44520" fmla="*/ 1240901 w 4610101"/>
              <a:gd name="connsiteY44520" fmla="*/ 2721359 h 6557032"/>
              <a:gd name="connsiteX44521" fmla="*/ 1228146 w 4610101"/>
              <a:gd name="connsiteY44521" fmla="*/ 2715891 h 6557032"/>
              <a:gd name="connsiteX44522" fmla="*/ 1237256 w 4610101"/>
              <a:gd name="connsiteY44522" fmla="*/ 2708604 h 6557032"/>
              <a:gd name="connsiteX44523" fmla="*/ 1240901 w 4610101"/>
              <a:gd name="connsiteY44523" fmla="*/ 2688560 h 6557032"/>
              <a:gd name="connsiteX44524" fmla="*/ 1229969 w 4610101"/>
              <a:gd name="connsiteY44524" fmla="*/ 2699492 h 6557032"/>
              <a:gd name="connsiteX44525" fmla="*/ 1224501 w 4610101"/>
              <a:gd name="connsiteY44525" fmla="*/ 2708604 h 6557032"/>
              <a:gd name="connsiteX44526" fmla="*/ 1219036 w 4610101"/>
              <a:gd name="connsiteY44526" fmla="*/ 2690381 h 6557032"/>
              <a:gd name="connsiteX44527" fmla="*/ 1222679 w 4610101"/>
              <a:gd name="connsiteY44527" fmla="*/ 2710426 h 6557032"/>
              <a:gd name="connsiteX44528" fmla="*/ 1220858 w 4610101"/>
              <a:gd name="connsiteY44528" fmla="*/ 2714070 h 6557032"/>
              <a:gd name="connsiteX44529" fmla="*/ 1206279 w 4610101"/>
              <a:gd name="connsiteY44529" fmla="*/ 2712249 h 6557032"/>
              <a:gd name="connsiteX44530" fmla="*/ 1209925 w 4610101"/>
              <a:gd name="connsiteY44530" fmla="*/ 2715891 h 6557032"/>
              <a:gd name="connsiteX44531" fmla="*/ 1198991 w 4610101"/>
              <a:gd name="connsiteY44531" fmla="*/ 2725003 h 6557032"/>
              <a:gd name="connsiteX44532" fmla="*/ 1209925 w 4610101"/>
              <a:gd name="connsiteY44532" fmla="*/ 2726824 h 6557032"/>
              <a:gd name="connsiteX44533" fmla="*/ 1219036 w 4610101"/>
              <a:gd name="connsiteY44533" fmla="*/ 2721359 h 6557032"/>
              <a:gd name="connsiteX44534" fmla="*/ 1217213 w 4610101"/>
              <a:gd name="connsiteY44534" fmla="*/ 2726824 h 6557032"/>
              <a:gd name="connsiteX44535" fmla="*/ 1191703 w 4610101"/>
              <a:gd name="connsiteY44535" fmla="*/ 2730469 h 6557032"/>
              <a:gd name="connsiteX44536" fmla="*/ 1173481 w 4610101"/>
              <a:gd name="connsiteY44536" fmla="*/ 2734114 h 6557032"/>
              <a:gd name="connsiteX44537" fmla="*/ 1173481 w 4610101"/>
              <a:gd name="connsiteY44537" fmla="*/ 2730469 h 6557032"/>
              <a:gd name="connsiteX44538" fmla="*/ 1157081 w 4610101"/>
              <a:gd name="connsiteY44538" fmla="*/ 2737758 h 6557032"/>
              <a:gd name="connsiteX44539" fmla="*/ 1122459 w 4610101"/>
              <a:gd name="connsiteY44539" fmla="*/ 2745047 h 6557032"/>
              <a:gd name="connsiteX44540" fmla="*/ 1104238 w 4610101"/>
              <a:gd name="connsiteY44540" fmla="*/ 2732292 h 6557032"/>
              <a:gd name="connsiteX44541" fmla="*/ 1142503 w 4610101"/>
              <a:gd name="connsiteY44541" fmla="*/ 2730469 h 6557032"/>
              <a:gd name="connsiteX44542" fmla="*/ 1147970 w 4610101"/>
              <a:gd name="connsiteY44542" fmla="*/ 2715891 h 6557032"/>
              <a:gd name="connsiteX44543" fmla="*/ 1124282 w 4610101"/>
              <a:gd name="connsiteY44543" fmla="*/ 2712249 h 6557032"/>
              <a:gd name="connsiteX44544" fmla="*/ 1115171 w 4610101"/>
              <a:gd name="connsiteY44544" fmla="*/ 2712249 h 6557032"/>
              <a:gd name="connsiteX44545" fmla="*/ 1118815 w 4610101"/>
              <a:gd name="connsiteY44545" fmla="*/ 2708604 h 6557032"/>
              <a:gd name="connsiteX44546" fmla="*/ 1113349 w 4610101"/>
              <a:gd name="connsiteY44546" fmla="*/ 2708604 h 6557032"/>
              <a:gd name="connsiteX44547" fmla="*/ 1111526 w 4610101"/>
              <a:gd name="connsiteY44547" fmla="*/ 2697671 h 6557032"/>
              <a:gd name="connsiteX44548" fmla="*/ 1120637 w 4610101"/>
              <a:gd name="connsiteY44548" fmla="*/ 2683549 h 6557032"/>
              <a:gd name="connsiteX44549" fmla="*/ 1124277 w 4610101"/>
              <a:gd name="connsiteY44549" fmla="*/ 2666714 h 6557032"/>
              <a:gd name="connsiteX44550" fmla="*/ 1120637 w 4610101"/>
              <a:gd name="connsiteY44550" fmla="*/ 2666714 h 6557032"/>
              <a:gd name="connsiteX44551" fmla="*/ 1127698 w 4610101"/>
              <a:gd name="connsiteY44551" fmla="*/ 2663980 h 6557032"/>
              <a:gd name="connsiteX44552" fmla="*/ 1133392 w 4610101"/>
              <a:gd name="connsiteY44552" fmla="*/ 2666714 h 6557032"/>
              <a:gd name="connsiteX44553" fmla="*/ 1124311 w 4610101"/>
              <a:gd name="connsiteY44553" fmla="*/ 2666714 h 6557032"/>
              <a:gd name="connsiteX44554" fmla="*/ 1144326 w 4610101"/>
              <a:gd name="connsiteY44554" fmla="*/ 2681270 h 6557032"/>
              <a:gd name="connsiteX44555" fmla="*/ 1175303 w 4610101"/>
              <a:gd name="connsiteY44555" fmla="*/ 2679448 h 6557032"/>
              <a:gd name="connsiteX44556" fmla="*/ 1140681 w 4610101"/>
              <a:gd name="connsiteY44556" fmla="*/ 2661227 h 6557032"/>
              <a:gd name="connsiteX44557" fmla="*/ 1140681 w 4610101"/>
              <a:gd name="connsiteY44557" fmla="*/ 2657583 h 6557032"/>
              <a:gd name="connsiteX44558" fmla="*/ 1135215 w 4610101"/>
              <a:gd name="connsiteY44558" fmla="*/ 2653937 h 6557032"/>
              <a:gd name="connsiteX44559" fmla="*/ 1149792 w 4610101"/>
              <a:gd name="connsiteY44559" fmla="*/ 2663048 h 6557032"/>
              <a:gd name="connsiteX44560" fmla="*/ 1149792 w 4610101"/>
              <a:gd name="connsiteY44560" fmla="*/ 2659404 h 6557032"/>
              <a:gd name="connsiteX44561" fmla="*/ 1169836 w 4610101"/>
              <a:gd name="connsiteY44561" fmla="*/ 2663048 h 6557032"/>
              <a:gd name="connsiteX44562" fmla="*/ 1140681 w 4610101"/>
              <a:gd name="connsiteY44562" fmla="*/ 2646649 h 6557032"/>
              <a:gd name="connsiteX44563" fmla="*/ 1177125 w 4610101"/>
              <a:gd name="connsiteY44563" fmla="*/ 2633895 h 6557032"/>
              <a:gd name="connsiteX44564" fmla="*/ 1180769 w 4610101"/>
              <a:gd name="connsiteY44564" fmla="*/ 2635716 h 6557032"/>
              <a:gd name="connsiteX44565" fmla="*/ 1182592 w 4610101"/>
              <a:gd name="connsiteY44565" fmla="*/ 2632071 h 6557032"/>
              <a:gd name="connsiteX44566" fmla="*/ 1209925 w 4610101"/>
              <a:gd name="connsiteY44566" fmla="*/ 2624783 h 6557032"/>
              <a:gd name="connsiteX44567" fmla="*/ 1211747 w 4610101"/>
              <a:gd name="connsiteY44567" fmla="*/ 2621137 h 6557032"/>
              <a:gd name="connsiteX44568" fmla="*/ 1259123 w 4610101"/>
              <a:gd name="connsiteY44568" fmla="*/ 2610206 h 6557032"/>
              <a:gd name="connsiteX44569" fmla="*/ 1262767 w 4610101"/>
              <a:gd name="connsiteY44569" fmla="*/ 2612028 h 6557032"/>
              <a:gd name="connsiteX44570" fmla="*/ 1260945 w 4610101"/>
              <a:gd name="connsiteY44570" fmla="*/ 2608383 h 6557032"/>
              <a:gd name="connsiteX44571" fmla="*/ 1271878 w 4610101"/>
              <a:gd name="connsiteY44571" fmla="*/ 2604739 h 6557032"/>
              <a:gd name="connsiteX44572" fmla="*/ 1288277 w 4610101"/>
              <a:gd name="connsiteY44572" fmla="*/ 2601095 h 6557032"/>
              <a:gd name="connsiteX44573" fmla="*/ 1282811 w 4610101"/>
              <a:gd name="connsiteY44573" fmla="*/ 2602917 h 6557032"/>
              <a:gd name="connsiteX44574" fmla="*/ 1288277 w 4610101"/>
              <a:gd name="connsiteY44574" fmla="*/ 2608383 h 6557032"/>
              <a:gd name="connsiteX44575" fmla="*/ 1282811 w 4610101"/>
              <a:gd name="connsiteY44575" fmla="*/ 2632071 h 6557032"/>
              <a:gd name="connsiteX44576" fmla="*/ 1288277 w 4610101"/>
              <a:gd name="connsiteY44576" fmla="*/ 2630250 h 6557032"/>
              <a:gd name="connsiteX44577" fmla="*/ 1290100 w 4610101"/>
              <a:gd name="connsiteY44577" fmla="*/ 2633895 h 6557032"/>
              <a:gd name="connsiteX44578" fmla="*/ 1299210 w 4610101"/>
              <a:gd name="connsiteY44578" fmla="*/ 2624783 h 6557032"/>
              <a:gd name="connsiteX44579" fmla="*/ 1306499 w 4610101"/>
              <a:gd name="connsiteY44579" fmla="*/ 2643005 h 6557032"/>
              <a:gd name="connsiteX44580" fmla="*/ 1313788 w 4610101"/>
              <a:gd name="connsiteY44580" fmla="*/ 2630250 h 6557032"/>
              <a:gd name="connsiteX44581" fmla="*/ 1319254 w 4610101"/>
              <a:gd name="connsiteY44581" fmla="*/ 2632071 h 6557032"/>
              <a:gd name="connsiteX44582" fmla="*/ 1310143 w 4610101"/>
              <a:gd name="connsiteY44582" fmla="*/ 2612028 h 6557032"/>
              <a:gd name="connsiteX44583" fmla="*/ 1308321 w 4610101"/>
              <a:gd name="connsiteY44583" fmla="*/ 2604739 h 6557032"/>
              <a:gd name="connsiteX44584" fmla="*/ 1313788 w 4610101"/>
              <a:gd name="connsiteY44584" fmla="*/ 2608383 h 6557032"/>
              <a:gd name="connsiteX44585" fmla="*/ 1335654 w 4610101"/>
              <a:gd name="connsiteY44585" fmla="*/ 2610206 h 6557032"/>
              <a:gd name="connsiteX44586" fmla="*/ 1317432 w 4610101"/>
              <a:gd name="connsiteY44586" fmla="*/ 2601095 h 6557032"/>
              <a:gd name="connsiteX44587" fmla="*/ 1313788 w 4610101"/>
              <a:gd name="connsiteY44587" fmla="*/ 2601095 h 6557032"/>
              <a:gd name="connsiteX44588" fmla="*/ 1322899 w 4610101"/>
              <a:gd name="connsiteY44588" fmla="*/ 2597450 h 6557032"/>
              <a:gd name="connsiteX44589" fmla="*/ 1322899 w 4610101"/>
              <a:gd name="connsiteY44589" fmla="*/ 2593806 h 6557032"/>
              <a:gd name="connsiteX44590" fmla="*/ 1341120 w 4610101"/>
              <a:gd name="connsiteY44590" fmla="*/ 2595628 h 6557032"/>
              <a:gd name="connsiteX44591" fmla="*/ 1352053 w 4610101"/>
              <a:gd name="connsiteY44591" fmla="*/ 2602917 h 6557032"/>
              <a:gd name="connsiteX44592" fmla="*/ 1341120 w 4610101"/>
              <a:gd name="connsiteY44592" fmla="*/ 2591985 h 6557032"/>
              <a:gd name="connsiteX44593" fmla="*/ 1344804 w 4610101"/>
              <a:gd name="connsiteY44593" fmla="*/ 2591985 h 6557032"/>
              <a:gd name="connsiteX44594" fmla="*/ 1349092 w 4610101"/>
              <a:gd name="connsiteY44594" fmla="*/ 2589727 h 6557032"/>
              <a:gd name="connsiteX44595" fmla="*/ 1352053 w 4610101"/>
              <a:gd name="connsiteY44595" fmla="*/ 2590182 h 6557032"/>
              <a:gd name="connsiteX44596" fmla="*/ 1366630 w 4610101"/>
              <a:gd name="connsiteY44596" fmla="*/ 2584715 h 6557032"/>
              <a:gd name="connsiteX44597" fmla="*/ 1357065 w 4610101"/>
              <a:gd name="connsiteY44597" fmla="*/ 2592460 h 6557032"/>
              <a:gd name="connsiteX44598" fmla="*/ 1352514 w 4610101"/>
              <a:gd name="connsiteY44598" fmla="*/ 2592292 h 6557032"/>
              <a:gd name="connsiteX44599" fmla="*/ 1357521 w 4610101"/>
              <a:gd name="connsiteY44599" fmla="*/ 2595628 h 6557032"/>
              <a:gd name="connsiteX44600" fmla="*/ 1357521 w 4610101"/>
              <a:gd name="connsiteY44600" fmla="*/ 2593806 h 6557032"/>
              <a:gd name="connsiteX44601" fmla="*/ 1362987 w 4610101"/>
              <a:gd name="connsiteY44601" fmla="*/ 2595628 h 6557032"/>
              <a:gd name="connsiteX44602" fmla="*/ 1381208 w 4610101"/>
              <a:gd name="connsiteY44602" fmla="*/ 2617494 h 6557032"/>
              <a:gd name="connsiteX44603" fmla="*/ 1379386 w 4610101"/>
              <a:gd name="connsiteY44603" fmla="*/ 2610206 h 6557032"/>
              <a:gd name="connsiteX44604" fmla="*/ 1362987 w 4610101"/>
              <a:gd name="connsiteY44604" fmla="*/ 2591985 h 6557032"/>
              <a:gd name="connsiteX44605" fmla="*/ 1404896 w 4610101"/>
              <a:gd name="connsiteY44605" fmla="*/ 2619317 h 6557032"/>
              <a:gd name="connsiteX44606" fmla="*/ 1386676 w 4610101"/>
              <a:gd name="connsiteY44606" fmla="*/ 2591985 h 6557032"/>
              <a:gd name="connsiteX44607" fmla="*/ 1410363 w 4610101"/>
              <a:gd name="connsiteY44607" fmla="*/ 2604739 h 6557032"/>
              <a:gd name="connsiteX44608" fmla="*/ 1399430 w 4610101"/>
              <a:gd name="connsiteY44608" fmla="*/ 2593806 h 6557032"/>
              <a:gd name="connsiteX44609" fmla="*/ 1419474 w 4610101"/>
              <a:gd name="connsiteY44609" fmla="*/ 2590161 h 6557032"/>
              <a:gd name="connsiteX44610" fmla="*/ 1388497 w 4610101"/>
              <a:gd name="connsiteY44610" fmla="*/ 2584695 h 6557032"/>
              <a:gd name="connsiteX44611" fmla="*/ 1401252 w 4610101"/>
              <a:gd name="connsiteY44611" fmla="*/ 2571940 h 6557032"/>
              <a:gd name="connsiteX44612" fmla="*/ 1419474 w 4610101"/>
              <a:gd name="connsiteY44612" fmla="*/ 2579229 h 6557032"/>
              <a:gd name="connsiteX44613" fmla="*/ 1421296 w 4610101"/>
              <a:gd name="connsiteY44613" fmla="*/ 2586518 h 6557032"/>
              <a:gd name="connsiteX44614" fmla="*/ 1421296 w 4610101"/>
              <a:gd name="connsiteY44614" fmla="*/ 2579229 h 6557032"/>
              <a:gd name="connsiteX44615" fmla="*/ 1437696 w 4610101"/>
              <a:gd name="connsiteY44615" fmla="*/ 2582874 h 6557032"/>
              <a:gd name="connsiteX44616" fmla="*/ 1435873 w 4610101"/>
              <a:gd name="connsiteY44616" fmla="*/ 2575584 h 6557032"/>
              <a:gd name="connsiteX44617" fmla="*/ 1443162 w 4610101"/>
              <a:gd name="connsiteY44617" fmla="*/ 2571940 h 6557032"/>
              <a:gd name="connsiteX44618" fmla="*/ 1423118 w 4610101"/>
              <a:gd name="connsiteY44618" fmla="*/ 2571940 h 6557032"/>
              <a:gd name="connsiteX44619" fmla="*/ 1423118 w 4610101"/>
              <a:gd name="connsiteY44619" fmla="*/ 2570118 h 6557032"/>
              <a:gd name="connsiteX44620" fmla="*/ 1419474 w 4610101"/>
              <a:gd name="connsiteY44620" fmla="*/ 2568295 h 6557032"/>
              <a:gd name="connsiteX44621" fmla="*/ 1454095 w 4610101"/>
              <a:gd name="connsiteY44621" fmla="*/ 2551897 h 6557032"/>
              <a:gd name="connsiteX44622" fmla="*/ 1404896 w 4610101"/>
              <a:gd name="connsiteY44622" fmla="*/ 2564651 h 6557032"/>
              <a:gd name="connsiteX44623" fmla="*/ 1406719 w 4610101"/>
              <a:gd name="connsiteY44623" fmla="*/ 2559185 h 6557032"/>
              <a:gd name="connsiteX44624" fmla="*/ 1397608 w 4610101"/>
              <a:gd name="connsiteY44624" fmla="*/ 2564651 h 6557032"/>
              <a:gd name="connsiteX44625" fmla="*/ 1397608 w 4610101"/>
              <a:gd name="connsiteY44625" fmla="*/ 2559185 h 6557032"/>
              <a:gd name="connsiteX44626" fmla="*/ 1390319 w 4610101"/>
              <a:gd name="connsiteY44626" fmla="*/ 2561006 h 6557032"/>
              <a:gd name="connsiteX44627" fmla="*/ 1392141 w 4610101"/>
              <a:gd name="connsiteY44627" fmla="*/ 2557362 h 6557032"/>
              <a:gd name="connsiteX44628" fmla="*/ 1375743 w 4610101"/>
              <a:gd name="connsiteY44628" fmla="*/ 2568295 h 6557032"/>
              <a:gd name="connsiteX44629" fmla="*/ 1383030 w 4610101"/>
              <a:gd name="connsiteY44629" fmla="*/ 2550074 h 6557032"/>
              <a:gd name="connsiteX44630" fmla="*/ 1384854 w 4610101"/>
              <a:gd name="connsiteY44630" fmla="*/ 2530031 h 6557032"/>
              <a:gd name="connsiteX44631" fmla="*/ 1375743 w 4610101"/>
              <a:gd name="connsiteY44631" fmla="*/ 2551897 h 6557032"/>
              <a:gd name="connsiteX44632" fmla="*/ 1370275 w 4610101"/>
              <a:gd name="connsiteY44632" fmla="*/ 2570118 h 6557032"/>
              <a:gd name="connsiteX44633" fmla="*/ 1342942 w 4610101"/>
              <a:gd name="connsiteY44633" fmla="*/ 2575584 h 6557032"/>
              <a:gd name="connsiteX44634" fmla="*/ 1342942 w 4610101"/>
              <a:gd name="connsiteY44634" fmla="*/ 2571940 h 6557032"/>
              <a:gd name="connsiteX44635" fmla="*/ 1337476 w 4610101"/>
              <a:gd name="connsiteY44635" fmla="*/ 2575584 h 6557032"/>
              <a:gd name="connsiteX44636" fmla="*/ 1313788 w 4610101"/>
              <a:gd name="connsiteY44636" fmla="*/ 2582874 h 6557032"/>
              <a:gd name="connsiteX44637" fmla="*/ 1319254 w 4610101"/>
              <a:gd name="connsiteY44637" fmla="*/ 2571940 h 6557032"/>
              <a:gd name="connsiteX44638" fmla="*/ 1339299 w 4610101"/>
              <a:gd name="connsiteY44638" fmla="*/ 2561006 h 6557032"/>
              <a:gd name="connsiteX44639" fmla="*/ 1310143 w 4610101"/>
              <a:gd name="connsiteY44639" fmla="*/ 2559185 h 6557032"/>
              <a:gd name="connsiteX44640" fmla="*/ 1341120 w 4610101"/>
              <a:gd name="connsiteY44640" fmla="*/ 2551897 h 6557032"/>
              <a:gd name="connsiteX44641" fmla="*/ 1324721 w 4610101"/>
              <a:gd name="connsiteY44641" fmla="*/ 2550074 h 6557032"/>
              <a:gd name="connsiteX44642" fmla="*/ 1333832 w 4610101"/>
              <a:gd name="connsiteY44642" fmla="*/ 2531852 h 6557032"/>
              <a:gd name="connsiteX44643" fmla="*/ 1308321 w 4610101"/>
              <a:gd name="connsiteY44643" fmla="*/ 2550074 h 6557032"/>
              <a:gd name="connsiteX44644" fmla="*/ 1304677 w 4610101"/>
              <a:gd name="connsiteY44644" fmla="*/ 2550074 h 6557032"/>
              <a:gd name="connsiteX44645" fmla="*/ 1304677 w 4610101"/>
              <a:gd name="connsiteY44645" fmla="*/ 2522741 h 6557032"/>
              <a:gd name="connsiteX44646" fmla="*/ 1301033 w 4610101"/>
              <a:gd name="connsiteY44646" fmla="*/ 2544608 h 6557032"/>
              <a:gd name="connsiteX44647" fmla="*/ 1297388 w 4610101"/>
              <a:gd name="connsiteY44647" fmla="*/ 2546430 h 6557032"/>
              <a:gd name="connsiteX44648" fmla="*/ 1301033 w 4610101"/>
              <a:gd name="connsiteY44648" fmla="*/ 2551897 h 6557032"/>
              <a:gd name="connsiteX44649" fmla="*/ 1301033 w 4610101"/>
              <a:gd name="connsiteY44649" fmla="*/ 2559185 h 6557032"/>
              <a:gd name="connsiteX44650" fmla="*/ 1295566 w 4610101"/>
              <a:gd name="connsiteY44650" fmla="*/ 2562830 h 6557032"/>
              <a:gd name="connsiteX44651" fmla="*/ 1279166 w 4610101"/>
              <a:gd name="connsiteY44651" fmla="*/ 2555541 h 6557032"/>
              <a:gd name="connsiteX44652" fmla="*/ 1270056 w 4610101"/>
              <a:gd name="connsiteY44652" fmla="*/ 2561006 h 6557032"/>
              <a:gd name="connsiteX44653" fmla="*/ 1286455 w 4610101"/>
              <a:gd name="connsiteY44653" fmla="*/ 2570118 h 6557032"/>
              <a:gd name="connsiteX44654" fmla="*/ 1280989 w 4610101"/>
              <a:gd name="connsiteY44654" fmla="*/ 2590161 h 6557032"/>
              <a:gd name="connsiteX44655" fmla="*/ 1226323 w 4610101"/>
              <a:gd name="connsiteY44655" fmla="*/ 2606562 h 6557032"/>
              <a:gd name="connsiteX44656" fmla="*/ 1224501 w 4610101"/>
              <a:gd name="connsiteY44656" fmla="*/ 2602917 h 6557032"/>
              <a:gd name="connsiteX44657" fmla="*/ 1157081 w 4610101"/>
              <a:gd name="connsiteY44657" fmla="*/ 2628427 h 6557032"/>
              <a:gd name="connsiteX44658" fmla="*/ 1168014 w 4610101"/>
              <a:gd name="connsiteY44658" fmla="*/ 2613850 h 6557032"/>
              <a:gd name="connsiteX44659" fmla="*/ 1164384 w 4610101"/>
              <a:gd name="connsiteY44659" fmla="*/ 2613850 h 6557032"/>
              <a:gd name="connsiteX44660" fmla="*/ 1164370 w 4610101"/>
              <a:gd name="connsiteY44660" fmla="*/ 2613868 h 6557032"/>
              <a:gd name="connsiteX44661" fmla="*/ 1164352 w 4610101"/>
              <a:gd name="connsiteY44661" fmla="*/ 2613850 h 6557032"/>
              <a:gd name="connsiteX44662" fmla="*/ 1158903 w 4610101"/>
              <a:gd name="connsiteY44662" fmla="*/ 2613850 h 6557032"/>
              <a:gd name="connsiteX44663" fmla="*/ 1162547 w 4610101"/>
              <a:gd name="connsiteY44663" fmla="*/ 2608383 h 6557032"/>
              <a:gd name="connsiteX44664" fmla="*/ 1173481 w 4610101"/>
              <a:gd name="connsiteY44664" fmla="*/ 2608383 h 6557032"/>
              <a:gd name="connsiteX44665" fmla="*/ 1168014 w 4610101"/>
              <a:gd name="connsiteY44665" fmla="*/ 2601095 h 6557032"/>
              <a:gd name="connsiteX44666" fmla="*/ 1169836 w 4610101"/>
              <a:gd name="connsiteY44666" fmla="*/ 2597450 h 6557032"/>
              <a:gd name="connsiteX44667" fmla="*/ 1193525 w 4610101"/>
              <a:gd name="connsiteY44667" fmla="*/ 2595628 h 6557032"/>
              <a:gd name="connsiteX44668" fmla="*/ 1191703 w 4610101"/>
              <a:gd name="connsiteY44668" fmla="*/ 2591985 h 6557032"/>
              <a:gd name="connsiteX44669" fmla="*/ 1215390 w 4610101"/>
              <a:gd name="connsiteY44669" fmla="*/ 2586518 h 6557032"/>
              <a:gd name="connsiteX44670" fmla="*/ 1228146 w 4610101"/>
              <a:gd name="connsiteY44670" fmla="*/ 2582874 h 6557032"/>
              <a:gd name="connsiteX44671" fmla="*/ 1244545 w 4610101"/>
              <a:gd name="connsiteY44671" fmla="*/ 2575584 h 6557032"/>
              <a:gd name="connsiteX44672" fmla="*/ 1250012 w 4610101"/>
              <a:gd name="connsiteY44672" fmla="*/ 2570118 h 6557032"/>
              <a:gd name="connsiteX44673" fmla="*/ 1253656 w 4610101"/>
              <a:gd name="connsiteY44673" fmla="*/ 2573763 h 6557032"/>
              <a:gd name="connsiteX44674" fmla="*/ 1251834 w 4610101"/>
              <a:gd name="connsiteY44674" fmla="*/ 2568295 h 6557032"/>
              <a:gd name="connsiteX44675" fmla="*/ 1259123 w 4610101"/>
              <a:gd name="connsiteY44675" fmla="*/ 2568295 h 6557032"/>
              <a:gd name="connsiteX44676" fmla="*/ 1260945 w 4610101"/>
              <a:gd name="connsiteY44676" fmla="*/ 2562830 h 6557032"/>
              <a:gd name="connsiteX44677" fmla="*/ 1257300 w 4610101"/>
              <a:gd name="connsiteY44677" fmla="*/ 2561006 h 6557032"/>
              <a:gd name="connsiteX44678" fmla="*/ 1253656 w 4610101"/>
              <a:gd name="connsiteY44678" fmla="*/ 2566474 h 6557032"/>
              <a:gd name="connsiteX44679" fmla="*/ 1250012 w 4610101"/>
              <a:gd name="connsiteY44679" fmla="*/ 2564651 h 6557032"/>
              <a:gd name="connsiteX44680" fmla="*/ 1251834 w 4610101"/>
              <a:gd name="connsiteY44680" fmla="*/ 2568295 h 6557032"/>
              <a:gd name="connsiteX44681" fmla="*/ 1237256 w 4610101"/>
              <a:gd name="connsiteY44681" fmla="*/ 2573763 h 6557032"/>
              <a:gd name="connsiteX44682" fmla="*/ 1208102 w 4610101"/>
              <a:gd name="connsiteY44682" fmla="*/ 2586518 h 6557032"/>
              <a:gd name="connsiteX44683" fmla="*/ 1206279 w 4610101"/>
              <a:gd name="connsiteY44683" fmla="*/ 2584695 h 6557032"/>
              <a:gd name="connsiteX44684" fmla="*/ 1189880 w 4610101"/>
              <a:gd name="connsiteY44684" fmla="*/ 2591985 h 6557032"/>
              <a:gd name="connsiteX44685" fmla="*/ 1178947 w 4610101"/>
              <a:gd name="connsiteY44685" fmla="*/ 2590161 h 6557032"/>
              <a:gd name="connsiteX44686" fmla="*/ 1177125 w 4610101"/>
              <a:gd name="connsiteY44686" fmla="*/ 2593806 h 6557032"/>
              <a:gd name="connsiteX44687" fmla="*/ 1169836 w 4610101"/>
              <a:gd name="connsiteY44687" fmla="*/ 2593806 h 6557032"/>
              <a:gd name="connsiteX44688" fmla="*/ 1180769 w 4610101"/>
              <a:gd name="connsiteY44688" fmla="*/ 2577407 h 6557032"/>
              <a:gd name="connsiteX44689" fmla="*/ 1175303 w 4610101"/>
              <a:gd name="connsiteY44689" fmla="*/ 2577407 h 6557032"/>
              <a:gd name="connsiteX44690" fmla="*/ 1177125 w 4610101"/>
              <a:gd name="connsiteY44690" fmla="*/ 2568295 h 6557032"/>
              <a:gd name="connsiteX44691" fmla="*/ 1160725 w 4610101"/>
              <a:gd name="connsiteY44691" fmla="*/ 2577407 h 6557032"/>
              <a:gd name="connsiteX44692" fmla="*/ 1158903 w 4610101"/>
              <a:gd name="connsiteY44692" fmla="*/ 2582874 h 6557032"/>
              <a:gd name="connsiteX44693" fmla="*/ 1157081 w 4610101"/>
              <a:gd name="connsiteY44693" fmla="*/ 2566474 h 6557032"/>
              <a:gd name="connsiteX44694" fmla="*/ 1155259 w 4610101"/>
              <a:gd name="connsiteY44694" fmla="*/ 2566474 h 6557032"/>
              <a:gd name="connsiteX44695" fmla="*/ 1149792 w 4610101"/>
              <a:gd name="connsiteY44695" fmla="*/ 2579229 h 6557032"/>
              <a:gd name="connsiteX44696" fmla="*/ 1138859 w 4610101"/>
              <a:gd name="connsiteY44696" fmla="*/ 2568295 h 6557032"/>
              <a:gd name="connsiteX44697" fmla="*/ 1149792 w 4610101"/>
              <a:gd name="connsiteY44697" fmla="*/ 2591985 h 6557032"/>
              <a:gd name="connsiteX44698" fmla="*/ 1142503 w 4610101"/>
              <a:gd name="connsiteY44698" fmla="*/ 2593806 h 6557032"/>
              <a:gd name="connsiteX44699" fmla="*/ 1144326 w 4610101"/>
              <a:gd name="connsiteY44699" fmla="*/ 2597450 h 6557032"/>
              <a:gd name="connsiteX44700" fmla="*/ 1129748 w 4610101"/>
              <a:gd name="connsiteY44700" fmla="*/ 2597450 h 6557032"/>
              <a:gd name="connsiteX44701" fmla="*/ 1127926 w 4610101"/>
              <a:gd name="connsiteY44701" fmla="*/ 2597450 h 6557032"/>
              <a:gd name="connsiteX44702" fmla="*/ 1100593 w 4610101"/>
              <a:gd name="connsiteY44702" fmla="*/ 2602917 h 6557032"/>
              <a:gd name="connsiteX44703" fmla="*/ 1100593 w 4610101"/>
              <a:gd name="connsiteY44703" fmla="*/ 2599273 h 6557032"/>
              <a:gd name="connsiteX44704" fmla="*/ 1095127 w 4610101"/>
              <a:gd name="connsiteY44704" fmla="*/ 2601095 h 6557032"/>
              <a:gd name="connsiteX44705" fmla="*/ 1104238 w 4610101"/>
              <a:gd name="connsiteY44705" fmla="*/ 2590161 h 6557032"/>
              <a:gd name="connsiteX44706" fmla="*/ 1093305 w 4610101"/>
              <a:gd name="connsiteY44706" fmla="*/ 2599273 h 6557032"/>
              <a:gd name="connsiteX44707" fmla="*/ 1093305 w 4610101"/>
              <a:gd name="connsiteY44707" fmla="*/ 2595628 h 6557032"/>
              <a:gd name="connsiteX44708" fmla="*/ 1087838 w 4610101"/>
              <a:gd name="connsiteY44708" fmla="*/ 2591985 h 6557032"/>
              <a:gd name="connsiteX44709" fmla="*/ 1087838 w 4610101"/>
              <a:gd name="connsiteY44709" fmla="*/ 2599273 h 6557032"/>
              <a:gd name="connsiteX44710" fmla="*/ 1078727 w 4610101"/>
              <a:gd name="connsiteY44710" fmla="*/ 2591985 h 6557032"/>
              <a:gd name="connsiteX44711" fmla="*/ 1084194 w 4610101"/>
              <a:gd name="connsiteY44711" fmla="*/ 2601095 h 6557032"/>
              <a:gd name="connsiteX44712" fmla="*/ 1071439 w 4610101"/>
              <a:gd name="connsiteY44712" fmla="*/ 2601095 h 6557032"/>
              <a:gd name="connsiteX44713" fmla="*/ 1069616 w 4610101"/>
              <a:gd name="connsiteY44713" fmla="*/ 2602917 h 6557032"/>
              <a:gd name="connsiteX44714" fmla="*/ 1040462 w 4610101"/>
              <a:gd name="connsiteY44714" fmla="*/ 2604739 h 6557032"/>
              <a:gd name="connsiteX44715" fmla="*/ 1044106 w 4610101"/>
              <a:gd name="connsiteY44715" fmla="*/ 2584695 h 6557032"/>
              <a:gd name="connsiteX44716" fmla="*/ 1075083 w 4610101"/>
              <a:gd name="connsiteY44716" fmla="*/ 2570118 h 6557032"/>
              <a:gd name="connsiteX44717" fmla="*/ 1053217 w 4610101"/>
              <a:gd name="connsiteY44717" fmla="*/ 2570118 h 6557032"/>
              <a:gd name="connsiteX44718" fmla="*/ 1055040 w 4610101"/>
              <a:gd name="connsiteY44718" fmla="*/ 2553718 h 6557032"/>
              <a:gd name="connsiteX44719" fmla="*/ 1038639 w 4610101"/>
              <a:gd name="connsiteY44719" fmla="*/ 2555541 h 6557032"/>
              <a:gd name="connsiteX44720" fmla="*/ 1053217 w 4610101"/>
              <a:gd name="connsiteY44720" fmla="*/ 2570118 h 6557032"/>
              <a:gd name="connsiteX44721" fmla="*/ 1036818 w 4610101"/>
              <a:gd name="connsiteY44721" fmla="*/ 2570118 h 6557032"/>
              <a:gd name="connsiteX44722" fmla="*/ 1036818 w 4610101"/>
              <a:gd name="connsiteY44722" fmla="*/ 2601095 h 6557032"/>
              <a:gd name="connsiteX44723" fmla="*/ 1033173 w 4610101"/>
              <a:gd name="connsiteY44723" fmla="*/ 2604739 h 6557032"/>
              <a:gd name="connsiteX44724" fmla="*/ 1013129 w 4610101"/>
              <a:gd name="connsiteY44724" fmla="*/ 2608383 h 6557032"/>
              <a:gd name="connsiteX44725" fmla="*/ 1027707 w 4610101"/>
              <a:gd name="connsiteY44725" fmla="*/ 2593806 h 6557032"/>
              <a:gd name="connsiteX44726" fmla="*/ 1025884 w 4610101"/>
              <a:gd name="connsiteY44726" fmla="*/ 2571940 h 6557032"/>
              <a:gd name="connsiteX44727" fmla="*/ 1013129 w 4610101"/>
              <a:gd name="connsiteY44727" fmla="*/ 2555541 h 6557032"/>
              <a:gd name="connsiteX44728" fmla="*/ 991263 w 4610101"/>
              <a:gd name="connsiteY44728" fmla="*/ 2548251 h 6557032"/>
              <a:gd name="connsiteX44729" fmla="*/ 1005840 w 4610101"/>
              <a:gd name="connsiteY44729" fmla="*/ 2540964 h 6557032"/>
              <a:gd name="connsiteX44730" fmla="*/ 1020418 w 4610101"/>
              <a:gd name="connsiteY44730" fmla="*/ 2548251 h 6557032"/>
              <a:gd name="connsiteX44731" fmla="*/ 1020418 w 4610101"/>
              <a:gd name="connsiteY44731" fmla="*/ 2531852 h 6557032"/>
              <a:gd name="connsiteX44732" fmla="*/ 1005840 w 4610101"/>
              <a:gd name="connsiteY44732" fmla="*/ 2539141 h 6557032"/>
              <a:gd name="connsiteX44733" fmla="*/ 1005840 w 4610101"/>
              <a:gd name="connsiteY44733" fmla="*/ 2524564 h 6557032"/>
              <a:gd name="connsiteX44734" fmla="*/ 1009485 w 4610101"/>
              <a:gd name="connsiteY44734" fmla="*/ 2522741 h 6557032"/>
              <a:gd name="connsiteX44735" fmla="*/ 1018596 w 4610101"/>
              <a:gd name="connsiteY44735" fmla="*/ 2528208 h 6557032"/>
              <a:gd name="connsiteX44736" fmla="*/ 1022240 w 4610101"/>
              <a:gd name="connsiteY44736" fmla="*/ 2524564 h 6557032"/>
              <a:gd name="connsiteX44737" fmla="*/ 1020418 w 4610101"/>
              <a:gd name="connsiteY44737" fmla="*/ 2522741 h 6557032"/>
              <a:gd name="connsiteX44738" fmla="*/ 1024062 w 4610101"/>
              <a:gd name="connsiteY44738" fmla="*/ 2520919 h 6557032"/>
              <a:gd name="connsiteX44739" fmla="*/ 1020418 w 4610101"/>
              <a:gd name="connsiteY44739" fmla="*/ 2517275 h 6557032"/>
              <a:gd name="connsiteX44740" fmla="*/ 1022240 w 4610101"/>
              <a:gd name="connsiteY44740" fmla="*/ 2513631 h 6557032"/>
              <a:gd name="connsiteX44741" fmla="*/ 1013129 w 4610101"/>
              <a:gd name="connsiteY44741" fmla="*/ 2519097 h 6557032"/>
              <a:gd name="connsiteX44742" fmla="*/ 1002196 w 4610101"/>
              <a:gd name="connsiteY44742" fmla="*/ 2522741 h 6557032"/>
              <a:gd name="connsiteX44743" fmla="*/ 989441 w 4610101"/>
              <a:gd name="connsiteY44743" fmla="*/ 2519097 h 6557032"/>
              <a:gd name="connsiteX44744" fmla="*/ 991263 w 4610101"/>
              <a:gd name="connsiteY44744" fmla="*/ 2519097 h 6557032"/>
              <a:gd name="connsiteX44745" fmla="*/ 993085 w 4610101"/>
              <a:gd name="connsiteY44745" fmla="*/ 2513631 h 6557032"/>
              <a:gd name="connsiteX44746" fmla="*/ 985796 w 4610101"/>
              <a:gd name="connsiteY44746" fmla="*/ 2513631 h 6557032"/>
              <a:gd name="connsiteX44747" fmla="*/ 987619 w 4610101"/>
              <a:gd name="connsiteY44747" fmla="*/ 2508163 h 6557032"/>
              <a:gd name="connsiteX44748" fmla="*/ 983974 w 4610101"/>
              <a:gd name="connsiteY44748" fmla="*/ 2509987 h 6557032"/>
              <a:gd name="connsiteX44749" fmla="*/ 980330 w 4610101"/>
              <a:gd name="connsiteY44749" fmla="*/ 2502697 h 6557032"/>
              <a:gd name="connsiteX44750" fmla="*/ 1011307 w 4610101"/>
              <a:gd name="connsiteY44750" fmla="*/ 2491764 h 6557032"/>
              <a:gd name="connsiteX44751" fmla="*/ 994907 w 4610101"/>
              <a:gd name="connsiteY44751" fmla="*/ 2469898 h 6557032"/>
              <a:gd name="connsiteX44752" fmla="*/ 1018596 w 4610101"/>
              <a:gd name="connsiteY44752" fmla="*/ 2469898 h 6557032"/>
              <a:gd name="connsiteX44753" fmla="*/ 1002196 w 4610101"/>
              <a:gd name="connsiteY44753" fmla="*/ 2448032 h 6557032"/>
              <a:gd name="connsiteX44754" fmla="*/ 980330 w 4610101"/>
              <a:gd name="connsiteY44754" fmla="*/ 2448032 h 6557032"/>
              <a:gd name="connsiteX44755" fmla="*/ 1002196 w 4610101"/>
              <a:gd name="connsiteY44755" fmla="*/ 2402478 h 6557032"/>
              <a:gd name="connsiteX44756" fmla="*/ 983974 w 4610101"/>
              <a:gd name="connsiteY44756" fmla="*/ 2402478 h 6557032"/>
              <a:gd name="connsiteX44757" fmla="*/ 983974 w 4610101"/>
              <a:gd name="connsiteY44757" fmla="*/ 2378789 h 6557032"/>
              <a:gd name="connsiteX44758" fmla="*/ 1005840 w 4610101"/>
              <a:gd name="connsiteY44758" fmla="*/ 2395189 h 6557032"/>
              <a:gd name="connsiteX44759" fmla="*/ 1020418 w 4610101"/>
              <a:gd name="connsiteY44759" fmla="*/ 2356923 h 6557032"/>
              <a:gd name="connsiteX44760" fmla="*/ 998552 w 4610101"/>
              <a:gd name="connsiteY44760" fmla="*/ 2364211 h 6557032"/>
              <a:gd name="connsiteX44761" fmla="*/ 985796 w 4610101"/>
              <a:gd name="connsiteY44761" fmla="*/ 2360567 h 6557032"/>
              <a:gd name="connsiteX44762" fmla="*/ 985796 w 4610101"/>
              <a:gd name="connsiteY44762" fmla="*/ 2358745 h 6557032"/>
              <a:gd name="connsiteX44763" fmla="*/ 993085 w 4610101"/>
              <a:gd name="connsiteY44763" fmla="*/ 2360567 h 6557032"/>
              <a:gd name="connsiteX44764" fmla="*/ 991263 w 4610101"/>
              <a:gd name="connsiteY44764" fmla="*/ 2355101 h 6557032"/>
              <a:gd name="connsiteX44765" fmla="*/ 994907 w 4610101"/>
              <a:gd name="connsiteY44765" fmla="*/ 2358745 h 6557032"/>
              <a:gd name="connsiteX44766" fmla="*/ 993085 w 4610101"/>
              <a:gd name="connsiteY44766" fmla="*/ 2351457 h 6557032"/>
              <a:gd name="connsiteX44767" fmla="*/ 998552 w 4610101"/>
              <a:gd name="connsiteY44767" fmla="*/ 2353279 h 6557032"/>
              <a:gd name="connsiteX44768" fmla="*/ 993754 w 4610101"/>
              <a:gd name="connsiteY44768" fmla="*/ 2348480 h 6557032"/>
              <a:gd name="connsiteX44769" fmla="*/ 980330 w 4610101"/>
              <a:gd name="connsiteY44769" fmla="*/ 2351465 h 6557032"/>
              <a:gd name="connsiteX44770" fmla="*/ 974863 w 4610101"/>
              <a:gd name="connsiteY44770" fmla="*/ 2351465 h 6557032"/>
              <a:gd name="connsiteX44771" fmla="*/ 983974 w 4610101"/>
              <a:gd name="connsiteY44771" fmla="*/ 2345997 h 6557032"/>
              <a:gd name="connsiteX44772" fmla="*/ 994907 w 4610101"/>
              <a:gd name="connsiteY44772" fmla="*/ 2340531 h 6557032"/>
              <a:gd name="connsiteX44773" fmla="*/ 996729 w 4610101"/>
              <a:gd name="connsiteY44773" fmla="*/ 2340531 h 6557032"/>
              <a:gd name="connsiteX44774" fmla="*/ 1000374 w 4610101"/>
              <a:gd name="connsiteY44774" fmla="*/ 2340531 h 6557032"/>
              <a:gd name="connsiteX44775" fmla="*/ 1013129 w 4610101"/>
              <a:gd name="connsiteY44775" fmla="*/ 2331420 h 6557032"/>
              <a:gd name="connsiteX44776" fmla="*/ 1016774 w 4610101"/>
              <a:gd name="connsiteY44776" fmla="*/ 2336886 h 6557032"/>
              <a:gd name="connsiteX44777" fmla="*/ 1014951 w 4610101"/>
              <a:gd name="connsiteY44777" fmla="*/ 2333242 h 6557032"/>
              <a:gd name="connsiteX44778" fmla="*/ 1019506 w 4610101"/>
              <a:gd name="connsiteY44778" fmla="*/ 2336431 h 6557032"/>
              <a:gd name="connsiteX44779" fmla="*/ 1022045 w 4610101"/>
              <a:gd name="connsiteY44779" fmla="*/ 2336684 h 6557032"/>
              <a:gd name="connsiteX44780" fmla="*/ 1018619 w 4610101"/>
              <a:gd name="connsiteY44780" fmla="*/ 2333257 h 6557032"/>
              <a:gd name="connsiteX44781" fmla="*/ 1018596 w 4610101"/>
              <a:gd name="connsiteY44781" fmla="*/ 2333242 h 6557032"/>
              <a:gd name="connsiteX44782" fmla="*/ 1016774 w 4610101"/>
              <a:gd name="connsiteY44782" fmla="*/ 2327774 h 6557032"/>
              <a:gd name="connsiteX44783" fmla="*/ 1040462 w 4610101"/>
              <a:gd name="connsiteY44783" fmla="*/ 2324987 h 6557032"/>
              <a:gd name="connsiteX44784" fmla="*/ 1040462 w 4610101"/>
              <a:gd name="connsiteY44784" fmla="*/ 2322302 h 6557032"/>
              <a:gd name="connsiteX44785" fmla="*/ 1050071 w 4610101"/>
              <a:gd name="connsiteY44785" fmla="*/ 2317497 h 6557032"/>
              <a:gd name="connsiteX44786" fmla="*/ 1034995 w 4610101"/>
              <a:gd name="connsiteY44786" fmla="*/ 2318671 h 6557032"/>
              <a:gd name="connsiteX44787" fmla="*/ 1045929 w 4610101"/>
              <a:gd name="connsiteY44787" fmla="*/ 2311381 h 6557032"/>
              <a:gd name="connsiteX44788" fmla="*/ 1056861 w 4610101"/>
              <a:gd name="connsiteY44788" fmla="*/ 2305914 h 6557032"/>
              <a:gd name="connsiteX44789" fmla="*/ 1073262 w 4610101"/>
              <a:gd name="connsiteY44789" fmla="*/ 2294981 h 6557032"/>
              <a:gd name="connsiteX44790" fmla="*/ 1073718 w 4610101"/>
              <a:gd name="connsiteY44790" fmla="*/ 2304777 h 6557032"/>
              <a:gd name="connsiteX44791" fmla="*/ 1072515 w 4610101"/>
              <a:gd name="connsiteY44791" fmla="*/ 2309226 h 6557032"/>
              <a:gd name="connsiteX44792" fmla="*/ 1074644 w 4610101"/>
              <a:gd name="connsiteY44792" fmla="*/ 2308387 h 6557032"/>
              <a:gd name="connsiteX44793" fmla="*/ 1073260 w 4610101"/>
              <a:gd name="connsiteY44793" fmla="*/ 2293159 h 6557032"/>
              <a:gd name="connsiteX44794" fmla="*/ 1114692 w 4610101"/>
              <a:gd name="connsiteY44794" fmla="*/ 2277620 h 6557032"/>
              <a:gd name="connsiteX44795" fmla="*/ 1113349 w 4610101"/>
              <a:gd name="connsiteY44795" fmla="*/ 2274935 h 6557032"/>
              <a:gd name="connsiteX44796" fmla="*/ 1116993 w 4610101"/>
              <a:gd name="connsiteY44796" fmla="*/ 2267646 h 6557032"/>
              <a:gd name="connsiteX44797" fmla="*/ 1109704 w 4610101"/>
              <a:gd name="connsiteY44797" fmla="*/ 2269468 h 6557032"/>
              <a:gd name="connsiteX44798" fmla="*/ 1109704 w 4610101"/>
              <a:gd name="connsiteY44798" fmla="*/ 2262179 h 6557032"/>
              <a:gd name="connsiteX44799" fmla="*/ 1106060 w 4610101"/>
              <a:gd name="connsiteY44799" fmla="*/ 2267646 h 6557032"/>
              <a:gd name="connsiteX44800" fmla="*/ 1102416 w 4610101"/>
              <a:gd name="connsiteY44800" fmla="*/ 2265823 h 6557032"/>
              <a:gd name="connsiteX44801" fmla="*/ 1102416 w 4610101"/>
              <a:gd name="connsiteY44801" fmla="*/ 2278579 h 6557032"/>
              <a:gd name="connsiteX44802" fmla="*/ 1069616 w 4610101"/>
              <a:gd name="connsiteY44802" fmla="*/ 2293157 h 6557032"/>
              <a:gd name="connsiteX44803" fmla="*/ 1044106 w 4610101"/>
              <a:gd name="connsiteY44803" fmla="*/ 2309559 h 6557032"/>
              <a:gd name="connsiteX44804" fmla="*/ 1018596 w 4610101"/>
              <a:gd name="connsiteY44804" fmla="*/ 2324137 h 6557032"/>
              <a:gd name="connsiteX44805" fmla="*/ 1025884 w 4610101"/>
              <a:gd name="connsiteY44805" fmla="*/ 2311381 h 6557032"/>
              <a:gd name="connsiteX44806" fmla="*/ 1018596 w 4610101"/>
              <a:gd name="connsiteY44806" fmla="*/ 2320492 h 6557032"/>
              <a:gd name="connsiteX44807" fmla="*/ 998552 w 4610101"/>
              <a:gd name="connsiteY44807" fmla="*/ 2329602 h 6557032"/>
              <a:gd name="connsiteX44808" fmla="*/ 998552 w 4610101"/>
              <a:gd name="connsiteY44808" fmla="*/ 2325958 h 6557032"/>
              <a:gd name="connsiteX44809" fmla="*/ 996729 w 4610101"/>
              <a:gd name="connsiteY44809" fmla="*/ 2322314 h 6557032"/>
              <a:gd name="connsiteX44810" fmla="*/ 991263 w 4610101"/>
              <a:gd name="connsiteY44810" fmla="*/ 2325958 h 6557032"/>
              <a:gd name="connsiteX44811" fmla="*/ 987619 w 4610101"/>
              <a:gd name="connsiteY44811" fmla="*/ 2324137 h 6557032"/>
              <a:gd name="connsiteX44812" fmla="*/ 985796 w 4610101"/>
              <a:gd name="connsiteY44812" fmla="*/ 2331426 h 6557032"/>
              <a:gd name="connsiteX44813" fmla="*/ 983974 w 4610101"/>
              <a:gd name="connsiteY44813" fmla="*/ 2331426 h 6557032"/>
              <a:gd name="connsiteX44814" fmla="*/ 978508 w 4610101"/>
              <a:gd name="connsiteY44814" fmla="*/ 2325958 h 6557032"/>
              <a:gd name="connsiteX44815" fmla="*/ 978508 w 4610101"/>
              <a:gd name="connsiteY44815" fmla="*/ 2333248 h 6557032"/>
              <a:gd name="connsiteX44816" fmla="*/ 954819 w 4610101"/>
              <a:gd name="connsiteY44816" fmla="*/ 2342359 h 6557032"/>
              <a:gd name="connsiteX44817" fmla="*/ 942064 w 4610101"/>
              <a:gd name="connsiteY44817" fmla="*/ 2342359 h 6557032"/>
              <a:gd name="connsiteX44818" fmla="*/ 949353 w 4610101"/>
              <a:gd name="connsiteY44818" fmla="*/ 2325958 h 6557032"/>
              <a:gd name="connsiteX44819" fmla="*/ 978508 w 4610101"/>
              <a:gd name="connsiteY44819" fmla="*/ 2311381 h 6557032"/>
              <a:gd name="connsiteX44820" fmla="*/ 987619 w 4610101"/>
              <a:gd name="connsiteY44820" fmla="*/ 2289513 h 6557032"/>
              <a:gd name="connsiteX44821" fmla="*/ 987619 w 4610101"/>
              <a:gd name="connsiteY44821" fmla="*/ 2265823 h 6557032"/>
              <a:gd name="connsiteX44822" fmla="*/ 1009485 w 4610101"/>
              <a:gd name="connsiteY44822" fmla="*/ 2282224 h 6557032"/>
              <a:gd name="connsiteX44823" fmla="*/ 1011307 w 4610101"/>
              <a:gd name="connsiteY44823" fmla="*/ 2322314 h 6557032"/>
              <a:gd name="connsiteX44824" fmla="*/ 1031351 w 4610101"/>
              <a:gd name="connsiteY44824" fmla="*/ 2298624 h 6557032"/>
              <a:gd name="connsiteX44825" fmla="*/ 1009485 w 4610101"/>
              <a:gd name="connsiteY44825" fmla="*/ 2282224 h 6557032"/>
              <a:gd name="connsiteX44826" fmla="*/ 1009485 w 4610101"/>
              <a:gd name="connsiteY44826" fmla="*/ 2264001 h 6557032"/>
              <a:gd name="connsiteX44827" fmla="*/ 1011307 w 4610101"/>
              <a:gd name="connsiteY44827" fmla="*/ 2262179 h 6557032"/>
              <a:gd name="connsiteX44828" fmla="*/ 1033173 w 4610101"/>
              <a:gd name="connsiteY44828" fmla="*/ 2273113 h 6557032"/>
              <a:gd name="connsiteX44829" fmla="*/ 1027707 w 4610101"/>
              <a:gd name="connsiteY44829" fmla="*/ 2262179 h 6557032"/>
              <a:gd name="connsiteX44830" fmla="*/ 1027707 w 4610101"/>
              <a:gd name="connsiteY44830" fmla="*/ 2256712 h 6557032"/>
              <a:gd name="connsiteX44831" fmla="*/ 1025884 w 4610101"/>
              <a:gd name="connsiteY44831" fmla="*/ 2247601 h 6557032"/>
              <a:gd name="connsiteX44832" fmla="*/ 1027707 w 4610101"/>
              <a:gd name="connsiteY44832" fmla="*/ 2245778 h 6557032"/>
              <a:gd name="connsiteX44833" fmla="*/ 1020418 w 4610101"/>
              <a:gd name="connsiteY44833" fmla="*/ 2242134 h 6557032"/>
              <a:gd name="connsiteX44834" fmla="*/ 1022240 w 4610101"/>
              <a:gd name="connsiteY44834" fmla="*/ 2236668 h 6557032"/>
              <a:gd name="connsiteX44835" fmla="*/ 1025884 w 4610101"/>
              <a:gd name="connsiteY44835" fmla="*/ 2234844 h 6557032"/>
              <a:gd name="connsiteX44836" fmla="*/ 1022240 w 4610101"/>
              <a:gd name="connsiteY44836" fmla="*/ 2233022 h 6557032"/>
              <a:gd name="connsiteX44837" fmla="*/ 1064151 w 4610101"/>
              <a:gd name="connsiteY44837" fmla="*/ 2218444 h 6557032"/>
              <a:gd name="connsiteX44838" fmla="*/ 1073262 w 4610101"/>
              <a:gd name="connsiteY44838" fmla="*/ 2234844 h 6557032"/>
              <a:gd name="connsiteX44839" fmla="*/ 1071439 w 4610101"/>
              <a:gd name="connsiteY44839" fmla="*/ 2245778 h 6557032"/>
              <a:gd name="connsiteX44840" fmla="*/ 1073262 w 4610101"/>
              <a:gd name="connsiteY44840" fmla="*/ 2247601 h 6557032"/>
              <a:gd name="connsiteX44841" fmla="*/ 1076905 w 4610101"/>
              <a:gd name="connsiteY44841" fmla="*/ 2234844 h 6557032"/>
              <a:gd name="connsiteX44842" fmla="*/ 1086016 w 4610101"/>
              <a:gd name="connsiteY44842" fmla="*/ 2245778 h 6557032"/>
              <a:gd name="connsiteX44843" fmla="*/ 1102416 w 4610101"/>
              <a:gd name="connsiteY44843" fmla="*/ 2251245 h 6557032"/>
              <a:gd name="connsiteX44844" fmla="*/ 1104238 w 4610101"/>
              <a:gd name="connsiteY44844" fmla="*/ 2243956 h 6557032"/>
              <a:gd name="connsiteX44845" fmla="*/ 1076905 w 4610101"/>
              <a:gd name="connsiteY44845" fmla="*/ 2223910 h 6557032"/>
              <a:gd name="connsiteX44846" fmla="*/ 1093305 w 4610101"/>
              <a:gd name="connsiteY44846" fmla="*/ 2216623 h 6557032"/>
              <a:gd name="connsiteX44847" fmla="*/ 1175302 w 4610101"/>
              <a:gd name="connsiteY44847" fmla="*/ 2214800 h 6557032"/>
              <a:gd name="connsiteX44848" fmla="*/ 1177125 w 4610101"/>
              <a:gd name="connsiteY44848" fmla="*/ 2209334 h 6557032"/>
              <a:gd name="connsiteX44849" fmla="*/ 1208558 w 4610101"/>
              <a:gd name="connsiteY44849" fmla="*/ 2207055 h 6557032"/>
              <a:gd name="connsiteX44850" fmla="*/ 1237257 w 4610101"/>
              <a:gd name="connsiteY44850" fmla="*/ 2212978 h 6557032"/>
              <a:gd name="connsiteX44851" fmla="*/ 1244546 w 4610101"/>
              <a:gd name="connsiteY44851" fmla="*/ 2218444 h 6557032"/>
              <a:gd name="connsiteX44852" fmla="*/ 1244546 w 4610101"/>
              <a:gd name="connsiteY44852" fmla="*/ 2211155 h 6557032"/>
              <a:gd name="connsiteX44853" fmla="*/ 1259123 w 4610101"/>
              <a:gd name="connsiteY44853" fmla="*/ 2211155 h 6557032"/>
              <a:gd name="connsiteX44854" fmla="*/ 1268234 w 4610101"/>
              <a:gd name="connsiteY44854" fmla="*/ 2214800 h 6557032"/>
              <a:gd name="connsiteX44855" fmla="*/ 1269326 w 4610101"/>
              <a:gd name="connsiteY44855" fmla="*/ 2223540 h 6557032"/>
              <a:gd name="connsiteX44856" fmla="*/ 1277344 w 4610101"/>
              <a:gd name="connsiteY44856" fmla="*/ 2218437 h 6557032"/>
              <a:gd name="connsiteX44857" fmla="*/ 1286455 w 4610101"/>
              <a:gd name="connsiteY44857" fmla="*/ 2229370 h 6557032"/>
              <a:gd name="connsiteX44858" fmla="*/ 1291466 w 4610101"/>
              <a:gd name="connsiteY44858" fmla="*/ 2223220 h 6557032"/>
              <a:gd name="connsiteX44859" fmla="*/ 1288906 w 4610101"/>
              <a:gd name="connsiteY44859" fmla="*/ 2214991 h 6557032"/>
              <a:gd name="connsiteX44860" fmla="*/ 1286455 w 4610101"/>
              <a:gd name="connsiteY44860" fmla="*/ 2216624 h 6557032"/>
              <a:gd name="connsiteX44861" fmla="*/ 1282811 w 4610101"/>
              <a:gd name="connsiteY44861" fmla="*/ 2212980 h 6557032"/>
              <a:gd name="connsiteX44862" fmla="*/ 1284633 w 4610101"/>
              <a:gd name="connsiteY44862" fmla="*/ 2211156 h 6557032"/>
              <a:gd name="connsiteX44863" fmla="*/ 1291922 w 4610101"/>
              <a:gd name="connsiteY44863" fmla="*/ 2212980 h 6557032"/>
              <a:gd name="connsiteX44864" fmla="*/ 1291359 w 4610101"/>
              <a:gd name="connsiteY44864" fmla="*/ 2213356 h 6557032"/>
              <a:gd name="connsiteX44865" fmla="*/ 1302855 w 4610101"/>
              <a:gd name="connsiteY44865" fmla="*/ 2214793 h 6557032"/>
              <a:gd name="connsiteX44866" fmla="*/ 1304677 w 4610101"/>
              <a:gd name="connsiteY44866" fmla="*/ 2211148 h 6557032"/>
              <a:gd name="connsiteX44867" fmla="*/ 1321077 w 4610101"/>
              <a:gd name="connsiteY44867" fmla="*/ 2233014 h 6557032"/>
              <a:gd name="connsiteX44868" fmla="*/ 1315610 w 4610101"/>
              <a:gd name="connsiteY44868" fmla="*/ 2214793 h 6557032"/>
              <a:gd name="connsiteX44869" fmla="*/ 1326543 w 4610101"/>
              <a:gd name="connsiteY44869" fmla="*/ 2227548 h 6557032"/>
              <a:gd name="connsiteX44870" fmla="*/ 1322899 w 4610101"/>
              <a:gd name="connsiteY44870" fmla="*/ 2216615 h 6557032"/>
              <a:gd name="connsiteX44871" fmla="*/ 1335654 w 4610101"/>
              <a:gd name="connsiteY44871" fmla="*/ 2218437 h 6557032"/>
              <a:gd name="connsiteX44872" fmla="*/ 1326543 w 4610101"/>
              <a:gd name="connsiteY44872" fmla="*/ 2211148 h 6557032"/>
              <a:gd name="connsiteX44873" fmla="*/ 1315610 w 4610101"/>
              <a:gd name="connsiteY44873" fmla="*/ 2209326 h 6557032"/>
              <a:gd name="connsiteX44874" fmla="*/ 1328365 w 4610101"/>
              <a:gd name="connsiteY44874" fmla="*/ 2205682 h 6557032"/>
              <a:gd name="connsiteX44875" fmla="*/ 1346587 w 4610101"/>
              <a:gd name="connsiteY44875" fmla="*/ 2205682 h 6557032"/>
              <a:gd name="connsiteX44876" fmla="*/ 1324721 w 4610101"/>
              <a:gd name="connsiteY44876" fmla="*/ 2202037 h 6557032"/>
              <a:gd name="connsiteX44877" fmla="*/ 1330188 w 4610101"/>
              <a:gd name="connsiteY44877" fmla="*/ 2200215 h 6557032"/>
              <a:gd name="connsiteX44878" fmla="*/ 1308321 w 4610101"/>
              <a:gd name="connsiteY44878" fmla="*/ 2200215 h 6557032"/>
              <a:gd name="connsiteX44879" fmla="*/ 1321077 w 4610101"/>
              <a:gd name="connsiteY44879" fmla="*/ 2192926 h 6557032"/>
              <a:gd name="connsiteX44880" fmla="*/ 1328365 w 4610101"/>
              <a:gd name="connsiteY44880" fmla="*/ 2187460 h 6557032"/>
              <a:gd name="connsiteX44881" fmla="*/ 1341120 w 4610101"/>
              <a:gd name="connsiteY44881" fmla="*/ 2181993 h 6557032"/>
              <a:gd name="connsiteX44882" fmla="*/ 1373920 w 4610101"/>
              <a:gd name="connsiteY44882" fmla="*/ 2169238 h 6557032"/>
              <a:gd name="connsiteX44883" fmla="*/ 1373920 w 4610101"/>
              <a:gd name="connsiteY44883" fmla="*/ 2165594 h 6557032"/>
              <a:gd name="connsiteX44884" fmla="*/ 1392141 w 4610101"/>
              <a:gd name="connsiteY44884" fmla="*/ 2156483 h 6557032"/>
              <a:gd name="connsiteX44885" fmla="*/ 1397608 w 4610101"/>
              <a:gd name="connsiteY44885" fmla="*/ 2165594 h 6557032"/>
              <a:gd name="connsiteX44886" fmla="*/ 1393963 w 4610101"/>
              <a:gd name="connsiteY44886" fmla="*/ 2156483 h 6557032"/>
              <a:gd name="connsiteX44887" fmla="*/ 1406719 w 4610101"/>
              <a:gd name="connsiteY44887" fmla="*/ 2160127 h 6557032"/>
              <a:gd name="connsiteX44888" fmla="*/ 1399430 w 4610101"/>
              <a:gd name="connsiteY44888" fmla="*/ 2154660 h 6557032"/>
              <a:gd name="connsiteX44889" fmla="*/ 1406719 w 4610101"/>
              <a:gd name="connsiteY44889" fmla="*/ 2147372 h 6557032"/>
              <a:gd name="connsiteX44890" fmla="*/ 1395787 w 4610101"/>
              <a:gd name="connsiteY44890" fmla="*/ 2151017 h 6557032"/>
              <a:gd name="connsiteX44891" fmla="*/ 1397608 w 4610101"/>
              <a:gd name="connsiteY44891" fmla="*/ 2145550 h 6557032"/>
              <a:gd name="connsiteX44892" fmla="*/ 1395787 w 4610101"/>
              <a:gd name="connsiteY44892" fmla="*/ 2143728 h 6557032"/>
              <a:gd name="connsiteX44893" fmla="*/ 1393963 w 4610101"/>
              <a:gd name="connsiteY44893" fmla="*/ 2149194 h 6557032"/>
              <a:gd name="connsiteX44894" fmla="*/ 1386676 w 4610101"/>
              <a:gd name="connsiteY44894" fmla="*/ 2151017 h 6557032"/>
              <a:gd name="connsiteX44895" fmla="*/ 1366632 w 4610101"/>
              <a:gd name="connsiteY44895" fmla="*/ 2165594 h 6557032"/>
              <a:gd name="connsiteX44896" fmla="*/ 1364809 w 4610101"/>
              <a:gd name="connsiteY44896" fmla="*/ 2161950 h 6557032"/>
              <a:gd name="connsiteX44897" fmla="*/ 1359342 w 4610101"/>
              <a:gd name="connsiteY44897" fmla="*/ 2167416 h 6557032"/>
              <a:gd name="connsiteX44898" fmla="*/ 1326543 w 4610101"/>
              <a:gd name="connsiteY44898" fmla="*/ 2183816 h 6557032"/>
              <a:gd name="connsiteX44899" fmla="*/ 1315610 w 4610101"/>
              <a:gd name="connsiteY44899" fmla="*/ 2191104 h 6557032"/>
              <a:gd name="connsiteX44900" fmla="*/ 1308321 w 4610101"/>
              <a:gd name="connsiteY44900" fmla="*/ 2189282 h 6557032"/>
              <a:gd name="connsiteX44901" fmla="*/ 1301033 w 4610101"/>
              <a:gd name="connsiteY44901" fmla="*/ 2189282 h 6557032"/>
              <a:gd name="connsiteX44902" fmla="*/ 1301033 w 4610101"/>
              <a:gd name="connsiteY44902" fmla="*/ 2181993 h 6557032"/>
              <a:gd name="connsiteX44903" fmla="*/ 1286455 w 4610101"/>
              <a:gd name="connsiteY44903" fmla="*/ 2172883 h 6557032"/>
              <a:gd name="connsiteX44904" fmla="*/ 1286455 w 4610101"/>
              <a:gd name="connsiteY44904" fmla="*/ 2169238 h 6557032"/>
              <a:gd name="connsiteX44905" fmla="*/ 1273700 w 4610101"/>
              <a:gd name="connsiteY44905" fmla="*/ 2176527 h 6557032"/>
              <a:gd name="connsiteX44906" fmla="*/ 1271878 w 4610101"/>
              <a:gd name="connsiteY44906" fmla="*/ 2180171 h 6557032"/>
              <a:gd name="connsiteX44907" fmla="*/ 1268233 w 4610101"/>
              <a:gd name="connsiteY44907" fmla="*/ 2180171 h 6557032"/>
              <a:gd name="connsiteX44908" fmla="*/ 1260945 w 4610101"/>
              <a:gd name="connsiteY44908" fmla="*/ 2145550 h 6557032"/>
              <a:gd name="connsiteX44909" fmla="*/ 1266411 w 4610101"/>
              <a:gd name="connsiteY44909" fmla="*/ 2180171 h 6557032"/>
              <a:gd name="connsiteX44910" fmla="*/ 1262767 w 4610101"/>
              <a:gd name="connsiteY44910" fmla="*/ 2178349 h 6557032"/>
              <a:gd name="connsiteX44911" fmla="*/ 1260945 w 4610101"/>
              <a:gd name="connsiteY44911" fmla="*/ 2185638 h 6557032"/>
              <a:gd name="connsiteX44912" fmla="*/ 1211747 w 4610101"/>
              <a:gd name="connsiteY44912" fmla="*/ 2183816 h 6557032"/>
              <a:gd name="connsiteX44913" fmla="*/ 1211747 w 4610101"/>
              <a:gd name="connsiteY44913" fmla="*/ 2180171 h 6557032"/>
              <a:gd name="connsiteX44914" fmla="*/ 1209925 w 4610101"/>
              <a:gd name="connsiteY44914" fmla="*/ 2178349 h 6557032"/>
              <a:gd name="connsiteX44915" fmla="*/ 1206279 w 4610101"/>
              <a:gd name="connsiteY44915" fmla="*/ 2181993 h 6557032"/>
              <a:gd name="connsiteX44916" fmla="*/ 1142503 w 4610101"/>
              <a:gd name="connsiteY44916" fmla="*/ 2187460 h 6557032"/>
              <a:gd name="connsiteX44917" fmla="*/ 1138859 w 4610101"/>
              <a:gd name="connsiteY44917" fmla="*/ 2185638 h 6557032"/>
              <a:gd name="connsiteX44918" fmla="*/ 1096949 w 4610101"/>
              <a:gd name="connsiteY44918" fmla="*/ 2191104 h 6557032"/>
              <a:gd name="connsiteX44919" fmla="*/ 1096949 w 4610101"/>
              <a:gd name="connsiteY44919" fmla="*/ 2187460 h 6557032"/>
              <a:gd name="connsiteX44920" fmla="*/ 1087838 w 4610101"/>
              <a:gd name="connsiteY44920" fmla="*/ 2192926 h 6557032"/>
              <a:gd name="connsiteX44921" fmla="*/ 1058683 w 4610101"/>
              <a:gd name="connsiteY44921" fmla="*/ 2181993 h 6557032"/>
              <a:gd name="connsiteX44922" fmla="*/ 1053217 w 4610101"/>
              <a:gd name="connsiteY44922" fmla="*/ 2174705 h 6557032"/>
              <a:gd name="connsiteX44923" fmla="*/ 1053217 w 4610101"/>
              <a:gd name="connsiteY44923" fmla="*/ 2172883 h 6557032"/>
              <a:gd name="connsiteX44924" fmla="*/ 1051395 w 4610101"/>
              <a:gd name="connsiteY44924" fmla="*/ 2167416 h 6557032"/>
              <a:gd name="connsiteX44925" fmla="*/ 1055040 w 4610101"/>
              <a:gd name="connsiteY44925" fmla="*/ 2169238 h 6557032"/>
              <a:gd name="connsiteX44926" fmla="*/ 1058683 w 4610101"/>
              <a:gd name="connsiteY44926" fmla="*/ 2165594 h 6557032"/>
              <a:gd name="connsiteX44927" fmla="*/ 1095127 w 4610101"/>
              <a:gd name="connsiteY44927" fmla="*/ 2176527 h 6557032"/>
              <a:gd name="connsiteX44928" fmla="*/ 1078727 w 4610101"/>
              <a:gd name="connsiteY44928" fmla="*/ 2163772 h 6557032"/>
              <a:gd name="connsiteX44929" fmla="*/ 1107882 w 4610101"/>
              <a:gd name="connsiteY44929" fmla="*/ 2143728 h 6557032"/>
              <a:gd name="connsiteX44930" fmla="*/ 1075083 w 4610101"/>
              <a:gd name="connsiteY44930" fmla="*/ 2147372 h 6557032"/>
              <a:gd name="connsiteX44931" fmla="*/ 1078727 w 4610101"/>
              <a:gd name="connsiteY44931" fmla="*/ 2136438 h 6557032"/>
              <a:gd name="connsiteX44932" fmla="*/ 1071439 w 4610101"/>
              <a:gd name="connsiteY44932" fmla="*/ 2138261 h 6557032"/>
              <a:gd name="connsiteX44933" fmla="*/ 1075083 w 4610101"/>
              <a:gd name="connsiteY44933" fmla="*/ 2114572 h 6557032"/>
              <a:gd name="connsiteX44934" fmla="*/ 1073262 w 4610101"/>
              <a:gd name="connsiteY44934" fmla="*/ 2112751 h 6557032"/>
              <a:gd name="connsiteX44935" fmla="*/ 1056861 w 4610101"/>
              <a:gd name="connsiteY44935" fmla="*/ 2151017 h 6557032"/>
              <a:gd name="connsiteX44936" fmla="*/ 1053217 w 4610101"/>
              <a:gd name="connsiteY44936" fmla="*/ 2152839 h 6557032"/>
              <a:gd name="connsiteX44937" fmla="*/ 1053217 w 4610101"/>
              <a:gd name="connsiteY44937" fmla="*/ 2158304 h 6557032"/>
              <a:gd name="connsiteX44938" fmla="*/ 1051395 w 4610101"/>
              <a:gd name="connsiteY44938" fmla="*/ 2154660 h 6557032"/>
              <a:gd name="connsiteX44939" fmla="*/ 1049573 w 4610101"/>
              <a:gd name="connsiteY44939" fmla="*/ 2156483 h 6557032"/>
              <a:gd name="connsiteX44940" fmla="*/ 1056861 w 4610101"/>
              <a:gd name="connsiteY44940" fmla="*/ 2140082 h 6557032"/>
              <a:gd name="connsiteX44941" fmla="*/ 1060506 w 4610101"/>
              <a:gd name="connsiteY44941" fmla="*/ 2110928 h 6557032"/>
              <a:gd name="connsiteX44942" fmla="*/ 1062328 w 4610101"/>
              <a:gd name="connsiteY44942" fmla="*/ 2109107 h 6557032"/>
              <a:gd name="connsiteX44943" fmla="*/ 1058683 w 4610101"/>
              <a:gd name="connsiteY44943" fmla="*/ 2105461 h 6557032"/>
              <a:gd name="connsiteX44944" fmla="*/ 1056861 w 4610101"/>
              <a:gd name="connsiteY44944" fmla="*/ 2101817 h 6557032"/>
              <a:gd name="connsiteX44945" fmla="*/ 1055040 w 4610101"/>
              <a:gd name="connsiteY44945" fmla="*/ 2101817 h 6557032"/>
              <a:gd name="connsiteX44946" fmla="*/ 1053217 w 4610101"/>
              <a:gd name="connsiteY44946" fmla="*/ 2098174 h 6557032"/>
              <a:gd name="connsiteX44947" fmla="*/ 1031351 w 4610101"/>
              <a:gd name="connsiteY44947" fmla="*/ 2120040 h 6557032"/>
              <a:gd name="connsiteX44948" fmla="*/ 1040462 w 4610101"/>
              <a:gd name="connsiteY44948" fmla="*/ 2129150 h 6557032"/>
              <a:gd name="connsiteX44949" fmla="*/ 1038639 w 4610101"/>
              <a:gd name="connsiteY44949" fmla="*/ 2130973 h 6557032"/>
              <a:gd name="connsiteX44950" fmla="*/ 1038639 w 4610101"/>
              <a:gd name="connsiteY44950" fmla="*/ 2136438 h 6557032"/>
              <a:gd name="connsiteX44951" fmla="*/ 1007663 w 4610101"/>
              <a:gd name="connsiteY44951" fmla="*/ 2136438 h 6557032"/>
              <a:gd name="connsiteX44952" fmla="*/ 1007663 w 4610101"/>
              <a:gd name="connsiteY44952" fmla="*/ 2143728 h 6557032"/>
              <a:gd name="connsiteX44953" fmla="*/ 1036818 w 4610101"/>
              <a:gd name="connsiteY44953" fmla="*/ 2151017 h 6557032"/>
              <a:gd name="connsiteX44954" fmla="*/ 1036818 w 4610101"/>
              <a:gd name="connsiteY44954" fmla="*/ 2165594 h 6557032"/>
              <a:gd name="connsiteX44955" fmla="*/ 1033173 w 4610101"/>
              <a:gd name="connsiteY44955" fmla="*/ 2167416 h 6557032"/>
              <a:gd name="connsiteX44956" fmla="*/ 1034995 w 4610101"/>
              <a:gd name="connsiteY44956" fmla="*/ 2172883 h 6557032"/>
              <a:gd name="connsiteX44957" fmla="*/ 1031351 w 4610101"/>
              <a:gd name="connsiteY44957" fmla="*/ 2180171 h 6557032"/>
              <a:gd name="connsiteX44958" fmla="*/ 1029529 w 4610101"/>
              <a:gd name="connsiteY44958" fmla="*/ 2174705 h 6557032"/>
              <a:gd name="connsiteX44959" fmla="*/ 1027707 w 4610101"/>
              <a:gd name="connsiteY44959" fmla="*/ 2181993 h 6557032"/>
              <a:gd name="connsiteX44960" fmla="*/ 1022240 w 4610101"/>
              <a:gd name="connsiteY44960" fmla="*/ 2171060 h 6557032"/>
              <a:gd name="connsiteX44961" fmla="*/ 1022240 w 4610101"/>
              <a:gd name="connsiteY44961" fmla="*/ 2163772 h 6557032"/>
              <a:gd name="connsiteX44962" fmla="*/ 1002196 w 4610101"/>
              <a:gd name="connsiteY44962" fmla="*/ 2149194 h 6557032"/>
              <a:gd name="connsiteX44963" fmla="*/ 1002196 w 4610101"/>
              <a:gd name="connsiteY44963" fmla="*/ 2154660 h 6557032"/>
              <a:gd name="connsiteX44964" fmla="*/ 993085 w 4610101"/>
              <a:gd name="connsiteY44964" fmla="*/ 2154660 h 6557032"/>
              <a:gd name="connsiteX44965" fmla="*/ 1007663 w 4610101"/>
              <a:gd name="connsiteY44965" fmla="*/ 2169238 h 6557032"/>
              <a:gd name="connsiteX44966" fmla="*/ 1007663 w 4610101"/>
              <a:gd name="connsiteY44966" fmla="*/ 2165594 h 6557032"/>
              <a:gd name="connsiteX44967" fmla="*/ 1009485 w 4610101"/>
              <a:gd name="connsiteY44967" fmla="*/ 2167416 h 6557032"/>
              <a:gd name="connsiteX44968" fmla="*/ 1020418 w 4610101"/>
              <a:gd name="connsiteY44968" fmla="*/ 2176527 h 6557032"/>
              <a:gd name="connsiteX44969" fmla="*/ 1024062 w 4610101"/>
              <a:gd name="connsiteY44969" fmla="*/ 2183816 h 6557032"/>
              <a:gd name="connsiteX44970" fmla="*/ 1013129 w 4610101"/>
              <a:gd name="connsiteY44970" fmla="*/ 2183816 h 6557032"/>
              <a:gd name="connsiteX44971" fmla="*/ 1011307 w 4610101"/>
              <a:gd name="connsiteY44971" fmla="*/ 2180171 h 6557032"/>
              <a:gd name="connsiteX44972" fmla="*/ 1009485 w 4610101"/>
              <a:gd name="connsiteY44972" fmla="*/ 2183816 h 6557032"/>
              <a:gd name="connsiteX44973" fmla="*/ 1007663 w 4610101"/>
              <a:gd name="connsiteY44973" fmla="*/ 2183816 h 6557032"/>
              <a:gd name="connsiteX44974" fmla="*/ 1004018 w 4610101"/>
              <a:gd name="connsiteY44974" fmla="*/ 2183816 h 6557032"/>
              <a:gd name="connsiteX44975" fmla="*/ 993085 w 4610101"/>
              <a:gd name="connsiteY44975" fmla="*/ 2183816 h 6557032"/>
              <a:gd name="connsiteX44976" fmla="*/ 971219 w 4610101"/>
              <a:gd name="connsiteY44976" fmla="*/ 2161950 h 6557032"/>
              <a:gd name="connsiteX44977" fmla="*/ 974863 w 4610101"/>
              <a:gd name="connsiteY44977" fmla="*/ 2151017 h 6557032"/>
              <a:gd name="connsiteX44978" fmla="*/ 996729 w 4610101"/>
              <a:gd name="connsiteY44978" fmla="*/ 2141906 h 6557032"/>
              <a:gd name="connsiteX44979" fmla="*/ 998552 w 4610101"/>
              <a:gd name="connsiteY44979" fmla="*/ 2145550 h 6557032"/>
              <a:gd name="connsiteX44980" fmla="*/ 1000374 w 4610101"/>
              <a:gd name="connsiteY44980" fmla="*/ 2143728 h 6557032"/>
              <a:gd name="connsiteX44981" fmla="*/ 1004018 w 4610101"/>
              <a:gd name="connsiteY44981" fmla="*/ 2145550 h 6557032"/>
              <a:gd name="connsiteX44982" fmla="*/ 1005840 w 4610101"/>
              <a:gd name="connsiteY44982" fmla="*/ 2141906 h 6557032"/>
              <a:gd name="connsiteX44983" fmla="*/ 1002196 w 4610101"/>
              <a:gd name="connsiteY44983" fmla="*/ 2140082 h 6557032"/>
              <a:gd name="connsiteX44984" fmla="*/ 1002196 w 4610101"/>
              <a:gd name="connsiteY44984" fmla="*/ 2136438 h 6557032"/>
              <a:gd name="connsiteX44985" fmla="*/ 994907 w 4610101"/>
              <a:gd name="connsiteY44985" fmla="*/ 2138261 h 6557032"/>
              <a:gd name="connsiteX44986" fmla="*/ 993085 w 4610101"/>
              <a:gd name="connsiteY44986" fmla="*/ 2141906 h 6557032"/>
              <a:gd name="connsiteX44987" fmla="*/ 987619 w 4610101"/>
              <a:gd name="connsiteY44987" fmla="*/ 2145550 h 6557032"/>
              <a:gd name="connsiteX44988" fmla="*/ 974863 w 4610101"/>
              <a:gd name="connsiteY44988" fmla="*/ 2149194 h 6557032"/>
              <a:gd name="connsiteX44989" fmla="*/ 978508 w 4610101"/>
              <a:gd name="connsiteY44989" fmla="*/ 2140082 h 6557032"/>
              <a:gd name="connsiteX44990" fmla="*/ 983974 w 4610101"/>
              <a:gd name="connsiteY44990" fmla="*/ 2134617 h 6557032"/>
              <a:gd name="connsiteX44991" fmla="*/ 991263 w 4610101"/>
              <a:gd name="connsiteY44991" fmla="*/ 2138261 h 6557032"/>
              <a:gd name="connsiteX44992" fmla="*/ 1014951 w 4610101"/>
              <a:gd name="connsiteY44992" fmla="*/ 2116394 h 6557032"/>
              <a:gd name="connsiteX44993" fmla="*/ 1001370 w 4610101"/>
              <a:gd name="connsiteY44993" fmla="*/ 2095383 h 6557032"/>
              <a:gd name="connsiteX44994" fmla="*/ 1000374 w 4610101"/>
              <a:gd name="connsiteY44994" fmla="*/ 2083598 h 6557032"/>
              <a:gd name="connsiteX44995" fmla="*/ 998552 w 4610101"/>
              <a:gd name="connsiteY44995" fmla="*/ 2083598 h 6557032"/>
              <a:gd name="connsiteX44996" fmla="*/ 996729 w 4610101"/>
              <a:gd name="connsiteY44996" fmla="*/ 2085419 h 6557032"/>
              <a:gd name="connsiteX44997" fmla="*/ 980330 w 4610101"/>
              <a:gd name="connsiteY44997" fmla="*/ 2085419 h 6557032"/>
              <a:gd name="connsiteX44998" fmla="*/ 980330 w 4610101"/>
              <a:gd name="connsiteY44998" fmla="*/ 2079953 h 6557032"/>
              <a:gd name="connsiteX44999" fmla="*/ 1009485 w 4610101"/>
              <a:gd name="connsiteY44999" fmla="*/ 2070847 h 6557032"/>
              <a:gd name="connsiteX45000" fmla="*/ 1013129 w 4610101"/>
              <a:gd name="connsiteY45000" fmla="*/ 2081775 h 6557032"/>
              <a:gd name="connsiteX45001" fmla="*/ 1008228 w 4610101"/>
              <a:gd name="connsiteY45001" fmla="*/ 2083409 h 6557032"/>
              <a:gd name="connsiteX45002" fmla="*/ 1008119 w 4610101"/>
              <a:gd name="connsiteY45002" fmla="*/ 2083598 h 6557032"/>
              <a:gd name="connsiteX45003" fmla="*/ 1024062 w 4610101"/>
              <a:gd name="connsiteY45003" fmla="*/ 2094529 h 6557032"/>
              <a:gd name="connsiteX45004" fmla="*/ 1031351 w 4610101"/>
              <a:gd name="connsiteY45004" fmla="*/ 2069020 h 6557032"/>
              <a:gd name="connsiteX45005" fmla="*/ 1044106 w 4610101"/>
              <a:gd name="connsiteY45005" fmla="*/ 2065373 h 6557032"/>
              <a:gd name="connsiteX45006" fmla="*/ 1075083 w 4610101"/>
              <a:gd name="connsiteY45006" fmla="*/ 2054441 h 6557032"/>
              <a:gd name="connsiteX45007" fmla="*/ 1078727 w 4610101"/>
              <a:gd name="connsiteY45007" fmla="*/ 2054441 h 6557032"/>
              <a:gd name="connsiteX45008" fmla="*/ 1078727 w 4610101"/>
              <a:gd name="connsiteY45008" fmla="*/ 2052047 h 6557032"/>
              <a:gd name="connsiteX45009" fmla="*/ 1093305 w 4610101"/>
              <a:gd name="connsiteY45009" fmla="*/ 2043509 h 6557032"/>
              <a:gd name="connsiteX45010" fmla="*/ 1093305 w 4610101"/>
              <a:gd name="connsiteY45010" fmla="*/ 2052619 h 6557032"/>
              <a:gd name="connsiteX45011" fmla="*/ 1095127 w 4610101"/>
              <a:gd name="connsiteY45011" fmla="*/ 2043509 h 6557032"/>
              <a:gd name="connsiteX45012" fmla="*/ 1098771 w 4610101"/>
              <a:gd name="connsiteY45012" fmla="*/ 2047153 h 6557032"/>
              <a:gd name="connsiteX45013" fmla="*/ 1106060 w 4610101"/>
              <a:gd name="connsiteY45013" fmla="*/ 2054441 h 6557032"/>
              <a:gd name="connsiteX45014" fmla="*/ 1104238 w 4610101"/>
              <a:gd name="connsiteY45014" fmla="*/ 2047153 h 6557032"/>
              <a:gd name="connsiteX45015" fmla="*/ 1116993 w 4610101"/>
              <a:gd name="connsiteY45015" fmla="*/ 2045330 h 6557032"/>
              <a:gd name="connsiteX45016" fmla="*/ 1106060 w 4610101"/>
              <a:gd name="connsiteY45016" fmla="*/ 2041686 h 6557032"/>
              <a:gd name="connsiteX45017" fmla="*/ 1111526 w 4610101"/>
              <a:gd name="connsiteY45017" fmla="*/ 2038042 h 6557032"/>
              <a:gd name="connsiteX45018" fmla="*/ 1104238 w 4610101"/>
              <a:gd name="connsiteY45018" fmla="*/ 2039864 h 6557032"/>
              <a:gd name="connsiteX45019" fmla="*/ 1095127 w 4610101"/>
              <a:gd name="connsiteY45019" fmla="*/ 2043509 h 6557032"/>
              <a:gd name="connsiteX45020" fmla="*/ 1095127 w 4610101"/>
              <a:gd name="connsiteY45020" fmla="*/ 2038042 h 6557032"/>
              <a:gd name="connsiteX45021" fmla="*/ 1093305 w 4610101"/>
              <a:gd name="connsiteY45021" fmla="*/ 2043509 h 6557032"/>
              <a:gd name="connsiteX45022" fmla="*/ 1078727 w 4610101"/>
              <a:gd name="connsiteY45022" fmla="*/ 2050796 h 6557032"/>
              <a:gd name="connsiteX45023" fmla="*/ 1078727 w 4610101"/>
              <a:gd name="connsiteY45023" fmla="*/ 2052047 h 6557032"/>
              <a:gd name="connsiteX45024" fmla="*/ 1077361 w 4610101"/>
              <a:gd name="connsiteY45024" fmla="*/ 2052847 h 6557032"/>
              <a:gd name="connsiteX45025" fmla="*/ 1058683 w 4610101"/>
              <a:gd name="connsiteY45025" fmla="*/ 2058086 h 6557032"/>
              <a:gd name="connsiteX45026" fmla="*/ 1036818 w 4610101"/>
              <a:gd name="connsiteY45026" fmla="*/ 2067195 h 6557032"/>
              <a:gd name="connsiteX45027" fmla="*/ 1042284 w 4610101"/>
              <a:gd name="connsiteY45027" fmla="*/ 2061729 h 6557032"/>
              <a:gd name="connsiteX45028" fmla="*/ 1062328 w 4610101"/>
              <a:gd name="connsiteY45028" fmla="*/ 2045330 h 6557032"/>
              <a:gd name="connsiteX45029" fmla="*/ 1058683 w 4610101"/>
              <a:gd name="connsiteY45029" fmla="*/ 2030752 h 6557032"/>
              <a:gd name="connsiteX45030" fmla="*/ 1062328 w 4610101"/>
              <a:gd name="connsiteY45030" fmla="*/ 2007065 h 6557032"/>
              <a:gd name="connsiteX45031" fmla="*/ 1031351 w 4610101"/>
              <a:gd name="connsiteY45031" fmla="*/ 1976089 h 6557032"/>
              <a:gd name="connsiteX45032" fmla="*/ 1016774 w 4610101"/>
              <a:gd name="connsiteY45032" fmla="*/ 1983376 h 6557032"/>
              <a:gd name="connsiteX45033" fmla="*/ 1009485 w 4610101"/>
              <a:gd name="connsiteY45033" fmla="*/ 1968799 h 6557032"/>
              <a:gd name="connsiteX45034" fmla="*/ 1025884 w 4610101"/>
              <a:gd name="connsiteY45034" fmla="*/ 1959688 h 6557032"/>
              <a:gd name="connsiteX45035" fmla="*/ 1009485 w 4610101"/>
              <a:gd name="connsiteY45035" fmla="*/ 1937823 h 6557032"/>
              <a:gd name="connsiteX45036" fmla="*/ 1076905 w 4610101"/>
              <a:gd name="connsiteY45036" fmla="*/ 1886802 h 6557032"/>
              <a:gd name="connsiteX45037" fmla="*/ 1069616 w 4610101"/>
              <a:gd name="connsiteY45037" fmla="*/ 1877691 h 6557032"/>
              <a:gd name="connsiteX45038" fmla="*/ 1047750 w 4610101"/>
              <a:gd name="connsiteY45038" fmla="*/ 1894091 h 6557032"/>
              <a:gd name="connsiteX45039" fmla="*/ 1047750 w 4610101"/>
              <a:gd name="connsiteY45039" fmla="*/ 1872225 h 6557032"/>
              <a:gd name="connsiteX45040" fmla="*/ 1033173 w 4610101"/>
              <a:gd name="connsiteY45040" fmla="*/ 1864936 h 6557032"/>
              <a:gd name="connsiteX45041" fmla="*/ 1040462 w 4610101"/>
              <a:gd name="connsiteY45041" fmla="*/ 1848537 h 6557032"/>
              <a:gd name="connsiteX45042" fmla="*/ 1053217 w 4610101"/>
              <a:gd name="connsiteY45042" fmla="*/ 1855825 h 6557032"/>
              <a:gd name="connsiteX45043" fmla="*/ 1078727 w 4610101"/>
              <a:gd name="connsiteY45043" fmla="*/ 1833959 h 6557032"/>
              <a:gd name="connsiteX45044" fmla="*/ 1060506 w 4610101"/>
              <a:gd name="connsiteY45044" fmla="*/ 1819382 h 6557032"/>
              <a:gd name="connsiteX45045" fmla="*/ 1076905 w 4610101"/>
              <a:gd name="connsiteY45045" fmla="*/ 1797516 h 6557032"/>
              <a:gd name="connsiteX45046" fmla="*/ 1062328 w 4610101"/>
              <a:gd name="connsiteY45046" fmla="*/ 1797516 h 6557032"/>
              <a:gd name="connsiteX45047" fmla="*/ 1062328 w 4610101"/>
              <a:gd name="connsiteY45047" fmla="*/ 1781116 h 6557032"/>
              <a:gd name="connsiteX45048" fmla="*/ 1091484 w 4610101"/>
              <a:gd name="connsiteY45048" fmla="*/ 1790227 h 6557032"/>
              <a:gd name="connsiteX45049" fmla="*/ 1118815 w 4610101"/>
              <a:gd name="connsiteY45049" fmla="*/ 1759250 h 6557032"/>
              <a:gd name="connsiteX45050" fmla="*/ 1147970 w 4610101"/>
              <a:gd name="connsiteY45050" fmla="*/ 1750139 h 6557032"/>
              <a:gd name="connsiteX45051" fmla="*/ 1140681 w 4610101"/>
              <a:gd name="connsiteY45051" fmla="*/ 1735562 h 6557032"/>
              <a:gd name="connsiteX45052" fmla="*/ 1146148 w 4610101"/>
              <a:gd name="connsiteY45052" fmla="*/ 1713696 h 6557032"/>
              <a:gd name="connsiteX45053" fmla="*/ 1141045 w 4610101"/>
              <a:gd name="connsiteY45053" fmla="*/ 1707955 h 6557032"/>
              <a:gd name="connsiteX45054" fmla="*/ 1147970 w 4610101"/>
              <a:gd name="connsiteY45054" fmla="*/ 1702763 h 6557032"/>
              <a:gd name="connsiteX45055" fmla="*/ 1144326 w 4610101"/>
              <a:gd name="connsiteY45055" fmla="*/ 1700941 h 6557032"/>
              <a:gd name="connsiteX45056" fmla="*/ 1138859 w 4610101"/>
              <a:gd name="connsiteY45056" fmla="*/ 1704585 h 6557032"/>
              <a:gd name="connsiteX45057" fmla="*/ 1138859 w 4610101"/>
              <a:gd name="connsiteY45057" fmla="*/ 1705496 h 6557032"/>
              <a:gd name="connsiteX45058" fmla="*/ 1131570 w 4610101"/>
              <a:gd name="connsiteY45058" fmla="*/ 1697296 h 6557032"/>
              <a:gd name="connsiteX45059" fmla="*/ 1130659 w 4610101"/>
              <a:gd name="connsiteY45059" fmla="*/ 1697296 h 6557032"/>
              <a:gd name="connsiteX45060" fmla="*/ 1131570 w 4610101"/>
              <a:gd name="connsiteY45060" fmla="*/ 1695474 h 6557032"/>
              <a:gd name="connsiteX45061" fmla="*/ 1123370 w 4610101"/>
              <a:gd name="connsiteY45061" fmla="*/ 1695474 h 6557032"/>
              <a:gd name="connsiteX45062" fmla="*/ 1118815 w 4610101"/>
              <a:gd name="connsiteY45062" fmla="*/ 1693652 h 6557032"/>
              <a:gd name="connsiteX45063" fmla="*/ 1102416 w 4610101"/>
              <a:gd name="connsiteY45063" fmla="*/ 1700941 h 6557032"/>
              <a:gd name="connsiteX45064" fmla="*/ 1102416 w 4610101"/>
              <a:gd name="connsiteY45064" fmla="*/ 1697296 h 6557032"/>
              <a:gd name="connsiteX45065" fmla="*/ 1093305 w 4610101"/>
              <a:gd name="connsiteY45065" fmla="*/ 1699899 h 6557032"/>
              <a:gd name="connsiteX45066" fmla="*/ 1093305 w 4610101"/>
              <a:gd name="connsiteY45066" fmla="*/ 1697296 h 6557032"/>
              <a:gd name="connsiteX45067" fmla="*/ 1084194 w 4610101"/>
              <a:gd name="connsiteY45067" fmla="*/ 1697296 h 6557032"/>
              <a:gd name="connsiteX45068" fmla="*/ 1082373 w 4610101"/>
              <a:gd name="connsiteY45068" fmla="*/ 1700941 h 6557032"/>
              <a:gd name="connsiteX45069" fmla="*/ 1080549 w 4610101"/>
              <a:gd name="connsiteY45069" fmla="*/ 1706407 h 6557032"/>
              <a:gd name="connsiteX45070" fmla="*/ 1088893 w 4610101"/>
              <a:gd name="connsiteY45070" fmla="*/ 1703626 h 6557032"/>
              <a:gd name="connsiteX45071" fmla="*/ 1086016 w 4610101"/>
              <a:gd name="connsiteY45071" fmla="*/ 1713696 h 6557032"/>
              <a:gd name="connsiteX45072" fmla="*/ 1075083 w 4610101"/>
              <a:gd name="connsiteY45072" fmla="*/ 1704585 h 6557032"/>
              <a:gd name="connsiteX45073" fmla="*/ 1062328 w 4610101"/>
              <a:gd name="connsiteY45073" fmla="*/ 1710051 h 6557032"/>
              <a:gd name="connsiteX45074" fmla="*/ 1073262 w 4610101"/>
              <a:gd name="connsiteY45074" fmla="*/ 1702763 h 6557032"/>
              <a:gd name="connsiteX45075" fmla="*/ 1064151 w 4610101"/>
              <a:gd name="connsiteY45075" fmla="*/ 1693652 h 6557032"/>
              <a:gd name="connsiteX45076" fmla="*/ 1060506 w 4610101"/>
              <a:gd name="connsiteY45076" fmla="*/ 1695474 h 6557032"/>
              <a:gd name="connsiteX45077" fmla="*/ 1058683 w 4610101"/>
              <a:gd name="connsiteY45077" fmla="*/ 1695474 h 6557032"/>
              <a:gd name="connsiteX45078" fmla="*/ 1048598 w 4610101"/>
              <a:gd name="connsiteY45078" fmla="*/ 1699118 h 6557032"/>
              <a:gd name="connsiteX45079" fmla="*/ 1044106 w 4610101"/>
              <a:gd name="connsiteY45079" fmla="*/ 1699118 h 6557032"/>
              <a:gd name="connsiteX45080" fmla="*/ 1046761 w 4610101"/>
              <a:gd name="connsiteY45080" fmla="*/ 1699782 h 6557032"/>
              <a:gd name="connsiteX45081" fmla="*/ 1031578 w 4610101"/>
              <a:gd name="connsiteY45081" fmla="*/ 1705268 h 6557032"/>
              <a:gd name="connsiteX45082" fmla="*/ 1019618 w 4610101"/>
              <a:gd name="connsiteY45082" fmla="*/ 1709184 h 6557032"/>
              <a:gd name="connsiteX45083" fmla="*/ 1024062 w 4610101"/>
              <a:gd name="connsiteY45083" fmla="*/ 1706407 h 6557032"/>
              <a:gd name="connsiteX45084" fmla="*/ 1009485 w 4610101"/>
              <a:gd name="connsiteY45084" fmla="*/ 1704585 h 6557032"/>
              <a:gd name="connsiteX45085" fmla="*/ 1032717 w 4610101"/>
              <a:gd name="connsiteY45085" fmla="*/ 1702763 h 6557032"/>
              <a:gd name="connsiteX45086" fmla="*/ 1052770 w 4610101"/>
              <a:gd name="connsiteY45086" fmla="*/ 1690285 h 6557032"/>
              <a:gd name="connsiteX45087" fmla="*/ 1055040 w 4610101"/>
              <a:gd name="connsiteY45087" fmla="*/ 1690008 h 6557032"/>
              <a:gd name="connsiteX45088" fmla="*/ 1053217 w 4610101"/>
              <a:gd name="connsiteY45088" fmla="*/ 1690008 h 6557032"/>
              <a:gd name="connsiteX45089" fmla="*/ 1052770 w 4610101"/>
              <a:gd name="connsiteY45089" fmla="*/ 1690285 h 6557032"/>
              <a:gd name="connsiteX45090" fmla="*/ 1046256 w 4610101"/>
              <a:gd name="connsiteY45090" fmla="*/ 1691083 h 6557032"/>
              <a:gd name="connsiteX45091" fmla="*/ 1045249 w 4610101"/>
              <a:gd name="connsiteY45091" fmla="*/ 1690579 h 6557032"/>
              <a:gd name="connsiteX45092" fmla="*/ 1048021 w 4610101"/>
              <a:gd name="connsiteY45092" fmla="*/ 1690008 h 6557032"/>
              <a:gd name="connsiteX45093" fmla="*/ 1051395 w 4610101"/>
              <a:gd name="connsiteY45093" fmla="*/ 1690008 h 6557032"/>
              <a:gd name="connsiteX45094" fmla="*/ 1053130 w 4610101"/>
              <a:gd name="connsiteY45094" fmla="*/ 1688954 h 6557032"/>
              <a:gd name="connsiteX45095" fmla="*/ 1056861 w 4610101"/>
              <a:gd name="connsiteY45095" fmla="*/ 1688185 h 6557032"/>
              <a:gd name="connsiteX45096" fmla="*/ 1055087 w 4610101"/>
              <a:gd name="connsiteY45096" fmla="*/ 1687766 h 6557032"/>
              <a:gd name="connsiteX45097" fmla="*/ 1057772 w 4610101"/>
              <a:gd name="connsiteY45097" fmla="*/ 1686135 h 6557032"/>
              <a:gd name="connsiteX45098" fmla="*/ 1064151 w 4610101"/>
              <a:gd name="connsiteY45098" fmla="*/ 1680897 h 6557032"/>
              <a:gd name="connsiteX45099" fmla="*/ 1048434 w 4610101"/>
              <a:gd name="connsiteY45099" fmla="*/ 1682718 h 6557032"/>
              <a:gd name="connsiteX45100" fmla="*/ 1043188 w 4610101"/>
              <a:gd name="connsiteY45100" fmla="*/ 1684957 h 6557032"/>
              <a:gd name="connsiteX45101" fmla="*/ 1040461 w 4610101"/>
              <a:gd name="connsiteY45101" fmla="*/ 1684313 h 6557032"/>
              <a:gd name="connsiteX45102" fmla="*/ 1024062 w 4610101"/>
              <a:gd name="connsiteY45102" fmla="*/ 1690008 h 6557032"/>
              <a:gd name="connsiteX45103" fmla="*/ 1029529 w 4610101"/>
              <a:gd name="connsiteY45103" fmla="*/ 1684541 h 6557032"/>
              <a:gd name="connsiteX45104" fmla="*/ 1024062 w 4610101"/>
              <a:gd name="connsiteY45104" fmla="*/ 1680897 h 6557032"/>
              <a:gd name="connsiteX45105" fmla="*/ 1042967 w 4610101"/>
              <a:gd name="connsiteY45105" fmla="*/ 1676797 h 6557032"/>
              <a:gd name="connsiteX45106" fmla="*/ 1055278 w 4610101"/>
              <a:gd name="connsiteY45106" fmla="*/ 1672001 h 6557032"/>
              <a:gd name="connsiteX45107" fmla="*/ 1064151 w 4610101"/>
              <a:gd name="connsiteY45107" fmla="*/ 1679986 h 6557032"/>
              <a:gd name="connsiteX45108" fmla="*/ 1073262 w 4610101"/>
              <a:gd name="connsiteY45108" fmla="*/ 1677252 h 6557032"/>
              <a:gd name="connsiteX45109" fmla="*/ 1067794 w 4610101"/>
              <a:gd name="connsiteY45109" fmla="*/ 1677252 h 6557032"/>
              <a:gd name="connsiteX45110" fmla="*/ 1082373 w 4610101"/>
              <a:gd name="connsiteY45110" fmla="*/ 1669964 h 6557032"/>
              <a:gd name="connsiteX45111" fmla="*/ 1076905 w 4610101"/>
              <a:gd name="connsiteY45111" fmla="*/ 1664497 h 6557032"/>
              <a:gd name="connsiteX45112" fmla="*/ 1071439 w 4610101"/>
              <a:gd name="connsiteY45112" fmla="*/ 1662675 h 6557032"/>
              <a:gd name="connsiteX45113" fmla="*/ 1062067 w 4610101"/>
              <a:gd name="connsiteY45113" fmla="*/ 1667881 h 6557032"/>
              <a:gd name="connsiteX45114" fmla="*/ 1057497 w 4610101"/>
              <a:gd name="connsiteY45114" fmla="*/ 1663311 h 6557032"/>
              <a:gd name="connsiteX45115" fmla="*/ 1067794 w 4610101"/>
              <a:gd name="connsiteY45115" fmla="*/ 1659031 h 6557032"/>
              <a:gd name="connsiteX45116" fmla="*/ 1066061 w 4610101"/>
              <a:gd name="connsiteY45116" fmla="*/ 1657298 h 6557032"/>
              <a:gd name="connsiteX45117" fmla="*/ 1071439 w 4610101"/>
              <a:gd name="connsiteY45117" fmla="*/ 1657208 h 6557032"/>
              <a:gd name="connsiteX45118" fmla="*/ 1065972 w 4610101"/>
              <a:gd name="connsiteY45118" fmla="*/ 1657208 h 6557032"/>
              <a:gd name="connsiteX45119" fmla="*/ 1066061 w 4610101"/>
              <a:gd name="connsiteY45119" fmla="*/ 1657298 h 6557032"/>
              <a:gd name="connsiteX45120" fmla="*/ 1044106 w 4610101"/>
              <a:gd name="connsiteY45120" fmla="*/ 1657663 h 6557032"/>
              <a:gd name="connsiteX45121" fmla="*/ 1022240 w 4610101"/>
              <a:gd name="connsiteY45121" fmla="*/ 1671786 h 6557032"/>
              <a:gd name="connsiteX45122" fmla="*/ 1036818 w 4610101"/>
              <a:gd name="connsiteY45122" fmla="*/ 1668142 h 6557032"/>
              <a:gd name="connsiteX45123" fmla="*/ 1031351 w 4610101"/>
              <a:gd name="connsiteY45123" fmla="*/ 1668142 h 6557032"/>
              <a:gd name="connsiteX45124" fmla="*/ 1043278 w 4610101"/>
              <a:gd name="connsiteY45124" fmla="*/ 1666992 h 6557032"/>
              <a:gd name="connsiteX45125" fmla="*/ 1027479 w 4610101"/>
              <a:gd name="connsiteY45125" fmla="*/ 1672014 h 6557032"/>
              <a:gd name="connsiteX45126" fmla="*/ 1002196 w 4610101"/>
              <a:gd name="connsiteY45126" fmla="*/ 1688185 h 6557032"/>
              <a:gd name="connsiteX45127" fmla="*/ 1016774 w 4610101"/>
              <a:gd name="connsiteY45127" fmla="*/ 1673608 h 6557032"/>
              <a:gd name="connsiteX45128" fmla="*/ 1020418 w 4610101"/>
              <a:gd name="connsiteY45128" fmla="*/ 1666319 h 6557032"/>
              <a:gd name="connsiteX45129" fmla="*/ 1007663 w 4610101"/>
              <a:gd name="connsiteY45129" fmla="*/ 1671786 h 6557032"/>
              <a:gd name="connsiteX45130" fmla="*/ 1016774 w 4610101"/>
              <a:gd name="connsiteY45130" fmla="*/ 1673608 h 6557032"/>
              <a:gd name="connsiteX45131" fmla="*/ 1011898 w 4610101"/>
              <a:gd name="connsiteY45131" fmla="*/ 1675370 h 6557032"/>
              <a:gd name="connsiteX45132" fmla="*/ 1003790 w 4610101"/>
              <a:gd name="connsiteY45132" fmla="*/ 1674975 h 6557032"/>
              <a:gd name="connsiteX45133" fmla="*/ 993085 w 4610101"/>
              <a:gd name="connsiteY45133" fmla="*/ 1682719 h 6557032"/>
              <a:gd name="connsiteX45134" fmla="*/ 994907 w 4610101"/>
              <a:gd name="connsiteY45134" fmla="*/ 1682056 h 6557032"/>
              <a:gd name="connsiteX45135" fmla="*/ 982441 w 4610101"/>
              <a:gd name="connsiteY45135" fmla="*/ 1688856 h 6557032"/>
              <a:gd name="connsiteX45136" fmla="*/ 981688 w 4610101"/>
              <a:gd name="connsiteY45136" fmla="*/ 1689007 h 6557032"/>
              <a:gd name="connsiteX45137" fmla="*/ 984658 w 4610101"/>
              <a:gd name="connsiteY45137" fmla="*/ 1686818 h 6557032"/>
              <a:gd name="connsiteX45138" fmla="*/ 987619 w 4610101"/>
              <a:gd name="connsiteY45138" fmla="*/ 1680897 h 6557032"/>
              <a:gd name="connsiteX45139" fmla="*/ 984944 w 4610101"/>
              <a:gd name="connsiteY45139" fmla="*/ 1681726 h 6557032"/>
              <a:gd name="connsiteX45140" fmla="*/ 985796 w 4610101"/>
              <a:gd name="connsiteY45140" fmla="*/ 1677252 h 6557032"/>
              <a:gd name="connsiteX45141" fmla="*/ 982152 w 4610101"/>
              <a:gd name="connsiteY45141" fmla="*/ 1673608 h 6557032"/>
              <a:gd name="connsiteX45142" fmla="*/ 998552 w 4610101"/>
              <a:gd name="connsiteY45142" fmla="*/ 1668142 h 6557032"/>
              <a:gd name="connsiteX45143" fmla="*/ 985796 w 4610101"/>
              <a:gd name="connsiteY45143" fmla="*/ 1664497 h 6557032"/>
              <a:gd name="connsiteX45144" fmla="*/ 1000374 w 4610101"/>
              <a:gd name="connsiteY45144" fmla="*/ 1666319 h 6557032"/>
              <a:gd name="connsiteX45145" fmla="*/ 996729 w 4610101"/>
              <a:gd name="connsiteY45145" fmla="*/ 1662675 h 6557032"/>
              <a:gd name="connsiteX45146" fmla="*/ 1055040 w 4610101"/>
              <a:gd name="connsiteY45146" fmla="*/ 1651742 h 6557032"/>
              <a:gd name="connsiteX45147" fmla="*/ 998552 w 4610101"/>
              <a:gd name="connsiteY45147" fmla="*/ 1640809 h 6557032"/>
              <a:gd name="connsiteX45148" fmla="*/ 1027707 w 4610101"/>
              <a:gd name="connsiteY45148" fmla="*/ 1642631 h 6557032"/>
              <a:gd name="connsiteX45149" fmla="*/ 1004018 w 4610101"/>
              <a:gd name="connsiteY45149" fmla="*/ 1635342 h 6557032"/>
              <a:gd name="connsiteX45150" fmla="*/ 909265 w 4610101"/>
              <a:gd name="connsiteY45150" fmla="*/ 1679075 h 6557032"/>
              <a:gd name="connsiteX45151" fmla="*/ 916555 w 4610101"/>
              <a:gd name="connsiteY45151" fmla="*/ 1668142 h 6557032"/>
              <a:gd name="connsiteX45152" fmla="*/ 876466 w 4610101"/>
              <a:gd name="connsiteY45152" fmla="*/ 1682719 h 6557032"/>
              <a:gd name="connsiteX45153" fmla="*/ 880099 w 4610101"/>
              <a:gd name="connsiteY45153" fmla="*/ 1683099 h 6557032"/>
              <a:gd name="connsiteX45154" fmla="*/ 852778 w 4610101"/>
              <a:gd name="connsiteY45154" fmla="*/ 1686363 h 6557032"/>
              <a:gd name="connsiteX45155" fmla="*/ 798112 w 4610101"/>
              <a:gd name="connsiteY45155" fmla="*/ 1693652 h 6557032"/>
              <a:gd name="connsiteX45156" fmla="*/ 856422 w 4610101"/>
              <a:gd name="connsiteY45156" fmla="*/ 1682719 h 6557032"/>
              <a:gd name="connsiteX45157" fmla="*/ 854600 w 4610101"/>
              <a:gd name="connsiteY45157" fmla="*/ 1680897 h 6557032"/>
              <a:gd name="connsiteX45158" fmla="*/ 869177 w 4610101"/>
              <a:gd name="connsiteY45158" fmla="*/ 1677252 h 6557032"/>
              <a:gd name="connsiteX45159" fmla="*/ 860066 w 4610101"/>
              <a:gd name="connsiteY45159" fmla="*/ 1675430 h 6557032"/>
              <a:gd name="connsiteX45160" fmla="*/ 940242 w 4610101"/>
              <a:gd name="connsiteY45160" fmla="*/ 1646275 h 6557032"/>
              <a:gd name="connsiteX45161" fmla="*/ 901976 w 4610101"/>
              <a:gd name="connsiteY45161" fmla="*/ 1648097 h 6557032"/>
              <a:gd name="connsiteX45162" fmla="*/ 941608 w 4610101"/>
              <a:gd name="connsiteY45162" fmla="*/ 1644225 h 6557032"/>
              <a:gd name="connsiteX45163" fmla="*/ 966679 w 4610101"/>
              <a:gd name="connsiteY45163" fmla="*/ 1633238 h 6557032"/>
              <a:gd name="connsiteX45164" fmla="*/ 985796 w 4610101"/>
              <a:gd name="connsiteY45164" fmla="*/ 1628054 h 6557032"/>
              <a:gd name="connsiteX45165" fmla="*/ 976714 w 4610101"/>
              <a:gd name="connsiteY45165" fmla="*/ 1628840 h 6557032"/>
              <a:gd name="connsiteX45166" fmla="*/ 978508 w 4610101"/>
              <a:gd name="connsiteY45166" fmla="*/ 1628054 h 6557032"/>
              <a:gd name="connsiteX45167" fmla="*/ 974481 w 4610101"/>
              <a:gd name="connsiteY45167" fmla="*/ 1629033 h 6557032"/>
              <a:gd name="connsiteX45168" fmla="*/ 909493 w 4610101"/>
              <a:gd name="connsiteY45168" fmla="*/ 1634659 h 6557032"/>
              <a:gd name="connsiteX45169" fmla="*/ 834556 w 4610101"/>
              <a:gd name="connsiteY45169" fmla="*/ 1653564 h 6557032"/>
              <a:gd name="connsiteX45170" fmla="*/ 850630 w 4610101"/>
              <a:gd name="connsiteY45170" fmla="*/ 1654904 h 6557032"/>
              <a:gd name="connsiteX45171" fmla="*/ 832270 w 4610101"/>
              <a:gd name="connsiteY45171" fmla="*/ 1656898 h 6557032"/>
              <a:gd name="connsiteX45172" fmla="*/ 828634 w 4610101"/>
              <a:gd name="connsiteY45172" fmla="*/ 1654475 h 6557032"/>
              <a:gd name="connsiteX45173" fmla="*/ 821801 w 4610101"/>
              <a:gd name="connsiteY45173" fmla="*/ 1657208 h 6557032"/>
              <a:gd name="connsiteX45174" fmla="*/ 829416 w 4610101"/>
              <a:gd name="connsiteY45174" fmla="*/ 1657208 h 6557032"/>
              <a:gd name="connsiteX45175" fmla="*/ 825217 w 4610101"/>
              <a:gd name="connsiteY45175" fmla="*/ 1657664 h 6557032"/>
              <a:gd name="connsiteX45176" fmla="*/ 794200 w 4610101"/>
              <a:gd name="connsiteY45176" fmla="*/ 1664470 h 6557032"/>
              <a:gd name="connsiteX45177" fmla="*/ 762580 w 4610101"/>
              <a:gd name="connsiteY45177" fmla="*/ 1661308 h 6557032"/>
              <a:gd name="connsiteX45178" fmla="*/ 730692 w 4610101"/>
              <a:gd name="connsiteY45178" fmla="*/ 1666319 h 6557032"/>
              <a:gd name="connsiteX45179" fmla="*/ 703359 w 4610101"/>
              <a:gd name="connsiteY45179" fmla="*/ 1669964 h 6557032"/>
              <a:gd name="connsiteX45180" fmla="*/ 719344 w 4610101"/>
              <a:gd name="connsiteY45180" fmla="*/ 1677222 h 6557032"/>
              <a:gd name="connsiteX45181" fmla="*/ 706172 w 4610101"/>
              <a:gd name="connsiteY45181" fmla="*/ 1675325 h 6557032"/>
              <a:gd name="connsiteX45182" fmla="*/ 702220 w 4610101"/>
              <a:gd name="connsiteY45182" fmla="*/ 1672014 h 6557032"/>
              <a:gd name="connsiteX45183" fmla="*/ 692426 w 4610101"/>
              <a:gd name="connsiteY45183" fmla="*/ 1671786 h 6557032"/>
              <a:gd name="connsiteX45184" fmla="*/ 698517 w 4610101"/>
              <a:gd name="connsiteY45184" fmla="*/ 1674223 h 6557032"/>
              <a:gd name="connsiteX45185" fmla="*/ 694249 w 4610101"/>
              <a:gd name="connsiteY45185" fmla="*/ 1673608 h 6557032"/>
              <a:gd name="connsiteX45186" fmla="*/ 694249 w 4610101"/>
              <a:gd name="connsiteY45186" fmla="*/ 1773827 h 6557032"/>
              <a:gd name="connsiteX45187" fmla="*/ 692426 w 4610101"/>
              <a:gd name="connsiteY45187" fmla="*/ 1770183 h 6557032"/>
              <a:gd name="connsiteX45188" fmla="*/ 681493 w 4610101"/>
              <a:gd name="connsiteY45188" fmla="*/ 1775650 h 6557032"/>
              <a:gd name="connsiteX45189" fmla="*/ 699715 w 4610101"/>
              <a:gd name="connsiteY45189" fmla="*/ 1722807 h 6557032"/>
              <a:gd name="connsiteX45190" fmla="*/ 692426 w 4610101"/>
              <a:gd name="connsiteY45190" fmla="*/ 1726451 h 6557032"/>
              <a:gd name="connsiteX45191" fmla="*/ 690604 w 4610101"/>
              <a:gd name="connsiteY45191" fmla="*/ 1684541 h 6557032"/>
              <a:gd name="connsiteX45192" fmla="*/ 692426 w 4610101"/>
              <a:gd name="connsiteY45192" fmla="*/ 1677252 h 6557032"/>
              <a:gd name="connsiteX45193" fmla="*/ 683316 w 4610101"/>
              <a:gd name="connsiteY45193" fmla="*/ 1671786 h 6557032"/>
              <a:gd name="connsiteX45194" fmla="*/ 680240 w 4610101"/>
              <a:gd name="connsiteY45194" fmla="*/ 1688233 h 6557032"/>
              <a:gd name="connsiteX45195" fmla="*/ 679671 w 4610101"/>
              <a:gd name="connsiteY45195" fmla="*/ 1668142 h 6557032"/>
              <a:gd name="connsiteX45196" fmla="*/ 659627 w 4610101"/>
              <a:gd name="connsiteY45196" fmla="*/ 1768361 h 6557032"/>
              <a:gd name="connsiteX45197" fmla="*/ 654161 w 4610101"/>
              <a:gd name="connsiteY45197" fmla="*/ 1755606 h 6557032"/>
              <a:gd name="connsiteX45198" fmla="*/ 646872 w 4610101"/>
              <a:gd name="connsiteY45198" fmla="*/ 1846714 h 6557032"/>
              <a:gd name="connsiteX45199" fmla="*/ 646872 w 4610101"/>
              <a:gd name="connsiteY45199" fmla="*/ 1844892 h 6557032"/>
              <a:gd name="connsiteX45200" fmla="*/ 637761 w 4610101"/>
              <a:gd name="connsiteY45200" fmla="*/ 1866758 h 6557032"/>
              <a:gd name="connsiteX45201" fmla="*/ 628650 w 4610101"/>
              <a:gd name="connsiteY45201" fmla="*/ 1864936 h 6557032"/>
              <a:gd name="connsiteX45202" fmla="*/ 643228 w 4610101"/>
              <a:gd name="connsiteY45202" fmla="*/ 1832137 h 6557032"/>
              <a:gd name="connsiteX45203" fmla="*/ 635939 w 4610101"/>
              <a:gd name="connsiteY45203" fmla="*/ 1835781 h 6557032"/>
              <a:gd name="connsiteX45204" fmla="*/ 639583 w 4610101"/>
              <a:gd name="connsiteY45204" fmla="*/ 1817560 h 6557032"/>
              <a:gd name="connsiteX45205" fmla="*/ 630472 w 4610101"/>
              <a:gd name="connsiteY45205" fmla="*/ 1830315 h 6557032"/>
              <a:gd name="connsiteX45206" fmla="*/ 628650 w 4610101"/>
              <a:gd name="connsiteY45206" fmla="*/ 1828493 h 6557032"/>
              <a:gd name="connsiteX45207" fmla="*/ 615895 w 4610101"/>
              <a:gd name="connsiteY45207" fmla="*/ 1841248 h 6557032"/>
              <a:gd name="connsiteX45208" fmla="*/ 647100 w 4610101"/>
              <a:gd name="connsiteY45208" fmla="*/ 1771322 h 6557032"/>
              <a:gd name="connsiteX45209" fmla="*/ 657611 w 4610101"/>
              <a:gd name="connsiteY45209" fmla="*/ 1693268 h 6557032"/>
              <a:gd name="connsiteX45210" fmla="*/ 665577 w 4610101"/>
              <a:gd name="connsiteY45210" fmla="*/ 1683801 h 6557032"/>
              <a:gd name="connsiteX45211" fmla="*/ 668738 w 4610101"/>
              <a:gd name="connsiteY45211" fmla="*/ 1671786 h 6557032"/>
              <a:gd name="connsiteX45212" fmla="*/ 639583 w 4610101"/>
              <a:gd name="connsiteY45212" fmla="*/ 1695474 h 6557032"/>
              <a:gd name="connsiteX45213" fmla="*/ 630472 w 4610101"/>
              <a:gd name="connsiteY45213" fmla="*/ 1719162 h 6557032"/>
              <a:gd name="connsiteX45214" fmla="*/ 650425 w 4610101"/>
              <a:gd name="connsiteY45214" fmla="*/ 1700467 h 6557032"/>
              <a:gd name="connsiteX45215" fmla="*/ 637761 w 4610101"/>
              <a:gd name="connsiteY45215" fmla="*/ 1715290 h 6557032"/>
              <a:gd name="connsiteX45216" fmla="*/ 623185 w 4610101"/>
              <a:gd name="connsiteY45216" fmla="*/ 1737384 h 6557032"/>
              <a:gd name="connsiteX45217" fmla="*/ 621362 w 4610101"/>
              <a:gd name="connsiteY45217" fmla="*/ 1735562 h 6557032"/>
              <a:gd name="connsiteX45218" fmla="*/ 612251 w 4610101"/>
              <a:gd name="connsiteY45218" fmla="*/ 1750139 h 6557032"/>
              <a:gd name="connsiteX45219" fmla="*/ 621362 w 4610101"/>
              <a:gd name="connsiteY45219" fmla="*/ 1742851 h 6557032"/>
              <a:gd name="connsiteX45220" fmla="*/ 614074 w 4610101"/>
              <a:gd name="connsiteY45220" fmla="*/ 1810271 h 6557032"/>
              <a:gd name="connsiteX45221" fmla="*/ 606784 w 4610101"/>
              <a:gd name="connsiteY45221" fmla="*/ 1801160 h 6557032"/>
              <a:gd name="connsiteX45222" fmla="*/ 586741 w 4610101"/>
              <a:gd name="connsiteY45222" fmla="*/ 1848537 h 6557032"/>
              <a:gd name="connsiteX45223" fmla="*/ 595852 w 4610101"/>
              <a:gd name="connsiteY45223" fmla="*/ 1823026 h 6557032"/>
              <a:gd name="connsiteX45224" fmla="*/ 557586 w 4610101"/>
              <a:gd name="connsiteY45224" fmla="*/ 1866758 h 6557032"/>
              <a:gd name="connsiteX45225" fmla="*/ 559408 w 4610101"/>
              <a:gd name="connsiteY45225" fmla="*/ 1861292 h 6557032"/>
              <a:gd name="connsiteX45226" fmla="*/ 541186 w 4610101"/>
              <a:gd name="connsiteY45226" fmla="*/ 1870403 h 6557032"/>
              <a:gd name="connsiteX45227" fmla="*/ 546653 w 4610101"/>
              <a:gd name="connsiteY45227" fmla="*/ 1864936 h 6557032"/>
              <a:gd name="connsiteX45228" fmla="*/ 517498 w 4610101"/>
              <a:gd name="connsiteY45228" fmla="*/ 1879514 h 6557032"/>
              <a:gd name="connsiteX45229" fmla="*/ 564874 w 4610101"/>
              <a:gd name="connsiteY45229" fmla="*/ 1854003 h 6557032"/>
              <a:gd name="connsiteX45230" fmla="*/ 561230 w 4610101"/>
              <a:gd name="connsiteY45230" fmla="*/ 1852181 h 6557032"/>
              <a:gd name="connsiteX45231" fmla="*/ 573985 w 4610101"/>
              <a:gd name="connsiteY45231" fmla="*/ 1833959 h 6557032"/>
              <a:gd name="connsiteX45232" fmla="*/ 572163 w 4610101"/>
              <a:gd name="connsiteY45232" fmla="*/ 1835781 h 6557032"/>
              <a:gd name="connsiteX45233" fmla="*/ 594030 w 4610101"/>
              <a:gd name="connsiteY45233" fmla="*/ 1782938 h 6557032"/>
              <a:gd name="connsiteX45234" fmla="*/ 581274 w 4610101"/>
              <a:gd name="connsiteY45234" fmla="*/ 1793871 h 6557032"/>
              <a:gd name="connsiteX45235" fmla="*/ 568519 w 4610101"/>
              <a:gd name="connsiteY45235" fmla="*/ 1773827 h 6557032"/>
              <a:gd name="connsiteX45236" fmla="*/ 559180 w 4610101"/>
              <a:gd name="connsiteY45236" fmla="*/ 1781255 h 6557032"/>
              <a:gd name="connsiteX45237" fmla="*/ 568519 w 4610101"/>
              <a:gd name="connsiteY45237" fmla="*/ 1764717 h 6557032"/>
              <a:gd name="connsiteX45238" fmla="*/ 559408 w 4610101"/>
              <a:gd name="connsiteY45238" fmla="*/ 1764717 h 6557032"/>
              <a:gd name="connsiteX45239" fmla="*/ 577630 w 4610101"/>
              <a:gd name="connsiteY45239" fmla="*/ 1759250 h 6557032"/>
              <a:gd name="connsiteX45240" fmla="*/ 573985 w 4610101"/>
              <a:gd name="connsiteY45240" fmla="*/ 1755606 h 6557032"/>
              <a:gd name="connsiteX45241" fmla="*/ 581274 w 4610101"/>
              <a:gd name="connsiteY45241" fmla="*/ 1759250 h 6557032"/>
              <a:gd name="connsiteX45242" fmla="*/ 588562 w 4610101"/>
              <a:gd name="connsiteY45242" fmla="*/ 1742851 h 6557032"/>
              <a:gd name="connsiteX45243" fmla="*/ 583096 w 4610101"/>
              <a:gd name="connsiteY45243" fmla="*/ 1741028 h 6557032"/>
              <a:gd name="connsiteX45244" fmla="*/ 628650 w 4610101"/>
              <a:gd name="connsiteY45244" fmla="*/ 1657208 h 6557032"/>
              <a:gd name="connsiteX45245" fmla="*/ 621362 w 4610101"/>
              <a:gd name="connsiteY45245" fmla="*/ 1651742 h 6557032"/>
              <a:gd name="connsiteX45246" fmla="*/ 602679 w 4610101"/>
              <a:gd name="connsiteY45246" fmla="*/ 1663598 h 6557032"/>
              <a:gd name="connsiteX45247" fmla="*/ 610429 w 4610101"/>
              <a:gd name="connsiteY45247" fmla="*/ 1657208 h 6557032"/>
              <a:gd name="connsiteX45248" fmla="*/ 604963 w 4610101"/>
              <a:gd name="connsiteY45248" fmla="*/ 1655386 h 6557032"/>
              <a:gd name="connsiteX45249" fmla="*/ 614074 w 4610101"/>
              <a:gd name="connsiteY45249" fmla="*/ 1648097 h 6557032"/>
              <a:gd name="connsiteX45250" fmla="*/ 632296 w 4610101"/>
              <a:gd name="connsiteY45250" fmla="*/ 1624409 h 6557032"/>
              <a:gd name="connsiteX45251" fmla="*/ 612251 w 4610101"/>
              <a:gd name="connsiteY45251" fmla="*/ 1633520 h 6557032"/>
              <a:gd name="connsiteX45252" fmla="*/ 623185 w 4610101"/>
              <a:gd name="connsiteY45252" fmla="*/ 1606188 h 6557032"/>
              <a:gd name="connsiteX45253" fmla="*/ 623411 w 4610101"/>
              <a:gd name="connsiteY45253" fmla="*/ 1578627 h 6557032"/>
              <a:gd name="connsiteX45254" fmla="*/ 624686 w 4610101"/>
              <a:gd name="connsiteY45254" fmla="*/ 1555508 h 6557032"/>
              <a:gd name="connsiteX45255" fmla="*/ 635939 w 4610101"/>
              <a:gd name="connsiteY45255" fmla="*/ 1546056 h 6557032"/>
              <a:gd name="connsiteX45256" fmla="*/ 639583 w 4610101"/>
              <a:gd name="connsiteY45256" fmla="*/ 1535123 h 6557032"/>
              <a:gd name="connsiteX45257" fmla="*/ 635939 w 4610101"/>
              <a:gd name="connsiteY45257" fmla="*/ 1546056 h 6557032"/>
              <a:gd name="connsiteX45258" fmla="*/ 625234 w 4610101"/>
              <a:gd name="connsiteY45258" fmla="*/ 1545372 h 6557032"/>
              <a:gd name="connsiteX45259" fmla="*/ 620096 w 4610101"/>
              <a:gd name="connsiteY45259" fmla="*/ 1551762 h 6557032"/>
              <a:gd name="connsiteX45260" fmla="*/ 623185 w 4610101"/>
              <a:gd name="connsiteY45260" fmla="*/ 1540589 h 6557032"/>
              <a:gd name="connsiteX45261" fmla="*/ 617717 w 4610101"/>
              <a:gd name="connsiteY45261" fmla="*/ 1549700 h 6557032"/>
              <a:gd name="connsiteX45262" fmla="*/ 619344 w 4610101"/>
              <a:gd name="connsiteY45262" fmla="*/ 1541565 h 6557032"/>
              <a:gd name="connsiteX45263" fmla="*/ 625006 w 4610101"/>
              <a:gd name="connsiteY45263" fmla="*/ 1533301 h 6557032"/>
              <a:gd name="connsiteX45264" fmla="*/ 618628 w 4610101"/>
              <a:gd name="connsiteY45264" fmla="*/ 1536489 h 6557032"/>
              <a:gd name="connsiteX45265" fmla="*/ 617785 w 4610101"/>
              <a:gd name="connsiteY45265" fmla="*/ 1541967 h 6557032"/>
              <a:gd name="connsiteX45266" fmla="*/ 617635 w 4610101"/>
              <a:gd name="connsiteY45266" fmla="*/ 1542085 h 6557032"/>
              <a:gd name="connsiteX45267" fmla="*/ 615895 w 4610101"/>
              <a:gd name="connsiteY45267" fmla="*/ 1535123 h 6557032"/>
              <a:gd name="connsiteX45268" fmla="*/ 610429 w 4610101"/>
              <a:gd name="connsiteY45268" fmla="*/ 1536945 h 6557032"/>
              <a:gd name="connsiteX45269" fmla="*/ 615895 w 4610101"/>
              <a:gd name="connsiteY45269" fmla="*/ 1533301 h 6557032"/>
              <a:gd name="connsiteX45270" fmla="*/ 615895 w 4610101"/>
              <a:gd name="connsiteY45270" fmla="*/ 1511434 h 6557032"/>
              <a:gd name="connsiteX45271" fmla="*/ 604507 w 4610101"/>
              <a:gd name="connsiteY45271" fmla="*/ 1532617 h 6557032"/>
              <a:gd name="connsiteX45272" fmla="*/ 602026 w 4610101"/>
              <a:gd name="connsiteY45272" fmla="*/ 1550161 h 6557032"/>
              <a:gd name="connsiteX45273" fmla="*/ 597970 w 4610101"/>
              <a:gd name="connsiteY45273" fmla="*/ 1551839 h 6557032"/>
              <a:gd name="connsiteX45274" fmla="*/ 599496 w 4610101"/>
              <a:gd name="connsiteY45274" fmla="*/ 1540589 h 6557032"/>
              <a:gd name="connsiteX45275" fmla="*/ 590385 w 4610101"/>
              <a:gd name="connsiteY45275" fmla="*/ 1560633 h 6557032"/>
              <a:gd name="connsiteX45276" fmla="*/ 586741 w 4610101"/>
              <a:gd name="connsiteY45276" fmla="*/ 1558811 h 6557032"/>
              <a:gd name="connsiteX45277" fmla="*/ 584919 w 4610101"/>
              <a:gd name="connsiteY45277" fmla="*/ 1566100 h 6557032"/>
              <a:gd name="connsiteX45278" fmla="*/ 595386 w 4610101"/>
              <a:gd name="connsiteY45278" fmla="*/ 1556193 h 6557032"/>
              <a:gd name="connsiteX45279" fmla="*/ 594030 w 4610101"/>
              <a:gd name="connsiteY45279" fmla="*/ 1560633 h 6557032"/>
              <a:gd name="connsiteX45280" fmla="*/ 581274 w 4610101"/>
              <a:gd name="connsiteY45280" fmla="*/ 1589788 h 6557032"/>
              <a:gd name="connsiteX45281" fmla="*/ 572163 w 4610101"/>
              <a:gd name="connsiteY45281" fmla="*/ 1597077 h 6557032"/>
              <a:gd name="connsiteX45282" fmla="*/ 577630 w 4610101"/>
              <a:gd name="connsiteY45282" fmla="*/ 1595255 h 6557032"/>
              <a:gd name="connsiteX45283" fmla="*/ 581274 w 4610101"/>
              <a:gd name="connsiteY45283" fmla="*/ 1589788 h 6557032"/>
              <a:gd name="connsiteX45284" fmla="*/ 586925 w 4610101"/>
              <a:gd name="connsiteY45284" fmla="*/ 1593607 h 6557032"/>
              <a:gd name="connsiteX45285" fmla="*/ 583734 w 4610101"/>
              <a:gd name="connsiteY45285" fmla="*/ 1601054 h 6557032"/>
              <a:gd name="connsiteX45286" fmla="*/ 581274 w 4610101"/>
              <a:gd name="connsiteY45286" fmla="*/ 1595255 h 6557032"/>
              <a:gd name="connsiteX45287" fmla="*/ 573076 w 4610101"/>
              <a:gd name="connsiteY45287" fmla="*/ 1607216 h 6557032"/>
              <a:gd name="connsiteX45288" fmla="*/ 572391 w 4610101"/>
              <a:gd name="connsiteY45288" fmla="*/ 1607326 h 6557032"/>
              <a:gd name="connsiteX45289" fmla="*/ 566697 w 4610101"/>
              <a:gd name="connsiteY45289" fmla="*/ 1615298 h 6557032"/>
              <a:gd name="connsiteX45290" fmla="*/ 567101 w 4610101"/>
              <a:gd name="connsiteY45290" fmla="*/ 1616919 h 6557032"/>
              <a:gd name="connsiteX45291" fmla="*/ 566697 w 4610101"/>
              <a:gd name="connsiteY45291" fmla="*/ 1618944 h 6557032"/>
              <a:gd name="connsiteX45292" fmla="*/ 566697 w 4610101"/>
              <a:gd name="connsiteY45292" fmla="*/ 1618943 h 6557032"/>
              <a:gd name="connsiteX45293" fmla="*/ 563052 w 4610101"/>
              <a:gd name="connsiteY45293" fmla="*/ 1635342 h 6557032"/>
              <a:gd name="connsiteX45294" fmla="*/ 563621 w 4610101"/>
              <a:gd name="connsiteY45294" fmla="*/ 1634317 h 6557032"/>
              <a:gd name="connsiteX45295" fmla="*/ 563052 w 4610101"/>
              <a:gd name="connsiteY45295" fmla="*/ 1637164 h 6557032"/>
              <a:gd name="connsiteX45296" fmla="*/ 557586 w 4610101"/>
              <a:gd name="connsiteY45296" fmla="*/ 1631698 h 6557032"/>
              <a:gd name="connsiteX45297" fmla="*/ 556004 w 4610101"/>
              <a:gd name="connsiteY45297" fmla="*/ 1663329 h 6557032"/>
              <a:gd name="connsiteX45298" fmla="*/ 554654 w 4610101"/>
              <a:gd name="connsiteY45298" fmla="*/ 1666478 h 6557032"/>
              <a:gd name="connsiteX45299" fmla="*/ 553240 w 4610101"/>
              <a:gd name="connsiteY45299" fmla="*/ 1664357 h 6557032"/>
              <a:gd name="connsiteX45300" fmla="*/ 553941 w 4610101"/>
              <a:gd name="connsiteY45300" fmla="*/ 1660853 h 6557032"/>
              <a:gd name="connsiteX45301" fmla="*/ 552639 w 4610101"/>
              <a:gd name="connsiteY45301" fmla="*/ 1663456 h 6557032"/>
              <a:gd name="connsiteX45302" fmla="*/ 552119 w 4610101"/>
              <a:gd name="connsiteY45302" fmla="*/ 1662675 h 6557032"/>
              <a:gd name="connsiteX45303" fmla="*/ 550297 w 4610101"/>
              <a:gd name="connsiteY45303" fmla="*/ 1657208 h 6557032"/>
              <a:gd name="connsiteX45304" fmla="*/ 542552 w 4610101"/>
              <a:gd name="connsiteY45304" fmla="*/ 1673608 h 6557032"/>
              <a:gd name="connsiteX45305" fmla="*/ 542639 w 4610101"/>
              <a:gd name="connsiteY45305" fmla="*/ 1676708 h 6557032"/>
              <a:gd name="connsiteX45306" fmla="*/ 538993 w 4610101"/>
              <a:gd name="connsiteY45306" fmla="*/ 1681865 h 6557032"/>
              <a:gd name="connsiteX45307" fmla="*/ 532075 w 4610101"/>
              <a:gd name="connsiteY45307" fmla="*/ 1710051 h 6557032"/>
              <a:gd name="connsiteX45308" fmla="*/ 533897 w 4610101"/>
              <a:gd name="connsiteY45308" fmla="*/ 1690008 h 6557032"/>
              <a:gd name="connsiteX45309" fmla="*/ 528431 w 4610101"/>
              <a:gd name="connsiteY45309" fmla="*/ 1691830 h 6557032"/>
              <a:gd name="connsiteX45310" fmla="*/ 537542 w 4610101"/>
              <a:gd name="connsiteY45310" fmla="*/ 1659031 h 6557032"/>
              <a:gd name="connsiteX45311" fmla="*/ 533897 w 4610101"/>
              <a:gd name="connsiteY45311" fmla="*/ 1662675 h 6557032"/>
              <a:gd name="connsiteX45312" fmla="*/ 543008 w 4610101"/>
              <a:gd name="connsiteY45312" fmla="*/ 1646275 h 6557032"/>
              <a:gd name="connsiteX45313" fmla="*/ 532075 w 4610101"/>
              <a:gd name="connsiteY45313" fmla="*/ 1650648 h 6557032"/>
              <a:gd name="connsiteX45314" fmla="*/ 532075 w 4610101"/>
              <a:gd name="connsiteY45314" fmla="*/ 1649257 h 6557032"/>
              <a:gd name="connsiteX45315" fmla="*/ 534808 w 4610101"/>
              <a:gd name="connsiteY45315" fmla="*/ 1647642 h 6557032"/>
              <a:gd name="connsiteX45316" fmla="*/ 544830 w 4610101"/>
              <a:gd name="connsiteY45316" fmla="*/ 1638987 h 6557032"/>
              <a:gd name="connsiteX45317" fmla="*/ 541186 w 4610101"/>
              <a:gd name="connsiteY45317" fmla="*/ 1640809 h 6557032"/>
              <a:gd name="connsiteX45318" fmla="*/ 544968 w 4610101"/>
              <a:gd name="connsiteY45318" fmla="*/ 1635066 h 6557032"/>
              <a:gd name="connsiteX45319" fmla="*/ 544830 w 4610101"/>
              <a:gd name="connsiteY45319" fmla="*/ 1635342 h 6557032"/>
              <a:gd name="connsiteX45320" fmla="*/ 547791 w 4610101"/>
              <a:gd name="connsiteY45320" fmla="*/ 1634886 h 6557032"/>
              <a:gd name="connsiteX45321" fmla="*/ 546841 w 4610101"/>
              <a:gd name="connsiteY45321" fmla="*/ 1632223 h 6557032"/>
              <a:gd name="connsiteX45322" fmla="*/ 547336 w 4610101"/>
              <a:gd name="connsiteY45322" fmla="*/ 1631470 h 6557032"/>
              <a:gd name="connsiteX45323" fmla="*/ 546653 w 4610101"/>
              <a:gd name="connsiteY45323" fmla="*/ 1620765 h 6557032"/>
              <a:gd name="connsiteX45324" fmla="*/ 533897 w 4610101"/>
              <a:gd name="connsiteY45324" fmla="*/ 1644453 h 6557032"/>
              <a:gd name="connsiteX45325" fmla="*/ 532075 w 4610101"/>
              <a:gd name="connsiteY45325" fmla="*/ 1646535 h 6557032"/>
              <a:gd name="connsiteX45326" fmla="*/ 532075 w 4610101"/>
              <a:gd name="connsiteY45326" fmla="*/ 1644453 h 6557032"/>
              <a:gd name="connsiteX45327" fmla="*/ 529646 w 4610101"/>
              <a:gd name="connsiteY45327" fmla="*/ 1649312 h 6557032"/>
              <a:gd name="connsiteX45328" fmla="*/ 527146 w 4610101"/>
              <a:gd name="connsiteY45328" fmla="*/ 1652170 h 6557032"/>
              <a:gd name="connsiteX45329" fmla="*/ 524786 w 4610101"/>
              <a:gd name="connsiteY45329" fmla="*/ 1653564 h 6557032"/>
              <a:gd name="connsiteX45330" fmla="*/ 526539 w 4610101"/>
              <a:gd name="connsiteY45330" fmla="*/ 1652863 h 6557032"/>
              <a:gd name="connsiteX45331" fmla="*/ 521142 w 4610101"/>
              <a:gd name="connsiteY45331" fmla="*/ 1659031 h 6557032"/>
              <a:gd name="connsiteX45332" fmla="*/ 524786 w 4610101"/>
              <a:gd name="connsiteY45332" fmla="*/ 1655386 h 6557032"/>
              <a:gd name="connsiteX45333" fmla="*/ 518687 w 4610101"/>
              <a:gd name="connsiteY45333" fmla="*/ 1663010 h 6557032"/>
              <a:gd name="connsiteX45334" fmla="*/ 517853 w 4610101"/>
              <a:gd name="connsiteY45334" fmla="*/ 1663123 h 6557032"/>
              <a:gd name="connsiteX45335" fmla="*/ 519829 w 4610101"/>
              <a:gd name="connsiteY45335" fmla="*/ 1655483 h 6557032"/>
              <a:gd name="connsiteX45336" fmla="*/ 520003 w 4610101"/>
              <a:gd name="connsiteY45336" fmla="*/ 1655386 h 6557032"/>
              <a:gd name="connsiteX45337" fmla="*/ 528431 w 4610101"/>
              <a:gd name="connsiteY45337" fmla="*/ 1644453 h 6557032"/>
              <a:gd name="connsiteX45338" fmla="*/ 524995 w 4610101"/>
              <a:gd name="connsiteY45338" fmla="*/ 1645598 h 6557032"/>
              <a:gd name="connsiteX45339" fmla="*/ 526761 w 4610101"/>
              <a:gd name="connsiteY45339" fmla="*/ 1643136 h 6557032"/>
              <a:gd name="connsiteX45340" fmla="*/ 530253 w 4610101"/>
              <a:gd name="connsiteY45340" fmla="*/ 1640809 h 6557032"/>
              <a:gd name="connsiteX45341" fmla="*/ 526609 w 4610101"/>
              <a:gd name="connsiteY45341" fmla="*/ 1638987 h 6557032"/>
              <a:gd name="connsiteX45342" fmla="*/ 524786 w 4610101"/>
              <a:gd name="connsiteY45342" fmla="*/ 1644453 h 6557032"/>
              <a:gd name="connsiteX45343" fmla="*/ 525040 w 4610101"/>
              <a:gd name="connsiteY45343" fmla="*/ 1644283 h 6557032"/>
              <a:gd name="connsiteX45344" fmla="*/ 523160 w 4610101"/>
              <a:gd name="connsiteY45344" fmla="*/ 1646209 h 6557032"/>
              <a:gd name="connsiteX45345" fmla="*/ 522964 w 4610101"/>
              <a:gd name="connsiteY45345" fmla="*/ 1646275 h 6557032"/>
              <a:gd name="connsiteX45346" fmla="*/ 522054 w 4610101"/>
              <a:gd name="connsiteY45346" fmla="*/ 1643542 h 6557032"/>
              <a:gd name="connsiteX45347" fmla="*/ 522964 w 4610101"/>
              <a:gd name="connsiteY45347" fmla="*/ 1644453 h 6557032"/>
              <a:gd name="connsiteX45348" fmla="*/ 524786 w 4610101"/>
              <a:gd name="connsiteY45348" fmla="*/ 1640809 h 6557032"/>
              <a:gd name="connsiteX45349" fmla="*/ 521662 w 4610101"/>
              <a:gd name="connsiteY45349" fmla="*/ 1642371 h 6557032"/>
              <a:gd name="connsiteX45350" fmla="*/ 521142 w 4610101"/>
              <a:gd name="connsiteY45350" fmla="*/ 1640809 h 6557032"/>
              <a:gd name="connsiteX45351" fmla="*/ 519320 w 4610101"/>
              <a:gd name="connsiteY45351" fmla="*/ 1642631 h 6557032"/>
              <a:gd name="connsiteX45352" fmla="*/ 513853 w 4610101"/>
              <a:gd name="connsiteY45352" fmla="*/ 1642631 h 6557032"/>
              <a:gd name="connsiteX45353" fmla="*/ 519320 w 4610101"/>
              <a:gd name="connsiteY45353" fmla="*/ 1640809 h 6557032"/>
              <a:gd name="connsiteX45354" fmla="*/ 513853 w 4610101"/>
              <a:gd name="connsiteY45354" fmla="*/ 1640809 h 6557032"/>
              <a:gd name="connsiteX45355" fmla="*/ 513853 w 4610101"/>
              <a:gd name="connsiteY45355" fmla="*/ 1637164 h 6557032"/>
              <a:gd name="connsiteX45356" fmla="*/ 519443 w 4610101"/>
              <a:gd name="connsiteY45356" fmla="*/ 1633502 h 6557032"/>
              <a:gd name="connsiteX45357" fmla="*/ 522508 w 4610101"/>
              <a:gd name="connsiteY45357" fmla="*/ 1633064 h 6557032"/>
              <a:gd name="connsiteX45358" fmla="*/ 522964 w 4610101"/>
              <a:gd name="connsiteY45358" fmla="*/ 1629876 h 6557032"/>
              <a:gd name="connsiteX45359" fmla="*/ 520651 w 4610101"/>
              <a:gd name="connsiteY45359" fmla="*/ 1632188 h 6557032"/>
              <a:gd name="connsiteX45360" fmla="*/ 522964 w 4610101"/>
              <a:gd name="connsiteY45360" fmla="*/ 1624409 h 6557032"/>
              <a:gd name="connsiteX45361" fmla="*/ 508387 w 4610101"/>
              <a:gd name="connsiteY45361" fmla="*/ 1640809 h 6557032"/>
              <a:gd name="connsiteX45362" fmla="*/ 510209 w 4610101"/>
              <a:gd name="connsiteY45362" fmla="*/ 1640809 h 6557032"/>
              <a:gd name="connsiteX45363" fmla="*/ 508159 w 4610101"/>
              <a:gd name="connsiteY45363" fmla="*/ 1656525 h 6557032"/>
              <a:gd name="connsiteX45364" fmla="*/ 508333 w 4610101"/>
              <a:gd name="connsiteY45364" fmla="*/ 1662358 h 6557032"/>
              <a:gd name="connsiteX45365" fmla="*/ 506604 w 4610101"/>
              <a:gd name="connsiteY45365" fmla="*/ 1665128 h 6557032"/>
              <a:gd name="connsiteX45366" fmla="*/ 506793 w 4610101"/>
              <a:gd name="connsiteY45366" fmla="*/ 1664269 h 6557032"/>
              <a:gd name="connsiteX45367" fmla="*/ 504743 w 4610101"/>
              <a:gd name="connsiteY45367" fmla="*/ 1653564 h 6557032"/>
              <a:gd name="connsiteX45368" fmla="*/ 493678 w 4610101"/>
              <a:gd name="connsiteY45368" fmla="*/ 1677274 h 6557032"/>
              <a:gd name="connsiteX45369" fmla="*/ 492443 w 4610101"/>
              <a:gd name="connsiteY45369" fmla="*/ 1677480 h 6557032"/>
              <a:gd name="connsiteX45370" fmla="*/ 489473 w 4610101"/>
              <a:gd name="connsiteY45370" fmla="*/ 1678635 h 6557032"/>
              <a:gd name="connsiteX45371" fmla="*/ 488343 w 4610101"/>
              <a:gd name="connsiteY45371" fmla="*/ 1679075 h 6557032"/>
              <a:gd name="connsiteX45372" fmla="*/ 488343 w 4610101"/>
              <a:gd name="connsiteY45372" fmla="*/ 1680897 h 6557032"/>
              <a:gd name="connsiteX45373" fmla="*/ 488343 w 4610101"/>
              <a:gd name="connsiteY45373" fmla="*/ 1682719 h 6557032"/>
              <a:gd name="connsiteX45374" fmla="*/ 490165 w 4610101"/>
              <a:gd name="connsiteY45374" fmla="*/ 1680897 h 6557032"/>
              <a:gd name="connsiteX45375" fmla="*/ 490165 w 4610101"/>
              <a:gd name="connsiteY45375" fmla="*/ 1684541 h 6557032"/>
              <a:gd name="connsiteX45376" fmla="*/ 485511 w 4610101"/>
              <a:gd name="connsiteY45376" fmla="*/ 1686757 h 6557032"/>
              <a:gd name="connsiteX45377" fmla="*/ 486521 w 4610101"/>
              <a:gd name="connsiteY45377" fmla="*/ 1682719 h 6557032"/>
              <a:gd name="connsiteX45378" fmla="*/ 478730 w 4610101"/>
              <a:gd name="connsiteY45378" fmla="*/ 1689189 h 6557032"/>
              <a:gd name="connsiteX45379" fmla="*/ 482876 w 4610101"/>
              <a:gd name="connsiteY45379" fmla="*/ 1680897 h 6557032"/>
              <a:gd name="connsiteX45380" fmla="*/ 479051 w 4610101"/>
              <a:gd name="connsiteY45380" fmla="*/ 1684085 h 6557032"/>
              <a:gd name="connsiteX45381" fmla="*/ 490036 w 4610101"/>
              <a:gd name="connsiteY45381" fmla="*/ 1671075 h 6557032"/>
              <a:gd name="connsiteX45382" fmla="*/ 488343 w 4610101"/>
              <a:gd name="connsiteY45382" fmla="*/ 1675430 h 6557032"/>
              <a:gd name="connsiteX45383" fmla="*/ 504743 w 4610101"/>
              <a:gd name="connsiteY45383" fmla="*/ 1644453 h 6557032"/>
              <a:gd name="connsiteX45384" fmla="*/ 501098 w 4610101"/>
              <a:gd name="connsiteY45384" fmla="*/ 1642631 h 6557032"/>
              <a:gd name="connsiteX45385" fmla="*/ 494957 w 4610101"/>
              <a:gd name="connsiteY45385" fmla="*/ 1658422 h 6557032"/>
              <a:gd name="connsiteX45386" fmla="*/ 499276 w 4610101"/>
              <a:gd name="connsiteY45386" fmla="*/ 1638987 h 6557032"/>
              <a:gd name="connsiteX45387" fmla="*/ 491987 w 4610101"/>
              <a:gd name="connsiteY45387" fmla="*/ 1649920 h 6557032"/>
              <a:gd name="connsiteX45388" fmla="*/ 479687 w 4610101"/>
              <a:gd name="connsiteY45388" fmla="*/ 1667686 h 6557032"/>
              <a:gd name="connsiteX45389" fmla="*/ 475879 w 4610101"/>
              <a:gd name="connsiteY45389" fmla="*/ 1686727 h 6557032"/>
              <a:gd name="connsiteX45390" fmla="*/ 471943 w 4610101"/>
              <a:gd name="connsiteY45390" fmla="*/ 1690008 h 6557032"/>
              <a:gd name="connsiteX45391" fmla="*/ 475564 w 4610101"/>
              <a:gd name="connsiteY45391" fmla="*/ 1691818 h 6557032"/>
              <a:gd name="connsiteX45392" fmla="*/ 473082 w 4610101"/>
              <a:gd name="connsiteY45392" fmla="*/ 1693880 h 6557032"/>
              <a:gd name="connsiteX45393" fmla="*/ 461751 w 4610101"/>
              <a:gd name="connsiteY45393" fmla="*/ 1705638 h 6557032"/>
              <a:gd name="connsiteX45394" fmla="*/ 459364 w 4610101"/>
              <a:gd name="connsiteY45394" fmla="*/ 1705249 h 6557032"/>
              <a:gd name="connsiteX45395" fmla="*/ 463516 w 4610101"/>
              <a:gd name="connsiteY45395" fmla="*/ 1700029 h 6557032"/>
              <a:gd name="connsiteX45396" fmla="*/ 470121 w 4610101"/>
              <a:gd name="connsiteY45396" fmla="*/ 1690008 h 6557032"/>
              <a:gd name="connsiteX45397" fmla="*/ 459416 w 4610101"/>
              <a:gd name="connsiteY45397" fmla="*/ 1697752 h 6557032"/>
              <a:gd name="connsiteX45398" fmla="*/ 455162 w 4610101"/>
              <a:gd name="connsiteY45398" fmla="*/ 1702524 h 6557032"/>
              <a:gd name="connsiteX45399" fmla="*/ 451900 w 4610101"/>
              <a:gd name="connsiteY45399" fmla="*/ 1700485 h 6557032"/>
              <a:gd name="connsiteX45400" fmla="*/ 448256 w 4610101"/>
              <a:gd name="connsiteY45400" fmla="*/ 1700941 h 6557032"/>
              <a:gd name="connsiteX45401" fmla="*/ 450077 w 4610101"/>
              <a:gd name="connsiteY45401" fmla="*/ 1699118 h 6557032"/>
              <a:gd name="connsiteX45402" fmla="*/ 445768 w 4610101"/>
              <a:gd name="connsiteY45402" fmla="*/ 1701106 h 6557032"/>
              <a:gd name="connsiteX45403" fmla="*/ 445237 w 4610101"/>
              <a:gd name="connsiteY45403" fmla="*/ 1700228 h 6557032"/>
              <a:gd name="connsiteX45404" fmla="*/ 443551 w 4610101"/>
              <a:gd name="connsiteY45404" fmla="*/ 1702130 h 6557032"/>
              <a:gd name="connsiteX45405" fmla="*/ 441194 w 4610101"/>
              <a:gd name="connsiteY45405" fmla="*/ 1703218 h 6557032"/>
              <a:gd name="connsiteX45406" fmla="*/ 440551 w 4610101"/>
              <a:gd name="connsiteY45406" fmla="*/ 1707075 h 6557032"/>
              <a:gd name="connsiteX45407" fmla="*/ 440340 w 4610101"/>
              <a:gd name="connsiteY45407" fmla="*/ 1707460 h 6557032"/>
              <a:gd name="connsiteX45408" fmla="*/ 435500 w 4610101"/>
              <a:gd name="connsiteY45408" fmla="*/ 1704585 h 6557032"/>
              <a:gd name="connsiteX45409" fmla="*/ 442789 w 4610101"/>
              <a:gd name="connsiteY45409" fmla="*/ 1700941 h 6557032"/>
              <a:gd name="connsiteX45410" fmla="*/ 411812 w 4610101"/>
              <a:gd name="connsiteY45410" fmla="*/ 1713696 h 6557032"/>
              <a:gd name="connsiteX45411" fmla="*/ 428211 w 4610101"/>
              <a:gd name="connsiteY45411" fmla="*/ 1693652 h 6557032"/>
              <a:gd name="connsiteX45412" fmla="*/ 415456 w 4610101"/>
              <a:gd name="connsiteY45412" fmla="*/ 1693652 h 6557032"/>
              <a:gd name="connsiteX45413" fmla="*/ 442789 w 4610101"/>
              <a:gd name="connsiteY45413" fmla="*/ 1682719 h 6557032"/>
              <a:gd name="connsiteX45414" fmla="*/ 439145 w 4610101"/>
              <a:gd name="connsiteY45414" fmla="*/ 1686363 h 6557032"/>
              <a:gd name="connsiteX45415" fmla="*/ 444611 w 4610101"/>
              <a:gd name="connsiteY45415" fmla="*/ 1686363 h 6557032"/>
              <a:gd name="connsiteX45416" fmla="*/ 446433 w 4610101"/>
              <a:gd name="connsiteY45416" fmla="*/ 1690008 h 6557032"/>
              <a:gd name="connsiteX45417" fmla="*/ 444611 w 4610101"/>
              <a:gd name="connsiteY45417" fmla="*/ 1680897 h 6557032"/>
              <a:gd name="connsiteX45418" fmla="*/ 450077 w 4610101"/>
              <a:gd name="connsiteY45418" fmla="*/ 1673608 h 6557032"/>
              <a:gd name="connsiteX45419" fmla="*/ 450077 w 4610101"/>
              <a:gd name="connsiteY45419" fmla="*/ 1679075 h 6557032"/>
              <a:gd name="connsiteX45420" fmla="*/ 464655 w 4610101"/>
              <a:gd name="connsiteY45420" fmla="*/ 1677252 h 6557032"/>
              <a:gd name="connsiteX45421" fmla="*/ 461010 w 4610101"/>
              <a:gd name="connsiteY45421" fmla="*/ 1677252 h 6557032"/>
              <a:gd name="connsiteX45422" fmla="*/ 464655 w 4610101"/>
              <a:gd name="connsiteY45422" fmla="*/ 1675430 h 6557032"/>
              <a:gd name="connsiteX45423" fmla="*/ 464655 w 4610101"/>
              <a:gd name="connsiteY45423" fmla="*/ 1664497 h 6557032"/>
              <a:gd name="connsiteX45424" fmla="*/ 461010 w 4610101"/>
              <a:gd name="connsiteY45424" fmla="*/ 1662675 h 6557032"/>
              <a:gd name="connsiteX45425" fmla="*/ 473766 w 4610101"/>
              <a:gd name="connsiteY45425" fmla="*/ 1644453 h 6557032"/>
              <a:gd name="connsiteX45426" fmla="*/ 470121 w 4610101"/>
              <a:gd name="connsiteY45426" fmla="*/ 1646275 h 6557032"/>
              <a:gd name="connsiteX45427" fmla="*/ 475589 w 4610101"/>
              <a:gd name="connsiteY45427" fmla="*/ 1638987 h 6557032"/>
              <a:gd name="connsiteX45428" fmla="*/ 457367 w 4610101"/>
              <a:gd name="connsiteY45428" fmla="*/ 1662675 h 6557032"/>
              <a:gd name="connsiteX45429" fmla="*/ 448256 w 4610101"/>
              <a:gd name="connsiteY45429" fmla="*/ 1669964 h 6557032"/>
              <a:gd name="connsiteX45430" fmla="*/ 451899 w 4610101"/>
              <a:gd name="connsiteY45430" fmla="*/ 1660853 h 6557032"/>
              <a:gd name="connsiteX45431" fmla="*/ 459188 w 4610101"/>
              <a:gd name="connsiteY45431" fmla="*/ 1651742 h 6557032"/>
              <a:gd name="connsiteX45432" fmla="*/ 451899 w 4610101"/>
              <a:gd name="connsiteY45432" fmla="*/ 1660853 h 6557032"/>
              <a:gd name="connsiteX45433" fmla="*/ 461010 w 4610101"/>
              <a:gd name="connsiteY45433" fmla="*/ 1642631 h 6557032"/>
              <a:gd name="connsiteX45434" fmla="*/ 454405 w 4610101"/>
              <a:gd name="connsiteY45434" fmla="*/ 1647414 h 6557032"/>
              <a:gd name="connsiteX45435" fmla="*/ 449583 w 4610101"/>
              <a:gd name="connsiteY45435" fmla="*/ 1647827 h 6557032"/>
              <a:gd name="connsiteX45436" fmla="*/ 452396 w 4610101"/>
              <a:gd name="connsiteY45436" fmla="*/ 1646772 h 6557032"/>
              <a:gd name="connsiteX45437" fmla="*/ 452583 w 4610101"/>
              <a:gd name="connsiteY45437" fmla="*/ 1646731 h 6557032"/>
              <a:gd name="connsiteX45438" fmla="*/ 452642 w 4610101"/>
              <a:gd name="connsiteY45438" fmla="*/ 1646680 h 6557032"/>
              <a:gd name="connsiteX45439" fmla="*/ 453722 w 4610101"/>
              <a:gd name="connsiteY45439" fmla="*/ 1646275 h 6557032"/>
              <a:gd name="connsiteX45440" fmla="*/ 453441 w 4610101"/>
              <a:gd name="connsiteY45440" fmla="*/ 1645994 h 6557032"/>
              <a:gd name="connsiteX45441" fmla="*/ 457367 w 4610101"/>
              <a:gd name="connsiteY45441" fmla="*/ 1642631 h 6557032"/>
              <a:gd name="connsiteX45442" fmla="*/ 452507 w 4610101"/>
              <a:gd name="connsiteY45442" fmla="*/ 1645060 h 6557032"/>
              <a:gd name="connsiteX45443" fmla="*/ 450760 w 4610101"/>
              <a:gd name="connsiteY45443" fmla="*/ 1643314 h 6557032"/>
              <a:gd name="connsiteX45444" fmla="*/ 440966 w 4610101"/>
              <a:gd name="connsiteY45444" fmla="*/ 1644453 h 6557032"/>
              <a:gd name="connsiteX45445" fmla="*/ 442789 w 4610101"/>
              <a:gd name="connsiteY45445" fmla="*/ 1648097 h 6557032"/>
              <a:gd name="connsiteX45446" fmla="*/ 395412 w 4610101"/>
              <a:gd name="connsiteY45446" fmla="*/ 1660853 h 6557032"/>
              <a:gd name="connsiteX45447" fmla="*/ 408850 w 4610101"/>
              <a:gd name="connsiteY45447" fmla="*/ 1671102 h 6557032"/>
              <a:gd name="connsiteX45448" fmla="*/ 421464 w 4610101"/>
              <a:gd name="connsiteY45448" fmla="*/ 1668480 h 6557032"/>
              <a:gd name="connsiteX45449" fmla="*/ 395412 w 4610101"/>
              <a:gd name="connsiteY45449" fmla="*/ 1686363 h 6557032"/>
              <a:gd name="connsiteX45450" fmla="*/ 397234 w 4610101"/>
              <a:gd name="connsiteY45450" fmla="*/ 1682719 h 6557032"/>
              <a:gd name="connsiteX45451" fmla="*/ 380835 w 4610101"/>
              <a:gd name="connsiteY45451" fmla="*/ 1684541 h 6557032"/>
              <a:gd name="connsiteX45452" fmla="*/ 384479 w 4610101"/>
              <a:gd name="connsiteY45452" fmla="*/ 1677252 h 6557032"/>
              <a:gd name="connsiteX45453" fmla="*/ 377190 w 4610101"/>
              <a:gd name="connsiteY45453" fmla="*/ 1675430 h 6557032"/>
              <a:gd name="connsiteX45454" fmla="*/ 391768 w 4610101"/>
              <a:gd name="connsiteY45454" fmla="*/ 1673608 h 6557032"/>
              <a:gd name="connsiteX45455" fmla="*/ 389946 w 4610101"/>
              <a:gd name="connsiteY45455" fmla="*/ 1671786 h 6557032"/>
              <a:gd name="connsiteX45456" fmla="*/ 393590 w 4610101"/>
              <a:gd name="connsiteY45456" fmla="*/ 1669964 h 6557032"/>
              <a:gd name="connsiteX45457" fmla="*/ 388123 w 4610101"/>
              <a:gd name="connsiteY45457" fmla="*/ 1668142 h 6557032"/>
              <a:gd name="connsiteX45458" fmla="*/ 388123 w 4610101"/>
              <a:gd name="connsiteY45458" fmla="*/ 1669964 h 6557032"/>
              <a:gd name="connsiteX45459" fmla="*/ 368079 w 4610101"/>
              <a:gd name="connsiteY45459" fmla="*/ 1666319 h 6557032"/>
              <a:gd name="connsiteX45460" fmla="*/ 377190 w 4610101"/>
              <a:gd name="connsiteY45460" fmla="*/ 1662675 h 6557032"/>
              <a:gd name="connsiteX45461" fmla="*/ 373546 w 4610101"/>
              <a:gd name="connsiteY45461" fmla="*/ 1657208 h 6557032"/>
              <a:gd name="connsiteX45462" fmla="*/ 373546 w 4610101"/>
              <a:gd name="connsiteY45462" fmla="*/ 1655386 h 6557032"/>
              <a:gd name="connsiteX45463" fmla="*/ 382657 w 4610101"/>
              <a:gd name="connsiteY45463" fmla="*/ 1657208 h 6557032"/>
              <a:gd name="connsiteX45464" fmla="*/ 362613 w 4610101"/>
              <a:gd name="connsiteY45464" fmla="*/ 1657208 h 6557032"/>
              <a:gd name="connsiteX45465" fmla="*/ 369902 w 4610101"/>
              <a:gd name="connsiteY45465" fmla="*/ 1657208 h 6557032"/>
              <a:gd name="connsiteX45466" fmla="*/ 357146 w 4610101"/>
              <a:gd name="connsiteY45466" fmla="*/ 1660853 h 6557032"/>
              <a:gd name="connsiteX45467" fmla="*/ 371724 w 4610101"/>
              <a:gd name="connsiteY45467" fmla="*/ 1651742 h 6557032"/>
              <a:gd name="connsiteX45468" fmla="*/ 368079 w 4610101"/>
              <a:gd name="connsiteY45468" fmla="*/ 1644453 h 6557032"/>
              <a:gd name="connsiteX45469" fmla="*/ 375368 w 4610101"/>
              <a:gd name="connsiteY45469" fmla="*/ 1644453 h 6557032"/>
              <a:gd name="connsiteX45470" fmla="*/ 371724 w 4610101"/>
              <a:gd name="connsiteY45470" fmla="*/ 1646275 h 6557032"/>
              <a:gd name="connsiteX45471" fmla="*/ 377190 w 4610101"/>
              <a:gd name="connsiteY45471" fmla="*/ 1651742 h 6557032"/>
              <a:gd name="connsiteX45472" fmla="*/ 388123 w 4610101"/>
              <a:gd name="connsiteY45472" fmla="*/ 1642631 h 6557032"/>
              <a:gd name="connsiteX45473" fmla="*/ 375368 w 4610101"/>
              <a:gd name="connsiteY45473" fmla="*/ 1638987 h 6557032"/>
              <a:gd name="connsiteX45474" fmla="*/ 386301 w 4610101"/>
              <a:gd name="connsiteY45474" fmla="*/ 1640809 h 6557032"/>
              <a:gd name="connsiteX45475" fmla="*/ 379012 w 4610101"/>
              <a:gd name="connsiteY45475" fmla="*/ 1631698 h 6557032"/>
              <a:gd name="connsiteX45476" fmla="*/ 382657 w 4610101"/>
              <a:gd name="connsiteY45476" fmla="*/ 1631698 h 6557032"/>
              <a:gd name="connsiteX45477" fmla="*/ 373546 w 4610101"/>
              <a:gd name="connsiteY45477" fmla="*/ 1624409 h 6557032"/>
              <a:gd name="connsiteX45478" fmla="*/ 395412 w 4610101"/>
              <a:gd name="connsiteY45478" fmla="*/ 1635342 h 6557032"/>
              <a:gd name="connsiteX45479" fmla="*/ 397234 w 4610101"/>
              <a:gd name="connsiteY45479" fmla="*/ 1633520 h 6557032"/>
              <a:gd name="connsiteX45480" fmla="*/ 404523 w 4610101"/>
              <a:gd name="connsiteY45480" fmla="*/ 1635342 h 6557032"/>
              <a:gd name="connsiteX45481" fmla="*/ 399056 w 4610101"/>
              <a:gd name="connsiteY45481" fmla="*/ 1629876 h 6557032"/>
              <a:gd name="connsiteX45482" fmla="*/ 397234 w 4610101"/>
              <a:gd name="connsiteY45482" fmla="*/ 1631698 h 6557032"/>
              <a:gd name="connsiteX45483" fmla="*/ 395184 w 4610101"/>
              <a:gd name="connsiteY45483" fmla="*/ 1624637 h 6557032"/>
              <a:gd name="connsiteX45484" fmla="*/ 396752 w 4610101"/>
              <a:gd name="connsiteY45484" fmla="*/ 1620282 h 6557032"/>
              <a:gd name="connsiteX45485" fmla="*/ 397234 w 4610101"/>
              <a:gd name="connsiteY45485" fmla="*/ 1620764 h 6557032"/>
              <a:gd name="connsiteX45486" fmla="*/ 397234 w 4610101"/>
              <a:gd name="connsiteY45486" fmla="*/ 1623270 h 6557032"/>
              <a:gd name="connsiteX45487" fmla="*/ 402701 w 4610101"/>
              <a:gd name="connsiteY45487" fmla="*/ 1626231 h 6557032"/>
              <a:gd name="connsiteX45488" fmla="*/ 397234 w 4610101"/>
              <a:gd name="connsiteY45488" fmla="*/ 1620764 h 6557032"/>
              <a:gd name="connsiteX45489" fmla="*/ 397234 w 4610101"/>
              <a:gd name="connsiteY45489" fmla="*/ 1618943 h 6557032"/>
              <a:gd name="connsiteX45490" fmla="*/ 396752 w 4610101"/>
              <a:gd name="connsiteY45490" fmla="*/ 1620282 h 6557032"/>
              <a:gd name="connsiteX45491" fmla="*/ 387759 w 4610101"/>
              <a:gd name="connsiteY45491" fmla="*/ 1611290 h 6557032"/>
              <a:gd name="connsiteX45492" fmla="*/ 388998 w 4610101"/>
              <a:gd name="connsiteY45492" fmla="*/ 1610980 h 6557032"/>
              <a:gd name="connsiteX45493" fmla="*/ 397006 w 4610101"/>
              <a:gd name="connsiteY45493" fmla="*/ 1614387 h 6557032"/>
              <a:gd name="connsiteX45494" fmla="*/ 406345 w 4610101"/>
              <a:gd name="connsiteY45494" fmla="*/ 1618943 h 6557032"/>
              <a:gd name="connsiteX45495" fmla="*/ 391207 w 4610101"/>
              <a:gd name="connsiteY45495" fmla="*/ 1610427 h 6557032"/>
              <a:gd name="connsiteX45496" fmla="*/ 393590 w 4610101"/>
              <a:gd name="connsiteY45496" fmla="*/ 1609832 h 6557032"/>
              <a:gd name="connsiteX45497" fmla="*/ 389946 w 4610101"/>
              <a:gd name="connsiteY45497" fmla="*/ 1606188 h 6557032"/>
              <a:gd name="connsiteX45498" fmla="*/ 379012 w 4610101"/>
              <a:gd name="connsiteY45498" fmla="*/ 1613476 h 6557032"/>
              <a:gd name="connsiteX45499" fmla="*/ 380107 w 4610101"/>
              <a:gd name="connsiteY45499" fmla="*/ 1613202 h 6557032"/>
              <a:gd name="connsiteX45500" fmla="*/ 369902 w 4610101"/>
              <a:gd name="connsiteY45500" fmla="*/ 1618943 h 6557032"/>
              <a:gd name="connsiteX45501" fmla="*/ 373546 w 4610101"/>
              <a:gd name="connsiteY45501" fmla="*/ 1613476 h 6557032"/>
              <a:gd name="connsiteX45502" fmla="*/ 366257 w 4610101"/>
              <a:gd name="connsiteY45502" fmla="*/ 1618943 h 6557032"/>
              <a:gd name="connsiteX45503" fmla="*/ 373546 w 4610101"/>
              <a:gd name="connsiteY45503" fmla="*/ 1624409 h 6557032"/>
              <a:gd name="connsiteX45504" fmla="*/ 364435 w 4610101"/>
              <a:gd name="connsiteY45504" fmla="*/ 1624409 h 6557032"/>
              <a:gd name="connsiteX45505" fmla="*/ 366257 w 4610101"/>
              <a:gd name="connsiteY45505" fmla="*/ 1617121 h 6557032"/>
              <a:gd name="connsiteX45506" fmla="*/ 357146 w 4610101"/>
              <a:gd name="connsiteY45506" fmla="*/ 1620765 h 6557032"/>
              <a:gd name="connsiteX45507" fmla="*/ 358969 w 4610101"/>
              <a:gd name="connsiteY45507" fmla="*/ 1617121 h 6557032"/>
              <a:gd name="connsiteX45508" fmla="*/ 369902 w 4610101"/>
              <a:gd name="connsiteY45508" fmla="*/ 1615298 h 6557032"/>
              <a:gd name="connsiteX45509" fmla="*/ 369902 w 4610101"/>
              <a:gd name="connsiteY45509" fmla="*/ 1611654 h 6557032"/>
              <a:gd name="connsiteX45510" fmla="*/ 358969 w 4610101"/>
              <a:gd name="connsiteY45510" fmla="*/ 1617121 h 6557032"/>
              <a:gd name="connsiteX45511" fmla="*/ 364435 w 4610101"/>
              <a:gd name="connsiteY45511" fmla="*/ 1609832 h 6557032"/>
              <a:gd name="connsiteX45512" fmla="*/ 335280 w 4610101"/>
              <a:gd name="connsiteY45512" fmla="*/ 1618943 h 6557032"/>
              <a:gd name="connsiteX45513" fmla="*/ 338926 w 4610101"/>
              <a:gd name="connsiteY45513" fmla="*/ 1617121 h 6557032"/>
              <a:gd name="connsiteX45514" fmla="*/ 324347 w 4610101"/>
              <a:gd name="connsiteY45514" fmla="*/ 1618943 h 6557032"/>
              <a:gd name="connsiteX45515" fmla="*/ 340747 w 4610101"/>
              <a:gd name="connsiteY45515" fmla="*/ 1611654 h 6557032"/>
              <a:gd name="connsiteX45516" fmla="*/ 320702 w 4610101"/>
              <a:gd name="connsiteY45516" fmla="*/ 1619398 h 6557032"/>
              <a:gd name="connsiteX45517" fmla="*/ 309771 w 4610101"/>
              <a:gd name="connsiteY45517" fmla="*/ 1622131 h 6557032"/>
              <a:gd name="connsiteX45518" fmla="*/ 318882 w 4610101"/>
              <a:gd name="connsiteY45518" fmla="*/ 1617121 h 6557032"/>
              <a:gd name="connsiteX45519" fmla="*/ 315236 w 4610101"/>
              <a:gd name="connsiteY45519" fmla="*/ 1617121 h 6557032"/>
              <a:gd name="connsiteX45520" fmla="*/ 326852 w 4610101"/>
              <a:gd name="connsiteY45520" fmla="*/ 1615526 h 6557032"/>
              <a:gd name="connsiteX45521" fmla="*/ 334830 w 4610101"/>
              <a:gd name="connsiteY45521" fmla="*/ 1611094 h 6557032"/>
              <a:gd name="connsiteX45522" fmla="*/ 324347 w 4610101"/>
              <a:gd name="connsiteY45522" fmla="*/ 1613278 h 6557032"/>
              <a:gd name="connsiteX45523" fmla="*/ 307947 w 4610101"/>
              <a:gd name="connsiteY45523" fmla="*/ 1615328 h 6557032"/>
              <a:gd name="connsiteX45524" fmla="*/ 315236 w 4610101"/>
              <a:gd name="connsiteY45524" fmla="*/ 1613506 h 6557032"/>
              <a:gd name="connsiteX45525" fmla="*/ 307947 w 4610101"/>
              <a:gd name="connsiteY45525" fmla="*/ 1611683 h 6557032"/>
              <a:gd name="connsiteX45526" fmla="*/ 329813 w 4610101"/>
              <a:gd name="connsiteY45526" fmla="*/ 1609862 h 6557032"/>
              <a:gd name="connsiteX45527" fmla="*/ 327991 w 4610101"/>
              <a:gd name="connsiteY45527" fmla="*/ 1600751 h 6557032"/>
              <a:gd name="connsiteX45528" fmla="*/ 337032 w 4610101"/>
              <a:gd name="connsiteY45528" fmla="*/ 1607208 h 6557032"/>
              <a:gd name="connsiteX45529" fmla="*/ 346213 w 4610101"/>
              <a:gd name="connsiteY45529" fmla="*/ 1606188 h 6557032"/>
              <a:gd name="connsiteX45530" fmla="*/ 317059 w 4610101"/>
              <a:gd name="connsiteY45530" fmla="*/ 1591610 h 6557032"/>
              <a:gd name="connsiteX45531" fmla="*/ 327993 w 4610101"/>
              <a:gd name="connsiteY45531" fmla="*/ 1587966 h 6557032"/>
              <a:gd name="connsiteX45532" fmla="*/ 313414 w 4610101"/>
              <a:gd name="connsiteY45532" fmla="*/ 1587966 h 6557032"/>
              <a:gd name="connsiteX45533" fmla="*/ 315236 w 4610101"/>
              <a:gd name="connsiteY45533" fmla="*/ 1591610 h 6557032"/>
              <a:gd name="connsiteX45534" fmla="*/ 286082 w 4610101"/>
              <a:gd name="connsiteY45534" fmla="*/ 1580677 h 6557032"/>
              <a:gd name="connsiteX45535" fmla="*/ 295193 w 4610101"/>
              <a:gd name="connsiteY45535" fmla="*/ 1580677 h 6557032"/>
              <a:gd name="connsiteX45536" fmla="*/ 293370 w 4610101"/>
              <a:gd name="connsiteY45536" fmla="*/ 1577033 h 6557032"/>
              <a:gd name="connsiteX45537" fmla="*/ 333458 w 4610101"/>
              <a:gd name="connsiteY45537" fmla="*/ 1587966 h 6557032"/>
              <a:gd name="connsiteX45538" fmla="*/ 315236 w 4610101"/>
              <a:gd name="connsiteY45538" fmla="*/ 1566100 h 6557032"/>
              <a:gd name="connsiteX45539" fmla="*/ 346213 w 4610101"/>
              <a:gd name="connsiteY45539" fmla="*/ 1587966 h 6557032"/>
              <a:gd name="connsiteX45540" fmla="*/ 348037 w 4610101"/>
              <a:gd name="connsiteY45540" fmla="*/ 1584321 h 6557032"/>
              <a:gd name="connsiteX45541" fmla="*/ 342569 w 4610101"/>
              <a:gd name="connsiteY45541" fmla="*/ 1584321 h 6557032"/>
              <a:gd name="connsiteX45542" fmla="*/ 346213 w 4610101"/>
              <a:gd name="connsiteY45542" fmla="*/ 1582499 h 6557032"/>
              <a:gd name="connsiteX45543" fmla="*/ 335280 w 4610101"/>
              <a:gd name="connsiteY45543" fmla="*/ 1569744 h 6557032"/>
              <a:gd name="connsiteX45544" fmla="*/ 338926 w 4610101"/>
              <a:gd name="connsiteY45544" fmla="*/ 1567922 h 6557032"/>
              <a:gd name="connsiteX45545" fmla="*/ 326169 w 4610101"/>
              <a:gd name="connsiteY45545" fmla="*/ 1549700 h 6557032"/>
              <a:gd name="connsiteX45546" fmla="*/ 331636 w 4610101"/>
              <a:gd name="connsiteY45546" fmla="*/ 1553345 h 6557032"/>
              <a:gd name="connsiteX45547" fmla="*/ 333458 w 4610101"/>
              <a:gd name="connsiteY45547" fmla="*/ 1549700 h 6557032"/>
              <a:gd name="connsiteX45548" fmla="*/ 350970 w 4610101"/>
              <a:gd name="connsiteY45548" fmla="*/ 1563126 h 6557032"/>
              <a:gd name="connsiteX45549" fmla="*/ 355979 w 4610101"/>
              <a:gd name="connsiteY45549" fmla="*/ 1574356 h 6557032"/>
              <a:gd name="connsiteX45550" fmla="*/ 397234 w 4610101"/>
              <a:gd name="connsiteY45550" fmla="*/ 1586144 h 6557032"/>
              <a:gd name="connsiteX45551" fmla="*/ 386073 w 4610101"/>
              <a:gd name="connsiteY45551" fmla="*/ 1578399 h 6557032"/>
              <a:gd name="connsiteX45552" fmla="*/ 385871 w 4610101"/>
              <a:gd name="connsiteY45552" fmla="*/ 1578318 h 6557032"/>
              <a:gd name="connsiteX45553" fmla="*/ 393590 w 4610101"/>
              <a:gd name="connsiteY45553" fmla="*/ 1580677 h 6557032"/>
              <a:gd name="connsiteX45554" fmla="*/ 392452 w 4610101"/>
              <a:gd name="connsiteY45554" fmla="*/ 1574527 h 6557032"/>
              <a:gd name="connsiteX45555" fmla="*/ 389958 w 4610101"/>
              <a:gd name="connsiteY45555" fmla="*/ 1564327 h 6557032"/>
              <a:gd name="connsiteX45556" fmla="*/ 389976 w 4610101"/>
              <a:gd name="connsiteY45556" fmla="*/ 1564328 h 6557032"/>
              <a:gd name="connsiteX45557" fmla="*/ 395412 w 4610101"/>
              <a:gd name="connsiteY45557" fmla="*/ 1573388 h 6557032"/>
              <a:gd name="connsiteX45558" fmla="*/ 399056 w 4610101"/>
              <a:gd name="connsiteY45558" fmla="*/ 1575894 h 6557032"/>
              <a:gd name="connsiteX45559" fmla="*/ 399271 w 4610101"/>
              <a:gd name="connsiteY45559" fmla="*/ 1575961 h 6557032"/>
              <a:gd name="connsiteX45560" fmla="*/ 402701 w 4610101"/>
              <a:gd name="connsiteY45560" fmla="*/ 1577033 h 6557032"/>
              <a:gd name="connsiteX45561" fmla="*/ 402701 w 4610101"/>
              <a:gd name="connsiteY45561" fmla="*/ 1571566 h 6557032"/>
              <a:gd name="connsiteX45562" fmla="*/ 399056 w 4610101"/>
              <a:gd name="connsiteY45562" fmla="*/ 1573388 h 6557032"/>
              <a:gd name="connsiteX45563" fmla="*/ 399056 w 4610101"/>
              <a:gd name="connsiteY45563" fmla="*/ 1566100 h 6557032"/>
              <a:gd name="connsiteX45564" fmla="*/ 428211 w 4610101"/>
              <a:gd name="connsiteY45564" fmla="*/ 1558811 h 6557032"/>
              <a:gd name="connsiteX45565" fmla="*/ 399056 w 4610101"/>
              <a:gd name="connsiteY45565" fmla="*/ 1558811 h 6557032"/>
              <a:gd name="connsiteX45566" fmla="*/ 394444 w 4610101"/>
              <a:gd name="connsiteY45566" fmla="*/ 1564449 h 6557032"/>
              <a:gd name="connsiteX45567" fmla="*/ 389976 w 4610101"/>
              <a:gd name="connsiteY45567" fmla="*/ 1564328 h 6557032"/>
              <a:gd name="connsiteX45568" fmla="*/ 389946 w 4610101"/>
              <a:gd name="connsiteY45568" fmla="*/ 1564278 h 6557032"/>
              <a:gd name="connsiteX45569" fmla="*/ 389958 w 4610101"/>
              <a:gd name="connsiteY45569" fmla="*/ 1564327 h 6557032"/>
              <a:gd name="connsiteX45570" fmla="*/ 388123 w 4610101"/>
              <a:gd name="connsiteY45570" fmla="*/ 1564278 h 6557032"/>
              <a:gd name="connsiteX45571" fmla="*/ 369902 w 4610101"/>
              <a:gd name="connsiteY45571" fmla="*/ 1560633 h 6557032"/>
              <a:gd name="connsiteX45572" fmla="*/ 366257 w 4610101"/>
              <a:gd name="connsiteY45572" fmla="*/ 1562455 h 6557032"/>
              <a:gd name="connsiteX45573" fmla="*/ 366257 w 4610101"/>
              <a:gd name="connsiteY45573" fmla="*/ 1558811 h 6557032"/>
              <a:gd name="connsiteX45574" fmla="*/ 358969 w 4610101"/>
              <a:gd name="connsiteY45574" fmla="*/ 1556989 h 6557032"/>
              <a:gd name="connsiteX45575" fmla="*/ 360791 w 4610101"/>
              <a:gd name="connsiteY45575" fmla="*/ 1551522 h 6557032"/>
              <a:gd name="connsiteX45576" fmla="*/ 357544 w 4610101"/>
              <a:gd name="connsiteY45576" fmla="*/ 1546884 h 6557032"/>
              <a:gd name="connsiteX45577" fmla="*/ 362613 w 4610101"/>
              <a:gd name="connsiteY45577" fmla="*/ 1549700 h 6557032"/>
              <a:gd name="connsiteX45578" fmla="*/ 362613 w 4610101"/>
              <a:gd name="connsiteY45578" fmla="*/ 1547878 h 6557032"/>
              <a:gd name="connsiteX45579" fmla="*/ 364435 w 4610101"/>
              <a:gd name="connsiteY45579" fmla="*/ 1542412 h 6557032"/>
              <a:gd name="connsiteX45580" fmla="*/ 357146 w 4610101"/>
              <a:gd name="connsiteY45580" fmla="*/ 1538767 h 6557032"/>
              <a:gd name="connsiteX45581" fmla="*/ 364435 w 4610101"/>
              <a:gd name="connsiteY45581" fmla="*/ 1540589 h 6557032"/>
              <a:gd name="connsiteX45582" fmla="*/ 366257 w 4610101"/>
              <a:gd name="connsiteY45582" fmla="*/ 1538767 h 6557032"/>
              <a:gd name="connsiteX45583" fmla="*/ 362613 w 4610101"/>
              <a:gd name="connsiteY45583" fmla="*/ 1526012 h 6557032"/>
              <a:gd name="connsiteX45584" fmla="*/ 368079 w 4610101"/>
              <a:gd name="connsiteY45584" fmla="*/ 1536945 h 6557032"/>
              <a:gd name="connsiteX45585" fmla="*/ 373546 w 4610101"/>
              <a:gd name="connsiteY45585" fmla="*/ 1529656 h 6557032"/>
              <a:gd name="connsiteX45586" fmla="*/ 369902 w 4610101"/>
              <a:gd name="connsiteY45586" fmla="*/ 1526012 h 6557032"/>
              <a:gd name="connsiteX45587" fmla="*/ 391768 w 4610101"/>
              <a:gd name="connsiteY45587" fmla="*/ 1520545 h 6557032"/>
              <a:gd name="connsiteX45588" fmla="*/ 375368 w 4610101"/>
              <a:gd name="connsiteY45588" fmla="*/ 1511434 h 6557032"/>
              <a:gd name="connsiteX45589" fmla="*/ 380835 w 4610101"/>
              <a:gd name="connsiteY45589" fmla="*/ 1504146 h 6557032"/>
              <a:gd name="connsiteX45590" fmla="*/ 375368 w 4610101"/>
              <a:gd name="connsiteY45590" fmla="*/ 1504146 h 6557032"/>
              <a:gd name="connsiteX45591" fmla="*/ 384479 w 4610101"/>
              <a:gd name="connsiteY45591" fmla="*/ 1498679 h 6557032"/>
              <a:gd name="connsiteX45592" fmla="*/ 348797 w 4610101"/>
              <a:gd name="connsiteY45592" fmla="*/ 1504710 h 6557032"/>
              <a:gd name="connsiteX45593" fmla="*/ 340519 w 4610101"/>
              <a:gd name="connsiteY45593" fmla="*/ 1503463 h 6557032"/>
              <a:gd name="connsiteX45594" fmla="*/ 322525 w 4610101"/>
              <a:gd name="connsiteY45594" fmla="*/ 1507790 h 6557032"/>
              <a:gd name="connsiteX45595" fmla="*/ 331475 w 4610101"/>
              <a:gd name="connsiteY45595" fmla="*/ 1508813 h 6557032"/>
              <a:gd name="connsiteX45596" fmla="*/ 291549 w 4610101"/>
              <a:gd name="connsiteY45596" fmla="*/ 1526012 h 6557032"/>
              <a:gd name="connsiteX45597" fmla="*/ 313414 w 4610101"/>
              <a:gd name="connsiteY45597" fmla="*/ 1509612 h 6557032"/>
              <a:gd name="connsiteX45598" fmla="*/ 302481 w 4610101"/>
              <a:gd name="connsiteY45598" fmla="*/ 1511434 h 6557032"/>
              <a:gd name="connsiteX45599" fmla="*/ 317059 w 4610101"/>
              <a:gd name="connsiteY45599" fmla="*/ 1507790 h 6557032"/>
              <a:gd name="connsiteX45600" fmla="*/ 298837 w 4610101"/>
              <a:gd name="connsiteY45600" fmla="*/ 1502324 h 6557032"/>
              <a:gd name="connsiteX45601" fmla="*/ 300640 w 4610101"/>
              <a:gd name="connsiteY45601" fmla="*/ 1502324 h 6557032"/>
              <a:gd name="connsiteX45602" fmla="*/ 297014 w 4610101"/>
              <a:gd name="connsiteY45602" fmla="*/ 1496886 h 6557032"/>
              <a:gd name="connsiteX45603" fmla="*/ 303811 w 4610101"/>
              <a:gd name="connsiteY45603" fmla="*/ 1502324 h 6557032"/>
              <a:gd name="connsiteX45604" fmla="*/ 309771 w 4610101"/>
              <a:gd name="connsiteY45604" fmla="*/ 1502324 h 6557032"/>
              <a:gd name="connsiteX45605" fmla="*/ 304303 w 4610101"/>
              <a:gd name="connsiteY45605" fmla="*/ 1496857 h 6557032"/>
              <a:gd name="connsiteX45606" fmla="*/ 315236 w 4610101"/>
              <a:gd name="connsiteY45606" fmla="*/ 1500501 h 6557032"/>
              <a:gd name="connsiteX45607" fmla="*/ 329814 w 4610101"/>
              <a:gd name="connsiteY45607" fmla="*/ 1498679 h 6557032"/>
              <a:gd name="connsiteX45608" fmla="*/ 384479 w 4610101"/>
              <a:gd name="connsiteY45608" fmla="*/ 1495035 h 6557032"/>
              <a:gd name="connsiteX45609" fmla="*/ 377190 w 4610101"/>
              <a:gd name="connsiteY45609" fmla="*/ 1493213 h 6557032"/>
              <a:gd name="connsiteX45610" fmla="*/ 380835 w 4610101"/>
              <a:gd name="connsiteY45610" fmla="*/ 1491391 h 6557032"/>
              <a:gd name="connsiteX45611" fmla="*/ 377190 w 4610101"/>
              <a:gd name="connsiteY45611" fmla="*/ 1484102 h 6557032"/>
              <a:gd name="connsiteX45612" fmla="*/ 389946 w 4610101"/>
              <a:gd name="connsiteY45612" fmla="*/ 1485924 h 6557032"/>
              <a:gd name="connsiteX45613" fmla="*/ 386301 w 4610101"/>
              <a:gd name="connsiteY45613" fmla="*/ 1482280 h 6557032"/>
              <a:gd name="connsiteX45614" fmla="*/ 404523 w 4610101"/>
              <a:gd name="connsiteY45614" fmla="*/ 1485924 h 6557032"/>
              <a:gd name="connsiteX45615" fmla="*/ 395412 w 4610101"/>
              <a:gd name="connsiteY45615" fmla="*/ 1478635 h 6557032"/>
              <a:gd name="connsiteX45616" fmla="*/ 404523 w 4610101"/>
              <a:gd name="connsiteY45616" fmla="*/ 1478635 h 6557032"/>
              <a:gd name="connsiteX45617" fmla="*/ 382667 w 4610101"/>
              <a:gd name="connsiteY45617" fmla="*/ 1476251 h 6557032"/>
              <a:gd name="connsiteX45618" fmla="*/ 393590 w 4610101"/>
              <a:gd name="connsiteY45618" fmla="*/ 1471347 h 6557032"/>
              <a:gd name="connsiteX45619" fmla="*/ 369902 w 4610101"/>
              <a:gd name="connsiteY45619" fmla="*/ 1478635 h 6557032"/>
              <a:gd name="connsiteX45620" fmla="*/ 370697 w 4610101"/>
              <a:gd name="connsiteY45620" fmla="*/ 1478491 h 6557032"/>
              <a:gd name="connsiteX45621" fmla="*/ 351680 w 4610101"/>
              <a:gd name="connsiteY45621" fmla="*/ 1484102 h 6557032"/>
              <a:gd name="connsiteX45622" fmla="*/ 355324 w 4610101"/>
              <a:gd name="connsiteY45622" fmla="*/ 1482280 h 6557032"/>
              <a:gd name="connsiteX45623" fmla="*/ 309771 w 4610101"/>
              <a:gd name="connsiteY45623" fmla="*/ 1489568 h 6557032"/>
              <a:gd name="connsiteX45624" fmla="*/ 320703 w 4610101"/>
              <a:gd name="connsiteY45624" fmla="*/ 1485924 h 6557032"/>
              <a:gd name="connsiteX45625" fmla="*/ 315236 w 4610101"/>
              <a:gd name="connsiteY45625" fmla="*/ 1482280 h 6557032"/>
              <a:gd name="connsiteX45626" fmla="*/ 349858 w 4610101"/>
              <a:gd name="connsiteY45626" fmla="*/ 1476813 h 6557032"/>
              <a:gd name="connsiteX45627" fmla="*/ 337102 w 4610101"/>
              <a:gd name="connsiteY45627" fmla="*/ 1473169 h 6557032"/>
              <a:gd name="connsiteX45628" fmla="*/ 342569 w 4610101"/>
              <a:gd name="connsiteY45628" fmla="*/ 1471347 h 6557032"/>
              <a:gd name="connsiteX45629" fmla="*/ 340747 w 4610101"/>
              <a:gd name="connsiteY45629" fmla="*/ 1469525 h 6557032"/>
              <a:gd name="connsiteX45630" fmla="*/ 346213 w 4610101"/>
              <a:gd name="connsiteY45630" fmla="*/ 1471347 h 6557032"/>
              <a:gd name="connsiteX45631" fmla="*/ 344391 w 4610101"/>
              <a:gd name="connsiteY45631" fmla="*/ 1462236 h 6557032"/>
              <a:gd name="connsiteX45632" fmla="*/ 364435 w 4610101"/>
              <a:gd name="connsiteY45632" fmla="*/ 1473169 h 6557032"/>
              <a:gd name="connsiteX45633" fmla="*/ 357146 w 4610101"/>
              <a:gd name="connsiteY45633" fmla="*/ 1476813 h 6557032"/>
              <a:gd name="connsiteX45634" fmla="*/ 368079 w 4610101"/>
              <a:gd name="connsiteY45634" fmla="*/ 1469525 h 6557032"/>
              <a:gd name="connsiteX45635" fmla="*/ 360791 w 4610101"/>
              <a:gd name="connsiteY45635" fmla="*/ 1467702 h 6557032"/>
              <a:gd name="connsiteX45636" fmla="*/ 380835 w 4610101"/>
              <a:gd name="connsiteY45636" fmla="*/ 1462236 h 6557032"/>
              <a:gd name="connsiteX45637" fmla="*/ 351680 w 4610101"/>
              <a:gd name="connsiteY45637" fmla="*/ 1460414 h 6557032"/>
              <a:gd name="connsiteX45638" fmla="*/ 368079 w 4610101"/>
              <a:gd name="connsiteY45638" fmla="*/ 1454947 h 6557032"/>
              <a:gd name="connsiteX45639" fmla="*/ 353502 w 4610101"/>
              <a:gd name="connsiteY45639" fmla="*/ 1438548 h 6557032"/>
              <a:gd name="connsiteX45640" fmla="*/ 404523 w 4610101"/>
              <a:gd name="connsiteY45640" fmla="*/ 1462236 h 6557032"/>
              <a:gd name="connsiteX45641" fmla="*/ 397234 w 4610101"/>
              <a:gd name="connsiteY45641" fmla="*/ 1453125 h 6557032"/>
              <a:gd name="connsiteX45642" fmla="*/ 406345 w 4610101"/>
              <a:gd name="connsiteY45642" fmla="*/ 1453125 h 6557032"/>
              <a:gd name="connsiteX45643" fmla="*/ 399056 w 4610101"/>
              <a:gd name="connsiteY45643" fmla="*/ 1449481 h 6557032"/>
              <a:gd name="connsiteX45644" fmla="*/ 413634 w 4610101"/>
              <a:gd name="connsiteY45644" fmla="*/ 1447658 h 6557032"/>
              <a:gd name="connsiteX45645" fmla="*/ 397234 w 4610101"/>
              <a:gd name="connsiteY45645" fmla="*/ 1438548 h 6557032"/>
              <a:gd name="connsiteX45646" fmla="*/ 413634 w 4610101"/>
              <a:gd name="connsiteY45646" fmla="*/ 1436725 h 6557032"/>
              <a:gd name="connsiteX45647" fmla="*/ 409989 w 4610101"/>
              <a:gd name="connsiteY45647" fmla="*/ 1433081 h 6557032"/>
              <a:gd name="connsiteX45648" fmla="*/ 413634 w 4610101"/>
              <a:gd name="connsiteY45648" fmla="*/ 1434903 h 6557032"/>
              <a:gd name="connsiteX45649" fmla="*/ 395412 w 4610101"/>
              <a:gd name="connsiteY45649" fmla="*/ 1423970 h 6557032"/>
              <a:gd name="connsiteX45650" fmla="*/ 400879 w 4610101"/>
              <a:gd name="connsiteY45650" fmla="*/ 1423970 h 6557032"/>
              <a:gd name="connsiteX45651" fmla="*/ 368079 w 4610101"/>
              <a:gd name="connsiteY45651" fmla="*/ 1414859 h 6557032"/>
              <a:gd name="connsiteX45652" fmla="*/ 389946 w 4610101"/>
              <a:gd name="connsiteY45652" fmla="*/ 1423970 h 6557032"/>
              <a:gd name="connsiteX45653" fmla="*/ 364435 w 4610101"/>
              <a:gd name="connsiteY45653" fmla="*/ 1431259 h 6557032"/>
              <a:gd name="connsiteX45654" fmla="*/ 353502 w 4610101"/>
              <a:gd name="connsiteY45654" fmla="*/ 1429437 h 6557032"/>
              <a:gd name="connsiteX45655" fmla="*/ 377190 w 4610101"/>
              <a:gd name="connsiteY45655" fmla="*/ 1422148 h 6557032"/>
              <a:gd name="connsiteX45656" fmla="*/ 329814 w 4610101"/>
              <a:gd name="connsiteY45656" fmla="*/ 1389349 h 6557032"/>
              <a:gd name="connsiteX45657" fmla="*/ 346213 w 4610101"/>
              <a:gd name="connsiteY45657" fmla="*/ 1400282 h 6557032"/>
              <a:gd name="connsiteX45658" fmla="*/ 329814 w 4610101"/>
              <a:gd name="connsiteY45658" fmla="*/ 1383882 h 6557032"/>
              <a:gd name="connsiteX45659" fmla="*/ 368079 w 4610101"/>
              <a:gd name="connsiteY45659" fmla="*/ 1409393 h 6557032"/>
              <a:gd name="connsiteX45660" fmla="*/ 366257 w 4610101"/>
              <a:gd name="connsiteY45660" fmla="*/ 1407571 h 6557032"/>
              <a:gd name="connsiteX45661" fmla="*/ 384479 w 4610101"/>
              <a:gd name="connsiteY45661" fmla="*/ 1414859 h 6557032"/>
              <a:gd name="connsiteX45662" fmla="*/ 382657 w 4610101"/>
              <a:gd name="connsiteY45662" fmla="*/ 1403926 h 6557032"/>
              <a:gd name="connsiteX45663" fmla="*/ 420923 w 4610101"/>
              <a:gd name="connsiteY45663" fmla="*/ 1425792 h 6557032"/>
              <a:gd name="connsiteX45664" fmla="*/ 415456 w 4610101"/>
              <a:gd name="connsiteY45664" fmla="*/ 1414859 h 6557032"/>
              <a:gd name="connsiteX45665" fmla="*/ 419100 w 4610101"/>
              <a:gd name="connsiteY45665" fmla="*/ 1418504 h 6557032"/>
              <a:gd name="connsiteX45666" fmla="*/ 393590 w 4610101"/>
              <a:gd name="connsiteY45666" fmla="*/ 1391171 h 6557032"/>
              <a:gd name="connsiteX45667" fmla="*/ 397234 w 4610101"/>
              <a:gd name="connsiteY45667" fmla="*/ 1389349 h 6557032"/>
              <a:gd name="connsiteX45668" fmla="*/ 391768 w 4610101"/>
              <a:gd name="connsiteY45668" fmla="*/ 1385705 h 6557032"/>
              <a:gd name="connsiteX45669" fmla="*/ 395412 w 4610101"/>
              <a:gd name="connsiteY45669" fmla="*/ 1385705 h 6557032"/>
              <a:gd name="connsiteX45670" fmla="*/ 390122 w 4610101"/>
              <a:gd name="connsiteY45670" fmla="*/ 1378651 h 6557032"/>
              <a:gd name="connsiteX45671" fmla="*/ 391768 w 4610101"/>
              <a:gd name="connsiteY45671" fmla="*/ 1378416 h 6557032"/>
              <a:gd name="connsiteX45672" fmla="*/ 386301 w 4610101"/>
              <a:gd name="connsiteY45672" fmla="*/ 1372949 h 6557032"/>
              <a:gd name="connsiteX45673" fmla="*/ 379012 w 4610101"/>
              <a:gd name="connsiteY45673" fmla="*/ 1374771 h 6557032"/>
              <a:gd name="connsiteX45674" fmla="*/ 385390 w 4610101"/>
              <a:gd name="connsiteY45674" fmla="*/ 1379327 h 6557032"/>
              <a:gd name="connsiteX45675" fmla="*/ 389218 w 4610101"/>
              <a:gd name="connsiteY45675" fmla="*/ 1378780 h 6557032"/>
              <a:gd name="connsiteX45676" fmla="*/ 386301 w 4610101"/>
              <a:gd name="connsiteY45676" fmla="*/ 1380238 h 6557032"/>
              <a:gd name="connsiteX45677" fmla="*/ 388123 w 4610101"/>
              <a:gd name="connsiteY45677" fmla="*/ 1383882 h 6557032"/>
              <a:gd name="connsiteX45678" fmla="*/ 349858 w 4610101"/>
              <a:gd name="connsiteY45678" fmla="*/ 1378416 h 6557032"/>
              <a:gd name="connsiteX45679" fmla="*/ 369902 w 4610101"/>
              <a:gd name="connsiteY45679" fmla="*/ 1372949 h 6557032"/>
              <a:gd name="connsiteX45680" fmla="*/ 346213 w 4610101"/>
              <a:gd name="connsiteY45680" fmla="*/ 1369305 h 6557032"/>
              <a:gd name="connsiteX45681" fmla="*/ 346213 w 4610101"/>
              <a:gd name="connsiteY45681" fmla="*/ 1365661 h 6557032"/>
              <a:gd name="connsiteX45682" fmla="*/ 337102 w 4610101"/>
              <a:gd name="connsiteY45682" fmla="*/ 1374771 h 6557032"/>
              <a:gd name="connsiteX45683" fmla="*/ 344391 w 4610101"/>
              <a:gd name="connsiteY45683" fmla="*/ 1378416 h 6557032"/>
              <a:gd name="connsiteX45684" fmla="*/ 327993 w 4610101"/>
              <a:gd name="connsiteY45684" fmla="*/ 1380238 h 6557032"/>
              <a:gd name="connsiteX45685" fmla="*/ 333458 w 4610101"/>
              <a:gd name="connsiteY45685" fmla="*/ 1374771 h 6557032"/>
              <a:gd name="connsiteX45686" fmla="*/ 329814 w 4610101"/>
              <a:gd name="connsiteY45686" fmla="*/ 1371127 h 6557032"/>
              <a:gd name="connsiteX45687" fmla="*/ 348037 w 4610101"/>
              <a:gd name="connsiteY45687" fmla="*/ 1362016 h 6557032"/>
              <a:gd name="connsiteX45688" fmla="*/ 320703 w 4610101"/>
              <a:gd name="connsiteY45688" fmla="*/ 1356550 h 6557032"/>
              <a:gd name="connsiteX45689" fmla="*/ 324347 w 4610101"/>
              <a:gd name="connsiteY45689" fmla="*/ 1351083 h 6557032"/>
              <a:gd name="connsiteX45690" fmla="*/ 315236 w 4610101"/>
              <a:gd name="connsiteY45690" fmla="*/ 1345617 h 6557032"/>
              <a:gd name="connsiteX45691" fmla="*/ 306605 w 4610101"/>
              <a:gd name="connsiteY45691" fmla="*/ 1347055 h 6557032"/>
              <a:gd name="connsiteX45692" fmla="*/ 293370 w 4610101"/>
              <a:gd name="connsiteY45692" fmla="*/ 1349261 h 6557032"/>
              <a:gd name="connsiteX45693" fmla="*/ 271504 w 4610101"/>
              <a:gd name="connsiteY45693" fmla="*/ 1352905 h 6557032"/>
              <a:gd name="connsiteX45694" fmla="*/ 266038 w 4610101"/>
              <a:gd name="connsiteY45694" fmla="*/ 1345617 h 6557032"/>
              <a:gd name="connsiteX45695" fmla="*/ 234605 w 4610101"/>
              <a:gd name="connsiteY45695" fmla="*/ 1358600 h 6557032"/>
              <a:gd name="connsiteX45696" fmla="*/ 233947 w 4610101"/>
              <a:gd name="connsiteY45696" fmla="*/ 1358455 h 6557032"/>
              <a:gd name="connsiteX45697" fmla="*/ 262393 w 4610101"/>
              <a:gd name="connsiteY45697" fmla="*/ 1343795 h 6557032"/>
              <a:gd name="connsiteX45698" fmla="*/ 236883 w 4610101"/>
              <a:gd name="connsiteY45698" fmla="*/ 1329217 h 6557032"/>
              <a:gd name="connsiteX45699" fmla="*/ 240527 w 4610101"/>
              <a:gd name="connsiteY45699" fmla="*/ 1329217 h 6557032"/>
              <a:gd name="connsiteX45700" fmla="*/ 240527 w 4610101"/>
              <a:gd name="connsiteY45700" fmla="*/ 1325573 h 6557032"/>
              <a:gd name="connsiteX45701" fmla="*/ 286082 w 4610101"/>
              <a:gd name="connsiteY45701" fmla="*/ 1332862 h 6557032"/>
              <a:gd name="connsiteX45702" fmla="*/ 282438 w 4610101"/>
              <a:gd name="connsiteY45702" fmla="*/ 1332862 h 6557032"/>
              <a:gd name="connsiteX45703" fmla="*/ 286082 w 4610101"/>
              <a:gd name="connsiteY45703" fmla="*/ 1327395 h 6557032"/>
              <a:gd name="connsiteX45704" fmla="*/ 262393 w 4610101"/>
              <a:gd name="connsiteY45704" fmla="*/ 1331039 h 6557032"/>
              <a:gd name="connsiteX45705" fmla="*/ 275149 w 4610101"/>
              <a:gd name="connsiteY45705" fmla="*/ 1327395 h 6557032"/>
              <a:gd name="connsiteX45706" fmla="*/ 256927 w 4610101"/>
              <a:gd name="connsiteY45706" fmla="*/ 1321929 h 6557032"/>
              <a:gd name="connsiteX45707" fmla="*/ 249638 w 4610101"/>
              <a:gd name="connsiteY45707" fmla="*/ 1318284 h 6557032"/>
              <a:gd name="connsiteX45708" fmla="*/ 262393 w 4610101"/>
              <a:gd name="connsiteY45708" fmla="*/ 1318284 h 6557032"/>
              <a:gd name="connsiteX45709" fmla="*/ 131197 w 4610101"/>
              <a:gd name="connsiteY45709" fmla="*/ 1287307 h 6557032"/>
              <a:gd name="connsiteX45710" fmla="*/ 189506 w 4610101"/>
              <a:gd name="connsiteY45710" fmla="*/ 1305529 h 6557032"/>
              <a:gd name="connsiteX45711" fmla="*/ 165818 w 4610101"/>
              <a:gd name="connsiteY45711" fmla="*/ 1298240 h 6557032"/>
              <a:gd name="connsiteX45712" fmla="*/ 171285 w 4610101"/>
              <a:gd name="connsiteY45712" fmla="*/ 1298240 h 6557032"/>
              <a:gd name="connsiteX45713" fmla="*/ 156707 w 4610101"/>
              <a:gd name="connsiteY45713" fmla="*/ 1287307 h 6557032"/>
              <a:gd name="connsiteX45714" fmla="*/ 194973 w 4610101"/>
              <a:gd name="connsiteY45714" fmla="*/ 1300062 h 6557032"/>
              <a:gd name="connsiteX45715" fmla="*/ 189506 w 4610101"/>
              <a:gd name="connsiteY45715" fmla="*/ 1296418 h 6557032"/>
              <a:gd name="connsiteX45716" fmla="*/ 209550 w 4610101"/>
              <a:gd name="connsiteY45716" fmla="*/ 1300062 h 6557032"/>
              <a:gd name="connsiteX45717" fmla="*/ 191329 w 4610101"/>
              <a:gd name="connsiteY45717" fmla="*/ 1296418 h 6557032"/>
              <a:gd name="connsiteX45718" fmla="*/ 210204 w 4610101"/>
              <a:gd name="connsiteY45718" fmla="*/ 1298134 h 6557032"/>
              <a:gd name="connsiteX45719" fmla="*/ 213878 w 4610101"/>
              <a:gd name="connsiteY45719" fmla="*/ 1300746 h 6557032"/>
              <a:gd name="connsiteX45720" fmla="*/ 231416 w 4610101"/>
              <a:gd name="connsiteY45720" fmla="*/ 1301885 h 6557032"/>
              <a:gd name="connsiteX45721" fmla="*/ 194973 w 4610101"/>
              <a:gd name="connsiteY45721" fmla="*/ 1287307 h 6557032"/>
              <a:gd name="connsiteX45722" fmla="*/ 207006 w 4610101"/>
              <a:gd name="connsiteY45722" fmla="*/ 1295860 h 6557032"/>
              <a:gd name="connsiteX45723" fmla="*/ 165818 w 4610101"/>
              <a:gd name="connsiteY45723" fmla="*/ 1273413 h 6557032"/>
              <a:gd name="connsiteX45724" fmla="*/ 162174 w 4610101"/>
              <a:gd name="connsiteY45724" fmla="*/ 1270535 h 6557032"/>
              <a:gd name="connsiteX45725" fmla="*/ 180396 w 4610101"/>
              <a:gd name="connsiteY45725" fmla="*/ 1278196 h 6557032"/>
              <a:gd name="connsiteX45726" fmla="*/ 171285 w 4610101"/>
              <a:gd name="connsiteY45726" fmla="*/ 1270908 h 6557032"/>
              <a:gd name="connsiteX45727" fmla="*/ 218661 w 4610101"/>
              <a:gd name="connsiteY45727" fmla="*/ 1290951 h 6557032"/>
              <a:gd name="connsiteX45728" fmla="*/ 199991 w 4610101"/>
              <a:gd name="connsiteY45728" fmla="*/ 1280060 h 6557032"/>
              <a:gd name="connsiteX45729" fmla="*/ 198617 w 4610101"/>
              <a:gd name="connsiteY45729" fmla="*/ 1280060 h 6557032"/>
              <a:gd name="connsiteX45730" fmla="*/ 182217 w 4610101"/>
              <a:gd name="connsiteY45730" fmla="*/ 1267305 h 6557032"/>
              <a:gd name="connsiteX45731" fmla="*/ 197775 w 4610101"/>
              <a:gd name="connsiteY45731" fmla="*/ 1278196 h 6557032"/>
              <a:gd name="connsiteX45732" fmla="*/ 198617 w 4610101"/>
              <a:gd name="connsiteY45732" fmla="*/ 1278196 h 6557032"/>
              <a:gd name="connsiteX45733" fmla="*/ 225950 w 4610101"/>
              <a:gd name="connsiteY45733" fmla="*/ 1285485 h 6557032"/>
              <a:gd name="connsiteX45734" fmla="*/ 218661 w 4610101"/>
              <a:gd name="connsiteY45734" fmla="*/ 1280018 h 6557032"/>
              <a:gd name="connsiteX45735" fmla="*/ 242349 w 4610101"/>
              <a:gd name="connsiteY45735" fmla="*/ 1287307 h 6557032"/>
              <a:gd name="connsiteX45736" fmla="*/ 207045 w 4610101"/>
              <a:gd name="connsiteY45736" fmla="*/ 1270680 h 6557032"/>
              <a:gd name="connsiteX45737" fmla="*/ 196187 w 4610101"/>
              <a:gd name="connsiteY45737" fmla="*/ 1264923 h 6557032"/>
              <a:gd name="connsiteX45738" fmla="*/ 215017 w 4610101"/>
              <a:gd name="connsiteY45738" fmla="*/ 1269085 h 6557032"/>
              <a:gd name="connsiteX45739" fmla="*/ 202262 w 4610101"/>
              <a:gd name="connsiteY45739" fmla="*/ 1259975 h 6557032"/>
              <a:gd name="connsiteX45740" fmla="*/ 245994 w 4610101"/>
              <a:gd name="connsiteY45740" fmla="*/ 1280018 h 6557032"/>
              <a:gd name="connsiteX45741" fmla="*/ 244172 w 4610101"/>
              <a:gd name="connsiteY45741" fmla="*/ 1274552 h 6557032"/>
              <a:gd name="connsiteX45742" fmla="*/ 260571 w 4610101"/>
              <a:gd name="connsiteY45742" fmla="*/ 1283663 h 6557032"/>
              <a:gd name="connsiteX45743" fmla="*/ 251460 w 4610101"/>
              <a:gd name="connsiteY45743" fmla="*/ 1270908 h 6557032"/>
              <a:gd name="connsiteX45744" fmla="*/ 262393 w 4610101"/>
              <a:gd name="connsiteY45744" fmla="*/ 1280018 h 6557032"/>
              <a:gd name="connsiteX45745" fmla="*/ 260571 w 4610101"/>
              <a:gd name="connsiteY45745" fmla="*/ 1280018 h 6557032"/>
              <a:gd name="connsiteX45746" fmla="*/ 275149 w 4610101"/>
              <a:gd name="connsiteY45746" fmla="*/ 1287307 h 6557032"/>
              <a:gd name="connsiteX45747" fmla="*/ 269682 w 4610101"/>
              <a:gd name="connsiteY45747" fmla="*/ 1281841 h 6557032"/>
              <a:gd name="connsiteX45748" fmla="*/ 286082 w 4610101"/>
              <a:gd name="connsiteY45748" fmla="*/ 1283663 h 6557032"/>
              <a:gd name="connsiteX45749" fmla="*/ 278793 w 4610101"/>
              <a:gd name="connsiteY45749" fmla="*/ 1276374 h 6557032"/>
              <a:gd name="connsiteX45750" fmla="*/ 266762 w 4610101"/>
              <a:gd name="connsiteY45750" fmla="*/ 1270532 h 6557032"/>
              <a:gd name="connsiteX45751" fmla="*/ 266038 w 4610101"/>
              <a:gd name="connsiteY45751" fmla="*/ 1269085 h 6557032"/>
              <a:gd name="connsiteX45752" fmla="*/ 276971 w 4610101"/>
              <a:gd name="connsiteY45752" fmla="*/ 1267263 h 6557032"/>
              <a:gd name="connsiteX45753" fmla="*/ 275149 w 4610101"/>
              <a:gd name="connsiteY45753" fmla="*/ 1258152 h 6557032"/>
              <a:gd name="connsiteX45754" fmla="*/ 258749 w 4610101"/>
              <a:gd name="connsiteY45754" fmla="*/ 1259975 h 6557032"/>
              <a:gd name="connsiteX45755" fmla="*/ 254421 w 4610101"/>
              <a:gd name="connsiteY45755" fmla="*/ 1261797 h 6557032"/>
              <a:gd name="connsiteX45756" fmla="*/ 251929 w 4610101"/>
              <a:gd name="connsiteY45756" fmla="*/ 1263330 h 6557032"/>
              <a:gd name="connsiteX45757" fmla="*/ 239388 w 4610101"/>
              <a:gd name="connsiteY45757" fmla="*/ 1257241 h 6557032"/>
              <a:gd name="connsiteX45758" fmla="*/ 234684 w 4610101"/>
              <a:gd name="connsiteY45758" fmla="*/ 1255664 h 6557032"/>
              <a:gd name="connsiteX45759" fmla="*/ 233239 w 4610101"/>
              <a:gd name="connsiteY45759" fmla="*/ 1254508 h 6557032"/>
              <a:gd name="connsiteX45760" fmla="*/ 231236 w 4610101"/>
              <a:gd name="connsiteY45760" fmla="*/ 1254508 h 6557032"/>
              <a:gd name="connsiteX45761" fmla="*/ 198617 w 4610101"/>
              <a:gd name="connsiteY45761" fmla="*/ 1243575 h 6557032"/>
              <a:gd name="connsiteX45762" fmla="*/ 211372 w 4610101"/>
              <a:gd name="connsiteY45762" fmla="*/ 1245397 h 6557032"/>
              <a:gd name="connsiteX45763" fmla="*/ 202262 w 4610101"/>
              <a:gd name="connsiteY45763" fmla="*/ 1238108 h 6557032"/>
              <a:gd name="connsiteX45764" fmla="*/ 216839 w 4610101"/>
              <a:gd name="connsiteY45764" fmla="*/ 1245397 h 6557032"/>
              <a:gd name="connsiteX45765" fmla="*/ 209550 w 4610101"/>
              <a:gd name="connsiteY45765" fmla="*/ 1236286 h 6557032"/>
              <a:gd name="connsiteX45766" fmla="*/ 227772 w 4610101"/>
              <a:gd name="connsiteY45766" fmla="*/ 1243575 h 6557032"/>
              <a:gd name="connsiteX45767" fmla="*/ 196795 w 4610101"/>
              <a:gd name="connsiteY45767" fmla="*/ 1221709 h 6557032"/>
              <a:gd name="connsiteX45768" fmla="*/ 216839 w 4610101"/>
              <a:gd name="connsiteY45768" fmla="*/ 1236286 h 6557032"/>
              <a:gd name="connsiteX45769" fmla="*/ 211372 w 4610101"/>
              <a:gd name="connsiteY45769" fmla="*/ 1228998 h 6557032"/>
              <a:gd name="connsiteX45770" fmla="*/ 231416 w 4610101"/>
              <a:gd name="connsiteY45770" fmla="*/ 1238108 h 6557032"/>
              <a:gd name="connsiteX45771" fmla="*/ 227772 w 4610101"/>
              <a:gd name="connsiteY45771" fmla="*/ 1239931 h 6557032"/>
              <a:gd name="connsiteX45772" fmla="*/ 235061 w 4610101"/>
              <a:gd name="connsiteY45772" fmla="*/ 1245397 h 6557032"/>
              <a:gd name="connsiteX45773" fmla="*/ 231416 w 4610101"/>
              <a:gd name="connsiteY45773" fmla="*/ 1238108 h 6557032"/>
              <a:gd name="connsiteX45774" fmla="*/ 240527 w 4610101"/>
              <a:gd name="connsiteY45774" fmla="*/ 1243575 h 6557032"/>
              <a:gd name="connsiteX45775" fmla="*/ 239589 w 4610101"/>
              <a:gd name="connsiteY45775" fmla="*/ 1242261 h 6557032"/>
              <a:gd name="connsiteX45776" fmla="*/ 251460 w 4610101"/>
              <a:gd name="connsiteY45776" fmla="*/ 1245397 h 6557032"/>
              <a:gd name="connsiteX45777" fmla="*/ 238705 w 4610101"/>
              <a:gd name="connsiteY45777" fmla="*/ 1238108 h 6557032"/>
              <a:gd name="connsiteX45778" fmla="*/ 264216 w 4610101"/>
              <a:gd name="connsiteY45778" fmla="*/ 1245397 h 6557032"/>
              <a:gd name="connsiteX45779" fmla="*/ 251460 w 4610101"/>
              <a:gd name="connsiteY45779" fmla="*/ 1236286 h 6557032"/>
              <a:gd name="connsiteX45780" fmla="*/ 266038 w 4610101"/>
              <a:gd name="connsiteY45780" fmla="*/ 1241753 h 6557032"/>
              <a:gd name="connsiteX45781" fmla="*/ 256927 w 4610101"/>
              <a:gd name="connsiteY45781" fmla="*/ 1234464 h 6557032"/>
              <a:gd name="connsiteX45782" fmla="*/ 267860 w 4610101"/>
              <a:gd name="connsiteY45782" fmla="*/ 1241753 h 6557032"/>
              <a:gd name="connsiteX45783" fmla="*/ 271504 w 4610101"/>
              <a:gd name="connsiteY45783" fmla="*/ 1238108 h 6557032"/>
              <a:gd name="connsiteX45784" fmla="*/ 267860 w 4610101"/>
              <a:gd name="connsiteY45784" fmla="*/ 1234464 h 6557032"/>
              <a:gd name="connsiteX45785" fmla="*/ 289726 w 4610101"/>
              <a:gd name="connsiteY45785" fmla="*/ 1239931 h 6557032"/>
              <a:gd name="connsiteX45786" fmla="*/ 284259 w 4610101"/>
              <a:gd name="connsiteY45786" fmla="*/ 1227175 h 6557032"/>
              <a:gd name="connsiteX45787" fmla="*/ 307948 w 4610101"/>
              <a:gd name="connsiteY45787" fmla="*/ 1234464 h 6557032"/>
              <a:gd name="connsiteX45788" fmla="*/ 287677 w 4610101"/>
              <a:gd name="connsiteY45788" fmla="*/ 1224442 h 6557032"/>
              <a:gd name="connsiteX45789" fmla="*/ 280877 w 4610101"/>
              <a:gd name="connsiteY45789" fmla="*/ 1223011 h 6557032"/>
              <a:gd name="connsiteX45790" fmla="*/ 266038 w 4610101"/>
              <a:gd name="connsiteY45790" fmla="*/ 1219887 h 6557032"/>
              <a:gd name="connsiteX45791" fmla="*/ 267860 w 4610101"/>
              <a:gd name="connsiteY45791" fmla="*/ 1214420 h 6557032"/>
              <a:gd name="connsiteX45792" fmla="*/ 266038 w 4610101"/>
              <a:gd name="connsiteY45792" fmla="*/ 1212598 h 6557032"/>
              <a:gd name="connsiteX45793" fmla="*/ 262393 w 4610101"/>
              <a:gd name="connsiteY45793" fmla="*/ 1208954 h 6557032"/>
              <a:gd name="connsiteX45794" fmla="*/ 275149 w 4610101"/>
              <a:gd name="connsiteY45794" fmla="*/ 1214420 h 6557032"/>
              <a:gd name="connsiteX45795" fmla="*/ 271504 w 4610101"/>
              <a:gd name="connsiteY45795" fmla="*/ 1208954 h 6557032"/>
              <a:gd name="connsiteX45796" fmla="*/ 276971 w 4610101"/>
              <a:gd name="connsiteY45796" fmla="*/ 1210776 h 6557032"/>
              <a:gd name="connsiteX45797" fmla="*/ 271504 w 4610101"/>
              <a:gd name="connsiteY45797" fmla="*/ 1207132 h 6557032"/>
              <a:gd name="connsiteX45798" fmla="*/ 271504 w 4610101"/>
              <a:gd name="connsiteY45798" fmla="*/ 1208954 h 6557032"/>
              <a:gd name="connsiteX45799" fmla="*/ 240527 w 4610101"/>
              <a:gd name="connsiteY45799" fmla="*/ 1207132 h 6557032"/>
              <a:gd name="connsiteX45800" fmla="*/ 255105 w 4610101"/>
              <a:gd name="connsiteY45800" fmla="*/ 1212598 h 6557032"/>
              <a:gd name="connsiteX45801" fmla="*/ 247816 w 4610101"/>
              <a:gd name="connsiteY45801" fmla="*/ 1210776 h 6557032"/>
              <a:gd name="connsiteX45802" fmla="*/ 255105 w 4610101"/>
              <a:gd name="connsiteY45802" fmla="*/ 1223531 h 6557032"/>
              <a:gd name="connsiteX45803" fmla="*/ 229594 w 4610101"/>
              <a:gd name="connsiteY45803" fmla="*/ 1208954 h 6557032"/>
              <a:gd name="connsiteX45804" fmla="*/ 229594 w 4610101"/>
              <a:gd name="connsiteY45804" fmla="*/ 1205309 h 6557032"/>
              <a:gd name="connsiteX45805" fmla="*/ 215017 w 4610101"/>
              <a:gd name="connsiteY45805" fmla="*/ 1199843 h 6557032"/>
              <a:gd name="connsiteX45806" fmla="*/ 238705 w 4610101"/>
              <a:gd name="connsiteY45806" fmla="*/ 1205309 h 6557032"/>
              <a:gd name="connsiteX45807" fmla="*/ 225950 w 4610101"/>
              <a:gd name="connsiteY45807" fmla="*/ 1196199 h 6557032"/>
              <a:gd name="connsiteX45808" fmla="*/ 185862 w 4610101"/>
              <a:gd name="connsiteY45808" fmla="*/ 1210776 h 6557032"/>
              <a:gd name="connsiteX45809" fmla="*/ 185862 w 4610101"/>
              <a:gd name="connsiteY45809" fmla="*/ 1205309 h 6557032"/>
              <a:gd name="connsiteX45810" fmla="*/ 176751 w 4610101"/>
              <a:gd name="connsiteY45810" fmla="*/ 1207132 h 6557032"/>
              <a:gd name="connsiteX45811" fmla="*/ 191329 w 4610101"/>
              <a:gd name="connsiteY45811" fmla="*/ 1198021 h 6557032"/>
              <a:gd name="connsiteX45812" fmla="*/ 187684 w 4610101"/>
              <a:gd name="connsiteY45812" fmla="*/ 1196199 h 6557032"/>
              <a:gd name="connsiteX45813" fmla="*/ 193151 w 4610101"/>
              <a:gd name="connsiteY45813" fmla="*/ 1194376 h 6557032"/>
              <a:gd name="connsiteX45814" fmla="*/ 167640 w 4610101"/>
              <a:gd name="connsiteY45814" fmla="*/ 1190732 h 6557032"/>
              <a:gd name="connsiteX45815" fmla="*/ 184040 w 4610101"/>
              <a:gd name="connsiteY45815" fmla="*/ 1198021 h 6557032"/>
              <a:gd name="connsiteX45816" fmla="*/ 165818 w 4610101"/>
              <a:gd name="connsiteY45816" fmla="*/ 1199843 h 6557032"/>
              <a:gd name="connsiteX45817" fmla="*/ 174929 w 4610101"/>
              <a:gd name="connsiteY45817" fmla="*/ 1198021 h 6557032"/>
              <a:gd name="connsiteX45818" fmla="*/ 170857 w 4610101"/>
              <a:gd name="connsiteY45818" fmla="*/ 1197378 h 6557032"/>
              <a:gd name="connsiteX45819" fmla="*/ 176751 w 4610101"/>
              <a:gd name="connsiteY45819" fmla="*/ 1196199 h 6557032"/>
              <a:gd name="connsiteX45820" fmla="*/ 164710 w 4610101"/>
              <a:gd name="connsiteY45820" fmla="*/ 1189318 h 6557032"/>
              <a:gd name="connsiteX45821" fmla="*/ 176751 w 4610101"/>
              <a:gd name="connsiteY45821" fmla="*/ 1188910 h 6557032"/>
              <a:gd name="connsiteX45822" fmla="*/ 94753 w 4610101"/>
              <a:gd name="connsiteY45822" fmla="*/ 1168866 h 6557032"/>
              <a:gd name="connsiteX45823" fmla="*/ 105686 w 4610101"/>
              <a:gd name="connsiteY45823" fmla="*/ 1167044 h 6557032"/>
              <a:gd name="connsiteX45824" fmla="*/ 96576 w 4610101"/>
              <a:gd name="connsiteY45824" fmla="*/ 1159755 h 6557032"/>
              <a:gd name="connsiteX45825" fmla="*/ 107509 w 4610101"/>
              <a:gd name="connsiteY45825" fmla="*/ 1161577 h 6557032"/>
              <a:gd name="connsiteX45826" fmla="*/ 99627 w 4610101"/>
              <a:gd name="connsiteY45826" fmla="*/ 1156158 h 6557032"/>
              <a:gd name="connsiteX45827" fmla="*/ 96576 w 4610101"/>
              <a:gd name="connsiteY45827" fmla="*/ 1156158 h 6557032"/>
              <a:gd name="connsiteX45828" fmla="*/ 94753 w 4610101"/>
              <a:gd name="connsiteY45828" fmla="*/ 1156158 h 6557032"/>
              <a:gd name="connsiteX45829" fmla="*/ 93304 w 4610101"/>
              <a:gd name="connsiteY45829" fmla="*/ 1151811 h 6557032"/>
              <a:gd name="connsiteX45830" fmla="*/ 78354 w 4610101"/>
              <a:gd name="connsiteY45830" fmla="*/ 1141533 h 6557032"/>
              <a:gd name="connsiteX45831" fmla="*/ 81998 w 4610101"/>
              <a:gd name="connsiteY45831" fmla="*/ 1145178 h 6557032"/>
              <a:gd name="connsiteX45832" fmla="*/ 76532 w 4610101"/>
              <a:gd name="connsiteY45832" fmla="*/ 1141533 h 6557032"/>
              <a:gd name="connsiteX45833" fmla="*/ 56488 w 4610101"/>
              <a:gd name="connsiteY45833" fmla="*/ 1114201 h 6557032"/>
              <a:gd name="connsiteX45834" fmla="*/ 65599 w 4610101"/>
              <a:gd name="connsiteY45834" fmla="*/ 1125134 h 6557032"/>
              <a:gd name="connsiteX45835" fmla="*/ 60132 w 4610101"/>
              <a:gd name="connsiteY45835" fmla="*/ 1114201 h 6557032"/>
              <a:gd name="connsiteX45836" fmla="*/ 131197 w 4610101"/>
              <a:gd name="connsiteY45836" fmla="*/ 1165222 h 6557032"/>
              <a:gd name="connsiteX45837" fmla="*/ 120264 w 4610101"/>
              <a:gd name="connsiteY45837" fmla="*/ 1157933 h 6557032"/>
              <a:gd name="connsiteX45838" fmla="*/ 129375 w 4610101"/>
              <a:gd name="connsiteY45838" fmla="*/ 1159755 h 6557032"/>
              <a:gd name="connsiteX45839" fmla="*/ 83820 w 4610101"/>
              <a:gd name="connsiteY45839" fmla="*/ 1117845 h 6557032"/>
              <a:gd name="connsiteX45840" fmla="*/ 91109 w 4610101"/>
              <a:gd name="connsiteY45840" fmla="*/ 1121489 h 6557032"/>
              <a:gd name="connsiteX45841" fmla="*/ 89287 w 4610101"/>
              <a:gd name="connsiteY45841" fmla="*/ 1116023 h 6557032"/>
              <a:gd name="connsiteX45842" fmla="*/ 99992 w 4610101"/>
              <a:gd name="connsiteY45842" fmla="*/ 1129917 h 6557032"/>
              <a:gd name="connsiteX45843" fmla="*/ 100794 w 4610101"/>
              <a:gd name="connsiteY45843" fmla="*/ 1130743 h 6557032"/>
              <a:gd name="connsiteX45844" fmla="*/ 100220 w 4610101"/>
              <a:gd name="connsiteY45844" fmla="*/ 1130600 h 6557032"/>
              <a:gd name="connsiteX45845" fmla="*/ 101656 w 4610101"/>
              <a:gd name="connsiteY45845" fmla="*/ 1131632 h 6557032"/>
              <a:gd name="connsiteX45846" fmla="*/ 114797 w 4610101"/>
              <a:gd name="connsiteY45846" fmla="*/ 1145178 h 6557032"/>
              <a:gd name="connsiteX45847" fmla="*/ 107508 w 4610101"/>
              <a:gd name="connsiteY45847" fmla="*/ 1135839 h 6557032"/>
              <a:gd name="connsiteX45848" fmla="*/ 101656 w 4610101"/>
              <a:gd name="connsiteY45848" fmla="*/ 1131632 h 6557032"/>
              <a:gd name="connsiteX45849" fmla="*/ 100794 w 4610101"/>
              <a:gd name="connsiteY45849" fmla="*/ 1130743 h 6557032"/>
              <a:gd name="connsiteX45850" fmla="*/ 107509 w 4610101"/>
              <a:gd name="connsiteY45850" fmla="*/ 1132422 h 6557032"/>
              <a:gd name="connsiteX45851" fmla="*/ 102042 w 4610101"/>
              <a:gd name="connsiteY45851" fmla="*/ 1121489 h 6557032"/>
              <a:gd name="connsiteX45852" fmla="*/ 138486 w 4610101"/>
              <a:gd name="connsiteY45852" fmla="*/ 1163399 h 6557032"/>
              <a:gd name="connsiteX45853" fmla="*/ 138486 w 4610101"/>
              <a:gd name="connsiteY45853" fmla="*/ 1159755 h 6557032"/>
              <a:gd name="connsiteX45854" fmla="*/ 149419 w 4610101"/>
              <a:gd name="connsiteY45854" fmla="*/ 1167044 h 6557032"/>
              <a:gd name="connsiteX45855" fmla="*/ 105686 w 4610101"/>
              <a:gd name="connsiteY45855" fmla="*/ 1110556 h 6557032"/>
              <a:gd name="connsiteX45856" fmla="*/ 129375 w 4610101"/>
              <a:gd name="connsiteY45856" fmla="*/ 1139711 h 6557032"/>
              <a:gd name="connsiteX45857" fmla="*/ 129375 w 4610101"/>
              <a:gd name="connsiteY45857" fmla="*/ 1137889 h 6557032"/>
              <a:gd name="connsiteX45858" fmla="*/ 136663 w 4610101"/>
              <a:gd name="connsiteY45858" fmla="*/ 1141533 h 6557032"/>
              <a:gd name="connsiteX45859" fmla="*/ 133019 w 4610101"/>
              <a:gd name="connsiteY45859" fmla="*/ 1137889 h 6557032"/>
              <a:gd name="connsiteX45860" fmla="*/ 163996 w 4610101"/>
              <a:gd name="connsiteY45860" fmla="*/ 1165222 h 6557032"/>
              <a:gd name="connsiteX45861" fmla="*/ 153063 w 4610101"/>
              <a:gd name="connsiteY45861" fmla="*/ 1141533 h 6557032"/>
              <a:gd name="connsiteX45862" fmla="*/ 204084 w 4610101"/>
              <a:gd name="connsiteY45862" fmla="*/ 1183443 h 6557032"/>
              <a:gd name="connsiteX45863" fmla="*/ 176751 w 4610101"/>
              <a:gd name="connsiteY45863" fmla="*/ 1163399 h 6557032"/>
              <a:gd name="connsiteX45864" fmla="*/ 182218 w 4610101"/>
              <a:gd name="connsiteY45864" fmla="*/ 1163399 h 6557032"/>
              <a:gd name="connsiteX45865" fmla="*/ 146768 w 4610101"/>
              <a:gd name="connsiteY45865" fmla="*/ 1134410 h 6557032"/>
              <a:gd name="connsiteX45866" fmla="*/ 184040 w 4610101"/>
              <a:gd name="connsiteY45866" fmla="*/ 1159755 h 6557032"/>
              <a:gd name="connsiteX45867" fmla="*/ 187684 w 4610101"/>
              <a:gd name="connsiteY45867" fmla="*/ 1163399 h 6557032"/>
              <a:gd name="connsiteX45868" fmla="*/ 193151 w 4610101"/>
              <a:gd name="connsiteY45868" fmla="*/ 1163399 h 6557032"/>
              <a:gd name="connsiteX45869" fmla="*/ 183259 w 4610101"/>
              <a:gd name="connsiteY45869" fmla="*/ 1158453 h 6557032"/>
              <a:gd name="connsiteX45870" fmla="*/ 178573 w 4610101"/>
              <a:gd name="connsiteY45870" fmla="*/ 1150644 h 6557032"/>
              <a:gd name="connsiteX45871" fmla="*/ 200439 w 4610101"/>
              <a:gd name="connsiteY45871" fmla="*/ 1163399 h 6557032"/>
              <a:gd name="connsiteX45872" fmla="*/ 187684 w 4610101"/>
              <a:gd name="connsiteY45872" fmla="*/ 1154288 h 6557032"/>
              <a:gd name="connsiteX45873" fmla="*/ 191329 w 4610101"/>
              <a:gd name="connsiteY45873" fmla="*/ 1152466 h 6557032"/>
              <a:gd name="connsiteX45874" fmla="*/ 169462 w 4610101"/>
              <a:gd name="connsiteY45874" fmla="*/ 1141533 h 6557032"/>
              <a:gd name="connsiteX45875" fmla="*/ 178573 w 4610101"/>
              <a:gd name="connsiteY45875" fmla="*/ 1141533 h 6557032"/>
              <a:gd name="connsiteX45876" fmla="*/ 151241 w 4610101"/>
              <a:gd name="connsiteY45876" fmla="*/ 1117845 h 6557032"/>
              <a:gd name="connsiteX45877" fmla="*/ 200439 w 4610101"/>
              <a:gd name="connsiteY45877" fmla="*/ 1143355 h 6557032"/>
              <a:gd name="connsiteX45878" fmla="*/ 180396 w 4610101"/>
              <a:gd name="connsiteY45878" fmla="*/ 1125134 h 6557032"/>
              <a:gd name="connsiteX45879" fmla="*/ 189506 w 4610101"/>
              <a:gd name="connsiteY45879" fmla="*/ 1126956 h 6557032"/>
              <a:gd name="connsiteX45880" fmla="*/ 166729 w 4610101"/>
              <a:gd name="connsiteY45880" fmla="*/ 1114884 h 6557032"/>
              <a:gd name="connsiteX45881" fmla="*/ 160113 w 4610101"/>
              <a:gd name="connsiteY45881" fmla="*/ 1110981 h 6557032"/>
              <a:gd name="connsiteX45882" fmla="*/ 173107 w 4610101"/>
              <a:gd name="connsiteY45882" fmla="*/ 1116023 h 6557032"/>
              <a:gd name="connsiteX45883" fmla="*/ 173107 w 4610101"/>
              <a:gd name="connsiteY45883" fmla="*/ 1108734 h 6557032"/>
              <a:gd name="connsiteX45884" fmla="*/ 154885 w 4610101"/>
              <a:gd name="connsiteY45884" fmla="*/ 1095979 h 6557032"/>
              <a:gd name="connsiteX45885" fmla="*/ 158529 w 4610101"/>
              <a:gd name="connsiteY45885" fmla="*/ 1097801 h 6557032"/>
              <a:gd name="connsiteX45886" fmla="*/ 149419 w 4610101"/>
              <a:gd name="connsiteY45886" fmla="*/ 1092335 h 6557032"/>
              <a:gd name="connsiteX45887" fmla="*/ 151241 w 4610101"/>
              <a:gd name="connsiteY45887" fmla="*/ 1094157 h 6557032"/>
              <a:gd name="connsiteX45888" fmla="*/ 87465 w 4610101"/>
              <a:gd name="connsiteY45888" fmla="*/ 1032203 h 6557032"/>
              <a:gd name="connsiteX45889" fmla="*/ 163996 w 4610101"/>
              <a:gd name="connsiteY45889" fmla="*/ 1101445 h 6557032"/>
              <a:gd name="connsiteX45890" fmla="*/ 160352 w 4610101"/>
              <a:gd name="connsiteY45890" fmla="*/ 1095979 h 6557032"/>
              <a:gd name="connsiteX45891" fmla="*/ 187684 w 4610101"/>
              <a:gd name="connsiteY45891" fmla="*/ 1110556 h 6557032"/>
              <a:gd name="connsiteX45892" fmla="*/ 156707 w 4610101"/>
              <a:gd name="connsiteY45892" fmla="*/ 1090512 h 6557032"/>
              <a:gd name="connsiteX45893" fmla="*/ 162174 w 4610101"/>
              <a:gd name="connsiteY45893" fmla="*/ 1095979 h 6557032"/>
              <a:gd name="connsiteX45894" fmla="*/ 109331 w 4610101"/>
              <a:gd name="connsiteY45894" fmla="*/ 1052247 h 6557032"/>
              <a:gd name="connsiteX45895" fmla="*/ 140308 w 4610101"/>
              <a:gd name="connsiteY45895" fmla="*/ 1075935 h 6557032"/>
              <a:gd name="connsiteX45896" fmla="*/ 133019 w 4610101"/>
              <a:gd name="connsiteY45896" fmla="*/ 1066824 h 6557032"/>
              <a:gd name="connsiteX45897" fmla="*/ 143952 w 4610101"/>
              <a:gd name="connsiteY45897" fmla="*/ 1074113 h 6557032"/>
              <a:gd name="connsiteX45898" fmla="*/ 136663 w 4610101"/>
              <a:gd name="connsiteY45898" fmla="*/ 1066824 h 6557032"/>
              <a:gd name="connsiteX45899" fmla="*/ 142130 w 4610101"/>
              <a:gd name="connsiteY45899" fmla="*/ 1066824 h 6557032"/>
              <a:gd name="connsiteX45900" fmla="*/ 127552 w 4610101"/>
              <a:gd name="connsiteY45900" fmla="*/ 1054069 h 6557032"/>
              <a:gd name="connsiteX45901" fmla="*/ 129375 w 4610101"/>
              <a:gd name="connsiteY45901" fmla="*/ 1052247 h 6557032"/>
              <a:gd name="connsiteX45902" fmla="*/ 94756 w 4610101"/>
              <a:gd name="connsiteY45902" fmla="*/ 1028561 h 6557032"/>
              <a:gd name="connsiteX45903" fmla="*/ 87465 w 4610101"/>
              <a:gd name="connsiteY45903" fmla="*/ 1021270 h 6557032"/>
              <a:gd name="connsiteX45904" fmla="*/ 103864 w 4610101"/>
              <a:gd name="connsiteY45904" fmla="*/ 1030381 h 6557032"/>
              <a:gd name="connsiteX45905" fmla="*/ 89287 w 4610101"/>
              <a:gd name="connsiteY45905" fmla="*/ 1015803 h 6557032"/>
              <a:gd name="connsiteX45906" fmla="*/ 91109 w 4610101"/>
              <a:gd name="connsiteY45906" fmla="*/ 1013981 h 6557032"/>
              <a:gd name="connsiteX45907" fmla="*/ 105231 w 4610101"/>
              <a:gd name="connsiteY45907" fmla="*/ 1027192 h 6557032"/>
              <a:gd name="connsiteX45908" fmla="*/ 119520 w 4610101"/>
              <a:gd name="connsiteY45908" fmla="*/ 1031440 h 6557032"/>
              <a:gd name="connsiteX45909" fmla="*/ 120264 w 4610101"/>
              <a:gd name="connsiteY45909" fmla="*/ 1032203 h 6557032"/>
              <a:gd name="connsiteX45910" fmla="*/ 120135 w 4610101"/>
              <a:gd name="connsiteY45910" fmla="*/ 1031623 h 6557032"/>
              <a:gd name="connsiteX45911" fmla="*/ 120875 w 4610101"/>
              <a:gd name="connsiteY45911" fmla="*/ 1031842 h 6557032"/>
              <a:gd name="connsiteX45912" fmla="*/ 125730 w 4610101"/>
              <a:gd name="connsiteY45912" fmla="*/ 1037669 h 6557032"/>
              <a:gd name="connsiteX45913" fmla="*/ 142130 w 4610101"/>
              <a:gd name="connsiteY45913" fmla="*/ 1039492 h 6557032"/>
              <a:gd name="connsiteX45914" fmla="*/ 136663 w 4610101"/>
              <a:gd name="connsiteY45914" fmla="*/ 1034025 h 6557032"/>
              <a:gd name="connsiteX45915" fmla="*/ 138486 w 4610101"/>
              <a:gd name="connsiteY45915" fmla="*/ 1037669 h 6557032"/>
              <a:gd name="connsiteX45916" fmla="*/ 112064 w 4610101"/>
              <a:gd name="connsiteY45916" fmla="*/ 1016486 h 6557032"/>
              <a:gd name="connsiteX45917" fmla="*/ 95368 w 4610101"/>
              <a:gd name="connsiteY45917" fmla="*/ 1002238 h 6557032"/>
              <a:gd name="connsiteX45918" fmla="*/ 78581 w 4610101"/>
              <a:gd name="connsiteY45918" fmla="*/ 981865 h 6557032"/>
              <a:gd name="connsiteX45919" fmla="*/ 56488 w 4610101"/>
              <a:gd name="connsiteY45919" fmla="*/ 952026 h 6557032"/>
              <a:gd name="connsiteX45920" fmla="*/ 63776 w 4610101"/>
              <a:gd name="connsiteY45920" fmla="*/ 957494 h 6557032"/>
              <a:gd name="connsiteX45921" fmla="*/ 29155 w 4610101"/>
              <a:gd name="connsiteY45921" fmla="*/ 908295 h 6557032"/>
              <a:gd name="connsiteX45922" fmla="*/ 96576 w 4610101"/>
              <a:gd name="connsiteY45922" fmla="*/ 981182 h 6557032"/>
              <a:gd name="connsiteX45923" fmla="*/ 78354 w 4610101"/>
              <a:gd name="connsiteY45923" fmla="*/ 953848 h 6557032"/>
              <a:gd name="connsiteX45924" fmla="*/ 87465 w 4610101"/>
              <a:gd name="connsiteY45924" fmla="*/ 961138 h 6557032"/>
              <a:gd name="connsiteX45925" fmla="*/ 78354 w 4610101"/>
              <a:gd name="connsiteY45925" fmla="*/ 942916 h 6557032"/>
              <a:gd name="connsiteX45926" fmla="*/ 110698 w 4610101"/>
              <a:gd name="connsiteY45926" fmla="*/ 992798 h 6557032"/>
              <a:gd name="connsiteX45927" fmla="*/ 149131 w 4610101"/>
              <a:gd name="connsiteY45927" fmla="*/ 1033606 h 6557032"/>
              <a:gd name="connsiteX45928" fmla="*/ 151696 w 4610101"/>
              <a:gd name="connsiteY45928" fmla="*/ 1037897 h 6557032"/>
              <a:gd name="connsiteX45929" fmla="*/ 173107 w 4610101"/>
              <a:gd name="connsiteY45929" fmla="*/ 1055891 h 6557032"/>
              <a:gd name="connsiteX45930" fmla="*/ 138486 w 4610101"/>
              <a:gd name="connsiteY45930" fmla="*/ 1015803 h 6557032"/>
              <a:gd name="connsiteX45931" fmla="*/ 143772 w 4610101"/>
              <a:gd name="connsiteY45931" fmla="*/ 1024644 h 6557032"/>
              <a:gd name="connsiteX45932" fmla="*/ 133019 w 4610101"/>
              <a:gd name="connsiteY45932" fmla="*/ 1008515 h 6557032"/>
              <a:gd name="connsiteX45933" fmla="*/ 136663 w 4610101"/>
              <a:gd name="connsiteY45933" fmla="*/ 1010337 h 6557032"/>
              <a:gd name="connsiteX45934" fmla="*/ 131197 w 4610101"/>
              <a:gd name="connsiteY45934" fmla="*/ 1003047 h 6557032"/>
              <a:gd name="connsiteX45935" fmla="*/ 154202 w 4610101"/>
              <a:gd name="connsiteY45935" fmla="*/ 1029241 h 6557032"/>
              <a:gd name="connsiteX45936" fmla="*/ 175081 w 4610101"/>
              <a:gd name="connsiteY45936" fmla="*/ 1050512 h 6557032"/>
              <a:gd name="connsiteX45937" fmla="*/ 174929 w 4610101"/>
              <a:gd name="connsiteY45937" fmla="*/ 1050425 h 6557032"/>
              <a:gd name="connsiteX45938" fmla="*/ 178573 w 4610101"/>
              <a:gd name="connsiteY45938" fmla="*/ 1054069 h 6557032"/>
              <a:gd name="connsiteX45939" fmla="*/ 175081 w 4610101"/>
              <a:gd name="connsiteY45939" fmla="*/ 1050512 h 6557032"/>
              <a:gd name="connsiteX45940" fmla="*/ 182901 w 4610101"/>
              <a:gd name="connsiteY45940" fmla="*/ 1054980 h 6557032"/>
              <a:gd name="connsiteX45941" fmla="*/ 189506 w 4610101"/>
              <a:gd name="connsiteY45941" fmla="*/ 1059535 h 6557032"/>
              <a:gd name="connsiteX45942" fmla="*/ 182218 w 4610101"/>
              <a:gd name="connsiteY45942" fmla="*/ 1048602 h 6557032"/>
              <a:gd name="connsiteX45943" fmla="*/ 187684 w 4610101"/>
              <a:gd name="connsiteY45943" fmla="*/ 1048602 h 6557032"/>
              <a:gd name="connsiteX45944" fmla="*/ 177777 w 4610101"/>
              <a:gd name="connsiteY45944" fmla="*/ 1040346 h 6557032"/>
              <a:gd name="connsiteX45945" fmla="*/ 170373 w 4610101"/>
              <a:gd name="connsiteY45945" fmla="*/ 1032658 h 6557032"/>
              <a:gd name="connsiteX45946" fmla="*/ 158534 w 4610101"/>
              <a:gd name="connsiteY45946" fmla="*/ 1023096 h 6557032"/>
              <a:gd name="connsiteX45947" fmla="*/ 149418 w 4610101"/>
              <a:gd name="connsiteY45947" fmla="*/ 1013981 h 6557032"/>
              <a:gd name="connsiteX45948" fmla="*/ 136663 w 4610101"/>
              <a:gd name="connsiteY45948" fmla="*/ 1001226 h 6557032"/>
              <a:gd name="connsiteX45949" fmla="*/ 169462 w 4610101"/>
              <a:gd name="connsiteY45949" fmla="*/ 1024914 h 6557032"/>
              <a:gd name="connsiteX45950" fmla="*/ 163996 w 4610101"/>
              <a:gd name="connsiteY45950" fmla="*/ 1012159 h 6557032"/>
              <a:gd name="connsiteX45951" fmla="*/ 179257 w 4610101"/>
              <a:gd name="connsiteY45951" fmla="*/ 1028558 h 6557032"/>
              <a:gd name="connsiteX45952" fmla="*/ 190242 w 4610101"/>
              <a:gd name="connsiteY45952" fmla="*/ 1041524 h 6557032"/>
              <a:gd name="connsiteX45953" fmla="*/ 189506 w 4610101"/>
              <a:gd name="connsiteY45953" fmla="*/ 1041314 h 6557032"/>
              <a:gd name="connsiteX45954" fmla="*/ 194973 w 4610101"/>
              <a:gd name="connsiteY45954" fmla="*/ 1046780 h 6557032"/>
              <a:gd name="connsiteX45955" fmla="*/ 194290 w 4610101"/>
              <a:gd name="connsiteY45955" fmla="*/ 1042680 h 6557032"/>
              <a:gd name="connsiteX45956" fmla="*/ 191007 w 4610101"/>
              <a:gd name="connsiteY45956" fmla="*/ 1041742 h 6557032"/>
              <a:gd name="connsiteX45957" fmla="*/ 171285 w 4610101"/>
              <a:gd name="connsiteY45957" fmla="*/ 1012159 h 6557032"/>
              <a:gd name="connsiteX45958" fmla="*/ 193151 w 4610101"/>
              <a:gd name="connsiteY45958" fmla="*/ 1035847 h 6557032"/>
              <a:gd name="connsiteX45959" fmla="*/ 185866 w 4610101"/>
              <a:gd name="connsiteY45959" fmla="*/ 1026740 h 6557032"/>
              <a:gd name="connsiteX45960" fmla="*/ 196795 w 4610101"/>
              <a:gd name="connsiteY45960" fmla="*/ 1037669 h 6557032"/>
              <a:gd name="connsiteX45961" fmla="*/ 185865 w 4610101"/>
              <a:gd name="connsiteY45961" fmla="*/ 1026739 h 6557032"/>
              <a:gd name="connsiteX45962" fmla="*/ 178573 w 4610101"/>
              <a:gd name="connsiteY45962" fmla="*/ 1019448 h 6557032"/>
              <a:gd name="connsiteX45963" fmla="*/ 185862 w 4610101"/>
              <a:gd name="connsiteY45963" fmla="*/ 1019448 h 6557032"/>
              <a:gd name="connsiteX45964" fmla="*/ 158529 w 4610101"/>
              <a:gd name="connsiteY45964" fmla="*/ 999403 h 6557032"/>
              <a:gd name="connsiteX45965" fmla="*/ 160352 w 4610101"/>
              <a:gd name="connsiteY45965" fmla="*/ 1013981 h 6557032"/>
              <a:gd name="connsiteX45966" fmla="*/ 147596 w 4610101"/>
              <a:gd name="connsiteY45966" fmla="*/ 1004870 h 6557032"/>
              <a:gd name="connsiteX45967" fmla="*/ 153063 w 4610101"/>
              <a:gd name="connsiteY45967" fmla="*/ 1006692 h 6557032"/>
              <a:gd name="connsiteX45968" fmla="*/ 156707 w 4610101"/>
              <a:gd name="connsiteY45968" fmla="*/ 1001226 h 6557032"/>
              <a:gd name="connsiteX45969" fmla="*/ 142130 w 4610101"/>
              <a:gd name="connsiteY45969" fmla="*/ 997582 h 6557032"/>
              <a:gd name="connsiteX45970" fmla="*/ 153063 w 4610101"/>
              <a:gd name="connsiteY45970" fmla="*/ 995759 h 6557032"/>
              <a:gd name="connsiteX45971" fmla="*/ 106930 w 4610101"/>
              <a:gd name="connsiteY45971" fmla="*/ 962352 h 6557032"/>
              <a:gd name="connsiteX45972" fmla="*/ 93387 w 4610101"/>
              <a:gd name="connsiteY45972" fmla="*/ 948155 h 6557032"/>
              <a:gd name="connsiteX45973" fmla="*/ 81998 w 4610101"/>
              <a:gd name="connsiteY45973" fmla="*/ 931983 h 6557032"/>
              <a:gd name="connsiteX45974" fmla="*/ 122086 w 4610101"/>
              <a:gd name="connsiteY45974" fmla="*/ 972071 h 6557032"/>
              <a:gd name="connsiteX45975" fmla="*/ 120264 w 4610101"/>
              <a:gd name="connsiteY45975" fmla="*/ 966604 h 6557032"/>
              <a:gd name="connsiteX45976" fmla="*/ 147596 w 4610101"/>
              <a:gd name="connsiteY45976" fmla="*/ 986649 h 6557032"/>
              <a:gd name="connsiteX45977" fmla="*/ 114797 w 4610101"/>
              <a:gd name="connsiteY45977" fmla="*/ 946560 h 6557032"/>
              <a:gd name="connsiteX45978" fmla="*/ 161434 w 4610101"/>
              <a:gd name="connsiteY45978" fmla="*/ 993197 h 6557032"/>
              <a:gd name="connsiteX45979" fmla="*/ 181771 w 4610101"/>
              <a:gd name="connsiteY45979" fmla="*/ 1001053 h 6557032"/>
              <a:gd name="connsiteX45980" fmla="*/ 189506 w 4610101"/>
              <a:gd name="connsiteY45980" fmla="*/ 1010337 h 6557032"/>
              <a:gd name="connsiteX45981" fmla="*/ 186364 w 4610101"/>
              <a:gd name="connsiteY45981" fmla="*/ 1002874 h 6557032"/>
              <a:gd name="connsiteX45982" fmla="*/ 188140 w 4610101"/>
              <a:gd name="connsiteY45982" fmla="*/ 1005326 h 6557032"/>
              <a:gd name="connsiteX45983" fmla="*/ 200439 w 4610101"/>
              <a:gd name="connsiteY45983" fmla="*/ 1010337 h 6557032"/>
              <a:gd name="connsiteX45984" fmla="*/ 178573 w 4610101"/>
              <a:gd name="connsiteY45984" fmla="*/ 992115 h 6557032"/>
              <a:gd name="connsiteX45985" fmla="*/ 182050 w 4610101"/>
              <a:gd name="connsiteY45985" fmla="*/ 996916 h 6557032"/>
              <a:gd name="connsiteX45986" fmla="*/ 176751 w 4610101"/>
              <a:gd name="connsiteY45986" fmla="*/ 990293 h 6557032"/>
              <a:gd name="connsiteX45987" fmla="*/ 176751 w 4610101"/>
              <a:gd name="connsiteY45987" fmla="*/ 995759 h 6557032"/>
              <a:gd name="connsiteX45988" fmla="*/ 162174 w 4610101"/>
              <a:gd name="connsiteY45988" fmla="*/ 988471 h 6557032"/>
              <a:gd name="connsiteX45989" fmla="*/ 173107 w 4610101"/>
              <a:gd name="connsiteY45989" fmla="*/ 990293 h 6557032"/>
              <a:gd name="connsiteX45990" fmla="*/ 156707 w 4610101"/>
              <a:gd name="connsiteY45990" fmla="*/ 981182 h 6557032"/>
              <a:gd name="connsiteX45991" fmla="*/ 169462 w 4610101"/>
              <a:gd name="connsiteY45991" fmla="*/ 983004 h 6557032"/>
              <a:gd name="connsiteX45992" fmla="*/ 165589 w 4610101"/>
              <a:gd name="connsiteY45992" fmla="*/ 980237 h 6557032"/>
              <a:gd name="connsiteX45993" fmla="*/ 171285 w 4610101"/>
              <a:gd name="connsiteY45993" fmla="*/ 983004 h 6557032"/>
              <a:gd name="connsiteX45994" fmla="*/ 160352 w 4610101"/>
              <a:gd name="connsiteY45994" fmla="*/ 972071 h 6557032"/>
              <a:gd name="connsiteX45995" fmla="*/ 193151 w 4610101"/>
              <a:gd name="connsiteY45995" fmla="*/ 990293 h 6557032"/>
              <a:gd name="connsiteX45996" fmla="*/ 166957 w 4610101"/>
              <a:gd name="connsiteY45996" fmla="*/ 973438 h 6557032"/>
              <a:gd name="connsiteX45997" fmla="*/ 146696 w 4610101"/>
              <a:gd name="connsiteY45997" fmla="*/ 957451 h 6557032"/>
              <a:gd name="connsiteX45998" fmla="*/ 154885 w 4610101"/>
              <a:gd name="connsiteY45998" fmla="*/ 962960 h 6557032"/>
              <a:gd name="connsiteX45999" fmla="*/ 142130 w 4610101"/>
              <a:gd name="connsiteY45999" fmla="*/ 953848 h 6557032"/>
              <a:gd name="connsiteX46000" fmla="*/ 146696 w 4610101"/>
              <a:gd name="connsiteY46000" fmla="*/ 957451 h 6557032"/>
              <a:gd name="connsiteX46001" fmla="*/ 142358 w 4610101"/>
              <a:gd name="connsiteY46001" fmla="*/ 954532 h 6557032"/>
              <a:gd name="connsiteX46002" fmla="*/ 131197 w 4610101"/>
              <a:gd name="connsiteY46002" fmla="*/ 944738 h 6557032"/>
              <a:gd name="connsiteX46003" fmla="*/ 142130 w 4610101"/>
              <a:gd name="connsiteY46003" fmla="*/ 948383 h 6557032"/>
              <a:gd name="connsiteX46004" fmla="*/ 131197 w 4610101"/>
              <a:gd name="connsiteY46004" fmla="*/ 937450 h 6557032"/>
              <a:gd name="connsiteX46005" fmla="*/ 143952 w 4610101"/>
              <a:gd name="connsiteY46005" fmla="*/ 939272 h 6557032"/>
              <a:gd name="connsiteX46006" fmla="*/ 145774 w 4610101"/>
              <a:gd name="connsiteY46006" fmla="*/ 942916 h 6557032"/>
              <a:gd name="connsiteX46007" fmla="*/ 145774 w 4610101"/>
              <a:gd name="connsiteY46007" fmla="*/ 941094 h 6557032"/>
              <a:gd name="connsiteX46008" fmla="*/ 140308 w 4610101"/>
              <a:gd name="connsiteY46008" fmla="*/ 931983 h 6557032"/>
              <a:gd name="connsiteX46009" fmla="*/ 167640 w 4610101"/>
              <a:gd name="connsiteY46009" fmla="*/ 957494 h 6557032"/>
              <a:gd name="connsiteX46010" fmla="*/ 182218 w 4610101"/>
              <a:gd name="connsiteY46010" fmla="*/ 968427 h 6557032"/>
              <a:gd name="connsiteX46011" fmla="*/ 167640 w 4610101"/>
              <a:gd name="connsiteY46011" fmla="*/ 957494 h 6557032"/>
              <a:gd name="connsiteX46012" fmla="*/ 154885 w 4610101"/>
              <a:gd name="connsiteY46012" fmla="*/ 942916 h 6557032"/>
              <a:gd name="connsiteX46013" fmla="*/ 160352 w 4610101"/>
              <a:gd name="connsiteY46013" fmla="*/ 942916 h 6557032"/>
              <a:gd name="connsiteX46014" fmla="*/ 149419 w 4610101"/>
              <a:gd name="connsiteY46014" fmla="*/ 930160 h 6557032"/>
              <a:gd name="connsiteX46015" fmla="*/ 158529 w 4610101"/>
              <a:gd name="connsiteY46015" fmla="*/ 935628 h 6557032"/>
              <a:gd name="connsiteX46016" fmla="*/ 158529 w 4610101"/>
              <a:gd name="connsiteY46016" fmla="*/ 928339 h 6557032"/>
              <a:gd name="connsiteX46017" fmla="*/ 162174 w 4610101"/>
              <a:gd name="connsiteY46017" fmla="*/ 933804 h 6557032"/>
              <a:gd name="connsiteX46018" fmla="*/ 160352 w 4610101"/>
              <a:gd name="connsiteY46018" fmla="*/ 926516 h 6557032"/>
              <a:gd name="connsiteX46019" fmla="*/ 127552 w 4610101"/>
              <a:gd name="connsiteY46019" fmla="*/ 910117 h 6557032"/>
              <a:gd name="connsiteX46020" fmla="*/ 131197 w 4610101"/>
              <a:gd name="connsiteY46020" fmla="*/ 915583 h 6557032"/>
              <a:gd name="connsiteX46021" fmla="*/ 96576 w 4610101"/>
              <a:gd name="connsiteY46021" fmla="*/ 893717 h 6557032"/>
              <a:gd name="connsiteX46022" fmla="*/ 105686 w 4610101"/>
              <a:gd name="connsiteY46022" fmla="*/ 897361 h 6557032"/>
              <a:gd name="connsiteX46023" fmla="*/ 61954 w 4610101"/>
              <a:gd name="connsiteY46023" fmla="*/ 864562 h 6557032"/>
              <a:gd name="connsiteX46024" fmla="*/ 105686 w 4610101"/>
              <a:gd name="connsiteY46024" fmla="*/ 893717 h 6557032"/>
              <a:gd name="connsiteX46025" fmla="*/ 89287 w 4610101"/>
              <a:gd name="connsiteY46025" fmla="*/ 877317 h 6557032"/>
              <a:gd name="connsiteX46026" fmla="*/ 100220 w 4610101"/>
              <a:gd name="connsiteY46026" fmla="*/ 884606 h 6557032"/>
              <a:gd name="connsiteX46027" fmla="*/ 98398 w 4610101"/>
              <a:gd name="connsiteY46027" fmla="*/ 879139 h 6557032"/>
              <a:gd name="connsiteX46028" fmla="*/ 107053 w 4610101"/>
              <a:gd name="connsiteY46028" fmla="*/ 894628 h 6557032"/>
              <a:gd name="connsiteX46029" fmla="*/ 123826 w 4610101"/>
              <a:gd name="connsiteY46029" fmla="*/ 904602 h 6557032"/>
              <a:gd name="connsiteX46030" fmla="*/ 124136 w 4610101"/>
              <a:gd name="connsiteY46030" fmla="*/ 905333 h 6557032"/>
              <a:gd name="connsiteX46031" fmla="*/ 136663 w 4610101"/>
              <a:gd name="connsiteY46031" fmla="*/ 911939 h 6557032"/>
              <a:gd name="connsiteX46032" fmla="*/ 127552 w 4610101"/>
              <a:gd name="connsiteY46032" fmla="*/ 899183 h 6557032"/>
              <a:gd name="connsiteX46033" fmla="*/ 156707 w 4610101"/>
              <a:gd name="connsiteY46033" fmla="*/ 922872 h 6557032"/>
              <a:gd name="connsiteX46034" fmla="*/ 116619 w 4610101"/>
              <a:gd name="connsiteY46034" fmla="*/ 884606 h 6557032"/>
              <a:gd name="connsiteX46035" fmla="*/ 123908 w 4610101"/>
              <a:gd name="connsiteY46035" fmla="*/ 886428 h 6557032"/>
              <a:gd name="connsiteX46036" fmla="*/ 122086 w 4610101"/>
              <a:gd name="connsiteY46036" fmla="*/ 882784 h 6557032"/>
              <a:gd name="connsiteX46037" fmla="*/ 129375 w 4610101"/>
              <a:gd name="connsiteY46037" fmla="*/ 888250 h 6557032"/>
              <a:gd name="connsiteX46038" fmla="*/ 80176 w 4610101"/>
              <a:gd name="connsiteY46038" fmla="*/ 833585 h 6557032"/>
              <a:gd name="connsiteX46039" fmla="*/ 94753 w 4610101"/>
              <a:gd name="connsiteY46039" fmla="*/ 844518 h 6557032"/>
              <a:gd name="connsiteX46040" fmla="*/ 74709 w 4610101"/>
              <a:gd name="connsiteY46040" fmla="*/ 815363 h 6557032"/>
              <a:gd name="connsiteX46041" fmla="*/ 102799 w 4610101"/>
              <a:gd name="connsiteY46041" fmla="*/ 850845 h 6557032"/>
              <a:gd name="connsiteX46042" fmla="*/ 100220 w 4610101"/>
              <a:gd name="connsiteY46042" fmla="*/ 849985 h 6557032"/>
              <a:gd name="connsiteX46043" fmla="*/ 105913 w 4610101"/>
              <a:gd name="connsiteY46043" fmla="*/ 856818 h 6557032"/>
              <a:gd name="connsiteX46044" fmla="*/ 103864 w 4610101"/>
              <a:gd name="connsiteY46044" fmla="*/ 855451 h 6557032"/>
              <a:gd name="connsiteX46045" fmla="*/ 120264 w 4610101"/>
              <a:gd name="connsiteY46045" fmla="*/ 870028 h 6557032"/>
              <a:gd name="connsiteX46046" fmla="*/ 109331 w 4610101"/>
              <a:gd name="connsiteY46046" fmla="*/ 860918 h 6557032"/>
              <a:gd name="connsiteX46047" fmla="*/ 105913 w 4610101"/>
              <a:gd name="connsiteY46047" fmla="*/ 856818 h 6557032"/>
              <a:gd name="connsiteX46048" fmla="*/ 109331 w 4610101"/>
              <a:gd name="connsiteY46048" fmla="*/ 859095 h 6557032"/>
              <a:gd name="connsiteX46049" fmla="*/ 102799 w 4610101"/>
              <a:gd name="connsiteY46049" fmla="*/ 850845 h 6557032"/>
              <a:gd name="connsiteX46050" fmla="*/ 105686 w 4610101"/>
              <a:gd name="connsiteY46050" fmla="*/ 851807 h 6557032"/>
              <a:gd name="connsiteX46051" fmla="*/ 67421 w 4610101"/>
              <a:gd name="connsiteY46051" fmla="*/ 802608 h 6557032"/>
              <a:gd name="connsiteX46052" fmla="*/ 105686 w 4610101"/>
              <a:gd name="connsiteY46052" fmla="*/ 846340 h 6557032"/>
              <a:gd name="connsiteX46053" fmla="*/ 87465 w 4610101"/>
              <a:gd name="connsiteY46053" fmla="*/ 824474 h 6557032"/>
              <a:gd name="connsiteX46054" fmla="*/ 138486 w 4610101"/>
              <a:gd name="connsiteY46054" fmla="*/ 871851 h 6557032"/>
              <a:gd name="connsiteX46055" fmla="*/ 116619 w 4610101"/>
              <a:gd name="connsiteY46055" fmla="*/ 833585 h 6557032"/>
              <a:gd name="connsiteX46056" fmla="*/ 122086 w 4610101"/>
              <a:gd name="connsiteY46056" fmla="*/ 837229 h 6557032"/>
              <a:gd name="connsiteX46057" fmla="*/ 120264 w 4610101"/>
              <a:gd name="connsiteY46057" fmla="*/ 826296 h 6557032"/>
              <a:gd name="connsiteX46058" fmla="*/ 133702 w 4610101"/>
              <a:gd name="connsiteY46058" fmla="*/ 861601 h 6557032"/>
              <a:gd name="connsiteX46059" fmla="*/ 154570 w 4610101"/>
              <a:gd name="connsiteY46059" fmla="*/ 887427 h 6557032"/>
              <a:gd name="connsiteX46060" fmla="*/ 156707 w 4610101"/>
              <a:gd name="connsiteY46060" fmla="*/ 899183 h 6557032"/>
              <a:gd name="connsiteX46061" fmla="*/ 160352 w 4610101"/>
              <a:gd name="connsiteY46061" fmla="*/ 902827 h 6557032"/>
              <a:gd name="connsiteX46062" fmla="*/ 160352 w 4610101"/>
              <a:gd name="connsiteY46062" fmla="*/ 897361 h 6557032"/>
              <a:gd name="connsiteX46063" fmla="*/ 180396 w 4610101"/>
              <a:gd name="connsiteY46063" fmla="*/ 926516 h 6557032"/>
              <a:gd name="connsiteX46064" fmla="*/ 177297 w 4610101"/>
              <a:gd name="connsiteY46064" fmla="*/ 916532 h 6557032"/>
              <a:gd name="connsiteX46065" fmla="*/ 184040 w 4610101"/>
              <a:gd name="connsiteY46065" fmla="*/ 929933 h 6557032"/>
              <a:gd name="connsiteX46066" fmla="*/ 213195 w 4610101"/>
              <a:gd name="connsiteY46066" fmla="*/ 959316 h 6557032"/>
              <a:gd name="connsiteX46067" fmla="*/ 220483 w 4610101"/>
              <a:gd name="connsiteY46067" fmla="*/ 966604 h 6557032"/>
              <a:gd name="connsiteX46068" fmla="*/ 218562 w 4610101"/>
              <a:gd name="connsiteY46068" fmla="*/ 963797 h 6557032"/>
              <a:gd name="connsiteX46069" fmla="*/ 217523 w 4610101"/>
              <a:gd name="connsiteY46069" fmla="*/ 962277 h 6557032"/>
              <a:gd name="connsiteX46070" fmla="*/ 213195 w 4610101"/>
              <a:gd name="connsiteY46070" fmla="*/ 959316 h 6557032"/>
              <a:gd name="connsiteX46071" fmla="*/ 200439 w 4610101"/>
              <a:gd name="connsiteY46071" fmla="*/ 939272 h 6557032"/>
              <a:gd name="connsiteX46072" fmla="*/ 222306 w 4610101"/>
              <a:gd name="connsiteY46072" fmla="*/ 966604 h 6557032"/>
              <a:gd name="connsiteX46073" fmla="*/ 231416 w 4610101"/>
              <a:gd name="connsiteY46073" fmla="*/ 970249 h 6557032"/>
              <a:gd name="connsiteX46074" fmla="*/ 189506 w 4610101"/>
              <a:gd name="connsiteY46074" fmla="*/ 911939 h 6557032"/>
              <a:gd name="connsiteX46075" fmla="*/ 194973 w 4610101"/>
              <a:gd name="connsiteY46075" fmla="*/ 913761 h 6557032"/>
              <a:gd name="connsiteX46076" fmla="*/ 182218 w 4610101"/>
              <a:gd name="connsiteY46076" fmla="*/ 893717 h 6557032"/>
              <a:gd name="connsiteX46077" fmla="*/ 203886 w 4610101"/>
              <a:gd name="connsiteY46077" fmla="*/ 915385 h 6557032"/>
              <a:gd name="connsiteX46078" fmla="*/ 194972 w 4610101"/>
              <a:gd name="connsiteY46078" fmla="*/ 904689 h 6557032"/>
              <a:gd name="connsiteX46079" fmla="*/ 207727 w 4610101"/>
              <a:gd name="connsiteY46079" fmla="*/ 917444 h 6557032"/>
              <a:gd name="connsiteX46080" fmla="*/ 204526 w 4610101"/>
              <a:gd name="connsiteY46080" fmla="*/ 915843 h 6557032"/>
              <a:gd name="connsiteX46081" fmla="*/ 235061 w 4610101"/>
              <a:gd name="connsiteY46081" fmla="*/ 933804 h 6557032"/>
              <a:gd name="connsiteX46082" fmla="*/ 231416 w 4610101"/>
              <a:gd name="connsiteY46082" fmla="*/ 922872 h 6557032"/>
              <a:gd name="connsiteX46083" fmla="*/ 240527 w 4610101"/>
              <a:gd name="connsiteY46083" fmla="*/ 935628 h 6557032"/>
              <a:gd name="connsiteX46084" fmla="*/ 224128 w 4610101"/>
              <a:gd name="connsiteY46084" fmla="*/ 919227 h 6557032"/>
              <a:gd name="connsiteX46085" fmla="*/ 233239 w 4610101"/>
              <a:gd name="connsiteY46085" fmla="*/ 919227 h 6557032"/>
              <a:gd name="connsiteX46086" fmla="*/ 194973 w 4610101"/>
              <a:gd name="connsiteY46086" fmla="*/ 899183 h 6557032"/>
              <a:gd name="connsiteX46087" fmla="*/ 213195 w 4610101"/>
              <a:gd name="connsiteY46087" fmla="*/ 904651 h 6557032"/>
              <a:gd name="connsiteX46088" fmla="*/ 209550 w 4610101"/>
              <a:gd name="connsiteY46088" fmla="*/ 901005 h 6557032"/>
              <a:gd name="connsiteX46089" fmla="*/ 222306 w 4610101"/>
              <a:gd name="connsiteY46089" fmla="*/ 906473 h 6557032"/>
              <a:gd name="connsiteX46090" fmla="*/ 218661 w 4610101"/>
              <a:gd name="connsiteY46090" fmla="*/ 899183 h 6557032"/>
              <a:gd name="connsiteX46091" fmla="*/ 225950 w 4610101"/>
              <a:gd name="connsiteY46091" fmla="*/ 904651 h 6557032"/>
              <a:gd name="connsiteX46092" fmla="*/ 225950 w 4610101"/>
              <a:gd name="connsiteY46092" fmla="*/ 899183 h 6557032"/>
              <a:gd name="connsiteX46093" fmla="*/ 244172 w 4610101"/>
              <a:gd name="connsiteY46093" fmla="*/ 906473 h 6557032"/>
              <a:gd name="connsiteX46094" fmla="*/ 229594 w 4610101"/>
              <a:gd name="connsiteY46094" fmla="*/ 897361 h 6557032"/>
              <a:gd name="connsiteX46095" fmla="*/ 235061 w 4610101"/>
              <a:gd name="connsiteY46095" fmla="*/ 897361 h 6557032"/>
              <a:gd name="connsiteX46096" fmla="*/ 180396 w 4610101"/>
              <a:gd name="connsiteY46096" fmla="*/ 866384 h 6557032"/>
              <a:gd name="connsiteX46097" fmla="*/ 196795 w 4610101"/>
              <a:gd name="connsiteY46097" fmla="*/ 870028 h 6557032"/>
              <a:gd name="connsiteX46098" fmla="*/ 180605 w 4610101"/>
              <a:gd name="connsiteY46098" fmla="*/ 850146 h 6557032"/>
              <a:gd name="connsiteX46099" fmla="*/ 204084 w 4610101"/>
              <a:gd name="connsiteY46099" fmla="*/ 868206 h 6557032"/>
              <a:gd name="connsiteX46100" fmla="*/ 204084 w 4610101"/>
              <a:gd name="connsiteY46100" fmla="*/ 864562 h 6557032"/>
              <a:gd name="connsiteX46101" fmla="*/ 215017 w 4610101"/>
              <a:gd name="connsiteY46101" fmla="*/ 871851 h 6557032"/>
              <a:gd name="connsiteX46102" fmla="*/ 211372 w 4610101"/>
              <a:gd name="connsiteY46102" fmla="*/ 866384 h 6557032"/>
              <a:gd name="connsiteX46103" fmla="*/ 222306 w 4610101"/>
              <a:gd name="connsiteY46103" fmla="*/ 871851 h 6557032"/>
              <a:gd name="connsiteX46104" fmla="*/ 202717 w 4610101"/>
              <a:gd name="connsiteY46104" fmla="*/ 856135 h 6557032"/>
              <a:gd name="connsiteX46105" fmla="*/ 180497 w 4610101"/>
              <a:gd name="connsiteY46105" fmla="*/ 850013 h 6557032"/>
              <a:gd name="connsiteX46106" fmla="*/ 157846 w 4610101"/>
              <a:gd name="connsiteY46106" fmla="*/ 822197 h 6557032"/>
              <a:gd name="connsiteX46107" fmla="*/ 114797 w 4610101"/>
              <a:gd name="connsiteY46107" fmla="*/ 777098 h 6557032"/>
              <a:gd name="connsiteX46108" fmla="*/ 142130 w 4610101"/>
              <a:gd name="connsiteY46108" fmla="*/ 800786 h 6557032"/>
              <a:gd name="connsiteX46109" fmla="*/ 131197 w 4610101"/>
              <a:gd name="connsiteY46109" fmla="*/ 788031 h 6557032"/>
              <a:gd name="connsiteX46110" fmla="*/ 194973 w 4610101"/>
              <a:gd name="connsiteY46110" fmla="*/ 840874 h 6557032"/>
              <a:gd name="connsiteX46111" fmla="*/ 153063 w 4610101"/>
              <a:gd name="connsiteY46111" fmla="*/ 804430 h 6557032"/>
              <a:gd name="connsiteX46112" fmla="*/ 156707 w 4610101"/>
              <a:gd name="connsiteY46112" fmla="*/ 802608 h 6557032"/>
              <a:gd name="connsiteX46113" fmla="*/ 149419 w 4610101"/>
              <a:gd name="connsiteY46113" fmla="*/ 793497 h 6557032"/>
              <a:gd name="connsiteX46114" fmla="*/ 196795 w 4610101"/>
              <a:gd name="connsiteY46114" fmla="*/ 831763 h 6557032"/>
              <a:gd name="connsiteX46115" fmla="*/ 184040 w 4610101"/>
              <a:gd name="connsiteY46115" fmla="*/ 819008 h 6557032"/>
              <a:gd name="connsiteX46116" fmla="*/ 194973 w 4610101"/>
              <a:gd name="connsiteY46116" fmla="*/ 826296 h 6557032"/>
              <a:gd name="connsiteX46117" fmla="*/ 193151 w 4610101"/>
              <a:gd name="connsiteY46117" fmla="*/ 820830 h 6557032"/>
              <a:gd name="connsiteX46118" fmla="*/ 215017 w 4610101"/>
              <a:gd name="connsiteY46118" fmla="*/ 840874 h 6557032"/>
              <a:gd name="connsiteX46119" fmla="*/ 193151 w 4610101"/>
              <a:gd name="connsiteY46119" fmla="*/ 811719 h 6557032"/>
              <a:gd name="connsiteX46120" fmla="*/ 207728 w 4610101"/>
              <a:gd name="connsiteY46120" fmla="*/ 828118 h 6557032"/>
              <a:gd name="connsiteX46121" fmla="*/ 215017 w 4610101"/>
              <a:gd name="connsiteY46121" fmla="*/ 829941 h 6557032"/>
              <a:gd name="connsiteX46122" fmla="*/ 162174 w 4610101"/>
              <a:gd name="connsiteY46122" fmla="*/ 789853 h 6557032"/>
              <a:gd name="connsiteX46123" fmla="*/ 189506 w 4610101"/>
              <a:gd name="connsiteY46123" fmla="*/ 802608 h 6557032"/>
              <a:gd name="connsiteX46124" fmla="*/ 184040 w 4610101"/>
              <a:gd name="connsiteY46124" fmla="*/ 797141 h 6557032"/>
              <a:gd name="connsiteX46125" fmla="*/ 193151 w 4610101"/>
              <a:gd name="connsiteY46125" fmla="*/ 802608 h 6557032"/>
              <a:gd name="connsiteX46126" fmla="*/ 149419 w 4610101"/>
              <a:gd name="connsiteY46126" fmla="*/ 775275 h 6557032"/>
              <a:gd name="connsiteX46127" fmla="*/ 153063 w 4610101"/>
              <a:gd name="connsiteY46127" fmla="*/ 775275 h 6557032"/>
              <a:gd name="connsiteX46128" fmla="*/ 140308 w 4610101"/>
              <a:gd name="connsiteY46128" fmla="*/ 767987 h 6557032"/>
              <a:gd name="connsiteX46129" fmla="*/ 143952 w 4610101"/>
              <a:gd name="connsiteY46129" fmla="*/ 771631 h 6557032"/>
              <a:gd name="connsiteX46130" fmla="*/ 138486 w 4610101"/>
              <a:gd name="connsiteY46130" fmla="*/ 773453 h 6557032"/>
              <a:gd name="connsiteX46131" fmla="*/ 136663 w 4610101"/>
              <a:gd name="connsiteY46131" fmla="*/ 769809 h 6557032"/>
              <a:gd name="connsiteX46132" fmla="*/ 129375 w 4610101"/>
              <a:gd name="connsiteY46132" fmla="*/ 771631 h 6557032"/>
              <a:gd name="connsiteX46133" fmla="*/ 136663 w 4610101"/>
              <a:gd name="connsiteY46133" fmla="*/ 764342 h 6557032"/>
              <a:gd name="connsiteX46134" fmla="*/ 109331 w 4610101"/>
              <a:gd name="connsiteY46134" fmla="*/ 764342 h 6557032"/>
              <a:gd name="connsiteX46135" fmla="*/ 116619 w 4610101"/>
              <a:gd name="connsiteY46135" fmla="*/ 758876 h 6557032"/>
              <a:gd name="connsiteX46136" fmla="*/ 112975 w 4610101"/>
              <a:gd name="connsiteY46136" fmla="*/ 758876 h 6557032"/>
              <a:gd name="connsiteX46137" fmla="*/ 23689 w 4610101"/>
              <a:gd name="connsiteY46137" fmla="*/ 729721 h 6557032"/>
              <a:gd name="connsiteX46138" fmla="*/ 100220 w 4610101"/>
              <a:gd name="connsiteY46138" fmla="*/ 753409 h 6557032"/>
              <a:gd name="connsiteX46139" fmla="*/ 98398 w 4610101"/>
              <a:gd name="connsiteY46139" fmla="*/ 751587 h 6557032"/>
              <a:gd name="connsiteX46140" fmla="*/ 127552 w 4610101"/>
              <a:gd name="connsiteY46140" fmla="*/ 760698 h 6557032"/>
              <a:gd name="connsiteX46141" fmla="*/ 125730 w 4610101"/>
              <a:gd name="connsiteY46141" fmla="*/ 753409 h 6557032"/>
              <a:gd name="connsiteX46142" fmla="*/ 147596 w 4610101"/>
              <a:gd name="connsiteY46142" fmla="*/ 766164 h 6557032"/>
              <a:gd name="connsiteX46143" fmla="*/ 1822 w 4610101"/>
              <a:gd name="connsiteY46143" fmla="*/ 631324 h 6557032"/>
              <a:gd name="connsiteX46144" fmla="*/ 78354 w 4610101"/>
              <a:gd name="connsiteY46144" fmla="*/ 706033 h 6557032"/>
              <a:gd name="connsiteX46145" fmla="*/ 30977 w 4610101"/>
              <a:gd name="connsiteY46145" fmla="*/ 664123 h 6557032"/>
              <a:gd name="connsiteX46146" fmla="*/ 65599 w 4610101"/>
              <a:gd name="connsiteY46146" fmla="*/ 689633 h 6557032"/>
              <a:gd name="connsiteX46147" fmla="*/ 21866 w 4610101"/>
              <a:gd name="connsiteY46147" fmla="*/ 631324 h 6557032"/>
              <a:gd name="connsiteX46148" fmla="*/ 72887 w 4610101"/>
              <a:gd name="connsiteY46148" fmla="*/ 696922 h 6557032"/>
              <a:gd name="connsiteX46149" fmla="*/ 0 w 4610101"/>
              <a:gd name="connsiteY46149" fmla="*/ 571192 h 6557032"/>
              <a:gd name="connsiteX46150" fmla="*/ 127552 w 4610101"/>
              <a:gd name="connsiteY46150" fmla="*/ 729721 h 6557032"/>
              <a:gd name="connsiteX46151" fmla="*/ 123908 w 4610101"/>
              <a:gd name="connsiteY46151" fmla="*/ 724254 h 6557032"/>
              <a:gd name="connsiteX46152" fmla="*/ 140308 w 4610101"/>
              <a:gd name="connsiteY46152" fmla="*/ 738832 h 6557032"/>
              <a:gd name="connsiteX46153" fmla="*/ 114797 w 4610101"/>
              <a:gd name="connsiteY46153" fmla="*/ 707855 h 6557032"/>
              <a:gd name="connsiteX46154" fmla="*/ 120264 w 4610101"/>
              <a:gd name="connsiteY46154" fmla="*/ 718788 h 6557032"/>
              <a:gd name="connsiteX46155" fmla="*/ 92703 w 4610101"/>
              <a:gd name="connsiteY46155" fmla="*/ 693961 h 6557032"/>
              <a:gd name="connsiteX46156" fmla="*/ 83488 w 4610101"/>
              <a:gd name="connsiteY46156" fmla="*/ 685617 h 6557032"/>
              <a:gd name="connsiteX46157" fmla="*/ 105686 w 4610101"/>
              <a:gd name="connsiteY46157" fmla="*/ 700566 h 6557032"/>
              <a:gd name="connsiteX46158" fmla="*/ 77721 w 4610101"/>
              <a:gd name="connsiteY46158" fmla="*/ 662445 h 6557032"/>
              <a:gd name="connsiteX46159" fmla="*/ 105686 w 4610101"/>
              <a:gd name="connsiteY46159" fmla="*/ 693278 h 6557032"/>
              <a:gd name="connsiteX46160" fmla="*/ 112975 w 4610101"/>
              <a:gd name="connsiteY46160" fmla="*/ 702388 h 6557032"/>
              <a:gd name="connsiteX46161" fmla="*/ 105686 w 4610101"/>
              <a:gd name="connsiteY46161" fmla="*/ 693278 h 6557032"/>
              <a:gd name="connsiteX46162" fmla="*/ 80176 w 4610101"/>
              <a:gd name="connsiteY46162" fmla="*/ 662301 h 6557032"/>
              <a:gd name="connsiteX46163" fmla="*/ 45555 w 4610101"/>
              <a:gd name="connsiteY46163" fmla="*/ 609459 h 6557032"/>
              <a:gd name="connsiteX46164" fmla="*/ 65787 w 4610101"/>
              <a:gd name="connsiteY46164" fmla="*/ 646176 h 6557032"/>
              <a:gd name="connsiteX46165" fmla="*/ 57399 w 4610101"/>
              <a:gd name="connsiteY46165" fmla="*/ 634741 h 6557032"/>
              <a:gd name="connsiteX46166" fmla="*/ 20044 w 4610101"/>
              <a:gd name="connsiteY46166" fmla="*/ 562081 h 6557032"/>
              <a:gd name="connsiteX46167" fmla="*/ 68723 w 4610101"/>
              <a:gd name="connsiteY46167" fmla="*/ 639157 h 6557032"/>
              <a:gd name="connsiteX46168" fmla="*/ 61954 w 4610101"/>
              <a:gd name="connsiteY46168" fmla="*/ 631324 h 6557032"/>
              <a:gd name="connsiteX46169" fmla="*/ 85642 w 4610101"/>
              <a:gd name="connsiteY46169" fmla="*/ 665945 h 6557032"/>
              <a:gd name="connsiteX46170" fmla="*/ 68723 w 4610101"/>
              <a:gd name="connsiteY46170" fmla="*/ 639157 h 6557032"/>
              <a:gd name="connsiteX46171" fmla="*/ 77898 w 4610101"/>
              <a:gd name="connsiteY46171" fmla="*/ 649774 h 6557032"/>
              <a:gd name="connsiteX46172" fmla="*/ 91109 w 4610101"/>
              <a:gd name="connsiteY46172" fmla="*/ 669589 h 6557032"/>
              <a:gd name="connsiteX46173" fmla="*/ 74707 w 4610101"/>
              <a:gd name="connsiteY46173" fmla="*/ 620385 h 6557032"/>
              <a:gd name="connsiteX46174" fmla="*/ 65599 w 4610101"/>
              <a:gd name="connsiteY46174" fmla="*/ 587591 h 6557032"/>
              <a:gd name="connsiteX46175" fmla="*/ 78055 w 4610101"/>
              <a:gd name="connsiteY46175" fmla="*/ 607686 h 6557032"/>
              <a:gd name="connsiteX46176" fmla="*/ 71065 w 4610101"/>
              <a:gd name="connsiteY46176" fmla="*/ 596702 h 6557032"/>
              <a:gd name="connsiteX46177" fmla="*/ 138486 w 4610101"/>
              <a:gd name="connsiteY46177" fmla="*/ 724254 h 6557032"/>
              <a:gd name="connsiteX46178" fmla="*/ 133019 w 4610101"/>
              <a:gd name="connsiteY46178" fmla="*/ 711499 h 6557032"/>
              <a:gd name="connsiteX46179" fmla="*/ 154657 w 4610101"/>
              <a:gd name="connsiteY46179" fmla="*/ 742932 h 6557032"/>
              <a:gd name="connsiteX46180" fmla="*/ 180248 w 4610101"/>
              <a:gd name="connsiteY46180" fmla="*/ 761985 h 6557032"/>
              <a:gd name="connsiteX46181" fmla="*/ 184951 w 4610101"/>
              <a:gd name="connsiteY46181" fmla="*/ 766165 h 6557032"/>
              <a:gd name="connsiteX46182" fmla="*/ 193151 w 4610101"/>
              <a:gd name="connsiteY46182" fmla="*/ 773453 h 6557032"/>
              <a:gd name="connsiteX46183" fmla="*/ 158529 w 4610101"/>
              <a:gd name="connsiteY46183" fmla="*/ 737010 h 6557032"/>
              <a:gd name="connsiteX46184" fmla="*/ 153063 w 4610101"/>
              <a:gd name="connsiteY46184" fmla="*/ 727899 h 6557032"/>
              <a:gd name="connsiteX46185" fmla="*/ 173107 w 4610101"/>
              <a:gd name="connsiteY46185" fmla="*/ 742476 h 6557032"/>
              <a:gd name="connsiteX46186" fmla="*/ 133019 w 4610101"/>
              <a:gd name="connsiteY46186" fmla="*/ 689633 h 6557032"/>
              <a:gd name="connsiteX46187" fmla="*/ 149419 w 4610101"/>
              <a:gd name="connsiteY46187" fmla="*/ 704211 h 6557032"/>
              <a:gd name="connsiteX46188" fmla="*/ 94753 w 4610101"/>
              <a:gd name="connsiteY46188" fmla="*/ 602169 h 6557032"/>
              <a:gd name="connsiteX46189" fmla="*/ 101564 w 4610101"/>
              <a:gd name="connsiteY46189" fmla="*/ 621555 h 6557032"/>
              <a:gd name="connsiteX46190" fmla="*/ 89742 w 4610101"/>
              <a:gd name="connsiteY46190" fmla="*/ 596019 h 6557032"/>
              <a:gd name="connsiteX46191" fmla="*/ 60132 w 4610101"/>
              <a:gd name="connsiteY46191" fmla="*/ 529282 h 6557032"/>
              <a:gd name="connsiteX46192" fmla="*/ 85642 w 4610101"/>
              <a:gd name="connsiteY46192" fmla="*/ 576658 h 6557032"/>
              <a:gd name="connsiteX46193" fmla="*/ 81998 w 4610101"/>
              <a:gd name="connsiteY46193" fmla="*/ 560260 h 6557032"/>
              <a:gd name="connsiteX46194" fmla="*/ 118442 w 4610101"/>
              <a:gd name="connsiteY46194" fmla="*/ 624035 h 6557032"/>
              <a:gd name="connsiteX46195" fmla="*/ 89287 w 4610101"/>
              <a:gd name="connsiteY46195" fmla="*/ 538393 h 6557032"/>
              <a:gd name="connsiteX46196" fmla="*/ 112975 w 4610101"/>
              <a:gd name="connsiteY46196" fmla="*/ 576658 h 6557032"/>
              <a:gd name="connsiteX46197" fmla="*/ 107509 w 4610101"/>
              <a:gd name="connsiteY46197" fmla="*/ 547504 h 6557032"/>
              <a:gd name="connsiteX46198" fmla="*/ 138486 w 4610101"/>
              <a:gd name="connsiteY46198" fmla="*/ 624035 h 6557032"/>
              <a:gd name="connsiteX46199" fmla="*/ 134841 w 4610101"/>
              <a:gd name="connsiteY46199" fmla="*/ 607635 h 6557032"/>
              <a:gd name="connsiteX46200" fmla="*/ 162174 w 4610101"/>
              <a:gd name="connsiteY46200" fmla="*/ 651368 h 6557032"/>
              <a:gd name="connsiteX46201" fmla="*/ 114797 w 4610101"/>
              <a:gd name="connsiteY46201" fmla="*/ 560260 h 6557032"/>
              <a:gd name="connsiteX46202" fmla="*/ 140535 w 4610101"/>
              <a:gd name="connsiteY46202" fmla="*/ 609002 h 6557032"/>
              <a:gd name="connsiteX46203" fmla="*/ 168325 w 4610101"/>
              <a:gd name="connsiteY46203" fmla="*/ 648257 h 6557032"/>
              <a:gd name="connsiteX46204" fmla="*/ 182218 w 4610101"/>
              <a:gd name="connsiteY46204" fmla="*/ 671411 h 6557032"/>
              <a:gd name="connsiteX46205" fmla="*/ 169462 w 4610101"/>
              <a:gd name="connsiteY46205" fmla="*/ 645901 h 6557032"/>
              <a:gd name="connsiteX46206" fmla="*/ 169132 w 4610101"/>
              <a:gd name="connsiteY46206" fmla="*/ 645736 h 6557032"/>
              <a:gd name="connsiteX46207" fmla="*/ 162174 w 4610101"/>
              <a:gd name="connsiteY46207" fmla="*/ 629501 h 6557032"/>
              <a:gd name="connsiteX46208" fmla="*/ 163996 w 4610101"/>
              <a:gd name="connsiteY46208" fmla="*/ 633147 h 6557032"/>
              <a:gd name="connsiteX46209" fmla="*/ 163997 w 4610101"/>
              <a:gd name="connsiteY46209" fmla="*/ 633149 h 6557032"/>
              <a:gd name="connsiteX46210" fmla="*/ 167640 w 4610101"/>
              <a:gd name="connsiteY46210" fmla="*/ 640435 h 6557032"/>
              <a:gd name="connsiteX46211" fmla="*/ 165477 w 4610101"/>
              <a:gd name="connsiteY46211" fmla="*/ 635749 h 6557032"/>
              <a:gd name="connsiteX46212" fmla="*/ 179940 w 4610101"/>
              <a:gd name="connsiteY46212" fmla="*/ 661162 h 6557032"/>
              <a:gd name="connsiteX46213" fmla="*/ 198617 w 4610101"/>
              <a:gd name="connsiteY46213" fmla="*/ 687811 h 6557032"/>
              <a:gd name="connsiteX46214" fmla="*/ 196795 w 4610101"/>
              <a:gd name="connsiteY46214" fmla="*/ 682345 h 6557032"/>
              <a:gd name="connsiteX46215" fmla="*/ 202262 w 4610101"/>
              <a:gd name="connsiteY46215" fmla="*/ 687811 h 6557032"/>
              <a:gd name="connsiteX46216" fmla="*/ 189279 w 4610101"/>
              <a:gd name="connsiteY46216" fmla="*/ 656379 h 6557032"/>
              <a:gd name="connsiteX46217" fmla="*/ 164482 w 4610101"/>
              <a:gd name="connsiteY46217" fmla="*/ 633593 h 6557032"/>
              <a:gd name="connsiteX46218" fmla="*/ 156707 w 4610101"/>
              <a:gd name="connsiteY46218" fmla="*/ 616746 h 6557032"/>
              <a:gd name="connsiteX46219" fmla="*/ 162174 w 4610101"/>
              <a:gd name="connsiteY46219" fmla="*/ 616746 h 6557032"/>
              <a:gd name="connsiteX46220" fmla="*/ 154885 w 4610101"/>
              <a:gd name="connsiteY46220" fmla="*/ 593058 h 6557032"/>
              <a:gd name="connsiteX46221" fmla="*/ 191329 w 4610101"/>
              <a:gd name="connsiteY46221" fmla="*/ 640435 h 6557032"/>
              <a:gd name="connsiteX46222" fmla="*/ 176751 w 4610101"/>
              <a:gd name="connsiteY46222" fmla="*/ 624035 h 6557032"/>
              <a:gd name="connsiteX46223" fmla="*/ 184040 w 4610101"/>
              <a:gd name="connsiteY46223" fmla="*/ 629501 h 6557032"/>
              <a:gd name="connsiteX46224" fmla="*/ 191329 w 4610101"/>
              <a:gd name="connsiteY46224" fmla="*/ 631324 h 6557032"/>
              <a:gd name="connsiteX46225" fmla="*/ 178288 w 4610101"/>
              <a:gd name="connsiteY46225" fmla="*/ 615178 h 6557032"/>
              <a:gd name="connsiteX46226" fmla="*/ 177340 w 4610101"/>
              <a:gd name="connsiteY46226" fmla="*/ 609961 h 6557032"/>
              <a:gd name="connsiteX46227" fmla="*/ 178573 w 4610101"/>
              <a:gd name="connsiteY46227" fmla="*/ 611280 h 6557032"/>
              <a:gd name="connsiteX46228" fmla="*/ 173107 w 4610101"/>
              <a:gd name="connsiteY46228" fmla="*/ 594880 h 6557032"/>
              <a:gd name="connsiteX46229" fmla="*/ 178573 w 4610101"/>
              <a:gd name="connsiteY46229" fmla="*/ 605813 h 6557032"/>
              <a:gd name="connsiteX46230" fmla="*/ 160352 w 4610101"/>
              <a:gd name="connsiteY46230" fmla="*/ 554792 h 6557032"/>
              <a:gd name="connsiteX46231" fmla="*/ 184040 w 4610101"/>
              <a:gd name="connsiteY46231" fmla="*/ 603991 h 6557032"/>
              <a:gd name="connsiteX46232" fmla="*/ 182218 w 4610101"/>
              <a:gd name="connsiteY46232" fmla="*/ 583947 h 6557032"/>
              <a:gd name="connsiteX46233" fmla="*/ 205906 w 4610101"/>
              <a:gd name="connsiteY46233" fmla="*/ 640435 h 6557032"/>
              <a:gd name="connsiteX46234" fmla="*/ 204084 w 4610101"/>
              <a:gd name="connsiteY46234" fmla="*/ 591236 h 6557032"/>
              <a:gd name="connsiteX46235" fmla="*/ 209550 w 4610101"/>
              <a:gd name="connsiteY46235" fmla="*/ 627679 h 6557032"/>
              <a:gd name="connsiteX46236" fmla="*/ 207728 w 4610101"/>
              <a:gd name="connsiteY46236" fmla="*/ 633146 h 6557032"/>
              <a:gd name="connsiteX46237" fmla="*/ 212511 w 4610101"/>
              <a:gd name="connsiteY46237" fmla="*/ 645674 h 6557032"/>
              <a:gd name="connsiteX46238" fmla="*/ 218587 w 4610101"/>
              <a:gd name="connsiteY46238" fmla="*/ 656700 h 6557032"/>
              <a:gd name="connsiteX46239" fmla="*/ 218588 w 4610101"/>
              <a:gd name="connsiteY46239" fmla="*/ 656762 h 6557032"/>
              <a:gd name="connsiteX46240" fmla="*/ 215017 w 4610101"/>
              <a:gd name="connsiteY46240" fmla="*/ 653190 h 6557032"/>
              <a:gd name="connsiteX46241" fmla="*/ 218661 w 4610101"/>
              <a:gd name="connsiteY46241" fmla="*/ 660478 h 6557032"/>
              <a:gd name="connsiteX46242" fmla="*/ 218588 w 4610101"/>
              <a:gd name="connsiteY46242" fmla="*/ 656762 h 6557032"/>
              <a:gd name="connsiteX46243" fmla="*/ 218661 w 4610101"/>
              <a:gd name="connsiteY46243" fmla="*/ 656834 h 6557032"/>
              <a:gd name="connsiteX46244" fmla="*/ 218587 w 4610101"/>
              <a:gd name="connsiteY46244" fmla="*/ 656700 h 6557032"/>
              <a:gd name="connsiteX46245" fmla="*/ 218433 w 4610101"/>
              <a:gd name="connsiteY46245" fmla="*/ 648863 h 6557032"/>
              <a:gd name="connsiteX46246" fmla="*/ 211372 w 4610101"/>
              <a:gd name="connsiteY46246" fmla="*/ 638612 h 6557032"/>
              <a:gd name="connsiteX46247" fmla="*/ 220483 w 4610101"/>
              <a:gd name="connsiteY46247" fmla="*/ 649545 h 6557032"/>
              <a:gd name="connsiteX46248" fmla="*/ 219298 w 4610101"/>
              <a:gd name="connsiteY46248" fmla="*/ 639799 h 6557032"/>
              <a:gd name="connsiteX46249" fmla="*/ 220028 w 4610101"/>
              <a:gd name="connsiteY46249" fmla="*/ 639068 h 6557032"/>
              <a:gd name="connsiteX46250" fmla="*/ 218739 w 4610101"/>
              <a:gd name="connsiteY46250" fmla="*/ 635202 h 6557032"/>
              <a:gd name="connsiteX46251" fmla="*/ 218433 w 4610101"/>
              <a:gd name="connsiteY46251" fmla="*/ 632690 h 6557032"/>
              <a:gd name="connsiteX46252" fmla="*/ 209550 w 4610101"/>
              <a:gd name="connsiteY46252" fmla="*/ 618568 h 6557032"/>
              <a:gd name="connsiteX46253" fmla="*/ 216839 w 4610101"/>
              <a:gd name="connsiteY46253" fmla="*/ 624035 h 6557032"/>
              <a:gd name="connsiteX46254" fmla="*/ 217448 w 4610101"/>
              <a:gd name="connsiteY46254" fmla="*/ 622810 h 6557032"/>
              <a:gd name="connsiteX46255" fmla="*/ 216839 w 4610101"/>
              <a:gd name="connsiteY46255" fmla="*/ 625857 h 6557032"/>
              <a:gd name="connsiteX46256" fmla="*/ 235061 w 4610101"/>
              <a:gd name="connsiteY46256" fmla="*/ 645901 h 6557032"/>
              <a:gd name="connsiteX46257" fmla="*/ 227316 w 4610101"/>
              <a:gd name="connsiteY46257" fmla="*/ 622213 h 6557032"/>
              <a:gd name="connsiteX46258" fmla="*/ 223350 w 4610101"/>
              <a:gd name="connsiteY46258" fmla="*/ 603459 h 6557032"/>
              <a:gd name="connsiteX46259" fmla="*/ 224128 w 4610101"/>
              <a:gd name="connsiteY46259" fmla="*/ 600347 h 6557032"/>
              <a:gd name="connsiteX46260" fmla="*/ 162174 w 4610101"/>
              <a:gd name="connsiteY46260" fmla="*/ 385331 h 6557032"/>
              <a:gd name="connsiteX46261" fmla="*/ 194973 w 4610101"/>
              <a:gd name="connsiteY46261" fmla="*/ 505594 h 6557032"/>
              <a:gd name="connsiteX46262" fmla="*/ 198617 w 4610101"/>
              <a:gd name="connsiteY46262" fmla="*/ 487373 h 6557032"/>
              <a:gd name="connsiteX46263" fmla="*/ 245994 w 4610101"/>
              <a:gd name="connsiteY46263" fmla="*/ 645901 h 6557032"/>
              <a:gd name="connsiteX46264" fmla="*/ 244172 w 4610101"/>
              <a:gd name="connsiteY46264" fmla="*/ 631324 h 6557032"/>
              <a:gd name="connsiteX46265" fmla="*/ 255105 w 4610101"/>
              <a:gd name="connsiteY46265" fmla="*/ 656834 h 6557032"/>
              <a:gd name="connsiteX46266" fmla="*/ 247816 w 4610101"/>
              <a:gd name="connsiteY46266" fmla="*/ 629501 h 6557032"/>
              <a:gd name="connsiteX46267" fmla="*/ 266038 w 4610101"/>
              <a:gd name="connsiteY46267" fmla="*/ 669589 h 6557032"/>
              <a:gd name="connsiteX46268" fmla="*/ 266038 w 4610101"/>
              <a:gd name="connsiteY46268" fmla="*/ 662301 h 6557032"/>
              <a:gd name="connsiteX46269" fmla="*/ 268771 w 4610101"/>
              <a:gd name="connsiteY46269" fmla="*/ 668679 h 6557032"/>
              <a:gd name="connsiteX46270" fmla="*/ 268941 w 4610101"/>
              <a:gd name="connsiteY46270" fmla="*/ 669076 h 6557032"/>
              <a:gd name="connsiteX46271" fmla="*/ 268088 w 4610101"/>
              <a:gd name="connsiteY46271" fmla="*/ 676878 h 6557032"/>
              <a:gd name="connsiteX46272" fmla="*/ 270998 w 4610101"/>
              <a:gd name="connsiteY46272" fmla="*/ 684978 h 6557032"/>
              <a:gd name="connsiteX46273" fmla="*/ 269682 w 4610101"/>
              <a:gd name="connsiteY46273" fmla="*/ 682345 h 6557032"/>
              <a:gd name="connsiteX46274" fmla="*/ 273327 w 4610101"/>
              <a:gd name="connsiteY46274" fmla="*/ 691455 h 6557032"/>
              <a:gd name="connsiteX46275" fmla="*/ 270998 w 4610101"/>
              <a:gd name="connsiteY46275" fmla="*/ 684978 h 6557032"/>
              <a:gd name="connsiteX46276" fmla="*/ 273327 w 4610101"/>
              <a:gd name="connsiteY46276" fmla="*/ 689633 h 6557032"/>
              <a:gd name="connsiteX46277" fmla="*/ 274237 w 4610101"/>
              <a:gd name="connsiteY46277" fmla="*/ 676651 h 6557032"/>
              <a:gd name="connsiteX46278" fmla="*/ 270019 w 4610101"/>
              <a:gd name="connsiteY46278" fmla="*/ 663365 h 6557032"/>
              <a:gd name="connsiteX46279" fmla="*/ 269682 w 4610101"/>
              <a:gd name="connsiteY46279" fmla="*/ 660707 h 6557032"/>
              <a:gd name="connsiteX46280" fmla="*/ 278793 w 4610101"/>
              <a:gd name="connsiteY46280" fmla="*/ 653190 h 6557032"/>
              <a:gd name="connsiteX46281" fmla="*/ 249638 w 4610101"/>
              <a:gd name="connsiteY46281" fmla="*/ 625857 h 6557032"/>
              <a:gd name="connsiteX46282" fmla="*/ 255105 w 4610101"/>
              <a:gd name="connsiteY46282" fmla="*/ 629501 h 6557032"/>
              <a:gd name="connsiteX46283" fmla="*/ 258749 w 4610101"/>
              <a:gd name="connsiteY46283" fmla="*/ 622213 h 6557032"/>
              <a:gd name="connsiteX46284" fmla="*/ 284259 w 4610101"/>
              <a:gd name="connsiteY46284" fmla="*/ 653190 h 6557032"/>
              <a:gd name="connsiteX46285" fmla="*/ 276971 w 4610101"/>
              <a:gd name="connsiteY46285" fmla="*/ 644079 h 6557032"/>
              <a:gd name="connsiteX46286" fmla="*/ 280615 w 4610101"/>
              <a:gd name="connsiteY46286" fmla="*/ 645901 h 6557032"/>
              <a:gd name="connsiteX46287" fmla="*/ 280615 w 4610101"/>
              <a:gd name="connsiteY46287" fmla="*/ 640435 h 6557032"/>
              <a:gd name="connsiteX46288" fmla="*/ 283463 w 4610101"/>
              <a:gd name="connsiteY46288" fmla="*/ 646129 h 6557032"/>
              <a:gd name="connsiteX46289" fmla="*/ 284259 w 4610101"/>
              <a:gd name="connsiteY46289" fmla="*/ 649545 h 6557032"/>
              <a:gd name="connsiteX46290" fmla="*/ 283803 w 4610101"/>
              <a:gd name="connsiteY46290" fmla="*/ 646813 h 6557032"/>
              <a:gd name="connsiteX46291" fmla="*/ 284259 w 4610101"/>
              <a:gd name="connsiteY46291" fmla="*/ 647723 h 6557032"/>
              <a:gd name="connsiteX46292" fmla="*/ 284902 w 4610101"/>
              <a:gd name="connsiteY46292" fmla="*/ 639801 h 6557032"/>
              <a:gd name="connsiteX46293" fmla="*/ 286082 w 4610101"/>
              <a:gd name="connsiteY46293" fmla="*/ 647723 h 6557032"/>
              <a:gd name="connsiteX46294" fmla="*/ 297015 w 4610101"/>
              <a:gd name="connsiteY46294" fmla="*/ 669589 h 6557032"/>
              <a:gd name="connsiteX46295" fmla="*/ 293370 w 4610101"/>
              <a:gd name="connsiteY46295" fmla="*/ 660478 h 6557032"/>
              <a:gd name="connsiteX46296" fmla="*/ 313414 w 4610101"/>
              <a:gd name="connsiteY46296" fmla="*/ 678700 h 6557032"/>
              <a:gd name="connsiteX46297" fmla="*/ 311592 w 4610101"/>
              <a:gd name="connsiteY46297" fmla="*/ 675056 h 6557032"/>
              <a:gd name="connsiteX46298" fmla="*/ 324347 w 4610101"/>
              <a:gd name="connsiteY46298" fmla="*/ 680522 h 6557032"/>
              <a:gd name="connsiteX46299" fmla="*/ 322525 w 4610101"/>
              <a:gd name="connsiteY46299" fmla="*/ 675056 h 6557032"/>
              <a:gd name="connsiteX46300" fmla="*/ 309543 w 4610101"/>
              <a:gd name="connsiteY46300" fmla="*/ 648635 h 6557032"/>
              <a:gd name="connsiteX46301" fmla="*/ 285385 w 4610101"/>
              <a:gd name="connsiteY46301" fmla="*/ 633837 h 6557032"/>
              <a:gd name="connsiteX46302" fmla="*/ 285626 w 4610101"/>
              <a:gd name="connsiteY46302" fmla="*/ 630868 h 6557032"/>
              <a:gd name="connsiteX46303" fmla="*/ 278793 w 4610101"/>
              <a:gd name="connsiteY46303" fmla="*/ 616746 h 6557032"/>
              <a:gd name="connsiteX46304" fmla="*/ 282171 w 4610101"/>
              <a:gd name="connsiteY46304" fmla="*/ 617591 h 6557032"/>
              <a:gd name="connsiteX46305" fmla="*/ 284942 w 4610101"/>
              <a:gd name="connsiteY46305" fmla="*/ 624263 h 6557032"/>
              <a:gd name="connsiteX46306" fmla="*/ 295193 w 4610101"/>
              <a:gd name="connsiteY46306" fmla="*/ 634968 h 6557032"/>
              <a:gd name="connsiteX46307" fmla="*/ 295193 w 4610101"/>
              <a:gd name="connsiteY46307" fmla="*/ 627679 h 6557032"/>
              <a:gd name="connsiteX46308" fmla="*/ 313414 w 4610101"/>
              <a:gd name="connsiteY46308" fmla="*/ 649545 h 6557032"/>
              <a:gd name="connsiteX46309" fmla="*/ 278793 w 4610101"/>
              <a:gd name="connsiteY46309" fmla="*/ 593058 h 6557032"/>
              <a:gd name="connsiteX46310" fmla="*/ 267859 w 4610101"/>
              <a:gd name="connsiteY46310" fmla="*/ 583947 h 6557032"/>
              <a:gd name="connsiteX46311" fmla="*/ 263958 w 4610101"/>
              <a:gd name="connsiteY46311" fmla="*/ 580696 h 6557032"/>
              <a:gd name="connsiteX46312" fmla="*/ 258749 w 4610101"/>
              <a:gd name="connsiteY46312" fmla="*/ 571876 h 6557032"/>
              <a:gd name="connsiteX46313" fmla="*/ 233239 w 4610101"/>
              <a:gd name="connsiteY46313" fmla="*/ 542037 h 6557032"/>
              <a:gd name="connsiteX46314" fmla="*/ 236883 w 4610101"/>
              <a:gd name="connsiteY46314" fmla="*/ 543860 h 6557032"/>
              <a:gd name="connsiteX46315" fmla="*/ 227690 w 4610101"/>
              <a:gd name="connsiteY46315" fmla="*/ 528667 h 6557032"/>
              <a:gd name="connsiteX46316" fmla="*/ 238705 w 4610101"/>
              <a:gd name="connsiteY46316" fmla="*/ 540215 h 6557032"/>
              <a:gd name="connsiteX46317" fmla="*/ 224128 w 4610101"/>
              <a:gd name="connsiteY46317" fmla="*/ 485550 h 6557032"/>
              <a:gd name="connsiteX46318" fmla="*/ 247816 w 4610101"/>
              <a:gd name="connsiteY46318" fmla="*/ 554792 h 6557032"/>
              <a:gd name="connsiteX46319" fmla="*/ 242349 w 4610101"/>
              <a:gd name="connsiteY46319" fmla="*/ 536571 h 6557032"/>
              <a:gd name="connsiteX46320" fmla="*/ 278793 w 4610101"/>
              <a:gd name="connsiteY46320" fmla="*/ 583947 h 6557032"/>
              <a:gd name="connsiteX46321" fmla="*/ 271889 w 4610101"/>
              <a:gd name="connsiteY46321" fmla="*/ 566622 h 6557032"/>
              <a:gd name="connsiteX46322" fmla="*/ 291549 w 4610101"/>
              <a:gd name="connsiteY46322" fmla="*/ 587591 h 6557032"/>
              <a:gd name="connsiteX46323" fmla="*/ 280615 w 4610101"/>
              <a:gd name="connsiteY46323" fmla="*/ 565725 h 6557032"/>
              <a:gd name="connsiteX46324" fmla="*/ 278793 w 4610101"/>
              <a:gd name="connsiteY46324" fmla="*/ 567548 h 6557032"/>
              <a:gd name="connsiteX46325" fmla="*/ 264216 w 4610101"/>
              <a:gd name="connsiteY46325" fmla="*/ 538393 h 6557032"/>
              <a:gd name="connsiteX46326" fmla="*/ 263953 w 4610101"/>
              <a:gd name="connsiteY46326" fmla="*/ 549819 h 6557032"/>
              <a:gd name="connsiteX46327" fmla="*/ 247816 w 4610101"/>
              <a:gd name="connsiteY46327" fmla="*/ 527461 h 6557032"/>
              <a:gd name="connsiteX46328" fmla="*/ 255105 w 4610101"/>
              <a:gd name="connsiteY46328" fmla="*/ 532926 h 6557032"/>
              <a:gd name="connsiteX46329" fmla="*/ 244172 w 4610101"/>
              <a:gd name="connsiteY46329" fmla="*/ 507417 h 6557032"/>
              <a:gd name="connsiteX46330" fmla="*/ 251915 w 4610101"/>
              <a:gd name="connsiteY46330" fmla="*/ 521766 h 6557032"/>
              <a:gd name="connsiteX46331" fmla="*/ 258033 w 4610101"/>
              <a:gd name="connsiteY46331" fmla="*/ 529346 h 6557032"/>
              <a:gd name="connsiteX46332" fmla="*/ 260571 w 4610101"/>
              <a:gd name="connsiteY46332" fmla="*/ 542037 h 6557032"/>
              <a:gd name="connsiteX46333" fmla="*/ 261420 w 4610101"/>
              <a:gd name="connsiteY46333" fmla="*/ 533544 h 6557032"/>
              <a:gd name="connsiteX46334" fmla="*/ 262393 w 4610101"/>
              <a:gd name="connsiteY46334" fmla="*/ 534749 h 6557032"/>
              <a:gd name="connsiteX46335" fmla="*/ 240527 w 4610101"/>
              <a:gd name="connsiteY46335" fmla="*/ 447284 h 6557032"/>
              <a:gd name="connsiteX46336" fmla="*/ 185862 w 4610101"/>
              <a:gd name="connsiteY46336" fmla="*/ 308800 h 6557032"/>
              <a:gd name="connsiteX46337" fmla="*/ 238705 w 4610101"/>
              <a:gd name="connsiteY46337" fmla="*/ 439995 h 6557032"/>
              <a:gd name="connsiteX46338" fmla="*/ 233239 w 4610101"/>
              <a:gd name="connsiteY46338" fmla="*/ 418129 h 6557032"/>
              <a:gd name="connsiteX46339" fmla="*/ 304303 w 4610101"/>
              <a:gd name="connsiteY46339" fmla="*/ 593058 h 6557032"/>
              <a:gd name="connsiteX46340" fmla="*/ 287904 w 4610101"/>
              <a:gd name="connsiteY46340" fmla="*/ 552970 h 6557032"/>
              <a:gd name="connsiteX46341" fmla="*/ 300204 w 4610101"/>
              <a:gd name="connsiteY46341" fmla="*/ 565043 h 6557032"/>
              <a:gd name="connsiteX46342" fmla="*/ 308421 w 4610101"/>
              <a:gd name="connsiteY46342" fmla="*/ 576587 h 6557032"/>
              <a:gd name="connsiteX46343" fmla="*/ 307948 w 4610101"/>
              <a:gd name="connsiteY46343" fmla="*/ 578481 h 6557032"/>
              <a:gd name="connsiteX46344" fmla="*/ 311592 w 4610101"/>
              <a:gd name="connsiteY46344" fmla="*/ 585769 h 6557032"/>
              <a:gd name="connsiteX46345" fmla="*/ 309771 w 4610101"/>
              <a:gd name="connsiteY46345" fmla="*/ 571192 h 6557032"/>
              <a:gd name="connsiteX46346" fmla="*/ 308999 w 4610101"/>
              <a:gd name="connsiteY46346" fmla="*/ 574276 h 6557032"/>
              <a:gd name="connsiteX46347" fmla="*/ 307265 w 4610101"/>
              <a:gd name="connsiteY46347" fmla="*/ 564815 h 6557032"/>
              <a:gd name="connsiteX46348" fmla="*/ 306126 w 4610101"/>
              <a:gd name="connsiteY46348" fmla="*/ 551148 h 6557032"/>
              <a:gd name="connsiteX46349" fmla="*/ 309771 w 4610101"/>
              <a:gd name="connsiteY46349" fmla="*/ 565725 h 6557032"/>
              <a:gd name="connsiteX46350" fmla="*/ 295193 w 4610101"/>
              <a:gd name="connsiteY46350" fmla="*/ 505594 h 6557032"/>
              <a:gd name="connsiteX46351" fmla="*/ 311592 w 4610101"/>
              <a:gd name="connsiteY46351" fmla="*/ 551148 h 6557032"/>
              <a:gd name="connsiteX46352" fmla="*/ 307948 w 4610101"/>
              <a:gd name="connsiteY46352" fmla="*/ 520171 h 6557032"/>
              <a:gd name="connsiteX46353" fmla="*/ 331636 w 4610101"/>
              <a:gd name="connsiteY46353" fmla="*/ 563904 h 6557032"/>
              <a:gd name="connsiteX46354" fmla="*/ 318882 w 4610101"/>
              <a:gd name="connsiteY46354" fmla="*/ 527461 h 6557032"/>
              <a:gd name="connsiteX46355" fmla="*/ 353502 w 4610101"/>
              <a:gd name="connsiteY46355" fmla="*/ 585769 h 6557032"/>
              <a:gd name="connsiteX46356" fmla="*/ 326169 w 4610101"/>
              <a:gd name="connsiteY46356" fmla="*/ 540215 h 6557032"/>
              <a:gd name="connsiteX46357" fmla="*/ 353502 w 4610101"/>
              <a:gd name="connsiteY46357" fmla="*/ 583947 h 6557032"/>
              <a:gd name="connsiteX46358" fmla="*/ 348037 w 4610101"/>
              <a:gd name="connsiteY46358" fmla="*/ 562081 h 6557032"/>
              <a:gd name="connsiteX46359" fmla="*/ 351680 w 4610101"/>
              <a:gd name="connsiteY46359" fmla="*/ 563904 h 6557032"/>
              <a:gd name="connsiteX46360" fmla="*/ 351680 w 4610101"/>
              <a:gd name="connsiteY46360" fmla="*/ 554792 h 6557032"/>
              <a:gd name="connsiteX46361" fmla="*/ 368079 w 4610101"/>
              <a:gd name="connsiteY46361" fmla="*/ 594880 h 6557032"/>
              <a:gd name="connsiteX46362" fmla="*/ 369902 w 4610101"/>
              <a:gd name="connsiteY46362" fmla="*/ 587591 h 6557032"/>
              <a:gd name="connsiteX46363" fmla="*/ 373546 w 4610101"/>
              <a:gd name="connsiteY46363" fmla="*/ 603991 h 6557032"/>
              <a:gd name="connsiteX46364" fmla="*/ 371724 w 4610101"/>
              <a:gd name="connsiteY46364" fmla="*/ 582125 h 6557032"/>
              <a:gd name="connsiteX46365" fmla="*/ 375368 w 4610101"/>
              <a:gd name="connsiteY46365" fmla="*/ 583947 h 6557032"/>
              <a:gd name="connsiteX46366" fmla="*/ 375368 w 4610101"/>
              <a:gd name="connsiteY46366" fmla="*/ 560260 h 6557032"/>
              <a:gd name="connsiteX46367" fmla="*/ 386301 w 4610101"/>
              <a:gd name="connsiteY46367" fmla="*/ 591236 h 6557032"/>
              <a:gd name="connsiteX46368" fmla="*/ 358969 w 4610101"/>
              <a:gd name="connsiteY46368" fmla="*/ 470972 h 6557032"/>
              <a:gd name="connsiteX46369" fmla="*/ 309771 w 4610101"/>
              <a:gd name="connsiteY46369" fmla="*/ 387152 h 6557032"/>
              <a:gd name="connsiteX46370" fmla="*/ 360791 w 4610101"/>
              <a:gd name="connsiteY46370" fmla="*/ 467328 h 6557032"/>
              <a:gd name="connsiteX46371" fmla="*/ 360791 w 4610101"/>
              <a:gd name="connsiteY46371" fmla="*/ 461862 h 6557032"/>
              <a:gd name="connsiteX46372" fmla="*/ 384479 w 4610101"/>
              <a:gd name="connsiteY46372" fmla="*/ 501949 h 6557032"/>
              <a:gd name="connsiteX46373" fmla="*/ 362613 w 4610101"/>
              <a:gd name="connsiteY46373" fmla="*/ 449107 h 6557032"/>
              <a:gd name="connsiteX46374" fmla="*/ 424567 w 4610101"/>
              <a:gd name="connsiteY46374" fmla="*/ 552970 h 6557032"/>
              <a:gd name="connsiteX46375" fmla="*/ 399056 w 4610101"/>
              <a:gd name="connsiteY46375" fmla="*/ 505594 h 6557032"/>
              <a:gd name="connsiteX46376" fmla="*/ 426389 w 4610101"/>
              <a:gd name="connsiteY46376" fmla="*/ 549326 h 6557032"/>
              <a:gd name="connsiteX46377" fmla="*/ 337102 w 4610101"/>
              <a:gd name="connsiteY46377" fmla="*/ 332488 h 6557032"/>
              <a:gd name="connsiteX46378" fmla="*/ 431856 w 4610101"/>
              <a:gd name="connsiteY46378" fmla="*/ 549326 h 6557032"/>
              <a:gd name="connsiteX46379" fmla="*/ 426389 w 4610101"/>
              <a:gd name="connsiteY46379" fmla="*/ 545681 h 6557032"/>
              <a:gd name="connsiteX46380" fmla="*/ 440966 w 4610101"/>
              <a:gd name="connsiteY46380" fmla="*/ 574836 h 6557032"/>
              <a:gd name="connsiteX46381" fmla="*/ 437309 w 4610101"/>
              <a:gd name="connsiteY46381" fmla="*/ 568740 h 6557032"/>
              <a:gd name="connsiteX46382" fmla="*/ 437095 w 4610101"/>
              <a:gd name="connsiteY46382" fmla="*/ 558437 h 6557032"/>
              <a:gd name="connsiteX46383" fmla="*/ 435500 w 4610101"/>
              <a:gd name="connsiteY46383" fmla="*/ 547504 h 6557032"/>
              <a:gd name="connsiteX46384" fmla="*/ 466478 w 4610101"/>
              <a:gd name="connsiteY46384" fmla="*/ 596702 h 6557032"/>
              <a:gd name="connsiteX46385" fmla="*/ 446433 w 4610101"/>
              <a:gd name="connsiteY46385" fmla="*/ 574836 h 6557032"/>
              <a:gd name="connsiteX46386" fmla="*/ 453722 w 4610101"/>
              <a:gd name="connsiteY46386" fmla="*/ 578481 h 6557032"/>
              <a:gd name="connsiteX46387" fmla="*/ 444611 w 4610101"/>
              <a:gd name="connsiteY46387" fmla="*/ 565725 h 6557032"/>
              <a:gd name="connsiteX46388" fmla="*/ 461010 w 4610101"/>
              <a:gd name="connsiteY46388" fmla="*/ 580303 h 6557032"/>
              <a:gd name="connsiteX46389" fmla="*/ 459796 w 4610101"/>
              <a:gd name="connsiteY46389" fmla="*/ 576660 h 6557032"/>
              <a:gd name="connsiteX46390" fmla="*/ 461010 w 4610101"/>
              <a:gd name="connsiteY46390" fmla="*/ 578481 h 6557032"/>
              <a:gd name="connsiteX46391" fmla="*/ 459188 w 4610101"/>
              <a:gd name="connsiteY46391" fmla="*/ 574836 h 6557032"/>
              <a:gd name="connsiteX46392" fmla="*/ 459796 w 4610101"/>
              <a:gd name="connsiteY46392" fmla="*/ 576660 h 6557032"/>
              <a:gd name="connsiteX46393" fmla="*/ 453266 w 4610101"/>
              <a:gd name="connsiteY46393" fmla="*/ 566865 h 6557032"/>
              <a:gd name="connsiteX46394" fmla="*/ 444594 w 4610101"/>
              <a:gd name="connsiteY46394" fmla="*/ 558381 h 6557032"/>
              <a:gd name="connsiteX46395" fmla="*/ 441650 w 4610101"/>
              <a:gd name="connsiteY46395" fmla="*/ 548643 h 6557032"/>
              <a:gd name="connsiteX46396" fmla="*/ 437322 w 4610101"/>
              <a:gd name="connsiteY46396" fmla="*/ 540215 h 6557032"/>
              <a:gd name="connsiteX46397" fmla="*/ 450077 w 4610101"/>
              <a:gd name="connsiteY46397" fmla="*/ 552970 h 6557032"/>
              <a:gd name="connsiteX46398" fmla="*/ 448256 w 4610101"/>
              <a:gd name="connsiteY46398" fmla="*/ 547504 h 6557032"/>
              <a:gd name="connsiteX46399" fmla="*/ 462832 w 4610101"/>
              <a:gd name="connsiteY46399" fmla="*/ 576658 h 6557032"/>
              <a:gd name="connsiteX46400" fmla="*/ 455544 w 4610101"/>
              <a:gd name="connsiteY46400" fmla="*/ 552970 h 6557032"/>
              <a:gd name="connsiteX46401" fmla="*/ 455544 w 4610101"/>
              <a:gd name="connsiteY46401" fmla="*/ 556616 h 6557032"/>
              <a:gd name="connsiteX46402" fmla="*/ 453722 w 4610101"/>
              <a:gd name="connsiteY46402" fmla="*/ 551148 h 6557032"/>
              <a:gd name="connsiteX46403" fmla="*/ 457367 w 4610101"/>
              <a:gd name="connsiteY46403" fmla="*/ 551148 h 6557032"/>
              <a:gd name="connsiteX46404" fmla="*/ 431856 w 4610101"/>
              <a:gd name="connsiteY46404" fmla="*/ 511061 h 6557032"/>
              <a:gd name="connsiteX46405" fmla="*/ 439145 w 4610101"/>
              <a:gd name="connsiteY46405" fmla="*/ 512882 h 6557032"/>
              <a:gd name="connsiteX46406" fmla="*/ 431856 w 4610101"/>
              <a:gd name="connsiteY46406" fmla="*/ 500127 h 6557032"/>
              <a:gd name="connsiteX46407" fmla="*/ 455544 w 4610101"/>
              <a:gd name="connsiteY46407" fmla="*/ 529282 h 6557032"/>
              <a:gd name="connsiteX46408" fmla="*/ 453722 w 4610101"/>
              <a:gd name="connsiteY46408" fmla="*/ 520171 h 6557032"/>
              <a:gd name="connsiteX46409" fmla="*/ 501098 w 4610101"/>
              <a:gd name="connsiteY46409" fmla="*/ 574836 h 6557032"/>
              <a:gd name="connsiteX46410" fmla="*/ 482876 w 4610101"/>
              <a:gd name="connsiteY46410" fmla="*/ 552970 h 6557032"/>
              <a:gd name="connsiteX46411" fmla="*/ 502920 w 4610101"/>
              <a:gd name="connsiteY46411" fmla="*/ 571192 h 6557032"/>
              <a:gd name="connsiteX46412" fmla="*/ 502920 w 4610101"/>
              <a:gd name="connsiteY46412" fmla="*/ 567548 h 6557032"/>
              <a:gd name="connsiteX46413" fmla="*/ 508387 w 4610101"/>
              <a:gd name="connsiteY46413" fmla="*/ 571192 h 6557032"/>
              <a:gd name="connsiteX46414" fmla="*/ 496707 w 4610101"/>
              <a:gd name="connsiteY46414" fmla="*/ 557668 h 6557032"/>
              <a:gd name="connsiteX46415" fmla="*/ 491071 w 4610101"/>
              <a:gd name="connsiteY46415" fmla="*/ 544988 h 6557032"/>
              <a:gd name="connsiteX46416" fmla="*/ 491987 w 4610101"/>
              <a:gd name="connsiteY46416" fmla="*/ 545681 h 6557032"/>
              <a:gd name="connsiteX46417" fmla="*/ 488204 w 4610101"/>
              <a:gd name="connsiteY46417" fmla="*/ 538536 h 6557032"/>
              <a:gd name="connsiteX46418" fmla="*/ 486521 w 4610101"/>
              <a:gd name="connsiteY46418" fmla="*/ 534749 h 6557032"/>
              <a:gd name="connsiteX46419" fmla="*/ 497454 w 4610101"/>
              <a:gd name="connsiteY46419" fmla="*/ 542037 h 6557032"/>
              <a:gd name="connsiteX46420" fmla="*/ 497454 w 4610101"/>
              <a:gd name="connsiteY46420" fmla="*/ 532926 h 6557032"/>
              <a:gd name="connsiteX46421" fmla="*/ 506565 w 4610101"/>
              <a:gd name="connsiteY46421" fmla="*/ 551148 h 6557032"/>
              <a:gd name="connsiteX46422" fmla="*/ 499276 w 4610101"/>
              <a:gd name="connsiteY46422" fmla="*/ 545681 h 6557032"/>
              <a:gd name="connsiteX46423" fmla="*/ 506565 w 4610101"/>
              <a:gd name="connsiteY46423" fmla="*/ 563904 h 6557032"/>
              <a:gd name="connsiteX46424" fmla="*/ 506565 w 4610101"/>
              <a:gd name="connsiteY46424" fmla="*/ 560260 h 6557032"/>
              <a:gd name="connsiteX46425" fmla="*/ 512259 w 4610101"/>
              <a:gd name="connsiteY46425" fmla="*/ 567320 h 6557032"/>
              <a:gd name="connsiteX46426" fmla="*/ 512802 w 4610101"/>
              <a:gd name="connsiteY46426" fmla="*/ 567758 h 6557032"/>
              <a:gd name="connsiteX46427" fmla="*/ 516587 w 4610101"/>
              <a:gd name="connsiteY46427" fmla="*/ 575748 h 6557032"/>
              <a:gd name="connsiteX46428" fmla="*/ 524786 w 4610101"/>
              <a:gd name="connsiteY46428" fmla="*/ 593058 h 6557032"/>
              <a:gd name="connsiteX46429" fmla="*/ 519320 w 4610101"/>
              <a:gd name="connsiteY46429" fmla="*/ 580303 h 6557032"/>
              <a:gd name="connsiteX46430" fmla="*/ 519320 w 4610101"/>
              <a:gd name="connsiteY46430" fmla="*/ 573014 h 6557032"/>
              <a:gd name="connsiteX46431" fmla="*/ 526609 w 4610101"/>
              <a:gd name="connsiteY46431" fmla="*/ 585769 h 6557032"/>
              <a:gd name="connsiteX46432" fmla="*/ 524331 w 4610101"/>
              <a:gd name="connsiteY46432" fmla="*/ 568687 h 6557032"/>
              <a:gd name="connsiteX46433" fmla="*/ 514427 w 4610101"/>
              <a:gd name="connsiteY46433" fmla="*/ 562320 h 6557032"/>
              <a:gd name="connsiteX46434" fmla="*/ 506565 w 4610101"/>
              <a:gd name="connsiteY46434" fmla="*/ 552970 h 6557032"/>
              <a:gd name="connsiteX46435" fmla="*/ 512031 w 4610101"/>
              <a:gd name="connsiteY46435" fmla="*/ 556616 h 6557032"/>
              <a:gd name="connsiteX46436" fmla="*/ 508387 w 4610101"/>
              <a:gd name="connsiteY46436" fmla="*/ 540215 h 6557032"/>
              <a:gd name="connsiteX46437" fmla="*/ 512031 w 4610101"/>
              <a:gd name="connsiteY46437" fmla="*/ 540215 h 6557032"/>
              <a:gd name="connsiteX46438" fmla="*/ 501098 w 4610101"/>
              <a:gd name="connsiteY46438" fmla="*/ 514705 h 6557032"/>
              <a:gd name="connsiteX46439" fmla="*/ 508387 w 4610101"/>
              <a:gd name="connsiteY46439" fmla="*/ 520171 h 6557032"/>
              <a:gd name="connsiteX46440" fmla="*/ 497454 w 4610101"/>
              <a:gd name="connsiteY46440" fmla="*/ 496483 h 6557032"/>
              <a:gd name="connsiteX46441" fmla="*/ 504743 w 4610101"/>
              <a:gd name="connsiteY46441" fmla="*/ 501949 h 6557032"/>
              <a:gd name="connsiteX46442" fmla="*/ 475589 w 4610101"/>
              <a:gd name="connsiteY46442" fmla="*/ 439995 h 6557032"/>
              <a:gd name="connsiteX46443" fmla="*/ 495632 w 4610101"/>
              <a:gd name="connsiteY46443" fmla="*/ 461862 h 6557032"/>
              <a:gd name="connsiteX46444" fmla="*/ 500985 w 4610101"/>
              <a:gd name="connsiteY46444" fmla="*/ 469222 h 6557032"/>
              <a:gd name="connsiteX46445" fmla="*/ 501554 w 4610101"/>
              <a:gd name="connsiteY46445" fmla="*/ 470973 h 6557032"/>
              <a:gd name="connsiteX46446" fmla="*/ 510209 w 4610101"/>
              <a:gd name="connsiteY46446" fmla="*/ 489194 h 6557032"/>
              <a:gd name="connsiteX46447" fmla="*/ 506337 w 4610101"/>
              <a:gd name="connsiteY46447" fmla="*/ 479173 h 6557032"/>
              <a:gd name="connsiteX46448" fmla="*/ 501520 w 4610101"/>
              <a:gd name="connsiteY46448" fmla="*/ 469958 h 6557032"/>
              <a:gd name="connsiteX46449" fmla="*/ 512452 w 4610101"/>
              <a:gd name="connsiteY46449" fmla="*/ 484990 h 6557032"/>
              <a:gd name="connsiteX46450" fmla="*/ 520811 w 4610101"/>
              <a:gd name="connsiteY46450" fmla="*/ 496484 h 6557032"/>
              <a:gd name="connsiteX46451" fmla="*/ 524786 w 4610101"/>
              <a:gd name="connsiteY46451" fmla="*/ 511061 h 6557032"/>
              <a:gd name="connsiteX46452" fmla="*/ 526609 w 4610101"/>
              <a:gd name="connsiteY46452" fmla="*/ 532926 h 6557032"/>
              <a:gd name="connsiteX46453" fmla="*/ 528431 w 4610101"/>
              <a:gd name="connsiteY46453" fmla="*/ 531105 h 6557032"/>
              <a:gd name="connsiteX46454" fmla="*/ 537542 w 4610101"/>
              <a:gd name="connsiteY46454" fmla="*/ 551148 h 6557032"/>
              <a:gd name="connsiteX46455" fmla="*/ 524786 w 4610101"/>
              <a:gd name="connsiteY46455" fmla="*/ 511061 h 6557032"/>
              <a:gd name="connsiteX46456" fmla="*/ 526609 w 4610101"/>
              <a:gd name="connsiteY46456" fmla="*/ 507417 h 6557032"/>
              <a:gd name="connsiteX46457" fmla="*/ 528431 w 4610101"/>
              <a:gd name="connsiteY46457" fmla="*/ 511061 h 6557032"/>
              <a:gd name="connsiteX46458" fmla="*/ 527975 w 4610101"/>
              <a:gd name="connsiteY46458" fmla="*/ 499672 h 6557032"/>
              <a:gd name="connsiteX46459" fmla="*/ 523571 w 4610101"/>
              <a:gd name="connsiteY46459" fmla="*/ 495268 h 6557032"/>
              <a:gd name="connsiteX46460" fmla="*/ 521142 w 4610101"/>
              <a:gd name="connsiteY46460" fmla="*/ 481906 h 6557032"/>
              <a:gd name="connsiteX46461" fmla="*/ 524786 w 4610101"/>
              <a:gd name="connsiteY46461" fmla="*/ 480083 h 6557032"/>
              <a:gd name="connsiteX46462" fmla="*/ 495632 w 4610101"/>
              <a:gd name="connsiteY46462" fmla="*/ 441819 h 6557032"/>
              <a:gd name="connsiteX46463" fmla="*/ 517498 w 4610101"/>
              <a:gd name="connsiteY46463" fmla="*/ 465506 h 6557032"/>
              <a:gd name="connsiteX46464" fmla="*/ 497226 w 4610101"/>
              <a:gd name="connsiteY46464" fmla="*/ 437491 h 6557032"/>
              <a:gd name="connsiteX46465" fmla="*/ 487454 w 4610101"/>
              <a:gd name="connsiteY46465" fmla="*/ 425455 h 6557032"/>
              <a:gd name="connsiteX46466" fmla="*/ 497454 w 4610101"/>
              <a:gd name="connsiteY46466" fmla="*/ 434530 h 6557032"/>
              <a:gd name="connsiteX46467" fmla="*/ 475589 w 4610101"/>
              <a:gd name="connsiteY46467" fmla="*/ 399908 h 6557032"/>
              <a:gd name="connsiteX46468" fmla="*/ 510209 w 4610101"/>
              <a:gd name="connsiteY46468" fmla="*/ 445463 h 6557032"/>
              <a:gd name="connsiteX46469" fmla="*/ 497454 w 4610101"/>
              <a:gd name="connsiteY46469" fmla="*/ 407196 h 6557032"/>
              <a:gd name="connsiteX46470" fmla="*/ 508387 w 4610101"/>
              <a:gd name="connsiteY46470" fmla="*/ 430886 h 6557032"/>
              <a:gd name="connsiteX46471" fmla="*/ 510209 w 4610101"/>
              <a:gd name="connsiteY46471" fmla="*/ 429063 h 6557032"/>
              <a:gd name="connsiteX46472" fmla="*/ 517498 w 4610101"/>
              <a:gd name="connsiteY46472" fmla="*/ 441819 h 6557032"/>
              <a:gd name="connsiteX46473" fmla="*/ 522964 w 4610101"/>
              <a:gd name="connsiteY46473" fmla="*/ 460039 h 6557032"/>
              <a:gd name="connsiteX46474" fmla="*/ 512031 w 4610101"/>
              <a:gd name="connsiteY46474" fmla="*/ 434530 h 6557032"/>
              <a:gd name="connsiteX46475" fmla="*/ 530253 w 4610101"/>
              <a:gd name="connsiteY46475" fmla="*/ 478262 h 6557032"/>
              <a:gd name="connsiteX46476" fmla="*/ 519320 w 4610101"/>
              <a:gd name="connsiteY46476" fmla="*/ 445463 h 6557032"/>
              <a:gd name="connsiteX46477" fmla="*/ 528431 w 4610101"/>
              <a:gd name="connsiteY46477" fmla="*/ 454574 h 6557032"/>
              <a:gd name="connsiteX46478" fmla="*/ 528431 w 4610101"/>
              <a:gd name="connsiteY46478" fmla="*/ 447284 h 6557032"/>
              <a:gd name="connsiteX46479" fmla="*/ 533897 w 4610101"/>
              <a:gd name="connsiteY46479" fmla="*/ 465506 h 6557032"/>
              <a:gd name="connsiteX46480" fmla="*/ 533897 w 4610101"/>
              <a:gd name="connsiteY46480" fmla="*/ 467328 h 6557032"/>
              <a:gd name="connsiteX46481" fmla="*/ 534125 w 4610101"/>
              <a:gd name="connsiteY46481" fmla="*/ 474845 h 6557032"/>
              <a:gd name="connsiteX46482" fmla="*/ 534199 w 4610101"/>
              <a:gd name="connsiteY46482" fmla="*/ 475260 h 6557032"/>
              <a:gd name="connsiteX46483" fmla="*/ 532075 w 4610101"/>
              <a:gd name="connsiteY46483" fmla="*/ 472795 h 6557032"/>
              <a:gd name="connsiteX46484" fmla="*/ 539364 w 4610101"/>
              <a:gd name="connsiteY46484" fmla="*/ 487373 h 6557032"/>
              <a:gd name="connsiteX46485" fmla="*/ 552119 w 4610101"/>
              <a:gd name="connsiteY46485" fmla="*/ 474618 h 6557032"/>
              <a:gd name="connsiteX46486" fmla="*/ 543008 w 4610101"/>
              <a:gd name="connsiteY46486" fmla="*/ 500127 h 6557032"/>
              <a:gd name="connsiteX46487" fmla="*/ 544830 w 4610101"/>
              <a:gd name="connsiteY46487" fmla="*/ 496483 h 6557032"/>
              <a:gd name="connsiteX46488" fmla="*/ 547948 w 4610101"/>
              <a:gd name="connsiteY46488" fmla="*/ 506228 h 6557032"/>
              <a:gd name="connsiteX46489" fmla="*/ 543691 w 4610101"/>
              <a:gd name="connsiteY46489" fmla="*/ 526094 h 6557032"/>
              <a:gd name="connsiteX46490" fmla="*/ 553941 w 4610101"/>
              <a:gd name="connsiteY46490" fmla="*/ 545681 h 6557032"/>
              <a:gd name="connsiteX46491" fmla="*/ 550297 w 4610101"/>
              <a:gd name="connsiteY46491" fmla="*/ 529282 h 6557032"/>
              <a:gd name="connsiteX46492" fmla="*/ 557586 w 4610101"/>
              <a:gd name="connsiteY46492" fmla="*/ 547504 h 6557032"/>
              <a:gd name="connsiteX46493" fmla="*/ 557586 w 4610101"/>
              <a:gd name="connsiteY46493" fmla="*/ 545681 h 6557032"/>
              <a:gd name="connsiteX46494" fmla="*/ 561230 w 4610101"/>
              <a:gd name="connsiteY46494" fmla="*/ 552970 h 6557032"/>
              <a:gd name="connsiteX46495" fmla="*/ 559303 w 4610101"/>
              <a:gd name="connsiteY46495" fmla="*/ 541706 h 6557032"/>
              <a:gd name="connsiteX46496" fmla="*/ 559408 w 4610101"/>
              <a:gd name="connsiteY46496" fmla="*/ 542037 h 6557032"/>
              <a:gd name="connsiteX46497" fmla="*/ 559408 w 4610101"/>
              <a:gd name="connsiteY46497" fmla="*/ 532926 h 6557032"/>
              <a:gd name="connsiteX46498" fmla="*/ 563052 w 4610101"/>
              <a:gd name="connsiteY46498" fmla="*/ 532926 h 6557032"/>
              <a:gd name="connsiteX46499" fmla="*/ 564874 w 4610101"/>
              <a:gd name="connsiteY46499" fmla="*/ 531105 h 6557032"/>
              <a:gd name="connsiteX46500" fmla="*/ 566697 w 4610101"/>
              <a:gd name="connsiteY46500" fmla="*/ 527461 h 6557032"/>
              <a:gd name="connsiteX46501" fmla="*/ 566697 w 4610101"/>
              <a:gd name="connsiteY46501" fmla="*/ 525638 h 6557032"/>
              <a:gd name="connsiteX46502" fmla="*/ 575808 w 4610101"/>
              <a:gd name="connsiteY46502" fmla="*/ 532926 h 6557032"/>
              <a:gd name="connsiteX46503" fmla="*/ 573985 w 4610101"/>
              <a:gd name="connsiteY46503" fmla="*/ 511061 h 6557032"/>
              <a:gd name="connsiteX46504" fmla="*/ 580135 w 4610101"/>
              <a:gd name="connsiteY46504" fmla="*/ 542948 h 6557032"/>
              <a:gd name="connsiteX46505" fmla="*/ 579492 w 4610101"/>
              <a:gd name="connsiteY46505" fmla="*/ 572974 h 6557032"/>
              <a:gd name="connsiteX46506" fmla="*/ 577630 w 4610101"/>
              <a:gd name="connsiteY46506" fmla="*/ 574836 h 6557032"/>
              <a:gd name="connsiteX46507" fmla="*/ 579460 w 4610101"/>
              <a:gd name="connsiteY46507" fmla="*/ 574470 h 6557032"/>
              <a:gd name="connsiteX46508" fmla="*/ 579452 w 4610101"/>
              <a:gd name="connsiteY46508" fmla="*/ 574836 h 6557032"/>
              <a:gd name="connsiteX46509" fmla="*/ 579623 w 4610101"/>
              <a:gd name="connsiteY46509" fmla="*/ 574438 h 6557032"/>
              <a:gd name="connsiteX46510" fmla="*/ 581046 w 4610101"/>
              <a:gd name="connsiteY46510" fmla="*/ 574153 h 6557032"/>
              <a:gd name="connsiteX46511" fmla="*/ 583096 w 4610101"/>
              <a:gd name="connsiteY46511" fmla="*/ 574836 h 6557032"/>
              <a:gd name="connsiteX46512" fmla="*/ 584919 w 4610101"/>
              <a:gd name="connsiteY46512" fmla="*/ 567548 h 6557032"/>
              <a:gd name="connsiteX46513" fmla="*/ 580819 w 4610101"/>
              <a:gd name="connsiteY46513" fmla="*/ 571647 h 6557032"/>
              <a:gd name="connsiteX46514" fmla="*/ 584919 w 4610101"/>
              <a:gd name="connsiteY46514" fmla="*/ 562081 h 6557032"/>
              <a:gd name="connsiteX46515" fmla="*/ 588562 w 4610101"/>
              <a:gd name="connsiteY46515" fmla="*/ 573014 h 6557032"/>
              <a:gd name="connsiteX46516" fmla="*/ 592207 w 4610101"/>
              <a:gd name="connsiteY46516" fmla="*/ 571192 h 6557032"/>
              <a:gd name="connsiteX46517" fmla="*/ 590385 w 4610101"/>
              <a:gd name="connsiteY46517" fmla="*/ 583947 h 6557032"/>
              <a:gd name="connsiteX46518" fmla="*/ 591959 w 4610101"/>
              <a:gd name="connsiteY46518" fmla="*/ 581462 h 6557032"/>
              <a:gd name="connsiteX46519" fmla="*/ 590840 w 4610101"/>
              <a:gd name="connsiteY46519" fmla="*/ 586681 h 6557032"/>
              <a:gd name="connsiteX46520" fmla="*/ 592207 w 4610101"/>
              <a:gd name="connsiteY46520" fmla="*/ 593058 h 6557032"/>
              <a:gd name="connsiteX46521" fmla="*/ 595852 w 4610101"/>
              <a:gd name="connsiteY46521" fmla="*/ 591236 h 6557032"/>
              <a:gd name="connsiteX46522" fmla="*/ 592374 w 4610101"/>
              <a:gd name="connsiteY46522" fmla="*/ 580805 h 6557032"/>
              <a:gd name="connsiteX46523" fmla="*/ 595267 w 4610101"/>
              <a:gd name="connsiteY46523" fmla="*/ 576236 h 6557032"/>
              <a:gd name="connsiteX46524" fmla="*/ 594030 w 4610101"/>
              <a:gd name="connsiteY46524" fmla="*/ 580303 h 6557032"/>
              <a:gd name="connsiteX46525" fmla="*/ 595852 w 4610101"/>
              <a:gd name="connsiteY46525" fmla="*/ 576658 h 6557032"/>
              <a:gd name="connsiteX46526" fmla="*/ 608606 w 4610101"/>
              <a:gd name="connsiteY46526" fmla="*/ 594880 h 6557032"/>
              <a:gd name="connsiteX46527" fmla="*/ 608606 w 4610101"/>
              <a:gd name="connsiteY46527" fmla="*/ 600347 h 6557032"/>
              <a:gd name="connsiteX46528" fmla="*/ 603140 w 4610101"/>
              <a:gd name="connsiteY46528" fmla="*/ 582125 h 6557032"/>
              <a:gd name="connsiteX46529" fmla="*/ 610429 w 4610101"/>
              <a:gd name="connsiteY46529" fmla="*/ 587591 h 6557032"/>
              <a:gd name="connsiteX46530" fmla="*/ 608606 w 4610101"/>
              <a:gd name="connsiteY46530" fmla="*/ 578481 h 6557032"/>
              <a:gd name="connsiteX46531" fmla="*/ 614074 w 4610101"/>
              <a:gd name="connsiteY46531" fmla="*/ 585769 h 6557032"/>
              <a:gd name="connsiteX46532" fmla="*/ 614074 w 4610101"/>
              <a:gd name="connsiteY46532" fmla="*/ 582125 h 6557032"/>
              <a:gd name="connsiteX46533" fmla="*/ 621362 w 4610101"/>
              <a:gd name="connsiteY46533" fmla="*/ 598524 h 6557032"/>
              <a:gd name="connsiteX46534" fmla="*/ 603140 w 4610101"/>
              <a:gd name="connsiteY46534" fmla="*/ 562081 h 6557032"/>
              <a:gd name="connsiteX46535" fmla="*/ 602576 w 4610101"/>
              <a:gd name="connsiteY46535" fmla="*/ 562819 h 6557032"/>
              <a:gd name="connsiteX46536" fmla="*/ 604279 w 4610101"/>
              <a:gd name="connsiteY46536" fmla="*/ 544543 h 6557032"/>
              <a:gd name="connsiteX46537" fmla="*/ 586741 w 4610101"/>
              <a:gd name="connsiteY46537" fmla="*/ 503771 h 6557032"/>
              <a:gd name="connsiteX46538" fmla="*/ 595852 w 4610101"/>
              <a:gd name="connsiteY46538" fmla="*/ 511061 h 6557032"/>
              <a:gd name="connsiteX46539" fmla="*/ 594030 w 4610101"/>
              <a:gd name="connsiteY46539" fmla="*/ 501949 h 6557032"/>
              <a:gd name="connsiteX46540" fmla="*/ 608606 w 4610101"/>
              <a:gd name="connsiteY46540" fmla="*/ 518349 h 6557032"/>
              <a:gd name="connsiteX46541" fmla="*/ 608606 w 4610101"/>
              <a:gd name="connsiteY46541" fmla="*/ 534749 h 6557032"/>
              <a:gd name="connsiteX46542" fmla="*/ 608606 w 4610101"/>
              <a:gd name="connsiteY46542" fmla="*/ 518349 h 6557032"/>
              <a:gd name="connsiteX46543" fmla="*/ 609584 w 4610101"/>
              <a:gd name="connsiteY46543" fmla="*/ 513543 h 6557032"/>
              <a:gd name="connsiteX46544" fmla="*/ 612251 w 4610101"/>
              <a:gd name="connsiteY46544" fmla="*/ 540215 h 6557032"/>
              <a:gd name="connsiteX46545" fmla="*/ 620922 w 4610101"/>
              <a:gd name="connsiteY46545" fmla="*/ 523634 h 6557032"/>
              <a:gd name="connsiteX46546" fmla="*/ 618144 w 4610101"/>
              <a:gd name="connsiteY46546" fmla="*/ 534009 h 6557032"/>
              <a:gd name="connsiteX46547" fmla="*/ 612251 w 4610101"/>
              <a:gd name="connsiteY46547" fmla="*/ 569370 h 6557032"/>
              <a:gd name="connsiteX46548" fmla="*/ 615895 w 4610101"/>
              <a:gd name="connsiteY46548" fmla="*/ 563904 h 6557032"/>
              <a:gd name="connsiteX46549" fmla="*/ 625006 w 4610101"/>
              <a:gd name="connsiteY46549" fmla="*/ 580303 h 6557032"/>
              <a:gd name="connsiteX46550" fmla="*/ 621362 w 4610101"/>
              <a:gd name="connsiteY46550" fmla="*/ 554792 h 6557032"/>
              <a:gd name="connsiteX46551" fmla="*/ 626828 w 4610101"/>
              <a:gd name="connsiteY46551" fmla="*/ 562081 h 6557032"/>
              <a:gd name="connsiteX46552" fmla="*/ 628650 w 4610101"/>
              <a:gd name="connsiteY46552" fmla="*/ 552970 h 6557032"/>
              <a:gd name="connsiteX46553" fmla="*/ 628650 w 4610101"/>
              <a:gd name="connsiteY46553" fmla="*/ 558437 h 6557032"/>
              <a:gd name="connsiteX46554" fmla="*/ 623185 w 4610101"/>
              <a:gd name="connsiteY46554" fmla="*/ 534749 h 6557032"/>
              <a:gd name="connsiteX46555" fmla="*/ 630472 w 4610101"/>
              <a:gd name="connsiteY46555" fmla="*/ 543860 h 6557032"/>
              <a:gd name="connsiteX46556" fmla="*/ 630028 w 4610101"/>
              <a:gd name="connsiteY46556" fmla="*/ 535861 h 6557032"/>
              <a:gd name="connsiteX46557" fmla="*/ 630472 w 4610101"/>
              <a:gd name="connsiteY46557" fmla="*/ 536571 h 6557032"/>
              <a:gd name="connsiteX46558" fmla="*/ 626828 w 4610101"/>
              <a:gd name="connsiteY46558" fmla="*/ 527461 h 6557032"/>
              <a:gd name="connsiteX46559" fmla="*/ 630017 w 4610101"/>
              <a:gd name="connsiteY46559" fmla="*/ 535660 h 6557032"/>
              <a:gd name="connsiteX46560" fmla="*/ 630028 w 4610101"/>
              <a:gd name="connsiteY46560" fmla="*/ 535861 h 6557032"/>
              <a:gd name="connsiteX46561" fmla="*/ 621590 w 4610101"/>
              <a:gd name="connsiteY46561" fmla="*/ 522358 h 6557032"/>
              <a:gd name="connsiteX46562" fmla="*/ 621732 w 4610101"/>
              <a:gd name="connsiteY46562" fmla="*/ 522087 h 6557032"/>
              <a:gd name="connsiteX46563" fmla="*/ 623526 w 4610101"/>
              <a:gd name="connsiteY46563" fmla="*/ 502804 h 6557032"/>
              <a:gd name="connsiteX46564" fmla="*/ 620803 w 4610101"/>
              <a:gd name="connsiteY46564" fmla="*/ 498599 h 6557032"/>
              <a:gd name="connsiteX46565" fmla="*/ 615895 w 4610101"/>
              <a:gd name="connsiteY46565" fmla="*/ 491017 h 6557032"/>
              <a:gd name="connsiteX46566" fmla="*/ 604963 w 4610101"/>
              <a:gd name="connsiteY46566" fmla="*/ 467328 h 6557032"/>
              <a:gd name="connsiteX46567" fmla="*/ 608008 w 4610101"/>
              <a:gd name="connsiteY46567" fmla="*/ 497784 h 6557032"/>
              <a:gd name="connsiteX46568" fmla="*/ 603140 w 4610101"/>
              <a:gd name="connsiteY46568" fmla="*/ 487373 h 6557032"/>
              <a:gd name="connsiteX46569" fmla="*/ 606784 w 4610101"/>
              <a:gd name="connsiteY46569" fmla="*/ 487373 h 6557032"/>
              <a:gd name="connsiteX46570" fmla="*/ 594030 w 4610101"/>
              <a:gd name="connsiteY46570" fmla="*/ 443640 h 6557032"/>
              <a:gd name="connsiteX46571" fmla="*/ 601318 w 4610101"/>
              <a:gd name="connsiteY46571" fmla="*/ 452751 h 6557032"/>
              <a:gd name="connsiteX46572" fmla="*/ 595852 w 4610101"/>
              <a:gd name="connsiteY46572" fmla="*/ 421775 h 6557032"/>
              <a:gd name="connsiteX46573" fmla="*/ 621362 w 4610101"/>
              <a:gd name="connsiteY46573" fmla="*/ 494662 h 6557032"/>
              <a:gd name="connsiteX46574" fmla="*/ 619539 w 4610101"/>
              <a:gd name="connsiteY46574" fmla="*/ 478262 h 6557032"/>
              <a:gd name="connsiteX46575" fmla="*/ 623185 w 4610101"/>
              <a:gd name="connsiteY46575" fmla="*/ 489194 h 6557032"/>
              <a:gd name="connsiteX46576" fmla="*/ 625006 w 4610101"/>
              <a:gd name="connsiteY46576" fmla="*/ 481906 h 6557032"/>
              <a:gd name="connsiteX46577" fmla="*/ 635939 w 4610101"/>
              <a:gd name="connsiteY46577" fmla="*/ 520171 h 6557032"/>
              <a:gd name="connsiteX46578" fmla="*/ 639583 w 4610101"/>
              <a:gd name="connsiteY46578" fmla="*/ 501949 h 6557032"/>
              <a:gd name="connsiteX46579" fmla="*/ 645050 w 4610101"/>
              <a:gd name="connsiteY46579" fmla="*/ 509238 h 6557032"/>
              <a:gd name="connsiteX46580" fmla="*/ 645050 w 4610101"/>
              <a:gd name="connsiteY46580" fmla="*/ 505594 h 6557032"/>
              <a:gd name="connsiteX46581" fmla="*/ 646302 w 4610101"/>
              <a:gd name="connsiteY46581" fmla="*/ 508096 h 6557032"/>
              <a:gd name="connsiteX46582" fmla="*/ 647778 w 4610101"/>
              <a:gd name="connsiteY46582" fmla="*/ 515353 h 6557032"/>
              <a:gd name="connsiteX46583" fmla="*/ 641178 w 4610101"/>
              <a:gd name="connsiteY46583" fmla="*/ 533154 h 6557032"/>
              <a:gd name="connsiteX46584" fmla="*/ 643228 w 4610101"/>
              <a:gd name="connsiteY46584" fmla="*/ 554792 h 6557032"/>
              <a:gd name="connsiteX46585" fmla="*/ 650289 w 4610101"/>
              <a:gd name="connsiteY46585" fmla="*/ 527688 h 6557032"/>
              <a:gd name="connsiteX46586" fmla="*/ 647778 w 4610101"/>
              <a:gd name="connsiteY46586" fmla="*/ 515353 h 6557032"/>
              <a:gd name="connsiteX46587" fmla="*/ 648694 w 4610101"/>
              <a:gd name="connsiteY46587" fmla="*/ 512882 h 6557032"/>
              <a:gd name="connsiteX46588" fmla="*/ 646302 w 4610101"/>
              <a:gd name="connsiteY46588" fmla="*/ 508096 h 6557032"/>
              <a:gd name="connsiteX46589" fmla="*/ 645050 w 4610101"/>
              <a:gd name="connsiteY46589" fmla="*/ 501949 h 6557032"/>
              <a:gd name="connsiteX46590" fmla="*/ 646872 w 4610101"/>
              <a:gd name="connsiteY46590" fmla="*/ 503771 h 6557032"/>
              <a:gd name="connsiteX46591" fmla="*/ 645050 w 4610101"/>
              <a:gd name="connsiteY46591" fmla="*/ 498306 h 6557032"/>
              <a:gd name="connsiteX46592" fmla="*/ 652339 w 4610101"/>
              <a:gd name="connsiteY46592" fmla="*/ 503771 h 6557032"/>
              <a:gd name="connsiteX46593" fmla="*/ 652339 w 4610101"/>
              <a:gd name="connsiteY46593" fmla="*/ 507417 h 6557032"/>
              <a:gd name="connsiteX46594" fmla="*/ 655983 w 4610101"/>
              <a:gd name="connsiteY46594" fmla="*/ 492838 h 6557032"/>
              <a:gd name="connsiteX46595" fmla="*/ 655983 w 4610101"/>
              <a:gd name="connsiteY46595" fmla="*/ 494662 h 6557032"/>
              <a:gd name="connsiteX46596" fmla="*/ 654161 w 4610101"/>
              <a:gd name="connsiteY46596" fmla="*/ 445463 h 6557032"/>
              <a:gd name="connsiteX46597" fmla="*/ 661449 w 4610101"/>
              <a:gd name="connsiteY46597" fmla="*/ 465506 h 6557032"/>
              <a:gd name="connsiteX46598" fmla="*/ 661449 w 4610101"/>
              <a:gd name="connsiteY46598" fmla="*/ 461862 h 6557032"/>
              <a:gd name="connsiteX46599" fmla="*/ 663854 w 4610101"/>
              <a:gd name="connsiteY46599" fmla="*/ 488313 h 6557032"/>
              <a:gd name="connsiteX46600" fmla="*/ 661449 w 4610101"/>
              <a:gd name="connsiteY46600" fmla="*/ 476439 h 6557032"/>
              <a:gd name="connsiteX46601" fmla="*/ 663272 w 4610101"/>
              <a:gd name="connsiteY46601" fmla="*/ 511061 h 6557032"/>
              <a:gd name="connsiteX46602" fmla="*/ 664720 w 4610101"/>
              <a:gd name="connsiteY46602" fmla="*/ 497841 h 6557032"/>
              <a:gd name="connsiteX46603" fmla="*/ 665094 w 4610101"/>
              <a:gd name="connsiteY46603" fmla="*/ 501949 h 6557032"/>
              <a:gd name="connsiteX46604" fmla="*/ 683316 w 4610101"/>
              <a:gd name="connsiteY46604" fmla="*/ 461862 h 6557032"/>
              <a:gd name="connsiteX46605" fmla="*/ 676027 w 4610101"/>
              <a:gd name="connsiteY46605" fmla="*/ 483728 h 6557032"/>
              <a:gd name="connsiteX46606" fmla="*/ 674205 w 4610101"/>
              <a:gd name="connsiteY46606" fmla="*/ 481906 h 6557032"/>
              <a:gd name="connsiteX46607" fmla="*/ 667400 w 4610101"/>
              <a:gd name="connsiteY46607" fmla="*/ 502348 h 6557032"/>
              <a:gd name="connsiteX46608" fmla="*/ 660350 w 4610101"/>
              <a:gd name="connsiteY46608" fmla="*/ 518504 h 6557032"/>
              <a:gd name="connsiteX46609" fmla="*/ 657805 w 4610101"/>
              <a:gd name="connsiteY46609" fmla="*/ 505594 h 6557032"/>
              <a:gd name="connsiteX46610" fmla="*/ 654161 w 4610101"/>
              <a:gd name="connsiteY46610" fmla="*/ 512882 h 6557032"/>
              <a:gd name="connsiteX46611" fmla="*/ 652339 w 4610101"/>
              <a:gd name="connsiteY46611" fmla="*/ 542037 h 6557032"/>
              <a:gd name="connsiteX46612" fmla="*/ 654161 w 4610101"/>
              <a:gd name="connsiteY46612" fmla="*/ 532926 h 6557032"/>
              <a:gd name="connsiteX46613" fmla="*/ 655830 w 4610101"/>
              <a:gd name="connsiteY46613" fmla="*/ 536263 h 6557032"/>
              <a:gd name="connsiteX46614" fmla="*/ 654474 w 4610101"/>
              <a:gd name="connsiteY46614" fmla="*/ 543917 h 6557032"/>
              <a:gd name="connsiteX46615" fmla="*/ 654567 w 4610101"/>
              <a:gd name="connsiteY46615" fmla="*/ 544059 h 6557032"/>
              <a:gd name="connsiteX46616" fmla="*/ 665094 w 4610101"/>
              <a:gd name="connsiteY46616" fmla="*/ 560260 h 6557032"/>
              <a:gd name="connsiteX46617" fmla="*/ 659627 w 4610101"/>
              <a:gd name="connsiteY46617" fmla="*/ 551148 h 6557032"/>
              <a:gd name="connsiteX46618" fmla="*/ 665094 w 4610101"/>
              <a:gd name="connsiteY46618" fmla="*/ 554792 h 6557032"/>
              <a:gd name="connsiteX46619" fmla="*/ 666916 w 4610101"/>
              <a:gd name="connsiteY46619" fmla="*/ 551148 h 6557032"/>
              <a:gd name="connsiteX46620" fmla="*/ 668738 w 4610101"/>
              <a:gd name="connsiteY46620" fmla="*/ 556616 h 6557032"/>
              <a:gd name="connsiteX46621" fmla="*/ 666202 w 4610101"/>
              <a:gd name="connsiteY46621" fmla="*/ 566252 h 6557032"/>
              <a:gd name="connsiteX46622" fmla="*/ 661449 w 4610101"/>
              <a:gd name="connsiteY46622" fmla="*/ 560260 h 6557032"/>
              <a:gd name="connsiteX46623" fmla="*/ 661905 w 4610101"/>
              <a:gd name="connsiteY46623" fmla="*/ 568914 h 6557032"/>
              <a:gd name="connsiteX46624" fmla="*/ 664321 w 4610101"/>
              <a:gd name="connsiteY46624" fmla="*/ 573401 h 6557032"/>
              <a:gd name="connsiteX46625" fmla="*/ 664183 w 4610101"/>
              <a:gd name="connsiteY46625" fmla="*/ 573926 h 6557032"/>
              <a:gd name="connsiteX46626" fmla="*/ 664289 w 4610101"/>
              <a:gd name="connsiteY46626" fmla="*/ 575946 h 6557032"/>
              <a:gd name="connsiteX46627" fmla="*/ 663272 w 4610101"/>
              <a:gd name="connsiteY46627" fmla="*/ 574836 h 6557032"/>
              <a:gd name="connsiteX46628" fmla="*/ 664411 w 4610101"/>
              <a:gd name="connsiteY46628" fmla="*/ 578253 h 6557032"/>
              <a:gd name="connsiteX46629" fmla="*/ 664533 w 4610101"/>
              <a:gd name="connsiteY46629" fmla="*/ 580584 h 6557032"/>
              <a:gd name="connsiteX46630" fmla="*/ 663744 w 4610101"/>
              <a:gd name="connsiteY46630" fmla="*/ 580978 h 6557032"/>
              <a:gd name="connsiteX46631" fmla="*/ 662360 w 4610101"/>
              <a:gd name="connsiteY46631" fmla="*/ 572331 h 6557032"/>
              <a:gd name="connsiteX46632" fmla="*/ 654161 w 4610101"/>
              <a:gd name="connsiteY46632" fmla="*/ 556616 h 6557032"/>
              <a:gd name="connsiteX46633" fmla="*/ 653522 w 4610101"/>
              <a:gd name="connsiteY46633" fmla="*/ 557896 h 6557032"/>
              <a:gd name="connsiteX46634" fmla="*/ 652339 w 4610101"/>
              <a:gd name="connsiteY46634" fmla="*/ 554792 h 6557032"/>
              <a:gd name="connsiteX46635" fmla="*/ 650972 w 4610101"/>
              <a:gd name="connsiteY46635" fmla="*/ 562994 h 6557032"/>
              <a:gd name="connsiteX46636" fmla="*/ 648580 w 4610101"/>
              <a:gd name="connsiteY46636" fmla="*/ 567777 h 6557032"/>
              <a:gd name="connsiteX46637" fmla="*/ 648694 w 4610101"/>
              <a:gd name="connsiteY46637" fmla="*/ 565725 h 6557032"/>
              <a:gd name="connsiteX46638" fmla="*/ 646872 w 4610101"/>
              <a:gd name="connsiteY46638" fmla="*/ 571192 h 6557032"/>
              <a:gd name="connsiteX46639" fmla="*/ 661449 w 4610101"/>
              <a:gd name="connsiteY46639" fmla="*/ 598524 h 6557032"/>
              <a:gd name="connsiteX46640" fmla="*/ 661449 w 4610101"/>
              <a:gd name="connsiteY46640" fmla="*/ 589414 h 6557032"/>
              <a:gd name="connsiteX46641" fmla="*/ 664998 w 4610101"/>
              <a:gd name="connsiteY46641" fmla="*/ 589414 h 6557032"/>
              <a:gd name="connsiteX46642" fmla="*/ 665094 w 4610101"/>
              <a:gd name="connsiteY46642" fmla="*/ 591236 h 6557032"/>
              <a:gd name="connsiteX46643" fmla="*/ 672383 w 4610101"/>
              <a:gd name="connsiteY46643" fmla="*/ 594880 h 6557032"/>
              <a:gd name="connsiteX46644" fmla="*/ 668738 w 4610101"/>
              <a:gd name="connsiteY46644" fmla="*/ 587591 h 6557032"/>
              <a:gd name="connsiteX46645" fmla="*/ 676027 w 4610101"/>
              <a:gd name="connsiteY46645" fmla="*/ 593058 h 6557032"/>
              <a:gd name="connsiteX46646" fmla="*/ 677849 w 4610101"/>
              <a:gd name="connsiteY46646" fmla="*/ 596702 h 6557032"/>
              <a:gd name="connsiteX46647" fmla="*/ 679671 w 4610101"/>
              <a:gd name="connsiteY46647" fmla="*/ 593058 h 6557032"/>
              <a:gd name="connsiteX46648" fmla="*/ 676027 w 4610101"/>
              <a:gd name="connsiteY46648" fmla="*/ 591236 h 6557032"/>
              <a:gd name="connsiteX46649" fmla="*/ 674205 w 4610101"/>
              <a:gd name="connsiteY46649" fmla="*/ 587591 h 6557032"/>
              <a:gd name="connsiteX46650" fmla="*/ 664687 w 4610101"/>
              <a:gd name="connsiteY46650" fmla="*/ 583513 h 6557032"/>
              <a:gd name="connsiteX46651" fmla="*/ 664533 w 4610101"/>
              <a:gd name="connsiteY46651" fmla="*/ 580584 h 6557032"/>
              <a:gd name="connsiteX46652" fmla="*/ 665094 w 4610101"/>
              <a:gd name="connsiteY46652" fmla="*/ 580303 h 6557032"/>
              <a:gd name="connsiteX46653" fmla="*/ 664411 w 4610101"/>
              <a:gd name="connsiteY46653" fmla="*/ 578253 h 6557032"/>
              <a:gd name="connsiteX46654" fmla="*/ 664289 w 4610101"/>
              <a:gd name="connsiteY46654" fmla="*/ 575946 h 6557032"/>
              <a:gd name="connsiteX46655" fmla="*/ 668282 w 4610101"/>
              <a:gd name="connsiteY46655" fmla="*/ 580303 h 6557032"/>
              <a:gd name="connsiteX46656" fmla="*/ 670560 w 4610101"/>
              <a:gd name="connsiteY46656" fmla="*/ 580303 h 6557032"/>
              <a:gd name="connsiteX46657" fmla="*/ 674205 w 4610101"/>
              <a:gd name="connsiteY46657" fmla="*/ 573014 h 6557032"/>
              <a:gd name="connsiteX46658" fmla="*/ 674205 w 4610101"/>
              <a:gd name="connsiteY46658" fmla="*/ 585769 h 6557032"/>
              <a:gd name="connsiteX46659" fmla="*/ 679671 w 4610101"/>
              <a:gd name="connsiteY46659" fmla="*/ 552970 h 6557032"/>
              <a:gd name="connsiteX46660" fmla="*/ 681493 w 4610101"/>
              <a:gd name="connsiteY46660" fmla="*/ 558437 h 6557032"/>
              <a:gd name="connsiteX46661" fmla="*/ 688782 w 4610101"/>
              <a:gd name="connsiteY46661" fmla="*/ 552970 h 6557032"/>
              <a:gd name="connsiteX46662" fmla="*/ 688782 w 4610101"/>
              <a:gd name="connsiteY46662" fmla="*/ 567548 h 6557032"/>
              <a:gd name="connsiteX46663" fmla="*/ 694249 w 4610101"/>
              <a:gd name="connsiteY46663" fmla="*/ 545681 h 6557032"/>
              <a:gd name="connsiteX46664" fmla="*/ 681493 w 4610101"/>
              <a:gd name="connsiteY46664" fmla="*/ 536571 h 6557032"/>
              <a:gd name="connsiteX46665" fmla="*/ 688782 w 4610101"/>
              <a:gd name="connsiteY46665" fmla="*/ 547504 h 6557032"/>
              <a:gd name="connsiteX46666" fmla="*/ 666916 w 4610101"/>
              <a:gd name="connsiteY46666" fmla="*/ 518349 h 6557032"/>
              <a:gd name="connsiteX46667" fmla="*/ 701537 w 4610101"/>
              <a:gd name="connsiteY46667" fmla="*/ 547504 h 6557032"/>
              <a:gd name="connsiteX46668" fmla="*/ 699715 w 4610101"/>
              <a:gd name="connsiteY46668" fmla="*/ 538393 h 6557032"/>
              <a:gd name="connsiteX46669" fmla="*/ 705182 w 4610101"/>
              <a:gd name="connsiteY46669" fmla="*/ 542037 h 6557032"/>
              <a:gd name="connsiteX46670" fmla="*/ 697893 w 4610101"/>
              <a:gd name="connsiteY46670" fmla="*/ 474618 h 6557032"/>
              <a:gd name="connsiteX46671" fmla="*/ 710648 w 4610101"/>
              <a:gd name="connsiteY46671" fmla="*/ 496483 h 6557032"/>
              <a:gd name="connsiteX46672" fmla="*/ 711739 w 4610101"/>
              <a:gd name="connsiteY46672" fmla="*/ 508768 h 6557032"/>
              <a:gd name="connsiteX46673" fmla="*/ 711646 w 4610101"/>
              <a:gd name="connsiteY46673" fmla="*/ 519887 h 6557032"/>
              <a:gd name="connsiteX46674" fmla="*/ 713076 w 4610101"/>
              <a:gd name="connsiteY46674" fmla="*/ 525230 h 6557032"/>
              <a:gd name="connsiteX46675" fmla="*/ 708826 w 4610101"/>
              <a:gd name="connsiteY46675" fmla="*/ 552970 h 6557032"/>
              <a:gd name="connsiteX46676" fmla="*/ 715139 w 4610101"/>
              <a:gd name="connsiteY46676" fmla="*/ 532928 h 6557032"/>
              <a:gd name="connsiteX46677" fmla="*/ 716115 w 4610101"/>
              <a:gd name="connsiteY46677" fmla="*/ 536571 h 6557032"/>
              <a:gd name="connsiteX46678" fmla="*/ 726953 w 4610101"/>
              <a:gd name="connsiteY46678" fmla="*/ 527539 h 6557032"/>
              <a:gd name="connsiteX46679" fmla="*/ 727322 w 4610101"/>
              <a:gd name="connsiteY46679" fmla="*/ 528553 h 6557032"/>
              <a:gd name="connsiteX46680" fmla="*/ 729035 w 4610101"/>
              <a:gd name="connsiteY46680" fmla="*/ 535412 h 6557032"/>
              <a:gd name="connsiteX46681" fmla="*/ 727048 w 4610101"/>
              <a:gd name="connsiteY46681" fmla="*/ 538393 h 6557032"/>
              <a:gd name="connsiteX46682" fmla="*/ 725226 w 4610101"/>
              <a:gd name="connsiteY46682" fmla="*/ 567548 h 6557032"/>
              <a:gd name="connsiteX46683" fmla="*/ 730692 w 4610101"/>
              <a:gd name="connsiteY46683" fmla="*/ 589414 h 6557032"/>
              <a:gd name="connsiteX46684" fmla="*/ 728870 w 4610101"/>
              <a:gd name="connsiteY46684" fmla="*/ 556616 h 6557032"/>
              <a:gd name="connsiteX46685" fmla="*/ 734336 w 4610101"/>
              <a:gd name="connsiteY46685" fmla="*/ 563904 h 6557032"/>
              <a:gd name="connsiteX46686" fmla="*/ 735237 w 4610101"/>
              <a:gd name="connsiteY46686" fmla="*/ 553813 h 6557032"/>
              <a:gd name="connsiteX46687" fmla="*/ 736158 w 4610101"/>
              <a:gd name="connsiteY46687" fmla="*/ 560260 h 6557032"/>
              <a:gd name="connsiteX46688" fmla="*/ 739739 w 4610101"/>
              <a:gd name="connsiteY46688" fmla="*/ 562306 h 6557032"/>
              <a:gd name="connsiteX46689" fmla="*/ 737525 w 4610101"/>
              <a:gd name="connsiteY46689" fmla="*/ 570054 h 6557032"/>
              <a:gd name="connsiteX46690" fmla="*/ 743447 w 4610101"/>
              <a:gd name="connsiteY46690" fmla="*/ 576658 h 6557032"/>
              <a:gd name="connsiteX46691" fmla="*/ 743675 w 4610101"/>
              <a:gd name="connsiteY46691" fmla="*/ 569370 h 6557032"/>
              <a:gd name="connsiteX46692" fmla="*/ 740002 w 4610101"/>
              <a:gd name="connsiteY46692" fmla="*/ 562456 h 6557032"/>
              <a:gd name="connsiteX46693" fmla="*/ 743581 w 4610101"/>
              <a:gd name="connsiteY46693" fmla="*/ 564501 h 6557032"/>
              <a:gd name="connsiteX46694" fmla="*/ 743903 w 4610101"/>
              <a:gd name="connsiteY46694" fmla="*/ 565498 h 6557032"/>
              <a:gd name="connsiteX46695" fmla="*/ 748914 w 4610101"/>
              <a:gd name="connsiteY46695" fmla="*/ 571192 h 6557032"/>
              <a:gd name="connsiteX46696" fmla="*/ 752558 w 4610101"/>
              <a:gd name="connsiteY46696" fmla="*/ 565725 h 6557032"/>
              <a:gd name="connsiteX46697" fmla="*/ 747370 w 4610101"/>
              <a:gd name="connsiteY46697" fmla="*/ 562915 h 6557032"/>
              <a:gd name="connsiteX46698" fmla="*/ 747092 w 4610101"/>
              <a:gd name="connsiteY46698" fmla="*/ 562081 h 6557032"/>
              <a:gd name="connsiteX46699" fmla="*/ 756203 w 4610101"/>
              <a:gd name="connsiteY46699" fmla="*/ 562081 h 6557032"/>
              <a:gd name="connsiteX46700" fmla="*/ 752331 w 4610101"/>
              <a:gd name="connsiteY46700" fmla="*/ 572104 h 6557032"/>
              <a:gd name="connsiteX46701" fmla="*/ 752345 w 4610101"/>
              <a:gd name="connsiteY46701" fmla="*/ 572129 h 6557032"/>
              <a:gd name="connsiteX46702" fmla="*/ 748914 w 4610101"/>
              <a:gd name="connsiteY46702" fmla="*/ 576204 h 6557032"/>
              <a:gd name="connsiteX46703" fmla="*/ 747092 w 4610101"/>
              <a:gd name="connsiteY46703" fmla="*/ 587591 h 6557032"/>
              <a:gd name="connsiteX46704" fmla="*/ 753014 w 4610101"/>
              <a:gd name="connsiteY46704" fmla="*/ 594880 h 6557032"/>
              <a:gd name="connsiteX46705" fmla="*/ 757249 w 4610101"/>
              <a:gd name="connsiteY46705" fmla="*/ 595772 h 6557032"/>
              <a:gd name="connsiteX46706" fmla="*/ 754380 w 4610101"/>
              <a:gd name="connsiteY46706" fmla="*/ 605813 h 6557032"/>
              <a:gd name="connsiteX46707" fmla="*/ 758025 w 4610101"/>
              <a:gd name="connsiteY46707" fmla="*/ 602169 h 6557032"/>
              <a:gd name="connsiteX46708" fmla="*/ 754380 w 4610101"/>
              <a:gd name="connsiteY46708" fmla="*/ 607635 h 6557032"/>
              <a:gd name="connsiteX46709" fmla="*/ 765313 w 4610101"/>
              <a:gd name="connsiteY46709" fmla="*/ 603991 h 6557032"/>
              <a:gd name="connsiteX46710" fmla="*/ 758025 w 4610101"/>
              <a:gd name="connsiteY46710" fmla="*/ 627679 h 6557032"/>
              <a:gd name="connsiteX46711" fmla="*/ 758025 w 4610101"/>
              <a:gd name="connsiteY46711" fmla="*/ 618568 h 6557032"/>
              <a:gd name="connsiteX46712" fmla="*/ 759900 w 4610101"/>
              <a:gd name="connsiteY46712" fmla="*/ 618193 h 6557032"/>
              <a:gd name="connsiteX46713" fmla="*/ 765183 w 4610101"/>
              <a:gd name="connsiteY46713" fmla="*/ 620261 h 6557032"/>
              <a:gd name="connsiteX46714" fmla="*/ 767136 w 4610101"/>
              <a:gd name="connsiteY46714" fmla="*/ 622213 h 6557032"/>
              <a:gd name="connsiteX46715" fmla="*/ 767524 w 4610101"/>
              <a:gd name="connsiteY46715" fmla="*/ 621177 h 6557032"/>
              <a:gd name="connsiteX46716" fmla="*/ 768046 w 4610101"/>
              <a:gd name="connsiteY46716" fmla="*/ 621381 h 6557032"/>
              <a:gd name="connsiteX46717" fmla="*/ 769641 w 4610101"/>
              <a:gd name="connsiteY46717" fmla="*/ 626313 h 6557032"/>
              <a:gd name="connsiteX46718" fmla="*/ 776246 w 4610101"/>
              <a:gd name="connsiteY46718" fmla="*/ 631324 h 6557032"/>
              <a:gd name="connsiteX46719" fmla="*/ 772602 w 4610101"/>
              <a:gd name="connsiteY46719" fmla="*/ 633146 h 6557032"/>
              <a:gd name="connsiteX46720" fmla="*/ 787179 w 4610101"/>
              <a:gd name="connsiteY46720" fmla="*/ 656834 h 6557032"/>
              <a:gd name="connsiteX46721" fmla="*/ 785357 w 4610101"/>
              <a:gd name="connsiteY46721" fmla="*/ 651368 h 6557032"/>
              <a:gd name="connsiteX46722" fmla="*/ 789003 w 4610101"/>
              <a:gd name="connsiteY46722" fmla="*/ 653190 h 6557032"/>
              <a:gd name="connsiteX46723" fmla="*/ 783535 w 4610101"/>
              <a:gd name="connsiteY46723" fmla="*/ 644079 h 6557032"/>
              <a:gd name="connsiteX46724" fmla="*/ 796290 w 4610101"/>
              <a:gd name="connsiteY46724" fmla="*/ 645901 h 6557032"/>
              <a:gd name="connsiteX46725" fmla="*/ 794468 w 4610101"/>
              <a:gd name="connsiteY46725" fmla="*/ 649545 h 6557032"/>
              <a:gd name="connsiteX46726" fmla="*/ 798372 w 4610101"/>
              <a:gd name="connsiteY46726" fmla="*/ 652149 h 6557032"/>
              <a:gd name="connsiteX46727" fmla="*/ 799935 w 4610101"/>
              <a:gd name="connsiteY46727" fmla="*/ 653190 h 6557032"/>
              <a:gd name="connsiteX46728" fmla="*/ 799935 w 4610101"/>
              <a:gd name="connsiteY46728" fmla="*/ 645901 h 6557032"/>
              <a:gd name="connsiteX46729" fmla="*/ 799935 w 4610101"/>
              <a:gd name="connsiteY46729" fmla="*/ 640435 h 6557032"/>
              <a:gd name="connsiteX46730" fmla="*/ 796290 w 4610101"/>
              <a:gd name="connsiteY46730" fmla="*/ 644079 h 6557032"/>
              <a:gd name="connsiteX46731" fmla="*/ 792646 w 4610101"/>
              <a:gd name="connsiteY46731" fmla="*/ 640435 h 6557032"/>
              <a:gd name="connsiteX46732" fmla="*/ 789003 w 4610101"/>
              <a:gd name="connsiteY46732" fmla="*/ 638612 h 6557032"/>
              <a:gd name="connsiteX46733" fmla="*/ 794468 w 4610101"/>
              <a:gd name="connsiteY46733" fmla="*/ 636790 h 6557032"/>
              <a:gd name="connsiteX46734" fmla="*/ 787179 w 4610101"/>
              <a:gd name="connsiteY46734" fmla="*/ 631324 h 6557032"/>
              <a:gd name="connsiteX46735" fmla="*/ 798112 w 4610101"/>
              <a:gd name="connsiteY46735" fmla="*/ 633146 h 6557032"/>
              <a:gd name="connsiteX46736" fmla="*/ 768046 w 4610101"/>
              <a:gd name="connsiteY46736" fmla="*/ 621381 h 6557032"/>
              <a:gd name="connsiteX46737" fmla="*/ 767769 w 4610101"/>
              <a:gd name="connsiteY46737" fmla="*/ 620525 h 6557032"/>
              <a:gd name="connsiteX46738" fmla="*/ 767819 w 4610101"/>
              <a:gd name="connsiteY46738" fmla="*/ 620391 h 6557032"/>
              <a:gd name="connsiteX46739" fmla="*/ 767136 w 4610101"/>
              <a:gd name="connsiteY46739" fmla="*/ 618568 h 6557032"/>
              <a:gd name="connsiteX46740" fmla="*/ 767769 w 4610101"/>
              <a:gd name="connsiteY46740" fmla="*/ 620525 h 6557032"/>
              <a:gd name="connsiteX46741" fmla="*/ 767524 w 4610101"/>
              <a:gd name="connsiteY46741" fmla="*/ 621177 h 6557032"/>
              <a:gd name="connsiteX46742" fmla="*/ 765183 w 4610101"/>
              <a:gd name="connsiteY46742" fmla="*/ 620261 h 6557032"/>
              <a:gd name="connsiteX46743" fmla="*/ 762580 w 4610101"/>
              <a:gd name="connsiteY46743" fmla="*/ 617658 h 6557032"/>
              <a:gd name="connsiteX46744" fmla="*/ 759900 w 4610101"/>
              <a:gd name="connsiteY46744" fmla="*/ 618193 h 6557032"/>
              <a:gd name="connsiteX46745" fmla="*/ 756203 w 4610101"/>
              <a:gd name="connsiteY46745" fmla="*/ 616746 h 6557032"/>
              <a:gd name="connsiteX46746" fmla="*/ 776246 w 4610101"/>
              <a:gd name="connsiteY46746" fmla="*/ 618568 h 6557032"/>
              <a:gd name="connsiteX46747" fmla="*/ 772602 w 4610101"/>
              <a:gd name="connsiteY46747" fmla="*/ 605813 h 6557032"/>
              <a:gd name="connsiteX46748" fmla="*/ 787179 w 4610101"/>
              <a:gd name="connsiteY46748" fmla="*/ 624035 h 6557032"/>
              <a:gd name="connsiteX46749" fmla="*/ 785357 w 4610101"/>
              <a:gd name="connsiteY46749" fmla="*/ 620391 h 6557032"/>
              <a:gd name="connsiteX46750" fmla="*/ 796290 w 4610101"/>
              <a:gd name="connsiteY46750" fmla="*/ 622213 h 6557032"/>
              <a:gd name="connsiteX46751" fmla="*/ 789003 w 4610101"/>
              <a:gd name="connsiteY46751" fmla="*/ 611280 h 6557032"/>
              <a:gd name="connsiteX46752" fmla="*/ 758025 w 4610101"/>
              <a:gd name="connsiteY46752" fmla="*/ 602169 h 6557032"/>
              <a:gd name="connsiteX46753" fmla="*/ 761670 w 4610101"/>
              <a:gd name="connsiteY46753" fmla="*/ 596702 h 6557032"/>
              <a:gd name="connsiteX46754" fmla="*/ 761670 w 4610101"/>
              <a:gd name="connsiteY46754" fmla="*/ 578481 h 6557032"/>
              <a:gd name="connsiteX46755" fmla="*/ 756203 w 4610101"/>
              <a:gd name="connsiteY46755" fmla="*/ 567548 h 6557032"/>
              <a:gd name="connsiteX46756" fmla="*/ 761670 w 4610101"/>
              <a:gd name="connsiteY46756" fmla="*/ 571192 h 6557032"/>
              <a:gd name="connsiteX46757" fmla="*/ 761670 w 4610101"/>
              <a:gd name="connsiteY46757" fmla="*/ 569370 h 6557032"/>
              <a:gd name="connsiteX46758" fmla="*/ 767136 w 4610101"/>
              <a:gd name="connsiteY46758" fmla="*/ 580303 h 6557032"/>
              <a:gd name="connsiteX46759" fmla="*/ 765313 w 4610101"/>
              <a:gd name="connsiteY46759" fmla="*/ 562081 h 6557032"/>
              <a:gd name="connsiteX46760" fmla="*/ 765313 w 4610101"/>
              <a:gd name="connsiteY46760" fmla="*/ 563904 h 6557032"/>
              <a:gd name="connsiteX46761" fmla="*/ 728870 w 4610101"/>
              <a:gd name="connsiteY46761" fmla="*/ 507417 h 6557032"/>
              <a:gd name="connsiteX46762" fmla="*/ 759848 w 4610101"/>
              <a:gd name="connsiteY46762" fmla="*/ 540215 h 6557032"/>
              <a:gd name="connsiteX46763" fmla="*/ 750737 w 4610101"/>
              <a:gd name="connsiteY46763" fmla="*/ 512882 h 6557032"/>
              <a:gd name="connsiteX46764" fmla="*/ 764630 w 4610101"/>
              <a:gd name="connsiteY46764" fmla="*/ 539304 h 6557032"/>
              <a:gd name="connsiteX46765" fmla="*/ 779087 w 4610101"/>
              <a:gd name="connsiteY46765" fmla="*/ 553920 h 6557032"/>
              <a:gd name="connsiteX46766" fmla="*/ 778791 w 4610101"/>
              <a:gd name="connsiteY46766" fmla="*/ 554174 h 6557032"/>
              <a:gd name="connsiteX46767" fmla="*/ 778070 w 4610101"/>
              <a:gd name="connsiteY46767" fmla="*/ 552970 h 6557032"/>
              <a:gd name="connsiteX46768" fmla="*/ 778457 w 4610101"/>
              <a:gd name="connsiteY46768" fmla="*/ 554460 h 6557032"/>
              <a:gd name="connsiteX46769" fmla="*/ 778070 w 4610101"/>
              <a:gd name="connsiteY46769" fmla="*/ 554792 h 6557032"/>
              <a:gd name="connsiteX46770" fmla="*/ 778659 w 4610101"/>
              <a:gd name="connsiteY46770" fmla="*/ 555236 h 6557032"/>
              <a:gd name="connsiteX46771" fmla="*/ 779436 w 4610101"/>
              <a:gd name="connsiteY46771" fmla="*/ 558210 h 6557032"/>
              <a:gd name="connsiteX46772" fmla="*/ 783535 w 4610101"/>
              <a:gd name="connsiteY46772" fmla="*/ 562081 h 6557032"/>
              <a:gd name="connsiteX46773" fmla="*/ 780056 w 4610101"/>
              <a:gd name="connsiteY46773" fmla="*/ 556284 h 6557032"/>
              <a:gd name="connsiteX46774" fmla="*/ 785357 w 4610101"/>
              <a:gd name="connsiteY46774" fmla="*/ 560260 h 6557032"/>
              <a:gd name="connsiteX46775" fmla="*/ 779087 w 4610101"/>
              <a:gd name="connsiteY46775" fmla="*/ 553920 h 6557032"/>
              <a:gd name="connsiteX46776" fmla="*/ 781257 w 4610101"/>
              <a:gd name="connsiteY46776" fmla="*/ 552059 h 6557032"/>
              <a:gd name="connsiteX46777" fmla="*/ 781713 w 4610101"/>
              <a:gd name="connsiteY46777" fmla="*/ 549326 h 6557032"/>
              <a:gd name="connsiteX46778" fmla="*/ 779892 w 4610101"/>
              <a:gd name="connsiteY46778" fmla="*/ 547504 h 6557032"/>
              <a:gd name="connsiteX46779" fmla="*/ 781713 w 4610101"/>
              <a:gd name="connsiteY46779" fmla="*/ 547504 h 6557032"/>
              <a:gd name="connsiteX46780" fmla="*/ 781257 w 4610101"/>
              <a:gd name="connsiteY46780" fmla="*/ 540671 h 6557032"/>
              <a:gd name="connsiteX46781" fmla="*/ 779906 w 4610101"/>
              <a:gd name="connsiteY46781" fmla="*/ 536615 h 6557032"/>
              <a:gd name="connsiteX46782" fmla="*/ 779890 w 4610101"/>
              <a:gd name="connsiteY46782" fmla="*/ 536596 h 6557032"/>
              <a:gd name="connsiteX46783" fmla="*/ 779902 w 4610101"/>
              <a:gd name="connsiteY46783" fmla="*/ 536603 h 6557032"/>
              <a:gd name="connsiteX46784" fmla="*/ 778070 w 4610101"/>
              <a:gd name="connsiteY46784" fmla="*/ 531105 h 6557032"/>
              <a:gd name="connsiteX46785" fmla="*/ 781830 w 4610101"/>
              <a:gd name="connsiteY46785" fmla="*/ 537831 h 6557032"/>
              <a:gd name="connsiteX46786" fmla="*/ 784901 w 4610101"/>
              <a:gd name="connsiteY46786" fmla="*/ 539785 h 6557032"/>
              <a:gd name="connsiteX46787" fmla="*/ 787179 w 4610101"/>
              <a:gd name="connsiteY46787" fmla="*/ 545707 h 6557032"/>
              <a:gd name="connsiteX46788" fmla="*/ 784044 w 4610101"/>
              <a:gd name="connsiteY46788" fmla="*/ 541788 h 6557032"/>
              <a:gd name="connsiteX46789" fmla="*/ 785585 w 4610101"/>
              <a:gd name="connsiteY46789" fmla="*/ 544543 h 6557032"/>
              <a:gd name="connsiteX46790" fmla="*/ 794468 w 4610101"/>
              <a:gd name="connsiteY46790" fmla="*/ 556616 h 6557032"/>
              <a:gd name="connsiteX46791" fmla="*/ 798112 w 4610101"/>
              <a:gd name="connsiteY46791" fmla="*/ 552970 h 6557032"/>
              <a:gd name="connsiteX46792" fmla="*/ 798112 w 4610101"/>
              <a:gd name="connsiteY46792" fmla="*/ 578481 h 6557032"/>
              <a:gd name="connsiteX46793" fmla="*/ 801757 w 4610101"/>
              <a:gd name="connsiteY46793" fmla="*/ 573014 h 6557032"/>
              <a:gd name="connsiteX46794" fmla="*/ 807223 w 4610101"/>
              <a:gd name="connsiteY46794" fmla="*/ 576658 h 6557032"/>
              <a:gd name="connsiteX46795" fmla="*/ 810868 w 4610101"/>
              <a:gd name="connsiteY46795" fmla="*/ 583947 h 6557032"/>
              <a:gd name="connsiteX46796" fmla="*/ 807223 w 4610101"/>
              <a:gd name="connsiteY46796" fmla="*/ 576658 h 6557032"/>
              <a:gd name="connsiteX46797" fmla="*/ 805401 w 4610101"/>
              <a:gd name="connsiteY46797" fmla="*/ 571192 h 6557032"/>
              <a:gd name="connsiteX46798" fmla="*/ 801757 w 4610101"/>
              <a:gd name="connsiteY46798" fmla="*/ 573014 h 6557032"/>
              <a:gd name="connsiteX46799" fmla="*/ 794468 w 4610101"/>
              <a:gd name="connsiteY46799" fmla="*/ 531105 h 6557032"/>
              <a:gd name="connsiteX46800" fmla="*/ 803579 w 4610101"/>
              <a:gd name="connsiteY46800" fmla="*/ 536571 h 6557032"/>
              <a:gd name="connsiteX46801" fmla="*/ 796290 w 4610101"/>
              <a:gd name="connsiteY46801" fmla="*/ 500127 h 6557032"/>
              <a:gd name="connsiteX46802" fmla="*/ 818156 w 4610101"/>
              <a:gd name="connsiteY46802" fmla="*/ 545681 h 6557032"/>
              <a:gd name="connsiteX46803" fmla="*/ 821801 w 4610101"/>
              <a:gd name="connsiteY46803" fmla="*/ 532926 h 6557032"/>
              <a:gd name="connsiteX46804" fmla="*/ 820202 w 4610101"/>
              <a:gd name="connsiteY46804" fmla="*/ 546426 h 6557032"/>
              <a:gd name="connsiteX46805" fmla="*/ 819979 w 4610101"/>
              <a:gd name="connsiteY46805" fmla="*/ 545681 h 6557032"/>
              <a:gd name="connsiteX46806" fmla="*/ 819979 w 4610101"/>
              <a:gd name="connsiteY46806" fmla="*/ 554792 h 6557032"/>
              <a:gd name="connsiteX46807" fmla="*/ 820340 w 4610101"/>
              <a:gd name="connsiteY46807" fmla="*/ 553589 h 6557032"/>
              <a:gd name="connsiteX46808" fmla="*/ 821032 w 4610101"/>
              <a:gd name="connsiteY46808" fmla="*/ 557526 h 6557032"/>
              <a:gd name="connsiteX46809" fmla="*/ 827267 w 4610101"/>
              <a:gd name="connsiteY46809" fmla="*/ 562081 h 6557032"/>
              <a:gd name="connsiteX46810" fmla="*/ 823623 w 4610101"/>
              <a:gd name="connsiteY46810" fmla="*/ 558437 h 6557032"/>
              <a:gd name="connsiteX46811" fmla="*/ 828144 w 4610101"/>
              <a:gd name="connsiteY46811" fmla="*/ 558437 h 6557032"/>
              <a:gd name="connsiteX46812" fmla="*/ 827495 w 4610101"/>
              <a:gd name="connsiteY46812" fmla="*/ 560943 h 6557032"/>
              <a:gd name="connsiteX46813" fmla="*/ 832734 w 4610101"/>
              <a:gd name="connsiteY46813" fmla="*/ 565725 h 6557032"/>
              <a:gd name="connsiteX46814" fmla="*/ 834556 w 4610101"/>
              <a:gd name="connsiteY46814" fmla="*/ 562081 h 6557032"/>
              <a:gd name="connsiteX46815" fmla="*/ 840022 w 4610101"/>
              <a:gd name="connsiteY46815" fmla="*/ 565725 h 6557032"/>
              <a:gd name="connsiteX46816" fmla="*/ 834556 w 4610101"/>
              <a:gd name="connsiteY46816" fmla="*/ 562081 h 6557032"/>
              <a:gd name="connsiteX46817" fmla="*/ 829187 w 4610101"/>
              <a:gd name="connsiteY46817" fmla="*/ 554923 h 6557032"/>
              <a:gd name="connsiteX46818" fmla="*/ 829317 w 4610101"/>
              <a:gd name="connsiteY46818" fmla="*/ 550237 h 6557032"/>
              <a:gd name="connsiteX46819" fmla="*/ 825445 w 4610101"/>
              <a:gd name="connsiteY46819" fmla="*/ 542037 h 6557032"/>
              <a:gd name="connsiteX46820" fmla="*/ 832734 w 4610101"/>
              <a:gd name="connsiteY46820" fmla="*/ 547504 h 6557032"/>
              <a:gd name="connsiteX46821" fmla="*/ 825445 w 4610101"/>
              <a:gd name="connsiteY46821" fmla="*/ 529282 h 6557032"/>
              <a:gd name="connsiteX46822" fmla="*/ 834556 w 4610101"/>
              <a:gd name="connsiteY46822" fmla="*/ 536571 h 6557032"/>
              <a:gd name="connsiteX46823" fmla="*/ 830912 w 4610101"/>
              <a:gd name="connsiteY46823" fmla="*/ 529282 h 6557032"/>
              <a:gd name="connsiteX46824" fmla="*/ 834556 w 4610101"/>
              <a:gd name="connsiteY46824" fmla="*/ 529282 h 6557032"/>
              <a:gd name="connsiteX46825" fmla="*/ 834556 w 4610101"/>
              <a:gd name="connsiteY46825" fmla="*/ 521993 h 6557032"/>
              <a:gd name="connsiteX46826" fmla="*/ 841845 w 4610101"/>
              <a:gd name="connsiteY46826" fmla="*/ 527461 h 6557032"/>
              <a:gd name="connsiteX46827" fmla="*/ 843170 w 4610101"/>
              <a:gd name="connsiteY46827" fmla="*/ 524148 h 6557032"/>
              <a:gd name="connsiteX46828" fmla="*/ 842755 w 4610101"/>
              <a:gd name="connsiteY46828" fmla="*/ 532016 h 6557032"/>
              <a:gd name="connsiteX46829" fmla="*/ 841845 w 4610101"/>
              <a:gd name="connsiteY46829" fmla="*/ 549326 h 6557032"/>
              <a:gd name="connsiteX46830" fmla="*/ 849133 w 4610101"/>
              <a:gd name="connsiteY46830" fmla="*/ 527461 h 6557032"/>
              <a:gd name="connsiteX46831" fmla="*/ 850956 w 4610101"/>
              <a:gd name="connsiteY46831" fmla="*/ 536571 h 6557032"/>
              <a:gd name="connsiteX46832" fmla="*/ 850956 w 4610101"/>
              <a:gd name="connsiteY46832" fmla="*/ 523815 h 6557032"/>
              <a:gd name="connsiteX46833" fmla="*/ 854600 w 4610101"/>
              <a:gd name="connsiteY46833" fmla="*/ 521993 h 6557032"/>
              <a:gd name="connsiteX46834" fmla="*/ 850956 w 4610101"/>
              <a:gd name="connsiteY46834" fmla="*/ 507417 h 6557032"/>
              <a:gd name="connsiteX46835" fmla="*/ 854600 w 4610101"/>
              <a:gd name="connsiteY46835" fmla="*/ 511061 h 6557032"/>
              <a:gd name="connsiteX46836" fmla="*/ 845489 w 4610101"/>
              <a:gd name="connsiteY46836" fmla="*/ 496483 h 6557032"/>
              <a:gd name="connsiteX46837" fmla="*/ 843667 w 4610101"/>
              <a:gd name="connsiteY46837" fmla="*/ 500127 h 6557032"/>
              <a:gd name="connsiteX46838" fmla="*/ 843667 w 4610101"/>
              <a:gd name="connsiteY46838" fmla="*/ 491017 h 6557032"/>
              <a:gd name="connsiteX46839" fmla="*/ 858244 w 4610101"/>
              <a:gd name="connsiteY46839" fmla="*/ 496483 h 6557032"/>
              <a:gd name="connsiteX46840" fmla="*/ 850956 w 4610101"/>
              <a:gd name="connsiteY46840" fmla="*/ 485550 h 6557032"/>
              <a:gd name="connsiteX46841" fmla="*/ 860066 w 4610101"/>
              <a:gd name="connsiteY46841" fmla="*/ 496483 h 6557032"/>
              <a:gd name="connsiteX46842" fmla="*/ 865305 w 4610101"/>
              <a:gd name="connsiteY46842" fmla="*/ 496028 h 6557032"/>
              <a:gd name="connsiteX46843" fmla="*/ 867611 w 4610101"/>
              <a:gd name="connsiteY46843" fmla="*/ 497384 h 6557032"/>
              <a:gd name="connsiteX46844" fmla="*/ 869177 w 4610101"/>
              <a:gd name="connsiteY46844" fmla="*/ 500811 h 6557032"/>
              <a:gd name="connsiteX46845" fmla="*/ 878288 w 4610101"/>
              <a:gd name="connsiteY46845" fmla="*/ 501949 h 6557032"/>
              <a:gd name="connsiteX46846" fmla="*/ 868635 w 4610101"/>
              <a:gd name="connsiteY46846" fmla="*/ 495054 h 6557032"/>
              <a:gd name="connsiteX46847" fmla="*/ 867355 w 4610101"/>
              <a:gd name="connsiteY46847" fmla="*/ 487373 h 6557032"/>
              <a:gd name="connsiteX46848" fmla="*/ 874644 w 4610101"/>
              <a:gd name="connsiteY46848" fmla="*/ 492838 h 6557032"/>
              <a:gd name="connsiteX46849" fmla="*/ 876466 w 4610101"/>
              <a:gd name="connsiteY46849" fmla="*/ 489194 h 6557032"/>
              <a:gd name="connsiteX46850" fmla="*/ 877149 w 4610101"/>
              <a:gd name="connsiteY46850" fmla="*/ 494206 h 6557032"/>
              <a:gd name="connsiteX46851" fmla="*/ 879863 w 4610101"/>
              <a:gd name="connsiteY46851" fmla="*/ 495498 h 6557032"/>
              <a:gd name="connsiteX46852" fmla="*/ 880111 w 4610101"/>
              <a:gd name="connsiteY46852" fmla="*/ 496483 h 6557032"/>
              <a:gd name="connsiteX46853" fmla="*/ 880460 w 4610101"/>
              <a:gd name="connsiteY46853" fmla="*/ 495782 h 6557032"/>
              <a:gd name="connsiteX46854" fmla="*/ 881933 w 4610101"/>
              <a:gd name="connsiteY46854" fmla="*/ 496483 h 6557032"/>
              <a:gd name="connsiteX46855" fmla="*/ 881132 w 4610101"/>
              <a:gd name="connsiteY46855" fmla="*/ 494438 h 6557032"/>
              <a:gd name="connsiteX46856" fmla="*/ 881932 w 4610101"/>
              <a:gd name="connsiteY46856" fmla="*/ 492839 h 6557032"/>
              <a:gd name="connsiteX46857" fmla="*/ 880040 w 4610101"/>
              <a:gd name="connsiteY46857" fmla="*/ 490947 h 6557032"/>
              <a:gd name="connsiteX46858" fmla="*/ 881933 w 4610101"/>
              <a:gd name="connsiteY46858" fmla="*/ 487373 h 6557032"/>
              <a:gd name="connsiteX46859" fmla="*/ 884894 w 4610101"/>
              <a:gd name="connsiteY46859" fmla="*/ 493978 h 6557032"/>
              <a:gd name="connsiteX46860" fmla="*/ 887058 w 4610101"/>
              <a:gd name="connsiteY46860" fmla="*/ 497964 h 6557032"/>
              <a:gd name="connsiteX46861" fmla="*/ 883755 w 4610101"/>
              <a:gd name="connsiteY46861" fmla="*/ 494662 h 6557032"/>
              <a:gd name="connsiteX46862" fmla="*/ 889222 w 4610101"/>
              <a:gd name="connsiteY46862" fmla="*/ 505594 h 6557032"/>
              <a:gd name="connsiteX46863" fmla="*/ 888712 w 4610101"/>
              <a:gd name="connsiteY46863" fmla="*/ 501012 h 6557032"/>
              <a:gd name="connsiteX46864" fmla="*/ 889222 w 4610101"/>
              <a:gd name="connsiteY46864" fmla="*/ 501949 h 6557032"/>
              <a:gd name="connsiteX46865" fmla="*/ 889222 w 4610101"/>
              <a:gd name="connsiteY46865" fmla="*/ 496483 h 6557032"/>
              <a:gd name="connsiteX46866" fmla="*/ 891043 w 4610101"/>
              <a:gd name="connsiteY46866" fmla="*/ 500127 h 6557032"/>
              <a:gd name="connsiteX46867" fmla="*/ 891043 w 4610101"/>
              <a:gd name="connsiteY46867" fmla="*/ 496483 h 6557032"/>
              <a:gd name="connsiteX46868" fmla="*/ 891043 w 4610101"/>
              <a:gd name="connsiteY46868" fmla="*/ 492838 h 6557032"/>
              <a:gd name="connsiteX46869" fmla="*/ 887399 w 4610101"/>
              <a:gd name="connsiteY46869" fmla="*/ 494662 h 6557032"/>
              <a:gd name="connsiteX46870" fmla="*/ 889222 w 4610101"/>
              <a:gd name="connsiteY46870" fmla="*/ 483728 h 6557032"/>
              <a:gd name="connsiteX46871" fmla="*/ 894688 w 4610101"/>
              <a:gd name="connsiteY46871" fmla="*/ 492838 h 6557032"/>
              <a:gd name="connsiteX46872" fmla="*/ 887399 w 4610101"/>
              <a:gd name="connsiteY46872" fmla="*/ 465506 h 6557032"/>
              <a:gd name="connsiteX46873" fmla="*/ 892866 w 4610101"/>
              <a:gd name="connsiteY46873" fmla="*/ 463684 h 6557032"/>
              <a:gd name="connsiteX46874" fmla="*/ 891043 w 4610101"/>
              <a:gd name="connsiteY46874" fmla="*/ 447284 h 6557032"/>
              <a:gd name="connsiteX46875" fmla="*/ 894688 w 4610101"/>
              <a:gd name="connsiteY46875" fmla="*/ 465506 h 6557032"/>
              <a:gd name="connsiteX46876" fmla="*/ 898333 w 4610101"/>
              <a:gd name="connsiteY46876" fmla="*/ 469150 h 6557032"/>
              <a:gd name="connsiteX46877" fmla="*/ 895599 w 4610101"/>
              <a:gd name="connsiteY46877" fmla="*/ 488283 h 6557032"/>
              <a:gd name="connsiteX46878" fmla="*/ 897492 w 4610101"/>
              <a:gd name="connsiteY46878" fmla="*/ 501538 h 6557032"/>
              <a:gd name="connsiteX46879" fmla="*/ 897421 w 4610101"/>
              <a:gd name="connsiteY46879" fmla="*/ 501722 h 6557032"/>
              <a:gd name="connsiteX46880" fmla="*/ 897560 w 4610101"/>
              <a:gd name="connsiteY46880" fmla="*/ 502011 h 6557032"/>
              <a:gd name="connsiteX46881" fmla="*/ 898333 w 4610101"/>
              <a:gd name="connsiteY46881" fmla="*/ 507417 h 6557032"/>
              <a:gd name="connsiteX46882" fmla="*/ 899261 w 4610101"/>
              <a:gd name="connsiteY46882" fmla="*/ 505557 h 6557032"/>
              <a:gd name="connsiteX46883" fmla="*/ 899904 w 4610101"/>
              <a:gd name="connsiteY46883" fmla="*/ 506896 h 6557032"/>
              <a:gd name="connsiteX46884" fmla="*/ 898561 w 4610101"/>
              <a:gd name="connsiteY46884" fmla="*/ 511288 h 6557032"/>
              <a:gd name="connsiteX46885" fmla="*/ 896510 w 4610101"/>
              <a:gd name="connsiteY46885" fmla="*/ 523815 h 6557032"/>
              <a:gd name="connsiteX46886" fmla="*/ 898333 w 4610101"/>
              <a:gd name="connsiteY46886" fmla="*/ 516527 h 6557032"/>
              <a:gd name="connsiteX46887" fmla="*/ 902659 w 4610101"/>
              <a:gd name="connsiteY46887" fmla="*/ 530193 h 6557032"/>
              <a:gd name="connsiteX46888" fmla="*/ 902251 w 4610101"/>
              <a:gd name="connsiteY46888" fmla="*/ 532426 h 6557032"/>
              <a:gd name="connsiteX46889" fmla="*/ 900154 w 4610101"/>
              <a:gd name="connsiteY46889" fmla="*/ 543860 h 6557032"/>
              <a:gd name="connsiteX46890" fmla="*/ 909265 w 4610101"/>
              <a:gd name="connsiteY46890" fmla="*/ 549326 h 6557032"/>
              <a:gd name="connsiteX46891" fmla="*/ 909845 w 4610101"/>
              <a:gd name="connsiteY46891" fmla="*/ 546676 h 6557032"/>
              <a:gd name="connsiteX46892" fmla="*/ 911087 w 4610101"/>
              <a:gd name="connsiteY46892" fmla="*/ 556616 h 6557032"/>
              <a:gd name="connsiteX46893" fmla="*/ 916555 w 4610101"/>
              <a:gd name="connsiteY46893" fmla="*/ 547504 h 6557032"/>
              <a:gd name="connsiteX46894" fmla="*/ 910635 w 4610101"/>
              <a:gd name="connsiteY46894" fmla="*/ 543065 h 6557032"/>
              <a:gd name="connsiteX46895" fmla="*/ 910859 w 4610101"/>
              <a:gd name="connsiteY46895" fmla="*/ 542037 h 6557032"/>
              <a:gd name="connsiteX46896" fmla="*/ 905621 w 4610101"/>
              <a:gd name="connsiteY46896" fmla="*/ 534749 h 6557032"/>
              <a:gd name="connsiteX46897" fmla="*/ 912909 w 4610101"/>
              <a:gd name="connsiteY46897" fmla="*/ 540215 h 6557032"/>
              <a:gd name="connsiteX46898" fmla="*/ 916555 w 4610101"/>
              <a:gd name="connsiteY46898" fmla="*/ 520171 h 6557032"/>
              <a:gd name="connsiteX46899" fmla="*/ 918376 w 4610101"/>
              <a:gd name="connsiteY46899" fmla="*/ 521993 h 6557032"/>
              <a:gd name="connsiteX46900" fmla="*/ 922020 w 4610101"/>
              <a:gd name="connsiteY46900" fmla="*/ 516527 h 6557032"/>
              <a:gd name="connsiteX46901" fmla="*/ 927487 w 4610101"/>
              <a:gd name="connsiteY46901" fmla="*/ 518870 h 6557032"/>
              <a:gd name="connsiteX46902" fmla="*/ 934777 w 4610101"/>
              <a:gd name="connsiteY46902" fmla="*/ 521993 h 6557032"/>
              <a:gd name="connsiteX46903" fmla="*/ 932624 w 4610101"/>
              <a:gd name="connsiteY46903" fmla="*/ 526204 h 6557032"/>
              <a:gd name="connsiteX46904" fmla="*/ 931131 w 4610101"/>
              <a:gd name="connsiteY46904" fmla="*/ 523815 h 6557032"/>
              <a:gd name="connsiteX46905" fmla="*/ 925666 w 4610101"/>
              <a:gd name="connsiteY46905" fmla="*/ 542037 h 6557032"/>
              <a:gd name="connsiteX46906" fmla="*/ 918376 w 4610101"/>
              <a:gd name="connsiteY46906" fmla="*/ 545681 h 6557032"/>
              <a:gd name="connsiteX46907" fmla="*/ 922020 w 4610101"/>
              <a:gd name="connsiteY46907" fmla="*/ 556616 h 6557032"/>
              <a:gd name="connsiteX46908" fmla="*/ 925666 w 4610101"/>
              <a:gd name="connsiteY46908" fmla="*/ 545681 h 6557032"/>
              <a:gd name="connsiteX46909" fmla="*/ 925666 w 4610101"/>
              <a:gd name="connsiteY46909" fmla="*/ 565725 h 6557032"/>
              <a:gd name="connsiteX46910" fmla="*/ 940242 w 4610101"/>
              <a:gd name="connsiteY46910" fmla="*/ 534749 h 6557032"/>
              <a:gd name="connsiteX46911" fmla="*/ 937371 w 4610101"/>
              <a:gd name="connsiteY46911" fmla="*/ 534749 h 6557032"/>
              <a:gd name="connsiteX46912" fmla="*/ 938192 w 4610101"/>
              <a:gd name="connsiteY46912" fmla="*/ 530877 h 6557032"/>
              <a:gd name="connsiteX46913" fmla="*/ 943886 w 4610101"/>
              <a:gd name="connsiteY46913" fmla="*/ 521993 h 6557032"/>
              <a:gd name="connsiteX46914" fmla="*/ 940242 w 4610101"/>
              <a:gd name="connsiteY46914" fmla="*/ 509238 h 6557032"/>
              <a:gd name="connsiteX46915" fmla="*/ 927487 w 4610101"/>
              <a:gd name="connsiteY46915" fmla="*/ 496483 h 6557032"/>
              <a:gd name="connsiteX46916" fmla="*/ 932953 w 4610101"/>
              <a:gd name="connsiteY46916" fmla="*/ 494662 h 6557032"/>
              <a:gd name="connsiteX46917" fmla="*/ 923843 w 4610101"/>
              <a:gd name="connsiteY46917" fmla="*/ 470972 h 6557032"/>
              <a:gd name="connsiteX46918" fmla="*/ 940242 w 4610101"/>
              <a:gd name="connsiteY46918" fmla="*/ 498306 h 6557032"/>
              <a:gd name="connsiteX46919" fmla="*/ 938420 w 4610101"/>
              <a:gd name="connsiteY46919" fmla="*/ 476439 h 6557032"/>
              <a:gd name="connsiteX46920" fmla="*/ 947531 w 4610101"/>
              <a:gd name="connsiteY46920" fmla="*/ 483728 h 6557032"/>
              <a:gd name="connsiteX46921" fmla="*/ 948779 w 4610101"/>
              <a:gd name="connsiteY46921" fmla="*/ 478736 h 6557032"/>
              <a:gd name="connsiteX46922" fmla="*/ 951133 w 4610101"/>
              <a:gd name="connsiteY46922" fmla="*/ 480059 h 6557032"/>
              <a:gd name="connsiteX46923" fmla="*/ 951160 w 4610101"/>
              <a:gd name="connsiteY46923" fmla="*/ 480146 h 6557032"/>
              <a:gd name="connsiteX46924" fmla="*/ 948669 w 4610101"/>
              <a:gd name="connsiteY46924" fmla="*/ 490561 h 6557032"/>
              <a:gd name="connsiteX46925" fmla="*/ 952997 w 4610101"/>
              <a:gd name="connsiteY46925" fmla="*/ 498306 h 6557032"/>
              <a:gd name="connsiteX46926" fmla="*/ 953225 w 4610101"/>
              <a:gd name="connsiteY46926" fmla="*/ 486461 h 6557032"/>
              <a:gd name="connsiteX46927" fmla="*/ 951160 w 4610101"/>
              <a:gd name="connsiteY46927" fmla="*/ 480146 h 6557032"/>
              <a:gd name="connsiteX46928" fmla="*/ 951175 w 4610101"/>
              <a:gd name="connsiteY46928" fmla="*/ 480083 h 6557032"/>
              <a:gd name="connsiteX46929" fmla="*/ 949353 w 4610101"/>
              <a:gd name="connsiteY46929" fmla="*/ 461862 h 6557032"/>
              <a:gd name="connsiteX46930" fmla="*/ 958464 w 4610101"/>
              <a:gd name="connsiteY46930" fmla="*/ 461862 h 6557032"/>
              <a:gd name="connsiteX46931" fmla="*/ 958464 w 4610101"/>
              <a:gd name="connsiteY46931" fmla="*/ 485550 h 6557032"/>
              <a:gd name="connsiteX46932" fmla="*/ 965753 w 4610101"/>
              <a:gd name="connsiteY46932" fmla="*/ 467328 h 6557032"/>
              <a:gd name="connsiteX46933" fmla="*/ 965753 w 4610101"/>
              <a:gd name="connsiteY46933" fmla="*/ 472795 h 6557032"/>
              <a:gd name="connsiteX46934" fmla="*/ 969397 w 4610101"/>
              <a:gd name="connsiteY46934" fmla="*/ 472112 h 6557032"/>
              <a:gd name="connsiteX46935" fmla="*/ 970872 w 4610101"/>
              <a:gd name="connsiteY46935" fmla="*/ 472389 h 6557032"/>
              <a:gd name="connsiteX46936" fmla="*/ 961880 w 4610101"/>
              <a:gd name="connsiteY46936" fmla="*/ 478262 h 6557032"/>
              <a:gd name="connsiteX46937" fmla="*/ 960286 w 4610101"/>
              <a:gd name="connsiteY46937" fmla="*/ 491017 h 6557032"/>
              <a:gd name="connsiteX46938" fmla="*/ 972004 w 4610101"/>
              <a:gd name="connsiteY46938" fmla="*/ 472601 h 6557032"/>
              <a:gd name="connsiteX46939" fmla="*/ 973041 w 4610101"/>
              <a:gd name="connsiteY46939" fmla="*/ 472795 h 6557032"/>
              <a:gd name="connsiteX46940" fmla="*/ 972642 w 4610101"/>
              <a:gd name="connsiteY46940" fmla="*/ 471599 h 6557032"/>
              <a:gd name="connsiteX46941" fmla="*/ 973041 w 4610101"/>
              <a:gd name="connsiteY46941" fmla="*/ 470972 h 6557032"/>
              <a:gd name="connsiteX46942" fmla="*/ 972542 w 4610101"/>
              <a:gd name="connsiteY46942" fmla="*/ 471298 h 6557032"/>
              <a:gd name="connsiteX46943" fmla="*/ 970308 w 4610101"/>
              <a:gd name="connsiteY46943" fmla="*/ 464595 h 6557032"/>
              <a:gd name="connsiteX46944" fmla="*/ 967575 w 4610101"/>
              <a:gd name="connsiteY46944" fmla="*/ 456395 h 6557032"/>
              <a:gd name="connsiteX46945" fmla="*/ 973041 w 4610101"/>
              <a:gd name="connsiteY46945" fmla="*/ 458218 h 6557032"/>
              <a:gd name="connsiteX46946" fmla="*/ 973952 w 4610101"/>
              <a:gd name="connsiteY46946" fmla="*/ 459129 h 6557032"/>
              <a:gd name="connsiteX46947" fmla="*/ 978508 w 4610101"/>
              <a:gd name="connsiteY46947" fmla="*/ 463684 h 6557032"/>
              <a:gd name="connsiteX46948" fmla="*/ 978508 w 4610101"/>
              <a:gd name="connsiteY46948" fmla="*/ 479628 h 6557032"/>
              <a:gd name="connsiteX46949" fmla="*/ 980330 w 4610101"/>
              <a:gd name="connsiteY46949" fmla="*/ 481830 h 6557032"/>
              <a:gd name="connsiteX46950" fmla="*/ 980330 w 4610101"/>
              <a:gd name="connsiteY46950" fmla="*/ 489194 h 6557032"/>
              <a:gd name="connsiteX46951" fmla="*/ 980330 w 4610101"/>
              <a:gd name="connsiteY46951" fmla="*/ 492838 h 6557032"/>
              <a:gd name="connsiteX46952" fmla="*/ 980330 w 4610101"/>
              <a:gd name="connsiteY46952" fmla="*/ 489194 h 6557032"/>
              <a:gd name="connsiteX46953" fmla="*/ 983974 w 4610101"/>
              <a:gd name="connsiteY46953" fmla="*/ 494662 h 6557032"/>
              <a:gd name="connsiteX46954" fmla="*/ 984637 w 4610101"/>
              <a:gd name="connsiteY46954" fmla="*/ 487035 h 6557032"/>
              <a:gd name="connsiteX46955" fmla="*/ 989441 w 4610101"/>
              <a:gd name="connsiteY46955" fmla="*/ 492838 h 6557032"/>
              <a:gd name="connsiteX46956" fmla="*/ 987619 w 4610101"/>
              <a:gd name="connsiteY46956" fmla="*/ 487373 h 6557032"/>
              <a:gd name="connsiteX46957" fmla="*/ 991263 w 4610101"/>
              <a:gd name="connsiteY46957" fmla="*/ 485550 h 6557032"/>
              <a:gd name="connsiteX46958" fmla="*/ 989441 w 4610101"/>
              <a:gd name="connsiteY46958" fmla="*/ 489194 h 6557032"/>
              <a:gd name="connsiteX46959" fmla="*/ 991263 w 4610101"/>
              <a:gd name="connsiteY46959" fmla="*/ 485550 h 6557032"/>
              <a:gd name="connsiteX46960" fmla="*/ 1002196 w 4610101"/>
              <a:gd name="connsiteY46960" fmla="*/ 441819 h 6557032"/>
              <a:gd name="connsiteX46961" fmla="*/ 994907 w 4610101"/>
              <a:gd name="connsiteY46961" fmla="*/ 432707 h 6557032"/>
              <a:gd name="connsiteX46962" fmla="*/ 998916 w 4610101"/>
              <a:gd name="connsiteY46962" fmla="*/ 434044 h 6557032"/>
              <a:gd name="connsiteX46963" fmla="*/ 998552 w 4610101"/>
              <a:gd name="connsiteY46963" fmla="*/ 434530 h 6557032"/>
              <a:gd name="connsiteX46964" fmla="*/ 1005840 w 4610101"/>
              <a:gd name="connsiteY46964" fmla="*/ 436351 h 6557032"/>
              <a:gd name="connsiteX46965" fmla="*/ 998916 w 4610101"/>
              <a:gd name="connsiteY46965" fmla="*/ 434044 h 6557032"/>
              <a:gd name="connsiteX46966" fmla="*/ 1004018 w 4610101"/>
              <a:gd name="connsiteY46966" fmla="*/ 427240 h 6557032"/>
              <a:gd name="connsiteX46967" fmla="*/ 1005840 w 4610101"/>
              <a:gd name="connsiteY46967" fmla="*/ 429063 h 6557032"/>
              <a:gd name="connsiteX46968" fmla="*/ 971219 w 4610101"/>
              <a:gd name="connsiteY46968" fmla="*/ 388976 h 6557032"/>
              <a:gd name="connsiteX46969" fmla="*/ 980330 w 4610101"/>
              <a:gd name="connsiteY46969" fmla="*/ 387152 h 6557032"/>
              <a:gd name="connsiteX46970" fmla="*/ 974863 w 4610101"/>
              <a:gd name="connsiteY46970" fmla="*/ 383509 h 6557032"/>
              <a:gd name="connsiteX46971" fmla="*/ 989441 w 4610101"/>
              <a:gd name="connsiteY46971" fmla="*/ 388976 h 6557032"/>
              <a:gd name="connsiteX46972" fmla="*/ 980330 w 4610101"/>
              <a:gd name="connsiteY46972" fmla="*/ 378041 h 6557032"/>
              <a:gd name="connsiteX46973" fmla="*/ 989441 w 4610101"/>
              <a:gd name="connsiteY46973" fmla="*/ 376220 h 6557032"/>
              <a:gd name="connsiteX46974" fmla="*/ 1007663 w 4610101"/>
              <a:gd name="connsiteY46974" fmla="*/ 416308 h 6557032"/>
              <a:gd name="connsiteX46975" fmla="*/ 1007663 w 4610101"/>
              <a:gd name="connsiteY46975" fmla="*/ 394441 h 6557032"/>
              <a:gd name="connsiteX46976" fmla="*/ 1000374 w 4610101"/>
              <a:gd name="connsiteY46976" fmla="*/ 388976 h 6557032"/>
              <a:gd name="connsiteX46977" fmla="*/ 1009485 w 4610101"/>
              <a:gd name="connsiteY46977" fmla="*/ 388976 h 6557032"/>
              <a:gd name="connsiteX46978" fmla="*/ 1010516 w 4610101"/>
              <a:gd name="connsiteY46978" fmla="*/ 386052 h 6557032"/>
              <a:gd name="connsiteX46979" fmla="*/ 1012673 w 4610101"/>
              <a:gd name="connsiteY46979" fmla="*/ 398997 h 6557032"/>
              <a:gd name="connsiteX46980" fmla="*/ 1013129 w 4610101"/>
              <a:gd name="connsiteY46980" fmla="*/ 418129 h 6557032"/>
              <a:gd name="connsiteX46981" fmla="*/ 1024062 w 4610101"/>
              <a:gd name="connsiteY46981" fmla="*/ 357998 h 6557032"/>
              <a:gd name="connsiteX46982" fmla="*/ 1025884 w 4610101"/>
              <a:gd name="connsiteY46982" fmla="*/ 361642 h 6557032"/>
              <a:gd name="connsiteX46983" fmla="*/ 1027707 w 4610101"/>
              <a:gd name="connsiteY46983" fmla="*/ 354354 h 6557032"/>
              <a:gd name="connsiteX46984" fmla="*/ 1018596 w 4610101"/>
              <a:gd name="connsiteY46984" fmla="*/ 434530 h 6557032"/>
              <a:gd name="connsiteX46985" fmla="*/ 1022240 w 4610101"/>
              <a:gd name="connsiteY46985" fmla="*/ 430886 h 6557032"/>
              <a:gd name="connsiteX46986" fmla="*/ 1017458 w 4610101"/>
              <a:gd name="connsiteY46986" fmla="*/ 436807 h 6557032"/>
              <a:gd name="connsiteX46987" fmla="*/ 1017766 w 4610101"/>
              <a:gd name="connsiteY46987" fmla="*/ 439484 h 6557032"/>
              <a:gd name="connsiteX46988" fmla="*/ 1013129 w 4610101"/>
              <a:gd name="connsiteY46988" fmla="*/ 436351 h 6557032"/>
              <a:gd name="connsiteX46989" fmla="*/ 1005840 w 4610101"/>
              <a:gd name="connsiteY46989" fmla="*/ 476439 h 6557032"/>
              <a:gd name="connsiteX46990" fmla="*/ 1025884 w 4610101"/>
              <a:gd name="connsiteY46990" fmla="*/ 449107 h 6557032"/>
              <a:gd name="connsiteX46991" fmla="*/ 1024625 w 4610101"/>
              <a:gd name="connsiteY46991" fmla="*/ 447053 h 6557032"/>
              <a:gd name="connsiteX46992" fmla="*/ 1027707 w 4610101"/>
              <a:gd name="connsiteY46992" fmla="*/ 449107 h 6557032"/>
              <a:gd name="connsiteX46993" fmla="*/ 1024062 w 4610101"/>
              <a:gd name="connsiteY46993" fmla="*/ 436351 h 6557032"/>
              <a:gd name="connsiteX46994" fmla="*/ 1029529 w 4610101"/>
              <a:gd name="connsiteY46994" fmla="*/ 443640 h 6557032"/>
              <a:gd name="connsiteX46995" fmla="*/ 1033173 w 4610101"/>
              <a:gd name="connsiteY46995" fmla="*/ 441819 h 6557032"/>
              <a:gd name="connsiteX46996" fmla="*/ 1027707 w 4610101"/>
              <a:gd name="connsiteY46996" fmla="*/ 454574 h 6557032"/>
              <a:gd name="connsiteX46997" fmla="*/ 1042284 w 4610101"/>
              <a:gd name="connsiteY46997" fmla="*/ 430886 h 6557032"/>
              <a:gd name="connsiteX46998" fmla="*/ 1033173 w 4610101"/>
              <a:gd name="connsiteY46998" fmla="*/ 439995 h 6557032"/>
              <a:gd name="connsiteX46999" fmla="*/ 1038639 w 4610101"/>
              <a:gd name="connsiteY46999" fmla="*/ 427240 h 6557032"/>
              <a:gd name="connsiteX47000" fmla="*/ 1038639 w 4610101"/>
              <a:gd name="connsiteY47000" fmla="*/ 430886 h 6557032"/>
              <a:gd name="connsiteX47001" fmla="*/ 1044106 w 4610101"/>
              <a:gd name="connsiteY47001" fmla="*/ 407196 h 6557032"/>
              <a:gd name="connsiteX47002" fmla="*/ 1051395 w 4610101"/>
              <a:gd name="connsiteY47002" fmla="*/ 401731 h 6557032"/>
              <a:gd name="connsiteX47003" fmla="*/ 1047750 w 4610101"/>
              <a:gd name="connsiteY47003" fmla="*/ 390797 h 6557032"/>
              <a:gd name="connsiteX47004" fmla="*/ 1051395 w 4610101"/>
              <a:gd name="connsiteY47004" fmla="*/ 398085 h 6557032"/>
              <a:gd name="connsiteX47005" fmla="*/ 1053217 w 4610101"/>
              <a:gd name="connsiteY47005" fmla="*/ 379865 h 6557032"/>
              <a:gd name="connsiteX47006" fmla="*/ 1055040 w 4610101"/>
              <a:gd name="connsiteY47006" fmla="*/ 379865 h 6557032"/>
              <a:gd name="connsiteX47007" fmla="*/ 1058683 w 4610101"/>
              <a:gd name="connsiteY47007" fmla="*/ 374397 h 6557032"/>
              <a:gd name="connsiteX47008" fmla="*/ 1058683 w 4610101"/>
              <a:gd name="connsiteY47008" fmla="*/ 387152 h 6557032"/>
              <a:gd name="connsiteX47009" fmla="*/ 1067794 w 4610101"/>
              <a:gd name="connsiteY47009" fmla="*/ 381687 h 6557032"/>
              <a:gd name="connsiteX47010" fmla="*/ 1054128 w 4610101"/>
              <a:gd name="connsiteY47010" fmla="*/ 408336 h 6557032"/>
              <a:gd name="connsiteX47011" fmla="*/ 1046811 w 4610101"/>
              <a:gd name="connsiteY47011" fmla="*/ 433333 h 6557032"/>
              <a:gd name="connsiteX47012" fmla="*/ 1042284 w 4610101"/>
              <a:gd name="connsiteY47012" fmla="*/ 436351 h 6557032"/>
              <a:gd name="connsiteX47013" fmla="*/ 1044106 w 4610101"/>
              <a:gd name="connsiteY47013" fmla="*/ 432707 h 6557032"/>
              <a:gd name="connsiteX47014" fmla="*/ 1040462 w 4610101"/>
              <a:gd name="connsiteY47014" fmla="*/ 439995 h 6557032"/>
              <a:gd name="connsiteX47015" fmla="*/ 1042284 w 4610101"/>
              <a:gd name="connsiteY47015" fmla="*/ 439995 h 6557032"/>
              <a:gd name="connsiteX47016" fmla="*/ 1038639 w 4610101"/>
              <a:gd name="connsiteY47016" fmla="*/ 456395 h 6557032"/>
              <a:gd name="connsiteX47017" fmla="*/ 1034995 w 4610101"/>
              <a:gd name="connsiteY47017" fmla="*/ 449107 h 6557032"/>
              <a:gd name="connsiteX47018" fmla="*/ 1005840 w 4610101"/>
              <a:gd name="connsiteY47018" fmla="*/ 485550 h 6557032"/>
              <a:gd name="connsiteX47019" fmla="*/ 1009485 w 4610101"/>
              <a:gd name="connsiteY47019" fmla="*/ 480083 h 6557032"/>
              <a:gd name="connsiteX47020" fmla="*/ 1007663 w 4610101"/>
              <a:gd name="connsiteY47020" fmla="*/ 489194 h 6557032"/>
              <a:gd name="connsiteX47021" fmla="*/ 1009485 w 4610101"/>
              <a:gd name="connsiteY47021" fmla="*/ 487373 h 6557032"/>
              <a:gd name="connsiteX47022" fmla="*/ 1005577 w 4610101"/>
              <a:gd name="connsiteY47022" fmla="*/ 498193 h 6557032"/>
              <a:gd name="connsiteX47023" fmla="*/ 1002196 w 4610101"/>
              <a:gd name="connsiteY47023" fmla="*/ 487373 h 6557032"/>
              <a:gd name="connsiteX47024" fmla="*/ 994452 w 4610101"/>
              <a:gd name="connsiteY47024" fmla="*/ 498988 h 6557032"/>
              <a:gd name="connsiteX47025" fmla="*/ 999986 w 4610101"/>
              <a:gd name="connsiteY47025" fmla="*/ 513676 h 6557032"/>
              <a:gd name="connsiteX47026" fmla="*/ 995004 w 4610101"/>
              <a:gd name="connsiteY47026" fmla="*/ 527471 h 6557032"/>
              <a:gd name="connsiteX47027" fmla="*/ 967575 w 4610101"/>
              <a:gd name="connsiteY47027" fmla="*/ 556616 h 6557032"/>
              <a:gd name="connsiteX47028" fmla="*/ 971636 w 4610101"/>
              <a:gd name="connsiteY47028" fmla="*/ 555120 h 6557032"/>
              <a:gd name="connsiteX47029" fmla="*/ 962336 w 4610101"/>
              <a:gd name="connsiteY47029" fmla="*/ 561854 h 6557032"/>
              <a:gd name="connsiteX47030" fmla="*/ 949353 w 4610101"/>
              <a:gd name="connsiteY47030" fmla="*/ 580303 h 6557032"/>
              <a:gd name="connsiteX47031" fmla="*/ 964088 w 4610101"/>
              <a:gd name="connsiteY47031" fmla="*/ 568420 h 6557032"/>
              <a:gd name="connsiteX47032" fmla="*/ 958920 w 4610101"/>
              <a:gd name="connsiteY47032" fmla="*/ 573014 h 6557032"/>
              <a:gd name="connsiteX47033" fmla="*/ 943886 w 4610101"/>
              <a:gd name="connsiteY47033" fmla="*/ 598524 h 6557032"/>
              <a:gd name="connsiteX47034" fmla="*/ 954819 w 4610101"/>
              <a:gd name="connsiteY47034" fmla="*/ 587591 h 6557032"/>
              <a:gd name="connsiteX47035" fmla="*/ 956642 w 4610101"/>
              <a:gd name="connsiteY47035" fmla="*/ 591236 h 6557032"/>
              <a:gd name="connsiteX47036" fmla="*/ 984060 w 4610101"/>
              <a:gd name="connsiteY47036" fmla="*/ 560487 h 6557032"/>
              <a:gd name="connsiteX47037" fmla="*/ 986333 w 4610101"/>
              <a:gd name="connsiteY47037" fmla="*/ 552194 h 6557032"/>
              <a:gd name="connsiteX47038" fmla="*/ 1018596 w 4610101"/>
              <a:gd name="connsiteY47038" fmla="*/ 505594 h 6557032"/>
              <a:gd name="connsiteX47039" fmla="*/ 1025884 w 4610101"/>
              <a:gd name="connsiteY47039" fmla="*/ 489194 h 6557032"/>
              <a:gd name="connsiteX47040" fmla="*/ 1032551 w 4610101"/>
              <a:gd name="connsiteY47040" fmla="*/ 480774 h 6557032"/>
              <a:gd name="connsiteX47041" fmla="*/ 1038639 w 4610101"/>
              <a:gd name="connsiteY47041" fmla="*/ 463726 h 6557032"/>
              <a:gd name="connsiteX47042" fmla="*/ 1035450 w 4610101"/>
              <a:gd name="connsiteY47042" fmla="*/ 476482 h 6557032"/>
              <a:gd name="connsiteX47043" fmla="*/ 1035130 w 4610101"/>
              <a:gd name="connsiteY47043" fmla="*/ 477171 h 6557032"/>
              <a:gd name="connsiteX47044" fmla="*/ 1040462 w 4610101"/>
              <a:gd name="connsiteY47044" fmla="*/ 467328 h 6557032"/>
              <a:gd name="connsiteX47045" fmla="*/ 1040462 w 4610101"/>
              <a:gd name="connsiteY47045" fmla="*/ 476439 h 6557032"/>
              <a:gd name="connsiteX47046" fmla="*/ 1049573 w 4610101"/>
              <a:gd name="connsiteY47046" fmla="*/ 458218 h 6557032"/>
              <a:gd name="connsiteX47047" fmla="*/ 1049573 w 4610101"/>
              <a:gd name="connsiteY47047" fmla="*/ 461862 h 6557032"/>
              <a:gd name="connsiteX47048" fmla="*/ 1056406 w 4610101"/>
              <a:gd name="connsiteY47048" fmla="*/ 447740 h 6557032"/>
              <a:gd name="connsiteX47049" fmla="*/ 1055561 w 4610101"/>
              <a:gd name="connsiteY47049" fmla="*/ 440699 h 6557032"/>
              <a:gd name="connsiteX47050" fmla="*/ 1056634 w 4610101"/>
              <a:gd name="connsiteY47050" fmla="*/ 441818 h 6557032"/>
              <a:gd name="connsiteX47051" fmla="*/ 1060506 w 4610101"/>
              <a:gd name="connsiteY47051" fmla="*/ 447284 h 6557032"/>
              <a:gd name="connsiteX47052" fmla="*/ 1065972 w 4610101"/>
              <a:gd name="connsiteY47052" fmla="*/ 439995 h 6557032"/>
              <a:gd name="connsiteX47053" fmla="*/ 1042284 w 4610101"/>
              <a:gd name="connsiteY47053" fmla="*/ 496483 h 6557032"/>
              <a:gd name="connsiteX47054" fmla="*/ 1069616 w 4610101"/>
              <a:gd name="connsiteY47054" fmla="*/ 449107 h 6557032"/>
              <a:gd name="connsiteX47055" fmla="*/ 1069616 w 4610101"/>
              <a:gd name="connsiteY47055" fmla="*/ 452751 h 6557032"/>
              <a:gd name="connsiteX47056" fmla="*/ 1071439 w 4610101"/>
              <a:gd name="connsiteY47056" fmla="*/ 443640 h 6557032"/>
              <a:gd name="connsiteX47057" fmla="*/ 1074368 w 4610101"/>
              <a:gd name="connsiteY47057" fmla="*/ 449498 h 6557032"/>
              <a:gd name="connsiteX47058" fmla="*/ 1072578 w 4610101"/>
              <a:gd name="connsiteY47058" fmla="*/ 456395 h 6557032"/>
              <a:gd name="connsiteX47059" fmla="*/ 1062328 w 4610101"/>
              <a:gd name="connsiteY47059" fmla="*/ 480083 h 6557032"/>
              <a:gd name="connsiteX47060" fmla="*/ 1078727 w 4610101"/>
              <a:gd name="connsiteY47060" fmla="*/ 467328 h 6557032"/>
              <a:gd name="connsiteX47061" fmla="*/ 1078727 w 4610101"/>
              <a:gd name="connsiteY47061" fmla="*/ 469150 h 6557032"/>
              <a:gd name="connsiteX47062" fmla="*/ 1049573 w 4610101"/>
              <a:gd name="connsiteY47062" fmla="*/ 498306 h 6557032"/>
              <a:gd name="connsiteX47063" fmla="*/ 1062328 w 4610101"/>
              <a:gd name="connsiteY47063" fmla="*/ 521993 h 6557032"/>
              <a:gd name="connsiteX47064" fmla="*/ 1044106 w 4610101"/>
              <a:gd name="connsiteY47064" fmla="*/ 501949 h 6557032"/>
              <a:gd name="connsiteX47065" fmla="*/ 1031351 w 4610101"/>
              <a:gd name="connsiteY47065" fmla="*/ 520171 h 6557032"/>
              <a:gd name="connsiteX47066" fmla="*/ 1036818 w 4610101"/>
              <a:gd name="connsiteY47066" fmla="*/ 511061 h 6557032"/>
              <a:gd name="connsiteX47067" fmla="*/ 1018596 w 4610101"/>
              <a:gd name="connsiteY47067" fmla="*/ 534749 h 6557032"/>
              <a:gd name="connsiteX47068" fmla="*/ 1025884 w 4610101"/>
              <a:gd name="connsiteY47068" fmla="*/ 529282 h 6557032"/>
              <a:gd name="connsiteX47069" fmla="*/ 1014951 w 4610101"/>
              <a:gd name="connsiteY47069" fmla="*/ 549326 h 6557032"/>
              <a:gd name="connsiteX47070" fmla="*/ 1018596 w 4610101"/>
              <a:gd name="connsiteY47070" fmla="*/ 545681 h 6557032"/>
              <a:gd name="connsiteX47071" fmla="*/ 958464 w 4610101"/>
              <a:gd name="connsiteY47071" fmla="*/ 607635 h 6557032"/>
              <a:gd name="connsiteX47072" fmla="*/ 949353 w 4610101"/>
              <a:gd name="connsiteY47072" fmla="*/ 620391 h 6557032"/>
              <a:gd name="connsiteX47073" fmla="*/ 952997 w 4610101"/>
              <a:gd name="connsiteY47073" fmla="*/ 618568 h 6557032"/>
              <a:gd name="connsiteX47074" fmla="*/ 937053 w 4610101"/>
              <a:gd name="connsiteY47074" fmla="*/ 626769 h 6557032"/>
              <a:gd name="connsiteX47075" fmla="*/ 936504 w 4610101"/>
              <a:gd name="connsiteY47075" fmla="*/ 627737 h 6557032"/>
              <a:gd name="connsiteX47076" fmla="*/ 926576 w 4610101"/>
              <a:gd name="connsiteY47076" fmla="*/ 633830 h 6557032"/>
              <a:gd name="connsiteX47077" fmla="*/ 916555 w 4610101"/>
              <a:gd name="connsiteY47077" fmla="*/ 638612 h 6557032"/>
              <a:gd name="connsiteX47078" fmla="*/ 914732 w 4610101"/>
              <a:gd name="connsiteY47078" fmla="*/ 653190 h 6557032"/>
              <a:gd name="connsiteX47079" fmla="*/ 918376 w 4610101"/>
              <a:gd name="connsiteY47079" fmla="*/ 651368 h 6557032"/>
              <a:gd name="connsiteX47080" fmla="*/ 918376 w 4610101"/>
              <a:gd name="connsiteY47080" fmla="*/ 653190 h 6557032"/>
              <a:gd name="connsiteX47081" fmla="*/ 927487 w 4610101"/>
              <a:gd name="connsiteY47081" fmla="*/ 640435 h 6557032"/>
              <a:gd name="connsiteX47082" fmla="*/ 923843 w 4610101"/>
              <a:gd name="connsiteY47082" fmla="*/ 647723 h 6557032"/>
              <a:gd name="connsiteX47083" fmla="*/ 929309 w 4610101"/>
              <a:gd name="connsiteY47083" fmla="*/ 651368 h 6557032"/>
              <a:gd name="connsiteX47084" fmla="*/ 936370 w 4610101"/>
              <a:gd name="connsiteY47084" fmla="*/ 640890 h 6557032"/>
              <a:gd name="connsiteX47085" fmla="*/ 936442 w 4610101"/>
              <a:gd name="connsiteY47085" fmla="*/ 636691 h 6557032"/>
              <a:gd name="connsiteX47086" fmla="*/ 943886 w 4610101"/>
              <a:gd name="connsiteY47086" fmla="*/ 627679 h 6557032"/>
              <a:gd name="connsiteX47087" fmla="*/ 941608 w 4610101"/>
              <a:gd name="connsiteY47087" fmla="*/ 635196 h 6557032"/>
              <a:gd name="connsiteX47088" fmla="*/ 941812 w 4610101"/>
              <a:gd name="connsiteY47088" fmla="*/ 639144 h 6557032"/>
              <a:gd name="connsiteX47089" fmla="*/ 940242 w 4610101"/>
              <a:gd name="connsiteY47089" fmla="*/ 636790 h 6557032"/>
              <a:gd name="connsiteX47090" fmla="*/ 934777 w 4610101"/>
              <a:gd name="connsiteY47090" fmla="*/ 649545 h 6557032"/>
              <a:gd name="connsiteX47091" fmla="*/ 939331 w 4610101"/>
              <a:gd name="connsiteY47091" fmla="*/ 644535 h 6557032"/>
              <a:gd name="connsiteX47092" fmla="*/ 942018 w 4610101"/>
              <a:gd name="connsiteY47092" fmla="*/ 643191 h 6557032"/>
              <a:gd name="connsiteX47093" fmla="*/ 942064 w 4610101"/>
              <a:gd name="connsiteY47093" fmla="*/ 644079 h 6557032"/>
              <a:gd name="connsiteX47094" fmla="*/ 947531 w 4610101"/>
              <a:gd name="connsiteY47094" fmla="*/ 647723 h 6557032"/>
              <a:gd name="connsiteX47095" fmla="*/ 949244 w 4610101"/>
              <a:gd name="connsiteY47095" fmla="*/ 664852 h 6557032"/>
              <a:gd name="connsiteX47096" fmla="*/ 948670 w 4610101"/>
              <a:gd name="connsiteY47096" fmla="*/ 668679 h 6557032"/>
              <a:gd name="connsiteX47097" fmla="*/ 949353 w 4610101"/>
              <a:gd name="connsiteY47097" fmla="*/ 673234 h 6557032"/>
              <a:gd name="connsiteX47098" fmla="*/ 947531 w 4610101"/>
              <a:gd name="connsiteY47098" fmla="*/ 682345 h 6557032"/>
              <a:gd name="connsiteX47099" fmla="*/ 947531 w 4610101"/>
              <a:gd name="connsiteY47099" fmla="*/ 685989 h 6557032"/>
              <a:gd name="connsiteX47100" fmla="*/ 947531 w 4610101"/>
              <a:gd name="connsiteY47100" fmla="*/ 682345 h 6557032"/>
              <a:gd name="connsiteX47101" fmla="*/ 949353 w 4610101"/>
              <a:gd name="connsiteY47101" fmla="*/ 684167 h 6557032"/>
              <a:gd name="connsiteX47102" fmla="*/ 945709 w 4610101"/>
              <a:gd name="connsiteY47102" fmla="*/ 689633 h 6557032"/>
              <a:gd name="connsiteX47103" fmla="*/ 954819 w 4610101"/>
              <a:gd name="connsiteY47103" fmla="*/ 664123 h 6557032"/>
              <a:gd name="connsiteX47104" fmla="*/ 952997 w 4610101"/>
              <a:gd name="connsiteY47104" fmla="*/ 669589 h 6557032"/>
              <a:gd name="connsiteX47105" fmla="*/ 949353 w 4610101"/>
              <a:gd name="connsiteY47105" fmla="*/ 658656 h 6557032"/>
              <a:gd name="connsiteX47106" fmla="*/ 954819 w 4610101"/>
              <a:gd name="connsiteY47106" fmla="*/ 662301 h 6557032"/>
              <a:gd name="connsiteX47107" fmla="*/ 947531 w 4610101"/>
              <a:gd name="connsiteY47107" fmla="*/ 644079 h 6557032"/>
              <a:gd name="connsiteX47108" fmla="*/ 954819 w 4610101"/>
              <a:gd name="connsiteY47108" fmla="*/ 653190 h 6557032"/>
              <a:gd name="connsiteX47109" fmla="*/ 954819 w 4610101"/>
              <a:gd name="connsiteY47109" fmla="*/ 651368 h 6557032"/>
              <a:gd name="connsiteX47110" fmla="*/ 965753 w 4610101"/>
              <a:gd name="connsiteY47110" fmla="*/ 656834 h 6557032"/>
              <a:gd name="connsiteX47111" fmla="*/ 962381 w 4610101"/>
              <a:gd name="connsiteY47111" fmla="*/ 671798 h 6557032"/>
              <a:gd name="connsiteX47112" fmla="*/ 962108 w 4610101"/>
              <a:gd name="connsiteY47112" fmla="*/ 671411 h 6557032"/>
              <a:gd name="connsiteX47113" fmla="*/ 967575 w 4610101"/>
              <a:gd name="connsiteY47113" fmla="*/ 680522 h 6557032"/>
              <a:gd name="connsiteX47114" fmla="*/ 966769 w 4610101"/>
              <a:gd name="connsiteY47114" fmla="*/ 678979 h 6557032"/>
              <a:gd name="connsiteX47115" fmla="*/ 969397 w 4610101"/>
              <a:gd name="connsiteY47115" fmla="*/ 682345 h 6557032"/>
              <a:gd name="connsiteX47116" fmla="*/ 971197 w 4610101"/>
              <a:gd name="connsiteY47116" fmla="*/ 680781 h 6557032"/>
              <a:gd name="connsiteX47117" fmla="*/ 969397 w 4610101"/>
              <a:gd name="connsiteY47117" fmla="*/ 686673 h 6557032"/>
              <a:gd name="connsiteX47118" fmla="*/ 974863 w 4610101"/>
              <a:gd name="connsiteY47118" fmla="*/ 704211 h 6557032"/>
              <a:gd name="connsiteX47119" fmla="*/ 980330 w 4610101"/>
              <a:gd name="connsiteY47119" fmla="*/ 696922 h 6557032"/>
              <a:gd name="connsiteX47120" fmla="*/ 976686 w 4610101"/>
              <a:gd name="connsiteY47120" fmla="*/ 696922 h 6557032"/>
              <a:gd name="connsiteX47121" fmla="*/ 982152 w 4610101"/>
              <a:gd name="connsiteY47121" fmla="*/ 693278 h 6557032"/>
              <a:gd name="connsiteX47122" fmla="*/ 982152 w 4610101"/>
              <a:gd name="connsiteY47122" fmla="*/ 689633 h 6557032"/>
              <a:gd name="connsiteX47123" fmla="*/ 983974 w 4610101"/>
              <a:gd name="connsiteY47123" fmla="*/ 691455 h 6557032"/>
              <a:gd name="connsiteX47124" fmla="*/ 989441 w 4610101"/>
              <a:gd name="connsiteY47124" fmla="*/ 684167 h 6557032"/>
              <a:gd name="connsiteX47125" fmla="*/ 985796 w 4610101"/>
              <a:gd name="connsiteY47125" fmla="*/ 687811 h 6557032"/>
              <a:gd name="connsiteX47126" fmla="*/ 988529 w 4610101"/>
              <a:gd name="connsiteY47126" fmla="*/ 682117 h 6557032"/>
              <a:gd name="connsiteX47127" fmla="*/ 989197 w 4610101"/>
              <a:gd name="connsiteY47127" fmla="*/ 681728 h 6557032"/>
              <a:gd name="connsiteX47128" fmla="*/ 989498 w 4610101"/>
              <a:gd name="connsiteY47128" fmla="*/ 681804 h 6557032"/>
              <a:gd name="connsiteX47129" fmla="*/ 989612 w 4610101"/>
              <a:gd name="connsiteY47129" fmla="*/ 681486 h 6557032"/>
              <a:gd name="connsiteX47130" fmla="*/ 991263 w 4610101"/>
              <a:gd name="connsiteY47130" fmla="*/ 680522 h 6557032"/>
              <a:gd name="connsiteX47131" fmla="*/ 990123 w 4610101"/>
              <a:gd name="connsiteY47131" fmla="*/ 680058 h 6557032"/>
              <a:gd name="connsiteX47132" fmla="*/ 991263 w 4610101"/>
              <a:gd name="connsiteY47132" fmla="*/ 676878 h 6557032"/>
              <a:gd name="connsiteX47133" fmla="*/ 983974 w 4610101"/>
              <a:gd name="connsiteY47133" fmla="*/ 671411 h 6557032"/>
              <a:gd name="connsiteX47134" fmla="*/ 1002196 w 4610101"/>
              <a:gd name="connsiteY47134" fmla="*/ 678700 h 6557032"/>
              <a:gd name="connsiteX47135" fmla="*/ 996729 w 4610101"/>
              <a:gd name="connsiteY47135" fmla="*/ 678700 h 6557032"/>
              <a:gd name="connsiteX47136" fmla="*/ 999332 w 4610101"/>
              <a:gd name="connsiteY47136" fmla="*/ 683907 h 6557032"/>
              <a:gd name="connsiteX47137" fmla="*/ 996729 w 4610101"/>
              <a:gd name="connsiteY47137" fmla="*/ 687811 h 6557032"/>
              <a:gd name="connsiteX47138" fmla="*/ 1000374 w 4610101"/>
              <a:gd name="connsiteY47138" fmla="*/ 687811 h 6557032"/>
              <a:gd name="connsiteX47139" fmla="*/ 1000374 w 4610101"/>
              <a:gd name="connsiteY47139" fmla="*/ 685989 h 6557032"/>
              <a:gd name="connsiteX47140" fmla="*/ 1005203 w 4610101"/>
              <a:gd name="connsiteY47140" fmla="*/ 681307 h 6557032"/>
              <a:gd name="connsiteX47141" fmla="*/ 1002879 w 4610101"/>
              <a:gd name="connsiteY47141" fmla="*/ 684167 h 6557032"/>
              <a:gd name="connsiteX47142" fmla="*/ 1004018 w 4610101"/>
              <a:gd name="connsiteY47142" fmla="*/ 687811 h 6557032"/>
              <a:gd name="connsiteX47143" fmla="*/ 1005785 w 4610101"/>
              <a:gd name="connsiteY47143" fmla="*/ 680742 h 6557032"/>
              <a:gd name="connsiteX47144" fmla="*/ 1007891 w 4610101"/>
              <a:gd name="connsiteY47144" fmla="*/ 678701 h 6557032"/>
              <a:gd name="connsiteX47145" fmla="*/ 1005840 w 4610101"/>
              <a:gd name="connsiteY47145" fmla="*/ 665945 h 6557032"/>
              <a:gd name="connsiteX47146" fmla="*/ 1011307 w 4610101"/>
              <a:gd name="connsiteY47146" fmla="*/ 671411 h 6557032"/>
              <a:gd name="connsiteX47147" fmla="*/ 1007663 w 4610101"/>
              <a:gd name="connsiteY47147" fmla="*/ 660478 h 6557032"/>
              <a:gd name="connsiteX47148" fmla="*/ 1011307 w 4610101"/>
              <a:gd name="connsiteY47148" fmla="*/ 662301 h 6557032"/>
              <a:gd name="connsiteX47149" fmla="*/ 1007663 w 4610101"/>
              <a:gd name="connsiteY47149" fmla="*/ 651368 h 6557032"/>
              <a:gd name="connsiteX47150" fmla="*/ 1014951 w 4610101"/>
              <a:gd name="connsiteY47150" fmla="*/ 656834 h 6557032"/>
              <a:gd name="connsiteX47151" fmla="*/ 1020418 w 4610101"/>
              <a:gd name="connsiteY47151" fmla="*/ 649545 h 6557032"/>
              <a:gd name="connsiteX47152" fmla="*/ 1009485 w 4610101"/>
              <a:gd name="connsiteY47152" fmla="*/ 638612 h 6557032"/>
              <a:gd name="connsiteX47153" fmla="*/ 1014951 w 4610101"/>
              <a:gd name="connsiteY47153" fmla="*/ 638612 h 6557032"/>
              <a:gd name="connsiteX47154" fmla="*/ 1013129 w 4610101"/>
              <a:gd name="connsiteY47154" fmla="*/ 634968 h 6557032"/>
              <a:gd name="connsiteX47155" fmla="*/ 1024062 w 4610101"/>
              <a:gd name="connsiteY47155" fmla="*/ 644079 h 6557032"/>
              <a:gd name="connsiteX47156" fmla="*/ 1018596 w 4610101"/>
              <a:gd name="connsiteY47156" fmla="*/ 633146 h 6557032"/>
              <a:gd name="connsiteX47157" fmla="*/ 1025884 w 4610101"/>
              <a:gd name="connsiteY47157" fmla="*/ 633146 h 6557032"/>
              <a:gd name="connsiteX47158" fmla="*/ 1022240 w 4610101"/>
              <a:gd name="connsiteY47158" fmla="*/ 618568 h 6557032"/>
              <a:gd name="connsiteX47159" fmla="*/ 1029529 w 4610101"/>
              <a:gd name="connsiteY47159" fmla="*/ 624035 h 6557032"/>
              <a:gd name="connsiteX47160" fmla="*/ 1031351 w 4610101"/>
              <a:gd name="connsiteY47160" fmla="*/ 622213 h 6557032"/>
              <a:gd name="connsiteX47161" fmla="*/ 1030895 w 4610101"/>
              <a:gd name="connsiteY47161" fmla="*/ 629957 h 6557032"/>
              <a:gd name="connsiteX47162" fmla="*/ 1038200 w 4610101"/>
              <a:gd name="connsiteY47162" fmla="*/ 634684 h 6557032"/>
              <a:gd name="connsiteX47163" fmla="*/ 1038184 w 4610101"/>
              <a:gd name="connsiteY47163" fmla="*/ 634741 h 6557032"/>
              <a:gd name="connsiteX47164" fmla="*/ 1042578 w 4610101"/>
              <a:gd name="connsiteY47164" fmla="*/ 640318 h 6557032"/>
              <a:gd name="connsiteX47165" fmla="*/ 1040462 w 4610101"/>
              <a:gd name="connsiteY47165" fmla="*/ 647723 h 6557032"/>
              <a:gd name="connsiteX47166" fmla="*/ 1043359 w 4610101"/>
              <a:gd name="connsiteY47166" fmla="*/ 641309 h 6557032"/>
              <a:gd name="connsiteX47167" fmla="*/ 1044106 w 4610101"/>
              <a:gd name="connsiteY47167" fmla="*/ 642257 h 6557032"/>
              <a:gd name="connsiteX47168" fmla="*/ 1043821 w 4610101"/>
              <a:gd name="connsiteY47168" fmla="*/ 638539 h 6557032"/>
              <a:gd name="connsiteX47169" fmla="*/ 1044106 w 4610101"/>
              <a:gd name="connsiteY47169" fmla="*/ 634968 h 6557032"/>
              <a:gd name="connsiteX47170" fmla="*/ 1043665 w 4610101"/>
              <a:gd name="connsiteY47170" fmla="*/ 636515 h 6557032"/>
              <a:gd name="connsiteX47171" fmla="*/ 1042284 w 4610101"/>
              <a:gd name="connsiteY47171" fmla="*/ 618568 h 6557032"/>
              <a:gd name="connsiteX47172" fmla="*/ 1047750 w 4610101"/>
              <a:gd name="connsiteY47172" fmla="*/ 622213 h 6557032"/>
              <a:gd name="connsiteX47173" fmla="*/ 1044106 w 4610101"/>
              <a:gd name="connsiteY47173" fmla="*/ 611280 h 6557032"/>
              <a:gd name="connsiteX47174" fmla="*/ 1049573 w 4610101"/>
              <a:gd name="connsiteY47174" fmla="*/ 627679 h 6557032"/>
              <a:gd name="connsiteX47175" fmla="*/ 1047750 w 4610101"/>
              <a:gd name="connsiteY47175" fmla="*/ 634968 h 6557032"/>
              <a:gd name="connsiteX47176" fmla="*/ 1051395 w 4610101"/>
              <a:gd name="connsiteY47176" fmla="*/ 633146 h 6557032"/>
              <a:gd name="connsiteX47177" fmla="*/ 1049573 w 4610101"/>
              <a:gd name="connsiteY47177" fmla="*/ 627679 h 6557032"/>
              <a:gd name="connsiteX47178" fmla="*/ 1052611 w 4610101"/>
              <a:gd name="connsiteY47178" fmla="*/ 621606 h 6557032"/>
              <a:gd name="connsiteX47179" fmla="*/ 1053824 w 4610101"/>
              <a:gd name="connsiteY47179" fmla="*/ 620999 h 6557032"/>
              <a:gd name="connsiteX47180" fmla="*/ 1054431 w 4610101"/>
              <a:gd name="connsiteY47180" fmla="*/ 621606 h 6557032"/>
              <a:gd name="connsiteX47181" fmla="*/ 1051395 w 4610101"/>
              <a:gd name="connsiteY47181" fmla="*/ 627679 h 6557032"/>
              <a:gd name="connsiteX47182" fmla="*/ 1060506 w 4610101"/>
              <a:gd name="connsiteY47182" fmla="*/ 624035 h 6557032"/>
              <a:gd name="connsiteX47183" fmla="*/ 1055950 w 4610101"/>
              <a:gd name="connsiteY47183" fmla="*/ 620999 h 6557032"/>
              <a:gd name="connsiteX47184" fmla="*/ 1056477 w 4610101"/>
              <a:gd name="connsiteY47184" fmla="*/ 620295 h 6557032"/>
              <a:gd name="connsiteX47185" fmla="*/ 1058456 w 4610101"/>
              <a:gd name="connsiteY47185" fmla="*/ 620163 h 6557032"/>
              <a:gd name="connsiteX47186" fmla="*/ 1060506 w 4610101"/>
              <a:gd name="connsiteY47186" fmla="*/ 618568 h 6557032"/>
              <a:gd name="connsiteX47187" fmla="*/ 1058757 w 4610101"/>
              <a:gd name="connsiteY47187" fmla="*/ 617257 h 6557032"/>
              <a:gd name="connsiteX47188" fmla="*/ 1060506 w 4610101"/>
              <a:gd name="connsiteY47188" fmla="*/ 614924 h 6557032"/>
              <a:gd name="connsiteX47189" fmla="*/ 1062328 w 4610101"/>
              <a:gd name="connsiteY47189" fmla="*/ 620391 h 6557032"/>
              <a:gd name="connsiteX47190" fmla="*/ 1064151 w 4610101"/>
              <a:gd name="connsiteY47190" fmla="*/ 616746 h 6557032"/>
              <a:gd name="connsiteX47191" fmla="*/ 1065972 w 4610101"/>
              <a:gd name="connsiteY47191" fmla="*/ 622213 h 6557032"/>
              <a:gd name="connsiteX47192" fmla="*/ 1056861 w 4610101"/>
              <a:gd name="connsiteY47192" fmla="*/ 603991 h 6557032"/>
              <a:gd name="connsiteX47193" fmla="*/ 1071439 w 4610101"/>
              <a:gd name="connsiteY47193" fmla="*/ 607635 h 6557032"/>
              <a:gd name="connsiteX47194" fmla="*/ 1069616 w 4610101"/>
              <a:gd name="connsiteY47194" fmla="*/ 591236 h 6557032"/>
              <a:gd name="connsiteX47195" fmla="*/ 1075083 w 4610101"/>
              <a:gd name="connsiteY47195" fmla="*/ 589414 h 6557032"/>
              <a:gd name="connsiteX47196" fmla="*/ 1078727 w 4610101"/>
              <a:gd name="connsiteY47196" fmla="*/ 598524 h 6557032"/>
              <a:gd name="connsiteX47197" fmla="*/ 1076905 w 4610101"/>
              <a:gd name="connsiteY47197" fmla="*/ 598524 h 6557032"/>
              <a:gd name="connsiteX47198" fmla="*/ 1075083 w 4610101"/>
              <a:gd name="connsiteY47198" fmla="*/ 603991 h 6557032"/>
              <a:gd name="connsiteX47199" fmla="*/ 1079288 w 4610101"/>
              <a:gd name="connsiteY47199" fmla="*/ 606795 h 6557032"/>
              <a:gd name="connsiteX47200" fmla="*/ 1075083 w 4610101"/>
              <a:gd name="connsiteY47200" fmla="*/ 613103 h 6557032"/>
              <a:gd name="connsiteX47201" fmla="*/ 1087838 w 4610101"/>
              <a:gd name="connsiteY47201" fmla="*/ 603991 h 6557032"/>
              <a:gd name="connsiteX47202" fmla="*/ 1082373 w 4610101"/>
              <a:gd name="connsiteY47202" fmla="*/ 602169 h 6557032"/>
              <a:gd name="connsiteX47203" fmla="*/ 1084419 w 4610101"/>
              <a:gd name="connsiteY47203" fmla="*/ 600197 h 6557032"/>
              <a:gd name="connsiteX47204" fmla="*/ 1090913 w 4610101"/>
              <a:gd name="connsiteY47204" fmla="*/ 593941 h 6557032"/>
              <a:gd name="connsiteX47205" fmla="*/ 1090397 w 4610101"/>
              <a:gd name="connsiteY47205" fmla="*/ 590991 h 6557032"/>
              <a:gd name="connsiteX47206" fmla="*/ 1093760 w 4610101"/>
              <a:gd name="connsiteY47206" fmla="*/ 588275 h 6557032"/>
              <a:gd name="connsiteX47207" fmla="*/ 1095935 w 4610101"/>
              <a:gd name="connsiteY47207" fmla="*/ 584080 h 6557032"/>
              <a:gd name="connsiteX47208" fmla="*/ 1096949 w 4610101"/>
              <a:gd name="connsiteY47208" fmla="*/ 585769 h 6557032"/>
              <a:gd name="connsiteX47209" fmla="*/ 1102416 w 4610101"/>
              <a:gd name="connsiteY47209" fmla="*/ 573014 h 6557032"/>
              <a:gd name="connsiteX47210" fmla="*/ 1089660 w 4610101"/>
              <a:gd name="connsiteY47210" fmla="*/ 567548 h 6557032"/>
              <a:gd name="connsiteX47211" fmla="*/ 1100593 w 4610101"/>
              <a:gd name="connsiteY47211" fmla="*/ 569370 h 6557032"/>
              <a:gd name="connsiteX47212" fmla="*/ 1095127 w 4610101"/>
              <a:gd name="connsiteY47212" fmla="*/ 563904 h 6557032"/>
              <a:gd name="connsiteX47213" fmla="*/ 1102416 w 4610101"/>
              <a:gd name="connsiteY47213" fmla="*/ 569370 h 6557032"/>
              <a:gd name="connsiteX47214" fmla="*/ 1104238 w 4610101"/>
              <a:gd name="connsiteY47214" fmla="*/ 560260 h 6557032"/>
              <a:gd name="connsiteX47215" fmla="*/ 1102416 w 4610101"/>
              <a:gd name="connsiteY47215" fmla="*/ 569370 h 6557032"/>
              <a:gd name="connsiteX47216" fmla="*/ 1098771 w 4610101"/>
              <a:gd name="connsiteY47216" fmla="*/ 558437 h 6557032"/>
              <a:gd name="connsiteX47217" fmla="*/ 1102416 w 4610101"/>
              <a:gd name="connsiteY47217" fmla="*/ 560260 h 6557032"/>
              <a:gd name="connsiteX47218" fmla="*/ 1067794 w 4610101"/>
              <a:gd name="connsiteY47218" fmla="*/ 538393 h 6557032"/>
              <a:gd name="connsiteX47219" fmla="*/ 1082373 w 4610101"/>
              <a:gd name="connsiteY47219" fmla="*/ 540215 h 6557032"/>
              <a:gd name="connsiteX47220" fmla="*/ 1073262 w 4610101"/>
              <a:gd name="connsiteY47220" fmla="*/ 529282 h 6557032"/>
              <a:gd name="connsiteX47221" fmla="*/ 1102416 w 4610101"/>
              <a:gd name="connsiteY47221" fmla="*/ 551148 h 6557032"/>
              <a:gd name="connsiteX47222" fmla="*/ 1093305 w 4610101"/>
              <a:gd name="connsiteY47222" fmla="*/ 514705 h 6557032"/>
              <a:gd name="connsiteX47223" fmla="*/ 1098771 w 4610101"/>
              <a:gd name="connsiteY47223" fmla="*/ 523815 h 6557032"/>
              <a:gd name="connsiteX47224" fmla="*/ 1098771 w 4610101"/>
              <a:gd name="connsiteY47224" fmla="*/ 518349 h 6557032"/>
              <a:gd name="connsiteX47225" fmla="*/ 1102416 w 4610101"/>
              <a:gd name="connsiteY47225" fmla="*/ 525638 h 6557032"/>
              <a:gd name="connsiteX47226" fmla="*/ 1086016 w 4610101"/>
              <a:gd name="connsiteY47226" fmla="*/ 469150 h 6557032"/>
              <a:gd name="connsiteX47227" fmla="*/ 1104238 w 4610101"/>
              <a:gd name="connsiteY47227" fmla="*/ 521993 h 6557032"/>
              <a:gd name="connsiteX47228" fmla="*/ 1106060 w 4610101"/>
              <a:gd name="connsiteY47228" fmla="*/ 518349 h 6557032"/>
              <a:gd name="connsiteX47229" fmla="*/ 1105604 w 4610101"/>
              <a:gd name="connsiteY47229" fmla="*/ 530649 h 6557032"/>
              <a:gd name="connsiteX47230" fmla="*/ 1111659 w 4610101"/>
              <a:gd name="connsiteY47230" fmla="*/ 538128 h 6557032"/>
              <a:gd name="connsiteX47231" fmla="*/ 1111526 w 4610101"/>
              <a:gd name="connsiteY47231" fmla="*/ 538393 h 6557032"/>
              <a:gd name="connsiteX47232" fmla="*/ 1111774 w 4610101"/>
              <a:gd name="connsiteY47232" fmla="*/ 538270 h 6557032"/>
              <a:gd name="connsiteX47233" fmla="*/ 1113349 w 4610101"/>
              <a:gd name="connsiteY47233" fmla="*/ 540215 h 6557032"/>
              <a:gd name="connsiteX47234" fmla="*/ 1113450 w 4610101"/>
              <a:gd name="connsiteY47234" fmla="*/ 537431 h 6557032"/>
              <a:gd name="connsiteX47235" fmla="*/ 1113804 w 4610101"/>
              <a:gd name="connsiteY47235" fmla="*/ 537254 h 6557032"/>
              <a:gd name="connsiteX47236" fmla="*/ 1113515 w 4610101"/>
              <a:gd name="connsiteY47236" fmla="*/ 535660 h 6557032"/>
              <a:gd name="connsiteX47237" fmla="*/ 1113804 w 4610101"/>
              <a:gd name="connsiteY47237" fmla="*/ 527687 h 6557032"/>
              <a:gd name="connsiteX47238" fmla="*/ 1115171 w 4610101"/>
              <a:gd name="connsiteY47238" fmla="*/ 522904 h 6557032"/>
              <a:gd name="connsiteX47239" fmla="*/ 1115171 w 4610101"/>
              <a:gd name="connsiteY47239" fmla="*/ 527461 h 6557032"/>
              <a:gd name="connsiteX47240" fmla="*/ 1116993 w 4610101"/>
              <a:gd name="connsiteY47240" fmla="*/ 523613 h 6557032"/>
              <a:gd name="connsiteX47241" fmla="*/ 1116993 w 4610101"/>
              <a:gd name="connsiteY47241" fmla="*/ 523815 h 6557032"/>
              <a:gd name="connsiteX47242" fmla="*/ 1120637 w 4610101"/>
              <a:gd name="connsiteY47242" fmla="*/ 518349 h 6557032"/>
              <a:gd name="connsiteX47243" fmla="*/ 1120637 w 4610101"/>
              <a:gd name="connsiteY47243" fmla="*/ 536571 h 6557032"/>
              <a:gd name="connsiteX47244" fmla="*/ 1122459 w 4610101"/>
              <a:gd name="connsiteY47244" fmla="*/ 532926 h 6557032"/>
              <a:gd name="connsiteX47245" fmla="*/ 1127926 w 4610101"/>
              <a:gd name="connsiteY47245" fmla="*/ 538393 h 6557032"/>
              <a:gd name="connsiteX47246" fmla="*/ 1133393 w 4610101"/>
              <a:gd name="connsiteY47246" fmla="*/ 529282 h 6557032"/>
              <a:gd name="connsiteX47247" fmla="*/ 1131570 w 4610101"/>
              <a:gd name="connsiteY47247" fmla="*/ 536571 h 6557032"/>
              <a:gd name="connsiteX47248" fmla="*/ 1140681 w 4610101"/>
              <a:gd name="connsiteY47248" fmla="*/ 529282 h 6557032"/>
              <a:gd name="connsiteX47249" fmla="*/ 1129748 w 4610101"/>
              <a:gd name="connsiteY47249" fmla="*/ 545681 h 6557032"/>
              <a:gd name="connsiteX47250" fmla="*/ 1136723 w 4610101"/>
              <a:gd name="connsiteY47250" fmla="*/ 547504 h 6557032"/>
              <a:gd name="connsiteX47251" fmla="*/ 1137529 w 4610101"/>
              <a:gd name="connsiteY47251" fmla="*/ 546421 h 6557032"/>
              <a:gd name="connsiteX47252" fmla="*/ 1140681 w 4610101"/>
              <a:gd name="connsiteY47252" fmla="*/ 551148 h 6557032"/>
              <a:gd name="connsiteX47253" fmla="*/ 1142503 w 4610101"/>
              <a:gd name="connsiteY47253" fmla="*/ 548530 h 6557032"/>
              <a:gd name="connsiteX47254" fmla="*/ 1142503 w 4610101"/>
              <a:gd name="connsiteY47254" fmla="*/ 551148 h 6557032"/>
              <a:gd name="connsiteX47255" fmla="*/ 1144326 w 4610101"/>
              <a:gd name="connsiteY47255" fmla="*/ 549326 h 6557032"/>
              <a:gd name="connsiteX47256" fmla="*/ 1145920 w 4610101"/>
              <a:gd name="connsiteY47256" fmla="*/ 557299 h 6557032"/>
              <a:gd name="connsiteX47257" fmla="*/ 1147060 w 4610101"/>
              <a:gd name="connsiteY47257" fmla="*/ 557526 h 6557032"/>
              <a:gd name="connsiteX47258" fmla="*/ 1151614 w 4610101"/>
              <a:gd name="connsiteY47258" fmla="*/ 558437 h 6557032"/>
              <a:gd name="connsiteX47259" fmla="*/ 1147970 w 4610101"/>
              <a:gd name="connsiteY47259" fmla="*/ 551148 h 6557032"/>
              <a:gd name="connsiteX47260" fmla="*/ 1158903 w 4610101"/>
              <a:gd name="connsiteY47260" fmla="*/ 563904 h 6557032"/>
              <a:gd name="connsiteX47261" fmla="*/ 1155259 w 4610101"/>
              <a:gd name="connsiteY47261" fmla="*/ 549326 h 6557032"/>
              <a:gd name="connsiteX47262" fmla="*/ 1160725 w 4610101"/>
              <a:gd name="connsiteY47262" fmla="*/ 552970 h 6557032"/>
              <a:gd name="connsiteX47263" fmla="*/ 1156397 w 4610101"/>
              <a:gd name="connsiteY47263" fmla="*/ 543632 h 6557032"/>
              <a:gd name="connsiteX47264" fmla="*/ 1153733 w 4610101"/>
              <a:gd name="connsiteY47264" fmla="*/ 534002 h 6557032"/>
              <a:gd name="connsiteX47265" fmla="*/ 1153896 w 4610101"/>
              <a:gd name="connsiteY47265" fmla="*/ 533820 h 6557032"/>
              <a:gd name="connsiteX47266" fmla="*/ 1161636 w 4610101"/>
              <a:gd name="connsiteY47266" fmla="*/ 548871 h 6557032"/>
              <a:gd name="connsiteX47267" fmla="*/ 1163545 w 4610101"/>
              <a:gd name="connsiteY47267" fmla="*/ 561910 h 6557032"/>
              <a:gd name="connsiteX47268" fmla="*/ 1163003 w 4610101"/>
              <a:gd name="connsiteY47268" fmla="*/ 562992 h 6557032"/>
              <a:gd name="connsiteX47269" fmla="*/ 1163993 w 4610101"/>
              <a:gd name="connsiteY47269" fmla="*/ 564971 h 6557032"/>
              <a:gd name="connsiteX47270" fmla="*/ 1164370 w 4610101"/>
              <a:gd name="connsiteY47270" fmla="*/ 567548 h 6557032"/>
              <a:gd name="connsiteX47271" fmla="*/ 1168014 w 4610101"/>
              <a:gd name="connsiteY47271" fmla="*/ 552970 h 6557032"/>
              <a:gd name="connsiteX47272" fmla="*/ 1167103 w 4610101"/>
              <a:gd name="connsiteY47272" fmla="*/ 565954 h 6557032"/>
              <a:gd name="connsiteX47273" fmla="*/ 1164048 w 4610101"/>
              <a:gd name="connsiteY47273" fmla="*/ 572909 h 6557032"/>
              <a:gd name="connsiteX47274" fmla="*/ 1164370 w 4610101"/>
              <a:gd name="connsiteY47274" fmla="*/ 571192 h 6557032"/>
              <a:gd name="connsiteX47275" fmla="*/ 1162547 w 4610101"/>
              <a:gd name="connsiteY47275" fmla="*/ 567548 h 6557032"/>
              <a:gd name="connsiteX47276" fmla="*/ 1157081 w 4610101"/>
              <a:gd name="connsiteY47276" fmla="*/ 578481 h 6557032"/>
              <a:gd name="connsiteX47277" fmla="*/ 1146148 w 4610101"/>
              <a:gd name="connsiteY47277" fmla="*/ 560260 h 6557032"/>
              <a:gd name="connsiteX47278" fmla="*/ 1155259 w 4610101"/>
              <a:gd name="connsiteY47278" fmla="*/ 578481 h 6557032"/>
              <a:gd name="connsiteX47279" fmla="*/ 1155259 w 4610101"/>
              <a:gd name="connsiteY47279" fmla="*/ 574836 h 6557032"/>
              <a:gd name="connsiteX47280" fmla="*/ 1157081 w 4610101"/>
              <a:gd name="connsiteY47280" fmla="*/ 578481 h 6557032"/>
              <a:gd name="connsiteX47281" fmla="*/ 1162345 w 4610101"/>
              <a:gd name="connsiteY47281" fmla="*/ 581991 h 6557032"/>
              <a:gd name="connsiteX47282" fmla="*/ 1162320 w 4610101"/>
              <a:gd name="connsiteY47282" fmla="*/ 582125 h 6557032"/>
              <a:gd name="connsiteX47283" fmla="*/ 1161834 w 4610101"/>
              <a:gd name="connsiteY47283" fmla="*/ 583684 h 6557032"/>
              <a:gd name="connsiteX47284" fmla="*/ 1160042 w 4610101"/>
              <a:gd name="connsiteY47284" fmla="*/ 587592 h 6557032"/>
              <a:gd name="connsiteX47285" fmla="*/ 1158903 w 4610101"/>
              <a:gd name="connsiteY47285" fmla="*/ 593058 h 6557032"/>
              <a:gd name="connsiteX47286" fmla="*/ 1161834 w 4610101"/>
              <a:gd name="connsiteY47286" fmla="*/ 583684 h 6557032"/>
              <a:gd name="connsiteX47287" fmla="*/ 1162547 w 4610101"/>
              <a:gd name="connsiteY47287" fmla="*/ 582125 h 6557032"/>
              <a:gd name="connsiteX47288" fmla="*/ 1162345 w 4610101"/>
              <a:gd name="connsiteY47288" fmla="*/ 581991 h 6557032"/>
              <a:gd name="connsiteX47289" fmla="*/ 1163962 w 4610101"/>
              <a:gd name="connsiteY47289" fmla="*/ 573365 h 6557032"/>
              <a:gd name="connsiteX47290" fmla="*/ 1166192 w 4610101"/>
              <a:gd name="connsiteY47290" fmla="*/ 580303 h 6557032"/>
              <a:gd name="connsiteX47291" fmla="*/ 1169836 w 4610101"/>
              <a:gd name="connsiteY47291" fmla="*/ 562081 h 6557032"/>
              <a:gd name="connsiteX47292" fmla="*/ 1171658 w 4610101"/>
              <a:gd name="connsiteY47292" fmla="*/ 563904 h 6557032"/>
              <a:gd name="connsiteX47293" fmla="*/ 1173481 w 4610101"/>
              <a:gd name="connsiteY47293" fmla="*/ 558437 h 6557032"/>
              <a:gd name="connsiteX47294" fmla="*/ 1177125 w 4610101"/>
              <a:gd name="connsiteY47294" fmla="*/ 558437 h 6557032"/>
              <a:gd name="connsiteX47295" fmla="*/ 1173481 w 4610101"/>
              <a:gd name="connsiteY47295" fmla="*/ 547504 h 6557032"/>
              <a:gd name="connsiteX47296" fmla="*/ 1178947 w 4610101"/>
              <a:gd name="connsiteY47296" fmla="*/ 552970 h 6557032"/>
              <a:gd name="connsiteX47297" fmla="*/ 1168014 w 4610101"/>
              <a:gd name="connsiteY47297" fmla="*/ 532926 h 6557032"/>
              <a:gd name="connsiteX47298" fmla="*/ 1175303 w 4610101"/>
              <a:gd name="connsiteY47298" fmla="*/ 540215 h 6557032"/>
              <a:gd name="connsiteX47299" fmla="*/ 1164370 w 4610101"/>
              <a:gd name="connsiteY47299" fmla="*/ 521993 h 6557032"/>
              <a:gd name="connsiteX47300" fmla="*/ 1157764 w 4610101"/>
              <a:gd name="connsiteY47300" fmla="*/ 529510 h 6557032"/>
              <a:gd name="connsiteX47301" fmla="*/ 1153896 w 4610101"/>
              <a:gd name="connsiteY47301" fmla="*/ 533820 h 6557032"/>
              <a:gd name="connsiteX47302" fmla="*/ 1153436 w 4610101"/>
              <a:gd name="connsiteY47302" fmla="*/ 532926 h 6557032"/>
              <a:gd name="connsiteX47303" fmla="*/ 1153733 w 4610101"/>
              <a:gd name="connsiteY47303" fmla="*/ 534002 h 6557032"/>
              <a:gd name="connsiteX47304" fmla="*/ 1149792 w 4610101"/>
              <a:gd name="connsiteY47304" fmla="*/ 538393 h 6557032"/>
              <a:gd name="connsiteX47305" fmla="*/ 1149792 w 4610101"/>
              <a:gd name="connsiteY47305" fmla="*/ 536571 h 6557032"/>
              <a:gd name="connsiteX47306" fmla="*/ 1146148 w 4610101"/>
              <a:gd name="connsiteY47306" fmla="*/ 538393 h 6557032"/>
              <a:gd name="connsiteX47307" fmla="*/ 1144098 w 4610101"/>
              <a:gd name="connsiteY47307" fmla="*/ 541354 h 6557032"/>
              <a:gd name="connsiteX47308" fmla="*/ 1142897 w 4610101"/>
              <a:gd name="connsiteY47308" fmla="*/ 542875 h 6557032"/>
              <a:gd name="connsiteX47309" fmla="*/ 1142503 w 4610101"/>
              <a:gd name="connsiteY47309" fmla="*/ 542037 h 6557032"/>
              <a:gd name="connsiteX47310" fmla="*/ 1139107 w 4610101"/>
              <a:gd name="connsiteY47310" fmla="*/ 544301 h 6557032"/>
              <a:gd name="connsiteX47311" fmla="*/ 1140453 w 4610101"/>
              <a:gd name="connsiteY47311" fmla="*/ 542493 h 6557032"/>
              <a:gd name="connsiteX47312" fmla="*/ 1147697 w 4610101"/>
              <a:gd name="connsiteY47312" fmla="*/ 533659 h 6557032"/>
              <a:gd name="connsiteX47313" fmla="*/ 1147970 w 4610101"/>
              <a:gd name="connsiteY47313" fmla="*/ 534749 h 6557032"/>
              <a:gd name="connsiteX47314" fmla="*/ 1147930 w 4610101"/>
              <a:gd name="connsiteY47314" fmla="*/ 533986 h 6557032"/>
              <a:gd name="connsiteX47315" fmla="*/ 1148824 w 4610101"/>
              <a:gd name="connsiteY47315" fmla="*/ 535432 h 6557032"/>
              <a:gd name="connsiteX47316" fmla="*/ 1153436 w 4610101"/>
              <a:gd name="connsiteY47316" fmla="*/ 529282 h 6557032"/>
              <a:gd name="connsiteX47317" fmla="*/ 1156397 w 4610101"/>
              <a:gd name="connsiteY47317" fmla="*/ 522221 h 6557032"/>
              <a:gd name="connsiteX47318" fmla="*/ 1155935 w 4610101"/>
              <a:gd name="connsiteY47318" fmla="*/ 519901 h 6557032"/>
              <a:gd name="connsiteX47319" fmla="*/ 1157288 w 4610101"/>
              <a:gd name="connsiteY47319" fmla="*/ 517531 h 6557032"/>
              <a:gd name="connsiteX47320" fmla="*/ 1157081 w 4610101"/>
              <a:gd name="connsiteY47320" fmla="*/ 520171 h 6557032"/>
              <a:gd name="connsiteX47321" fmla="*/ 1160725 w 4610101"/>
              <a:gd name="connsiteY47321" fmla="*/ 518349 h 6557032"/>
              <a:gd name="connsiteX47322" fmla="*/ 1155259 w 4610101"/>
              <a:gd name="connsiteY47322" fmla="*/ 527461 h 6557032"/>
              <a:gd name="connsiteX47323" fmla="*/ 1160725 w 4610101"/>
              <a:gd name="connsiteY47323" fmla="*/ 514705 h 6557032"/>
              <a:gd name="connsiteX47324" fmla="*/ 1164370 w 4610101"/>
              <a:gd name="connsiteY47324" fmla="*/ 518349 h 6557032"/>
              <a:gd name="connsiteX47325" fmla="*/ 1167558 w 4610101"/>
              <a:gd name="connsiteY47325" fmla="*/ 511061 h 6557032"/>
              <a:gd name="connsiteX47326" fmla="*/ 1163969 w 4610101"/>
              <a:gd name="connsiteY47326" fmla="*/ 505840 h 6557032"/>
              <a:gd name="connsiteX47327" fmla="*/ 1164066 w 4610101"/>
              <a:gd name="connsiteY47327" fmla="*/ 505670 h 6557032"/>
              <a:gd name="connsiteX47328" fmla="*/ 1169836 w 4610101"/>
              <a:gd name="connsiteY47328" fmla="*/ 512882 h 6557032"/>
              <a:gd name="connsiteX47329" fmla="*/ 1177125 w 4610101"/>
              <a:gd name="connsiteY47329" fmla="*/ 507417 h 6557032"/>
              <a:gd name="connsiteX47330" fmla="*/ 1164370 w 4610101"/>
              <a:gd name="connsiteY47330" fmla="*/ 498306 h 6557032"/>
              <a:gd name="connsiteX47331" fmla="*/ 1162746 w 4610101"/>
              <a:gd name="connsiteY47331" fmla="*/ 500916 h 6557032"/>
              <a:gd name="connsiteX47332" fmla="*/ 1158903 w 4610101"/>
              <a:gd name="connsiteY47332" fmla="*/ 499763 h 6557032"/>
              <a:gd name="connsiteX47333" fmla="*/ 1162547 w 4610101"/>
              <a:gd name="connsiteY47333" fmla="*/ 500127 h 6557032"/>
              <a:gd name="connsiteX47334" fmla="*/ 1126104 w 4610101"/>
              <a:gd name="connsiteY47334" fmla="*/ 443640 h 6557032"/>
              <a:gd name="connsiteX47335" fmla="*/ 1140759 w 4610101"/>
              <a:gd name="connsiteY47335" fmla="*/ 446897 h 6557032"/>
              <a:gd name="connsiteX47336" fmla="*/ 1149337 w 4610101"/>
              <a:gd name="connsiteY47336" fmla="*/ 451840 h 6557032"/>
              <a:gd name="connsiteX47337" fmla="*/ 1173481 w 4610101"/>
              <a:gd name="connsiteY47337" fmla="*/ 472795 h 6557032"/>
              <a:gd name="connsiteX47338" fmla="*/ 1173481 w 4610101"/>
              <a:gd name="connsiteY47338" fmla="*/ 476439 h 6557032"/>
              <a:gd name="connsiteX47339" fmla="*/ 1184414 w 4610101"/>
              <a:gd name="connsiteY47339" fmla="*/ 487373 h 6557032"/>
              <a:gd name="connsiteX47340" fmla="*/ 1173481 w 4610101"/>
              <a:gd name="connsiteY47340" fmla="*/ 458218 h 6557032"/>
              <a:gd name="connsiteX47341" fmla="*/ 1171658 w 4610101"/>
              <a:gd name="connsiteY47341" fmla="*/ 461862 h 6557032"/>
              <a:gd name="connsiteX47342" fmla="*/ 1157081 w 4610101"/>
              <a:gd name="connsiteY47342" fmla="*/ 447284 h 6557032"/>
              <a:gd name="connsiteX47343" fmla="*/ 1169836 w 4610101"/>
              <a:gd name="connsiteY47343" fmla="*/ 450928 h 6557032"/>
              <a:gd name="connsiteX47344" fmla="*/ 1168014 w 4610101"/>
              <a:gd name="connsiteY47344" fmla="*/ 445463 h 6557032"/>
              <a:gd name="connsiteX47345" fmla="*/ 1177125 w 4610101"/>
              <a:gd name="connsiteY47345" fmla="*/ 452751 h 6557032"/>
              <a:gd name="connsiteX47346" fmla="*/ 1178947 w 4610101"/>
              <a:gd name="connsiteY47346" fmla="*/ 445463 h 6557032"/>
              <a:gd name="connsiteX47347" fmla="*/ 1186236 w 4610101"/>
              <a:gd name="connsiteY47347" fmla="*/ 469150 h 6557032"/>
              <a:gd name="connsiteX47348" fmla="*/ 1162547 w 4610101"/>
              <a:gd name="connsiteY47348" fmla="*/ 419952 h 6557032"/>
              <a:gd name="connsiteX47349" fmla="*/ 1164370 w 4610101"/>
              <a:gd name="connsiteY47349" fmla="*/ 412664 h 6557032"/>
              <a:gd name="connsiteX47350" fmla="*/ 1182592 w 4610101"/>
              <a:gd name="connsiteY47350" fmla="*/ 430886 h 6557032"/>
              <a:gd name="connsiteX47351" fmla="*/ 1171658 w 4610101"/>
              <a:gd name="connsiteY47351" fmla="*/ 383509 h 6557032"/>
              <a:gd name="connsiteX47352" fmla="*/ 1189880 w 4610101"/>
              <a:gd name="connsiteY47352" fmla="*/ 450928 h 6557032"/>
              <a:gd name="connsiteX47353" fmla="*/ 1191703 w 4610101"/>
              <a:gd name="connsiteY47353" fmla="*/ 447284 h 6557032"/>
              <a:gd name="connsiteX47354" fmla="*/ 1193525 w 4610101"/>
              <a:gd name="connsiteY47354" fmla="*/ 456395 h 6557032"/>
              <a:gd name="connsiteX47355" fmla="*/ 1193297 w 4610101"/>
              <a:gd name="connsiteY47355" fmla="*/ 461634 h 6557032"/>
              <a:gd name="connsiteX47356" fmla="*/ 1193525 w 4610101"/>
              <a:gd name="connsiteY47356" fmla="*/ 461862 h 6557032"/>
              <a:gd name="connsiteX47357" fmla="*/ 1193525 w 4610101"/>
              <a:gd name="connsiteY47357" fmla="*/ 472795 h 6557032"/>
              <a:gd name="connsiteX47358" fmla="*/ 1197169 w 4610101"/>
              <a:gd name="connsiteY47358" fmla="*/ 467328 h 6557032"/>
              <a:gd name="connsiteX47359" fmla="*/ 1193525 w 4610101"/>
              <a:gd name="connsiteY47359" fmla="*/ 461863 h 6557032"/>
              <a:gd name="connsiteX47360" fmla="*/ 1197169 w 4610101"/>
              <a:gd name="connsiteY47360" fmla="*/ 465506 h 6557032"/>
              <a:gd name="connsiteX47361" fmla="*/ 1198991 w 4610101"/>
              <a:gd name="connsiteY47361" fmla="*/ 454574 h 6557032"/>
              <a:gd name="connsiteX47362" fmla="*/ 1198991 w 4610101"/>
              <a:gd name="connsiteY47362" fmla="*/ 469150 h 6557032"/>
              <a:gd name="connsiteX47363" fmla="*/ 1202636 w 4610101"/>
              <a:gd name="connsiteY47363" fmla="*/ 476439 h 6557032"/>
              <a:gd name="connsiteX47364" fmla="*/ 1204457 w 4610101"/>
              <a:gd name="connsiteY47364" fmla="*/ 470972 h 6557032"/>
              <a:gd name="connsiteX47365" fmla="*/ 1206279 w 4610101"/>
              <a:gd name="connsiteY47365" fmla="*/ 474618 h 6557032"/>
              <a:gd name="connsiteX47366" fmla="*/ 1208102 w 4610101"/>
              <a:gd name="connsiteY47366" fmla="*/ 470972 h 6557032"/>
              <a:gd name="connsiteX47367" fmla="*/ 1211747 w 4610101"/>
              <a:gd name="connsiteY47367" fmla="*/ 470972 h 6557032"/>
              <a:gd name="connsiteX47368" fmla="*/ 1209925 w 4610101"/>
              <a:gd name="connsiteY47368" fmla="*/ 465506 h 6557032"/>
              <a:gd name="connsiteX47369" fmla="*/ 1212146 w 4610101"/>
              <a:gd name="connsiteY47369" fmla="*/ 465284 h 6557032"/>
              <a:gd name="connsiteX47370" fmla="*/ 1213568 w 4610101"/>
              <a:gd name="connsiteY47370" fmla="*/ 470972 h 6557032"/>
              <a:gd name="connsiteX47371" fmla="*/ 1217213 w 4610101"/>
              <a:gd name="connsiteY47371" fmla="*/ 469150 h 6557032"/>
              <a:gd name="connsiteX47372" fmla="*/ 1211747 w 4610101"/>
              <a:gd name="connsiteY47372" fmla="*/ 472795 h 6557032"/>
              <a:gd name="connsiteX47373" fmla="*/ 1211747 w 4610101"/>
              <a:gd name="connsiteY47373" fmla="*/ 489194 h 6557032"/>
              <a:gd name="connsiteX47374" fmla="*/ 1215390 w 4610101"/>
              <a:gd name="connsiteY47374" fmla="*/ 487373 h 6557032"/>
              <a:gd name="connsiteX47375" fmla="*/ 1215390 w 4610101"/>
              <a:gd name="connsiteY47375" fmla="*/ 500127 h 6557032"/>
              <a:gd name="connsiteX47376" fmla="*/ 1211747 w 4610101"/>
              <a:gd name="connsiteY47376" fmla="*/ 491017 h 6557032"/>
              <a:gd name="connsiteX47377" fmla="*/ 1213568 w 4610101"/>
              <a:gd name="connsiteY47377" fmla="*/ 503771 h 6557032"/>
              <a:gd name="connsiteX47378" fmla="*/ 1213568 w 4610101"/>
              <a:gd name="connsiteY47378" fmla="*/ 509238 h 6557032"/>
              <a:gd name="connsiteX47379" fmla="*/ 1213568 w 4610101"/>
              <a:gd name="connsiteY47379" fmla="*/ 503771 h 6557032"/>
              <a:gd name="connsiteX47380" fmla="*/ 1215390 w 4610101"/>
              <a:gd name="connsiteY47380" fmla="*/ 500127 h 6557032"/>
              <a:gd name="connsiteX47381" fmla="*/ 1217213 w 4610101"/>
              <a:gd name="connsiteY47381" fmla="*/ 512882 h 6557032"/>
              <a:gd name="connsiteX47382" fmla="*/ 1225986 w 4610101"/>
              <a:gd name="connsiteY47382" fmla="*/ 504334 h 6557032"/>
              <a:gd name="connsiteX47383" fmla="*/ 1223590 w 4610101"/>
              <a:gd name="connsiteY47383" fmla="*/ 508327 h 6557032"/>
              <a:gd name="connsiteX47384" fmla="*/ 1220858 w 4610101"/>
              <a:gd name="connsiteY47384" fmla="*/ 521993 h 6557032"/>
              <a:gd name="connsiteX47385" fmla="*/ 1219036 w 4610101"/>
              <a:gd name="connsiteY47385" fmla="*/ 514705 h 6557032"/>
              <a:gd name="connsiteX47386" fmla="*/ 1217213 w 4610101"/>
              <a:gd name="connsiteY47386" fmla="*/ 527461 h 6557032"/>
              <a:gd name="connsiteX47387" fmla="*/ 1222679 w 4610101"/>
              <a:gd name="connsiteY47387" fmla="*/ 543860 h 6557032"/>
              <a:gd name="connsiteX47388" fmla="*/ 1226323 w 4610101"/>
              <a:gd name="connsiteY47388" fmla="*/ 536571 h 6557032"/>
              <a:gd name="connsiteX47389" fmla="*/ 1240901 w 4610101"/>
              <a:gd name="connsiteY47389" fmla="*/ 520171 h 6557032"/>
              <a:gd name="connsiteX47390" fmla="*/ 1231790 w 4610101"/>
              <a:gd name="connsiteY47390" fmla="*/ 494662 h 6557032"/>
              <a:gd name="connsiteX47391" fmla="*/ 1226115 w 4610101"/>
              <a:gd name="connsiteY47391" fmla="*/ 504119 h 6557032"/>
              <a:gd name="connsiteX47392" fmla="*/ 1228146 w 4610101"/>
              <a:gd name="connsiteY47392" fmla="*/ 492838 h 6557032"/>
              <a:gd name="connsiteX47393" fmla="*/ 1231790 w 4610101"/>
              <a:gd name="connsiteY47393" fmla="*/ 492838 h 6557032"/>
              <a:gd name="connsiteX47394" fmla="*/ 1213568 w 4610101"/>
              <a:gd name="connsiteY47394" fmla="*/ 483728 h 6557032"/>
              <a:gd name="connsiteX47395" fmla="*/ 1226323 w 4610101"/>
              <a:gd name="connsiteY47395" fmla="*/ 485550 h 6557032"/>
              <a:gd name="connsiteX47396" fmla="*/ 1220858 w 4610101"/>
              <a:gd name="connsiteY47396" fmla="*/ 480083 h 6557032"/>
              <a:gd name="connsiteX47397" fmla="*/ 1226323 w 4610101"/>
              <a:gd name="connsiteY47397" fmla="*/ 481906 h 6557032"/>
              <a:gd name="connsiteX47398" fmla="*/ 1224501 w 4610101"/>
              <a:gd name="connsiteY47398" fmla="*/ 470972 h 6557032"/>
              <a:gd name="connsiteX47399" fmla="*/ 1228146 w 4610101"/>
              <a:gd name="connsiteY47399" fmla="*/ 472795 h 6557032"/>
              <a:gd name="connsiteX47400" fmla="*/ 1219036 w 4610101"/>
              <a:gd name="connsiteY47400" fmla="*/ 449107 h 6557032"/>
              <a:gd name="connsiteX47401" fmla="*/ 1240901 w 4610101"/>
              <a:gd name="connsiteY47401" fmla="*/ 492838 h 6557032"/>
              <a:gd name="connsiteX47402" fmla="*/ 1237256 w 4610101"/>
              <a:gd name="connsiteY47402" fmla="*/ 483728 h 6557032"/>
              <a:gd name="connsiteX47403" fmla="*/ 1240901 w 4610101"/>
              <a:gd name="connsiteY47403" fmla="*/ 478262 h 6557032"/>
              <a:gd name="connsiteX47404" fmla="*/ 1244545 w 4610101"/>
              <a:gd name="connsiteY47404" fmla="*/ 483728 h 6557032"/>
              <a:gd name="connsiteX47405" fmla="*/ 1246367 w 4610101"/>
              <a:gd name="connsiteY47405" fmla="*/ 492838 h 6557032"/>
              <a:gd name="connsiteX47406" fmla="*/ 1250012 w 4610101"/>
              <a:gd name="connsiteY47406" fmla="*/ 478262 h 6557032"/>
              <a:gd name="connsiteX47407" fmla="*/ 1251834 w 4610101"/>
              <a:gd name="connsiteY47407" fmla="*/ 480083 h 6557032"/>
              <a:gd name="connsiteX47408" fmla="*/ 1255478 w 4610101"/>
              <a:gd name="connsiteY47408" fmla="*/ 467328 h 6557032"/>
              <a:gd name="connsiteX47409" fmla="*/ 1253656 w 4610101"/>
              <a:gd name="connsiteY47409" fmla="*/ 425419 h 6557032"/>
              <a:gd name="connsiteX47410" fmla="*/ 1228146 w 4610101"/>
              <a:gd name="connsiteY47410" fmla="*/ 381687 h 6557032"/>
              <a:gd name="connsiteX47411" fmla="*/ 1231790 w 4610101"/>
              <a:gd name="connsiteY47411" fmla="*/ 383509 h 6557032"/>
              <a:gd name="connsiteX47412" fmla="*/ 1228146 w 4610101"/>
              <a:gd name="connsiteY47412" fmla="*/ 372576 h 6557032"/>
              <a:gd name="connsiteX47413" fmla="*/ 1257300 w 4610101"/>
              <a:gd name="connsiteY47413" fmla="*/ 429063 h 6557032"/>
              <a:gd name="connsiteX47414" fmla="*/ 1262767 w 4610101"/>
              <a:gd name="connsiteY47414" fmla="*/ 409019 h 6557032"/>
              <a:gd name="connsiteX47415" fmla="*/ 1262767 w 4610101"/>
              <a:gd name="connsiteY47415" fmla="*/ 427240 h 6557032"/>
              <a:gd name="connsiteX47416" fmla="*/ 1260945 w 4610101"/>
              <a:gd name="connsiteY47416" fmla="*/ 425419 h 6557032"/>
              <a:gd name="connsiteX47417" fmla="*/ 1257300 w 4610101"/>
              <a:gd name="connsiteY47417" fmla="*/ 480083 h 6557032"/>
              <a:gd name="connsiteX47418" fmla="*/ 1260945 w 4610101"/>
              <a:gd name="connsiteY47418" fmla="*/ 468208 h 6557032"/>
              <a:gd name="connsiteX47419" fmla="*/ 1260945 w 4610101"/>
              <a:gd name="connsiteY47419" fmla="*/ 472795 h 6557032"/>
              <a:gd name="connsiteX47420" fmla="*/ 1262311 w 4610101"/>
              <a:gd name="connsiteY47420" fmla="*/ 471429 h 6557032"/>
              <a:gd name="connsiteX47421" fmla="*/ 1261085 w 4610101"/>
              <a:gd name="connsiteY47421" fmla="*/ 467750 h 6557032"/>
              <a:gd name="connsiteX47422" fmla="*/ 1263451 w 4610101"/>
              <a:gd name="connsiteY47422" fmla="*/ 460043 h 6557032"/>
              <a:gd name="connsiteX47423" fmla="*/ 1266411 w 4610101"/>
              <a:gd name="connsiteY47423" fmla="*/ 469150 h 6557032"/>
              <a:gd name="connsiteX47424" fmla="*/ 1262767 w 4610101"/>
              <a:gd name="connsiteY47424" fmla="*/ 480083 h 6557032"/>
              <a:gd name="connsiteX47425" fmla="*/ 1268233 w 4610101"/>
              <a:gd name="connsiteY47425" fmla="*/ 474618 h 6557032"/>
              <a:gd name="connsiteX47426" fmla="*/ 1264589 w 4610101"/>
              <a:gd name="connsiteY47426" fmla="*/ 491017 h 6557032"/>
              <a:gd name="connsiteX47427" fmla="*/ 1266411 w 4610101"/>
              <a:gd name="connsiteY47427" fmla="*/ 485550 h 6557032"/>
              <a:gd name="connsiteX47428" fmla="*/ 1281232 w 4610101"/>
              <a:gd name="connsiteY47428" fmla="*/ 470729 h 6557032"/>
              <a:gd name="connsiteX47429" fmla="*/ 1266867 w 4610101"/>
              <a:gd name="connsiteY47429" fmla="*/ 490106 h 6557032"/>
              <a:gd name="connsiteX47430" fmla="*/ 1250012 w 4610101"/>
              <a:gd name="connsiteY47430" fmla="*/ 516527 h 6557032"/>
              <a:gd name="connsiteX47431" fmla="*/ 1262767 w 4610101"/>
              <a:gd name="connsiteY47431" fmla="*/ 532926 h 6557032"/>
              <a:gd name="connsiteX47432" fmla="*/ 1266411 w 4610101"/>
              <a:gd name="connsiteY47432" fmla="*/ 540215 h 6557032"/>
              <a:gd name="connsiteX47433" fmla="*/ 1275522 w 4610101"/>
              <a:gd name="connsiteY47433" fmla="*/ 596702 h 6557032"/>
              <a:gd name="connsiteX47434" fmla="*/ 1286455 w 4610101"/>
              <a:gd name="connsiteY47434" fmla="*/ 600347 h 6557032"/>
              <a:gd name="connsiteX47435" fmla="*/ 1286455 w 4610101"/>
              <a:gd name="connsiteY47435" fmla="*/ 593058 h 6557032"/>
              <a:gd name="connsiteX47436" fmla="*/ 1288277 w 4610101"/>
              <a:gd name="connsiteY47436" fmla="*/ 605813 h 6557032"/>
              <a:gd name="connsiteX47437" fmla="*/ 1293744 w 4610101"/>
              <a:gd name="connsiteY47437" fmla="*/ 591236 h 6557032"/>
              <a:gd name="connsiteX47438" fmla="*/ 1291922 w 4610101"/>
              <a:gd name="connsiteY47438" fmla="*/ 569370 h 6557032"/>
              <a:gd name="connsiteX47439" fmla="*/ 1295566 w 4610101"/>
              <a:gd name="connsiteY47439" fmla="*/ 574836 h 6557032"/>
              <a:gd name="connsiteX47440" fmla="*/ 1291922 w 4610101"/>
              <a:gd name="connsiteY47440" fmla="*/ 560260 h 6557032"/>
              <a:gd name="connsiteX47441" fmla="*/ 1295566 w 4610101"/>
              <a:gd name="connsiteY47441" fmla="*/ 565725 h 6557032"/>
              <a:gd name="connsiteX47442" fmla="*/ 1291922 w 4610101"/>
              <a:gd name="connsiteY47442" fmla="*/ 554792 h 6557032"/>
              <a:gd name="connsiteX47443" fmla="*/ 1290100 w 4610101"/>
              <a:gd name="connsiteY47443" fmla="*/ 540215 h 6557032"/>
              <a:gd name="connsiteX47444" fmla="*/ 1297388 w 4610101"/>
              <a:gd name="connsiteY47444" fmla="*/ 573014 h 6557032"/>
              <a:gd name="connsiteX47445" fmla="*/ 1295566 w 4610101"/>
              <a:gd name="connsiteY47445" fmla="*/ 583947 h 6557032"/>
              <a:gd name="connsiteX47446" fmla="*/ 1295566 w 4610101"/>
              <a:gd name="connsiteY47446" fmla="*/ 591236 h 6557032"/>
              <a:gd name="connsiteX47447" fmla="*/ 1301033 w 4610101"/>
              <a:gd name="connsiteY47447" fmla="*/ 585769 h 6557032"/>
              <a:gd name="connsiteX47448" fmla="*/ 1302855 w 4610101"/>
              <a:gd name="connsiteY47448" fmla="*/ 567548 h 6557032"/>
              <a:gd name="connsiteX47449" fmla="*/ 1306499 w 4610101"/>
              <a:gd name="connsiteY47449" fmla="*/ 571192 h 6557032"/>
              <a:gd name="connsiteX47450" fmla="*/ 1304677 w 4610101"/>
              <a:gd name="connsiteY47450" fmla="*/ 580303 h 6557032"/>
              <a:gd name="connsiteX47451" fmla="*/ 1310143 w 4610101"/>
              <a:gd name="connsiteY47451" fmla="*/ 562081 h 6557032"/>
              <a:gd name="connsiteX47452" fmla="*/ 1315610 w 4610101"/>
              <a:gd name="connsiteY47452" fmla="*/ 554792 h 6557032"/>
              <a:gd name="connsiteX47453" fmla="*/ 1308321 w 4610101"/>
              <a:gd name="connsiteY47453" fmla="*/ 583947 h 6557032"/>
              <a:gd name="connsiteX47454" fmla="*/ 1317432 w 4610101"/>
              <a:gd name="connsiteY47454" fmla="*/ 571192 h 6557032"/>
              <a:gd name="connsiteX47455" fmla="*/ 1310143 w 4610101"/>
              <a:gd name="connsiteY47455" fmla="*/ 585769 h 6557032"/>
              <a:gd name="connsiteX47456" fmla="*/ 1311966 w 4610101"/>
              <a:gd name="connsiteY47456" fmla="*/ 591236 h 6557032"/>
              <a:gd name="connsiteX47457" fmla="*/ 1319254 w 4610101"/>
              <a:gd name="connsiteY47457" fmla="*/ 574836 h 6557032"/>
              <a:gd name="connsiteX47458" fmla="*/ 1321077 w 4610101"/>
              <a:gd name="connsiteY47458" fmla="*/ 576658 h 6557032"/>
              <a:gd name="connsiteX47459" fmla="*/ 1321077 w 4610101"/>
              <a:gd name="connsiteY47459" fmla="*/ 552970 h 6557032"/>
              <a:gd name="connsiteX47460" fmla="*/ 1322899 w 4610101"/>
              <a:gd name="connsiteY47460" fmla="*/ 552970 h 6557032"/>
              <a:gd name="connsiteX47461" fmla="*/ 1324721 w 4610101"/>
              <a:gd name="connsiteY47461" fmla="*/ 558437 h 6557032"/>
              <a:gd name="connsiteX47462" fmla="*/ 1322899 w 4610101"/>
              <a:gd name="connsiteY47462" fmla="*/ 552970 h 6557032"/>
              <a:gd name="connsiteX47463" fmla="*/ 1319254 w 4610101"/>
              <a:gd name="connsiteY47463" fmla="*/ 542037 h 6557032"/>
              <a:gd name="connsiteX47464" fmla="*/ 1326543 w 4610101"/>
              <a:gd name="connsiteY47464" fmla="*/ 549326 h 6557032"/>
              <a:gd name="connsiteX47465" fmla="*/ 1330188 w 4610101"/>
              <a:gd name="connsiteY47465" fmla="*/ 562081 h 6557032"/>
              <a:gd name="connsiteX47466" fmla="*/ 1328365 w 4610101"/>
              <a:gd name="connsiteY47466" fmla="*/ 600347 h 6557032"/>
              <a:gd name="connsiteX47467" fmla="*/ 1318343 w 4610101"/>
              <a:gd name="connsiteY47467" fmla="*/ 617658 h 6557032"/>
              <a:gd name="connsiteX47468" fmla="*/ 1317432 w 4610101"/>
              <a:gd name="connsiteY47468" fmla="*/ 614924 h 6557032"/>
              <a:gd name="connsiteX47469" fmla="*/ 1321077 w 4610101"/>
              <a:gd name="connsiteY47469" fmla="*/ 607635 h 6557032"/>
              <a:gd name="connsiteX47470" fmla="*/ 1324721 w 4610101"/>
              <a:gd name="connsiteY47470" fmla="*/ 605813 h 6557032"/>
              <a:gd name="connsiteX47471" fmla="*/ 1324721 w 4610101"/>
              <a:gd name="connsiteY47471" fmla="*/ 571192 h 6557032"/>
              <a:gd name="connsiteX47472" fmla="*/ 1313788 w 4610101"/>
              <a:gd name="connsiteY47472" fmla="*/ 591236 h 6557032"/>
              <a:gd name="connsiteX47473" fmla="*/ 1317432 w 4610101"/>
              <a:gd name="connsiteY47473" fmla="*/ 603991 h 6557032"/>
              <a:gd name="connsiteX47474" fmla="*/ 1313788 w 4610101"/>
              <a:gd name="connsiteY47474" fmla="*/ 593058 h 6557032"/>
              <a:gd name="connsiteX47475" fmla="*/ 1304677 w 4610101"/>
              <a:gd name="connsiteY47475" fmla="*/ 609459 h 6557032"/>
              <a:gd name="connsiteX47476" fmla="*/ 1299210 w 4610101"/>
              <a:gd name="connsiteY47476" fmla="*/ 631324 h 6557032"/>
              <a:gd name="connsiteX47477" fmla="*/ 1302855 w 4610101"/>
              <a:gd name="connsiteY47477" fmla="*/ 633146 h 6557032"/>
              <a:gd name="connsiteX47478" fmla="*/ 1302855 w 4610101"/>
              <a:gd name="connsiteY47478" fmla="*/ 642257 h 6557032"/>
              <a:gd name="connsiteX47479" fmla="*/ 1304677 w 4610101"/>
              <a:gd name="connsiteY47479" fmla="*/ 636790 h 6557032"/>
              <a:gd name="connsiteX47480" fmla="*/ 1310293 w 4610101"/>
              <a:gd name="connsiteY47480" fmla="*/ 631562 h 6557032"/>
              <a:gd name="connsiteX47481" fmla="*/ 1308321 w 4610101"/>
              <a:gd name="connsiteY47481" fmla="*/ 634968 h 6557032"/>
              <a:gd name="connsiteX47482" fmla="*/ 1313788 w 4610101"/>
              <a:gd name="connsiteY47482" fmla="*/ 647723 h 6557032"/>
              <a:gd name="connsiteX47483" fmla="*/ 1313788 w 4610101"/>
              <a:gd name="connsiteY47483" fmla="*/ 640435 h 6557032"/>
              <a:gd name="connsiteX47484" fmla="*/ 1317432 w 4610101"/>
              <a:gd name="connsiteY47484" fmla="*/ 638612 h 6557032"/>
              <a:gd name="connsiteX47485" fmla="*/ 1317432 w 4610101"/>
              <a:gd name="connsiteY47485" fmla="*/ 642257 h 6557032"/>
              <a:gd name="connsiteX47486" fmla="*/ 1333832 w 4610101"/>
              <a:gd name="connsiteY47486" fmla="*/ 609459 h 6557032"/>
              <a:gd name="connsiteX47487" fmla="*/ 1330188 w 4610101"/>
              <a:gd name="connsiteY47487" fmla="*/ 596702 h 6557032"/>
              <a:gd name="connsiteX47488" fmla="*/ 1335654 w 4610101"/>
              <a:gd name="connsiteY47488" fmla="*/ 593058 h 6557032"/>
              <a:gd name="connsiteX47489" fmla="*/ 1335654 w 4610101"/>
              <a:gd name="connsiteY47489" fmla="*/ 605813 h 6557032"/>
              <a:gd name="connsiteX47490" fmla="*/ 1339299 w 4610101"/>
              <a:gd name="connsiteY47490" fmla="*/ 589414 h 6557032"/>
              <a:gd name="connsiteX47491" fmla="*/ 1344764 w 4610101"/>
              <a:gd name="connsiteY47491" fmla="*/ 575292 h 6557032"/>
              <a:gd name="connsiteX47492" fmla="*/ 1344765 w 4610101"/>
              <a:gd name="connsiteY47492" fmla="*/ 568277 h 6557032"/>
              <a:gd name="connsiteX47493" fmla="*/ 1346587 w 4610101"/>
              <a:gd name="connsiteY47493" fmla="*/ 574836 h 6557032"/>
              <a:gd name="connsiteX47494" fmla="*/ 1353876 w 4610101"/>
              <a:gd name="connsiteY47494" fmla="*/ 567548 h 6557032"/>
              <a:gd name="connsiteX47495" fmla="*/ 1346587 w 4610101"/>
              <a:gd name="connsiteY47495" fmla="*/ 591236 h 6557032"/>
              <a:gd name="connsiteX47496" fmla="*/ 1350231 w 4610101"/>
              <a:gd name="connsiteY47496" fmla="*/ 589414 h 6557032"/>
              <a:gd name="connsiteX47497" fmla="*/ 1342942 w 4610101"/>
              <a:gd name="connsiteY47497" fmla="*/ 614924 h 6557032"/>
              <a:gd name="connsiteX47498" fmla="*/ 1368453 w 4610101"/>
              <a:gd name="connsiteY47498" fmla="*/ 573014 h 6557032"/>
              <a:gd name="connsiteX47499" fmla="*/ 1368453 w 4610101"/>
              <a:gd name="connsiteY47499" fmla="*/ 583947 h 6557032"/>
              <a:gd name="connsiteX47500" fmla="*/ 1375743 w 4610101"/>
              <a:gd name="connsiteY47500" fmla="*/ 574836 h 6557032"/>
              <a:gd name="connsiteX47501" fmla="*/ 1355698 w 4610101"/>
              <a:gd name="connsiteY47501" fmla="*/ 605813 h 6557032"/>
              <a:gd name="connsiteX47502" fmla="*/ 1332009 w 4610101"/>
              <a:gd name="connsiteY47502" fmla="*/ 642257 h 6557032"/>
              <a:gd name="connsiteX47503" fmla="*/ 1335654 w 4610101"/>
              <a:gd name="connsiteY47503" fmla="*/ 649545 h 6557032"/>
              <a:gd name="connsiteX47504" fmla="*/ 1341120 w 4610101"/>
              <a:gd name="connsiteY47504" fmla="*/ 642257 h 6557032"/>
              <a:gd name="connsiteX47505" fmla="*/ 1337476 w 4610101"/>
              <a:gd name="connsiteY47505" fmla="*/ 653190 h 6557032"/>
              <a:gd name="connsiteX47506" fmla="*/ 1357521 w 4610101"/>
              <a:gd name="connsiteY47506" fmla="*/ 636790 h 6557032"/>
              <a:gd name="connsiteX47507" fmla="*/ 1359342 w 4610101"/>
              <a:gd name="connsiteY47507" fmla="*/ 638612 h 6557032"/>
              <a:gd name="connsiteX47508" fmla="*/ 1361164 w 4610101"/>
              <a:gd name="connsiteY47508" fmla="*/ 634968 h 6557032"/>
              <a:gd name="connsiteX47509" fmla="*/ 1362987 w 4610101"/>
              <a:gd name="connsiteY47509" fmla="*/ 636790 h 6557032"/>
              <a:gd name="connsiteX47510" fmla="*/ 1362987 w 4610101"/>
              <a:gd name="connsiteY47510" fmla="*/ 618568 h 6557032"/>
              <a:gd name="connsiteX47511" fmla="*/ 1366632 w 4610101"/>
              <a:gd name="connsiteY47511" fmla="*/ 633146 h 6557032"/>
              <a:gd name="connsiteX47512" fmla="*/ 1364809 w 4610101"/>
              <a:gd name="connsiteY47512" fmla="*/ 613103 h 6557032"/>
              <a:gd name="connsiteX47513" fmla="*/ 1366632 w 4610101"/>
              <a:gd name="connsiteY47513" fmla="*/ 614924 h 6557032"/>
              <a:gd name="connsiteX47514" fmla="*/ 1362987 w 4610101"/>
              <a:gd name="connsiteY47514" fmla="*/ 605813 h 6557032"/>
              <a:gd name="connsiteX47515" fmla="*/ 1366632 w 4610101"/>
              <a:gd name="connsiteY47515" fmla="*/ 607635 h 6557032"/>
              <a:gd name="connsiteX47516" fmla="*/ 1367314 w 4610101"/>
              <a:gd name="connsiteY47516" fmla="*/ 612191 h 6557032"/>
              <a:gd name="connsiteX47517" fmla="*/ 1371410 w 4610101"/>
              <a:gd name="connsiteY47517" fmla="*/ 616092 h 6557032"/>
              <a:gd name="connsiteX47518" fmla="*/ 1370275 w 4610101"/>
              <a:gd name="connsiteY47518" fmla="*/ 624035 h 6557032"/>
              <a:gd name="connsiteX47519" fmla="*/ 1372097 w 4610101"/>
              <a:gd name="connsiteY47519" fmla="*/ 616746 h 6557032"/>
              <a:gd name="connsiteX47520" fmla="*/ 1371410 w 4610101"/>
              <a:gd name="connsiteY47520" fmla="*/ 616092 h 6557032"/>
              <a:gd name="connsiteX47521" fmla="*/ 1372097 w 4610101"/>
              <a:gd name="connsiteY47521" fmla="*/ 611280 h 6557032"/>
              <a:gd name="connsiteX47522" fmla="*/ 1375743 w 4610101"/>
              <a:gd name="connsiteY47522" fmla="*/ 613103 h 6557032"/>
              <a:gd name="connsiteX47523" fmla="*/ 1373920 w 4610101"/>
              <a:gd name="connsiteY47523" fmla="*/ 624035 h 6557032"/>
              <a:gd name="connsiteX47524" fmla="*/ 1384854 w 4610101"/>
              <a:gd name="connsiteY47524" fmla="*/ 611280 h 6557032"/>
              <a:gd name="connsiteX47525" fmla="*/ 1375743 w 4610101"/>
              <a:gd name="connsiteY47525" fmla="*/ 624035 h 6557032"/>
              <a:gd name="connsiteX47526" fmla="*/ 1377564 w 4610101"/>
              <a:gd name="connsiteY47526" fmla="*/ 651368 h 6557032"/>
              <a:gd name="connsiteX47527" fmla="*/ 1383030 w 4610101"/>
              <a:gd name="connsiteY47527" fmla="*/ 644079 h 6557032"/>
              <a:gd name="connsiteX47528" fmla="*/ 1377564 w 4610101"/>
              <a:gd name="connsiteY47528" fmla="*/ 631324 h 6557032"/>
              <a:gd name="connsiteX47529" fmla="*/ 1383030 w 4610101"/>
              <a:gd name="connsiteY47529" fmla="*/ 642257 h 6557032"/>
              <a:gd name="connsiteX47530" fmla="*/ 1388497 w 4610101"/>
              <a:gd name="connsiteY47530" fmla="*/ 636790 h 6557032"/>
              <a:gd name="connsiteX47531" fmla="*/ 1384854 w 4610101"/>
              <a:gd name="connsiteY47531" fmla="*/ 631324 h 6557032"/>
              <a:gd name="connsiteX47532" fmla="*/ 1388497 w 4610101"/>
              <a:gd name="connsiteY47532" fmla="*/ 633146 h 6557032"/>
              <a:gd name="connsiteX47533" fmla="*/ 1386676 w 4610101"/>
              <a:gd name="connsiteY47533" fmla="*/ 605813 h 6557032"/>
              <a:gd name="connsiteX47534" fmla="*/ 1383030 w 4610101"/>
              <a:gd name="connsiteY47534" fmla="*/ 607635 h 6557032"/>
              <a:gd name="connsiteX47535" fmla="*/ 1381208 w 4610101"/>
              <a:gd name="connsiteY47535" fmla="*/ 589414 h 6557032"/>
              <a:gd name="connsiteX47536" fmla="*/ 1392141 w 4610101"/>
              <a:gd name="connsiteY47536" fmla="*/ 609459 h 6557032"/>
              <a:gd name="connsiteX47537" fmla="*/ 1392141 w 4610101"/>
              <a:gd name="connsiteY47537" fmla="*/ 602169 h 6557032"/>
              <a:gd name="connsiteX47538" fmla="*/ 1390319 w 4610101"/>
              <a:gd name="connsiteY47538" fmla="*/ 602169 h 6557032"/>
              <a:gd name="connsiteX47539" fmla="*/ 1392141 w 4610101"/>
              <a:gd name="connsiteY47539" fmla="*/ 600347 h 6557032"/>
              <a:gd name="connsiteX47540" fmla="*/ 1377564 w 4610101"/>
              <a:gd name="connsiteY47540" fmla="*/ 582125 h 6557032"/>
              <a:gd name="connsiteX47541" fmla="*/ 1377341 w 4610101"/>
              <a:gd name="connsiteY47541" fmla="*/ 578776 h 6557032"/>
              <a:gd name="connsiteX47542" fmla="*/ 1384169 w 4610101"/>
              <a:gd name="connsiteY47542" fmla="*/ 587820 h 6557032"/>
              <a:gd name="connsiteX47543" fmla="*/ 1393963 w 4610101"/>
              <a:gd name="connsiteY47543" fmla="*/ 600347 h 6557032"/>
              <a:gd name="connsiteX47544" fmla="*/ 1393963 w 4610101"/>
              <a:gd name="connsiteY47544" fmla="*/ 591236 h 6557032"/>
              <a:gd name="connsiteX47545" fmla="*/ 1395787 w 4610101"/>
              <a:gd name="connsiteY47545" fmla="*/ 603991 h 6557032"/>
              <a:gd name="connsiteX47546" fmla="*/ 1397608 w 4610101"/>
              <a:gd name="connsiteY47546" fmla="*/ 603991 h 6557032"/>
              <a:gd name="connsiteX47547" fmla="*/ 1395787 w 4610101"/>
              <a:gd name="connsiteY47547" fmla="*/ 605813 h 6557032"/>
              <a:gd name="connsiteX47548" fmla="*/ 1399430 w 4610101"/>
              <a:gd name="connsiteY47548" fmla="*/ 609459 h 6557032"/>
              <a:gd name="connsiteX47549" fmla="*/ 1395787 w 4610101"/>
              <a:gd name="connsiteY47549" fmla="*/ 607635 h 6557032"/>
              <a:gd name="connsiteX47550" fmla="*/ 1397608 w 4610101"/>
              <a:gd name="connsiteY47550" fmla="*/ 618568 h 6557032"/>
              <a:gd name="connsiteX47551" fmla="*/ 1399430 w 4610101"/>
              <a:gd name="connsiteY47551" fmla="*/ 613103 h 6557032"/>
              <a:gd name="connsiteX47552" fmla="*/ 1403074 w 4610101"/>
              <a:gd name="connsiteY47552" fmla="*/ 614924 h 6557032"/>
              <a:gd name="connsiteX47553" fmla="*/ 1406719 w 4610101"/>
              <a:gd name="connsiteY47553" fmla="*/ 605813 h 6557032"/>
              <a:gd name="connsiteX47554" fmla="*/ 1405807 w 4610101"/>
              <a:gd name="connsiteY47554" fmla="*/ 605813 h 6557032"/>
              <a:gd name="connsiteX47555" fmla="*/ 1408313 w 4610101"/>
              <a:gd name="connsiteY47555" fmla="*/ 600802 h 6557032"/>
              <a:gd name="connsiteX47556" fmla="*/ 1406117 w 4610101"/>
              <a:gd name="connsiteY47556" fmla="*/ 594655 h 6557032"/>
              <a:gd name="connsiteX47557" fmla="*/ 1406719 w 4610101"/>
              <a:gd name="connsiteY47557" fmla="*/ 594880 h 6557032"/>
              <a:gd name="connsiteX47558" fmla="*/ 1386676 w 4610101"/>
              <a:gd name="connsiteY47558" fmla="*/ 554792 h 6557032"/>
              <a:gd name="connsiteX47559" fmla="*/ 1381208 w 4610101"/>
              <a:gd name="connsiteY47559" fmla="*/ 558437 h 6557032"/>
              <a:gd name="connsiteX47560" fmla="*/ 1381208 w 4610101"/>
              <a:gd name="connsiteY47560" fmla="*/ 547504 h 6557032"/>
              <a:gd name="connsiteX47561" fmla="*/ 1401252 w 4610101"/>
              <a:gd name="connsiteY47561" fmla="*/ 567548 h 6557032"/>
              <a:gd name="connsiteX47562" fmla="*/ 1414007 w 4610101"/>
              <a:gd name="connsiteY47562" fmla="*/ 598524 h 6557032"/>
              <a:gd name="connsiteX47563" fmla="*/ 1414007 w 4610101"/>
              <a:gd name="connsiteY47563" fmla="*/ 585769 h 6557032"/>
              <a:gd name="connsiteX47564" fmla="*/ 1417652 w 4610101"/>
              <a:gd name="connsiteY47564" fmla="*/ 589414 h 6557032"/>
              <a:gd name="connsiteX47565" fmla="*/ 1412185 w 4610101"/>
              <a:gd name="connsiteY47565" fmla="*/ 573014 h 6557032"/>
              <a:gd name="connsiteX47566" fmla="*/ 1417652 w 4610101"/>
              <a:gd name="connsiteY47566" fmla="*/ 580303 h 6557032"/>
              <a:gd name="connsiteX47567" fmla="*/ 1414007 w 4610101"/>
              <a:gd name="connsiteY47567" fmla="*/ 571192 h 6557032"/>
              <a:gd name="connsiteX47568" fmla="*/ 1417652 w 4610101"/>
              <a:gd name="connsiteY47568" fmla="*/ 573014 h 6557032"/>
              <a:gd name="connsiteX47569" fmla="*/ 1419474 w 4610101"/>
              <a:gd name="connsiteY47569" fmla="*/ 560260 h 6557032"/>
              <a:gd name="connsiteX47570" fmla="*/ 1426886 w 4610101"/>
              <a:gd name="connsiteY47570" fmla="*/ 548947 h 6557032"/>
              <a:gd name="connsiteX47571" fmla="*/ 1426307 w 4610101"/>
              <a:gd name="connsiteY47571" fmla="*/ 555020 h 6557032"/>
              <a:gd name="connsiteX47572" fmla="*/ 1421296 w 4610101"/>
              <a:gd name="connsiteY47572" fmla="*/ 580303 h 6557032"/>
              <a:gd name="connsiteX47573" fmla="*/ 1423118 w 4610101"/>
              <a:gd name="connsiteY47573" fmla="*/ 580303 h 6557032"/>
              <a:gd name="connsiteX47574" fmla="*/ 1421296 w 4610101"/>
              <a:gd name="connsiteY47574" fmla="*/ 583947 h 6557032"/>
              <a:gd name="connsiteX47575" fmla="*/ 1419474 w 4610101"/>
              <a:gd name="connsiteY47575" fmla="*/ 582125 h 6557032"/>
              <a:gd name="connsiteX47576" fmla="*/ 1423118 w 4610101"/>
              <a:gd name="connsiteY47576" fmla="*/ 587591 h 6557032"/>
              <a:gd name="connsiteX47577" fmla="*/ 1441340 w 4610101"/>
              <a:gd name="connsiteY47577" fmla="*/ 547504 h 6557032"/>
              <a:gd name="connsiteX47578" fmla="*/ 1442001 w 4610101"/>
              <a:gd name="connsiteY47578" fmla="*/ 541554 h 6557032"/>
              <a:gd name="connsiteX47579" fmla="*/ 1443162 w 4610101"/>
              <a:gd name="connsiteY47579" fmla="*/ 545681 h 6557032"/>
              <a:gd name="connsiteX47580" fmla="*/ 1428585 w 4610101"/>
              <a:gd name="connsiteY47580" fmla="*/ 582125 h 6557032"/>
              <a:gd name="connsiteX47581" fmla="*/ 1434051 w 4610101"/>
              <a:gd name="connsiteY47581" fmla="*/ 583947 h 6557032"/>
              <a:gd name="connsiteX47582" fmla="*/ 1428130 w 4610101"/>
              <a:gd name="connsiteY47582" fmla="*/ 591008 h 6557032"/>
              <a:gd name="connsiteX47583" fmla="*/ 1426104 w 4610101"/>
              <a:gd name="connsiteY47583" fmla="*/ 594625 h 6557032"/>
              <a:gd name="connsiteX47584" fmla="*/ 1426763 w 4610101"/>
              <a:gd name="connsiteY47584" fmla="*/ 587591 h 6557032"/>
              <a:gd name="connsiteX47585" fmla="*/ 1421296 w 4610101"/>
              <a:gd name="connsiteY47585" fmla="*/ 602169 h 6557032"/>
              <a:gd name="connsiteX47586" fmla="*/ 1425269 w 4610101"/>
              <a:gd name="connsiteY47586" fmla="*/ 596116 h 6557032"/>
              <a:gd name="connsiteX47587" fmla="*/ 1424940 w 4610101"/>
              <a:gd name="connsiteY47587" fmla="*/ 596702 h 6557032"/>
              <a:gd name="connsiteX47588" fmla="*/ 1426763 w 4610101"/>
              <a:gd name="connsiteY47588" fmla="*/ 605813 h 6557032"/>
              <a:gd name="connsiteX47589" fmla="*/ 1430407 w 4610101"/>
              <a:gd name="connsiteY47589" fmla="*/ 603991 h 6557032"/>
              <a:gd name="connsiteX47590" fmla="*/ 1434051 w 4610101"/>
              <a:gd name="connsiteY47590" fmla="*/ 622213 h 6557032"/>
              <a:gd name="connsiteX47591" fmla="*/ 1434051 w 4610101"/>
              <a:gd name="connsiteY47591" fmla="*/ 603991 h 6557032"/>
              <a:gd name="connsiteX47592" fmla="*/ 1437696 w 4610101"/>
              <a:gd name="connsiteY47592" fmla="*/ 613103 h 6557032"/>
              <a:gd name="connsiteX47593" fmla="*/ 1439518 w 4610101"/>
              <a:gd name="connsiteY47593" fmla="*/ 609459 h 6557032"/>
              <a:gd name="connsiteX47594" fmla="*/ 1441340 w 4610101"/>
              <a:gd name="connsiteY47594" fmla="*/ 614924 h 6557032"/>
              <a:gd name="connsiteX47595" fmla="*/ 1439518 w 4610101"/>
              <a:gd name="connsiteY47595" fmla="*/ 618568 h 6557032"/>
              <a:gd name="connsiteX47596" fmla="*/ 1443162 w 4610101"/>
              <a:gd name="connsiteY47596" fmla="*/ 620391 h 6557032"/>
              <a:gd name="connsiteX47597" fmla="*/ 1444984 w 4610101"/>
              <a:gd name="connsiteY47597" fmla="*/ 607635 h 6557032"/>
              <a:gd name="connsiteX47598" fmla="*/ 1446806 w 4610101"/>
              <a:gd name="connsiteY47598" fmla="*/ 611280 h 6557032"/>
              <a:gd name="connsiteX47599" fmla="*/ 1441340 w 4610101"/>
              <a:gd name="connsiteY47599" fmla="*/ 600347 h 6557032"/>
              <a:gd name="connsiteX47600" fmla="*/ 1448629 w 4610101"/>
              <a:gd name="connsiteY47600" fmla="*/ 611280 h 6557032"/>
              <a:gd name="connsiteX47601" fmla="*/ 1452273 w 4610101"/>
              <a:gd name="connsiteY47601" fmla="*/ 609459 h 6557032"/>
              <a:gd name="connsiteX47602" fmla="*/ 1448629 w 4610101"/>
              <a:gd name="connsiteY47602" fmla="*/ 616746 h 6557032"/>
              <a:gd name="connsiteX47603" fmla="*/ 1452273 w 4610101"/>
              <a:gd name="connsiteY47603" fmla="*/ 618568 h 6557032"/>
              <a:gd name="connsiteX47604" fmla="*/ 1446806 w 4610101"/>
              <a:gd name="connsiteY47604" fmla="*/ 620391 h 6557032"/>
              <a:gd name="connsiteX47605" fmla="*/ 1446806 w 4610101"/>
              <a:gd name="connsiteY47605" fmla="*/ 627679 h 6557032"/>
              <a:gd name="connsiteX47606" fmla="*/ 1448629 w 4610101"/>
              <a:gd name="connsiteY47606" fmla="*/ 622213 h 6557032"/>
              <a:gd name="connsiteX47607" fmla="*/ 1450451 w 4610101"/>
              <a:gd name="connsiteY47607" fmla="*/ 625857 h 6557032"/>
              <a:gd name="connsiteX47608" fmla="*/ 1457739 w 4610101"/>
              <a:gd name="connsiteY47608" fmla="*/ 614924 h 6557032"/>
              <a:gd name="connsiteX47609" fmla="*/ 1457739 w 4610101"/>
              <a:gd name="connsiteY47609" fmla="*/ 620391 h 6557032"/>
              <a:gd name="connsiteX47610" fmla="*/ 1463206 w 4610101"/>
              <a:gd name="connsiteY47610" fmla="*/ 614924 h 6557032"/>
              <a:gd name="connsiteX47611" fmla="*/ 1444984 w 4610101"/>
              <a:gd name="connsiteY47611" fmla="*/ 638612 h 6557032"/>
              <a:gd name="connsiteX47612" fmla="*/ 1441340 w 4610101"/>
              <a:gd name="connsiteY47612" fmla="*/ 642257 h 6557032"/>
              <a:gd name="connsiteX47613" fmla="*/ 1444984 w 4610101"/>
              <a:gd name="connsiteY47613" fmla="*/ 640435 h 6557032"/>
              <a:gd name="connsiteX47614" fmla="*/ 1444984 w 4610101"/>
              <a:gd name="connsiteY47614" fmla="*/ 647723 h 6557032"/>
              <a:gd name="connsiteX47615" fmla="*/ 1443162 w 4610101"/>
              <a:gd name="connsiteY47615" fmla="*/ 655012 h 6557032"/>
              <a:gd name="connsiteX47616" fmla="*/ 1448365 w 4610101"/>
              <a:gd name="connsiteY47616" fmla="*/ 650676 h 6557032"/>
              <a:gd name="connsiteX47617" fmla="*/ 1442934 w 4610101"/>
              <a:gd name="connsiteY47617" fmla="*/ 658657 h 6557032"/>
              <a:gd name="connsiteX47618" fmla="*/ 1430407 w 4610101"/>
              <a:gd name="connsiteY47618" fmla="*/ 675056 h 6557032"/>
              <a:gd name="connsiteX47619" fmla="*/ 1441340 w 4610101"/>
              <a:gd name="connsiteY47619" fmla="*/ 669589 h 6557032"/>
              <a:gd name="connsiteX47620" fmla="*/ 1443162 w 4610101"/>
              <a:gd name="connsiteY47620" fmla="*/ 673234 h 6557032"/>
              <a:gd name="connsiteX47621" fmla="*/ 1450451 w 4610101"/>
              <a:gd name="connsiteY47621" fmla="*/ 665945 h 6557032"/>
              <a:gd name="connsiteX47622" fmla="*/ 1457739 w 4610101"/>
              <a:gd name="connsiteY47622" fmla="*/ 662301 h 6557032"/>
              <a:gd name="connsiteX47623" fmla="*/ 1450451 w 4610101"/>
              <a:gd name="connsiteY47623" fmla="*/ 673234 h 6557032"/>
              <a:gd name="connsiteX47624" fmla="*/ 1461384 w 4610101"/>
              <a:gd name="connsiteY47624" fmla="*/ 667767 h 6557032"/>
              <a:gd name="connsiteX47625" fmla="*/ 1459562 w 4610101"/>
              <a:gd name="connsiteY47625" fmla="*/ 673234 h 6557032"/>
              <a:gd name="connsiteX47626" fmla="*/ 1454095 w 4610101"/>
              <a:gd name="connsiteY47626" fmla="*/ 682345 h 6557032"/>
              <a:gd name="connsiteX47627" fmla="*/ 1463206 w 4610101"/>
              <a:gd name="connsiteY47627" fmla="*/ 675056 h 6557032"/>
              <a:gd name="connsiteX47628" fmla="*/ 1454095 w 4610101"/>
              <a:gd name="connsiteY47628" fmla="*/ 684167 h 6557032"/>
              <a:gd name="connsiteX47629" fmla="*/ 1448857 w 4610101"/>
              <a:gd name="connsiteY47629" fmla="*/ 702389 h 6557032"/>
              <a:gd name="connsiteX47630" fmla="*/ 1440216 w 4610101"/>
              <a:gd name="connsiteY47630" fmla="*/ 719248 h 6557032"/>
              <a:gd name="connsiteX47631" fmla="*/ 1435873 w 4610101"/>
              <a:gd name="connsiteY47631" fmla="*/ 720610 h 6557032"/>
              <a:gd name="connsiteX47632" fmla="*/ 1435873 w 4610101"/>
              <a:gd name="connsiteY47632" fmla="*/ 725622 h 6557032"/>
              <a:gd name="connsiteX47633" fmla="*/ 1435670 w 4610101"/>
              <a:gd name="connsiteY47633" fmla="*/ 725673 h 6557032"/>
              <a:gd name="connsiteX47634" fmla="*/ 1434051 w 4610101"/>
              <a:gd name="connsiteY47634" fmla="*/ 722432 h 6557032"/>
              <a:gd name="connsiteX47635" fmla="*/ 1425853 w 4610101"/>
              <a:gd name="connsiteY47635" fmla="*/ 727898 h 6557032"/>
              <a:gd name="connsiteX47636" fmla="*/ 1419474 w 4610101"/>
              <a:gd name="connsiteY47636" fmla="*/ 731543 h 6557032"/>
              <a:gd name="connsiteX47637" fmla="*/ 1434051 w 4610101"/>
              <a:gd name="connsiteY47637" fmla="*/ 726077 h 6557032"/>
              <a:gd name="connsiteX47638" fmla="*/ 1435670 w 4610101"/>
              <a:gd name="connsiteY47638" fmla="*/ 725673 h 6557032"/>
              <a:gd name="connsiteX47639" fmla="*/ 1435873 w 4610101"/>
              <a:gd name="connsiteY47639" fmla="*/ 726077 h 6557032"/>
              <a:gd name="connsiteX47640" fmla="*/ 1435873 w 4610101"/>
              <a:gd name="connsiteY47640" fmla="*/ 725622 h 6557032"/>
              <a:gd name="connsiteX47641" fmla="*/ 1445895 w 4610101"/>
              <a:gd name="connsiteY47641" fmla="*/ 723116 h 6557032"/>
              <a:gd name="connsiteX47642" fmla="*/ 1457739 w 4610101"/>
              <a:gd name="connsiteY47642" fmla="*/ 713321 h 6557032"/>
              <a:gd name="connsiteX47643" fmla="*/ 1456187 w 4610101"/>
              <a:gd name="connsiteY47643" fmla="*/ 713873 h 6557032"/>
              <a:gd name="connsiteX47644" fmla="*/ 1465028 w 4610101"/>
              <a:gd name="connsiteY47644" fmla="*/ 706033 h 6557032"/>
              <a:gd name="connsiteX47645" fmla="*/ 1461384 w 4610101"/>
              <a:gd name="connsiteY47645" fmla="*/ 702388 h 6557032"/>
              <a:gd name="connsiteX47646" fmla="*/ 1463206 w 4610101"/>
              <a:gd name="connsiteY47646" fmla="*/ 698744 h 6557032"/>
              <a:gd name="connsiteX47647" fmla="*/ 1466850 w 4610101"/>
              <a:gd name="connsiteY47647" fmla="*/ 706033 h 6557032"/>
              <a:gd name="connsiteX47648" fmla="*/ 1472317 w 4610101"/>
              <a:gd name="connsiteY47648" fmla="*/ 684167 h 6557032"/>
              <a:gd name="connsiteX47649" fmla="*/ 1474139 w 4610101"/>
              <a:gd name="connsiteY47649" fmla="*/ 687811 h 6557032"/>
              <a:gd name="connsiteX47650" fmla="*/ 1477784 w 4610101"/>
              <a:gd name="connsiteY47650" fmla="*/ 684167 h 6557032"/>
              <a:gd name="connsiteX47651" fmla="*/ 1466850 w 4610101"/>
              <a:gd name="connsiteY47651" fmla="*/ 709677 h 6557032"/>
              <a:gd name="connsiteX47652" fmla="*/ 1468673 w 4610101"/>
              <a:gd name="connsiteY47652" fmla="*/ 709677 h 6557032"/>
              <a:gd name="connsiteX47653" fmla="*/ 1465028 w 4610101"/>
              <a:gd name="connsiteY47653" fmla="*/ 726077 h 6557032"/>
              <a:gd name="connsiteX47654" fmla="*/ 1478695 w 4610101"/>
              <a:gd name="connsiteY47654" fmla="*/ 712183 h 6557032"/>
              <a:gd name="connsiteX47655" fmla="*/ 1481401 w 4610101"/>
              <a:gd name="connsiteY47655" fmla="*/ 707146 h 6557032"/>
              <a:gd name="connsiteX47656" fmla="*/ 1481326 w 4610101"/>
              <a:gd name="connsiteY47656" fmla="*/ 710197 h 6557032"/>
              <a:gd name="connsiteX47657" fmla="*/ 1478012 w 4610101"/>
              <a:gd name="connsiteY47657" fmla="*/ 714233 h 6557032"/>
              <a:gd name="connsiteX47658" fmla="*/ 1474139 w 4610101"/>
              <a:gd name="connsiteY47658" fmla="*/ 720610 h 6557032"/>
              <a:gd name="connsiteX47659" fmla="*/ 1481200 w 4610101"/>
              <a:gd name="connsiteY47659" fmla="*/ 715372 h 6557032"/>
              <a:gd name="connsiteX47660" fmla="*/ 1481326 w 4610101"/>
              <a:gd name="connsiteY47660" fmla="*/ 710197 h 6557032"/>
              <a:gd name="connsiteX47661" fmla="*/ 1483250 w 4610101"/>
              <a:gd name="connsiteY47661" fmla="*/ 707855 h 6557032"/>
              <a:gd name="connsiteX47662" fmla="*/ 1483084 w 4610101"/>
              <a:gd name="connsiteY47662" fmla="*/ 704377 h 6557032"/>
              <a:gd name="connsiteX47663" fmla="*/ 1484161 w 4610101"/>
              <a:gd name="connsiteY47663" fmla="*/ 703300 h 6557032"/>
              <a:gd name="connsiteX47664" fmla="*/ 1486895 w 4610101"/>
              <a:gd name="connsiteY47664" fmla="*/ 700566 h 6557032"/>
              <a:gd name="connsiteX47665" fmla="*/ 1485072 w 4610101"/>
              <a:gd name="connsiteY47665" fmla="*/ 715144 h 6557032"/>
              <a:gd name="connsiteX47666" fmla="*/ 1488716 w 4610101"/>
              <a:gd name="connsiteY47666" fmla="*/ 713321 h 6557032"/>
              <a:gd name="connsiteX47667" fmla="*/ 1486895 w 4610101"/>
              <a:gd name="connsiteY47667" fmla="*/ 718788 h 6557032"/>
              <a:gd name="connsiteX47668" fmla="*/ 1492361 w 4610101"/>
              <a:gd name="connsiteY47668" fmla="*/ 716966 h 6557032"/>
              <a:gd name="connsiteX47669" fmla="*/ 1486895 w 4610101"/>
              <a:gd name="connsiteY47669" fmla="*/ 720610 h 6557032"/>
              <a:gd name="connsiteX47670" fmla="*/ 1496006 w 4610101"/>
              <a:gd name="connsiteY47670" fmla="*/ 716966 h 6557032"/>
              <a:gd name="connsiteX47671" fmla="*/ 1492361 w 4610101"/>
              <a:gd name="connsiteY47671" fmla="*/ 722432 h 6557032"/>
              <a:gd name="connsiteX47672" fmla="*/ 1481428 w 4610101"/>
              <a:gd name="connsiteY47672" fmla="*/ 722432 h 6557032"/>
              <a:gd name="connsiteX47673" fmla="*/ 1455803 w 4610101"/>
              <a:gd name="connsiteY47673" fmla="*/ 733707 h 6557032"/>
              <a:gd name="connsiteX47674" fmla="*/ 1452273 w 4610101"/>
              <a:gd name="connsiteY47674" fmla="*/ 742476 h 6557032"/>
              <a:gd name="connsiteX47675" fmla="*/ 1446806 w 4610101"/>
              <a:gd name="connsiteY47675" fmla="*/ 747943 h 6557032"/>
              <a:gd name="connsiteX47676" fmla="*/ 1450451 w 4610101"/>
              <a:gd name="connsiteY47676" fmla="*/ 747943 h 6557032"/>
              <a:gd name="connsiteX47677" fmla="*/ 1423118 w 4610101"/>
              <a:gd name="connsiteY47677" fmla="*/ 764342 h 6557032"/>
              <a:gd name="connsiteX47678" fmla="*/ 1426763 w 4610101"/>
              <a:gd name="connsiteY47678" fmla="*/ 758876 h 6557032"/>
              <a:gd name="connsiteX47679" fmla="*/ 1421296 w 4610101"/>
              <a:gd name="connsiteY47679" fmla="*/ 758876 h 6557032"/>
              <a:gd name="connsiteX47680" fmla="*/ 1408541 w 4610101"/>
              <a:gd name="connsiteY47680" fmla="*/ 788031 h 6557032"/>
              <a:gd name="connsiteX47681" fmla="*/ 1424940 w 4610101"/>
              <a:gd name="connsiteY47681" fmla="*/ 773453 h 6557032"/>
              <a:gd name="connsiteX47682" fmla="*/ 1430407 w 4610101"/>
              <a:gd name="connsiteY47682" fmla="*/ 769809 h 6557032"/>
              <a:gd name="connsiteX47683" fmla="*/ 1426763 w 4610101"/>
              <a:gd name="connsiteY47683" fmla="*/ 784386 h 6557032"/>
              <a:gd name="connsiteX47684" fmla="*/ 1434051 w 4610101"/>
              <a:gd name="connsiteY47684" fmla="*/ 782564 h 6557032"/>
              <a:gd name="connsiteX47685" fmla="*/ 1424940 w 4610101"/>
              <a:gd name="connsiteY47685" fmla="*/ 786208 h 6557032"/>
              <a:gd name="connsiteX47686" fmla="*/ 1426763 w 4610101"/>
              <a:gd name="connsiteY47686" fmla="*/ 789853 h 6557032"/>
              <a:gd name="connsiteX47687" fmla="*/ 1434051 w 4610101"/>
              <a:gd name="connsiteY47687" fmla="*/ 786208 h 6557032"/>
              <a:gd name="connsiteX47688" fmla="*/ 1424940 w 4610101"/>
              <a:gd name="connsiteY47688" fmla="*/ 795319 h 6557032"/>
              <a:gd name="connsiteX47689" fmla="*/ 1424940 w 4610101"/>
              <a:gd name="connsiteY47689" fmla="*/ 791675 h 6557032"/>
              <a:gd name="connsiteX47690" fmla="*/ 1383030 w 4610101"/>
              <a:gd name="connsiteY47690" fmla="*/ 808074 h 6557032"/>
              <a:gd name="connsiteX47691" fmla="*/ 1377564 w 4610101"/>
              <a:gd name="connsiteY47691" fmla="*/ 808074 h 6557032"/>
              <a:gd name="connsiteX47692" fmla="*/ 1373920 w 4610101"/>
              <a:gd name="connsiteY47692" fmla="*/ 802608 h 6557032"/>
              <a:gd name="connsiteX47693" fmla="*/ 1339299 w 4610101"/>
              <a:gd name="connsiteY47693" fmla="*/ 813541 h 6557032"/>
              <a:gd name="connsiteX47694" fmla="*/ 1341120 w 4610101"/>
              <a:gd name="connsiteY47694" fmla="*/ 817185 h 6557032"/>
              <a:gd name="connsiteX47695" fmla="*/ 1335654 w 4610101"/>
              <a:gd name="connsiteY47695" fmla="*/ 822652 h 6557032"/>
              <a:gd name="connsiteX47696" fmla="*/ 1337476 w 4610101"/>
              <a:gd name="connsiteY47696" fmla="*/ 831763 h 6557032"/>
              <a:gd name="connsiteX47697" fmla="*/ 1342942 w 4610101"/>
              <a:gd name="connsiteY47697" fmla="*/ 828118 h 6557032"/>
              <a:gd name="connsiteX47698" fmla="*/ 1341120 w 4610101"/>
              <a:gd name="connsiteY47698" fmla="*/ 831763 h 6557032"/>
              <a:gd name="connsiteX47699" fmla="*/ 1364809 w 4610101"/>
              <a:gd name="connsiteY47699" fmla="*/ 826296 h 6557032"/>
              <a:gd name="connsiteX47700" fmla="*/ 1368453 w 4610101"/>
              <a:gd name="connsiteY47700" fmla="*/ 815363 h 6557032"/>
              <a:gd name="connsiteX47701" fmla="*/ 1368453 w 4610101"/>
              <a:gd name="connsiteY47701" fmla="*/ 824474 h 6557032"/>
              <a:gd name="connsiteX47702" fmla="*/ 1372097 w 4610101"/>
              <a:gd name="connsiteY47702" fmla="*/ 824474 h 6557032"/>
              <a:gd name="connsiteX47703" fmla="*/ 1401252 w 4610101"/>
              <a:gd name="connsiteY47703" fmla="*/ 808074 h 6557032"/>
              <a:gd name="connsiteX47704" fmla="*/ 1403074 w 4610101"/>
              <a:gd name="connsiteY47704" fmla="*/ 808074 h 6557032"/>
              <a:gd name="connsiteX47705" fmla="*/ 1390319 w 4610101"/>
              <a:gd name="connsiteY47705" fmla="*/ 820830 h 6557032"/>
              <a:gd name="connsiteX47706" fmla="*/ 1390319 w 4610101"/>
              <a:gd name="connsiteY47706" fmla="*/ 824474 h 6557032"/>
              <a:gd name="connsiteX47707" fmla="*/ 1423118 w 4610101"/>
              <a:gd name="connsiteY47707" fmla="*/ 813541 h 6557032"/>
              <a:gd name="connsiteX47708" fmla="*/ 1417652 w 4610101"/>
              <a:gd name="connsiteY47708" fmla="*/ 797141 h 6557032"/>
              <a:gd name="connsiteX47709" fmla="*/ 1423212 w 4610101"/>
              <a:gd name="connsiteY47709" fmla="*/ 804092 h 6557032"/>
              <a:gd name="connsiteX47710" fmla="*/ 1423118 w 4610101"/>
              <a:gd name="connsiteY47710" fmla="*/ 806252 h 6557032"/>
              <a:gd name="connsiteX47711" fmla="*/ 1424940 w 4610101"/>
              <a:gd name="connsiteY47711" fmla="*/ 809897 h 6557032"/>
              <a:gd name="connsiteX47712" fmla="*/ 1424940 w 4610101"/>
              <a:gd name="connsiteY47712" fmla="*/ 806252 h 6557032"/>
              <a:gd name="connsiteX47713" fmla="*/ 1423212 w 4610101"/>
              <a:gd name="connsiteY47713" fmla="*/ 804092 h 6557032"/>
              <a:gd name="connsiteX47714" fmla="*/ 1423346 w 4610101"/>
              <a:gd name="connsiteY47714" fmla="*/ 801014 h 6557032"/>
              <a:gd name="connsiteX47715" fmla="*/ 1424940 w 4610101"/>
              <a:gd name="connsiteY47715" fmla="*/ 797141 h 6557032"/>
              <a:gd name="connsiteX47716" fmla="*/ 1428585 w 4610101"/>
              <a:gd name="connsiteY47716" fmla="*/ 798964 h 6557032"/>
              <a:gd name="connsiteX47717" fmla="*/ 1434051 w 4610101"/>
              <a:gd name="connsiteY47717" fmla="*/ 797141 h 6557032"/>
              <a:gd name="connsiteX47718" fmla="*/ 1434051 w 4610101"/>
              <a:gd name="connsiteY47718" fmla="*/ 802608 h 6557032"/>
              <a:gd name="connsiteX47719" fmla="*/ 1437696 w 4610101"/>
              <a:gd name="connsiteY47719" fmla="*/ 798964 h 6557032"/>
              <a:gd name="connsiteX47720" fmla="*/ 1439518 w 4610101"/>
              <a:gd name="connsiteY47720" fmla="*/ 798964 h 6557032"/>
              <a:gd name="connsiteX47721" fmla="*/ 1430407 w 4610101"/>
              <a:gd name="connsiteY47721" fmla="*/ 809897 h 6557032"/>
              <a:gd name="connsiteX47722" fmla="*/ 1443855 w 4610101"/>
              <a:gd name="connsiteY47722" fmla="*/ 801369 h 6557032"/>
              <a:gd name="connsiteX47723" fmla="*/ 1434507 w 4610101"/>
              <a:gd name="connsiteY47723" fmla="*/ 808986 h 6557032"/>
              <a:gd name="connsiteX47724" fmla="*/ 1424940 w 4610101"/>
              <a:gd name="connsiteY47724" fmla="*/ 819008 h 6557032"/>
              <a:gd name="connsiteX47725" fmla="*/ 1446806 w 4610101"/>
              <a:gd name="connsiteY47725" fmla="*/ 815363 h 6557032"/>
              <a:gd name="connsiteX47726" fmla="*/ 1448629 w 4610101"/>
              <a:gd name="connsiteY47726" fmla="*/ 811719 h 6557032"/>
              <a:gd name="connsiteX47727" fmla="*/ 1450451 w 4610101"/>
              <a:gd name="connsiteY47727" fmla="*/ 815363 h 6557032"/>
              <a:gd name="connsiteX47728" fmla="*/ 1483250 w 4610101"/>
              <a:gd name="connsiteY47728" fmla="*/ 791675 h 6557032"/>
              <a:gd name="connsiteX47729" fmla="*/ 1481428 w 4610101"/>
              <a:gd name="connsiteY47729" fmla="*/ 757054 h 6557032"/>
              <a:gd name="connsiteX47730" fmla="*/ 1486752 w 4610101"/>
              <a:gd name="connsiteY47730" fmla="*/ 781902 h 6557032"/>
              <a:gd name="connsiteX47731" fmla="*/ 1483250 w 4610101"/>
              <a:gd name="connsiteY47731" fmla="*/ 788031 h 6557032"/>
              <a:gd name="connsiteX47732" fmla="*/ 1490539 w 4610101"/>
              <a:gd name="connsiteY47732" fmla="*/ 775275 h 6557032"/>
              <a:gd name="connsiteX47733" fmla="*/ 1488455 w 4610101"/>
              <a:gd name="connsiteY47733" fmla="*/ 778922 h 6557032"/>
              <a:gd name="connsiteX47734" fmla="*/ 1492361 w 4610101"/>
              <a:gd name="connsiteY47734" fmla="*/ 769809 h 6557032"/>
              <a:gd name="connsiteX47735" fmla="*/ 1494183 w 4610101"/>
              <a:gd name="connsiteY47735" fmla="*/ 775275 h 6557032"/>
              <a:gd name="connsiteX47736" fmla="*/ 1496006 w 4610101"/>
              <a:gd name="connsiteY47736" fmla="*/ 771631 h 6557032"/>
              <a:gd name="connsiteX47737" fmla="*/ 1496006 w 4610101"/>
              <a:gd name="connsiteY47737" fmla="*/ 778920 h 6557032"/>
              <a:gd name="connsiteX47738" fmla="*/ 1499650 w 4610101"/>
              <a:gd name="connsiteY47738" fmla="*/ 773453 h 6557032"/>
              <a:gd name="connsiteX47739" fmla="*/ 1497827 w 4610101"/>
              <a:gd name="connsiteY47739" fmla="*/ 778920 h 6557032"/>
              <a:gd name="connsiteX47740" fmla="*/ 1499650 w 4610101"/>
              <a:gd name="connsiteY47740" fmla="*/ 766164 h 6557032"/>
              <a:gd name="connsiteX47741" fmla="*/ 1506938 w 4610101"/>
              <a:gd name="connsiteY47741" fmla="*/ 767987 h 6557032"/>
              <a:gd name="connsiteX47742" fmla="*/ 1503294 w 4610101"/>
              <a:gd name="connsiteY47742" fmla="*/ 780742 h 6557032"/>
              <a:gd name="connsiteX47743" fmla="*/ 1506938 w 4610101"/>
              <a:gd name="connsiteY47743" fmla="*/ 778920 h 6557032"/>
              <a:gd name="connsiteX47744" fmla="*/ 1505117 w 4610101"/>
              <a:gd name="connsiteY47744" fmla="*/ 782564 h 6557032"/>
              <a:gd name="connsiteX47745" fmla="*/ 1516049 w 4610101"/>
              <a:gd name="connsiteY47745" fmla="*/ 775275 h 6557032"/>
              <a:gd name="connsiteX47746" fmla="*/ 1494183 w 4610101"/>
              <a:gd name="connsiteY47746" fmla="*/ 795319 h 6557032"/>
              <a:gd name="connsiteX47747" fmla="*/ 1514228 w 4610101"/>
              <a:gd name="connsiteY47747" fmla="*/ 786208 h 6557032"/>
              <a:gd name="connsiteX47748" fmla="*/ 1508760 w 4610101"/>
              <a:gd name="connsiteY47748" fmla="*/ 795319 h 6557032"/>
              <a:gd name="connsiteX47749" fmla="*/ 1494183 w 4610101"/>
              <a:gd name="connsiteY47749" fmla="*/ 804430 h 6557032"/>
              <a:gd name="connsiteX47750" fmla="*/ 1499606 w 4610101"/>
              <a:gd name="connsiteY47750" fmla="*/ 802227 h 6557032"/>
              <a:gd name="connsiteX47751" fmla="*/ 1492361 w 4610101"/>
              <a:gd name="connsiteY47751" fmla="*/ 806252 h 6557032"/>
              <a:gd name="connsiteX47752" fmla="*/ 1490539 w 4610101"/>
              <a:gd name="connsiteY47752" fmla="*/ 815363 h 6557032"/>
              <a:gd name="connsiteX47753" fmla="*/ 1496006 w 4610101"/>
              <a:gd name="connsiteY47753" fmla="*/ 819008 h 6557032"/>
              <a:gd name="connsiteX47754" fmla="*/ 1492361 w 4610101"/>
              <a:gd name="connsiteY47754" fmla="*/ 826296 h 6557032"/>
              <a:gd name="connsiteX47755" fmla="*/ 1485072 w 4610101"/>
              <a:gd name="connsiteY47755" fmla="*/ 839051 h 6557032"/>
              <a:gd name="connsiteX47756" fmla="*/ 1499650 w 4610101"/>
              <a:gd name="connsiteY47756" fmla="*/ 831763 h 6557032"/>
              <a:gd name="connsiteX47757" fmla="*/ 1483250 w 4610101"/>
              <a:gd name="connsiteY47757" fmla="*/ 842696 h 6557032"/>
              <a:gd name="connsiteX47758" fmla="*/ 1485072 w 4610101"/>
              <a:gd name="connsiteY47758" fmla="*/ 844518 h 6557032"/>
              <a:gd name="connsiteX47759" fmla="*/ 1450451 w 4610101"/>
              <a:gd name="connsiteY47759" fmla="*/ 855451 h 6557032"/>
              <a:gd name="connsiteX47760" fmla="*/ 1448157 w 4610101"/>
              <a:gd name="connsiteY47760" fmla="*/ 859353 h 6557032"/>
              <a:gd name="connsiteX47761" fmla="*/ 1437695 w 4610101"/>
              <a:gd name="connsiteY47761" fmla="*/ 860007 h 6557032"/>
              <a:gd name="connsiteX47762" fmla="*/ 1424472 w 4610101"/>
              <a:gd name="connsiteY47762" fmla="*/ 865792 h 6557032"/>
              <a:gd name="connsiteX47763" fmla="*/ 1416513 w 4610101"/>
              <a:gd name="connsiteY47763" fmla="*/ 864107 h 6557032"/>
              <a:gd name="connsiteX47764" fmla="*/ 1395787 w 4610101"/>
              <a:gd name="connsiteY47764" fmla="*/ 862740 h 6557032"/>
              <a:gd name="connsiteX47765" fmla="*/ 1405803 w 4610101"/>
              <a:gd name="connsiteY47765" fmla="*/ 868204 h 6557032"/>
              <a:gd name="connsiteX47766" fmla="*/ 1393963 w 4610101"/>
              <a:gd name="connsiteY47766" fmla="*/ 862740 h 6557032"/>
              <a:gd name="connsiteX47767" fmla="*/ 1377792 w 4610101"/>
              <a:gd name="connsiteY47767" fmla="*/ 853174 h 6557032"/>
              <a:gd name="connsiteX47768" fmla="*/ 1365207 w 4610101"/>
              <a:gd name="connsiteY47768" fmla="*/ 847365 h 6557032"/>
              <a:gd name="connsiteX47769" fmla="*/ 1366632 w 4610101"/>
              <a:gd name="connsiteY47769" fmla="*/ 844518 h 6557032"/>
              <a:gd name="connsiteX47770" fmla="*/ 1359342 w 4610101"/>
              <a:gd name="connsiteY47770" fmla="*/ 844518 h 6557032"/>
              <a:gd name="connsiteX47771" fmla="*/ 1361164 w 4610101"/>
              <a:gd name="connsiteY47771" fmla="*/ 842696 h 6557032"/>
              <a:gd name="connsiteX47772" fmla="*/ 1357521 w 4610101"/>
              <a:gd name="connsiteY47772" fmla="*/ 842696 h 6557032"/>
              <a:gd name="connsiteX47773" fmla="*/ 1359342 w 4610101"/>
              <a:gd name="connsiteY47773" fmla="*/ 844518 h 6557032"/>
              <a:gd name="connsiteX47774" fmla="*/ 1362529 w 4610101"/>
              <a:gd name="connsiteY47774" fmla="*/ 846643 h 6557032"/>
              <a:gd name="connsiteX47775" fmla="*/ 1359694 w 4610101"/>
              <a:gd name="connsiteY47775" fmla="*/ 848514 h 6557032"/>
              <a:gd name="connsiteX47776" fmla="*/ 1359342 w 4610101"/>
              <a:gd name="connsiteY47776" fmla="*/ 848162 h 6557032"/>
              <a:gd name="connsiteX47777" fmla="*/ 1353876 w 4610101"/>
              <a:gd name="connsiteY47777" fmla="*/ 851807 h 6557032"/>
              <a:gd name="connsiteX47778" fmla="*/ 1355209 w 4610101"/>
              <a:gd name="connsiteY47778" fmla="*/ 851474 h 6557032"/>
              <a:gd name="connsiteX47779" fmla="*/ 1351598 w 4610101"/>
              <a:gd name="connsiteY47779" fmla="*/ 853857 h 6557032"/>
              <a:gd name="connsiteX47780" fmla="*/ 1348763 w 4610101"/>
              <a:gd name="connsiteY47780" fmla="*/ 856767 h 6557032"/>
              <a:gd name="connsiteX47781" fmla="*/ 1346131 w 4610101"/>
              <a:gd name="connsiteY47781" fmla="*/ 856362 h 6557032"/>
              <a:gd name="connsiteX47782" fmla="*/ 1342942 w 4610101"/>
              <a:gd name="connsiteY47782" fmla="*/ 855451 h 6557032"/>
              <a:gd name="connsiteX47783" fmla="*/ 1317432 w 4610101"/>
              <a:gd name="connsiteY47783" fmla="*/ 873673 h 6557032"/>
              <a:gd name="connsiteX47784" fmla="*/ 1320342 w 4610101"/>
              <a:gd name="connsiteY47784" fmla="*/ 872634 h 6557032"/>
              <a:gd name="connsiteX47785" fmla="*/ 1308321 w 4610101"/>
              <a:gd name="connsiteY47785" fmla="*/ 886428 h 6557032"/>
              <a:gd name="connsiteX47786" fmla="*/ 1310143 w 4610101"/>
              <a:gd name="connsiteY47786" fmla="*/ 888250 h 6557032"/>
              <a:gd name="connsiteX47787" fmla="*/ 1303267 w 4610101"/>
              <a:gd name="connsiteY47787" fmla="*/ 889969 h 6557032"/>
              <a:gd name="connsiteX47788" fmla="*/ 1304221 w 4610101"/>
              <a:gd name="connsiteY47788" fmla="*/ 885517 h 6557032"/>
              <a:gd name="connsiteX47789" fmla="*/ 1302855 w 4610101"/>
              <a:gd name="connsiteY47789" fmla="*/ 879139 h 6557032"/>
              <a:gd name="connsiteX47790" fmla="*/ 1299210 w 4610101"/>
              <a:gd name="connsiteY47790" fmla="*/ 879139 h 6557032"/>
              <a:gd name="connsiteX47791" fmla="*/ 1297388 w 4610101"/>
              <a:gd name="connsiteY47791" fmla="*/ 880961 h 6557032"/>
              <a:gd name="connsiteX47792" fmla="*/ 1288277 w 4610101"/>
              <a:gd name="connsiteY47792" fmla="*/ 871851 h 6557032"/>
              <a:gd name="connsiteX47793" fmla="*/ 1270056 w 4610101"/>
              <a:gd name="connsiteY47793" fmla="*/ 899183 h 6557032"/>
              <a:gd name="connsiteX47794" fmla="*/ 1291922 w 4610101"/>
              <a:gd name="connsiteY47794" fmla="*/ 895539 h 6557032"/>
              <a:gd name="connsiteX47795" fmla="*/ 1291922 w 4610101"/>
              <a:gd name="connsiteY47795" fmla="*/ 888250 h 6557032"/>
              <a:gd name="connsiteX47796" fmla="*/ 1295566 w 4610101"/>
              <a:gd name="connsiteY47796" fmla="*/ 886428 h 6557032"/>
              <a:gd name="connsiteX47797" fmla="*/ 1295566 w 4610101"/>
              <a:gd name="connsiteY47797" fmla="*/ 893717 h 6557032"/>
              <a:gd name="connsiteX47798" fmla="*/ 1297388 w 4610101"/>
              <a:gd name="connsiteY47798" fmla="*/ 890072 h 6557032"/>
              <a:gd name="connsiteX47799" fmla="*/ 1301033 w 4610101"/>
              <a:gd name="connsiteY47799" fmla="*/ 890072 h 6557032"/>
              <a:gd name="connsiteX47800" fmla="*/ 1302490 w 4610101"/>
              <a:gd name="connsiteY47800" fmla="*/ 891530 h 6557032"/>
              <a:gd name="connsiteX47801" fmla="*/ 1301033 w 4610101"/>
              <a:gd name="connsiteY47801" fmla="*/ 897361 h 6557032"/>
              <a:gd name="connsiteX47802" fmla="*/ 1306499 w 4610101"/>
              <a:gd name="connsiteY47802" fmla="*/ 899183 h 6557032"/>
              <a:gd name="connsiteX47803" fmla="*/ 1322899 w 4610101"/>
              <a:gd name="connsiteY47803" fmla="*/ 882784 h 6557032"/>
              <a:gd name="connsiteX47804" fmla="*/ 1325983 w 4610101"/>
              <a:gd name="connsiteY47804" fmla="*/ 898202 h 6557032"/>
              <a:gd name="connsiteX47805" fmla="*/ 1322899 w 4610101"/>
              <a:gd name="connsiteY47805" fmla="*/ 902827 h 6557032"/>
              <a:gd name="connsiteX47806" fmla="*/ 1326088 w 4610101"/>
              <a:gd name="connsiteY47806" fmla="*/ 901461 h 6557032"/>
              <a:gd name="connsiteX47807" fmla="*/ 1326283 w 4610101"/>
              <a:gd name="connsiteY47807" fmla="*/ 899704 h 6557032"/>
              <a:gd name="connsiteX47808" fmla="*/ 1326543 w 4610101"/>
              <a:gd name="connsiteY47808" fmla="*/ 901005 h 6557032"/>
              <a:gd name="connsiteX47809" fmla="*/ 1335654 w 4610101"/>
              <a:gd name="connsiteY47809" fmla="*/ 901005 h 6557032"/>
              <a:gd name="connsiteX47810" fmla="*/ 1333832 w 4610101"/>
              <a:gd name="connsiteY47810" fmla="*/ 897361 h 6557032"/>
              <a:gd name="connsiteX47811" fmla="*/ 1337476 w 4610101"/>
              <a:gd name="connsiteY47811" fmla="*/ 899183 h 6557032"/>
              <a:gd name="connsiteX47812" fmla="*/ 1342942 w 4610101"/>
              <a:gd name="connsiteY47812" fmla="*/ 895539 h 6557032"/>
              <a:gd name="connsiteX47813" fmla="*/ 1341120 w 4610101"/>
              <a:gd name="connsiteY47813" fmla="*/ 888250 h 6557032"/>
              <a:gd name="connsiteX47814" fmla="*/ 1344765 w 4610101"/>
              <a:gd name="connsiteY47814" fmla="*/ 895539 h 6557032"/>
              <a:gd name="connsiteX47815" fmla="*/ 1350231 w 4610101"/>
              <a:gd name="connsiteY47815" fmla="*/ 895539 h 6557032"/>
              <a:gd name="connsiteX47816" fmla="*/ 1350231 w 4610101"/>
              <a:gd name="connsiteY47816" fmla="*/ 906473 h 6557032"/>
              <a:gd name="connsiteX47817" fmla="*/ 1359342 w 4610101"/>
              <a:gd name="connsiteY47817" fmla="*/ 882784 h 6557032"/>
              <a:gd name="connsiteX47818" fmla="*/ 1362987 w 4610101"/>
              <a:gd name="connsiteY47818" fmla="*/ 882784 h 6557032"/>
              <a:gd name="connsiteX47819" fmla="*/ 1362987 w 4610101"/>
              <a:gd name="connsiteY47819" fmla="*/ 886428 h 6557032"/>
              <a:gd name="connsiteX47820" fmla="*/ 1366632 w 4610101"/>
              <a:gd name="connsiteY47820" fmla="*/ 879139 h 6557032"/>
              <a:gd name="connsiteX47821" fmla="*/ 1381208 w 4610101"/>
              <a:gd name="connsiteY47821" fmla="*/ 901005 h 6557032"/>
              <a:gd name="connsiteX47822" fmla="*/ 1379386 w 4610101"/>
              <a:gd name="connsiteY47822" fmla="*/ 917405 h 6557032"/>
              <a:gd name="connsiteX47823" fmla="*/ 1364809 w 4610101"/>
              <a:gd name="connsiteY47823" fmla="*/ 926516 h 6557032"/>
              <a:gd name="connsiteX47824" fmla="*/ 1372781 w 4610101"/>
              <a:gd name="connsiteY47824" fmla="*/ 924922 h 6557032"/>
              <a:gd name="connsiteX47825" fmla="*/ 1375965 w 4610101"/>
              <a:gd name="connsiteY47825" fmla="*/ 924813 h 6557032"/>
              <a:gd name="connsiteX47826" fmla="*/ 1373920 w 4610101"/>
              <a:gd name="connsiteY47826" fmla="*/ 926516 h 6557032"/>
              <a:gd name="connsiteX47827" fmla="*/ 1357521 w 4610101"/>
              <a:gd name="connsiteY47827" fmla="*/ 928339 h 6557032"/>
              <a:gd name="connsiteX47828" fmla="*/ 1352053 w 4610101"/>
              <a:gd name="connsiteY47828" fmla="*/ 955672 h 6557032"/>
              <a:gd name="connsiteX47829" fmla="*/ 1359342 w 4610101"/>
              <a:gd name="connsiteY47829" fmla="*/ 953848 h 6557032"/>
              <a:gd name="connsiteX47830" fmla="*/ 1357521 w 4610101"/>
              <a:gd name="connsiteY47830" fmla="*/ 957494 h 6557032"/>
              <a:gd name="connsiteX47831" fmla="*/ 1368453 w 4610101"/>
              <a:gd name="connsiteY47831" fmla="*/ 937450 h 6557032"/>
              <a:gd name="connsiteX47832" fmla="*/ 1372097 w 4610101"/>
              <a:gd name="connsiteY47832" fmla="*/ 942916 h 6557032"/>
              <a:gd name="connsiteX47833" fmla="*/ 1375924 w 4610101"/>
              <a:gd name="connsiteY47833" fmla="*/ 939089 h 6557032"/>
              <a:gd name="connsiteX47834" fmla="*/ 1375743 w 4610101"/>
              <a:gd name="connsiteY47834" fmla="*/ 941094 h 6557032"/>
              <a:gd name="connsiteX47835" fmla="*/ 1381208 w 4610101"/>
              <a:gd name="connsiteY47835" fmla="*/ 933804 h 6557032"/>
              <a:gd name="connsiteX47836" fmla="*/ 1381208 w 4610101"/>
              <a:gd name="connsiteY47836" fmla="*/ 937450 h 6557032"/>
              <a:gd name="connsiteX47837" fmla="*/ 1388497 w 4610101"/>
              <a:gd name="connsiteY47837" fmla="*/ 935628 h 6557032"/>
              <a:gd name="connsiteX47838" fmla="*/ 1368453 w 4610101"/>
              <a:gd name="connsiteY47838" fmla="*/ 959316 h 6557032"/>
              <a:gd name="connsiteX47839" fmla="*/ 1372097 w 4610101"/>
              <a:gd name="connsiteY47839" fmla="*/ 957494 h 6557032"/>
              <a:gd name="connsiteX47840" fmla="*/ 1372097 w 4610101"/>
              <a:gd name="connsiteY47840" fmla="*/ 959316 h 6557032"/>
              <a:gd name="connsiteX47841" fmla="*/ 1403074 w 4610101"/>
              <a:gd name="connsiteY47841" fmla="*/ 928339 h 6557032"/>
              <a:gd name="connsiteX47842" fmla="*/ 1401252 w 4610101"/>
              <a:gd name="connsiteY47842" fmla="*/ 942916 h 6557032"/>
              <a:gd name="connsiteX47843" fmla="*/ 1368453 w 4610101"/>
              <a:gd name="connsiteY47843" fmla="*/ 968427 h 6557032"/>
              <a:gd name="connsiteX47844" fmla="*/ 1377564 w 4610101"/>
              <a:gd name="connsiteY47844" fmla="*/ 970249 h 6557032"/>
              <a:gd name="connsiteX47845" fmla="*/ 1366632 w 4610101"/>
              <a:gd name="connsiteY47845" fmla="*/ 970249 h 6557032"/>
              <a:gd name="connsiteX47846" fmla="*/ 1383030 w 4610101"/>
              <a:gd name="connsiteY47846" fmla="*/ 968427 h 6557032"/>
              <a:gd name="connsiteX47847" fmla="*/ 1377564 w 4610101"/>
              <a:gd name="connsiteY47847" fmla="*/ 968427 h 6557032"/>
              <a:gd name="connsiteX47848" fmla="*/ 1384854 w 4610101"/>
              <a:gd name="connsiteY47848" fmla="*/ 962960 h 6557032"/>
              <a:gd name="connsiteX47849" fmla="*/ 1390319 w 4610101"/>
              <a:gd name="connsiteY47849" fmla="*/ 966604 h 6557032"/>
              <a:gd name="connsiteX47850" fmla="*/ 1377564 w 4610101"/>
              <a:gd name="connsiteY47850" fmla="*/ 977538 h 6557032"/>
              <a:gd name="connsiteX47851" fmla="*/ 1381208 w 4610101"/>
              <a:gd name="connsiteY47851" fmla="*/ 977538 h 6557032"/>
              <a:gd name="connsiteX47852" fmla="*/ 1379386 w 4610101"/>
              <a:gd name="connsiteY47852" fmla="*/ 979360 h 6557032"/>
              <a:gd name="connsiteX47853" fmla="*/ 1348410 w 4610101"/>
              <a:gd name="connsiteY47853" fmla="*/ 972071 h 6557032"/>
              <a:gd name="connsiteX47854" fmla="*/ 1350231 w 4610101"/>
              <a:gd name="connsiteY47854" fmla="*/ 977538 h 6557032"/>
              <a:gd name="connsiteX47855" fmla="*/ 1352053 w 4610101"/>
              <a:gd name="connsiteY47855" fmla="*/ 979360 h 6557032"/>
              <a:gd name="connsiteX47856" fmla="*/ 1355698 w 4610101"/>
              <a:gd name="connsiteY47856" fmla="*/ 977538 h 6557032"/>
              <a:gd name="connsiteX47857" fmla="*/ 1353876 w 4610101"/>
              <a:gd name="connsiteY47857" fmla="*/ 981182 h 6557032"/>
              <a:gd name="connsiteX47858" fmla="*/ 1333832 w 4610101"/>
              <a:gd name="connsiteY47858" fmla="*/ 988471 h 6557032"/>
              <a:gd name="connsiteX47859" fmla="*/ 1352053 w 4610101"/>
              <a:gd name="connsiteY47859" fmla="*/ 990293 h 6557032"/>
              <a:gd name="connsiteX47860" fmla="*/ 1352053 w 4610101"/>
              <a:gd name="connsiteY47860" fmla="*/ 992115 h 6557032"/>
              <a:gd name="connsiteX47861" fmla="*/ 1330188 w 4610101"/>
              <a:gd name="connsiteY47861" fmla="*/ 988471 h 6557032"/>
              <a:gd name="connsiteX47862" fmla="*/ 1315610 w 4610101"/>
              <a:gd name="connsiteY47862" fmla="*/ 1004870 h 6557032"/>
              <a:gd name="connsiteX47863" fmla="*/ 1346587 w 4610101"/>
              <a:gd name="connsiteY47863" fmla="*/ 1006692 h 6557032"/>
              <a:gd name="connsiteX47864" fmla="*/ 1379386 w 4610101"/>
              <a:gd name="connsiteY47864" fmla="*/ 1004870 h 6557032"/>
              <a:gd name="connsiteX47865" fmla="*/ 1391796 w 4610101"/>
              <a:gd name="connsiteY47865" fmla="*/ 990687 h 6557032"/>
              <a:gd name="connsiteX47866" fmla="*/ 1388952 w 4610101"/>
              <a:gd name="connsiteY47866" fmla="*/ 995987 h 6557032"/>
              <a:gd name="connsiteX47867" fmla="*/ 1381208 w 4610101"/>
              <a:gd name="connsiteY47867" fmla="*/ 1006692 h 6557032"/>
              <a:gd name="connsiteX47868" fmla="*/ 1383030 w 4610101"/>
              <a:gd name="connsiteY47868" fmla="*/ 1008515 h 6557032"/>
              <a:gd name="connsiteX47869" fmla="*/ 1344765 w 4610101"/>
              <a:gd name="connsiteY47869" fmla="*/ 1012159 h 6557032"/>
              <a:gd name="connsiteX47870" fmla="*/ 1346587 w 4610101"/>
              <a:gd name="connsiteY47870" fmla="*/ 1013981 h 6557032"/>
              <a:gd name="connsiteX47871" fmla="*/ 1342942 w 4610101"/>
              <a:gd name="connsiteY47871" fmla="*/ 1010337 h 6557032"/>
              <a:gd name="connsiteX47872" fmla="*/ 1308321 w 4610101"/>
              <a:gd name="connsiteY47872" fmla="*/ 1008515 h 6557032"/>
              <a:gd name="connsiteX47873" fmla="*/ 1290100 w 4610101"/>
              <a:gd name="connsiteY47873" fmla="*/ 1017625 h 6557032"/>
              <a:gd name="connsiteX47874" fmla="*/ 1251834 w 4610101"/>
              <a:gd name="connsiteY47874" fmla="*/ 1023092 h 6557032"/>
              <a:gd name="connsiteX47875" fmla="*/ 1250012 w 4610101"/>
              <a:gd name="connsiteY47875" fmla="*/ 1026736 h 6557032"/>
              <a:gd name="connsiteX47876" fmla="*/ 1246367 w 4610101"/>
              <a:gd name="connsiteY47876" fmla="*/ 1026736 h 6557032"/>
              <a:gd name="connsiteX47877" fmla="*/ 1234916 w 4610101"/>
              <a:gd name="connsiteY47877" fmla="*/ 1033280 h 6557032"/>
              <a:gd name="connsiteX47878" fmla="*/ 1219036 w 4610101"/>
              <a:gd name="connsiteY47878" fmla="*/ 1030381 h 6557032"/>
              <a:gd name="connsiteX47879" fmla="*/ 1211747 w 4610101"/>
              <a:gd name="connsiteY47879" fmla="*/ 1037669 h 6557032"/>
              <a:gd name="connsiteX47880" fmla="*/ 1200814 w 4610101"/>
              <a:gd name="connsiteY47880" fmla="*/ 1044958 h 6557032"/>
              <a:gd name="connsiteX47881" fmla="*/ 1204457 w 4610101"/>
              <a:gd name="connsiteY47881" fmla="*/ 1044958 h 6557032"/>
              <a:gd name="connsiteX47882" fmla="*/ 1187801 w 4610101"/>
              <a:gd name="connsiteY47882" fmla="*/ 1056232 h 6557032"/>
              <a:gd name="connsiteX47883" fmla="*/ 1187882 w 4610101"/>
              <a:gd name="connsiteY47883" fmla="*/ 1057845 h 6557032"/>
              <a:gd name="connsiteX47884" fmla="*/ 1185324 w 4610101"/>
              <a:gd name="connsiteY47884" fmla="*/ 1059763 h 6557032"/>
              <a:gd name="connsiteX47885" fmla="*/ 1182592 w 4610101"/>
              <a:gd name="connsiteY47885" fmla="*/ 1063180 h 6557032"/>
              <a:gd name="connsiteX47886" fmla="*/ 1186738 w 4610101"/>
              <a:gd name="connsiteY47886" fmla="*/ 1064562 h 6557032"/>
              <a:gd name="connsiteX47887" fmla="*/ 1186236 w 4610101"/>
              <a:gd name="connsiteY47887" fmla="*/ 1065002 h 6557032"/>
              <a:gd name="connsiteX47888" fmla="*/ 1187374 w 4610101"/>
              <a:gd name="connsiteY47888" fmla="*/ 1064774 h 6557032"/>
              <a:gd name="connsiteX47889" fmla="*/ 1188058 w 4610101"/>
              <a:gd name="connsiteY47889" fmla="*/ 1065002 h 6557032"/>
              <a:gd name="connsiteX47890" fmla="*/ 1188122 w 4610101"/>
              <a:gd name="connsiteY47890" fmla="*/ 1064625 h 6557032"/>
              <a:gd name="connsiteX47891" fmla="*/ 1195346 w 4610101"/>
              <a:gd name="connsiteY47891" fmla="*/ 1063180 h 6557032"/>
              <a:gd name="connsiteX47892" fmla="*/ 1195346 w 4610101"/>
              <a:gd name="connsiteY47892" fmla="*/ 1059535 h 6557032"/>
              <a:gd name="connsiteX47893" fmla="*/ 1197169 w 4610101"/>
              <a:gd name="connsiteY47893" fmla="*/ 1061358 h 6557032"/>
              <a:gd name="connsiteX47894" fmla="*/ 1204457 w 4610101"/>
              <a:gd name="connsiteY47894" fmla="*/ 1044958 h 6557032"/>
              <a:gd name="connsiteX47895" fmla="*/ 1206279 w 4610101"/>
              <a:gd name="connsiteY47895" fmla="*/ 1044958 h 6557032"/>
              <a:gd name="connsiteX47896" fmla="*/ 1202636 w 4610101"/>
              <a:gd name="connsiteY47896" fmla="*/ 1055891 h 6557032"/>
              <a:gd name="connsiteX47897" fmla="*/ 1204064 w 4610101"/>
              <a:gd name="connsiteY47897" fmla="*/ 1054660 h 6557032"/>
              <a:gd name="connsiteX47898" fmla="*/ 1200814 w 4610101"/>
              <a:gd name="connsiteY47898" fmla="*/ 1059535 h 6557032"/>
              <a:gd name="connsiteX47899" fmla="*/ 1208102 w 4610101"/>
              <a:gd name="connsiteY47899" fmla="*/ 1059535 h 6557032"/>
              <a:gd name="connsiteX47900" fmla="*/ 1208102 w 4610101"/>
              <a:gd name="connsiteY47900" fmla="*/ 1055891 h 6557032"/>
              <a:gd name="connsiteX47901" fmla="*/ 1215390 w 4610101"/>
              <a:gd name="connsiteY47901" fmla="*/ 1052247 h 6557032"/>
              <a:gd name="connsiteX47902" fmla="*/ 1211747 w 4610101"/>
              <a:gd name="connsiteY47902" fmla="*/ 1059535 h 6557032"/>
              <a:gd name="connsiteX47903" fmla="*/ 1231790 w 4610101"/>
              <a:gd name="connsiteY47903" fmla="*/ 1039492 h 6557032"/>
              <a:gd name="connsiteX47904" fmla="*/ 1237256 w 4610101"/>
              <a:gd name="connsiteY47904" fmla="*/ 1039492 h 6557032"/>
              <a:gd name="connsiteX47905" fmla="*/ 1215390 w 4610101"/>
              <a:gd name="connsiteY47905" fmla="*/ 1061358 h 6557032"/>
              <a:gd name="connsiteX47906" fmla="*/ 1235434 w 4610101"/>
              <a:gd name="connsiteY47906" fmla="*/ 1066824 h 6557032"/>
              <a:gd name="connsiteX47907" fmla="*/ 1233612 w 4610101"/>
              <a:gd name="connsiteY47907" fmla="*/ 1070469 h 6557032"/>
              <a:gd name="connsiteX47908" fmla="*/ 1250012 w 4610101"/>
              <a:gd name="connsiteY47908" fmla="*/ 1072291 h 6557032"/>
              <a:gd name="connsiteX47909" fmla="*/ 1251834 w 4610101"/>
              <a:gd name="connsiteY47909" fmla="*/ 1054069 h 6557032"/>
              <a:gd name="connsiteX47910" fmla="*/ 1257300 w 4610101"/>
              <a:gd name="connsiteY47910" fmla="*/ 1065002 h 6557032"/>
              <a:gd name="connsiteX47911" fmla="*/ 1255478 w 4610101"/>
              <a:gd name="connsiteY47911" fmla="*/ 1066824 h 6557032"/>
              <a:gd name="connsiteX47912" fmla="*/ 1253656 w 4610101"/>
              <a:gd name="connsiteY47912" fmla="*/ 1068646 h 6557032"/>
              <a:gd name="connsiteX47913" fmla="*/ 1260945 w 4610101"/>
              <a:gd name="connsiteY47913" fmla="*/ 1072291 h 6557032"/>
              <a:gd name="connsiteX47914" fmla="*/ 1273700 w 4610101"/>
              <a:gd name="connsiteY47914" fmla="*/ 1054069 h 6557032"/>
              <a:gd name="connsiteX47915" fmla="*/ 1275522 w 4610101"/>
              <a:gd name="connsiteY47915" fmla="*/ 1057713 h 6557032"/>
              <a:gd name="connsiteX47916" fmla="*/ 1286911 w 4610101"/>
              <a:gd name="connsiteY47916" fmla="*/ 1046325 h 6557032"/>
              <a:gd name="connsiteX47917" fmla="*/ 1287391 w 4610101"/>
              <a:gd name="connsiteY47917" fmla="*/ 1044197 h 6557032"/>
              <a:gd name="connsiteX47918" fmla="*/ 1287594 w 4610101"/>
              <a:gd name="connsiteY47918" fmla="*/ 1044275 h 6557032"/>
              <a:gd name="connsiteX47919" fmla="*/ 1291922 w 4610101"/>
              <a:gd name="connsiteY47919" fmla="*/ 1041314 h 6557032"/>
              <a:gd name="connsiteX47920" fmla="*/ 1291922 w 4610101"/>
              <a:gd name="connsiteY47920" fmla="*/ 1035847 h 6557032"/>
              <a:gd name="connsiteX47921" fmla="*/ 1297388 w 4610101"/>
              <a:gd name="connsiteY47921" fmla="*/ 1034025 h 6557032"/>
              <a:gd name="connsiteX47922" fmla="*/ 1259123 w 4610101"/>
              <a:gd name="connsiteY47922" fmla="*/ 1094157 h 6557032"/>
              <a:gd name="connsiteX47923" fmla="*/ 1273700 w 4610101"/>
              <a:gd name="connsiteY47923" fmla="*/ 1094157 h 6557032"/>
              <a:gd name="connsiteX47924" fmla="*/ 1255478 w 4610101"/>
              <a:gd name="connsiteY47924" fmla="*/ 1097801 h 6557032"/>
              <a:gd name="connsiteX47925" fmla="*/ 1231790 w 4610101"/>
              <a:gd name="connsiteY47925" fmla="*/ 1103268 h 6557032"/>
              <a:gd name="connsiteX47926" fmla="*/ 1233612 w 4610101"/>
              <a:gd name="connsiteY47926" fmla="*/ 1106912 h 6557032"/>
              <a:gd name="connsiteX47927" fmla="*/ 1202636 w 4610101"/>
              <a:gd name="connsiteY47927" fmla="*/ 1106912 h 6557032"/>
              <a:gd name="connsiteX47928" fmla="*/ 1198385 w 4610101"/>
              <a:gd name="connsiteY47928" fmla="*/ 1113998 h 6557032"/>
              <a:gd name="connsiteX47929" fmla="*/ 1182592 w 4610101"/>
              <a:gd name="connsiteY47929" fmla="*/ 1108734 h 6557032"/>
              <a:gd name="connsiteX47930" fmla="*/ 1178947 w 4610101"/>
              <a:gd name="connsiteY47930" fmla="*/ 1112378 h 6557032"/>
              <a:gd name="connsiteX47931" fmla="*/ 1182592 w 4610101"/>
              <a:gd name="connsiteY47931" fmla="*/ 1119667 h 6557032"/>
              <a:gd name="connsiteX47932" fmla="*/ 1175303 w 4610101"/>
              <a:gd name="connsiteY47932" fmla="*/ 1119667 h 6557032"/>
              <a:gd name="connsiteX47933" fmla="*/ 1174087 w 4610101"/>
              <a:gd name="connsiteY47933" fmla="*/ 1117237 h 6557032"/>
              <a:gd name="connsiteX47934" fmla="*/ 1175303 w 4610101"/>
              <a:gd name="connsiteY47934" fmla="*/ 1117845 h 6557032"/>
              <a:gd name="connsiteX47935" fmla="*/ 1174027 w 4610101"/>
              <a:gd name="connsiteY47935" fmla="*/ 1117116 h 6557032"/>
              <a:gd name="connsiteX47936" fmla="*/ 1173481 w 4610101"/>
              <a:gd name="connsiteY47936" fmla="*/ 1116023 h 6557032"/>
              <a:gd name="connsiteX47937" fmla="*/ 1173709 w 4610101"/>
              <a:gd name="connsiteY47937" fmla="*/ 1116934 h 6557032"/>
              <a:gd name="connsiteX47938" fmla="*/ 1174027 w 4610101"/>
              <a:gd name="connsiteY47938" fmla="*/ 1117116 h 6557032"/>
              <a:gd name="connsiteX47939" fmla="*/ 1174087 w 4610101"/>
              <a:gd name="connsiteY47939" fmla="*/ 1117237 h 6557032"/>
              <a:gd name="connsiteX47940" fmla="*/ 1172569 w 4610101"/>
              <a:gd name="connsiteY47940" fmla="*/ 1116478 h 6557032"/>
              <a:gd name="connsiteX47941" fmla="*/ 1169836 w 4610101"/>
              <a:gd name="connsiteY47941" fmla="*/ 1117845 h 6557032"/>
              <a:gd name="connsiteX47942" fmla="*/ 1168014 w 4610101"/>
              <a:gd name="connsiteY47942" fmla="*/ 1114201 h 6557032"/>
              <a:gd name="connsiteX47943" fmla="*/ 1135215 w 4610101"/>
              <a:gd name="connsiteY47943" fmla="*/ 1112378 h 6557032"/>
              <a:gd name="connsiteX47944" fmla="*/ 1131570 w 4610101"/>
              <a:gd name="connsiteY47944" fmla="*/ 1117845 h 6557032"/>
              <a:gd name="connsiteX47945" fmla="*/ 1131798 w 4610101"/>
              <a:gd name="connsiteY47945" fmla="*/ 1118984 h 6557032"/>
              <a:gd name="connsiteX47946" fmla="*/ 1132513 w 4610101"/>
              <a:gd name="connsiteY47946" fmla="*/ 1120107 h 6557032"/>
              <a:gd name="connsiteX47947" fmla="*/ 1130963 w 4610101"/>
              <a:gd name="connsiteY47947" fmla="*/ 1120882 h 6557032"/>
              <a:gd name="connsiteX47948" fmla="*/ 1129748 w 4610101"/>
              <a:gd name="connsiteY47948" fmla="*/ 1119667 h 6557032"/>
              <a:gd name="connsiteX47949" fmla="*/ 1127926 w 4610101"/>
              <a:gd name="connsiteY47949" fmla="*/ 1128778 h 6557032"/>
              <a:gd name="connsiteX47950" fmla="*/ 1133393 w 4610101"/>
              <a:gd name="connsiteY47950" fmla="*/ 1130600 h 6557032"/>
              <a:gd name="connsiteX47951" fmla="*/ 1127926 w 4610101"/>
              <a:gd name="connsiteY47951" fmla="*/ 1130600 h 6557032"/>
              <a:gd name="connsiteX47952" fmla="*/ 1138003 w 4610101"/>
              <a:gd name="connsiteY47952" fmla="*/ 1136898 h 6557032"/>
              <a:gd name="connsiteX47953" fmla="*/ 1138859 w 4610101"/>
              <a:gd name="connsiteY47953" fmla="*/ 1139711 h 6557032"/>
              <a:gd name="connsiteX47954" fmla="*/ 1147970 w 4610101"/>
              <a:gd name="connsiteY47954" fmla="*/ 1145178 h 6557032"/>
              <a:gd name="connsiteX47955" fmla="*/ 1146148 w 4610101"/>
              <a:gd name="connsiteY47955" fmla="*/ 1136067 h 6557032"/>
              <a:gd name="connsiteX47956" fmla="*/ 1151614 w 4610101"/>
              <a:gd name="connsiteY47956" fmla="*/ 1141533 h 6557032"/>
              <a:gd name="connsiteX47957" fmla="*/ 1155259 w 4610101"/>
              <a:gd name="connsiteY47957" fmla="*/ 1134245 h 6557032"/>
              <a:gd name="connsiteX47958" fmla="*/ 1169836 w 4610101"/>
              <a:gd name="connsiteY47958" fmla="*/ 1117845 h 6557032"/>
              <a:gd name="connsiteX47959" fmla="*/ 1157081 w 4610101"/>
              <a:gd name="connsiteY47959" fmla="*/ 1137889 h 6557032"/>
              <a:gd name="connsiteX47960" fmla="*/ 1158903 w 4610101"/>
              <a:gd name="connsiteY47960" fmla="*/ 1145178 h 6557032"/>
              <a:gd name="connsiteX47961" fmla="*/ 1155259 w 4610101"/>
              <a:gd name="connsiteY47961" fmla="*/ 1139711 h 6557032"/>
              <a:gd name="connsiteX47962" fmla="*/ 1157081 w 4610101"/>
              <a:gd name="connsiteY47962" fmla="*/ 1152466 h 6557032"/>
              <a:gd name="connsiteX47963" fmla="*/ 1154803 w 4610101"/>
              <a:gd name="connsiteY47963" fmla="*/ 1153984 h 6557032"/>
              <a:gd name="connsiteX47964" fmla="*/ 1149792 w 4610101"/>
              <a:gd name="connsiteY47964" fmla="*/ 1150644 h 6557032"/>
              <a:gd name="connsiteX47965" fmla="*/ 1147970 w 4610101"/>
              <a:gd name="connsiteY47965" fmla="*/ 1152466 h 6557032"/>
              <a:gd name="connsiteX47966" fmla="*/ 1149792 w 4610101"/>
              <a:gd name="connsiteY47966" fmla="*/ 1156111 h 6557032"/>
              <a:gd name="connsiteX47967" fmla="*/ 1153437 w 4610101"/>
              <a:gd name="connsiteY47967" fmla="*/ 1154895 h 6557032"/>
              <a:gd name="connsiteX47968" fmla="*/ 1151614 w 4610101"/>
              <a:gd name="connsiteY47968" fmla="*/ 1156111 h 6557032"/>
              <a:gd name="connsiteX47969" fmla="*/ 1154264 w 4610101"/>
              <a:gd name="connsiteY47969" fmla="*/ 1157933 h 6557032"/>
              <a:gd name="connsiteX47970" fmla="*/ 1151614 w 4610101"/>
              <a:gd name="connsiteY47970" fmla="*/ 1157933 h 6557032"/>
              <a:gd name="connsiteX47971" fmla="*/ 1147970 w 4610101"/>
              <a:gd name="connsiteY47971" fmla="*/ 1165222 h 6557032"/>
              <a:gd name="connsiteX47972" fmla="*/ 1151614 w 4610101"/>
              <a:gd name="connsiteY47972" fmla="*/ 1168866 h 6557032"/>
              <a:gd name="connsiteX47973" fmla="*/ 1155259 w 4610101"/>
              <a:gd name="connsiteY47973" fmla="*/ 1163399 h 6557032"/>
              <a:gd name="connsiteX47974" fmla="*/ 1157081 w 4610101"/>
              <a:gd name="connsiteY47974" fmla="*/ 1165222 h 6557032"/>
              <a:gd name="connsiteX47975" fmla="*/ 1160725 w 4610101"/>
              <a:gd name="connsiteY47975" fmla="*/ 1157933 h 6557032"/>
              <a:gd name="connsiteX47976" fmla="*/ 1155834 w 4610101"/>
              <a:gd name="connsiteY47976" fmla="*/ 1157933 h 6557032"/>
              <a:gd name="connsiteX47977" fmla="*/ 1158903 w 4610101"/>
              <a:gd name="connsiteY47977" fmla="*/ 1154288 h 6557032"/>
              <a:gd name="connsiteX47978" fmla="*/ 1164370 w 4610101"/>
              <a:gd name="connsiteY47978" fmla="*/ 1157933 h 6557032"/>
              <a:gd name="connsiteX47979" fmla="*/ 1173481 w 4610101"/>
              <a:gd name="connsiteY47979" fmla="*/ 1150644 h 6557032"/>
              <a:gd name="connsiteX47980" fmla="*/ 1175303 w 4610101"/>
              <a:gd name="connsiteY47980" fmla="*/ 1154288 h 6557032"/>
              <a:gd name="connsiteX47981" fmla="*/ 1178947 w 4610101"/>
              <a:gd name="connsiteY47981" fmla="*/ 1148822 h 6557032"/>
              <a:gd name="connsiteX47982" fmla="*/ 1180769 w 4610101"/>
              <a:gd name="connsiteY47982" fmla="*/ 1156111 h 6557032"/>
              <a:gd name="connsiteX47983" fmla="*/ 1178947 w 4610101"/>
              <a:gd name="connsiteY47983" fmla="*/ 1152466 h 6557032"/>
              <a:gd name="connsiteX47984" fmla="*/ 1171658 w 4610101"/>
              <a:gd name="connsiteY47984" fmla="*/ 1161577 h 6557032"/>
              <a:gd name="connsiteX47985" fmla="*/ 1173481 w 4610101"/>
              <a:gd name="connsiteY47985" fmla="*/ 1163399 h 6557032"/>
              <a:gd name="connsiteX47986" fmla="*/ 1175303 w 4610101"/>
              <a:gd name="connsiteY47986" fmla="*/ 1165222 h 6557032"/>
              <a:gd name="connsiteX47987" fmla="*/ 1177125 w 4610101"/>
              <a:gd name="connsiteY47987" fmla="*/ 1161577 h 6557032"/>
              <a:gd name="connsiteX47988" fmla="*/ 1178947 w 4610101"/>
              <a:gd name="connsiteY47988" fmla="*/ 1167044 h 6557032"/>
              <a:gd name="connsiteX47989" fmla="*/ 1180769 w 4610101"/>
              <a:gd name="connsiteY47989" fmla="*/ 1157933 h 6557032"/>
              <a:gd name="connsiteX47990" fmla="*/ 1182592 w 4610101"/>
              <a:gd name="connsiteY47990" fmla="*/ 1165222 h 6557032"/>
              <a:gd name="connsiteX47991" fmla="*/ 1184414 w 4610101"/>
              <a:gd name="connsiteY47991" fmla="*/ 1165222 h 6557032"/>
              <a:gd name="connsiteX47992" fmla="*/ 1200814 w 4610101"/>
              <a:gd name="connsiteY47992" fmla="*/ 1141533 h 6557032"/>
              <a:gd name="connsiteX47993" fmla="*/ 1206279 w 4610101"/>
              <a:gd name="connsiteY47993" fmla="*/ 1147000 h 6557032"/>
              <a:gd name="connsiteX47994" fmla="*/ 1209925 w 4610101"/>
              <a:gd name="connsiteY47994" fmla="*/ 1143355 h 6557032"/>
              <a:gd name="connsiteX47995" fmla="*/ 1209923 w 4610101"/>
              <a:gd name="connsiteY47995" fmla="*/ 1149505 h 6557032"/>
              <a:gd name="connsiteX47996" fmla="*/ 1209925 w 4610101"/>
              <a:gd name="connsiteY47996" fmla="*/ 1150644 h 6557032"/>
              <a:gd name="connsiteX47997" fmla="*/ 1201496 w 4610101"/>
              <a:gd name="connsiteY47997" fmla="*/ 1157249 h 6557032"/>
              <a:gd name="connsiteX47998" fmla="*/ 1191703 w 4610101"/>
              <a:gd name="connsiteY47998" fmla="*/ 1165222 h 6557032"/>
              <a:gd name="connsiteX47999" fmla="*/ 1202864 w 4610101"/>
              <a:gd name="connsiteY47999" fmla="*/ 1159299 h 6557032"/>
              <a:gd name="connsiteX48000" fmla="*/ 1209925 w 4610101"/>
              <a:gd name="connsiteY48000" fmla="*/ 1150644 h 6557032"/>
              <a:gd name="connsiteX48001" fmla="*/ 1209925 w 4610101"/>
              <a:gd name="connsiteY48001" fmla="*/ 1154288 h 6557032"/>
              <a:gd name="connsiteX48002" fmla="*/ 1215390 w 4610101"/>
              <a:gd name="connsiteY48002" fmla="*/ 1150644 h 6557032"/>
              <a:gd name="connsiteX48003" fmla="*/ 1208102 w 4610101"/>
              <a:gd name="connsiteY48003" fmla="*/ 1167044 h 6557032"/>
              <a:gd name="connsiteX48004" fmla="*/ 1219036 w 4610101"/>
              <a:gd name="connsiteY48004" fmla="*/ 1157933 h 6557032"/>
              <a:gd name="connsiteX48005" fmla="*/ 1219036 w 4610101"/>
              <a:gd name="connsiteY48005" fmla="*/ 1163399 h 6557032"/>
              <a:gd name="connsiteX48006" fmla="*/ 1224501 w 4610101"/>
              <a:gd name="connsiteY48006" fmla="*/ 1161577 h 6557032"/>
              <a:gd name="connsiteX48007" fmla="*/ 1226323 w 4610101"/>
              <a:gd name="connsiteY48007" fmla="*/ 1154288 h 6557032"/>
              <a:gd name="connsiteX48008" fmla="*/ 1235434 w 4610101"/>
              <a:gd name="connsiteY48008" fmla="*/ 1147000 h 6557032"/>
              <a:gd name="connsiteX48009" fmla="*/ 1235434 w 4610101"/>
              <a:gd name="connsiteY48009" fmla="*/ 1152466 h 6557032"/>
              <a:gd name="connsiteX48010" fmla="*/ 1242723 w 4610101"/>
              <a:gd name="connsiteY48010" fmla="*/ 1148822 h 6557032"/>
              <a:gd name="connsiteX48011" fmla="*/ 1237256 w 4610101"/>
              <a:gd name="connsiteY48011" fmla="*/ 1136067 h 6557032"/>
              <a:gd name="connsiteX48012" fmla="*/ 1239080 w 4610101"/>
              <a:gd name="connsiteY48012" fmla="*/ 1132422 h 6557032"/>
              <a:gd name="connsiteX48013" fmla="*/ 1246367 w 4610101"/>
              <a:gd name="connsiteY48013" fmla="*/ 1148822 h 6557032"/>
              <a:gd name="connsiteX48014" fmla="*/ 1248189 w 4610101"/>
              <a:gd name="connsiteY48014" fmla="*/ 1143355 h 6557032"/>
              <a:gd name="connsiteX48015" fmla="*/ 1250012 w 4610101"/>
              <a:gd name="connsiteY48015" fmla="*/ 1136067 h 6557032"/>
              <a:gd name="connsiteX48016" fmla="*/ 1244545 w 4610101"/>
              <a:gd name="connsiteY48016" fmla="*/ 1136067 h 6557032"/>
              <a:gd name="connsiteX48017" fmla="*/ 1244545 w 4610101"/>
              <a:gd name="connsiteY48017" fmla="*/ 1130600 h 6557032"/>
              <a:gd name="connsiteX48018" fmla="*/ 1231790 w 4610101"/>
              <a:gd name="connsiteY48018" fmla="*/ 1125134 h 6557032"/>
              <a:gd name="connsiteX48019" fmla="*/ 1226655 w 4610101"/>
              <a:gd name="connsiteY48019" fmla="*/ 1123422 h 6557032"/>
              <a:gd name="connsiteX48020" fmla="*/ 1233384 w 4610101"/>
              <a:gd name="connsiteY48020" fmla="*/ 1123767 h 6557032"/>
              <a:gd name="connsiteX48021" fmla="*/ 1240901 w 4610101"/>
              <a:gd name="connsiteY48021" fmla="*/ 1121489 h 6557032"/>
              <a:gd name="connsiteX48022" fmla="*/ 1237256 w 4610101"/>
              <a:gd name="connsiteY48022" fmla="*/ 1123312 h 6557032"/>
              <a:gd name="connsiteX48023" fmla="*/ 1240901 w 4610101"/>
              <a:gd name="connsiteY48023" fmla="*/ 1125134 h 6557032"/>
              <a:gd name="connsiteX48024" fmla="*/ 1242723 w 4610101"/>
              <a:gd name="connsiteY48024" fmla="*/ 1128778 h 6557032"/>
              <a:gd name="connsiteX48025" fmla="*/ 1248953 w 4610101"/>
              <a:gd name="connsiteY48025" fmla="*/ 1127458 h 6557032"/>
              <a:gd name="connsiteX48026" fmla="*/ 1257984 w 4610101"/>
              <a:gd name="connsiteY48026" fmla="*/ 1130828 h 6557032"/>
              <a:gd name="connsiteX48027" fmla="*/ 1271878 w 4610101"/>
              <a:gd name="connsiteY48027" fmla="*/ 1126956 h 6557032"/>
              <a:gd name="connsiteX48028" fmla="*/ 1273700 w 4610101"/>
              <a:gd name="connsiteY48028" fmla="*/ 1128778 h 6557032"/>
              <a:gd name="connsiteX48029" fmla="*/ 1280761 w 4610101"/>
              <a:gd name="connsiteY48029" fmla="*/ 1123995 h 6557032"/>
              <a:gd name="connsiteX48030" fmla="*/ 1283776 w 4610101"/>
              <a:gd name="connsiteY48030" fmla="*/ 1120739 h 6557032"/>
              <a:gd name="connsiteX48031" fmla="*/ 1287873 w 4610101"/>
              <a:gd name="connsiteY48031" fmla="*/ 1120072 h 6557032"/>
              <a:gd name="connsiteX48032" fmla="*/ 1286455 w 4610101"/>
              <a:gd name="connsiteY48032" fmla="*/ 1121489 h 6557032"/>
              <a:gd name="connsiteX48033" fmla="*/ 1291440 w 4610101"/>
              <a:gd name="connsiteY48033" fmla="*/ 1119828 h 6557032"/>
              <a:gd name="connsiteX48034" fmla="*/ 1297388 w 4610101"/>
              <a:gd name="connsiteY48034" fmla="*/ 1119667 h 6557032"/>
              <a:gd name="connsiteX48035" fmla="*/ 1299210 w 4610101"/>
              <a:gd name="connsiteY48035" fmla="*/ 1114201 h 6557032"/>
              <a:gd name="connsiteX48036" fmla="*/ 1301033 w 4610101"/>
              <a:gd name="connsiteY48036" fmla="*/ 1121489 h 6557032"/>
              <a:gd name="connsiteX48037" fmla="*/ 1319254 w 4610101"/>
              <a:gd name="connsiteY48037" fmla="*/ 1099623 h 6557032"/>
              <a:gd name="connsiteX48038" fmla="*/ 1315610 w 4610101"/>
              <a:gd name="connsiteY48038" fmla="*/ 1094157 h 6557032"/>
              <a:gd name="connsiteX48039" fmla="*/ 1321077 w 4610101"/>
              <a:gd name="connsiteY48039" fmla="*/ 1097801 h 6557032"/>
              <a:gd name="connsiteX48040" fmla="*/ 1328365 w 4610101"/>
              <a:gd name="connsiteY48040" fmla="*/ 1086868 h 6557032"/>
              <a:gd name="connsiteX48041" fmla="*/ 1328365 w 4610101"/>
              <a:gd name="connsiteY48041" fmla="*/ 1090512 h 6557032"/>
              <a:gd name="connsiteX48042" fmla="*/ 1337826 w 4610101"/>
              <a:gd name="connsiteY48042" fmla="*/ 1084880 h 6557032"/>
              <a:gd name="connsiteX48043" fmla="*/ 1331554 w 4610101"/>
              <a:gd name="connsiteY48043" fmla="*/ 1089146 h 6557032"/>
              <a:gd name="connsiteX48044" fmla="*/ 1322899 w 4610101"/>
              <a:gd name="connsiteY48044" fmla="*/ 1099623 h 6557032"/>
              <a:gd name="connsiteX48045" fmla="*/ 1326090 w 4610101"/>
              <a:gd name="connsiteY48045" fmla="*/ 1101639 h 6557032"/>
              <a:gd name="connsiteX48046" fmla="*/ 1331554 w 4610101"/>
              <a:gd name="connsiteY48046" fmla="*/ 1105090 h 6557032"/>
              <a:gd name="connsiteX48047" fmla="*/ 1342942 w 4610101"/>
              <a:gd name="connsiteY48047" fmla="*/ 1099623 h 6557032"/>
              <a:gd name="connsiteX48048" fmla="*/ 1341120 w 4610101"/>
              <a:gd name="connsiteY48048" fmla="*/ 1103268 h 6557032"/>
              <a:gd name="connsiteX48049" fmla="*/ 1352053 w 4610101"/>
              <a:gd name="connsiteY48049" fmla="*/ 1101445 h 6557032"/>
              <a:gd name="connsiteX48050" fmla="*/ 1346587 w 4610101"/>
              <a:gd name="connsiteY48050" fmla="*/ 1095979 h 6557032"/>
              <a:gd name="connsiteX48051" fmla="*/ 1348410 w 4610101"/>
              <a:gd name="connsiteY48051" fmla="*/ 1092335 h 6557032"/>
              <a:gd name="connsiteX48052" fmla="*/ 1357521 w 4610101"/>
              <a:gd name="connsiteY48052" fmla="*/ 1101445 h 6557032"/>
              <a:gd name="connsiteX48053" fmla="*/ 1337476 w 4610101"/>
              <a:gd name="connsiteY48053" fmla="*/ 1106912 h 6557032"/>
              <a:gd name="connsiteX48054" fmla="*/ 1337476 w 4610101"/>
              <a:gd name="connsiteY48054" fmla="*/ 1110556 h 6557032"/>
              <a:gd name="connsiteX48055" fmla="*/ 1306499 w 4610101"/>
              <a:gd name="connsiteY48055" fmla="*/ 1123312 h 6557032"/>
              <a:gd name="connsiteX48056" fmla="*/ 1333832 w 4610101"/>
              <a:gd name="connsiteY48056" fmla="*/ 1112378 h 6557032"/>
              <a:gd name="connsiteX48057" fmla="*/ 1332009 w 4610101"/>
              <a:gd name="connsiteY48057" fmla="*/ 1117845 h 6557032"/>
              <a:gd name="connsiteX48058" fmla="*/ 1350231 w 4610101"/>
              <a:gd name="connsiteY48058" fmla="*/ 1108734 h 6557032"/>
              <a:gd name="connsiteX48059" fmla="*/ 1360908 w 4610101"/>
              <a:gd name="connsiteY48059" fmla="*/ 1106641 h 6557032"/>
              <a:gd name="connsiteX48060" fmla="*/ 1321077 w 4610101"/>
              <a:gd name="connsiteY48060" fmla="*/ 1125134 h 6557032"/>
              <a:gd name="connsiteX48061" fmla="*/ 1311966 w 4610101"/>
              <a:gd name="connsiteY48061" fmla="*/ 1128778 h 6557032"/>
              <a:gd name="connsiteX48062" fmla="*/ 1301033 w 4610101"/>
              <a:gd name="connsiteY48062" fmla="*/ 1126956 h 6557032"/>
              <a:gd name="connsiteX48063" fmla="*/ 1279166 w 4610101"/>
              <a:gd name="connsiteY48063" fmla="*/ 1141533 h 6557032"/>
              <a:gd name="connsiteX48064" fmla="*/ 1291922 w 4610101"/>
              <a:gd name="connsiteY48064" fmla="*/ 1143355 h 6557032"/>
              <a:gd name="connsiteX48065" fmla="*/ 1301033 w 4610101"/>
              <a:gd name="connsiteY48065" fmla="*/ 1150644 h 6557032"/>
              <a:gd name="connsiteX48066" fmla="*/ 1271878 w 4610101"/>
              <a:gd name="connsiteY48066" fmla="*/ 1141533 h 6557032"/>
              <a:gd name="connsiteX48067" fmla="*/ 1253656 w 4610101"/>
              <a:gd name="connsiteY48067" fmla="*/ 1156111 h 6557032"/>
              <a:gd name="connsiteX48068" fmla="*/ 1235434 w 4610101"/>
              <a:gd name="connsiteY48068" fmla="*/ 1168866 h 6557032"/>
              <a:gd name="connsiteX48069" fmla="*/ 1260945 w 4610101"/>
              <a:gd name="connsiteY48069" fmla="*/ 1163399 h 6557032"/>
              <a:gd name="connsiteX48070" fmla="*/ 1260945 w 4610101"/>
              <a:gd name="connsiteY48070" fmla="*/ 1167044 h 6557032"/>
              <a:gd name="connsiteX48071" fmla="*/ 1270056 w 4610101"/>
              <a:gd name="connsiteY48071" fmla="*/ 1167044 h 6557032"/>
              <a:gd name="connsiteX48072" fmla="*/ 1229969 w 4610101"/>
              <a:gd name="connsiteY48072" fmla="*/ 1170688 h 6557032"/>
              <a:gd name="connsiteX48073" fmla="*/ 1228146 w 4610101"/>
              <a:gd name="connsiteY48073" fmla="*/ 1179799 h 6557032"/>
              <a:gd name="connsiteX48074" fmla="*/ 1231790 w 4610101"/>
              <a:gd name="connsiteY48074" fmla="*/ 1177977 h 6557032"/>
              <a:gd name="connsiteX48075" fmla="*/ 1228146 w 4610101"/>
              <a:gd name="connsiteY48075" fmla="*/ 1181621 h 6557032"/>
              <a:gd name="connsiteX48076" fmla="*/ 1226323 w 4610101"/>
              <a:gd name="connsiteY48076" fmla="*/ 1179799 h 6557032"/>
              <a:gd name="connsiteX48077" fmla="*/ 1220630 w 4610101"/>
              <a:gd name="connsiteY48077" fmla="*/ 1185266 h 6557032"/>
              <a:gd name="connsiteX48078" fmla="*/ 1214753 w 4610101"/>
              <a:gd name="connsiteY48078" fmla="*/ 1189815 h 6557032"/>
              <a:gd name="connsiteX48079" fmla="*/ 1205596 w 4610101"/>
              <a:gd name="connsiteY48079" fmla="*/ 1186404 h 6557032"/>
              <a:gd name="connsiteX48080" fmla="*/ 1195346 w 4610101"/>
              <a:gd name="connsiteY48080" fmla="*/ 1188910 h 6557032"/>
              <a:gd name="connsiteX48081" fmla="*/ 1200814 w 4610101"/>
              <a:gd name="connsiteY48081" fmla="*/ 1192554 h 6557032"/>
              <a:gd name="connsiteX48082" fmla="*/ 1200814 w 4610101"/>
              <a:gd name="connsiteY48082" fmla="*/ 1201665 h 6557032"/>
              <a:gd name="connsiteX48083" fmla="*/ 1213568 w 4610101"/>
              <a:gd name="connsiteY48083" fmla="*/ 1198021 h 6557032"/>
              <a:gd name="connsiteX48084" fmla="*/ 1216808 w 4610101"/>
              <a:gd name="connsiteY48084" fmla="*/ 1191542 h 6557032"/>
              <a:gd name="connsiteX48085" fmla="*/ 1221768 w 4610101"/>
              <a:gd name="connsiteY48085" fmla="*/ 1192782 h 6557032"/>
              <a:gd name="connsiteX48086" fmla="*/ 1229969 w 4610101"/>
              <a:gd name="connsiteY48086" fmla="*/ 1196199 h 6557032"/>
              <a:gd name="connsiteX48087" fmla="*/ 1228146 w 4610101"/>
              <a:gd name="connsiteY48087" fmla="*/ 1198021 h 6557032"/>
              <a:gd name="connsiteX48088" fmla="*/ 1226323 w 4610101"/>
              <a:gd name="connsiteY48088" fmla="*/ 1199843 h 6557032"/>
              <a:gd name="connsiteX48089" fmla="*/ 1222679 w 4610101"/>
              <a:gd name="connsiteY48089" fmla="*/ 1198021 h 6557032"/>
              <a:gd name="connsiteX48090" fmla="*/ 1219036 w 4610101"/>
              <a:gd name="connsiteY48090" fmla="*/ 1205309 h 6557032"/>
              <a:gd name="connsiteX48091" fmla="*/ 1208102 w 4610101"/>
              <a:gd name="connsiteY48091" fmla="*/ 1210776 h 6557032"/>
              <a:gd name="connsiteX48092" fmla="*/ 1235434 w 4610101"/>
              <a:gd name="connsiteY48092" fmla="*/ 1207132 h 6557032"/>
              <a:gd name="connsiteX48093" fmla="*/ 1234601 w 4610101"/>
              <a:gd name="connsiteY48093" fmla="*/ 1205466 h 6557032"/>
              <a:gd name="connsiteX48094" fmla="*/ 1238368 w 4610101"/>
              <a:gd name="connsiteY48094" fmla="*/ 1206066 h 6557032"/>
              <a:gd name="connsiteX48095" fmla="*/ 1239080 w 4610101"/>
              <a:gd name="connsiteY48095" fmla="*/ 1207132 h 6557032"/>
              <a:gd name="connsiteX48096" fmla="*/ 1240783 w 4610101"/>
              <a:gd name="connsiteY48096" fmla="*/ 1206450 h 6557032"/>
              <a:gd name="connsiteX48097" fmla="*/ 1243634 w 4610101"/>
              <a:gd name="connsiteY48097" fmla="*/ 1206904 h 6557032"/>
              <a:gd name="connsiteX48098" fmla="*/ 1246833 w 4610101"/>
              <a:gd name="connsiteY48098" fmla="*/ 1206976 h 6557032"/>
              <a:gd name="connsiteX48099" fmla="*/ 1246367 w 4610101"/>
              <a:gd name="connsiteY48099" fmla="*/ 1207132 h 6557032"/>
              <a:gd name="connsiteX48100" fmla="*/ 1251834 w 4610101"/>
              <a:gd name="connsiteY48100" fmla="*/ 1207132 h 6557032"/>
              <a:gd name="connsiteX48101" fmla="*/ 1244545 w 4610101"/>
              <a:gd name="connsiteY48101" fmla="*/ 1214420 h 6557032"/>
              <a:gd name="connsiteX48102" fmla="*/ 1268233 w 4610101"/>
              <a:gd name="connsiteY48102" fmla="*/ 1205309 h 6557032"/>
              <a:gd name="connsiteX48103" fmla="*/ 1257466 w 4610101"/>
              <a:gd name="connsiteY48103" fmla="*/ 1203515 h 6557032"/>
              <a:gd name="connsiteX48104" fmla="*/ 1262440 w 4610101"/>
              <a:gd name="connsiteY48104" fmla="*/ 1198794 h 6557032"/>
              <a:gd name="connsiteX48105" fmla="*/ 1271878 w 4610101"/>
              <a:gd name="connsiteY48105" fmla="*/ 1199843 h 6557032"/>
              <a:gd name="connsiteX48106" fmla="*/ 1277344 w 4610101"/>
              <a:gd name="connsiteY48106" fmla="*/ 1187088 h 6557032"/>
              <a:gd name="connsiteX48107" fmla="*/ 1279166 w 4610101"/>
              <a:gd name="connsiteY48107" fmla="*/ 1192554 h 6557032"/>
              <a:gd name="connsiteX48108" fmla="*/ 1280939 w 4610101"/>
              <a:gd name="connsiteY48108" fmla="*/ 1187827 h 6557032"/>
              <a:gd name="connsiteX48109" fmla="*/ 1282360 w 4610101"/>
              <a:gd name="connsiteY48109" fmla="*/ 1192798 h 6557032"/>
              <a:gd name="connsiteX48110" fmla="*/ 1277344 w 4610101"/>
              <a:gd name="connsiteY48110" fmla="*/ 1195515 h 6557032"/>
              <a:gd name="connsiteX48111" fmla="*/ 1277344 w 4610101"/>
              <a:gd name="connsiteY48111" fmla="*/ 1199843 h 6557032"/>
              <a:gd name="connsiteX48112" fmla="*/ 1282127 w 4610101"/>
              <a:gd name="connsiteY48112" fmla="*/ 1196882 h 6557032"/>
              <a:gd name="connsiteX48113" fmla="*/ 1282626 w 4610101"/>
              <a:gd name="connsiteY48113" fmla="*/ 1193727 h 6557032"/>
              <a:gd name="connsiteX48114" fmla="*/ 1282811 w 4610101"/>
              <a:gd name="connsiteY48114" fmla="*/ 1194376 h 6557032"/>
              <a:gd name="connsiteX48115" fmla="*/ 1290100 w 4610101"/>
              <a:gd name="connsiteY48115" fmla="*/ 1187088 h 6557032"/>
              <a:gd name="connsiteX48116" fmla="*/ 1293744 w 4610101"/>
              <a:gd name="connsiteY48116" fmla="*/ 1170688 h 6557032"/>
              <a:gd name="connsiteX48117" fmla="*/ 1291922 w 4610101"/>
              <a:gd name="connsiteY48117" fmla="*/ 1179799 h 6557032"/>
              <a:gd name="connsiteX48118" fmla="*/ 1297388 w 4610101"/>
              <a:gd name="connsiteY48118" fmla="*/ 1179799 h 6557032"/>
              <a:gd name="connsiteX48119" fmla="*/ 1297388 w 4610101"/>
              <a:gd name="connsiteY48119" fmla="*/ 1183443 h 6557032"/>
              <a:gd name="connsiteX48120" fmla="*/ 1292149 w 4610101"/>
              <a:gd name="connsiteY48120" fmla="*/ 1188226 h 6557032"/>
              <a:gd name="connsiteX48121" fmla="*/ 1288547 w 4610101"/>
              <a:gd name="connsiteY48121" fmla="*/ 1193948 h 6557032"/>
              <a:gd name="connsiteX48122" fmla="*/ 1286455 w 4610101"/>
              <a:gd name="connsiteY48122" fmla="*/ 1192554 h 6557032"/>
              <a:gd name="connsiteX48123" fmla="*/ 1284633 w 4610101"/>
              <a:gd name="connsiteY48123" fmla="*/ 1203487 h 6557032"/>
              <a:gd name="connsiteX48124" fmla="*/ 1282811 w 4610101"/>
              <a:gd name="connsiteY48124" fmla="*/ 1203487 h 6557032"/>
              <a:gd name="connsiteX48125" fmla="*/ 1288277 w 4610101"/>
              <a:gd name="connsiteY48125" fmla="*/ 1203487 h 6557032"/>
              <a:gd name="connsiteX48126" fmla="*/ 1284633 w 4610101"/>
              <a:gd name="connsiteY48126" fmla="*/ 1203487 h 6557032"/>
              <a:gd name="connsiteX48127" fmla="*/ 1290100 w 4610101"/>
              <a:gd name="connsiteY48127" fmla="*/ 1198021 h 6557032"/>
              <a:gd name="connsiteX48128" fmla="*/ 1288277 w 4610101"/>
              <a:gd name="connsiteY48128" fmla="*/ 1201665 h 6557032"/>
              <a:gd name="connsiteX48129" fmla="*/ 1300239 w 4610101"/>
              <a:gd name="connsiteY48129" fmla="*/ 1201993 h 6557032"/>
              <a:gd name="connsiteX48130" fmla="*/ 1302855 w 4610101"/>
              <a:gd name="connsiteY48130" fmla="*/ 1203487 h 6557032"/>
              <a:gd name="connsiteX48131" fmla="*/ 1310143 w 4610101"/>
              <a:gd name="connsiteY48131" fmla="*/ 1203487 h 6557032"/>
              <a:gd name="connsiteX48132" fmla="*/ 1310143 w 4610101"/>
              <a:gd name="connsiteY48132" fmla="*/ 1205309 h 6557032"/>
              <a:gd name="connsiteX48133" fmla="*/ 1324721 w 4610101"/>
              <a:gd name="connsiteY48133" fmla="*/ 1203487 h 6557032"/>
              <a:gd name="connsiteX48134" fmla="*/ 1310143 w 4610101"/>
              <a:gd name="connsiteY48134" fmla="*/ 1201665 h 6557032"/>
              <a:gd name="connsiteX48135" fmla="*/ 1309436 w 4610101"/>
              <a:gd name="connsiteY48135" fmla="*/ 1201547 h 6557032"/>
              <a:gd name="connsiteX48136" fmla="*/ 1322899 w 4610101"/>
              <a:gd name="connsiteY48136" fmla="*/ 1199843 h 6557032"/>
              <a:gd name="connsiteX48137" fmla="*/ 1317432 w 4610101"/>
              <a:gd name="connsiteY48137" fmla="*/ 1188910 h 6557032"/>
              <a:gd name="connsiteX48138" fmla="*/ 1322899 w 4610101"/>
              <a:gd name="connsiteY48138" fmla="*/ 1190732 h 6557032"/>
              <a:gd name="connsiteX48139" fmla="*/ 1324721 w 4610101"/>
              <a:gd name="connsiteY48139" fmla="*/ 1199843 h 6557032"/>
              <a:gd name="connsiteX48140" fmla="*/ 1339299 w 4610101"/>
              <a:gd name="connsiteY48140" fmla="*/ 1194376 h 6557032"/>
              <a:gd name="connsiteX48141" fmla="*/ 1341120 w 4610101"/>
              <a:gd name="connsiteY48141" fmla="*/ 1188910 h 6557032"/>
              <a:gd name="connsiteX48142" fmla="*/ 1342942 w 4610101"/>
              <a:gd name="connsiteY48142" fmla="*/ 1192554 h 6557032"/>
              <a:gd name="connsiteX48143" fmla="*/ 1344765 w 4610101"/>
              <a:gd name="connsiteY48143" fmla="*/ 1188910 h 6557032"/>
              <a:gd name="connsiteX48144" fmla="*/ 1346587 w 4610101"/>
              <a:gd name="connsiteY48144" fmla="*/ 1192554 h 6557032"/>
              <a:gd name="connsiteX48145" fmla="*/ 1357521 w 4610101"/>
              <a:gd name="connsiteY48145" fmla="*/ 1176155 h 6557032"/>
              <a:gd name="connsiteX48146" fmla="*/ 1359342 w 4610101"/>
              <a:gd name="connsiteY48146" fmla="*/ 1176155 h 6557032"/>
              <a:gd name="connsiteX48147" fmla="*/ 1352053 w 4610101"/>
              <a:gd name="connsiteY48147" fmla="*/ 1190732 h 6557032"/>
              <a:gd name="connsiteX48148" fmla="*/ 1375743 w 4610101"/>
              <a:gd name="connsiteY48148" fmla="*/ 1157933 h 6557032"/>
              <a:gd name="connsiteX48149" fmla="*/ 1381208 w 4610101"/>
              <a:gd name="connsiteY48149" fmla="*/ 1150644 h 6557032"/>
              <a:gd name="connsiteX48150" fmla="*/ 1377564 w 4610101"/>
              <a:gd name="connsiteY48150" fmla="*/ 1170688 h 6557032"/>
              <a:gd name="connsiteX48151" fmla="*/ 1381208 w 4610101"/>
              <a:gd name="connsiteY48151" fmla="*/ 1163399 h 6557032"/>
              <a:gd name="connsiteX48152" fmla="*/ 1381208 w 4610101"/>
              <a:gd name="connsiteY48152" fmla="*/ 1168866 h 6557032"/>
              <a:gd name="connsiteX48153" fmla="*/ 1386676 w 4610101"/>
              <a:gd name="connsiteY48153" fmla="*/ 1161577 h 6557032"/>
              <a:gd name="connsiteX48154" fmla="*/ 1384854 w 4610101"/>
              <a:gd name="connsiteY48154" fmla="*/ 1168866 h 6557032"/>
              <a:gd name="connsiteX48155" fmla="*/ 1379893 w 4610101"/>
              <a:gd name="connsiteY48155" fmla="*/ 1174032 h 6557032"/>
              <a:gd name="connsiteX48156" fmla="*/ 1379386 w 4610101"/>
              <a:gd name="connsiteY48156" fmla="*/ 1172510 h 6557032"/>
              <a:gd name="connsiteX48157" fmla="*/ 1372097 w 4610101"/>
              <a:gd name="connsiteY48157" fmla="*/ 1181621 h 6557032"/>
              <a:gd name="connsiteX48158" fmla="*/ 1379386 w 4610101"/>
              <a:gd name="connsiteY48158" fmla="*/ 1178705 h 6557032"/>
              <a:gd name="connsiteX48159" fmla="*/ 1379386 w 4610101"/>
              <a:gd name="connsiteY48159" fmla="*/ 1181621 h 6557032"/>
              <a:gd name="connsiteX48160" fmla="*/ 1386365 w 4610101"/>
              <a:gd name="connsiteY48160" fmla="*/ 1179682 h 6557032"/>
              <a:gd name="connsiteX48161" fmla="*/ 1379386 w 4610101"/>
              <a:gd name="connsiteY48161" fmla="*/ 1185266 h 6557032"/>
              <a:gd name="connsiteX48162" fmla="*/ 1379386 w 4610101"/>
              <a:gd name="connsiteY48162" fmla="*/ 1187088 h 6557032"/>
              <a:gd name="connsiteX48163" fmla="*/ 1377564 w 4610101"/>
              <a:gd name="connsiteY48163" fmla="*/ 1188910 h 6557032"/>
              <a:gd name="connsiteX48164" fmla="*/ 1379386 w 4610101"/>
              <a:gd name="connsiteY48164" fmla="*/ 1190732 h 6557032"/>
              <a:gd name="connsiteX48165" fmla="*/ 1373920 w 4610101"/>
              <a:gd name="connsiteY48165" fmla="*/ 1199843 h 6557032"/>
              <a:gd name="connsiteX48166" fmla="*/ 1359342 w 4610101"/>
              <a:gd name="connsiteY48166" fmla="*/ 1214420 h 6557032"/>
              <a:gd name="connsiteX48167" fmla="*/ 1373920 w 4610101"/>
              <a:gd name="connsiteY48167" fmla="*/ 1199843 h 6557032"/>
              <a:gd name="connsiteX48168" fmla="*/ 1384854 w 4610101"/>
              <a:gd name="connsiteY48168" fmla="*/ 1190732 h 6557032"/>
              <a:gd name="connsiteX48169" fmla="*/ 1379386 w 4610101"/>
              <a:gd name="connsiteY48169" fmla="*/ 1190732 h 6557032"/>
              <a:gd name="connsiteX48170" fmla="*/ 1384854 w 4610101"/>
              <a:gd name="connsiteY48170" fmla="*/ 1187088 h 6557032"/>
              <a:gd name="connsiteX48171" fmla="*/ 1386676 w 4610101"/>
              <a:gd name="connsiteY48171" fmla="*/ 1188910 h 6557032"/>
              <a:gd name="connsiteX48172" fmla="*/ 1401252 w 4610101"/>
              <a:gd name="connsiteY48172" fmla="*/ 1174332 h 6557032"/>
              <a:gd name="connsiteX48173" fmla="*/ 1406507 w 4610101"/>
              <a:gd name="connsiteY48173" fmla="*/ 1170741 h 6557032"/>
              <a:gd name="connsiteX48174" fmla="*/ 1414918 w 4610101"/>
              <a:gd name="connsiteY48174" fmla="*/ 1164994 h 6557032"/>
              <a:gd name="connsiteX48175" fmla="*/ 1423118 w 4610101"/>
              <a:gd name="connsiteY48175" fmla="*/ 1148822 h 6557032"/>
              <a:gd name="connsiteX48176" fmla="*/ 1421296 w 4610101"/>
              <a:gd name="connsiteY48176" fmla="*/ 1130600 h 6557032"/>
              <a:gd name="connsiteX48177" fmla="*/ 1428585 w 4610101"/>
              <a:gd name="connsiteY48177" fmla="*/ 1136067 h 6557032"/>
              <a:gd name="connsiteX48178" fmla="*/ 1432229 w 4610101"/>
              <a:gd name="connsiteY48178" fmla="*/ 1132422 h 6557032"/>
              <a:gd name="connsiteX48179" fmla="*/ 1426763 w 4610101"/>
              <a:gd name="connsiteY48179" fmla="*/ 1152466 h 6557032"/>
              <a:gd name="connsiteX48180" fmla="*/ 1432229 w 4610101"/>
              <a:gd name="connsiteY48180" fmla="*/ 1152466 h 6557032"/>
              <a:gd name="connsiteX48181" fmla="*/ 1408541 w 4610101"/>
              <a:gd name="connsiteY48181" fmla="*/ 1172510 h 6557032"/>
              <a:gd name="connsiteX48182" fmla="*/ 1408541 w 4610101"/>
              <a:gd name="connsiteY48182" fmla="*/ 1176155 h 6557032"/>
              <a:gd name="connsiteX48183" fmla="*/ 1403074 w 4610101"/>
              <a:gd name="connsiteY48183" fmla="*/ 1177977 h 6557032"/>
              <a:gd name="connsiteX48184" fmla="*/ 1404896 w 4610101"/>
              <a:gd name="connsiteY48184" fmla="*/ 1179799 h 6557032"/>
              <a:gd name="connsiteX48185" fmla="*/ 1388497 w 4610101"/>
              <a:gd name="connsiteY48185" fmla="*/ 1192554 h 6557032"/>
              <a:gd name="connsiteX48186" fmla="*/ 1397089 w 4610101"/>
              <a:gd name="connsiteY48186" fmla="*/ 1188071 h 6557032"/>
              <a:gd name="connsiteX48187" fmla="*/ 1381208 w 4610101"/>
              <a:gd name="connsiteY48187" fmla="*/ 1198021 h 6557032"/>
              <a:gd name="connsiteX48188" fmla="*/ 1381208 w 4610101"/>
              <a:gd name="connsiteY48188" fmla="*/ 1199843 h 6557032"/>
              <a:gd name="connsiteX48189" fmla="*/ 1372097 w 4610101"/>
              <a:gd name="connsiteY48189" fmla="*/ 1207132 h 6557032"/>
              <a:gd name="connsiteX48190" fmla="*/ 1381208 w 4610101"/>
              <a:gd name="connsiteY48190" fmla="*/ 1199843 h 6557032"/>
              <a:gd name="connsiteX48191" fmla="*/ 1381208 w 4610101"/>
              <a:gd name="connsiteY48191" fmla="*/ 1203487 h 6557032"/>
              <a:gd name="connsiteX48192" fmla="*/ 1412185 w 4610101"/>
              <a:gd name="connsiteY48192" fmla="*/ 1196199 h 6557032"/>
              <a:gd name="connsiteX48193" fmla="*/ 1415829 w 4610101"/>
              <a:gd name="connsiteY48193" fmla="*/ 1188910 h 6557032"/>
              <a:gd name="connsiteX48194" fmla="*/ 1417652 w 4610101"/>
              <a:gd name="connsiteY48194" fmla="*/ 1194376 h 6557032"/>
              <a:gd name="connsiteX48195" fmla="*/ 1424940 w 4610101"/>
              <a:gd name="connsiteY48195" fmla="*/ 1179799 h 6557032"/>
              <a:gd name="connsiteX48196" fmla="*/ 1430407 w 4610101"/>
              <a:gd name="connsiteY48196" fmla="*/ 1185266 h 6557032"/>
              <a:gd name="connsiteX48197" fmla="*/ 1434051 w 4610101"/>
              <a:gd name="connsiteY48197" fmla="*/ 1179799 h 6557032"/>
              <a:gd name="connsiteX48198" fmla="*/ 1430407 w 4610101"/>
              <a:gd name="connsiteY48198" fmla="*/ 1190732 h 6557032"/>
              <a:gd name="connsiteX48199" fmla="*/ 1450761 w 4610101"/>
              <a:gd name="connsiteY48199" fmla="*/ 1181827 h 6557032"/>
              <a:gd name="connsiteX48200" fmla="*/ 1452501 w 4610101"/>
              <a:gd name="connsiteY48200" fmla="*/ 1182988 h 6557032"/>
              <a:gd name="connsiteX48201" fmla="*/ 1455917 w 4610101"/>
              <a:gd name="connsiteY48201" fmla="*/ 1181621 h 6557032"/>
              <a:gd name="connsiteX48202" fmla="*/ 1454550 w 4610101"/>
              <a:gd name="connsiteY48202" fmla="*/ 1180938 h 6557032"/>
              <a:gd name="connsiteX48203" fmla="*/ 1451714 w 4610101"/>
              <a:gd name="connsiteY48203" fmla="*/ 1181410 h 6557032"/>
              <a:gd name="connsiteX48204" fmla="*/ 1458158 w 4610101"/>
              <a:gd name="connsiteY48204" fmla="*/ 1178591 h 6557032"/>
              <a:gd name="connsiteX48205" fmla="*/ 1457933 w 4610101"/>
              <a:gd name="connsiteY48205" fmla="*/ 1185112 h 6557032"/>
              <a:gd name="connsiteX48206" fmla="*/ 1457739 w 4610101"/>
              <a:gd name="connsiteY48206" fmla="*/ 1190732 h 6557032"/>
              <a:gd name="connsiteX48207" fmla="*/ 1461384 w 4610101"/>
              <a:gd name="connsiteY48207" fmla="*/ 1188910 h 6557032"/>
              <a:gd name="connsiteX48208" fmla="*/ 1457739 w 4610101"/>
              <a:gd name="connsiteY48208" fmla="*/ 1194376 h 6557032"/>
              <a:gd name="connsiteX48209" fmla="*/ 1492361 w 4610101"/>
              <a:gd name="connsiteY48209" fmla="*/ 1176155 h 6557032"/>
              <a:gd name="connsiteX48210" fmla="*/ 1490734 w 4610101"/>
              <a:gd name="connsiteY48210" fmla="*/ 1179409 h 6557032"/>
              <a:gd name="connsiteX48211" fmla="*/ 1477784 w 4610101"/>
              <a:gd name="connsiteY48211" fmla="*/ 1183443 h 6557032"/>
              <a:gd name="connsiteX48212" fmla="*/ 1477784 w 4610101"/>
              <a:gd name="connsiteY48212" fmla="*/ 1188910 h 6557032"/>
              <a:gd name="connsiteX48213" fmla="*/ 1472317 w 4610101"/>
              <a:gd name="connsiteY48213" fmla="*/ 1196199 h 6557032"/>
              <a:gd name="connsiteX48214" fmla="*/ 1475961 w 4610101"/>
              <a:gd name="connsiteY48214" fmla="*/ 1192554 h 6557032"/>
              <a:gd name="connsiteX48215" fmla="*/ 1475961 w 4610101"/>
              <a:gd name="connsiteY48215" fmla="*/ 1194376 h 6557032"/>
              <a:gd name="connsiteX48216" fmla="*/ 1452273 w 4610101"/>
              <a:gd name="connsiteY48216" fmla="*/ 1208954 h 6557032"/>
              <a:gd name="connsiteX48217" fmla="*/ 1450451 w 4610101"/>
              <a:gd name="connsiteY48217" fmla="*/ 1205309 h 6557032"/>
              <a:gd name="connsiteX48218" fmla="*/ 1412185 w 4610101"/>
              <a:gd name="connsiteY48218" fmla="*/ 1218065 h 6557032"/>
              <a:gd name="connsiteX48219" fmla="*/ 1412185 w 4610101"/>
              <a:gd name="connsiteY48219" fmla="*/ 1220201 h 6557032"/>
              <a:gd name="connsiteX48220" fmla="*/ 1407402 w 4610101"/>
              <a:gd name="connsiteY48220" fmla="*/ 1221026 h 6557032"/>
              <a:gd name="connsiteX48221" fmla="*/ 1399430 w 4610101"/>
              <a:gd name="connsiteY48221" fmla="*/ 1223531 h 6557032"/>
              <a:gd name="connsiteX48222" fmla="*/ 1399430 w 4610101"/>
              <a:gd name="connsiteY48222" fmla="*/ 1225353 h 6557032"/>
              <a:gd name="connsiteX48223" fmla="*/ 1412185 w 4610101"/>
              <a:gd name="connsiteY48223" fmla="*/ 1220570 h 6557032"/>
              <a:gd name="connsiteX48224" fmla="*/ 1412185 w 4610101"/>
              <a:gd name="connsiteY48224" fmla="*/ 1225353 h 6557032"/>
              <a:gd name="connsiteX48225" fmla="*/ 1393963 w 4610101"/>
              <a:gd name="connsiteY48225" fmla="*/ 1234464 h 6557032"/>
              <a:gd name="connsiteX48226" fmla="*/ 1388497 w 4610101"/>
              <a:gd name="connsiteY48226" fmla="*/ 1234464 h 6557032"/>
              <a:gd name="connsiteX48227" fmla="*/ 1390319 w 4610101"/>
              <a:gd name="connsiteY48227" fmla="*/ 1238108 h 6557032"/>
              <a:gd name="connsiteX48228" fmla="*/ 1392141 w 4610101"/>
              <a:gd name="connsiteY48228" fmla="*/ 1236286 h 6557032"/>
              <a:gd name="connsiteX48229" fmla="*/ 1392141 w 4610101"/>
              <a:gd name="connsiteY48229" fmla="*/ 1239931 h 6557032"/>
              <a:gd name="connsiteX48230" fmla="*/ 1406719 w 4610101"/>
              <a:gd name="connsiteY48230" fmla="*/ 1236286 h 6557032"/>
              <a:gd name="connsiteX48231" fmla="*/ 1410363 w 4610101"/>
              <a:gd name="connsiteY48231" fmla="*/ 1238108 h 6557032"/>
              <a:gd name="connsiteX48232" fmla="*/ 1417879 w 4610101"/>
              <a:gd name="connsiteY48232" fmla="*/ 1230820 h 6557032"/>
              <a:gd name="connsiteX48233" fmla="*/ 1419579 w 4610101"/>
              <a:gd name="connsiteY48233" fmla="*/ 1227192 h 6557032"/>
              <a:gd name="connsiteX48234" fmla="*/ 1423422 w 4610101"/>
              <a:gd name="connsiteY48234" fmla="*/ 1227833 h 6557032"/>
              <a:gd name="connsiteX48235" fmla="*/ 1406719 w 4610101"/>
              <a:gd name="connsiteY48235" fmla="*/ 1241753 h 6557032"/>
              <a:gd name="connsiteX48236" fmla="*/ 1437696 w 4610101"/>
              <a:gd name="connsiteY48236" fmla="*/ 1230820 h 6557032"/>
              <a:gd name="connsiteX48237" fmla="*/ 1441340 w 4610101"/>
              <a:gd name="connsiteY48237" fmla="*/ 1225353 h 6557032"/>
              <a:gd name="connsiteX48238" fmla="*/ 1439518 w 4610101"/>
              <a:gd name="connsiteY48238" fmla="*/ 1232642 h 6557032"/>
              <a:gd name="connsiteX48239" fmla="*/ 1446806 w 4610101"/>
              <a:gd name="connsiteY48239" fmla="*/ 1227175 h 6557032"/>
              <a:gd name="connsiteX48240" fmla="*/ 1446806 w 4610101"/>
              <a:gd name="connsiteY48240" fmla="*/ 1230820 h 6557032"/>
              <a:gd name="connsiteX48241" fmla="*/ 1444984 w 4610101"/>
              <a:gd name="connsiteY48241" fmla="*/ 1228998 h 6557032"/>
              <a:gd name="connsiteX48242" fmla="*/ 1443162 w 4610101"/>
              <a:gd name="connsiteY48242" fmla="*/ 1232642 h 6557032"/>
              <a:gd name="connsiteX48243" fmla="*/ 1435873 w 4610101"/>
              <a:gd name="connsiteY48243" fmla="*/ 1234464 h 6557032"/>
              <a:gd name="connsiteX48244" fmla="*/ 1435873 w 4610101"/>
              <a:gd name="connsiteY48244" fmla="*/ 1241753 h 6557032"/>
              <a:gd name="connsiteX48245" fmla="*/ 1446806 w 4610101"/>
              <a:gd name="connsiteY48245" fmla="*/ 1236286 h 6557032"/>
              <a:gd name="connsiteX48246" fmla="*/ 1446806 w 4610101"/>
              <a:gd name="connsiteY48246" fmla="*/ 1241753 h 6557032"/>
              <a:gd name="connsiteX48247" fmla="*/ 1417652 w 4610101"/>
              <a:gd name="connsiteY48247" fmla="*/ 1247219 h 6557032"/>
              <a:gd name="connsiteX48248" fmla="*/ 1417652 w 4610101"/>
              <a:gd name="connsiteY48248" fmla="*/ 1250864 h 6557032"/>
              <a:gd name="connsiteX48249" fmla="*/ 1415829 w 4610101"/>
              <a:gd name="connsiteY48249" fmla="*/ 1247219 h 6557032"/>
              <a:gd name="connsiteX48250" fmla="*/ 1410363 w 4610101"/>
              <a:gd name="connsiteY48250" fmla="*/ 1247219 h 6557032"/>
              <a:gd name="connsiteX48251" fmla="*/ 1408541 w 4610101"/>
              <a:gd name="connsiteY48251" fmla="*/ 1245397 h 6557032"/>
              <a:gd name="connsiteX48252" fmla="*/ 1370275 w 4610101"/>
              <a:gd name="connsiteY48252" fmla="*/ 1245397 h 6557032"/>
              <a:gd name="connsiteX48253" fmla="*/ 1375743 w 4610101"/>
              <a:gd name="connsiteY48253" fmla="*/ 1250864 h 6557032"/>
              <a:gd name="connsiteX48254" fmla="*/ 1372097 w 4610101"/>
              <a:gd name="connsiteY48254" fmla="*/ 1252686 h 6557032"/>
              <a:gd name="connsiteX48255" fmla="*/ 1372097 w 4610101"/>
              <a:gd name="connsiteY48255" fmla="*/ 1249042 h 6557032"/>
              <a:gd name="connsiteX48256" fmla="*/ 1361164 w 4610101"/>
              <a:gd name="connsiteY48256" fmla="*/ 1254508 h 6557032"/>
              <a:gd name="connsiteX48257" fmla="*/ 1370275 w 4610101"/>
              <a:gd name="connsiteY48257" fmla="*/ 1254508 h 6557032"/>
              <a:gd name="connsiteX48258" fmla="*/ 1344765 w 4610101"/>
              <a:gd name="connsiteY48258" fmla="*/ 1258152 h 6557032"/>
              <a:gd name="connsiteX48259" fmla="*/ 1342942 w 4610101"/>
              <a:gd name="connsiteY48259" fmla="*/ 1252686 h 6557032"/>
              <a:gd name="connsiteX48260" fmla="*/ 1328034 w 4610101"/>
              <a:gd name="connsiteY48260" fmla="*/ 1260140 h 6557032"/>
              <a:gd name="connsiteX48261" fmla="*/ 1326543 w 4610101"/>
              <a:gd name="connsiteY48261" fmla="*/ 1252686 h 6557032"/>
              <a:gd name="connsiteX48262" fmla="*/ 1321077 w 4610101"/>
              <a:gd name="connsiteY48262" fmla="*/ 1259975 h 6557032"/>
              <a:gd name="connsiteX48263" fmla="*/ 1324721 w 4610101"/>
              <a:gd name="connsiteY48263" fmla="*/ 1261797 h 6557032"/>
              <a:gd name="connsiteX48264" fmla="*/ 1325326 w 4610101"/>
              <a:gd name="connsiteY48264" fmla="*/ 1270475 h 6557032"/>
              <a:gd name="connsiteX48265" fmla="*/ 1320165 w 4610101"/>
              <a:gd name="connsiteY48265" fmla="*/ 1276374 h 6557032"/>
              <a:gd name="connsiteX48266" fmla="*/ 1319254 w 4610101"/>
              <a:gd name="connsiteY48266" fmla="*/ 1283663 h 6557032"/>
              <a:gd name="connsiteX48267" fmla="*/ 1324948 w 4610101"/>
              <a:gd name="connsiteY48267" fmla="*/ 1279107 h 6557032"/>
              <a:gd name="connsiteX48268" fmla="*/ 1325148 w 4610101"/>
              <a:gd name="connsiteY48268" fmla="*/ 1277854 h 6557032"/>
              <a:gd name="connsiteX48269" fmla="*/ 1327769 w 4610101"/>
              <a:gd name="connsiteY48269" fmla="*/ 1275758 h 6557032"/>
              <a:gd name="connsiteX48270" fmla="*/ 1329708 w 4610101"/>
              <a:gd name="connsiteY48270" fmla="*/ 1279174 h 6557032"/>
              <a:gd name="connsiteX48271" fmla="*/ 1324721 w 4610101"/>
              <a:gd name="connsiteY48271" fmla="*/ 1283663 h 6557032"/>
              <a:gd name="connsiteX48272" fmla="*/ 1332009 w 4610101"/>
              <a:gd name="connsiteY48272" fmla="*/ 1280018 h 6557032"/>
              <a:gd name="connsiteX48273" fmla="*/ 1332579 w 4610101"/>
              <a:gd name="connsiteY48273" fmla="*/ 1281158 h 6557032"/>
              <a:gd name="connsiteX48274" fmla="*/ 1333089 w 4610101"/>
              <a:gd name="connsiteY48274" fmla="*/ 1283663 h 6557032"/>
              <a:gd name="connsiteX48275" fmla="*/ 1333832 w 4610101"/>
              <a:gd name="connsiteY48275" fmla="*/ 1287307 h 6557032"/>
              <a:gd name="connsiteX48276" fmla="*/ 1332009 w 4610101"/>
              <a:gd name="connsiteY48276" fmla="*/ 1287307 h 6557032"/>
              <a:gd name="connsiteX48277" fmla="*/ 1330188 w 4610101"/>
              <a:gd name="connsiteY48277" fmla="*/ 1294596 h 6557032"/>
              <a:gd name="connsiteX48278" fmla="*/ 1333832 w 4610101"/>
              <a:gd name="connsiteY48278" fmla="*/ 1294596 h 6557032"/>
              <a:gd name="connsiteX48279" fmla="*/ 1337476 w 4610101"/>
              <a:gd name="connsiteY48279" fmla="*/ 1283663 h 6557032"/>
              <a:gd name="connsiteX48280" fmla="*/ 1335654 w 4610101"/>
              <a:gd name="connsiteY48280" fmla="*/ 1294596 h 6557032"/>
              <a:gd name="connsiteX48281" fmla="*/ 1339546 w 4610101"/>
              <a:gd name="connsiteY48281" fmla="*/ 1294596 h 6557032"/>
              <a:gd name="connsiteX48282" fmla="*/ 1337476 w 4610101"/>
              <a:gd name="connsiteY48282" fmla="*/ 1298240 h 6557032"/>
              <a:gd name="connsiteX48283" fmla="*/ 1341120 w 4610101"/>
              <a:gd name="connsiteY48283" fmla="*/ 1310995 h 6557032"/>
              <a:gd name="connsiteX48284" fmla="*/ 1341120 w 4610101"/>
              <a:gd name="connsiteY48284" fmla="*/ 1300062 h 6557032"/>
              <a:gd name="connsiteX48285" fmla="*/ 1344765 w 4610101"/>
              <a:gd name="connsiteY48285" fmla="*/ 1301885 h 6557032"/>
              <a:gd name="connsiteX48286" fmla="*/ 1345044 w 4610101"/>
              <a:gd name="connsiteY48286" fmla="*/ 1299697 h 6557032"/>
              <a:gd name="connsiteX48287" fmla="*/ 1346587 w 4610101"/>
              <a:gd name="connsiteY48287" fmla="*/ 1309173 h 6557032"/>
              <a:gd name="connsiteX48288" fmla="*/ 1342942 w 4610101"/>
              <a:gd name="connsiteY48288" fmla="*/ 1312818 h 6557032"/>
              <a:gd name="connsiteX48289" fmla="*/ 1350231 w 4610101"/>
              <a:gd name="connsiteY48289" fmla="*/ 1307351 h 6557032"/>
              <a:gd name="connsiteX48290" fmla="*/ 1348410 w 4610101"/>
              <a:gd name="connsiteY48290" fmla="*/ 1300062 h 6557032"/>
              <a:gd name="connsiteX48291" fmla="*/ 1352053 w 4610101"/>
              <a:gd name="connsiteY48291" fmla="*/ 1303707 h 6557032"/>
              <a:gd name="connsiteX48292" fmla="*/ 1353876 w 4610101"/>
              <a:gd name="connsiteY48292" fmla="*/ 1292774 h 6557032"/>
              <a:gd name="connsiteX48293" fmla="*/ 1359342 w 4610101"/>
              <a:gd name="connsiteY48293" fmla="*/ 1292774 h 6557032"/>
              <a:gd name="connsiteX48294" fmla="*/ 1357521 w 4610101"/>
              <a:gd name="connsiteY48294" fmla="*/ 1305529 h 6557032"/>
              <a:gd name="connsiteX48295" fmla="*/ 1355698 w 4610101"/>
              <a:gd name="connsiteY48295" fmla="*/ 1303707 h 6557032"/>
              <a:gd name="connsiteX48296" fmla="*/ 1355881 w 4610101"/>
              <a:gd name="connsiteY48296" fmla="*/ 1307364 h 6557032"/>
              <a:gd name="connsiteX48297" fmla="*/ 1355698 w 4610101"/>
              <a:gd name="connsiteY48297" fmla="*/ 1307351 h 6557032"/>
              <a:gd name="connsiteX48298" fmla="*/ 1355885 w 4610101"/>
              <a:gd name="connsiteY48298" fmla="*/ 1307444 h 6557032"/>
              <a:gd name="connsiteX48299" fmla="*/ 1355926 w 4610101"/>
              <a:gd name="connsiteY48299" fmla="*/ 1308262 h 6557032"/>
              <a:gd name="connsiteX48300" fmla="*/ 1357521 w 4610101"/>
              <a:gd name="connsiteY48300" fmla="*/ 1312818 h 6557032"/>
              <a:gd name="connsiteX48301" fmla="*/ 1375743 w 4610101"/>
              <a:gd name="connsiteY48301" fmla="*/ 1285485 h 6557032"/>
              <a:gd name="connsiteX48302" fmla="*/ 1377564 w 4610101"/>
              <a:gd name="connsiteY48302" fmla="*/ 1280018 h 6557032"/>
              <a:gd name="connsiteX48303" fmla="*/ 1372097 w 4610101"/>
              <a:gd name="connsiteY48303" fmla="*/ 1309173 h 6557032"/>
              <a:gd name="connsiteX48304" fmla="*/ 1381208 w 4610101"/>
              <a:gd name="connsiteY48304" fmla="*/ 1298240 h 6557032"/>
              <a:gd name="connsiteX48305" fmla="*/ 1379386 w 4610101"/>
              <a:gd name="connsiteY48305" fmla="*/ 1307351 h 6557032"/>
              <a:gd name="connsiteX48306" fmla="*/ 1379386 w 4610101"/>
              <a:gd name="connsiteY48306" fmla="*/ 1290951 h 6557032"/>
              <a:gd name="connsiteX48307" fmla="*/ 1383030 w 4610101"/>
              <a:gd name="connsiteY48307" fmla="*/ 1285485 h 6557032"/>
              <a:gd name="connsiteX48308" fmla="*/ 1388497 w 4610101"/>
              <a:gd name="connsiteY48308" fmla="*/ 1296418 h 6557032"/>
              <a:gd name="connsiteX48309" fmla="*/ 1388497 w 4610101"/>
              <a:gd name="connsiteY48309" fmla="*/ 1280018 h 6557032"/>
              <a:gd name="connsiteX48310" fmla="*/ 1390319 w 4610101"/>
              <a:gd name="connsiteY48310" fmla="*/ 1296418 h 6557032"/>
              <a:gd name="connsiteX48311" fmla="*/ 1408541 w 4610101"/>
              <a:gd name="connsiteY48311" fmla="*/ 1256330 h 6557032"/>
              <a:gd name="connsiteX48312" fmla="*/ 1404896 w 4610101"/>
              <a:gd name="connsiteY48312" fmla="*/ 1285485 h 6557032"/>
              <a:gd name="connsiteX48313" fmla="*/ 1406116 w 4610101"/>
              <a:gd name="connsiteY48313" fmla="*/ 1283830 h 6557032"/>
              <a:gd name="connsiteX48314" fmla="*/ 1395787 w 4610101"/>
              <a:gd name="connsiteY48314" fmla="*/ 1300062 h 6557032"/>
              <a:gd name="connsiteX48315" fmla="*/ 1404896 w 4610101"/>
              <a:gd name="connsiteY48315" fmla="*/ 1296418 h 6557032"/>
              <a:gd name="connsiteX48316" fmla="*/ 1388497 w 4610101"/>
              <a:gd name="connsiteY48316" fmla="*/ 1305529 h 6557032"/>
              <a:gd name="connsiteX48317" fmla="*/ 1390319 w 4610101"/>
              <a:gd name="connsiteY48317" fmla="*/ 1307351 h 6557032"/>
              <a:gd name="connsiteX48318" fmla="*/ 1375743 w 4610101"/>
              <a:gd name="connsiteY48318" fmla="*/ 1314640 h 6557032"/>
              <a:gd name="connsiteX48319" fmla="*/ 1384854 w 4610101"/>
              <a:gd name="connsiteY48319" fmla="*/ 1316462 h 6557032"/>
              <a:gd name="connsiteX48320" fmla="*/ 1373920 w 4610101"/>
              <a:gd name="connsiteY48320" fmla="*/ 1314640 h 6557032"/>
              <a:gd name="connsiteX48321" fmla="*/ 1370275 w 4610101"/>
              <a:gd name="connsiteY48321" fmla="*/ 1314640 h 6557032"/>
              <a:gd name="connsiteX48322" fmla="*/ 1366632 w 4610101"/>
              <a:gd name="connsiteY48322" fmla="*/ 1316462 h 6557032"/>
              <a:gd name="connsiteX48323" fmla="*/ 1377564 w 4610101"/>
              <a:gd name="connsiteY48323" fmla="*/ 1318284 h 6557032"/>
              <a:gd name="connsiteX48324" fmla="*/ 1368453 w 4610101"/>
              <a:gd name="connsiteY48324" fmla="*/ 1318284 h 6557032"/>
              <a:gd name="connsiteX48325" fmla="*/ 1366632 w 4610101"/>
              <a:gd name="connsiteY48325" fmla="*/ 1320106 h 6557032"/>
              <a:gd name="connsiteX48326" fmla="*/ 1368453 w 4610101"/>
              <a:gd name="connsiteY48326" fmla="*/ 1321929 h 6557032"/>
              <a:gd name="connsiteX48327" fmla="*/ 1359342 w 4610101"/>
              <a:gd name="connsiteY48327" fmla="*/ 1323751 h 6557032"/>
              <a:gd name="connsiteX48328" fmla="*/ 1355698 w 4610101"/>
              <a:gd name="connsiteY48328" fmla="*/ 1318284 h 6557032"/>
              <a:gd name="connsiteX48329" fmla="*/ 1350231 w 4610101"/>
              <a:gd name="connsiteY48329" fmla="*/ 1321929 h 6557032"/>
              <a:gd name="connsiteX48330" fmla="*/ 1335654 w 4610101"/>
              <a:gd name="connsiteY48330" fmla="*/ 1316462 h 6557032"/>
              <a:gd name="connsiteX48331" fmla="*/ 1332009 w 4610101"/>
              <a:gd name="connsiteY48331" fmla="*/ 1320106 h 6557032"/>
              <a:gd name="connsiteX48332" fmla="*/ 1328365 w 4610101"/>
              <a:gd name="connsiteY48332" fmla="*/ 1320106 h 6557032"/>
              <a:gd name="connsiteX48333" fmla="*/ 1321077 w 4610101"/>
              <a:gd name="connsiteY48333" fmla="*/ 1318284 h 6557032"/>
              <a:gd name="connsiteX48334" fmla="*/ 1280989 w 4610101"/>
              <a:gd name="connsiteY48334" fmla="*/ 1309173 h 6557032"/>
              <a:gd name="connsiteX48335" fmla="*/ 1280989 w 4610101"/>
              <a:gd name="connsiteY48335" fmla="*/ 1305529 h 6557032"/>
              <a:gd name="connsiteX48336" fmla="*/ 1275522 w 4610101"/>
              <a:gd name="connsiteY48336" fmla="*/ 1305529 h 6557032"/>
              <a:gd name="connsiteX48337" fmla="*/ 1255478 w 4610101"/>
              <a:gd name="connsiteY48337" fmla="*/ 1309173 h 6557032"/>
              <a:gd name="connsiteX48338" fmla="*/ 1255478 w 4610101"/>
              <a:gd name="connsiteY48338" fmla="*/ 1323751 h 6557032"/>
              <a:gd name="connsiteX48339" fmla="*/ 1255478 w 4610101"/>
              <a:gd name="connsiteY48339" fmla="*/ 1343795 h 6557032"/>
              <a:gd name="connsiteX48340" fmla="*/ 1255953 w 4610101"/>
              <a:gd name="connsiteY48340" fmla="*/ 1341576 h 6557032"/>
              <a:gd name="connsiteX48341" fmla="*/ 1256846 w 4610101"/>
              <a:gd name="connsiteY48341" fmla="*/ 1344250 h 6557032"/>
              <a:gd name="connsiteX48342" fmla="*/ 1257606 w 4610101"/>
              <a:gd name="connsiteY48342" fmla="*/ 1344504 h 6557032"/>
              <a:gd name="connsiteX48343" fmla="*/ 1257300 w 4610101"/>
              <a:gd name="connsiteY48343" fmla="*/ 1347439 h 6557032"/>
              <a:gd name="connsiteX48344" fmla="*/ 1264589 w 4610101"/>
              <a:gd name="connsiteY48344" fmla="*/ 1347439 h 6557032"/>
              <a:gd name="connsiteX48345" fmla="*/ 1260945 w 4610101"/>
              <a:gd name="connsiteY48345" fmla="*/ 1351083 h 6557032"/>
              <a:gd name="connsiteX48346" fmla="*/ 1266411 w 4610101"/>
              <a:gd name="connsiteY48346" fmla="*/ 1356550 h 6557032"/>
              <a:gd name="connsiteX48347" fmla="*/ 1253656 w 4610101"/>
              <a:gd name="connsiteY48347" fmla="*/ 1354728 h 6557032"/>
              <a:gd name="connsiteX48348" fmla="*/ 1259123 w 4610101"/>
              <a:gd name="connsiteY48348" fmla="*/ 1360194 h 6557032"/>
              <a:gd name="connsiteX48349" fmla="*/ 1253656 w 4610101"/>
              <a:gd name="connsiteY48349" fmla="*/ 1358372 h 6557032"/>
              <a:gd name="connsiteX48350" fmla="*/ 1253656 w 4610101"/>
              <a:gd name="connsiteY48350" fmla="*/ 1362016 h 6557032"/>
              <a:gd name="connsiteX48351" fmla="*/ 1251834 w 4610101"/>
              <a:gd name="connsiteY48351" fmla="*/ 1354728 h 6557032"/>
              <a:gd name="connsiteX48352" fmla="*/ 1248189 w 4610101"/>
              <a:gd name="connsiteY48352" fmla="*/ 1356550 h 6557032"/>
              <a:gd name="connsiteX48353" fmla="*/ 1246367 w 4610101"/>
              <a:gd name="connsiteY48353" fmla="*/ 1351083 h 6557032"/>
              <a:gd name="connsiteX48354" fmla="*/ 1226323 w 4610101"/>
              <a:gd name="connsiteY48354" fmla="*/ 1349261 h 6557032"/>
              <a:gd name="connsiteX48355" fmla="*/ 1213568 w 4610101"/>
              <a:gd name="connsiteY48355" fmla="*/ 1341972 h 6557032"/>
              <a:gd name="connsiteX48356" fmla="*/ 1202636 w 4610101"/>
              <a:gd name="connsiteY48356" fmla="*/ 1336506 h 6557032"/>
              <a:gd name="connsiteX48357" fmla="*/ 1200814 w 4610101"/>
              <a:gd name="connsiteY48357" fmla="*/ 1336506 h 6557032"/>
              <a:gd name="connsiteX48358" fmla="*/ 1189880 w 4610101"/>
              <a:gd name="connsiteY48358" fmla="*/ 1325573 h 6557032"/>
              <a:gd name="connsiteX48359" fmla="*/ 1189880 w 4610101"/>
              <a:gd name="connsiteY48359" fmla="*/ 1327395 h 6557032"/>
              <a:gd name="connsiteX48360" fmla="*/ 1180769 w 4610101"/>
              <a:gd name="connsiteY48360" fmla="*/ 1325573 h 6557032"/>
              <a:gd name="connsiteX48361" fmla="*/ 1177125 w 4610101"/>
              <a:gd name="connsiteY48361" fmla="*/ 1325573 h 6557032"/>
              <a:gd name="connsiteX48362" fmla="*/ 1178947 w 4610101"/>
              <a:gd name="connsiteY48362" fmla="*/ 1331039 h 6557032"/>
              <a:gd name="connsiteX48363" fmla="*/ 1175303 w 4610101"/>
              <a:gd name="connsiteY48363" fmla="*/ 1331039 h 6557032"/>
              <a:gd name="connsiteX48364" fmla="*/ 1158903 w 4610101"/>
              <a:gd name="connsiteY48364" fmla="*/ 1320106 h 6557032"/>
              <a:gd name="connsiteX48365" fmla="*/ 1149792 w 4610101"/>
              <a:gd name="connsiteY48365" fmla="*/ 1331039 h 6557032"/>
              <a:gd name="connsiteX48366" fmla="*/ 1164370 w 4610101"/>
              <a:gd name="connsiteY48366" fmla="*/ 1378416 h 6557032"/>
              <a:gd name="connsiteX48367" fmla="*/ 1166192 w 4610101"/>
              <a:gd name="connsiteY48367" fmla="*/ 1374771 h 6557032"/>
              <a:gd name="connsiteX48368" fmla="*/ 1171658 w 4610101"/>
              <a:gd name="connsiteY48368" fmla="*/ 1392993 h 6557032"/>
              <a:gd name="connsiteX48369" fmla="*/ 1176404 w 4610101"/>
              <a:gd name="connsiteY48369" fmla="*/ 1403671 h 6557032"/>
              <a:gd name="connsiteX48370" fmla="*/ 1168014 w 4610101"/>
              <a:gd name="connsiteY48370" fmla="*/ 1392993 h 6557032"/>
              <a:gd name="connsiteX48371" fmla="*/ 1169836 w 4610101"/>
              <a:gd name="connsiteY48371" fmla="*/ 1391171 h 6557032"/>
              <a:gd name="connsiteX48372" fmla="*/ 1164370 w 4610101"/>
              <a:gd name="connsiteY48372" fmla="*/ 1385705 h 6557032"/>
              <a:gd name="connsiteX48373" fmla="*/ 1165054 w 4610101"/>
              <a:gd name="connsiteY48373" fmla="*/ 1390716 h 6557032"/>
              <a:gd name="connsiteX48374" fmla="*/ 1164370 w 4610101"/>
              <a:gd name="connsiteY48374" fmla="*/ 1398460 h 6557032"/>
              <a:gd name="connsiteX48375" fmla="*/ 1162547 w 4610101"/>
              <a:gd name="connsiteY48375" fmla="*/ 1400282 h 6557032"/>
              <a:gd name="connsiteX48376" fmla="*/ 1171771 w 4610101"/>
              <a:gd name="connsiteY48376" fmla="*/ 1414004 h 6557032"/>
              <a:gd name="connsiteX48377" fmla="*/ 1169836 w 4610101"/>
              <a:gd name="connsiteY48377" fmla="*/ 1413037 h 6557032"/>
              <a:gd name="connsiteX48378" fmla="*/ 1170255 w 4610101"/>
              <a:gd name="connsiteY48378" fmla="*/ 1419727 h 6557032"/>
              <a:gd name="connsiteX48379" fmla="*/ 1166192 w 4610101"/>
              <a:gd name="connsiteY48379" fmla="*/ 1411215 h 6557032"/>
              <a:gd name="connsiteX48380" fmla="*/ 1171658 w 4610101"/>
              <a:gd name="connsiteY48380" fmla="*/ 1431259 h 6557032"/>
              <a:gd name="connsiteX48381" fmla="*/ 1171027 w 4610101"/>
              <a:gd name="connsiteY48381" fmla="*/ 1422008 h 6557032"/>
              <a:gd name="connsiteX48382" fmla="*/ 1173481 w 4610101"/>
              <a:gd name="connsiteY48382" fmla="*/ 1427615 h 6557032"/>
              <a:gd name="connsiteX48383" fmla="*/ 1184414 w 4610101"/>
              <a:gd name="connsiteY48383" fmla="*/ 1420326 h 6557032"/>
              <a:gd name="connsiteX48384" fmla="*/ 1172376 w 4610101"/>
              <a:gd name="connsiteY48384" fmla="*/ 1414307 h 6557032"/>
              <a:gd name="connsiteX48385" fmla="*/ 1188058 w 4610101"/>
              <a:gd name="connsiteY48385" fmla="*/ 1418504 h 6557032"/>
              <a:gd name="connsiteX48386" fmla="*/ 1187067 w 4610101"/>
              <a:gd name="connsiteY48386" fmla="*/ 1417241 h 6557032"/>
              <a:gd name="connsiteX48387" fmla="*/ 1189880 w 4610101"/>
              <a:gd name="connsiteY48387" fmla="*/ 1420326 h 6557032"/>
              <a:gd name="connsiteX48388" fmla="*/ 1202636 w 4610101"/>
              <a:gd name="connsiteY48388" fmla="*/ 1409393 h 6557032"/>
              <a:gd name="connsiteX48389" fmla="*/ 1204457 w 4610101"/>
              <a:gd name="connsiteY48389" fmla="*/ 1411215 h 6557032"/>
              <a:gd name="connsiteX48390" fmla="*/ 1217213 w 4610101"/>
              <a:gd name="connsiteY48390" fmla="*/ 1405748 h 6557032"/>
              <a:gd name="connsiteX48391" fmla="*/ 1208102 w 4610101"/>
              <a:gd name="connsiteY48391" fmla="*/ 1413037 h 6557032"/>
              <a:gd name="connsiteX48392" fmla="*/ 1193525 w 4610101"/>
              <a:gd name="connsiteY48392" fmla="*/ 1423970 h 6557032"/>
              <a:gd name="connsiteX48393" fmla="*/ 1202636 w 4610101"/>
              <a:gd name="connsiteY48393" fmla="*/ 1416681 h 6557032"/>
              <a:gd name="connsiteX48394" fmla="*/ 1204457 w 4610101"/>
              <a:gd name="connsiteY48394" fmla="*/ 1420326 h 6557032"/>
              <a:gd name="connsiteX48395" fmla="*/ 1211747 w 4610101"/>
              <a:gd name="connsiteY48395" fmla="*/ 1418504 h 6557032"/>
              <a:gd name="connsiteX48396" fmla="*/ 1200814 w 4610101"/>
              <a:gd name="connsiteY48396" fmla="*/ 1422148 h 6557032"/>
              <a:gd name="connsiteX48397" fmla="*/ 1202636 w 4610101"/>
              <a:gd name="connsiteY48397" fmla="*/ 1431259 h 6557032"/>
              <a:gd name="connsiteX48398" fmla="*/ 1188058 w 4610101"/>
              <a:gd name="connsiteY48398" fmla="*/ 1425792 h 6557032"/>
              <a:gd name="connsiteX48399" fmla="*/ 1177125 w 4610101"/>
              <a:gd name="connsiteY48399" fmla="*/ 1433081 h 6557032"/>
              <a:gd name="connsiteX48400" fmla="*/ 1182592 w 4610101"/>
              <a:gd name="connsiteY48400" fmla="*/ 1440370 h 6557032"/>
              <a:gd name="connsiteX48401" fmla="*/ 1178947 w 4610101"/>
              <a:gd name="connsiteY48401" fmla="*/ 1438548 h 6557032"/>
              <a:gd name="connsiteX48402" fmla="*/ 1180769 w 4610101"/>
              <a:gd name="connsiteY48402" fmla="*/ 1447658 h 6557032"/>
              <a:gd name="connsiteX48403" fmla="*/ 1182592 w 4610101"/>
              <a:gd name="connsiteY48403" fmla="*/ 1440370 h 6557032"/>
              <a:gd name="connsiteX48404" fmla="*/ 1197169 w 4610101"/>
              <a:gd name="connsiteY48404" fmla="*/ 1433081 h 6557032"/>
              <a:gd name="connsiteX48405" fmla="*/ 1195346 w 4610101"/>
              <a:gd name="connsiteY48405" fmla="*/ 1429437 h 6557032"/>
              <a:gd name="connsiteX48406" fmla="*/ 1198991 w 4610101"/>
              <a:gd name="connsiteY48406" fmla="*/ 1429437 h 6557032"/>
              <a:gd name="connsiteX48407" fmla="*/ 1202636 w 4610101"/>
              <a:gd name="connsiteY48407" fmla="*/ 1434903 h 6557032"/>
              <a:gd name="connsiteX48408" fmla="*/ 1195346 w 4610101"/>
              <a:gd name="connsiteY48408" fmla="*/ 1440370 h 6557032"/>
              <a:gd name="connsiteX48409" fmla="*/ 1198991 w 4610101"/>
              <a:gd name="connsiteY48409" fmla="*/ 1442192 h 6557032"/>
              <a:gd name="connsiteX48410" fmla="*/ 1186236 w 4610101"/>
              <a:gd name="connsiteY48410" fmla="*/ 1442192 h 6557032"/>
              <a:gd name="connsiteX48411" fmla="*/ 1197169 w 4610101"/>
              <a:gd name="connsiteY48411" fmla="*/ 1445836 h 6557032"/>
              <a:gd name="connsiteX48412" fmla="*/ 1209925 w 4610101"/>
              <a:gd name="connsiteY48412" fmla="*/ 1456769 h 6557032"/>
              <a:gd name="connsiteX48413" fmla="*/ 1209925 w 4610101"/>
              <a:gd name="connsiteY48413" fmla="*/ 1451303 h 6557032"/>
              <a:gd name="connsiteX48414" fmla="*/ 1211747 w 4610101"/>
              <a:gd name="connsiteY48414" fmla="*/ 1458592 h 6557032"/>
              <a:gd name="connsiteX48415" fmla="*/ 1213568 w 4610101"/>
              <a:gd name="connsiteY48415" fmla="*/ 1458592 h 6557032"/>
              <a:gd name="connsiteX48416" fmla="*/ 1215390 w 4610101"/>
              <a:gd name="connsiteY48416" fmla="*/ 1462236 h 6557032"/>
              <a:gd name="connsiteX48417" fmla="*/ 1213568 w 4610101"/>
              <a:gd name="connsiteY48417" fmla="*/ 1471347 h 6557032"/>
              <a:gd name="connsiteX48418" fmla="*/ 1213568 w 4610101"/>
              <a:gd name="connsiteY48418" fmla="*/ 1476813 h 6557032"/>
              <a:gd name="connsiteX48419" fmla="*/ 1215618 w 4610101"/>
              <a:gd name="connsiteY48419" fmla="*/ 1474080 h 6557032"/>
              <a:gd name="connsiteX48420" fmla="*/ 1214769 w 4610101"/>
              <a:gd name="connsiteY48420" fmla="*/ 1472947 h 6557032"/>
              <a:gd name="connsiteX48421" fmla="*/ 1217213 w 4610101"/>
              <a:gd name="connsiteY48421" fmla="*/ 1473169 h 6557032"/>
              <a:gd name="connsiteX48422" fmla="*/ 1220858 w 4610101"/>
              <a:gd name="connsiteY48422" fmla="*/ 1482280 h 6557032"/>
              <a:gd name="connsiteX48423" fmla="*/ 1209925 w 4610101"/>
              <a:gd name="connsiteY48423" fmla="*/ 1493213 h 6557032"/>
              <a:gd name="connsiteX48424" fmla="*/ 1224501 w 4610101"/>
              <a:gd name="connsiteY48424" fmla="*/ 1493213 h 6557032"/>
              <a:gd name="connsiteX48425" fmla="*/ 1224501 w 4610101"/>
              <a:gd name="connsiteY48425" fmla="*/ 1498679 h 6557032"/>
              <a:gd name="connsiteX48426" fmla="*/ 1220858 w 4610101"/>
              <a:gd name="connsiteY48426" fmla="*/ 1498679 h 6557032"/>
              <a:gd name="connsiteX48427" fmla="*/ 1228146 w 4610101"/>
              <a:gd name="connsiteY48427" fmla="*/ 1502324 h 6557032"/>
              <a:gd name="connsiteX48428" fmla="*/ 1215390 w 4610101"/>
              <a:gd name="connsiteY48428" fmla="*/ 1498679 h 6557032"/>
              <a:gd name="connsiteX48429" fmla="*/ 1231790 w 4610101"/>
              <a:gd name="connsiteY48429" fmla="*/ 1509612 h 6557032"/>
              <a:gd name="connsiteX48430" fmla="*/ 1215390 w 4610101"/>
              <a:gd name="connsiteY48430" fmla="*/ 1502324 h 6557032"/>
              <a:gd name="connsiteX48431" fmla="*/ 1219036 w 4610101"/>
              <a:gd name="connsiteY48431" fmla="*/ 1507790 h 6557032"/>
              <a:gd name="connsiteX48432" fmla="*/ 1219036 w 4610101"/>
              <a:gd name="connsiteY48432" fmla="*/ 1504146 h 6557032"/>
              <a:gd name="connsiteX48433" fmla="*/ 1231790 w 4610101"/>
              <a:gd name="connsiteY48433" fmla="*/ 1511434 h 6557032"/>
              <a:gd name="connsiteX48434" fmla="*/ 1220858 w 4610101"/>
              <a:gd name="connsiteY48434" fmla="*/ 1511434 h 6557032"/>
              <a:gd name="connsiteX48435" fmla="*/ 1226323 w 4610101"/>
              <a:gd name="connsiteY48435" fmla="*/ 1527834 h 6557032"/>
              <a:gd name="connsiteX48436" fmla="*/ 1233612 w 4610101"/>
              <a:gd name="connsiteY48436" fmla="*/ 1526012 h 6557032"/>
              <a:gd name="connsiteX48437" fmla="*/ 1224501 w 4610101"/>
              <a:gd name="connsiteY48437" fmla="*/ 1529656 h 6557032"/>
              <a:gd name="connsiteX48438" fmla="*/ 1222679 w 4610101"/>
              <a:gd name="connsiteY48438" fmla="*/ 1535123 h 6557032"/>
              <a:gd name="connsiteX48439" fmla="*/ 1244545 w 4610101"/>
              <a:gd name="connsiteY48439" fmla="*/ 1569744 h 6557032"/>
              <a:gd name="connsiteX48440" fmla="*/ 1251834 w 4610101"/>
              <a:gd name="connsiteY48440" fmla="*/ 1560633 h 6557032"/>
              <a:gd name="connsiteX48441" fmla="*/ 1251663 w 4610101"/>
              <a:gd name="connsiteY48441" fmla="*/ 1563544 h 6557032"/>
              <a:gd name="connsiteX48442" fmla="*/ 1250012 w 4610101"/>
              <a:gd name="connsiteY48442" fmla="*/ 1564278 h 6557032"/>
              <a:gd name="connsiteX48443" fmla="*/ 1251154 w 4610101"/>
              <a:gd name="connsiteY48443" fmla="*/ 1565991 h 6557032"/>
              <a:gd name="connsiteX48444" fmla="*/ 1250012 w 4610101"/>
              <a:gd name="connsiteY48444" fmla="*/ 1569744 h 6557032"/>
              <a:gd name="connsiteX48445" fmla="*/ 1253656 w 4610101"/>
              <a:gd name="connsiteY48445" fmla="*/ 1578855 h 6557032"/>
              <a:gd name="connsiteX48446" fmla="*/ 1259123 w 4610101"/>
              <a:gd name="connsiteY48446" fmla="*/ 1578855 h 6557032"/>
              <a:gd name="connsiteX48447" fmla="*/ 1264589 w 4610101"/>
              <a:gd name="connsiteY48447" fmla="*/ 1586144 h 6557032"/>
              <a:gd name="connsiteX48448" fmla="*/ 1266411 w 4610101"/>
              <a:gd name="connsiteY48448" fmla="*/ 1582499 h 6557032"/>
              <a:gd name="connsiteX48449" fmla="*/ 1268233 w 4610101"/>
              <a:gd name="connsiteY48449" fmla="*/ 1586144 h 6557032"/>
              <a:gd name="connsiteX48450" fmla="*/ 1275522 w 4610101"/>
              <a:gd name="connsiteY48450" fmla="*/ 1586144 h 6557032"/>
              <a:gd name="connsiteX48451" fmla="*/ 1273700 w 4610101"/>
              <a:gd name="connsiteY48451" fmla="*/ 1587966 h 6557032"/>
              <a:gd name="connsiteX48452" fmla="*/ 1297388 w 4610101"/>
              <a:gd name="connsiteY48452" fmla="*/ 1578855 h 6557032"/>
              <a:gd name="connsiteX48453" fmla="*/ 1321077 w 4610101"/>
              <a:gd name="connsiteY48453" fmla="*/ 1577033 h 6557032"/>
              <a:gd name="connsiteX48454" fmla="*/ 1304677 w 4610101"/>
              <a:gd name="connsiteY48454" fmla="*/ 1564278 h 6557032"/>
              <a:gd name="connsiteX48455" fmla="*/ 1297388 w 4610101"/>
              <a:gd name="connsiteY48455" fmla="*/ 1578855 h 6557032"/>
              <a:gd name="connsiteX48456" fmla="*/ 1280989 w 4610101"/>
              <a:gd name="connsiteY48456" fmla="*/ 1571566 h 6557032"/>
              <a:gd name="connsiteX48457" fmla="*/ 1288277 w 4610101"/>
              <a:gd name="connsiteY48457" fmla="*/ 1556989 h 6557032"/>
              <a:gd name="connsiteX48458" fmla="*/ 1266411 w 4610101"/>
              <a:gd name="connsiteY48458" fmla="*/ 1556989 h 6557032"/>
              <a:gd name="connsiteX48459" fmla="*/ 1311966 w 4610101"/>
              <a:gd name="connsiteY48459" fmla="*/ 1518723 h 6557032"/>
              <a:gd name="connsiteX48460" fmla="*/ 1332009 w 4610101"/>
              <a:gd name="connsiteY48460" fmla="*/ 1518723 h 6557032"/>
              <a:gd name="connsiteX48461" fmla="*/ 1332009 w 4610101"/>
              <a:gd name="connsiteY48461" fmla="*/ 1504146 h 6557032"/>
              <a:gd name="connsiteX48462" fmla="*/ 1353876 w 4610101"/>
              <a:gd name="connsiteY48462" fmla="*/ 1504146 h 6557032"/>
              <a:gd name="connsiteX48463" fmla="*/ 1346587 w 4610101"/>
              <a:gd name="connsiteY48463" fmla="*/ 1518723 h 6557032"/>
              <a:gd name="connsiteX48464" fmla="*/ 1368453 w 4610101"/>
              <a:gd name="connsiteY48464" fmla="*/ 1518723 h 6557032"/>
              <a:gd name="connsiteX48465" fmla="*/ 1368453 w 4610101"/>
              <a:gd name="connsiteY48465" fmla="*/ 1526012 h 6557032"/>
              <a:gd name="connsiteX48466" fmla="*/ 1346587 w 4610101"/>
              <a:gd name="connsiteY48466" fmla="*/ 1526012 h 6557032"/>
              <a:gd name="connsiteX48467" fmla="*/ 1346587 w 4610101"/>
              <a:gd name="connsiteY48467" fmla="*/ 1531478 h 6557032"/>
              <a:gd name="connsiteX48468" fmla="*/ 1375743 w 4610101"/>
              <a:gd name="connsiteY48468" fmla="*/ 1540589 h 6557032"/>
              <a:gd name="connsiteX48469" fmla="*/ 1390319 w 4610101"/>
              <a:gd name="connsiteY48469" fmla="*/ 1518723 h 6557032"/>
              <a:gd name="connsiteX48470" fmla="*/ 1383030 w 4610101"/>
              <a:gd name="connsiteY48470" fmla="*/ 1495035 h 6557032"/>
              <a:gd name="connsiteX48471" fmla="*/ 1353876 w 4610101"/>
              <a:gd name="connsiteY48471" fmla="*/ 1504146 h 6557032"/>
              <a:gd name="connsiteX48472" fmla="*/ 1346587 w 4610101"/>
              <a:gd name="connsiteY48472" fmla="*/ 1471347 h 6557032"/>
              <a:gd name="connsiteX48473" fmla="*/ 1383030 w 4610101"/>
              <a:gd name="connsiteY48473" fmla="*/ 1487746 h 6557032"/>
              <a:gd name="connsiteX48474" fmla="*/ 1404896 w 4610101"/>
              <a:gd name="connsiteY48474" fmla="*/ 1473169 h 6557032"/>
              <a:gd name="connsiteX48475" fmla="*/ 1426763 w 4610101"/>
              <a:gd name="connsiteY48475" fmla="*/ 1465880 h 6557032"/>
              <a:gd name="connsiteX48476" fmla="*/ 1434051 w 4610101"/>
              <a:gd name="connsiteY48476" fmla="*/ 1434903 h 6557032"/>
              <a:gd name="connsiteX48477" fmla="*/ 1448629 w 4610101"/>
              <a:gd name="connsiteY48477" fmla="*/ 1420326 h 6557032"/>
              <a:gd name="connsiteX48478" fmla="*/ 1448629 w 4610101"/>
              <a:gd name="connsiteY48478" fmla="*/ 1451303 h 6557032"/>
              <a:gd name="connsiteX48479" fmla="*/ 1463206 w 4610101"/>
              <a:gd name="connsiteY48479" fmla="*/ 1451303 h 6557032"/>
              <a:gd name="connsiteX48480" fmla="*/ 1477784 w 4610101"/>
              <a:gd name="connsiteY48480" fmla="*/ 1465880 h 6557032"/>
              <a:gd name="connsiteX48481" fmla="*/ 1477784 w 4610101"/>
              <a:gd name="connsiteY48481" fmla="*/ 1451303 h 6557032"/>
              <a:gd name="connsiteX48482" fmla="*/ 1463206 w 4610101"/>
              <a:gd name="connsiteY48482" fmla="*/ 1451303 h 6557032"/>
              <a:gd name="connsiteX48483" fmla="*/ 1468673 w 4610101"/>
              <a:gd name="connsiteY48483" fmla="*/ 1444014 h 6557032"/>
              <a:gd name="connsiteX48484" fmla="*/ 1461384 w 4610101"/>
              <a:gd name="connsiteY48484" fmla="*/ 1414859 h 6557032"/>
              <a:gd name="connsiteX48485" fmla="*/ 1448629 w 4610101"/>
              <a:gd name="connsiteY48485" fmla="*/ 1398460 h 6557032"/>
              <a:gd name="connsiteX48486" fmla="*/ 1486895 w 4610101"/>
              <a:gd name="connsiteY48486" fmla="*/ 1398460 h 6557032"/>
              <a:gd name="connsiteX48487" fmla="*/ 1479606 w 4610101"/>
              <a:gd name="connsiteY48487" fmla="*/ 1383882 h 6557032"/>
              <a:gd name="connsiteX48488" fmla="*/ 1510583 w 4610101"/>
              <a:gd name="connsiteY48488" fmla="*/ 1369305 h 6557032"/>
              <a:gd name="connsiteX48489" fmla="*/ 1525160 w 4610101"/>
              <a:gd name="connsiteY48489" fmla="*/ 1369305 h 6557032"/>
              <a:gd name="connsiteX48490" fmla="*/ 1530626 w 4610101"/>
              <a:gd name="connsiteY48490" fmla="*/ 1363838 h 6557032"/>
              <a:gd name="connsiteX48491" fmla="*/ 1525160 w 4610101"/>
              <a:gd name="connsiteY48491" fmla="*/ 1354728 h 6557032"/>
              <a:gd name="connsiteX48492" fmla="*/ 1539737 w 4610101"/>
              <a:gd name="connsiteY48492" fmla="*/ 1354728 h 6557032"/>
              <a:gd name="connsiteX48493" fmla="*/ 1539737 w 4610101"/>
              <a:gd name="connsiteY48493" fmla="*/ 1340150 h 6557032"/>
              <a:gd name="connsiteX48494" fmla="*/ 1548848 w 4610101"/>
              <a:gd name="connsiteY48494" fmla="*/ 1362016 h 6557032"/>
              <a:gd name="connsiteX48495" fmla="*/ 1570714 w 4610101"/>
              <a:gd name="connsiteY48495" fmla="*/ 1385705 h 6557032"/>
              <a:gd name="connsiteX48496" fmla="*/ 1592580 w 4610101"/>
              <a:gd name="connsiteY48496" fmla="*/ 1385705 h 6557032"/>
              <a:gd name="connsiteX48497" fmla="*/ 1623558 w 4610101"/>
              <a:gd name="connsiteY48497" fmla="*/ 1371127 h 6557032"/>
              <a:gd name="connsiteX48498" fmla="*/ 1623558 w 4610101"/>
              <a:gd name="connsiteY48498" fmla="*/ 1385705 h 6557032"/>
              <a:gd name="connsiteX48499" fmla="*/ 1630846 w 4610101"/>
              <a:gd name="connsiteY48499" fmla="*/ 1371127 h 6557032"/>
              <a:gd name="connsiteX48500" fmla="*/ 1652713 w 4610101"/>
              <a:gd name="connsiteY48500" fmla="*/ 1362016 h 6557032"/>
              <a:gd name="connsiteX48501" fmla="*/ 1667289 w 4610101"/>
              <a:gd name="connsiteY48501" fmla="*/ 1360194 h 6557032"/>
              <a:gd name="connsiteX48502" fmla="*/ 1698266 w 4610101"/>
              <a:gd name="connsiteY48502" fmla="*/ 1352905 h 6557032"/>
              <a:gd name="connsiteX48503" fmla="*/ 1690978 w 4610101"/>
              <a:gd name="connsiteY48503" fmla="*/ 1338328 h 6557032"/>
              <a:gd name="connsiteX48504" fmla="*/ 1707377 w 4610101"/>
              <a:gd name="connsiteY48504" fmla="*/ 1329217 h 6557032"/>
              <a:gd name="connsiteX48505" fmla="*/ 1690978 w 4610101"/>
              <a:gd name="connsiteY48505" fmla="*/ 1307351 h 6557032"/>
              <a:gd name="connsiteX48506" fmla="*/ 1714666 w 4610101"/>
              <a:gd name="connsiteY48506" fmla="*/ 1307351 h 6557032"/>
              <a:gd name="connsiteX48507" fmla="*/ 1705555 w 4610101"/>
              <a:gd name="connsiteY48507" fmla="*/ 1278196 h 6557032"/>
              <a:gd name="connsiteX48508" fmla="*/ 1729243 w 4610101"/>
              <a:gd name="connsiteY48508" fmla="*/ 1300062 h 6557032"/>
              <a:gd name="connsiteX48509" fmla="*/ 1741999 w 4610101"/>
              <a:gd name="connsiteY48509" fmla="*/ 1316462 h 6557032"/>
              <a:gd name="connsiteX48510" fmla="*/ 1703733 w 4610101"/>
              <a:gd name="connsiteY48510" fmla="*/ 1347439 h 6557032"/>
              <a:gd name="connsiteX48511" fmla="*/ 1711022 w 4610101"/>
              <a:gd name="connsiteY48511" fmla="*/ 1362016 h 6557032"/>
              <a:gd name="connsiteX48512" fmla="*/ 1689157 w 4610101"/>
              <a:gd name="connsiteY48512" fmla="*/ 1362016 h 6557032"/>
              <a:gd name="connsiteX48513" fmla="*/ 1720133 w 4610101"/>
              <a:gd name="connsiteY48513" fmla="*/ 1376594 h 6557032"/>
              <a:gd name="connsiteX48514" fmla="*/ 1721955 w 4610101"/>
              <a:gd name="connsiteY48514" fmla="*/ 1354728 h 6557032"/>
              <a:gd name="connsiteX48515" fmla="*/ 1734710 w 4610101"/>
              <a:gd name="connsiteY48515" fmla="*/ 1338328 h 6557032"/>
              <a:gd name="connsiteX48516" fmla="*/ 1749287 w 4610101"/>
              <a:gd name="connsiteY48516" fmla="*/ 1338328 h 6557032"/>
              <a:gd name="connsiteX48517" fmla="*/ 1772976 w 4610101"/>
              <a:gd name="connsiteY48517" fmla="*/ 1338328 h 6557032"/>
              <a:gd name="connsiteX48518" fmla="*/ 1765687 w 4610101"/>
              <a:gd name="connsiteY48518" fmla="*/ 1325573 h 6557032"/>
              <a:gd name="connsiteX48519" fmla="*/ 1778442 w 4610101"/>
              <a:gd name="connsiteY48519" fmla="*/ 1309173 h 6557032"/>
              <a:gd name="connsiteX48520" fmla="*/ 1763865 w 4610101"/>
              <a:gd name="connsiteY48520" fmla="*/ 1300062 h 6557032"/>
              <a:gd name="connsiteX48521" fmla="*/ 1771154 w 4610101"/>
              <a:gd name="connsiteY48521" fmla="*/ 1283663 h 6557032"/>
              <a:gd name="connsiteX48522" fmla="*/ 1785731 w 4610101"/>
              <a:gd name="connsiteY48522" fmla="*/ 1290951 h 6557032"/>
              <a:gd name="connsiteX48523" fmla="*/ 1785731 w 4610101"/>
              <a:gd name="connsiteY48523" fmla="*/ 1281841 h 6557032"/>
              <a:gd name="connsiteX48524" fmla="*/ 1780265 w 4610101"/>
              <a:gd name="connsiteY48524" fmla="*/ 1281841 h 6557032"/>
              <a:gd name="connsiteX48525" fmla="*/ 1785731 w 4610101"/>
              <a:gd name="connsiteY48525" fmla="*/ 1276374 h 6557032"/>
              <a:gd name="connsiteX48526" fmla="*/ 1785731 w 4610101"/>
              <a:gd name="connsiteY48526" fmla="*/ 1270996 h 6557032"/>
              <a:gd name="connsiteX48527" fmla="*/ 1763864 w 4610101"/>
              <a:gd name="connsiteY48527" fmla="*/ 1270996 h 6557032"/>
              <a:gd name="connsiteX48528" fmla="*/ 1778070 w 4610101"/>
              <a:gd name="connsiteY48528" fmla="*/ 1255017 h 6557032"/>
              <a:gd name="connsiteX48529" fmla="*/ 1729243 w 4610101"/>
              <a:gd name="connsiteY48529" fmla="*/ 1179799 h 6557032"/>
              <a:gd name="connsiteX48530" fmla="*/ 1729243 w 4610101"/>
              <a:gd name="connsiteY48530" fmla="*/ 1172510 h 6557032"/>
              <a:gd name="connsiteX48531" fmla="*/ 1738354 w 4610101"/>
              <a:gd name="connsiteY48531" fmla="*/ 1179799 h 6557032"/>
              <a:gd name="connsiteX48532" fmla="*/ 1796664 w 4610101"/>
              <a:gd name="connsiteY48532" fmla="*/ 1267263 h 6557032"/>
              <a:gd name="connsiteX48533" fmla="*/ 1793020 w 4610101"/>
              <a:gd name="connsiteY48533" fmla="*/ 1269085 h 6557032"/>
              <a:gd name="connsiteX48534" fmla="*/ 1800991 w 4610101"/>
              <a:gd name="connsiteY48534" fmla="*/ 1282979 h 6557032"/>
              <a:gd name="connsiteX48535" fmla="*/ 1811901 w 4610101"/>
              <a:gd name="connsiteY48535" fmla="*/ 1291831 h 6557032"/>
              <a:gd name="connsiteX48536" fmla="*/ 1816709 w 4610101"/>
              <a:gd name="connsiteY48536" fmla="*/ 1298240 h 6557032"/>
              <a:gd name="connsiteX48537" fmla="*/ 1834929 w 4610101"/>
              <a:gd name="connsiteY48537" fmla="*/ 1289129 h 6557032"/>
              <a:gd name="connsiteX48538" fmla="*/ 1842218 w 4610101"/>
              <a:gd name="connsiteY48538" fmla="*/ 1289129 h 6557032"/>
              <a:gd name="connsiteX48539" fmla="*/ 1845864 w 4610101"/>
              <a:gd name="connsiteY48539" fmla="*/ 1289129 h 6557032"/>
              <a:gd name="connsiteX48540" fmla="*/ 1836753 w 4610101"/>
              <a:gd name="connsiteY48540" fmla="*/ 1281841 h 6557032"/>
              <a:gd name="connsiteX48541" fmla="*/ 1847685 w 4610101"/>
              <a:gd name="connsiteY48541" fmla="*/ 1283663 h 6557032"/>
              <a:gd name="connsiteX48542" fmla="*/ 1831285 w 4610101"/>
              <a:gd name="connsiteY48542" fmla="*/ 1269085 h 6557032"/>
              <a:gd name="connsiteX48543" fmla="*/ 1842218 w 4610101"/>
              <a:gd name="connsiteY48543" fmla="*/ 1274552 h 6557032"/>
              <a:gd name="connsiteX48544" fmla="*/ 1823996 w 4610101"/>
              <a:gd name="connsiteY48544" fmla="*/ 1259975 h 6557032"/>
              <a:gd name="connsiteX48545" fmla="*/ 1825820 w 4610101"/>
              <a:gd name="connsiteY48545" fmla="*/ 1265441 h 6557032"/>
              <a:gd name="connsiteX48546" fmla="*/ 1805775 w 4610101"/>
              <a:gd name="connsiteY48546" fmla="*/ 1258152 h 6557032"/>
              <a:gd name="connsiteX48547" fmla="*/ 1818531 w 4610101"/>
              <a:gd name="connsiteY48547" fmla="*/ 1256330 h 6557032"/>
              <a:gd name="connsiteX48548" fmla="*/ 1827642 w 4610101"/>
              <a:gd name="connsiteY48548" fmla="*/ 1259975 h 6557032"/>
              <a:gd name="connsiteX48549" fmla="*/ 1803953 w 4610101"/>
              <a:gd name="connsiteY48549" fmla="*/ 1221709 h 6557032"/>
              <a:gd name="connsiteX48550" fmla="*/ 1807598 w 4610101"/>
              <a:gd name="connsiteY48550" fmla="*/ 1225353 h 6557032"/>
              <a:gd name="connsiteX48551" fmla="*/ 1807598 w 4610101"/>
              <a:gd name="connsiteY48551" fmla="*/ 1221709 h 6557032"/>
              <a:gd name="connsiteX48552" fmla="*/ 1818531 w 4610101"/>
              <a:gd name="connsiteY48552" fmla="*/ 1236286 h 6557032"/>
              <a:gd name="connsiteX48553" fmla="*/ 1811241 w 4610101"/>
              <a:gd name="connsiteY48553" fmla="*/ 1214420 h 6557032"/>
              <a:gd name="connsiteX48554" fmla="*/ 1823996 w 4610101"/>
              <a:gd name="connsiteY48554" fmla="*/ 1238108 h 6557032"/>
              <a:gd name="connsiteX48555" fmla="*/ 1818531 w 4610101"/>
              <a:gd name="connsiteY48555" fmla="*/ 1208954 h 6557032"/>
              <a:gd name="connsiteX48556" fmla="*/ 1827642 w 4610101"/>
              <a:gd name="connsiteY48556" fmla="*/ 1216242 h 6557032"/>
              <a:gd name="connsiteX48557" fmla="*/ 1825820 w 4610101"/>
              <a:gd name="connsiteY48557" fmla="*/ 1199843 h 6557032"/>
              <a:gd name="connsiteX48558" fmla="*/ 1833107 w 4610101"/>
              <a:gd name="connsiteY48558" fmla="*/ 1216242 h 6557032"/>
              <a:gd name="connsiteX48559" fmla="*/ 1829463 w 4610101"/>
              <a:gd name="connsiteY48559" fmla="*/ 1214420 h 6557032"/>
              <a:gd name="connsiteX48560" fmla="*/ 1853151 w 4610101"/>
              <a:gd name="connsiteY48560" fmla="*/ 1281841 h 6557032"/>
              <a:gd name="connsiteX48561" fmla="*/ 1853151 w 4610101"/>
              <a:gd name="connsiteY48561" fmla="*/ 1261797 h 6557032"/>
              <a:gd name="connsiteX48562" fmla="*/ 1854973 w 4610101"/>
              <a:gd name="connsiteY48562" fmla="*/ 1263619 h 6557032"/>
              <a:gd name="connsiteX48563" fmla="*/ 1854973 w 4610101"/>
              <a:gd name="connsiteY48563" fmla="*/ 1256330 h 6557032"/>
              <a:gd name="connsiteX48564" fmla="*/ 1862262 w 4610101"/>
              <a:gd name="connsiteY48564" fmla="*/ 1283663 h 6557032"/>
              <a:gd name="connsiteX48565" fmla="*/ 1875017 w 4610101"/>
              <a:gd name="connsiteY48565" fmla="*/ 1263619 h 6557032"/>
              <a:gd name="connsiteX48566" fmla="*/ 1860440 w 4610101"/>
              <a:gd name="connsiteY48566" fmla="*/ 1263619 h 6557032"/>
              <a:gd name="connsiteX48567" fmla="*/ 1860440 w 4610101"/>
              <a:gd name="connsiteY48567" fmla="*/ 1234464 h 6557032"/>
              <a:gd name="connsiteX48568" fmla="*/ 1869795 w 4610101"/>
              <a:gd name="connsiteY48568" fmla="*/ 1228617 h 6557032"/>
              <a:gd name="connsiteX48569" fmla="*/ 1871373 w 4610101"/>
              <a:gd name="connsiteY48569" fmla="*/ 1236286 h 6557032"/>
              <a:gd name="connsiteX48570" fmla="*/ 1878662 w 4610101"/>
              <a:gd name="connsiteY48570" fmla="*/ 1238108 h 6557032"/>
              <a:gd name="connsiteX48571" fmla="*/ 1878662 w 4610101"/>
              <a:gd name="connsiteY48571" fmla="*/ 1236286 h 6557032"/>
              <a:gd name="connsiteX48572" fmla="*/ 1875017 w 4610101"/>
              <a:gd name="connsiteY48572" fmla="*/ 1232642 h 6557032"/>
              <a:gd name="connsiteX48573" fmla="*/ 1882306 w 4610101"/>
              <a:gd name="connsiteY48573" fmla="*/ 1236286 h 6557032"/>
              <a:gd name="connsiteX48574" fmla="*/ 1893239 w 4610101"/>
              <a:gd name="connsiteY48574" fmla="*/ 1239931 h 6557032"/>
              <a:gd name="connsiteX48575" fmla="*/ 1900528 w 4610101"/>
              <a:gd name="connsiteY48575" fmla="*/ 1270908 h 6557032"/>
              <a:gd name="connsiteX48576" fmla="*/ 1898706 w 4610101"/>
              <a:gd name="connsiteY48576" fmla="*/ 1270908 h 6557032"/>
              <a:gd name="connsiteX48577" fmla="*/ 1907816 w 4610101"/>
              <a:gd name="connsiteY48577" fmla="*/ 1272730 h 6557032"/>
              <a:gd name="connsiteX48578" fmla="*/ 1900528 w 4610101"/>
              <a:gd name="connsiteY48578" fmla="*/ 1274552 h 6557032"/>
              <a:gd name="connsiteX48579" fmla="*/ 1898706 w 4610101"/>
              <a:gd name="connsiteY48579" fmla="*/ 1280018 h 6557032"/>
              <a:gd name="connsiteX48580" fmla="*/ 1902350 w 4610101"/>
              <a:gd name="connsiteY48580" fmla="*/ 1283663 h 6557032"/>
              <a:gd name="connsiteX48581" fmla="*/ 1907816 w 4610101"/>
              <a:gd name="connsiteY48581" fmla="*/ 1280018 h 6557032"/>
              <a:gd name="connsiteX48582" fmla="*/ 1907816 w 4610101"/>
              <a:gd name="connsiteY48582" fmla="*/ 1281841 h 6557032"/>
              <a:gd name="connsiteX48583" fmla="*/ 1913283 w 4610101"/>
              <a:gd name="connsiteY48583" fmla="*/ 1272730 h 6557032"/>
              <a:gd name="connsiteX48584" fmla="*/ 1916927 w 4610101"/>
              <a:gd name="connsiteY48584" fmla="*/ 1278196 h 6557032"/>
              <a:gd name="connsiteX48585" fmla="*/ 1935149 w 4610101"/>
              <a:gd name="connsiteY48585" fmla="*/ 1283663 h 6557032"/>
              <a:gd name="connsiteX48586" fmla="*/ 1918750 w 4610101"/>
              <a:gd name="connsiteY48586" fmla="*/ 1256330 h 6557032"/>
              <a:gd name="connsiteX48587" fmla="*/ 1907816 w 4610101"/>
              <a:gd name="connsiteY48587" fmla="*/ 1258152 h 6557032"/>
              <a:gd name="connsiteX48588" fmla="*/ 1907816 w 4610101"/>
              <a:gd name="connsiteY48588" fmla="*/ 1243575 h 6557032"/>
              <a:gd name="connsiteX48589" fmla="*/ 1887773 w 4610101"/>
              <a:gd name="connsiteY48589" fmla="*/ 1216242 h 6557032"/>
              <a:gd name="connsiteX48590" fmla="*/ 1895061 w 4610101"/>
              <a:gd name="connsiteY48590" fmla="*/ 1223531 h 6557032"/>
              <a:gd name="connsiteX48591" fmla="*/ 1876099 w 4610101"/>
              <a:gd name="connsiteY48591" fmla="*/ 1179457 h 6557032"/>
              <a:gd name="connsiteX48592" fmla="*/ 1863809 w 4610101"/>
              <a:gd name="connsiteY48592" fmla="*/ 1171668 h 6557032"/>
              <a:gd name="connsiteX48593" fmla="*/ 1862946 w 4610101"/>
              <a:gd name="connsiteY48593" fmla="*/ 1166816 h 6557032"/>
              <a:gd name="connsiteX48594" fmla="*/ 1869551 w 4610101"/>
              <a:gd name="connsiteY48594" fmla="*/ 1154288 h 6557032"/>
              <a:gd name="connsiteX48595" fmla="*/ 1875017 w 4610101"/>
              <a:gd name="connsiteY48595" fmla="*/ 1157933 h 6557032"/>
              <a:gd name="connsiteX48596" fmla="*/ 1872983 w 4610101"/>
              <a:gd name="connsiteY48596" fmla="*/ 1145516 h 6557032"/>
              <a:gd name="connsiteX48597" fmla="*/ 1875017 w 4610101"/>
              <a:gd name="connsiteY48597" fmla="*/ 1145178 h 6557032"/>
              <a:gd name="connsiteX48598" fmla="*/ 1872144 w 4610101"/>
              <a:gd name="connsiteY48598" fmla="*/ 1140388 h 6557032"/>
              <a:gd name="connsiteX48599" fmla="*/ 1870690 w 4610101"/>
              <a:gd name="connsiteY48599" fmla="*/ 1131511 h 6557032"/>
              <a:gd name="connsiteX48600" fmla="*/ 1873195 w 4610101"/>
              <a:gd name="connsiteY48600" fmla="*/ 1105090 h 6557032"/>
              <a:gd name="connsiteX48601" fmla="*/ 1873195 w 4610101"/>
              <a:gd name="connsiteY48601" fmla="*/ 1116023 h 6557032"/>
              <a:gd name="connsiteX48602" fmla="*/ 1880484 w 4610101"/>
              <a:gd name="connsiteY48602" fmla="*/ 1117845 h 6557032"/>
              <a:gd name="connsiteX48603" fmla="*/ 1882306 w 4610101"/>
              <a:gd name="connsiteY48603" fmla="*/ 1134245 h 6557032"/>
              <a:gd name="connsiteX48604" fmla="*/ 1907816 w 4610101"/>
              <a:gd name="connsiteY48604" fmla="*/ 1210776 h 6557032"/>
              <a:gd name="connsiteX48605" fmla="*/ 1913283 w 4610101"/>
              <a:gd name="connsiteY48605" fmla="*/ 1201665 h 6557032"/>
              <a:gd name="connsiteX48606" fmla="*/ 1909639 w 4610101"/>
              <a:gd name="connsiteY48606" fmla="*/ 1223531 h 6557032"/>
              <a:gd name="connsiteX48607" fmla="*/ 1920572 w 4610101"/>
              <a:gd name="connsiteY48607" fmla="*/ 1225353 h 6557032"/>
              <a:gd name="connsiteX48608" fmla="*/ 1924216 w 4610101"/>
              <a:gd name="connsiteY48608" fmla="*/ 1239931 h 6557032"/>
              <a:gd name="connsiteX48609" fmla="*/ 1929683 w 4610101"/>
              <a:gd name="connsiteY48609" fmla="*/ 1245397 h 6557032"/>
              <a:gd name="connsiteX48610" fmla="*/ 1927861 w 4610101"/>
              <a:gd name="connsiteY48610" fmla="*/ 1245397 h 6557032"/>
              <a:gd name="connsiteX48611" fmla="*/ 1935149 w 4610101"/>
              <a:gd name="connsiteY48611" fmla="*/ 1256330 h 6557032"/>
              <a:gd name="connsiteX48612" fmla="*/ 1942438 w 4610101"/>
              <a:gd name="connsiteY48612" fmla="*/ 1263619 h 6557032"/>
              <a:gd name="connsiteX48613" fmla="*/ 1946083 w 4610101"/>
              <a:gd name="connsiteY48613" fmla="*/ 1274552 h 6557032"/>
              <a:gd name="connsiteX48614" fmla="*/ 1951549 w 4610101"/>
              <a:gd name="connsiteY48614" fmla="*/ 1276374 h 6557032"/>
              <a:gd name="connsiteX48615" fmla="*/ 1946083 w 4610101"/>
              <a:gd name="connsiteY48615" fmla="*/ 1263619 h 6557032"/>
              <a:gd name="connsiteX48616" fmla="*/ 1940616 w 4610101"/>
              <a:gd name="connsiteY48616" fmla="*/ 1252686 h 6557032"/>
              <a:gd name="connsiteX48617" fmla="*/ 1942438 w 4610101"/>
              <a:gd name="connsiteY48617" fmla="*/ 1250864 h 6557032"/>
              <a:gd name="connsiteX48618" fmla="*/ 1935149 w 4610101"/>
              <a:gd name="connsiteY48618" fmla="*/ 1241753 h 6557032"/>
              <a:gd name="connsiteX48619" fmla="*/ 1905994 w 4610101"/>
              <a:gd name="connsiteY48619" fmla="*/ 1168866 h 6557032"/>
              <a:gd name="connsiteX48620" fmla="*/ 1916927 w 4610101"/>
              <a:gd name="connsiteY48620" fmla="*/ 1185266 h 6557032"/>
              <a:gd name="connsiteX48621" fmla="*/ 1927861 w 4610101"/>
              <a:gd name="connsiteY48621" fmla="*/ 1161577 h 6557032"/>
              <a:gd name="connsiteX48622" fmla="*/ 1933327 w 4610101"/>
              <a:gd name="connsiteY48622" fmla="*/ 1168866 h 6557032"/>
              <a:gd name="connsiteX48623" fmla="*/ 1947904 w 4610101"/>
              <a:gd name="connsiteY48623" fmla="*/ 1245397 h 6557032"/>
              <a:gd name="connsiteX48624" fmla="*/ 1951549 w 4610101"/>
              <a:gd name="connsiteY48624" fmla="*/ 1241753 h 6557032"/>
              <a:gd name="connsiteX48625" fmla="*/ 1944260 w 4610101"/>
              <a:gd name="connsiteY48625" fmla="*/ 1225353 h 6557032"/>
              <a:gd name="connsiteX48626" fmla="*/ 1951549 w 4610101"/>
              <a:gd name="connsiteY48626" fmla="*/ 1225353 h 6557032"/>
              <a:gd name="connsiteX48627" fmla="*/ 1947904 w 4610101"/>
              <a:gd name="connsiteY48627" fmla="*/ 1225353 h 6557032"/>
              <a:gd name="connsiteX48628" fmla="*/ 1955194 w 4610101"/>
              <a:gd name="connsiteY48628" fmla="*/ 1219887 h 6557032"/>
              <a:gd name="connsiteX48629" fmla="*/ 1955194 w 4610101"/>
              <a:gd name="connsiteY48629" fmla="*/ 1227175 h 6557032"/>
              <a:gd name="connsiteX48630" fmla="*/ 1958837 w 4610101"/>
              <a:gd name="connsiteY48630" fmla="*/ 1228998 h 6557032"/>
              <a:gd name="connsiteX48631" fmla="*/ 1957015 w 4610101"/>
              <a:gd name="connsiteY48631" fmla="*/ 1225353 h 6557032"/>
              <a:gd name="connsiteX48632" fmla="*/ 1962482 w 4610101"/>
              <a:gd name="connsiteY48632" fmla="*/ 1227175 h 6557032"/>
              <a:gd name="connsiteX48633" fmla="*/ 1957015 w 4610101"/>
              <a:gd name="connsiteY48633" fmla="*/ 1230820 h 6557032"/>
              <a:gd name="connsiteX48634" fmla="*/ 1960659 w 4610101"/>
              <a:gd name="connsiteY48634" fmla="*/ 1236286 h 6557032"/>
              <a:gd name="connsiteX48635" fmla="*/ 1967948 w 4610101"/>
              <a:gd name="connsiteY48635" fmla="*/ 1230820 h 6557032"/>
              <a:gd name="connsiteX48636" fmla="*/ 1962482 w 4610101"/>
              <a:gd name="connsiteY48636" fmla="*/ 1221709 h 6557032"/>
              <a:gd name="connsiteX48637" fmla="*/ 1960659 w 4610101"/>
              <a:gd name="connsiteY48637" fmla="*/ 1216242 h 6557032"/>
              <a:gd name="connsiteX48638" fmla="*/ 1962482 w 4610101"/>
              <a:gd name="connsiteY48638" fmla="*/ 1214420 h 6557032"/>
              <a:gd name="connsiteX48639" fmla="*/ 1962482 w 4610101"/>
              <a:gd name="connsiteY48639" fmla="*/ 1218065 h 6557032"/>
              <a:gd name="connsiteX48640" fmla="*/ 1966126 w 4610101"/>
              <a:gd name="connsiteY48640" fmla="*/ 1218065 h 6557032"/>
              <a:gd name="connsiteX48641" fmla="*/ 1967948 w 4610101"/>
              <a:gd name="connsiteY48641" fmla="*/ 1205309 h 6557032"/>
              <a:gd name="connsiteX48642" fmla="*/ 1971592 w 4610101"/>
              <a:gd name="connsiteY48642" fmla="*/ 1212598 h 6557032"/>
              <a:gd name="connsiteX48643" fmla="*/ 1973416 w 4610101"/>
              <a:gd name="connsiteY48643" fmla="*/ 1212598 h 6557032"/>
              <a:gd name="connsiteX48644" fmla="*/ 1980703 w 4610101"/>
              <a:gd name="connsiteY48644" fmla="*/ 1207132 h 6557032"/>
              <a:gd name="connsiteX48645" fmla="*/ 1984348 w 4610101"/>
              <a:gd name="connsiteY48645" fmla="*/ 1196199 h 6557032"/>
              <a:gd name="connsiteX48646" fmla="*/ 1984348 w 4610101"/>
              <a:gd name="connsiteY48646" fmla="*/ 1194376 h 6557032"/>
              <a:gd name="connsiteX48647" fmla="*/ 1987478 w 4610101"/>
              <a:gd name="connsiteY48647" fmla="*/ 1189290 h 6557032"/>
              <a:gd name="connsiteX48648" fmla="*/ 1986170 w 4610101"/>
              <a:gd name="connsiteY48648" fmla="*/ 1194376 h 6557032"/>
              <a:gd name="connsiteX48649" fmla="*/ 1991638 w 4610101"/>
              <a:gd name="connsiteY48649" fmla="*/ 1196199 h 6557032"/>
              <a:gd name="connsiteX48650" fmla="*/ 1989814 w 4610101"/>
              <a:gd name="connsiteY48650" fmla="*/ 1198021 h 6557032"/>
              <a:gd name="connsiteX48651" fmla="*/ 2004392 w 4610101"/>
              <a:gd name="connsiteY48651" fmla="*/ 1208954 h 6557032"/>
              <a:gd name="connsiteX48652" fmla="*/ 2013503 w 4610101"/>
              <a:gd name="connsiteY48652" fmla="*/ 1194376 h 6557032"/>
              <a:gd name="connsiteX48653" fmla="*/ 2026258 w 4610101"/>
              <a:gd name="connsiteY48653" fmla="*/ 1201665 h 6557032"/>
              <a:gd name="connsiteX48654" fmla="*/ 2040835 w 4610101"/>
              <a:gd name="connsiteY48654" fmla="*/ 1188910 h 6557032"/>
              <a:gd name="connsiteX48655" fmla="*/ 2048124 w 4610101"/>
              <a:gd name="connsiteY48655" fmla="*/ 1196199 h 6557032"/>
              <a:gd name="connsiteX48656" fmla="*/ 2046302 w 4610101"/>
              <a:gd name="connsiteY48656" fmla="*/ 1190732 h 6557032"/>
              <a:gd name="connsiteX48657" fmla="*/ 2051768 w 4610101"/>
              <a:gd name="connsiteY48657" fmla="*/ 1188910 h 6557032"/>
              <a:gd name="connsiteX48658" fmla="*/ 2049946 w 4610101"/>
              <a:gd name="connsiteY48658" fmla="*/ 1185266 h 6557032"/>
              <a:gd name="connsiteX48659" fmla="*/ 2053590 w 4610101"/>
              <a:gd name="connsiteY48659" fmla="*/ 1172510 h 6557032"/>
              <a:gd name="connsiteX48660" fmla="*/ 2049946 w 4610101"/>
              <a:gd name="connsiteY48660" fmla="*/ 1170688 h 6557032"/>
              <a:gd name="connsiteX48661" fmla="*/ 2049946 w 4610101"/>
              <a:gd name="connsiteY48661" fmla="*/ 1176155 h 6557032"/>
              <a:gd name="connsiteX48662" fmla="*/ 2044529 w 4610101"/>
              <a:gd name="connsiteY48662" fmla="*/ 1179992 h 6557032"/>
              <a:gd name="connsiteX48663" fmla="*/ 2040835 w 4610101"/>
              <a:gd name="connsiteY48663" fmla="*/ 1177977 h 6557032"/>
              <a:gd name="connsiteX48664" fmla="*/ 2033546 w 4610101"/>
              <a:gd name="connsiteY48664" fmla="*/ 1194376 h 6557032"/>
              <a:gd name="connsiteX48665" fmla="*/ 2026258 w 4610101"/>
              <a:gd name="connsiteY48665" fmla="*/ 1182076 h 6557032"/>
              <a:gd name="connsiteX48666" fmla="*/ 2032595 w 4610101"/>
              <a:gd name="connsiteY48666" fmla="*/ 1171620 h 6557032"/>
              <a:gd name="connsiteX48667" fmla="*/ 2033546 w 4610101"/>
              <a:gd name="connsiteY48667" fmla="*/ 1172510 h 6557032"/>
              <a:gd name="connsiteX48668" fmla="*/ 2034427 w 4610101"/>
              <a:gd name="connsiteY48668" fmla="*/ 1168600 h 6557032"/>
              <a:gd name="connsiteX48669" fmla="*/ 2035369 w 4610101"/>
              <a:gd name="connsiteY48669" fmla="*/ 1167044 h 6557032"/>
              <a:gd name="connsiteX48670" fmla="*/ 2034802 w 4610101"/>
              <a:gd name="connsiteY48670" fmla="*/ 1166930 h 6557032"/>
              <a:gd name="connsiteX48671" fmla="*/ 2035597 w 4610101"/>
              <a:gd name="connsiteY48671" fmla="*/ 1163399 h 6557032"/>
              <a:gd name="connsiteX48672" fmla="*/ 2028080 w 4610101"/>
              <a:gd name="connsiteY48672" fmla="*/ 1159755 h 6557032"/>
              <a:gd name="connsiteX48673" fmla="*/ 2026310 w 4610101"/>
              <a:gd name="connsiteY48673" fmla="*/ 1159755 h 6557032"/>
              <a:gd name="connsiteX48674" fmla="*/ 2026258 w 4610101"/>
              <a:gd name="connsiteY48674" fmla="*/ 1157933 h 6557032"/>
              <a:gd name="connsiteX48675" fmla="*/ 2026258 w 4610101"/>
              <a:gd name="connsiteY48675" fmla="*/ 1159755 h 6557032"/>
              <a:gd name="connsiteX48676" fmla="*/ 2026310 w 4610101"/>
              <a:gd name="connsiteY48676" fmla="*/ 1159755 h 6557032"/>
              <a:gd name="connsiteX48677" fmla="*/ 2026468 w 4610101"/>
              <a:gd name="connsiteY48677" fmla="*/ 1165264 h 6557032"/>
              <a:gd name="connsiteX48678" fmla="*/ 2026258 w 4610101"/>
              <a:gd name="connsiteY48678" fmla="*/ 1165222 h 6557032"/>
              <a:gd name="connsiteX48679" fmla="*/ 2024436 w 4610101"/>
              <a:gd name="connsiteY48679" fmla="*/ 1179799 h 6557032"/>
              <a:gd name="connsiteX48680" fmla="*/ 2011680 w 4610101"/>
              <a:gd name="connsiteY48680" fmla="*/ 1194376 h 6557032"/>
              <a:gd name="connsiteX48681" fmla="*/ 2004392 w 4610101"/>
              <a:gd name="connsiteY48681" fmla="*/ 1183443 h 6557032"/>
              <a:gd name="connsiteX48682" fmla="*/ 2006214 w 4610101"/>
              <a:gd name="connsiteY48682" fmla="*/ 1167044 h 6557032"/>
              <a:gd name="connsiteX48683" fmla="*/ 2000747 w 4610101"/>
              <a:gd name="connsiteY48683" fmla="*/ 1170688 h 6557032"/>
              <a:gd name="connsiteX48684" fmla="*/ 1997103 w 4610101"/>
              <a:gd name="connsiteY48684" fmla="*/ 1156111 h 6557032"/>
              <a:gd name="connsiteX48685" fmla="*/ 2018969 w 4610101"/>
              <a:gd name="connsiteY48685" fmla="*/ 1152466 h 6557032"/>
              <a:gd name="connsiteX48686" fmla="*/ 2009858 w 4610101"/>
              <a:gd name="connsiteY48686" fmla="*/ 1159755 h 6557032"/>
              <a:gd name="connsiteX48687" fmla="*/ 2024436 w 4610101"/>
              <a:gd name="connsiteY48687" fmla="*/ 1157933 h 6557032"/>
              <a:gd name="connsiteX48688" fmla="*/ 2022613 w 4610101"/>
              <a:gd name="connsiteY48688" fmla="*/ 1150644 h 6557032"/>
              <a:gd name="connsiteX48689" fmla="*/ 2031724 w 4610101"/>
              <a:gd name="connsiteY48689" fmla="*/ 1147000 h 6557032"/>
              <a:gd name="connsiteX48690" fmla="*/ 2011680 w 4610101"/>
              <a:gd name="connsiteY48690" fmla="*/ 1114201 h 6557032"/>
              <a:gd name="connsiteX48691" fmla="*/ 1973416 w 4610101"/>
              <a:gd name="connsiteY48691" fmla="*/ 1114201 h 6557032"/>
              <a:gd name="connsiteX48692" fmla="*/ 1973416 w 4610101"/>
              <a:gd name="connsiteY48692" fmla="*/ 1083224 h 6557032"/>
              <a:gd name="connsiteX48693" fmla="*/ 1951549 w 4610101"/>
              <a:gd name="connsiteY48693" fmla="*/ 1097801 h 6557032"/>
              <a:gd name="connsiteX48694" fmla="*/ 1929683 w 4610101"/>
              <a:gd name="connsiteY48694" fmla="*/ 1075935 h 6557032"/>
              <a:gd name="connsiteX48695" fmla="*/ 1975237 w 4610101"/>
              <a:gd name="connsiteY48695" fmla="*/ 1061358 h 6557032"/>
              <a:gd name="connsiteX48696" fmla="*/ 1975237 w 4610101"/>
              <a:gd name="connsiteY48696" fmla="*/ 1039492 h 6557032"/>
              <a:gd name="connsiteX48697" fmla="*/ 1953371 w 4610101"/>
              <a:gd name="connsiteY48697" fmla="*/ 1039492 h 6557032"/>
              <a:gd name="connsiteX48698" fmla="*/ 1929683 w 4610101"/>
              <a:gd name="connsiteY48698" fmla="*/ 1046780 h 6557032"/>
              <a:gd name="connsiteX48699" fmla="*/ 1924216 w 4610101"/>
              <a:gd name="connsiteY48699" fmla="*/ 1013981 h 6557032"/>
              <a:gd name="connsiteX48700" fmla="*/ 1977059 w 4610101"/>
              <a:gd name="connsiteY48700" fmla="*/ 1032203 h 6557032"/>
              <a:gd name="connsiteX48701" fmla="*/ 1984348 w 4610101"/>
              <a:gd name="connsiteY48701" fmla="*/ 1010337 h 6557032"/>
              <a:gd name="connsiteX48702" fmla="*/ 1984348 w 4610101"/>
              <a:gd name="connsiteY48702" fmla="*/ 1003047 h 6557032"/>
              <a:gd name="connsiteX48703" fmla="*/ 1986170 w 4610101"/>
              <a:gd name="connsiteY48703" fmla="*/ 990293 h 6557032"/>
              <a:gd name="connsiteX48704" fmla="*/ 1998925 w 4610101"/>
              <a:gd name="connsiteY48704" fmla="*/ 973893 h 6557032"/>
              <a:gd name="connsiteX48705" fmla="*/ 2022613 w 4610101"/>
              <a:gd name="connsiteY48705" fmla="*/ 973893 h 6557032"/>
              <a:gd name="connsiteX48706" fmla="*/ 2015325 w 4610101"/>
              <a:gd name="connsiteY48706" fmla="*/ 959316 h 6557032"/>
              <a:gd name="connsiteX48707" fmla="*/ 2039013 w 4610101"/>
              <a:gd name="connsiteY48707" fmla="*/ 959316 h 6557032"/>
              <a:gd name="connsiteX48708" fmla="*/ 2029902 w 4610101"/>
              <a:gd name="connsiteY48708" fmla="*/ 944738 h 6557032"/>
              <a:gd name="connsiteX48709" fmla="*/ 2059057 w 4610101"/>
              <a:gd name="connsiteY48709" fmla="*/ 930160 h 6557032"/>
              <a:gd name="connsiteX48710" fmla="*/ 2068168 w 4610101"/>
              <a:gd name="connsiteY48710" fmla="*/ 952026 h 6557032"/>
              <a:gd name="connsiteX48711" fmla="*/ 2090034 w 4610101"/>
              <a:gd name="connsiteY48711" fmla="*/ 952026 h 6557032"/>
              <a:gd name="connsiteX48712" fmla="*/ 2097323 w 4610101"/>
              <a:gd name="connsiteY48712" fmla="*/ 937450 h 6557032"/>
              <a:gd name="connsiteX48713" fmla="*/ 2115544 w 4610101"/>
              <a:gd name="connsiteY48713" fmla="*/ 939272 h 6557032"/>
              <a:gd name="connsiteX48714" fmla="*/ 2104611 w 4610101"/>
              <a:gd name="connsiteY48714" fmla="*/ 926516 h 6557032"/>
              <a:gd name="connsiteX48715" fmla="*/ 2150166 w 4610101"/>
              <a:gd name="connsiteY48715" fmla="*/ 939272 h 6557032"/>
              <a:gd name="connsiteX48716" fmla="*/ 2153810 w 4610101"/>
              <a:gd name="connsiteY48716" fmla="*/ 935628 h 6557032"/>
              <a:gd name="connsiteX48717" fmla="*/ 2146521 w 4610101"/>
              <a:gd name="connsiteY48717" fmla="*/ 935628 h 6557032"/>
              <a:gd name="connsiteX48718" fmla="*/ 2155632 w 4610101"/>
              <a:gd name="connsiteY48718" fmla="*/ 926517 h 6557032"/>
              <a:gd name="connsiteX48719" fmla="*/ 2155632 w 4610101"/>
              <a:gd name="connsiteY48719" fmla="*/ 931983 h 6557032"/>
              <a:gd name="connsiteX48720" fmla="*/ 2161099 w 4610101"/>
              <a:gd name="connsiteY48720" fmla="*/ 930160 h 6557032"/>
              <a:gd name="connsiteX48721" fmla="*/ 2161099 w 4610101"/>
              <a:gd name="connsiteY48721" fmla="*/ 915583 h 6557032"/>
              <a:gd name="connsiteX48722" fmla="*/ 2168387 w 4610101"/>
              <a:gd name="connsiteY48722" fmla="*/ 902827 h 6557032"/>
              <a:gd name="connsiteX48723" fmla="*/ 2164743 w 4610101"/>
              <a:gd name="connsiteY48723" fmla="*/ 890072 h 6557032"/>
              <a:gd name="connsiteX48724" fmla="*/ 2157454 w 4610101"/>
              <a:gd name="connsiteY48724" fmla="*/ 882784 h 6557032"/>
              <a:gd name="connsiteX48725" fmla="*/ 2154682 w 4610101"/>
              <a:gd name="connsiteY48725" fmla="*/ 914672 h 6557032"/>
              <a:gd name="connsiteX48726" fmla="*/ 2148344 w 4610101"/>
              <a:gd name="connsiteY48726" fmla="*/ 910117 h 6557032"/>
              <a:gd name="connsiteX48727" fmla="*/ 2137410 w 4610101"/>
              <a:gd name="connsiteY48727" fmla="*/ 921049 h 6557032"/>
              <a:gd name="connsiteX48728" fmla="*/ 2133766 w 4610101"/>
              <a:gd name="connsiteY48728" fmla="*/ 902827 h 6557032"/>
              <a:gd name="connsiteX48729" fmla="*/ 2124655 w 4610101"/>
              <a:gd name="connsiteY48729" fmla="*/ 893717 h 6557032"/>
              <a:gd name="connsiteX48730" fmla="*/ 2133766 w 4610101"/>
              <a:gd name="connsiteY48730" fmla="*/ 895539 h 6557032"/>
              <a:gd name="connsiteX48731" fmla="*/ 2135588 w 4610101"/>
              <a:gd name="connsiteY48731" fmla="*/ 888250 h 6557032"/>
              <a:gd name="connsiteX48732" fmla="*/ 2142877 w 4610101"/>
              <a:gd name="connsiteY48732" fmla="*/ 893717 h 6557032"/>
              <a:gd name="connsiteX48733" fmla="*/ 2139233 w 4610101"/>
              <a:gd name="connsiteY48733" fmla="*/ 902827 h 6557032"/>
              <a:gd name="connsiteX48734" fmla="*/ 2137410 w 4610101"/>
              <a:gd name="connsiteY48734" fmla="*/ 899183 h 6557032"/>
              <a:gd name="connsiteX48735" fmla="*/ 2139233 w 4610101"/>
              <a:gd name="connsiteY48735" fmla="*/ 904651 h 6557032"/>
              <a:gd name="connsiteX48736" fmla="*/ 2146521 w 4610101"/>
              <a:gd name="connsiteY48736" fmla="*/ 895539 h 6557032"/>
              <a:gd name="connsiteX48737" fmla="*/ 2148344 w 4610101"/>
              <a:gd name="connsiteY48737" fmla="*/ 899183 h 6557032"/>
              <a:gd name="connsiteX48738" fmla="*/ 2150166 w 4610101"/>
              <a:gd name="connsiteY48738" fmla="*/ 873673 h 6557032"/>
              <a:gd name="connsiteX48739" fmla="*/ 2144699 w 4610101"/>
              <a:gd name="connsiteY48739" fmla="*/ 891894 h 6557032"/>
              <a:gd name="connsiteX48740" fmla="*/ 2148799 w 4610101"/>
              <a:gd name="connsiteY48740" fmla="*/ 870940 h 6557032"/>
              <a:gd name="connsiteX48741" fmla="*/ 2150302 w 4610101"/>
              <a:gd name="connsiteY48741" fmla="*/ 866333 h 6557032"/>
              <a:gd name="connsiteX48742" fmla="*/ 2161555 w 4610101"/>
              <a:gd name="connsiteY48742" fmla="*/ 862057 h 6557032"/>
              <a:gd name="connsiteX48743" fmla="*/ 2164743 w 4610101"/>
              <a:gd name="connsiteY48743" fmla="*/ 848162 h 6557032"/>
              <a:gd name="connsiteX48744" fmla="*/ 2157454 w 4610101"/>
              <a:gd name="connsiteY48744" fmla="*/ 848162 h 6557032"/>
              <a:gd name="connsiteX48745" fmla="*/ 2155051 w 4610101"/>
              <a:gd name="connsiteY48745" fmla="*/ 851767 h 6557032"/>
              <a:gd name="connsiteX48746" fmla="*/ 2155632 w 4610101"/>
              <a:gd name="connsiteY48746" fmla="*/ 849985 h 6557032"/>
              <a:gd name="connsiteX48747" fmla="*/ 2155061 w 4610101"/>
              <a:gd name="connsiteY48747" fmla="*/ 848318 h 6557032"/>
              <a:gd name="connsiteX48748" fmla="*/ 2155450 w 4610101"/>
              <a:gd name="connsiteY48748" fmla="*/ 847798 h 6557032"/>
              <a:gd name="connsiteX48749" fmla="*/ 2155632 w 4610101"/>
              <a:gd name="connsiteY48749" fmla="*/ 848162 h 6557032"/>
              <a:gd name="connsiteX48750" fmla="*/ 2159277 w 4610101"/>
              <a:gd name="connsiteY48750" fmla="*/ 842696 h 6557032"/>
              <a:gd name="connsiteX48751" fmla="*/ 2153810 w 4610101"/>
              <a:gd name="connsiteY48751" fmla="*/ 842696 h 6557032"/>
              <a:gd name="connsiteX48752" fmla="*/ 2153810 w 4610101"/>
              <a:gd name="connsiteY48752" fmla="*/ 844518 h 6557032"/>
              <a:gd name="connsiteX48753" fmla="*/ 2153810 w 4610101"/>
              <a:gd name="connsiteY48753" fmla="*/ 844671 h 6557032"/>
              <a:gd name="connsiteX48754" fmla="*/ 2152899 w 4610101"/>
              <a:gd name="connsiteY48754" fmla="*/ 842013 h 6557032"/>
              <a:gd name="connsiteX48755" fmla="*/ 2144699 w 4610101"/>
              <a:gd name="connsiteY48755" fmla="*/ 840874 h 6557032"/>
              <a:gd name="connsiteX48756" fmla="*/ 2142877 w 4610101"/>
              <a:gd name="connsiteY48756" fmla="*/ 851807 h 6557032"/>
              <a:gd name="connsiteX48757" fmla="*/ 2128300 w 4610101"/>
              <a:gd name="connsiteY48757" fmla="*/ 840874 h 6557032"/>
              <a:gd name="connsiteX48758" fmla="*/ 2126477 w 4610101"/>
              <a:gd name="connsiteY48758" fmla="*/ 848162 h 6557032"/>
              <a:gd name="connsiteX48759" fmla="*/ 2126477 w 4610101"/>
              <a:gd name="connsiteY48759" fmla="*/ 842696 h 6557032"/>
              <a:gd name="connsiteX48760" fmla="*/ 2088212 w 4610101"/>
              <a:gd name="connsiteY48760" fmla="*/ 862740 h 6557032"/>
              <a:gd name="connsiteX48761" fmla="*/ 2086390 w 4610101"/>
              <a:gd name="connsiteY48761" fmla="*/ 859095 h 6557032"/>
              <a:gd name="connsiteX48762" fmla="*/ 2046302 w 4610101"/>
              <a:gd name="connsiteY48762" fmla="*/ 911939 h 6557032"/>
              <a:gd name="connsiteX48763" fmla="*/ 2073634 w 4610101"/>
              <a:gd name="connsiteY48763" fmla="*/ 864562 h 6557032"/>
              <a:gd name="connsiteX48764" fmla="*/ 2062701 w 4610101"/>
              <a:gd name="connsiteY48764" fmla="*/ 866384 h 6557032"/>
              <a:gd name="connsiteX48765" fmla="*/ 2119189 w 4610101"/>
              <a:gd name="connsiteY48765" fmla="*/ 828118 h 6557032"/>
              <a:gd name="connsiteX48766" fmla="*/ 2102790 w 4610101"/>
              <a:gd name="connsiteY48766" fmla="*/ 833585 h 6557032"/>
              <a:gd name="connsiteX48767" fmla="*/ 2095500 w 4610101"/>
              <a:gd name="connsiteY48767" fmla="*/ 842696 h 6557032"/>
              <a:gd name="connsiteX48768" fmla="*/ 2095500 w 4610101"/>
              <a:gd name="connsiteY48768" fmla="*/ 837229 h 6557032"/>
              <a:gd name="connsiteX48769" fmla="*/ 2026258 w 4610101"/>
              <a:gd name="connsiteY48769" fmla="*/ 886428 h 6557032"/>
              <a:gd name="connsiteX48770" fmla="*/ 2020791 w 4610101"/>
              <a:gd name="connsiteY48770" fmla="*/ 882784 h 6557032"/>
              <a:gd name="connsiteX48771" fmla="*/ 2018969 w 4610101"/>
              <a:gd name="connsiteY48771" fmla="*/ 891894 h 6557032"/>
              <a:gd name="connsiteX48772" fmla="*/ 2015325 w 4610101"/>
              <a:gd name="connsiteY48772" fmla="*/ 884606 h 6557032"/>
              <a:gd name="connsiteX48773" fmla="*/ 2004392 w 4610101"/>
              <a:gd name="connsiteY48773" fmla="*/ 895539 h 6557032"/>
              <a:gd name="connsiteX48774" fmla="*/ 1997103 w 4610101"/>
              <a:gd name="connsiteY48774" fmla="*/ 884606 h 6557032"/>
              <a:gd name="connsiteX48775" fmla="*/ 2002115 w 4610101"/>
              <a:gd name="connsiteY48775" fmla="*/ 878684 h 6557032"/>
              <a:gd name="connsiteX48776" fmla="*/ 1998983 w 4610101"/>
              <a:gd name="connsiteY48776" fmla="*/ 870186 h 6557032"/>
              <a:gd name="connsiteX48777" fmla="*/ 2006214 w 4610101"/>
              <a:gd name="connsiteY48777" fmla="*/ 864562 h 6557032"/>
              <a:gd name="connsiteX48778" fmla="*/ 2008036 w 4610101"/>
              <a:gd name="connsiteY48778" fmla="*/ 884606 h 6557032"/>
              <a:gd name="connsiteX48779" fmla="*/ 2009858 w 4610101"/>
              <a:gd name="connsiteY48779" fmla="*/ 875495 h 6557032"/>
              <a:gd name="connsiteX48780" fmla="*/ 2015325 w 4610101"/>
              <a:gd name="connsiteY48780" fmla="*/ 880961 h 6557032"/>
              <a:gd name="connsiteX48781" fmla="*/ 2024436 w 4610101"/>
              <a:gd name="connsiteY48781" fmla="*/ 866384 h 6557032"/>
              <a:gd name="connsiteX48782" fmla="*/ 2026258 w 4610101"/>
              <a:gd name="connsiteY48782" fmla="*/ 873673 h 6557032"/>
              <a:gd name="connsiteX48783" fmla="*/ 2040835 w 4610101"/>
              <a:gd name="connsiteY48783" fmla="*/ 860918 h 6557032"/>
              <a:gd name="connsiteX48784" fmla="*/ 2035369 w 4610101"/>
              <a:gd name="connsiteY48784" fmla="*/ 855451 h 6557032"/>
              <a:gd name="connsiteX48785" fmla="*/ 2042657 w 4610101"/>
              <a:gd name="connsiteY48785" fmla="*/ 855451 h 6557032"/>
              <a:gd name="connsiteX48786" fmla="*/ 2042657 w 4610101"/>
              <a:gd name="connsiteY48786" fmla="*/ 860918 h 6557032"/>
              <a:gd name="connsiteX48787" fmla="*/ 2059057 w 4610101"/>
              <a:gd name="connsiteY48787" fmla="*/ 849985 h 6557032"/>
              <a:gd name="connsiteX48788" fmla="*/ 2055413 w 4610101"/>
              <a:gd name="connsiteY48788" fmla="*/ 849985 h 6557032"/>
              <a:gd name="connsiteX48789" fmla="*/ 2066346 w 4610101"/>
              <a:gd name="connsiteY48789" fmla="*/ 846340 h 6557032"/>
              <a:gd name="connsiteX48790" fmla="*/ 2066346 w 4610101"/>
              <a:gd name="connsiteY48790" fmla="*/ 839051 h 6557032"/>
              <a:gd name="connsiteX48791" fmla="*/ 2068168 w 4610101"/>
              <a:gd name="connsiteY48791" fmla="*/ 844518 h 6557032"/>
              <a:gd name="connsiteX48792" fmla="*/ 2091856 w 4610101"/>
              <a:gd name="connsiteY48792" fmla="*/ 786208 h 6557032"/>
              <a:gd name="connsiteX48793" fmla="*/ 2097323 w 4610101"/>
              <a:gd name="connsiteY48793" fmla="*/ 780742 h 6557032"/>
              <a:gd name="connsiteX48794" fmla="*/ 2097323 w 4610101"/>
              <a:gd name="connsiteY48794" fmla="*/ 760698 h 6557032"/>
              <a:gd name="connsiteX48795" fmla="*/ 2015325 w 4610101"/>
              <a:gd name="connsiteY48795" fmla="*/ 749765 h 6557032"/>
              <a:gd name="connsiteX48796" fmla="*/ 2035369 w 4610101"/>
              <a:gd name="connsiteY48796" fmla="*/ 726077 h 6557032"/>
              <a:gd name="connsiteX48797" fmla="*/ 2026031 w 4610101"/>
              <a:gd name="connsiteY48797" fmla="*/ 714689 h 6557032"/>
              <a:gd name="connsiteX48798" fmla="*/ 2015528 w 4610101"/>
              <a:gd name="connsiteY48798" fmla="*/ 706198 h 6557032"/>
              <a:gd name="connsiteX48799" fmla="*/ 2015553 w 4610101"/>
              <a:gd name="connsiteY48799" fmla="*/ 705350 h 6557032"/>
              <a:gd name="connsiteX48800" fmla="*/ 2022613 w 4610101"/>
              <a:gd name="connsiteY48800" fmla="*/ 704211 h 6557032"/>
              <a:gd name="connsiteX48801" fmla="*/ 2040835 w 4610101"/>
              <a:gd name="connsiteY48801" fmla="*/ 726077 h 6557032"/>
              <a:gd name="connsiteX48802" fmla="*/ 2091856 w 4610101"/>
              <a:gd name="connsiteY48802" fmla="*/ 749765 h 6557032"/>
              <a:gd name="connsiteX48803" fmla="*/ 2100967 w 4610101"/>
              <a:gd name="connsiteY48803" fmla="*/ 747943 h 6557032"/>
              <a:gd name="connsiteX48804" fmla="*/ 2102790 w 4610101"/>
              <a:gd name="connsiteY48804" fmla="*/ 760698 h 6557032"/>
              <a:gd name="connsiteX48805" fmla="*/ 2106433 w 4610101"/>
              <a:gd name="connsiteY48805" fmla="*/ 760698 h 6557032"/>
              <a:gd name="connsiteX48806" fmla="*/ 2102790 w 4610101"/>
              <a:gd name="connsiteY48806" fmla="*/ 804430 h 6557032"/>
              <a:gd name="connsiteX48807" fmla="*/ 2110078 w 4610101"/>
              <a:gd name="connsiteY48807" fmla="*/ 797141 h 6557032"/>
              <a:gd name="connsiteX48808" fmla="*/ 2135588 w 4610101"/>
              <a:gd name="connsiteY48808" fmla="*/ 724254 h 6557032"/>
              <a:gd name="connsiteX48809" fmla="*/ 2115544 w 4610101"/>
              <a:gd name="connsiteY48809" fmla="*/ 715144 h 6557032"/>
              <a:gd name="connsiteX48810" fmla="*/ 2113722 w 4610101"/>
              <a:gd name="connsiteY48810" fmla="*/ 724254 h 6557032"/>
              <a:gd name="connsiteX48811" fmla="*/ 2106433 w 4610101"/>
              <a:gd name="connsiteY48811" fmla="*/ 726077 h 6557032"/>
              <a:gd name="connsiteX48812" fmla="*/ 2119189 w 4610101"/>
              <a:gd name="connsiteY48812" fmla="*/ 687811 h 6557032"/>
              <a:gd name="connsiteX48813" fmla="*/ 2104803 w 4610101"/>
              <a:gd name="connsiteY48813" fmla="*/ 667671 h 6557032"/>
              <a:gd name="connsiteX48814" fmla="*/ 2108256 w 4610101"/>
              <a:gd name="connsiteY48814" fmla="*/ 665945 h 6557032"/>
              <a:gd name="connsiteX48815" fmla="*/ 2115544 w 4610101"/>
              <a:gd name="connsiteY48815" fmla="*/ 675056 h 6557032"/>
              <a:gd name="connsiteX48816" fmla="*/ 2137410 w 4610101"/>
              <a:gd name="connsiteY48816" fmla="*/ 716966 h 6557032"/>
              <a:gd name="connsiteX48817" fmla="*/ 2137410 w 4610101"/>
              <a:gd name="connsiteY48817" fmla="*/ 749765 h 6557032"/>
              <a:gd name="connsiteX48818" fmla="*/ 2126477 w 4610101"/>
              <a:gd name="connsiteY48818" fmla="*/ 760698 h 6557032"/>
              <a:gd name="connsiteX48819" fmla="*/ 2130122 w 4610101"/>
              <a:gd name="connsiteY48819" fmla="*/ 824474 h 6557032"/>
              <a:gd name="connsiteX48820" fmla="*/ 2142877 w 4610101"/>
              <a:gd name="connsiteY48820" fmla="*/ 798964 h 6557032"/>
              <a:gd name="connsiteX48821" fmla="*/ 2130122 w 4610101"/>
              <a:gd name="connsiteY48821" fmla="*/ 788031 h 6557032"/>
              <a:gd name="connsiteX48822" fmla="*/ 2146521 w 4610101"/>
              <a:gd name="connsiteY48822" fmla="*/ 778920 h 6557032"/>
              <a:gd name="connsiteX48823" fmla="*/ 2139233 w 4610101"/>
              <a:gd name="connsiteY48823" fmla="*/ 764342 h 6557032"/>
              <a:gd name="connsiteX48824" fmla="*/ 2162921 w 4610101"/>
              <a:gd name="connsiteY48824" fmla="*/ 764342 h 6557032"/>
              <a:gd name="connsiteX48825" fmla="*/ 2155632 w 4610101"/>
              <a:gd name="connsiteY48825" fmla="*/ 749765 h 6557032"/>
              <a:gd name="connsiteX48826" fmla="*/ 2164743 w 4610101"/>
              <a:gd name="connsiteY48826" fmla="*/ 749765 h 6557032"/>
              <a:gd name="connsiteX48827" fmla="*/ 2172032 w 4610101"/>
              <a:gd name="connsiteY48827" fmla="*/ 742476 h 6557032"/>
              <a:gd name="connsiteX48828" fmla="*/ 2168387 w 4610101"/>
              <a:gd name="connsiteY48828" fmla="*/ 738832 h 6557032"/>
              <a:gd name="connsiteX48829" fmla="*/ 2172032 w 4610101"/>
              <a:gd name="connsiteY48829" fmla="*/ 735188 h 6557032"/>
              <a:gd name="connsiteX48830" fmla="*/ 2172032 w 4610101"/>
              <a:gd name="connsiteY48830" fmla="*/ 733365 h 6557032"/>
              <a:gd name="connsiteX48831" fmla="*/ 2173854 w 4610101"/>
              <a:gd name="connsiteY48831" fmla="*/ 733365 h 6557032"/>
              <a:gd name="connsiteX48832" fmla="*/ 2177498 w 4610101"/>
              <a:gd name="connsiteY48832" fmla="*/ 726077 h 6557032"/>
              <a:gd name="connsiteX48833" fmla="*/ 2179320 w 4610101"/>
              <a:gd name="connsiteY48833" fmla="*/ 727899 h 6557032"/>
              <a:gd name="connsiteX48834" fmla="*/ 2181143 w 4610101"/>
              <a:gd name="connsiteY48834" fmla="*/ 700566 h 6557032"/>
              <a:gd name="connsiteX48835" fmla="*/ 2184787 w 4610101"/>
              <a:gd name="connsiteY48835" fmla="*/ 707855 h 6557032"/>
              <a:gd name="connsiteX48836" fmla="*/ 2184787 w 4610101"/>
              <a:gd name="connsiteY48836" fmla="*/ 722432 h 6557032"/>
              <a:gd name="connsiteX48837" fmla="*/ 2203009 w 4610101"/>
              <a:gd name="connsiteY48837" fmla="*/ 706033 h 6557032"/>
              <a:gd name="connsiteX48838" fmla="*/ 2226697 w 4610101"/>
              <a:gd name="connsiteY48838" fmla="*/ 709677 h 6557032"/>
              <a:gd name="connsiteX48839" fmla="*/ 2226697 w 4610101"/>
              <a:gd name="connsiteY48839" fmla="*/ 704211 h 6557032"/>
              <a:gd name="connsiteX48840" fmla="*/ 2235808 w 4610101"/>
              <a:gd name="connsiteY48840" fmla="*/ 706033 h 6557032"/>
              <a:gd name="connsiteX48841" fmla="*/ 2232163 w 4610101"/>
              <a:gd name="connsiteY48841" fmla="*/ 695100 h 6557032"/>
              <a:gd name="connsiteX48842" fmla="*/ 2239452 w 4610101"/>
              <a:gd name="connsiteY48842" fmla="*/ 706033 h 6557032"/>
              <a:gd name="connsiteX48843" fmla="*/ 2239452 w 4610101"/>
              <a:gd name="connsiteY48843" fmla="*/ 700566 h 6557032"/>
              <a:gd name="connsiteX48844" fmla="*/ 2263140 w 4610101"/>
              <a:gd name="connsiteY48844" fmla="*/ 709677 h 6557032"/>
              <a:gd name="connsiteX48845" fmla="*/ 2259496 w 4610101"/>
              <a:gd name="connsiteY48845" fmla="*/ 695100 h 6557032"/>
              <a:gd name="connsiteX48846" fmla="*/ 2270429 w 4610101"/>
              <a:gd name="connsiteY48846" fmla="*/ 698744 h 6557032"/>
              <a:gd name="connsiteX48847" fmla="*/ 2286829 w 4610101"/>
              <a:gd name="connsiteY48847" fmla="*/ 685989 h 6557032"/>
              <a:gd name="connsiteX48848" fmla="*/ 2288651 w 4610101"/>
              <a:gd name="connsiteY48848" fmla="*/ 696922 h 6557032"/>
              <a:gd name="connsiteX48849" fmla="*/ 2255852 w 4610101"/>
              <a:gd name="connsiteY48849" fmla="*/ 620391 h 6557032"/>
              <a:gd name="connsiteX48850" fmla="*/ 2275896 w 4610101"/>
              <a:gd name="connsiteY48850" fmla="*/ 631324 h 6557032"/>
              <a:gd name="connsiteX48851" fmla="*/ 2283184 w 4610101"/>
              <a:gd name="connsiteY48851" fmla="*/ 622213 h 6557032"/>
              <a:gd name="connsiteX48852" fmla="*/ 2277718 w 4610101"/>
              <a:gd name="connsiteY48852" fmla="*/ 614924 h 6557032"/>
              <a:gd name="connsiteX48853" fmla="*/ 2275896 w 4610101"/>
              <a:gd name="connsiteY48853" fmla="*/ 622213 h 6557032"/>
              <a:gd name="connsiteX48854" fmla="*/ 2213942 w 4610101"/>
              <a:gd name="connsiteY48854" fmla="*/ 558437 h 6557032"/>
              <a:gd name="connsiteX48855" fmla="*/ 2213942 w 4610101"/>
              <a:gd name="connsiteY48855" fmla="*/ 565725 h 6557032"/>
              <a:gd name="connsiteX48856" fmla="*/ 2212120 w 4610101"/>
              <a:gd name="connsiteY48856" fmla="*/ 558437 h 6557032"/>
              <a:gd name="connsiteX48857" fmla="*/ 2203009 w 4610101"/>
              <a:gd name="connsiteY48857" fmla="*/ 558437 h 6557032"/>
              <a:gd name="connsiteX48858" fmla="*/ 2204831 w 4610101"/>
              <a:gd name="connsiteY48858" fmla="*/ 565725 h 6557032"/>
              <a:gd name="connsiteX48859" fmla="*/ 2195720 w 4610101"/>
              <a:gd name="connsiteY48859" fmla="*/ 552970 h 6557032"/>
              <a:gd name="connsiteX48860" fmla="*/ 2188431 w 4610101"/>
              <a:gd name="connsiteY48860" fmla="*/ 576658 h 6557032"/>
              <a:gd name="connsiteX48861" fmla="*/ 2182965 w 4610101"/>
              <a:gd name="connsiteY48861" fmla="*/ 573014 h 6557032"/>
              <a:gd name="connsiteX48862" fmla="*/ 2186609 w 4610101"/>
              <a:gd name="connsiteY48862" fmla="*/ 543860 h 6557032"/>
              <a:gd name="connsiteX48863" fmla="*/ 2177498 w 4610101"/>
              <a:gd name="connsiteY48863" fmla="*/ 540215 h 6557032"/>
              <a:gd name="connsiteX48864" fmla="*/ 2181143 w 4610101"/>
              <a:gd name="connsiteY48864" fmla="*/ 558437 h 6557032"/>
              <a:gd name="connsiteX48865" fmla="*/ 2177498 w 4610101"/>
              <a:gd name="connsiteY48865" fmla="*/ 551148 h 6557032"/>
              <a:gd name="connsiteX48866" fmla="*/ 2173854 w 4610101"/>
              <a:gd name="connsiteY48866" fmla="*/ 552970 h 6557032"/>
              <a:gd name="connsiteX48867" fmla="*/ 2175676 w 4610101"/>
              <a:gd name="connsiteY48867" fmla="*/ 567548 h 6557032"/>
              <a:gd name="connsiteX48868" fmla="*/ 2166565 w 4610101"/>
              <a:gd name="connsiteY48868" fmla="*/ 554792 h 6557032"/>
              <a:gd name="connsiteX48869" fmla="*/ 2166565 w 4610101"/>
              <a:gd name="connsiteY48869" fmla="*/ 563904 h 6557032"/>
              <a:gd name="connsiteX48870" fmla="*/ 2168387 w 4610101"/>
              <a:gd name="connsiteY48870" fmla="*/ 562081 h 6557032"/>
              <a:gd name="connsiteX48871" fmla="*/ 2170210 w 4610101"/>
              <a:gd name="connsiteY48871" fmla="*/ 571192 h 6557032"/>
              <a:gd name="connsiteX48872" fmla="*/ 2159277 w 4610101"/>
              <a:gd name="connsiteY48872" fmla="*/ 565725 h 6557032"/>
              <a:gd name="connsiteX48873" fmla="*/ 2161099 w 4610101"/>
              <a:gd name="connsiteY48873" fmla="*/ 573014 h 6557032"/>
              <a:gd name="connsiteX48874" fmla="*/ 2155632 w 4610101"/>
              <a:gd name="connsiteY48874" fmla="*/ 571192 h 6557032"/>
              <a:gd name="connsiteX48875" fmla="*/ 2157454 w 4610101"/>
              <a:gd name="connsiteY48875" fmla="*/ 587591 h 6557032"/>
              <a:gd name="connsiteX48876" fmla="*/ 2155632 w 4610101"/>
              <a:gd name="connsiteY48876" fmla="*/ 596702 h 6557032"/>
              <a:gd name="connsiteX48877" fmla="*/ 2146521 w 4610101"/>
              <a:gd name="connsiteY48877" fmla="*/ 578481 h 6557032"/>
              <a:gd name="connsiteX48878" fmla="*/ 2150166 w 4610101"/>
              <a:gd name="connsiteY48878" fmla="*/ 587591 h 6557032"/>
              <a:gd name="connsiteX48879" fmla="*/ 2150166 w 4610101"/>
              <a:gd name="connsiteY48879" fmla="*/ 589414 h 6557032"/>
              <a:gd name="connsiteX48880" fmla="*/ 2146521 w 4610101"/>
              <a:gd name="connsiteY48880" fmla="*/ 587591 h 6557032"/>
              <a:gd name="connsiteX48881" fmla="*/ 2144699 w 4610101"/>
              <a:gd name="connsiteY48881" fmla="*/ 607635 h 6557032"/>
              <a:gd name="connsiteX48882" fmla="*/ 2137410 w 4610101"/>
              <a:gd name="connsiteY48882" fmla="*/ 587591 h 6557032"/>
              <a:gd name="connsiteX48883" fmla="*/ 2135588 w 4610101"/>
              <a:gd name="connsiteY48883" fmla="*/ 602169 h 6557032"/>
              <a:gd name="connsiteX48884" fmla="*/ 2135588 w 4610101"/>
              <a:gd name="connsiteY48884" fmla="*/ 582125 h 6557032"/>
              <a:gd name="connsiteX48885" fmla="*/ 2133766 w 4610101"/>
              <a:gd name="connsiteY48885" fmla="*/ 583947 h 6557032"/>
              <a:gd name="connsiteX48886" fmla="*/ 2128300 w 4610101"/>
              <a:gd name="connsiteY48886" fmla="*/ 563904 h 6557032"/>
              <a:gd name="connsiteX48887" fmla="*/ 2128300 w 4610101"/>
              <a:gd name="connsiteY48887" fmla="*/ 574836 h 6557032"/>
              <a:gd name="connsiteX48888" fmla="*/ 2126477 w 4610101"/>
              <a:gd name="connsiteY48888" fmla="*/ 573014 h 6557032"/>
              <a:gd name="connsiteX48889" fmla="*/ 2131944 w 4610101"/>
              <a:gd name="connsiteY48889" fmla="*/ 605813 h 6557032"/>
              <a:gd name="connsiteX48890" fmla="*/ 2136272 w 4610101"/>
              <a:gd name="connsiteY48890" fmla="*/ 611736 h 6557032"/>
              <a:gd name="connsiteX48891" fmla="*/ 2137376 w 4610101"/>
              <a:gd name="connsiteY48891" fmla="*/ 614963 h 6557032"/>
              <a:gd name="connsiteX48892" fmla="*/ 2134222 w 4610101"/>
              <a:gd name="connsiteY48892" fmla="*/ 618569 h 6557032"/>
              <a:gd name="connsiteX48893" fmla="*/ 2133766 w 4610101"/>
              <a:gd name="connsiteY48893" fmla="*/ 622213 h 6557032"/>
              <a:gd name="connsiteX48894" fmla="*/ 2139233 w 4610101"/>
              <a:gd name="connsiteY48894" fmla="*/ 620391 h 6557032"/>
              <a:gd name="connsiteX48895" fmla="*/ 2139233 w 4610101"/>
              <a:gd name="connsiteY48895" fmla="*/ 634968 h 6557032"/>
              <a:gd name="connsiteX48896" fmla="*/ 2150166 w 4610101"/>
              <a:gd name="connsiteY48896" fmla="*/ 620391 h 6557032"/>
              <a:gd name="connsiteX48897" fmla="*/ 2151988 w 4610101"/>
              <a:gd name="connsiteY48897" fmla="*/ 651368 h 6557032"/>
              <a:gd name="connsiteX48898" fmla="*/ 2141055 w 4610101"/>
              <a:gd name="connsiteY48898" fmla="*/ 644079 h 6557032"/>
              <a:gd name="connsiteX48899" fmla="*/ 2139233 w 4610101"/>
              <a:gd name="connsiteY48899" fmla="*/ 642257 h 6557032"/>
              <a:gd name="connsiteX48900" fmla="*/ 2137410 w 4610101"/>
              <a:gd name="connsiteY48900" fmla="*/ 649545 h 6557032"/>
              <a:gd name="connsiteX48901" fmla="*/ 2128300 w 4610101"/>
              <a:gd name="connsiteY48901" fmla="*/ 613103 h 6557032"/>
              <a:gd name="connsiteX48902" fmla="*/ 2128300 w 4610101"/>
              <a:gd name="connsiteY48902" fmla="*/ 605813 h 6557032"/>
              <a:gd name="connsiteX48903" fmla="*/ 2121011 w 4610101"/>
              <a:gd name="connsiteY48903" fmla="*/ 609459 h 6557032"/>
              <a:gd name="connsiteX48904" fmla="*/ 2121011 w 4610101"/>
              <a:gd name="connsiteY48904" fmla="*/ 605813 h 6557032"/>
              <a:gd name="connsiteX48905" fmla="*/ 2122833 w 4610101"/>
              <a:gd name="connsiteY48905" fmla="*/ 629501 h 6557032"/>
              <a:gd name="connsiteX48906" fmla="*/ 2124655 w 4610101"/>
              <a:gd name="connsiteY48906" fmla="*/ 627679 h 6557032"/>
              <a:gd name="connsiteX48907" fmla="*/ 2126477 w 4610101"/>
              <a:gd name="connsiteY48907" fmla="*/ 638612 h 6557032"/>
              <a:gd name="connsiteX48908" fmla="*/ 2124655 w 4610101"/>
              <a:gd name="connsiteY48908" fmla="*/ 636790 h 6557032"/>
              <a:gd name="connsiteX48909" fmla="*/ 2122833 w 4610101"/>
              <a:gd name="connsiteY48909" fmla="*/ 640435 h 6557032"/>
              <a:gd name="connsiteX48910" fmla="*/ 2113722 w 4610101"/>
              <a:gd name="connsiteY48910" fmla="*/ 625857 h 6557032"/>
              <a:gd name="connsiteX48911" fmla="*/ 2113722 w 4610101"/>
              <a:gd name="connsiteY48911" fmla="*/ 633146 h 6557032"/>
              <a:gd name="connsiteX48912" fmla="*/ 2111900 w 4610101"/>
              <a:gd name="connsiteY48912" fmla="*/ 618568 h 6557032"/>
              <a:gd name="connsiteX48913" fmla="*/ 2108256 w 4610101"/>
              <a:gd name="connsiteY48913" fmla="*/ 611280 h 6557032"/>
              <a:gd name="connsiteX48914" fmla="*/ 2106433 w 4610101"/>
              <a:gd name="connsiteY48914" fmla="*/ 613103 h 6557032"/>
              <a:gd name="connsiteX48915" fmla="*/ 2102790 w 4610101"/>
              <a:gd name="connsiteY48915" fmla="*/ 609459 h 6557032"/>
              <a:gd name="connsiteX48916" fmla="*/ 2100967 w 4610101"/>
              <a:gd name="connsiteY48916" fmla="*/ 638613 h 6557032"/>
              <a:gd name="connsiteX48917" fmla="*/ 2104556 w 4610101"/>
              <a:gd name="connsiteY48917" fmla="*/ 667325 h 6557032"/>
              <a:gd name="connsiteX48918" fmla="*/ 2104384 w 4610101"/>
              <a:gd name="connsiteY48918" fmla="*/ 667084 h 6557032"/>
              <a:gd name="connsiteX48919" fmla="*/ 2099145 w 4610101"/>
              <a:gd name="connsiteY48919" fmla="*/ 642257 h 6557032"/>
              <a:gd name="connsiteX48920" fmla="*/ 2090034 w 4610101"/>
              <a:gd name="connsiteY48920" fmla="*/ 655012 h 6557032"/>
              <a:gd name="connsiteX48921" fmla="*/ 2069990 w 4610101"/>
              <a:gd name="connsiteY48921" fmla="*/ 642257 h 6557032"/>
              <a:gd name="connsiteX48922" fmla="*/ 2090034 w 4610101"/>
              <a:gd name="connsiteY48922" fmla="*/ 644079 h 6557032"/>
              <a:gd name="connsiteX48923" fmla="*/ 2091856 w 4610101"/>
              <a:gd name="connsiteY48923" fmla="*/ 631324 h 6557032"/>
              <a:gd name="connsiteX48924" fmla="*/ 2095500 w 4610101"/>
              <a:gd name="connsiteY48924" fmla="*/ 633146 h 6557032"/>
              <a:gd name="connsiteX48925" fmla="*/ 2071812 w 4610101"/>
              <a:gd name="connsiteY48925" fmla="*/ 624035 h 6557032"/>
              <a:gd name="connsiteX48926" fmla="*/ 2086390 w 4610101"/>
              <a:gd name="connsiteY48926" fmla="*/ 605813 h 6557032"/>
              <a:gd name="connsiteX48927" fmla="*/ 2091856 w 4610101"/>
              <a:gd name="connsiteY48927" fmla="*/ 616746 h 6557032"/>
              <a:gd name="connsiteX48928" fmla="*/ 2099145 w 4610101"/>
              <a:gd name="connsiteY48928" fmla="*/ 607635 h 6557032"/>
              <a:gd name="connsiteX48929" fmla="*/ 2095729 w 4610101"/>
              <a:gd name="connsiteY48929" fmla="*/ 599891 h 6557032"/>
              <a:gd name="connsiteX48930" fmla="*/ 2094851 w 4610101"/>
              <a:gd name="connsiteY48930" fmla="*/ 599306 h 6557032"/>
              <a:gd name="connsiteX48931" fmla="*/ 2095500 w 4610101"/>
              <a:gd name="connsiteY48931" fmla="*/ 596702 h 6557032"/>
              <a:gd name="connsiteX48932" fmla="*/ 2093679 w 4610101"/>
              <a:gd name="connsiteY48932" fmla="*/ 594880 h 6557032"/>
              <a:gd name="connsiteX48933" fmla="*/ 2092252 w 4610101"/>
              <a:gd name="connsiteY48933" fmla="*/ 597574 h 6557032"/>
              <a:gd name="connsiteX48934" fmla="*/ 2088212 w 4610101"/>
              <a:gd name="connsiteY48934" fmla="*/ 594880 h 6557032"/>
              <a:gd name="connsiteX48935" fmla="*/ 2086390 w 4610101"/>
              <a:gd name="connsiteY48935" fmla="*/ 600347 h 6557032"/>
              <a:gd name="connsiteX48936" fmla="*/ 2084568 w 4610101"/>
              <a:gd name="connsiteY48936" fmla="*/ 593058 h 6557032"/>
              <a:gd name="connsiteX48937" fmla="*/ 2073634 w 4610101"/>
              <a:gd name="connsiteY48937" fmla="*/ 614924 h 6557032"/>
              <a:gd name="connsiteX48938" fmla="*/ 2069990 w 4610101"/>
              <a:gd name="connsiteY48938" fmla="*/ 611280 h 6557032"/>
              <a:gd name="connsiteX48939" fmla="*/ 2069990 w 4610101"/>
              <a:gd name="connsiteY48939" fmla="*/ 624035 h 6557032"/>
              <a:gd name="connsiteX48940" fmla="*/ 2064524 w 4610101"/>
              <a:gd name="connsiteY48940" fmla="*/ 620391 h 6557032"/>
              <a:gd name="connsiteX48941" fmla="*/ 2064524 w 4610101"/>
              <a:gd name="connsiteY48941" fmla="*/ 627679 h 6557032"/>
              <a:gd name="connsiteX48942" fmla="*/ 2071812 w 4610101"/>
              <a:gd name="connsiteY48942" fmla="*/ 627679 h 6557032"/>
              <a:gd name="connsiteX48943" fmla="*/ 2066346 w 4610101"/>
              <a:gd name="connsiteY48943" fmla="*/ 644079 h 6557032"/>
              <a:gd name="connsiteX48944" fmla="*/ 2068168 w 4610101"/>
              <a:gd name="connsiteY48944" fmla="*/ 633146 h 6557032"/>
              <a:gd name="connsiteX48945" fmla="*/ 2064524 w 4610101"/>
              <a:gd name="connsiteY48945" fmla="*/ 631324 h 6557032"/>
              <a:gd name="connsiteX48946" fmla="*/ 2060879 w 4610101"/>
              <a:gd name="connsiteY48946" fmla="*/ 638612 h 6557032"/>
              <a:gd name="connsiteX48947" fmla="*/ 2060879 w 4610101"/>
              <a:gd name="connsiteY48947" fmla="*/ 631324 h 6557032"/>
              <a:gd name="connsiteX48948" fmla="*/ 2064524 w 4610101"/>
              <a:gd name="connsiteY48948" fmla="*/ 645901 h 6557032"/>
              <a:gd name="connsiteX48949" fmla="*/ 2053590 w 4610101"/>
              <a:gd name="connsiteY48949" fmla="*/ 636790 h 6557032"/>
              <a:gd name="connsiteX48950" fmla="*/ 2048124 w 4610101"/>
              <a:gd name="connsiteY48950" fmla="*/ 647723 h 6557032"/>
              <a:gd name="connsiteX48951" fmla="*/ 2037191 w 4610101"/>
              <a:gd name="connsiteY48951" fmla="*/ 644079 h 6557032"/>
              <a:gd name="connsiteX48952" fmla="*/ 2060879 w 4610101"/>
              <a:gd name="connsiteY48952" fmla="*/ 611280 h 6557032"/>
              <a:gd name="connsiteX48953" fmla="*/ 2060879 w 4610101"/>
              <a:gd name="connsiteY48953" fmla="*/ 618568 h 6557032"/>
              <a:gd name="connsiteX48954" fmla="*/ 2062701 w 4610101"/>
              <a:gd name="connsiteY48954" fmla="*/ 596702 h 6557032"/>
              <a:gd name="connsiteX48955" fmla="*/ 2069990 w 4610101"/>
              <a:gd name="connsiteY48955" fmla="*/ 605813 h 6557032"/>
              <a:gd name="connsiteX48956" fmla="*/ 2071812 w 4610101"/>
              <a:gd name="connsiteY48956" fmla="*/ 596702 h 6557032"/>
              <a:gd name="connsiteX48957" fmla="*/ 2066346 w 4610101"/>
              <a:gd name="connsiteY48957" fmla="*/ 594880 h 6557032"/>
              <a:gd name="connsiteX48958" fmla="*/ 2059057 w 4610101"/>
              <a:gd name="connsiteY48958" fmla="*/ 578481 h 6557032"/>
              <a:gd name="connsiteX48959" fmla="*/ 2060879 w 4610101"/>
              <a:gd name="connsiteY48959" fmla="*/ 577353 h 6557032"/>
              <a:gd name="connsiteX48960" fmla="*/ 2060879 w 4610101"/>
              <a:gd name="connsiteY48960" fmla="*/ 578481 h 6557032"/>
              <a:gd name="connsiteX48961" fmla="*/ 2066346 w 4610101"/>
              <a:gd name="connsiteY48961" fmla="*/ 578481 h 6557032"/>
              <a:gd name="connsiteX48962" fmla="*/ 2066346 w 4610101"/>
              <a:gd name="connsiteY48962" fmla="*/ 575984 h 6557032"/>
              <a:gd name="connsiteX48963" fmla="*/ 2069990 w 4610101"/>
              <a:gd name="connsiteY48963" fmla="*/ 576658 h 6557032"/>
              <a:gd name="connsiteX48964" fmla="*/ 2066346 w 4610101"/>
              <a:gd name="connsiteY48964" fmla="*/ 573925 h 6557032"/>
              <a:gd name="connsiteX48965" fmla="*/ 2066346 w 4610101"/>
              <a:gd name="connsiteY48965" fmla="*/ 573014 h 6557032"/>
              <a:gd name="connsiteX48966" fmla="*/ 2065505 w 4610101"/>
              <a:gd name="connsiteY48966" fmla="*/ 573295 h 6557032"/>
              <a:gd name="connsiteX48967" fmla="*/ 2055413 w 4610101"/>
              <a:gd name="connsiteY48967" fmla="*/ 565725 h 6557032"/>
              <a:gd name="connsiteX48968" fmla="*/ 2053590 w 4610101"/>
              <a:gd name="connsiteY48968" fmla="*/ 571192 h 6557032"/>
              <a:gd name="connsiteX48969" fmla="*/ 2040835 w 4610101"/>
              <a:gd name="connsiteY48969" fmla="*/ 563904 h 6557032"/>
              <a:gd name="connsiteX48970" fmla="*/ 2039013 w 4610101"/>
              <a:gd name="connsiteY48970" fmla="*/ 569370 h 6557032"/>
              <a:gd name="connsiteX48971" fmla="*/ 2022613 w 4610101"/>
              <a:gd name="connsiteY48971" fmla="*/ 569370 h 6557032"/>
              <a:gd name="connsiteX48972" fmla="*/ 1971592 w 4610101"/>
              <a:gd name="connsiteY48972" fmla="*/ 642257 h 6557032"/>
              <a:gd name="connsiteX48973" fmla="*/ 1973416 w 4610101"/>
              <a:gd name="connsiteY48973" fmla="*/ 642257 h 6557032"/>
              <a:gd name="connsiteX48974" fmla="*/ 1967948 w 4610101"/>
              <a:gd name="connsiteY48974" fmla="*/ 656834 h 6557032"/>
              <a:gd name="connsiteX48975" fmla="*/ 1966126 w 4610101"/>
              <a:gd name="connsiteY48975" fmla="*/ 616746 h 6557032"/>
              <a:gd name="connsiteX48976" fmla="*/ 1955194 w 4610101"/>
              <a:gd name="connsiteY48976" fmla="*/ 634968 h 6557032"/>
              <a:gd name="connsiteX48977" fmla="*/ 1956332 w 4610101"/>
              <a:gd name="connsiteY48977" fmla="*/ 613558 h 6557032"/>
              <a:gd name="connsiteX48978" fmla="*/ 1960732 w 4610101"/>
              <a:gd name="connsiteY48978" fmla="*/ 607442 h 6557032"/>
              <a:gd name="connsiteX48979" fmla="*/ 1960659 w 4610101"/>
              <a:gd name="connsiteY48979" fmla="*/ 607635 h 6557032"/>
              <a:gd name="connsiteX48980" fmla="*/ 1969770 w 4610101"/>
              <a:gd name="connsiteY48980" fmla="*/ 594880 h 6557032"/>
              <a:gd name="connsiteX48981" fmla="*/ 1964305 w 4610101"/>
              <a:gd name="connsiteY48981" fmla="*/ 589414 h 6557032"/>
              <a:gd name="connsiteX48982" fmla="*/ 1975237 w 4610101"/>
              <a:gd name="connsiteY48982" fmla="*/ 574836 h 6557032"/>
              <a:gd name="connsiteX48983" fmla="*/ 1980703 w 4610101"/>
              <a:gd name="connsiteY48983" fmla="*/ 576658 h 6557032"/>
              <a:gd name="connsiteX48984" fmla="*/ 1977059 w 4610101"/>
              <a:gd name="connsiteY48984" fmla="*/ 558437 h 6557032"/>
              <a:gd name="connsiteX48985" fmla="*/ 1975237 w 4610101"/>
              <a:gd name="connsiteY48985" fmla="*/ 562081 h 6557032"/>
              <a:gd name="connsiteX48986" fmla="*/ 1978881 w 4610101"/>
              <a:gd name="connsiteY48986" fmla="*/ 542037 h 6557032"/>
              <a:gd name="connsiteX48987" fmla="*/ 1984348 w 4610101"/>
              <a:gd name="connsiteY48987" fmla="*/ 549326 h 6557032"/>
              <a:gd name="connsiteX48988" fmla="*/ 1986788 w 4610101"/>
              <a:gd name="connsiteY48988" fmla="*/ 547806 h 6557032"/>
              <a:gd name="connsiteX48989" fmla="*/ 1984120 w 4610101"/>
              <a:gd name="connsiteY48989" fmla="*/ 552515 h 6557032"/>
              <a:gd name="connsiteX48990" fmla="*/ 1984348 w 4610101"/>
              <a:gd name="connsiteY48990" fmla="*/ 562081 h 6557032"/>
              <a:gd name="connsiteX48991" fmla="*/ 1989586 w 4610101"/>
              <a:gd name="connsiteY48991" fmla="*/ 555248 h 6557032"/>
              <a:gd name="connsiteX48992" fmla="*/ 1988199 w 4610101"/>
              <a:gd name="connsiteY48992" fmla="*/ 546927 h 6557032"/>
              <a:gd name="connsiteX48993" fmla="*/ 1998242 w 4610101"/>
              <a:gd name="connsiteY48993" fmla="*/ 540671 h 6557032"/>
              <a:gd name="connsiteX48994" fmla="*/ 2008036 w 4610101"/>
              <a:gd name="connsiteY48994" fmla="*/ 523815 h 6557032"/>
              <a:gd name="connsiteX48995" fmla="*/ 2002570 w 4610101"/>
              <a:gd name="connsiteY48995" fmla="*/ 512882 h 6557032"/>
              <a:gd name="connsiteX48996" fmla="*/ 2009858 w 4610101"/>
              <a:gd name="connsiteY48996" fmla="*/ 523815 h 6557032"/>
              <a:gd name="connsiteX48997" fmla="*/ 2008036 w 4610101"/>
              <a:gd name="connsiteY48997" fmla="*/ 465506 h 6557032"/>
              <a:gd name="connsiteX48998" fmla="*/ 2008036 w 4610101"/>
              <a:gd name="connsiteY48998" fmla="*/ 472795 h 6557032"/>
              <a:gd name="connsiteX48999" fmla="*/ 2004392 w 4610101"/>
              <a:gd name="connsiteY48999" fmla="*/ 467328 h 6557032"/>
              <a:gd name="connsiteX49000" fmla="*/ 2006214 w 4610101"/>
              <a:gd name="connsiteY49000" fmla="*/ 489194 h 6557032"/>
              <a:gd name="connsiteX49001" fmla="*/ 2004392 w 4610101"/>
              <a:gd name="connsiteY49001" fmla="*/ 487373 h 6557032"/>
              <a:gd name="connsiteX49002" fmla="*/ 2004392 w 4610101"/>
              <a:gd name="connsiteY49002" fmla="*/ 494662 h 6557032"/>
              <a:gd name="connsiteX49003" fmla="*/ 1993459 w 4610101"/>
              <a:gd name="connsiteY49003" fmla="*/ 476439 h 6557032"/>
              <a:gd name="connsiteX49004" fmla="*/ 1969528 w 4610101"/>
              <a:gd name="connsiteY49004" fmla="*/ 504738 h 6557032"/>
              <a:gd name="connsiteX49005" fmla="*/ 1969770 w 4610101"/>
              <a:gd name="connsiteY49005" fmla="*/ 503771 h 6557032"/>
              <a:gd name="connsiteX49006" fmla="*/ 1955194 w 4610101"/>
              <a:gd name="connsiteY49006" fmla="*/ 505594 h 6557032"/>
              <a:gd name="connsiteX49007" fmla="*/ 1960659 w 4610101"/>
              <a:gd name="connsiteY49007" fmla="*/ 498306 h 6557032"/>
              <a:gd name="connsiteX49008" fmla="*/ 1964305 w 4610101"/>
              <a:gd name="connsiteY49008" fmla="*/ 503771 h 6557032"/>
              <a:gd name="connsiteX49009" fmla="*/ 1984348 w 4610101"/>
              <a:gd name="connsiteY49009" fmla="*/ 478262 h 6557032"/>
              <a:gd name="connsiteX49010" fmla="*/ 1966126 w 4610101"/>
              <a:gd name="connsiteY49010" fmla="*/ 474618 h 6557032"/>
              <a:gd name="connsiteX49011" fmla="*/ 1965303 w 4610101"/>
              <a:gd name="connsiteY49011" fmla="*/ 481204 h 6557032"/>
              <a:gd name="connsiteX49012" fmla="*/ 1953826 w 4610101"/>
              <a:gd name="connsiteY49012" fmla="*/ 471428 h 6557032"/>
              <a:gd name="connsiteX49013" fmla="*/ 1939186 w 4610101"/>
              <a:gd name="connsiteY49013" fmla="*/ 479857 h 6557032"/>
              <a:gd name="connsiteX49014" fmla="*/ 1936972 w 4610101"/>
              <a:gd name="connsiteY49014" fmla="*/ 469150 h 6557032"/>
              <a:gd name="connsiteX49015" fmla="*/ 1946083 w 4610101"/>
              <a:gd name="connsiteY49015" fmla="*/ 469150 h 6557032"/>
              <a:gd name="connsiteX49016" fmla="*/ 1938793 w 4610101"/>
              <a:gd name="connsiteY49016" fmla="*/ 443640 h 6557032"/>
              <a:gd name="connsiteX49017" fmla="*/ 1947904 w 4610101"/>
              <a:gd name="connsiteY49017" fmla="*/ 443640 h 6557032"/>
              <a:gd name="connsiteX49018" fmla="*/ 1947904 w 4610101"/>
              <a:gd name="connsiteY49018" fmla="*/ 465506 h 6557032"/>
              <a:gd name="connsiteX49019" fmla="*/ 1953371 w 4610101"/>
              <a:gd name="connsiteY49019" fmla="*/ 463684 h 6557032"/>
              <a:gd name="connsiteX49020" fmla="*/ 1953371 w 4610101"/>
              <a:gd name="connsiteY49020" fmla="*/ 458218 h 6557032"/>
              <a:gd name="connsiteX49021" fmla="*/ 1989814 w 4610101"/>
              <a:gd name="connsiteY49021" fmla="*/ 467328 h 6557032"/>
              <a:gd name="connsiteX49022" fmla="*/ 1986170 w 4610101"/>
              <a:gd name="connsiteY49022" fmla="*/ 456395 h 6557032"/>
              <a:gd name="connsiteX49023" fmla="*/ 1984348 w 4610101"/>
              <a:gd name="connsiteY49023" fmla="*/ 458218 h 6557032"/>
              <a:gd name="connsiteX49024" fmla="*/ 1985837 w 4610101"/>
              <a:gd name="connsiteY49024" fmla="*/ 454591 h 6557032"/>
              <a:gd name="connsiteX49025" fmla="*/ 1984347 w 4610101"/>
              <a:gd name="connsiteY49025" fmla="*/ 454591 h 6557032"/>
              <a:gd name="connsiteX49026" fmla="*/ 1986169 w 4610101"/>
              <a:gd name="connsiteY49026" fmla="*/ 447302 h 6557032"/>
              <a:gd name="connsiteX49027" fmla="*/ 1986169 w 4610101"/>
              <a:gd name="connsiteY49027" fmla="*/ 453784 h 6557032"/>
              <a:gd name="connsiteX49028" fmla="*/ 1989586 w 4610101"/>
              <a:gd name="connsiteY49028" fmla="*/ 445463 h 6557032"/>
              <a:gd name="connsiteX49029" fmla="*/ 1998925 w 4610101"/>
              <a:gd name="connsiteY49029" fmla="*/ 443640 h 6557032"/>
              <a:gd name="connsiteX49030" fmla="*/ 1998925 w 4610101"/>
              <a:gd name="connsiteY49030" fmla="*/ 447284 h 6557032"/>
              <a:gd name="connsiteX49031" fmla="*/ 1997103 w 4610101"/>
              <a:gd name="connsiteY49031" fmla="*/ 445463 h 6557032"/>
              <a:gd name="connsiteX49032" fmla="*/ 1995281 w 4610101"/>
              <a:gd name="connsiteY49032" fmla="*/ 447284 h 6557032"/>
              <a:gd name="connsiteX49033" fmla="*/ 1993459 w 4610101"/>
              <a:gd name="connsiteY49033" fmla="*/ 447284 h 6557032"/>
              <a:gd name="connsiteX49034" fmla="*/ 1989814 w 4610101"/>
              <a:gd name="connsiteY49034" fmla="*/ 452751 h 6557032"/>
              <a:gd name="connsiteX49035" fmla="*/ 1993459 w 4610101"/>
              <a:gd name="connsiteY49035" fmla="*/ 452751 h 6557032"/>
              <a:gd name="connsiteX49036" fmla="*/ 1991638 w 4610101"/>
              <a:gd name="connsiteY49036" fmla="*/ 456395 h 6557032"/>
              <a:gd name="connsiteX49037" fmla="*/ 1991638 w 4610101"/>
              <a:gd name="connsiteY49037" fmla="*/ 463684 h 6557032"/>
              <a:gd name="connsiteX49038" fmla="*/ 2000747 w 4610101"/>
              <a:gd name="connsiteY49038" fmla="*/ 461862 h 6557032"/>
              <a:gd name="connsiteX49039" fmla="*/ 2000747 w 4610101"/>
              <a:gd name="connsiteY49039" fmla="*/ 454574 h 6557032"/>
              <a:gd name="connsiteX49040" fmla="*/ 1997103 w 4610101"/>
              <a:gd name="connsiteY49040" fmla="*/ 450928 h 6557032"/>
              <a:gd name="connsiteX49041" fmla="*/ 2002570 w 4610101"/>
              <a:gd name="connsiteY49041" fmla="*/ 449107 h 6557032"/>
              <a:gd name="connsiteX49042" fmla="*/ 2002570 w 4610101"/>
              <a:gd name="connsiteY49042" fmla="*/ 443640 h 6557032"/>
              <a:gd name="connsiteX49043" fmla="*/ 2000747 w 4610101"/>
              <a:gd name="connsiteY49043" fmla="*/ 443640 h 6557032"/>
              <a:gd name="connsiteX49044" fmla="*/ 1997103 w 4610101"/>
              <a:gd name="connsiteY49044" fmla="*/ 432707 h 6557032"/>
              <a:gd name="connsiteX49045" fmla="*/ 2026258 w 4610101"/>
              <a:gd name="connsiteY49045" fmla="*/ 430886 h 6557032"/>
              <a:gd name="connsiteX49046" fmla="*/ 2024436 w 4610101"/>
              <a:gd name="connsiteY49046" fmla="*/ 407196 h 6557032"/>
              <a:gd name="connsiteX49047" fmla="*/ 2029902 w 4610101"/>
              <a:gd name="connsiteY49047" fmla="*/ 430886 h 6557032"/>
              <a:gd name="connsiteX49048" fmla="*/ 2071812 w 4610101"/>
              <a:gd name="connsiteY49048" fmla="*/ 423596 h 6557032"/>
              <a:gd name="connsiteX49049" fmla="*/ 2079101 w 4610101"/>
              <a:gd name="connsiteY49049" fmla="*/ 418129 h 6557032"/>
              <a:gd name="connsiteX49050" fmla="*/ 2081033 w 4610101"/>
              <a:gd name="connsiteY49050" fmla="*/ 409128 h 6557032"/>
              <a:gd name="connsiteX49051" fmla="*/ 2082745 w 4610101"/>
              <a:gd name="connsiteY49051" fmla="*/ 410841 h 6557032"/>
              <a:gd name="connsiteX49052" fmla="*/ 2081290 w 4610101"/>
              <a:gd name="connsiteY49052" fmla="*/ 407930 h 6557032"/>
              <a:gd name="connsiteX49053" fmla="*/ 2083145 w 4610101"/>
              <a:gd name="connsiteY49053" fmla="*/ 399285 h 6557032"/>
              <a:gd name="connsiteX49054" fmla="*/ 2086390 w 4610101"/>
              <a:gd name="connsiteY49054" fmla="*/ 409019 h 6557032"/>
              <a:gd name="connsiteX49055" fmla="*/ 2090034 w 4610101"/>
              <a:gd name="connsiteY49055" fmla="*/ 410841 h 6557032"/>
              <a:gd name="connsiteX49056" fmla="*/ 2091856 w 4610101"/>
              <a:gd name="connsiteY49056" fmla="*/ 401731 h 6557032"/>
              <a:gd name="connsiteX49057" fmla="*/ 2099145 w 4610101"/>
              <a:gd name="connsiteY49057" fmla="*/ 399908 h 6557032"/>
              <a:gd name="connsiteX49058" fmla="*/ 2104611 w 4610101"/>
              <a:gd name="connsiteY49058" fmla="*/ 388976 h 6557032"/>
              <a:gd name="connsiteX49059" fmla="*/ 2115544 w 4610101"/>
              <a:gd name="connsiteY49059" fmla="*/ 401731 h 6557032"/>
              <a:gd name="connsiteX49060" fmla="*/ 2115544 w 4610101"/>
              <a:gd name="connsiteY49060" fmla="*/ 388976 h 6557032"/>
              <a:gd name="connsiteX49061" fmla="*/ 2117366 w 4610101"/>
              <a:gd name="connsiteY49061" fmla="*/ 396264 h 6557032"/>
              <a:gd name="connsiteX49062" fmla="*/ 2128300 w 4610101"/>
              <a:gd name="connsiteY49062" fmla="*/ 407196 h 6557032"/>
              <a:gd name="connsiteX49063" fmla="*/ 2128374 w 4610101"/>
              <a:gd name="connsiteY49063" fmla="*/ 405272 h 6557032"/>
              <a:gd name="connsiteX49064" fmla="*/ 2131261 w 4610101"/>
              <a:gd name="connsiteY49064" fmla="*/ 401275 h 6557032"/>
              <a:gd name="connsiteX49065" fmla="*/ 2130122 w 4610101"/>
              <a:gd name="connsiteY49065" fmla="*/ 394441 h 6557032"/>
              <a:gd name="connsiteX49066" fmla="*/ 2128644 w 4610101"/>
              <a:gd name="connsiteY49066" fmla="*/ 398241 h 6557032"/>
              <a:gd name="connsiteX49067" fmla="*/ 2128755 w 4610101"/>
              <a:gd name="connsiteY49067" fmla="*/ 395353 h 6557032"/>
              <a:gd name="connsiteX49068" fmla="*/ 2131944 w 4610101"/>
              <a:gd name="connsiteY49068" fmla="*/ 383509 h 6557032"/>
              <a:gd name="connsiteX49069" fmla="*/ 2142877 w 4610101"/>
              <a:gd name="connsiteY49069" fmla="*/ 407196 h 6557032"/>
              <a:gd name="connsiteX49070" fmla="*/ 2146521 w 4610101"/>
              <a:gd name="connsiteY49070" fmla="*/ 405375 h 6557032"/>
              <a:gd name="connsiteX49071" fmla="*/ 2146521 w 4610101"/>
              <a:gd name="connsiteY49071" fmla="*/ 394441 h 6557032"/>
              <a:gd name="connsiteX49072" fmla="*/ 2141055 w 4610101"/>
              <a:gd name="connsiteY49072" fmla="*/ 392620 h 6557032"/>
              <a:gd name="connsiteX49073" fmla="*/ 2141055 w 4610101"/>
              <a:gd name="connsiteY49073" fmla="*/ 399908 h 6557032"/>
              <a:gd name="connsiteX49074" fmla="*/ 2137410 w 4610101"/>
              <a:gd name="connsiteY49074" fmla="*/ 392620 h 6557032"/>
              <a:gd name="connsiteX49075" fmla="*/ 2142877 w 4610101"/>
              <a:gd name="connsiteY49075" fmla="*/ 385331 h 6557032"/>
              <a:gd name="connsiteX49076" fmla="*/ 2153810 w 4610101"/>
              <a:gd name="connsiteY49076" fmla="*/ 385331 h 6557032"/>
              <a:gd name="connsiteX49077" fmla="*/ 2148344 w 4610101"/>
              <a:gd name="connsiteY49077" fmla="*/ 379865 h 6557032"/>
              <a:gd name="connsiteX49078" fmla="*/ 2153810 w 4610101"/>
              <a:gd name="connsiteY49078" fmla="*/ 370754 h 6557032"/>
              <a:gd name="connsiteX49079" fmla="*/ 2155632 w 4610101"/>
              <a:gd name="connsiteY49079" fmla="*/ 356176 h 6557032"/>
              <a:gd name="connsiteX49080" fmla="*/ 2055413 w 4610101"/>
              <a:gd name="connsiteY49080" fmla="*/ 356176 h 6557032"/>
              <a:gd name="connsiteX49081" fmla="*/ 2074547 w 4610101"/>
              <a:gd name="connsiteY49081" fmla="*/ 370981 h 6557032"/>
              <a:gd name="connsiteX49082" fmla="*/ 2075574 w 4610101"/>
              <a:gd name="connsiteY49082" fmla="*/ 374376 h 6557032"/>
              <a:gd name="connsiteX49083" fmla="*/ 2067570 w 4610101"/>
              <a:gd name="connsiteY49083" fmla="*/ 366112 h 6557032"/>
              <a:gd name="connsiteX49084" fmla="*/ 2046302 w 4610101"/>
              <a:gd name="connsiteY49084" fmla="*/ 365287 h 6557032"/>
              <a:gd name="connsiteX49085" fmla="*/ 2048124 w 4610101"/>
              <a:gd name="connsiteY49085" fmla="*/ 372576 h 6557032"/>
              <a:gd name="connsiteX49086" fmla="*/ 2040835 w 4610101"/>
              <a:gd name="connsiteY49086" fmla="*/ 365287 h 6557032"/>
              <a:gd name="connsiteX49087" fmla="*/ 2035369 w 4610101"/>
              <a:gd name="connsiteY49087" fmla="*/ 365287 h 6557032"/>
              <a:gd name="connsiteX49088" fmla="*/ 2035369 w 4610101"/>
              <a:gd name="connsiteY49088" fmla="*/ 376220 h 6557032"/>
              <a:gd name="connsiteX49089" fmla="*/ 2033546 w 4610101"/>
              <a:gd name="connsiteY49089" fmla="*/ 383509 h 6557032"/>
              <a:gd name="connsiteX49090" fmla="*/ 2029902 w 4610101"/>
              <a:gd name="connsiteY49090" fmla="*/ 374397 h 6557032"/>
              <a:gd name="connsiteX49091" fmla="*/ 1993459 w 4610101"/>
              <a:gd name="connsiteY49091" fmla="*/ 398085 h 6557032"/>
              <a:gd name="connsiteX49092" fmla="*/ 1982071 w 4610101"/>
              <a:gd name="connsiteY49092" fmla="*/ 405375 h 6557032"/>
              <a:gd name="connsiteX49093" fmla="*/ 1980519 w 4610101"/>
              <a:gd name="connsiteY49093" fmla="*/ 414236 h 6557032"/>
              <a:gd name="connsiteX49094" fmla="*/ 1986170 w 4610101"/>
              <a:gd name="connsiteY49094" fmla="*/ 416329 h 6557032"/>
              <a:gd name="connsiteX49095" fmla="*/ 1993459 w 4610101"/>
              <a:gd name="connsiteY49095" fmla="*/ 403574 h 6557032"/>
              <a:gd name="connsiteX49096" fmla="*/ 1984348 w 4610101"/>
              <a:gd name="connsiteY49096" fmla="*/ 425440 h 6557032"/>
              <a:gd name="connsiteX49097" fmla="*/ 1984348 w 4610101"/>
              <a:gd name="connsiteY49097" fmla="*/ 425444 h 6557032"/>
              <a:gd name="connsiteX49098" fmla="*/ 1984348 w 4610101"/>
              <a:gd name="connsiteY49098" fmla="*/ 430907 h 6557032"/>
              <a:gd name="connsiteX49099" fmla="*/ 1977236 w 4610101"/>
              <a:gd name="connsiteY49099" fmla="*/ 426561 h 6557032"/>
              <a:gd name="connsiteX49100" fmla="*/ 1977287 w 4610101"/>
              <a:gd name="connsiteY49100" fmla="*/ 427924 h 6557032"/>
              <a:gd name="connsiteX49101" fmla="*/ 1978881 w 4610101"/>
              <a:gd name="connsiteY49101" fmla="*/ 432707 h 6557032"/>
              <a:gd name="connsiteX49102" fmla="*/ 1974995 w 4610101"/>
              <a:gd name="connsiteY49102" fmla="*/ 424934 h 6557032"/>
              <a:gd name="connsiteX49103" fmla="*/ 1973416 w 4610101"/>
              <a:gd name="connsiteY49103" fmla="*/ 423618 h 6557032"/>
              <a:gd name="connsiteX49104" fmla="*/ 1971092 w 4610101"/>
              <a:gd name="connsiteY49104" fmla="*/ 420133 h 6557032"/>
              <a:gd name="connsiteX49105" fmla="*/ 1970130 w 4610101"/>
              <a:gd name="connsiteY49105" fmla="*/ 423978 h 6557032"/>
              <a:gd name="connsiteX49106" fmla="*/ 1971592 w 4610101"/>
              <a:gd name="connsiteY49106" fmla="*/ 425440 h 6557032"/>
              <a:gd name="connsiteX49107" fmla="*/ 1971592 w 4610101"/>
              <a:gd name="connsiteY49107" fmla="*/ 423618 h 6557032"/>
              <a:gd name="connsiteX49108" fmla="*/ 1975237 w 4610101"/>
              <a:gd name="connsiteY49108" fmla="*/ 434551 h 6557032"/>
              <a:gd name="connsiteX49109" fmla="*/ 1971592 w 4610101"/>
              <a:gd name="connsiteY49109" fmla="*/ 434551 h 6557032"/>
              <a:gd name="connsiteX49110" fmla="*/ 1969950 w 4610101"/>
              <a:gd name="connsiteY49110" fmla="*/ 424698 h 6557032"/>
              <a:gd name="connsiteX49111" fmla="*/ 1969770 w 4610101"/>
              <a:gd name="connsiteY49111" fmla="*/ 425419 h 6557032"/>
              <a:gd name="connsiteX49112" fmla="*/ 1958837 w 4610101"/>
              <a:gd name="connsiteY49112" fmla="*/ 436351 h 6557032"/>
              <a:gd name="connsiteX49113" fmla="*/ 1947904 w 4610101"/>
              <a:gd name="connsiteY49113" fmla="*/ 434530 h 6557032"/>
              <a:gd name="connsiteX49114" fmla="*/ 1977059 w 4610101"/>
              <a:gd name="connsiteY49114" fmla="*/ 414485 h 6557032"/>
              <a:gd name="connsiteX49115" fmla="*/ 1973416 w 4610101"/>
              <a:gd name="connsiteY49115" fmla="*/ 399908 h 6557032"/>
              <a:gd name="connsiteX49116" fmla="*/ 1989814 w 4610101"/>
              <a:gd name="connsiteY49116" fmla="*/ 390797 h 6557032"/>
              <a:gd name="connsiteX49117" fmla="*/ 1991638 w 4610101"/>
              <a:gd name="connsiteY49117" fmla="*/ 379865 h 6557032"/>
              <a:gd name="connsiteX49118" fmla="*/ 1971592 w 4610101"/>
              <a:gd name="connsiteY49118" fmla="*/ 399908 h 6557032"/>
              <a:gd name="connsiteX49119" fmla="*/ 1968859 w 4610101"/>
              <a:gd name="connsiteY49119" fmla="*/ 397175 h 6557032"/>
              <a:gd name="connsiteX49120" fmla="*/ 1987992 w 4610101"/>
              <a:gd name="connsiteY49120" fmla="*/ 378041 h 6557032"/>
              <a:gd name="connsiteX49121" fmla="*/ 2008036 w 4610101"/>
              <a:gd name="connsiteY49121" fmla="*/ 368932 h 6557032"/>
              <a:gd name="connsiteX49122" fmla="*/ 1996647 w 4610101"/>
              <a:gd name="connsiteY49122" fmla="*/ 371437 h 6557032"/>
              <a:gd name="connsiteX49123" fmla="*/ 1987992 w 4610101"/>
              <a:gd name="connsiteY49123" fmla="*/ 378041 h 6557032"/>
              <a:gd name="connsiteX49124" fmla="*/ 1989814 w 4610101"/>
              <a:gd name="connsiteY49124" fmla="*/ 376220 h 6557032"/>
              <a:gd name="connsiteX49125" fmla="*/ 1973416 w 4610101"/>
              <a:gd name="connsiteY49125" fmla="*/ 387152 h 6557032"/>
              <a:gd name="connsiteX49126" fmla="*/ 1962482 w 4610101"/>
              <a:gd name="connsiteY49126" fmla="*/ 387152 h 6557032"/>
              <a:gd name="connsiteX49127" fmla="*/ 1962482 w 4610101"/>
              <a:gd name="connsiteY49127" fmla="*/ 388976 h 6557032"/>
              <a:gd name="connsiteX49128" fmla="*/ 1958837 w 4610101"/>
              <a:gd name="connsiteY49128" fmla="*/ 388976 h 6557032"/>
              <a:gd name="connsiteX49129" fmla="*/ 1958837 w 4610101"/>
              <a:gd name="connsiteY49129" fmla="*/ 392620 h 6557032"/>
              <a:gd name="connsiteX49130" fmla="*/ 1953371 w 4610101"/>
              <a:gd name="connsiteY49130" fmla="*/ 390797 h 6557032"/>
              <a:gd name="connsiteX49131" fmla="*/ 1953371 w 4610101"/>
              <a:gd name="connsiteY49131" fmla="*/ 392620 h 6557032"/>
              <a:gd name="connsiteX49132" fmla="*/ 1949726 w 4610101"/>
              <a:gd name="connsiteY49132" fmla="*/ 393986 h 6557032"/>
              <a:gd name="connsiteX49133" fmla="*/ 1949726 w 4610101"/>
              <a:gd name="connsiteY49133" fmla="*/ 394459 h 6557032"/>
              <a:gd name="connsiteX49134" fmla="*/ 1946083 w 4610101"/>
              <a:gd name="connsiteY49134" fmla="*/ 398103 h 6557032"/>
              <a:gd name="connsiteX49135" fmla="*/ 1945266 w 4610101"/>
              <a:gd name="connsiteY49135" fmla="*/ 395659 h 6557032"/>
              <a:gd name="connsiteX49136" fmla="*/ 1942264 w 4610101"/>
              <a:gd name="connsiteY49136" fmla="*/ 396784 h 6557032"/>
              <a:gd name="connsiteX49137" fmla="*/ 1942209 w 4610101"/>
              <a:gd name="connsiteY49137" fmla="*/ 398104 h 6557032"/>
              <a:gd name="connsiteX49138" fmla="*/ 1940615 w 4610101"/>
              <a:gd name="connsiteY49138" fmla="*/ 398104 h 6557032"/>
              <a:gd name="connsiteX49139" fmla="*/ 1940615 w 4610101"/>
              <a:gd name="connsiteY49139" fmla="*/ 397403 h 6557032"/>
              <a:gd name="connsiteX49140" fmla="*/ 1938793 w 4610101"/>
              <a:gd name="connsiteY49140" fmla="*/ 398086 h 6557032"/>
              <a:gd name="connsiteX49141" fmla="*/ 1924216 w 4610101"/>
              <a:gd name="connsiteY49141" fmla="*/ 392620 h 6557032"/>
              <a:gd name="connsiteX49142" fmla="*/ 1922394 w 4610101"/>
              <a:gd name="connsiteY49142" fmla="*/ 398085 h 6557032"/>
              <a:gd name="connsiteX49143" fmla="*/ 1904172 w 4610101"/>
              <a:gd name="connsiteY49143" fmla="*/ 387152 h 6557032"/>
              <a:gd name="connsiteX49144" fmla="*/ 1905791 w 4610101"/>
              <a:gd name="connsiteY49144" fmla="*/ 383913 h 6557032"/>
              <a:gd name="connsiteX49145" fmla="*/ 1907816 w 4610101"/>
              <a:gd name="connsiteY49145" fmla="*/ 387152 h 6557032"/>
              <a:gd name="connsiteX49146" fmla="*/ 1905994 w 4610101"/>
              <a:gd name="connsiteY49146" fmla="*/ 383509 h 6557032"/>
              <a:gd name="connsiteX49147" fmla="*/ 1905791 w 4610101"/>
              <a:gd name="connsiteY49147" fmla="*/ 383913 h 6557032"/>
              <a:gd name="connsiteX49148" fmla="*/ 1902122 w 4610101"/>
              <a:gd name="connsiteY49148" fmla="*/ 378042 h 6557032"/>
              <a:gd name="connsiteX49149" fmla="*/ 1900528 w 4610101"/>
              <a:gd name="connsiteY49149" fmla="*/ 368932 h 6557032"/>
              <a:gd name="connsiteX49150" fmla="*/ 1898706 w 4610101"/>
              <a:gd name="connsiteY49150" fmla="*/ 370754 h 6557032"/>
              <a:gd name="connsiteX49151" fmla="*/ 1896883 w 4610101"/>
              <a:gd name="connsiteY49151" fmla="*/ 359821 h 6557032"/>
              <a:gd name="connsiteX49152" fmla="*/ 1904172 w 4610101"/>
              <a:gd name="connsiteY49152" fmla="*/ 367109 h 6557032"/>
              <a:gd name="connsiteX49153" fmla="*/ 1905994 w 4610101"/>
              <a:gd name="connsiteY49153" fmla="*/ 378041 h 6557032"/>
              <a:gd name="connsiteX49154" fmla="*/ 1916927 w 4610101"/>
              <a:gd name="connsiteY49154" fmla="*/ 388976 h 6557032"/>
              <a:gd name="connsiteX49155" fmla="*/ 1931504 w 4610101"/>
              <a:gd name="connsiteY49155" fmla="*/ 393531 h 6557032"/>
              <a:gd name="connsiteX49156" fmla="*/ 1940615 w 4610101"/>
              <a:gd name="connsiteY49156" fmla="*/ 392961 h 6557032"/>
              <a:gd name="connsiteX49157" fmla="*/ 1940615 w 4610101"/>
              <a:gd name="connsiteY49157" fmla="*/ 390816 h 6557032"/>
              <a:gd name="connsiteX49158" fmla="*/ 1942437 w 4610101"/>
              <a:gd name="connsiteY49158" fmla="*/ 392637 h 6557032"/>
              <a:gd name="connsiteX49159" fmla="*/ 1942428 w 4610101"/>
              <a:gd name="connsiteY49159" fmla="*/ 392848 h 6557032"/>
              <a:gd name="connsiteX49160" fmla="*/ 1944290 w 4610101"/>
              <a:gd name="connsiteY49160" fmla="*/ 392731 h 6557032"/>
              <a:gd name="connsiteX49161" fmla="*/ 1944259 w 4610101"/>
              <a:gd name="connsiteY49161" fmla="*/ 392637 h 6557032"/>
              <a:gd name="connsiteX49162" fmla="*/ 1944268 w 4610101"/>
              <a:gd name="connsiteY49162" fmla="*/ 392620 h 6557032"/>
              <a:gd name="connsiteX49163" fmla="*/ 1942438 w 4610101"/>
              <a:gd name="connsiteY49163" fmla="*/ 392620 h 6557032"/>
              <a:gd name="connsiteX49164" fmla="*/ 1944260 w 4610101"/>
              <a:gd name="connsiteY49164" fmla="*/ 381687 h 6557032"/>
              <a:gd name="connsiteX49165" fmla="*/ 1946083 w 4610101"/>
              <a:gd name="connsiteY49165" fmla="*/ 383509 h 6557032"/>
              <a:gd name="connsiteX49166" fmla="*/ 1944260 w 4610101"/>
              <a:gd name="connsiteY49166" fmla="*/ 379865 h 6557032"/>
              <a:gd name="connsiteX49167" fmla="*/ 1946083 w 4610101"/>
              <a:gd name="connsiteY49167" fmla="*/ 379865 h 6557032"/>
              <a:gd name="connsiteX49168" fmla="*/ 1944260 w 4610101"/>
              <a:gd name="connsiteY49168" fmla="*/ 378041 h 6557032"/>
              <a:gd name="connsiteX49169" fmla="*/ 1947904 w 4610101"/>
              <a:gd name="connsiteY49169" fmla="*/ 372576 h 6557032"/>
              <a:gd name="connsiteX49170" fmla="*/ 1949726 w 4610101"/>
              <a:gd name="connsiteY49170" fmla="*/ 378041 h 6557032"/>
              <a:gd name="connsiteX49171" fmla="*/ 1951549 w 4610101"/>
              <a:gd name="connsiteY49171" fmla="*/ 370754 h 6557032"/>
              <a:gd name="connsiteX49172" fmla="*/ 1958837 w 4610101"/>
              <a:gd name="connsiteY49172" fmla="*/ 381687 h 6557032"/>
              <a:gd name="connsiteX49173" fmla="*/ 1966126 w 4610101"/>
              <a:gd name="connsiteY49173" fmla="*/ 374397 h 6557032"/>
              <a:gd name="connsiteX49174" fmla="*/ 1973416 w 4610101"/>
              <a:gd name="connsiteY49174" fmla="*/ 376220 h 6557032"/>
              <a:gd name="connsiteX49175" fmla="*/ 1986170 w 4610101"/>
              <a:gd name="connsiteY49175" fmla="*/ 367109 h 6557032"/>
              <a:gd name="connsiteX49176" fmla="*/ 1975237 w 4610101"/>
              <a:gd name="connsiteY49176" fmla="*/ 370754 h 6557032"/>
              <a:gd name="connsiteX49177" fmla="*/ 1995281 w 4610101"/>
              <a:gd name="connsiteY49177" fmla="*/ 361642 h 6557032"/>
              <a:gd name="connsiteX49178" fmla="*/ 2000747 w 4610101"/>
              <a:gd name="connsiteY49178" fmla="*/ 354354 h 6557032"/>
              <a:gd name="connsiteX49179" fmla="*/ 1998925 w 4610101"/>
              <a:gd name="connsiteY49179" fmla="*/ 359821 h 6557032"/>
              <a:gd name="connsiteX49180" fmla="*/ 2017147 w 4610101"/>
              <a:gd name="connsiteY49180" fmla="*/ 365287 h 6557032"/>
              <a:gd name="connsiteX49181" fmla="*/ 2028080 w 4610101"/>
              <a:gd name="connsiteY49181" fmla="*/ 363465 h 6557032"/>
              <a:gd name="connsiteX49182" fmla="*/ 2020680 w 4610101"/>
              <a:gd name="connsiteY49182" fmla="*/ 356064 h 6557032"/>
              <a:gd name="connsiteX49183" fmla="*/ 2043341 w 4610101"/>
              <a:gd name="connsiteY49183" fmla="*/ 354581 h 6557032"/>
              <a:gd name="connsiteX49184" fmla="*/ 2055413 w 4610101"/>
              <a:gd name="connsiteY49184" fmla="*/ 343421 h 6557032"/>
              <a:gd name="connsiteX49185" fmla="*/ 2090034 w 4610101"/>
              <a:gd name="connsiteY49185" fmla="*/ 345242 h 6557032"/>
              <a:gd name="connsiteX49186" fmla="*/ 2091856 w 4610101"/>
              <a:gd name="connsiteY49186" fmla="*/ 327022 h 6557032"/>
              <a:gd name="connsiteX49187" fmla="*/ 2066346 w 4610101"/>
              <a:gd name="connsiteY49187" fmla="*/ 341598 h 6557032"/>
              <a:gd name="connsiteX49188" fmla="*/ 2091856 w 4610101"/>
              <a:gd name="connsiteY49188" fmla="*/ 321555 h 6557032"/>
              <a:gd name="connsiteX49189" fmla="*/ 2090034 w 4610101"/>
              <a:gd name="connsiteY49189" fmla="*/ 308800 h 6557032"/>
              <a:gd name="connsiteX49190" fmla="*/ 2057235 w 4610101"/>
              <a:gd name="connsiteY49190" fmla="*/ 306978 h 6557032"/>
              <a:gd name="connsiteX49191" fmla="*/ 2059057 w 4610101"/>
              <a:gd name="connsiteY49191" fmla="*/ 314266 h 6557032"/>
              <a:gd name="connsiteX49192" fmla="*/ 2053590 w 4610101"/>
              <a:gd name="connsiteY49192" fmla="*/ 310622 h 6557032"/>
              <a:gd name="connsiteX49193" fmla="*/ 2055413 w 4610101"/>
              <a:gd name="connsiteY49193" fmla="*/ 317911 h 6557032"/>
              <a:gd name="connsiteX49194" fmla="*/ 2048124 w 4610101"/>
              <a:gd name="connsiteY49194" fmla="*/ 325199 h 6557032"/>
              <a:gd name="connsiteX49195" fmla="*/ 2046302 w 4610101"/>
              <a:gd name="connsiteY49195" fmla="*/ 317911 h 6557032"/>
              <a:gd name="connsiteX49196" fmla="*/ 2039013 w 4610101"/>
              <a:gd name="connsiteY49196" fmla="*/ 319733 h 6557032"/>
              <a:gd name="connsiteX49197" fmla="*/ 2031724 w 4610101"/>
              <a:gd name="connsiteY49197" fmla="*/ 327022 h 6557032"/>
              <a:gd name="connsiteX49198" fmla="*/ 2028080 w 4610101"/>
              <a:gd name="connsiteY49198" fmla="*/ 317911 h 6557032"/>
              <a:gd name="connsiteX49199" fmla="*/ 2017147 w 4610101"/>
              <a:gd name="connsiteY49199" fmla="*/ 316089 h 6557032"/>
              <a:gd name="connsiteX49200" fmla="*/ 2022613 w 4610101"/>
              <a:gd name="connsiteY49200" fmla="*/ 305155 h 6557032"/>
              <a:gd name="connsiteX49201" fmla="*/ 2029902 w 4610101"/>
              <a:gd name="connsiteY49201" fmla="*/ 310622 h 6557032"/>
              <a:gd name="connsiteX49202" fmla="*/ 2048124 w 4610101"/>
              <a:gd name="connsiteY49202" fmla="*/ 314266 h 6557032"/>
              <a:gd name="connsiteX49203" fmla="*/ 2051768 w 4610101"/>
              <a:gd name="connsiteY49203" fmla="*/ 303333 h 6557032"/>
              <a:gd name="connsiteX49204" fmla="*/ 2033546 w 4610101"/>
              <a:gd name="connsiteY49204" fmla="*/ 294223 h 6557032"/>
              <a:gd name="connsiteX49205" fmla="*/ 2035369 w 4610101"/>
              <a:gd name="connsiteY49205" fmla="*/ 301511 h 6557032"/>
              <a:gd name="connsiteX49206" fmla="*/ 2024436 w 4610101"/>
              <a:gd name="connsiteY49206" fmla="*/ 297867 h 6557032"/>
              <a:gd name="connsiteX49207" fmla="*/ 2024436 w 4610101"/>
              <a:gd name="connsiteY49207" fmla="*/ 301511 h 6557032"/>
              <a:gd name="connsiteX49208" fmla="*/ 1993459 w 4610101"/>
              <a:gd name="connsiteY49208" fmla="*/ 314266 h 6557032"/>
              <a:gd name="connsiteX49209" fmla="*/ 1987992 w 4610101"/>
              <a:gd name="connsiteY49209" fmla="*/ 330666 h 6557032"/>
              <a:gd name="connsiteX49210" fmla="*/ 1980703 w 4610101"/>
              <a:gd name="connsiteY49210" fmla="*/ 328844 h 6557032"/>
              <a:gd name="connsiteX49211" fmla="*/ 1982527 w 4610101"/>
              <a:gd name="connsiteY49211" fmla="*/ 339777 h 6557032"/>
              <a:gd name="connsiteX49212" fmla="*/ 1973416 w 4610101"/>
              <a:gd name="connsiteY49212" fmla="*/ 328844 h 6557032"/>
              <a:gd name="connsiteX49213" fmla="*/ 1969770 w 4610101"/>
              <a:gd name="connsiteY49213" fmla="*/ 348888 h 6557032"/>
              <a:gd name="connsiteX49214" fmla="*/ 1966126 w 4610101"/>
              <a:gd name="connsiteY49214" fmla="*/ 334310 h 6557032"/>
              <a:gd name="connsiteX49215" fmla="*/ 1931505 w 4610101"/>
              <a:gd name="connsiteY49215" fmla="*/ 354354 h 6557032"/>
              <a:gd name="connsiteX49216" fmla="*/ 1929683 w 4610101"/>
              <a:gd name="connsiteY49216" fmla="*/ 348888 h 6557032"/>
              <a:gd name="connsiteX49217" fmla="*/ 1929683 w 4610101"/>
              <a:gd name="connsiteY49217" fmla="*/ 347066 h 6557032"/>
              <a:gd name="connsiteX49218" fmla="*/ 1927861 w 4610101"/>
              <a:gd name="connsiteY49218" fmla="*/ 347066 h 6557032"/>
              <a:gd name="connsiteX49219" fmla="*/ 1923991 w 4610101"/>
              <a:gd name="connsiteY49219" fmla="*/ 343970 h 6557032"/>
              <a:gd name="connsiteX49220" fmla="*/ 1922393 w 4610101"/>
              <a:gd name="connsiteY49220" fmla="*/ 343438 h 6557032"/>
              <a:gd name="connsiteX49221" fmla="*/ 1922717 w 4610101"/>
              <a:gd name="connsiteY49221" fmla="*/ 342951 h 6557032"/>
              <a:gd name="connsiteX49222" fmla="*/ 1918750 w 4610101"/>
              <a:gd name="connsiteY49222" fmla="*/ 339777 h 6557032"/>
              <a:gd name="connsiteX49223" fmla="*/ 1923553 w 4610101"/>
              <a:gd name="connsiteY49223" fmla="*/ 341698 h 6557032"/>
              <a:gd name="connsiteX49224" fmla="*/ 1926038 w 4610101"/>
              <a:gd name="connsiteY49224" fmla="*/ 337971 h 6557032"/>
              <a:gd name="connsiteX49225" fmla="*/ 1927861 w 4610101"/>
              <a:gd name="connsiteY49225" fmla="*/ 341616 h 6557032"/>
              <a:gd name="connsiteX49226" fmla="*/ 1927861 w 4610101"/>
              <a:gd name="connsiteY49226" fmla="*/ 336149 h 6557032"/>
              <a:gd name="connsiteX49227" fmla="*/ 1931504 w 4610101"/>
              <a:gd name="connsiteY49227" fmla="*/ 341616 h 6557032"/>
              <a:gd name="connsiteX49228" fmla="*/ 1930601 w 4610101"/>
              <a:gd name="connsiteY49228" fmla="*/ 343421 h 6557032"/>
              <a:gd name="connsiteX49229" fmla="*/ 1933327 w 4610101"/>
              <a:gd name="connsiteY49229" fmla="*/ 343421 h 6557032"/>
              <a:gd name="connsiteX49230" fmla="*/ 1938793 w 4610101"/>
              <a:gd name="connsiteY49230" fmla="*/ 345242 h 6557032"/>
              <a:gd name="connsiteX49231" fmla="*/ 1938793 w 4610101"/>
              <a:gd name="connsiteY49231" fmla="*/ 339777 h 6557032"/>
              <a:gd name="connsiteX49232" fmla="*/ 1958837 w 4610101"/>
              <a:gd name="connsiteY49232" fmla="*/ 332488 h 6557032"/>
              <a:gd name="connsiteX49233" fmla="*/ 1957015 w 4610101"/>
              <a:gd name="connsiteY49233" fmla="*/ 323377 h 6557032"/>
              <a:gd name="connsiteX49234" fmla="*/ 1953371 w 4610101"/>
              <a:gd name="connsiteY49234" fmla="*/ 330666 h 6557032"/>
              <a:gd name="connsiteX49235" fmla="*/ 1951549 w 4610101"/>
              <a:gd name="connsiteY49235" fmla="*/ 325199 h 6557032"/>
              <a:gd name="connsiteX49236" fmla="*/ 1951549 w 4610101"/>
              <a:gd name="connsiteY49236" fmla="*/ 327022 h 6557032"/>
              <a:gd name="connsiteX49237" fmla="*/ 1940616 w 4610101"/>
              <a:gd name="connsiteY49237" fmla="*/ 319733 h 6557032"/>
              <a:gd name="connsiteX49238" fmla="*/ 1942438 w 4610101"/>
              <a:gd name="connsiteY49238" fmla="*/ 308800 h 6557032"/>
              <a:gd name="connsiteX49239" fmla="*/ 1947904 w 4610101"/>
              <a:gd name="connsiteY49239" fmla="*/ 308800 h 6557032"/>
              <a:gd name="connsiteX49240" fmla="*/ 1942438 w 4610101"/>
              <a:gd name="connsiteY49240" fmla="*/ 305155 h 6557032"/>
              <a:gd name="connsiteX49241" fmla="*/ 1940616 w 4610101"/>
              <a:gd name="connsiteY49241" fmla="*/ 316089 h 6557032"/>
              <a:gd name="connsiteX49242" fmla="*/ 1926038 w 4610101"/>
              <a:gd name="connsiteY49242" fmla="*/ 310622 h 6557032"/>
              <a:gd name="connsiteX49243" fmla="*/ 1927861 w 4610101"/>
              <a:gd name="connsiteY49243" fmla="*/ 321555 h 6557032"/>
              <a:gd name="connsiteX49244" fmla="*/ 1922394 w 4610101"/>
              <a:gd name="connsiteY49244" fmla="*/ 314266 h 6557032"/>
              <a:gd name="connsiteX49245" fmla="*/ 1924216 w 4610101"/>
              <a:gd name="connsiteY49245" fmla="*/ 327022 h 6557032"/>
              <a:gd name="connsiteX49246" fmla="*/ 1916927 w 4610101"/>
              <a:gd name="connsiteY49246" fmla="*/ 310622 h 6557032"/>
              <a:gd name="connsiteX49247" fmla="*/ 1921027 w 4610101"/>
              <a:gd name="connsiteY49247" fmla="*/ 306066 h 6557032"/>
              <a:gd name="connsiteX49248" fmla="*/ 1920364 w 4610101"/>
              <a:gd name="connsiteY49248" fmla="*/ 305329 h 6557032"/>
              <a:gd name="connsiteX49249" fmla="*/ 1922394 w 4610101"/>
              <a:gd name="connsiteY49249" fmla="*/ 299689 h 6557032"/>
              <a:gd name="connsiteX49250" fmla="*/ 1919163 w 4610101"/>
              <a:gd name="connsiteY49250" fmla="*/ 303996 h 6557032"/>
              <a:gd name="connsiteX49251" fmla="*/ 1916927 w 4610101"/>
              <a:gd name="connsiteY49251" fmla="*/ 301511 h 6557032"/>
              <a:gd name="connsiteX49252" fmla="*/ 1915105 w 4610101"/>
              <a:gd name="connsiteY49252" fmla="*/ 308800 h 6557032"/>
              <a:gd name="connsiteX49253" fmla="*/ 1911786 w 4610101"/>
              <a:gd name="connsiteY49253" fmla="*/ 304614 h 6557032"/>
              <a:gd name="connsiteX49254" fmla="*/ 1916927 w 4610101"/>
              <a:gd name="connsiteY49254" fmla="*/ 296045 h 6557032"/>
              <a:gd name="connsiteX49255" fmla="*/ 1918750 w 4610101"/>
              <a:gd name="connsiteY49255" fmla="*/ 294223 h 6557032"/>
              <a:gd name="connsiteX49256" fmla="*/ 1916927 w 4610101"/>
              <a:gd name="connsiteY49256" fmla="*/ 294223 h 6557032"/>
              <a:gd name="connsiteX49257" fmla="*/ 1913283 w 4610101"/>
              <a:gd name="connsiteY49257" fmla="*/ 286934 h 6557032"/>
              <a:gd name="connsiteX49258" fmla="*/ 1913283 w 4610101"/>
              <a:gd name="connsiteY49258" fmla="*/ 290578 h 6557032"/>
              <a:gd name="connsiteX49259" fmla="*/ 1911461 w 4610101"/>
              <a:gd name="connsiteY49259" fmla="*/ 281467 h 6557032"/>
              <a:gd name="connsiteX49260" fmla="*/ 1918750 w 4610101"/>
              <a:gd name="connsiteY49260" fmla="*/ 270534 h 6557032"/>
              <a:gd name="connsiteX49261" fmla="*/ 1911461 w 4610101"/>
              <a:gd name="connsiteY49261" fmla="*/ 272356 h 6557032"/>
              <a:gd name="connsiteX49262" fmla="*/ 1918750 w 4610101"/>
              <a:gd name="connsiteY49262" fmla="*/ 261423 h 6557032"/>
              <a:gd name="connsiteX49263" fmla="*/ 1920572 w 4610101"/>
              <a:gd name="connsiteY49263" fmla="*/ 281467 h 6557032"/>
              <a:gd name="connsiteX49264" fmla="*/ 1931505 w 4610101"/>
              <a:gd name="connsiteY49264" fmla="*/ 268712 h 6557032"/>
              <a:gd name="connsiteX49265" fmla="*/ 1933327 w 4610101"/>
              <a:gd name="connsiteY49265" fmla="*/ 277823 h 6557032"/>
              <a:gd name="connsiteX49266" fmla="*/ 1940616 w 4610101"/>
              <a:gd name="connsiteY49266" fmla="*/ 272356 h 6557032"/>
              <a:gd name="connsiteX49267" fmla="*/ 1938793 w 4610101"/>
              <a:gd name="connsiteY49267" fmla="*/ 261423 h 6557032"/>
              <a:gd name="connsiteX49268" fmla="*/ 1955194 w 4610101"/>
              <a:gd name="connsiteY49268" fmla="*/ 261423 h 6557032"/>
              <a:gd name="connsiteX49269" fmla="*/ 1954972 w 4610101"/>
              <a:gd name="connsiteY49269" fmla="*/ 259877 h 6557032"/>
              <a:gd name="connsiteX49270" fmla="*/ 1958382 w 4610101"/>
              <a:gd name="connsiteY49270" fmla="*/ 260057 h 6557032"/>
              <a:gd name="connsiteX49271" fmla="*/ 1964305 w 4610101"/>
              <a:gd name="connsiteY49271" fmla="*/ 263246 h 6557032"/>
              <a:gd name="connsiteX49272" fmla="*/ 1953371 w 4610101"/>
              <a:gd name="connsiteY49272" fmla="*/ 268712 h 6557032"/>
              <a:gd name="connsiteX49273" fmla="*/ 1953371 w 4610101"/>
              <a:gd name="connsiteY49273" fmla="*/ 272356 h 6557032"/>
              <a:gd name="connsiteX49274" fmla="*/ 1973416 w 4610101"/>
              <a:gd name="connsiteY49274" fmla="*/ 270534 h 6557032"/>
              <a:gd name="connsiteX49275" fmla="*/ 1978881 w 4610101"/>
              <a:gd name="connsiteY49275" fmla="*/ 272356 h 6557032"/>
              <a:gd name="connsiteX49276" fmla="*/ 1978881 w 4610101"/>
              <a:gd name="connsiteY49276" fmla="*/ 274179 h 6557032"/>
              <a:gd name="connsiteX49277" fmla="*/ 1980703 w 4610101"/>
              <a:gd name="connsiteY49277" fmla="*/ 276001 h 6557032"/>
              <a:gd name="connsiteX49278" fmla="*/ 1980703 w 4610101"/>
              <a:gd name="connsiteY49278" fmla="*/ 274179 h 6557032"/>
              <a:gd name="connsiteX49279" fmla="*/ 1987992 w 4610101"/>
              <a:gd name="connsiteY49279" fmla="*/ 268712 h 6557032"/>
              <a:gd name="connsiteX49280" fmla="*/ 1995281 w 4610101"/>
              <a:gd name="connsiteY49280" fmla="*/ 268712 h 6557032"/>
              <a:gd name="connsiteX49281" fmla="*/ 2002570 w 4610101"/>
              <a:gd name="connsiteY49281" fmla="*/ 274179 h 6557032"/>
              <a:gd name="connsiteX49282" fmla="*/ 1995281 w 4610101"/>
              <a:gd name="connsiteY49282" fmla="*/ 276001 h 6557032"/>
              <a:gd name="connsiteX49283" fmla="*/ 1997103 w 4610101"/>
              <a:gd name="connsiteY49283" fmla="*/ 283289 h 6557032"/>
              <a:gd name="connsiteX49284" fmla="*/ 1993459 w 4610101"/>
              <a:gd name="connsiteY49284" fmla="*/ 281467 h 6557032"/>
              <a:gd name="connsiteX49285" fmla="*/ 1993459 w 4610101"/>
              <a:gd name="connsiteY49285" fmla="*/ 288756 h 6557032"/>
              <a:gd name="connsiteX49286" fmla="*/ 2006214 w 4610101"/>
              <a:gd name="connsiteY49286" fmla="*/ 281467 h 6557032"/>
              <a:gd name="connsiteX49287" fmla="*/ 2009858 w 4610101"/>
              <a:gd name="connsiteY49287" fmla="*/ 283289 h 6557032"/>
              <a:gd name="connsiteX49288" fmla="*/ 2006214 w 4610101"/>
              <a:gd name="connsiteY49288" fmla="*/ 286934 h 6557032"/>
              <a:gd name="connsiteX49289" fmla="*/ 2009858 w 4610101"/>
              <a:gd name="connsiteY49289" fmla="*/ 301511 h 6557032"/>
              <a:gd name="connsiteX49290" fmla="*/ 2026258 w 4610101"/>
              <a:gd name="connsiteY49290" fmla="*/ 296045 h 6557032"/>
              <a:gd name="connsiteX49291" fmla="*/ 2024436 w 4610101"/>
              <a:gd name="connsiteY49291" fmla="*/ 285112 h 6557032"/>
              <a:gd name="connsiteX49292" fmla="*/ 2033546 w 4610101"/>
              <a:gd name="connsiteY49292" fmla="*/ 283289 h 6557032"/>
              <a:gd name="connsiteX49293" fmla="*/ 2028080 w 4610101"/>
              <a:gd name="connsiteY49293" fmla="*/ 285112 h 6557032"/>
              <a:gd name="connsiteX49294" fmla="*/ 2028080 w 4610101"/>
              <a:gd name="connsiteY49294" fmla="*/ 290578 h 6557032"/>
              <a:gd name="connsiteX49295" fmla="*/ 2033546 w 4610101"/>
              <a:gd name="connsiteY49295" fmla="*/ 290578 h 6557032"/>
              <a:gd name="connsiteX49296" fmla="*/ 2033546 w 4610101"/>
              <a:gd name="connsiteY49296" fmla="*/ 283289 h 6557032"/>
              <a:gd name="connsiteX49297" fmla="*/ 2040835 w 4610101"/>
              <a:gd name="connsiteY49297" fmla="*/ 263246 h 6557032"/>
              <a:gd name="connsiteX49298" fmla="*/ 1980703 w 4610101"/>
              <a:gd name="connsiteY49298" fmla="*/ 266890 h 6557032"/>
              <a:gd name="connsiteX49299" fmla="*/ 1980703 w 4610101"/>
              <a:gd name="connsiteY49299" fmla="*/ 265068 h 6557032"/>
              <a:gd name="connsiteX49300" fmla="*/ 1973416 w 4610101"/>
              <a:gd name="connsiteY49300" fmla="*/ 257779 h 6557032"/>
              <a:gd name="connsiteX49301" fmla="*/ 1973416 w 4610101"/>
              <a:gd name="connsiteY49301" fmla="*/ 259601 h 6557032"/>
              <a:gd name="connsiteX49302" fmla="*/ 1967948 w 4610101"/>
              <a:gd name="connsiteY49302" fmla="*/ 248668 h 6557032"/>
              <a:gd name="connsiteX49303" fmla="*/ 1966126 w 4610101"/>
              <a:gd name="connsiteY49303" fmla="*/ 259601 h 6557032"/>
              <a:gd name="connsiteX49304" fmla="*/ 1960659 w 4610101"/>
              <a:gd name="connsiteY49304" fmla="*/ 243884 h 6557032"/>
              <a:gd name="connsiteX49305" fmla="*/ 1951435 w 4610101"/>
              <a:gd name="connsiteY49305" fmla="*/ 234084 h 6557032"/>
              <a:gd name="connsiteX49306" fmla="*/ 1947904 w 4610101"/>
              <a:gd name="connsiteY49306" fmla="*/ 226802 h 6557032"/>
              <a:gd name="connsiteX49307" fmla="*/ 1949726 w 4610101"/>
              <a:gd name="connsiteY49307" fmla="*/ 234091 h 6557032"/>
              <a:gd name="connsiteX49308" fmla="*/ 1936972 w 4610101"/>
              <a:gd name="connsiteY49308" fmla="*/ 219513 h 6557032"/>
              <a:gd name="connsiteX49309" fmla="*/ 1926038 w 4610101"/>
              <a:gd name="connsiteY49309" fmla="*/ 226802 h 6557032"/>
              <a:gd name="connsiteX49310" fmla="*/ 1922394 w 4610101"/>
              <a:gd name="connsiteY49310" fmla="*/ 221336 h 6557032"/>
              <a:gd name="connsiteX49311" fmla="*/ 1944260 w 4610101"/>
              <a:gd name="connsiteY49311" fmla="*/ 208580 h 6557032"/>
              <a:gd name="connsiteX49312" fmla="*/ 1955194 w 4610101"/>
              <a:gd name="connsiteY49312" fmla="*/ 228624 h 6557032"/>
              <a:gd name="connsiteX49313" fmla="*/ 1962482 w 4610101"/>
              <a:gd name="connsiteY49313" fmla="*/ 232269 h 6557032"/>
              <a:gd name="connsiteX49314" fmla="*/ 1967948 w 4610101"/>
              <a:gd name="connsiteY49314" fmla="*/ 221336 h 6557032"/>
              <a:gd name="connsiteX49315" fmla="*/ 1971592 w 4610101"/>
              <a:gd name="connsiteY49315" fmla="*/ 232269 h 6557032"/>
              <a:gd name="connsiteX49316" fmla="*/ 1971592 w 4610101"/>
              <a:gd name="connsiteY49316" fmla="*/ 228624 h 6557032"/>
              <a:gd name="connsiteX49317" fmla="*/ 1982527 w 4610101"/>
              <a:gd name="connsiteY49317" fmla="*/ 232269 h 6557032"/>
              <a:gd name="connsiteX49318" fmla="*/ 1989814 w 4610101"/>
              <a:gd name="connsiteY49318" fmla="*/ 214047 h 6557032"/>
              <a:gd name="connsiteX49319" fmla="*/ 1991638 w 4610101"/>
              <a:gd name="connsiteY49319" fmla="*/ 221336 h 6557032"/>
              <a:gd name="connsiteX49320" fmla="*/ 1998925 w 4610101"/>
              <a:gd name="connsiteY49320" fmla="*/ 224980 h 6557032"/>
              <a:gd name="connsiteX49321" fmla="*/ 1998925 w 4610101"/>
              <a:gd name="connsiteY49321" fmla="*/ 232269 h 6557032"/>
              <a:gd name="connsiteX49322" fmla="*/ 1998925 w 4610101"/>
              <a:gd name="connsiteY49322" fmla="*/ 235913 h 6557032"/>
              <a:gd name="connsiteX49323" fmla="*/ 1989814 w 4610101"/>
              <a:gd name="connsiteY49323" fmla="*/ 232269 h 6557032"/>
              <a:gd name="connsiteX49324" fmla="*/ 2002570 w 4610101"/>
              <a:gd name="connsiteY49324" fmla="*/ 239557 h 6557032"/>
              <a:gd name="connsiteX49325" fmla="*/ 1998925 w 4610101"/>
              <a:gd name="connsiteY49325" fmla="*/ 232269 h 6557032"/>
              <a:gd name="connsiteX49326" fmla="*/ 2006214 w 4610101"/>
              <a:gd name="connsiteY49326" fmla="*/ 235913 h 6557032"/>
              <a:gd name="connsiteX49327" fmla="*/ 2000747 w 4610101"/>
              <a:gd name="connsiteY49327" fmla="*/ 221336 h 6557032"/>
              <a:gd name="connsiteX49328" fmla="*/ 2017147 w 4610101"/>
              <a:gd name="connsiteY49328" fmla="*/ 241379 h 6557032"/>
              <a:gd name="connsiteX49329" fmla="*/ 2029902 w 4610101"/>
              <a:gd name="connsiteY49329" fmla="*/ 245024 h 6557032"/>
              <a:gd name="connsiteX49330" fmla="*/ 2017147 w 4610101"/>
              <a:gd name="connsiteY49330" fmla="*/ 243202 h 6557032"/>
              <a:gd name="connsiteX49331" fmla="*/ 2024436 w 4610101"/>
              <a:gd name="connsiteY49331" fmla="*/ 254135 h 6557032"/>
              <a:gd name="connsiteX49332" fmla="*/ 2018969 w 4610101"/>
              <a:gd name="connsiteY49332" fmla="*/ 255957 h 6557032"/>
              <a:gd name="connsiteX49333" fmla="*/ 2029902 w 4610101"/>
              <a:gd name="connsiteY49333" fmla="*/ 257779 h 6557032"/>
              <a:gd name="connsiteX49334" fmla="*/ 2031724 w 4610101"/>
              <a:gd name="connsiteY49334" fmla="*/ 250490 h 6557032"/>
              <a:gd name="connsiteX49335" fmla="*/ 2039013 w 4610101"/>
              <a:gd name="connsiteY49335" fmla="*/ 255957 h 6557032"/>
              <a:gd name="connsiteX49336" fmla="*/ 2024436 w 4610101"/>
              <a:gd name="connsiteY49336" fmla="*/ 223158 h 6557032"/>
              <a:gd name="connsiteX49337" fmla="*/ 2035369 w 4610101"/>
              <a:gd name="connsiteY49337" fmla="*/ 224980 h 6557032"/>
              <a:gd name="connsiteX49338" fmla="*/ 2039013 w 4610101"/>
              <a:gd name="connsiteY49338" fmla="*/ 228624 h 6557032"/>
              <a:gd name="connsiteX49339" fmla="*/ 2028080 w 4610101"/>
              <a:gd name="connsiteY49339" fmla="*/ 212225 h 6557032"/>
              <a:gd name="connsiteX49340" fmla="*/ 2033546 w 4610101"/>
              <a:gd name="connsiteY49340" fmla="*/ 195825 h 6557032"/>
              <a:gd name="connsiteX49341" fmla="*/ 2040835 w 4610101"/>
              <a:gd name="connsiteY49341" fmla="*/ 203114 h 6557032"/>
              <a:gd name="connsiteX49342" fmla="*/ 2040835 w 4610101"/>
              <a:gd name="connsiteY49342" fmla="*/ 199469 h 6557032"/>
              <a:gd name="connsiteX49343" fmla="*/ 2044479 w 4610101"/>
              <a:gd name="connsiteY49343" fmla="*/ 201292 h 6557032"/>
              <a:gd name="connsiteX49344" fmla="*/ 2042657 w 4610101"/>
              <a:gd name="connsiteY49344" fmla="*/ 194003 h 6557032"/>
              <a:gd name="connsiteX49345" fmla="*/ 2048124 w 4610101"/>
              <a:gd name="connsiteY49345" fmla="*/ 208580 h 6557032"/>
              <a:gd name="connsiteX49346" fmla="*/ 2040835 w 4610101"/>
              <a:gd name="connsiteY49346" fmla="*/ 204936 h 6557032"/>
              <a:gd name="connsiteX49347" fmla="*/ 2039013 w 4610101"/>
              <a:gd name="connsiteY49347" fmla="*/ 210403 h 6557032"/>
              <a:gd name="connsiteX49348" fmla="*/ 2033546 w 4610101"/>
              <a:gd name="connsiteY49348" fmla="*/ 204936 h 6557032"/>
              <a:gd name="connsiteX49349" fmla="*/ 2042657 w 4610101"/>
              <a:gd name="connsiteY49349" fmla="*/ 254135 h 6557032"/>
              <a:gd name="connsiteX49350" fmla="*/ 2049946 w 4610101"/>
              <a:gd name="connsiteY49350" fmla="*/ 263246 h 6557032"/>
              <a:gd name="connsiteX49351" fmla="*/ 2048124 w 4610101"/>
              <a:gd name="connsiteY49351" fmla="*/ 285112 h 6557032"/>
              <a:gd name="connsiteX49352" fmla="*/ 2053590 w 4610101"/>
              <a:gd name="connsiteY49352" fmla="*/ 283289 h 6557032"/>
              <a:gd name="connsiteX49353" fmla="*/ 2102790 w 4610101"/>
              <a:gd name="connsiteY49353" fmla="*/ 299689 h 6557032"/>
              <a:gd name="connsiteX49354" fmla="*/ 2113722 w 4610101"/>
              <a:gd name="connsiteY49354" fmla="*/ 301511 h 6557032"/>
              <a:gd name="connsiteX49355" fmla="*/ 2117366 w 4610101"/>
              <a:gd name="connsiteY49355" fmla="*/ 306978 h 6557032"/>
              <a:gd name="connsiteX49356" fmla="*/ 2124655 w 4610101"/>
              <a:gd name="connsiteY49356" fmla="*/ 305155 h 6557032"/>
              <a:gd name="connsiteX49357" fmla="*/ 2128300 w 4610101"/>
              <a:gd name="connsiteY49357" fmla="*/ 299689 h 6557032"/>
              <a:gd name="connsiteX49358" fmla="*/ 2131944 w 4610101"/>
              <a:gd name="connsiteY49358" fmla="*/ 305155 h 6557032"/>
              <a:gd name="connsiteX49359" fmla="*/ 2128300 w 4610101"/>
              <a:gd name="connsiteY49359" fmla="*/ 288756 h 6557032"/>
              <a:gd name="connsiteX49360" fmla="*/ 2131944 w 4610101"/>
              <a:gd name="connsiteY49360" fmla="*/ 290578 h 6557032"/>
              <a:gd name="connsiteX49361" fmla="*/ 2139233 w 4610101"/>
              <a:gd name="connsiteY49361" fmla="*/ 306978 h 6557032"/>
              <a:gd name="connsiteX49362" fmla="*/ 2139233 w 4610101"/>
              <a:gd name="connsiteY49362" fmla="*/ 286934 h 6557032"/>
              <a:gd name="connsiteX49363" fmla="*/ 2141055 w 4610101"/>
              <a:gd name="connsiteY49363" fmla="*/ 297867 h 6557032"/>
              <a:gd name="connsiteX49364" fmla="*/ 2150166 w 4610101"/>
              <a:gd name="connsiteY49364" fmla="*/ 290578 h 6557032"/>
              <a:gd name="connsiteX49365" fmla="*/ 2153810 w 4610101"/>
              <a:gd name="connsiteY49365" fmla="*/ 306978 h 6557032"/>
              <a:gd name="connsiteX49366" fmla="*/ 2155632 w 4610101"/>
              <a:gd name="connsiteY49366" fmla="*/ 303333 h 6557032"/>
              <a:gd name="connsiteX49367" fmla="*/ 2181143 w 4610101"/>
              <a:gd name="connsiteY49367" fmla="*/ 339777 h 6557032"/>
              <a:gd name="connsiteX49368" fmla="*/ 2177498 w 4610101"/>
              <a:gd name="connsiteY49368" fmla="*/ 319733 h 6557032"/>
              <a:gd name="connsiteX49369" fmla="*/ 2186609 w 4610101"/>
              <a:gd name="connsiteY49369" fmla="*/ 343421 h 6557032"/>
              <a:gd name="connsiteX49370" fmla="*/ 2181143 w 4610101"/>
              <a:gd name="connsiteY49370" fmla="*/ 343421 h 6557032"/>
              <a:gd name="connsiteX49371" fmla="*/ 2190253 w 4610101"/>
              <a:gd name="connsiteY49371" fmla="*/ 352532 h 6557032"/>
              <a:gd name="connsiteX49372" fmla="*/ 2188431 w 4610101"/>
              <a:gd name="connsiteY49372" fmla="*/ 327022 h 6557032"/>
              <a:gd name="connsiteX49373" fmla="*/ 2192076 w 4610101"/>
              <a:gd name="connsiteY49373" fmla="*/ 305155 h 6557032"/>
              <a:gd name="connsiteX49374" fmla="*/ 2192076 w 4610101"/>
              <a:gd name="connsiteY49374" fmla="*/ 314266 h 6557032"/>
              <a:gd name="connsiteX49375" fmla="*/ 2184787 w 4610101"/>
              <a:gd name="connsiteY49375" fmla="*/ 312444 h 6557032"/>
              <a:gd name="connsiteX49376" fmla="*/ 2182965 w 4610101"/>
              <a:gd name="connsiteY49376" fmla="*/ 299689 h 6557032"/>
              <a:gd name="connsiteX49377" fmla="*/ 2193898 w 4610101"/>
              <a:gd name="connsiteY49377" fmla="*/ 301511 h 6557032"/>
              <a:gd name="connsiteX49378" fmla="*/ 2193898 w 4610101"/>
              <a:gd name="connsiteY49378" fmla="*/ 276001 h 6557032"/>
              <a:gd name="connsiteX49379" fmla="*/ 2190253 w 4610101"/>
              <a:gd name="connsiteY49379" fmla="*/ 279645 h 6557032"/>
              <a:gd name="connsiteX49380" fmla="*/ 2199364 w 4610101"/>
              <a:gd name="connsiteY49380" fmla="*/ 268712 h 6557032"/>
              <a:gd name="connsiteX49381" fmla="*/ 2173854 w 4610101"/>
              <a:gd name="connsiteY49381" fmla="*/ 245024 h 6557032"/>
              <a:gd name="connsiteX49382" fmla="*/ 2135588 w 4610101"/>
              <a:gd name="connsiteY49382" fmla="*/ 243202 h 6557032"/>
              <a:gd name="connsiteX49383" fmla="*/ 2137410 w 4610101"/>
              <a:gd name="connsiteY49383" fmla="*/ 250490 h 6557032"/>
              <a:gd name="connsiteX49384" fmla="*/ 2128300 w 4610101"/>
              <a:gd name="connsiteY49384" fmla="*/ 243202 h 6557032"/>
              <a:gd name="connsiteX49385" fmla="*/ 2137410 w 4610101"/>
              <a:gd name="connsiteY49385" fmla="*/ 237735 h 6557032"/>
              <a:gd name="connsiteX49386" fmla="*/ 2182965 w 4610101"/>
              <a:gd name="connsiteY49386" fmla="*/ 241379 h 6557032"/>
              <a:gd name="connsiteX49387" fmla="*/ 2184787 w 4610101"/>
              <a:gd name="connsiteY49387" fmla="*/ 237735 h 6557032"/>
              <a:gd name="connsiteX49388" fmla="*/ 2186609 w 4610101"/>
              <a:gd name="connsiteY49388" fmla="*/ 230446 h 6557032"/>
              <a:gd name="connsiteX49389" fmla="*/ 2184787 w 4610101"/>
              <a:gd name="connsiteY49389" fmla="*/ 241379 h 6557032"/>
              <a:gd name="connsiteX49390" fmla="*/ 2201187 w 4610101"/>
              <a:gd name="connsiteY49390" fmla="*/ 250490 h 6557032"/>
              <a:gd name="connsiteX49391" fmla="*/ 2204831 w 4610101"/>
              <a:gd name="connsiteY49391" fmla="*/ 246846 h 6557032"/>
              <a:gd name="connsiteX49392" fmla="*/ 2203009 w 4610101"/>
              <a:gd name="connsiteY49392" fmla="*/ 203114 h 6557032"/>
              <a:gd name="connsiteX49393" fmla="*/ 2203009 w 4610101"/>
              <a:gd name="connsiteY49393" fmla="*/ 214047 h 6557032"/>
              <a:gd name="connsiteX49394" fmla="*/ 2192076 w 4610101"/>
              <a:gd name="connsiteY49394" fmla="*/ 212225 h 6557032"/>
              <a:gd name="connsiteX49395" fmla="*/ 2162921 w 4610101"/>
              <a:gd name="connsiteY49395" fmla="*/ 186714 h 6557032"/>
              <a:gd name="connsiteX49396" fmla="*/ 2155632 w 4610101"/>
              <a:gd name="connsiteY49396" fmla="*/ 201292 h 6557032"/>
              <a:gd name="connsiteX49397" fmla="*/ 2155632 w 4610101"/>
              <a:gd name="connsiteY49397" fmla="*/ 190359 h 6557032"/>
              <a:gd name="connsiteX49398" fmla="*/ 2142877 w 4610101"/>
              <a:gd name="connsiteY49398" fmla="*/ 208580 h 6557032"/>
              <a:gd name="connsiteX49399" fmla="*/ 2131944 w 4610101"/>
              <a:gd name="connsiteY49399" fmla="*/ 194003 h 6557032"/>
              <a:gd name="connsiteX49400" fmla="*/ 2130122 w 4610101"/>
              <a:gd name="connsiteY49400" fmla="*/ 201292 h 6557032"/>
              <a:gd name="connsiteX49401" fmla="*/ 2126477 w 4610101"/>
              <a:gd name="connsiteY49401" fmla="*/ 195825 h 6557032"/>
              <a:gd name="connsiteX49402" fmla="*/ 2124655 w 4610101"/>
              <a:gd name="connsiteY49402" fmla="*/ 214047 h 6557032"/>
              <a:gd name="connsiteX49403" fmla="*/ 2106433 w 4610101"/>
              <a:gd name="connsiteY49403" fmla="*/ 215869 h 6557032"/>
              <a:gd name="connsiteX49404" fmla="*/ 2113722 w 4610101"/>
              <a:gd name="connsiteY49404" fmla="*/ 201292 h 6557032"/>
              <a:gd name="connsiteX49405" fmla="*/ 2106434 w 4610101"/>
              <a:gd name="connsiteY49405" fmla="*/ 201292 h 6557032"/>
              <a:gd name="connsiteX49406" fmla="*/ 2104611 w 4610101"/>
              <a:gd name="connsiteY49406" fmla="*/ 195825 h 6557032"/>
              <a:gd name="connsiteX49407" fmla="*/ 2100967 w 4610101"/>
              <a:gd name="connsiteY49407" fmla="*/ 199469 h 6557032"/>
              <a:gd name="connsiteX49408" fmla="*/ 2095500 w 4610101"/>
              <a:gd name="connsiteY49408" fmla="*/ 188536 h 6557032"/>
              <a:gd name="connsiteX49409" fmla="*/ 2097323 w 4610101"/>
              <a:gd name="connsiteY49409" fmla="*/ 199469 h 6557032"/>
              <a:gd name="connsiteX49410" fmla="*/ 2091856 w 4610101"/>
              <a:gd name="connsiteY49410" fmla="*/ 197647 h 6557032"/>
              <a:gd name="connsiteX49411" fmla="*/ 2077279 w 4610101"/>
              <a:gd name="connsiteY49411" fmla="*/ 183070 h 6557032"/>
              <a:gd name="connsiteX49412" fmla="*/ 2080923 w 4610101"/>
              <a:gd name="connsiteY49412" fmla="*/ 175781 h 6557032"/>
              <a:gd name="connsiteX49413" fmla="*/ 2077279 w 4610101"/>
              <a:gd name="connsiteY49413" fmla="*/ 177603 h 6557032"/>
              <a:gd name="connsiteX49414" fmla="*/ 2069990 w 4610101"/>
              <a:gd name="connsiteY49414" fmla="*/ 166670 h 6557032"/>
              <a:gd name="connsiteX49415" fmla="*/ 2069990 w 4610101"/>
              <a:gd name="connsiteY49415" fmla="*/ 170315 h 6557032"/>
              <a:gd name="connsiteX49416" fmla="*/ 2053590 w 4610101"/>
              <a:gd name="connsiteY49416" fmla="*/ 153915 h 6557032"/>
              <a:gd name="connsiteX49417" fmla="*/ 2059057 w 4610101"/>
              <a:gd name="connsiteY49417" fmla="*/ 150271 h 6557032"/>
              <a:gd name="connsiteX49418" fmla="*/ 2062701 w 4610101"/>
              <a:gd name="connsiteY49418" fmla="*/ 159382 h 6557032"/>
              <a:gd name="connsiteX49419" fmla="*/ 2053590 w 4610101"/>
              <a:gd name="connsiteY49419" fmla="*/ 126583 h 6557032"/>
              <a:gd name="connsiteX49420" fmla="*/ 2040835 w 4610101"/>
              <a:gd name="connsiteY49420" fmla="*/ 112005 h 6557032"/>
              <a:gd name="connsiteX49421" fmla="*/ 2049946 w 4610101"/>
              <a:gd name="connsiteY49421" fmla="*/ 110183 h 6557032"/>
              <a:gd name="connsiteX49422" fmla="*/ 2051768 w 4610101"/>
              <a:gd name="connsiteY49422" fmla="*/ 115649 h 6557032"/>
              <a:gd name="connsiteX49423" fmla="*/ 2055413 w 4610101"/>
              <a:gd name="connsiteY49423" fmla="*/ 108361 h 6557032"/>
              <a:gd name="connsiteX49424" fmla="*/ 2060879 w 4610101"/>
              <a:gd name="connsiteY49424" fmla="*/ 113827 h 6557032"/>
              <a:gd name="connsiteX49425" fmla="*/ 2059057 w 4610101"/>
              <a:gd name="connsiteY49425" fmla="*/ 108361 h 6557032"/>
              <a:gd name="connsiteX49426" fmla="*/ 2075457 w 4610101"/>
              <a:gd name="connsiteY49426" fmla="*/ 104716 h 6557032"/>
              <a:gd name="connsiteX49427" fmla="*/ 2073634 w 4610101"/>
              <a:gd name="connsiteY49427" fmla="*/ 110183 h 6557032"/>
              <a:gd name="connsiteX49428" fmla="*/ 2079101 w 4610101"/>
              <a:gd name="connsiteY49428" fmla="*/ 101072 h 6557032"/>
              <a:gd name="connsiteX49429" fmla="*/ 2079101 w 4610101"/>
              <a:gd name="connsiteY49429" fmla="*/ 121116 h 6557032"/>
              <a:gd name="connsiteX49430" fmla="*/ 2073634 w 4610101"/>
              <a:gd name="connsiteY49430" fmla="*/ 119294 h 6557032"/>
              <a:gd name="connsiteX49431" fmla="*/ 2072935 w 4610101"/>
              <a:gd name="connsiteY49431" fmla="*/ 122798 h 6557032"/>
              <a:gd name="connsiteX49432" fmla="*/ 2072268 w 4610101"/>
              <a:gd name="connsiteY49432" fmla="*/ 117471 h 6557032"/>
              <a:gd name="connsiteX49433" fmla="*/ 2062701 w 4610101"/>
              <a:gd name="connsiteY49433" fmla="*/ 112005 h 6557032"/>
              <a:gd name="connsiteX49434" fmla="*/ 2062701 w 4610101"/>
              <a:gd name="connsiteY49434" fmla="*/ 117472 h 6557032"/>
              <a:gd name="connsiteX49435" fmla="*/ 2055413 w 4610101"/>
              <a:gd name="connsiteY49435" fmla="*/ 117472 h 6557032"/>
              <a:gd name="connsiteX49436" fmla="*/ 2068168 w 4610101"/>
              <a:gd name="connsiteY49436" fmla="*/ 133871 h 6557032"/>
              <a:gd name="connsiteX49437" fmla="*/ 2064524 w 4610101"/>
              <a:gd name="connsiteY49437" fmla="*/ 121116 h 6557032"/>
              <a:gd name="connsiteX49438" fmla="*/ 2073634 w 4610101"/>
              <a:gd name="connsiteY49438" fmla="*/ 128405 h 6557032"/>
              <a:gd name="connsiteX49439" fmla="*/ 2073114 w 4610101"/>
              <a:gd name="connsiteY49439" fmla="*/ 124239 h 6557032"/>
              <a:gd name="connsiteX49440" fmla="*/ 2077279 w 4610101"/>
              <a:gd name="connsiteY49440" fmla="*/ 128405 h 6557032"/>
              <a:gd name="connsiteX49441" fmla="*/ 2084568 w 4610101"/>
              <a:gd name="connsiteY49441" fmla="*/ 141160 h 6557032"/>
              <a:gd name="connsiteX49442" fmla="*/ 2086390 w 4610101"/>
              <a:gd name="connsiteY49442" fmla="*/ 132049 h 6557032"/>
              <a:gd name="connsiteX49443" fmla="*/ 2077279 w 4610101"/>
              <a:gd name="connsiteY49443" fmla="*/ 128405 h 6557032"/>
              <a:gd name="connsiteX49444" fmla="*/ 2075457 w 4610101"/>
              <a:gd name="connsiteY49444" fmla="*/ 121116 h 6557032"/>
              <a:gd name="connsiteX49445" fmla="*/ 2082745 w 4610101"/>
              <a:gd name="connsiteY49445" fmla="*/ 124760 h 6557032"/>
              <a:gd name="connsiteX49446" fmla="*/ 2086390 w 4610101"/>
              <a:gd name="connsiteY49446" fmla="*/ 101072 h 6557032"/>
              <a:gd name="connsiteX49447" fmla="*/ 2091856 w 4610101"/>
              <a:gd name="connsiteY49447" fmla="*/ 93783 h 6557032"/>
              <a:gd name="connsiteX49448" fmla="*/ 2096184 w 4610101"/>
              <a:gd name="connsiteY49448" fmla="*/ 97199 h 6557032"/>
              <a:gd name="connsiteX49449" fmla="*/ 2098523 w 4610101"/>
              <a:gd name="connsiteY49449" fmla="*/ 98818 h 6557032"/>
              <a:gd name="connsiteX49450" fmla="*/ 2095500 w 4610101"/>
              <a:gd name="connsiteY49450" fmla="*/ 99250 h 6557032"/>
              <a:gd name="connsiteX49451" fmla="*/ 2106433 w 4610101"/>
              <a:gd name="connsiteY49451" fmla="*/ 106539 h 6557032"/>
              <a:gd name="connsiteX49452" fmla="*/ 2104611 w 4610101"/>
              <a:gd name="connsiteY49452" fmla="*/ 104716 h 6557032"/>
              <a:gd name="connsiteX49453" fmla="*/ 2113722 w 4610101"/>
              <a:gd name="connsiteY49453" fmla="*/ 115649 h 6557032"/>
              <a:gd name="connsiteX49454" fmla="*/ 2116684 w 4610101"/>
              <a:gd name="connsiteY49454" fmla="*/ 116105 h 6557032"/>
              <a:gd name="connsiteX49455" fmla="*/ 2120779 w 4610101"/>
              <a:gd name="connsiteY49455" fmla="*/ 113949 h 6557032"/>
              <a:gd name="connsiteX49456" fmla="*/ 2121011 w 4610101"/>
              <a:gd name="connsiteY49456" fmla="*/ 114348 h 6557032"/>
              <a:gd name="connsiteX49457" fmla="*/ 2121011 w 4610101"/>
              <a:gd name="connsiteY49457" fmla="*/ 119294 h 6557032"/>
              <a:gd name="connsiteX49458" fmla="*/ 2122833 w 4610101"/>
              <a:gd name="connsiteY49458" fmla="*/ 117472 h 6557032"/>
              <a:gd name="connsiteX49459" fmla="*/ 2121011 w 4610101"/>
              <a:gd name="connsiteY49459" fmla="*/ 114348 h 6557032"/>
              <a:gd name="connsiteX49460" fmla="*/ 2121011 w 4610101"/>
              <a:gd name="connsiteY49460" fmla="*/ 113827 h 6557032"/>
              <a:gd name="connsiteX49461" fmla="*/ 2120779 w 4610101"/>
              <a:gd name="connsiteY49461" fmla="*/ 113949 h 6557032"/>
              <a:gd name="connsiteX49462" fmla="*/ 2119644 w 4610101"/>
              <a:gd name="connsiteY49462" fmla="*/ 112005 h 6557032"/>
              <a:gd name="connsiteX49463" fmla="*/ 2113722 w 4610101"/>
              <a:gd name="connsiteY49463" fmla="*/ 106539 h 6557032"/>
              <a:gd name="connsiteX49464" fmla="*/ 2121239 w 4610101"/>
              <a:gd name="connsiteY49464" fmla="*/ 109499 h 6557032"/>
              <a:gd name="connsiteX49465" fmla="*/ 2127659 w 4610101"/>
              <a:gd name="connsiteY49465" fmla="*/ 108676 h 6557032"/>
              <a:gd name="connsiteX49466" fmla="*/ 2128300 w 4610101"/>
              <a:gd name="connsiteY49466" fmla="*/ 110183 h 6557032"/>
              <a:gd name="connsiteX49467" fmla="*/ 2129149 w 4610101"/>
              <a:gd name="connsiteY49467" fmla="*/ 108485 h 6557032"/>
              <a:gd name="connsiteX49468" fmla="*/ 2130122 w 4610101"/>
              <a:gd name="connsiteY49468" fmla="*/ 108361 h 6557032"/>
              <a:gd name="connsiteX49469" fmla="*/ 2129758 w 4610101"/>
              <a:gd name="connsiteY49469" fmla="*/ 107267 h 6557032"/>
              <a:gd name="connsiteX49470" fmla="*/ 2130122 w 4610101"/>
              <a:gd name="connsiteY49470" fmla="*/ 106539 h 6557032"/>
              <a:gd name="connsiteX49471" fmla="*/ 2141055 w 4610101"/>
              <a:gd name="connsiteY49471" fmla="*/ 99250 h 6557032"/>
              <a:gd name="connsiteX49472" fmla="*/ 2135588 w 4610101"/>
              <a:gd name="connsiteY49472" fmla="*/ 99250 h 6557032"/>
              <a:gd name="connsiteX49473" fmla="*/ 2130122 w 4610101"/>
              <a:gd name="connsiteY49473" fmla="*/ 82850 h 6557032"/>
              <a:gd name="connsiteX49474" fmla="*/ 2115544 w 4610101"/>
              <a:gd name="connsiteY49474" fmla="*/ 73739 h 6557032"/>
              <a:gd name="connsiteX49475" fmla="*/ 2108256 w 4610101"/>
              <a:gd name="connsiteY49475" fmla="*/ 77384 h 6557032"/>
              <a:gd name="connsiteX49476" fmla="*/ 2104611 w 4610101"/>
              <a:gd name="connsiteY49476" fmla="*/ 73739 h 6557032"/>
              <a:gd name="connsiteX49477" fmla="*/ 2131944 w 4610101"/>
              <a:gd name="connsiteY49477" fmla="*/ 75562 h 6557032"/>
              <a:gd name="connsiteX49478" fmla="*/ 2130122 w 4610101"/>
              <a:gd name="connsiteY49478" fmla="*/ 64629 h 6557032"/>
              <a:gd name="connsiteX49479" fmla="*/ 2153810 w 4610101"/>
              <a:gd name="connsiteY49479" fmla="*/ 79206 h 6557032"/>
              <a:gd name="connsiteX49480" fmla="*/ 2142877 w 4610101"/>
              <a:gd name="connsiteY49480" fmla="*/ 73739 h 6557032"/>
              <a:gd name="connsiteX49481" fmla="*/ 2148344 w 4610101"/>
              <a:gd name="connsiteY49481" fmla="*/ 73739 h 6557032"/>
              <a:gd name="connsiteX49482" fmla="*/ 2146521 w 4610101"/>
              <a:gd name="connsiteY49482" fmla="*/ 62806 h 6557032"/>
              <a:gd name="connsiteX49483" fmla="*/ 2153427 w 4610101"/>
              <a:gd name="connsiteY49483" fmla="*/ 63957 h 6557032"/>
              <a:gd name="connsiteX49484" fmla="*/ 2151988 w 4610101"/>
              <a:gd name="connsiteY49484" fmla="*/ 68273 h 6557032"/>
              <a:gd name="connsiteX49485" fmla="*/ 2162921 w 4610101"/>
              <a:gd name="connsiteY49485" fmla="*/ 68273 h 6557032"/>
              <a:gd name="connsiteX49486" fmla="*/ 2162921 w 4610101"/>
              <a:gd name="connsiteY49486" fmla="*/ 57340 h 6557032"/>
              <a:gd name="connsiteX49487" fmla="*/ 2168387 w 4610101"/>
              <a:gd name="connsiteY49487" fmla="*/ 59162 h 6557032"/>
              <a:gd name="connsiteX49488" fmla="*/ 2170210 w 4610101"/>
              <a:gd name="connsiteY49488" fmla="*/ 68273 h 6557032"/>
              <a:gd name="connsiteX49489" fmla="*/ 2182965 w 4610101"/>
              <a:gd name="connsiteY49489" fmla="*/ 71917 h 6557032"/>
              <a:gd name="connsiteX49490" fmla="*/ 2181143 w 4610101"/>
              <a:gd name="connsiteY49490" fmla="*/ 75562 h 6557032"/>
              <a:gd name="connsiteX49491" fmla="*/ 2173854 w 4610101"/>
              <a:gd name="connsiteY49491" fmla="*/ 73739 h 6557032"/>
              <a:gd name="connsiteX49492" fmla="*/ 2175676 w 4610101"/>
              <a:gd name="connsiteY49492" fmla="*/ 81028 h 6557032"/>
              <a:gd name="connsiteX49493" fmla="*/ 2166565 w 4610101"/>
              <a:gd name="connsiteY49493" fmla="*/ 73739 h 6557032"/>
              <a:gd name="connsiteX49494" fmla="*/ 2181143 w 4610101"/>
              <a:gd name="connsiteY49494" fmla="*/ 101072 h 6557032"/>
              <a:gd name="connsiteX49495" fmla="*/ 2197542 w 4610101"/>
              <a:gd name="connsiteY49495" fmla="*/ 102894 h 6557032"/>
              <a:gd name="connsiteX49496" fmla="*/ 2186609 w 4610101"/>
              <a:gd name="connsiteY49496" fmla="*/ 112005 h 6557032"/>
              <a:gd name="connsiteX49497" fmla="*/ 2203009 w 4610101"/>
              <a:gd name="connsiteY49497" fmla="*/ 128405 h 6557032"/>
              <a:gd name="connsiteX49498" fmla="*/ 2183648 w 4610101"/>
              <a:gd name="connsiteY49498" fmla="*/ 123621 h 6557032"/>
              <a:gd name="connsiteX49499" fmla="*/ 2174764 w 4610101"/>
              <a:gd name="connsiteY49499" fmla="*/ 137878 h 6557032"/>
              <a:gd name="connsiteX49500" fmla="*/ 2172032 w 4610101"/>
              <a:gd name="connsiteY49500" fmla="*/ 135693 h 6557032"/>
              <a:gd name="connsiteX49501" fmla="*/ 2173854 w 4610101"/>
              <a:gd name="connsiteY49501" fmla="*/ 139337 h 6557032"/>
              <a:gd name="connsiteX49502" fmla="*/ 2173854 w 4610101"/>
              <a:gd name="connsiteY49502" fmla="*/ 139338 h 6557032"/>
              <a:gd name="connsiteX49503" fmla="*/ 2173855 w 4610101"/>
              <a:gd name="connsiteY49503" fmla="*/ 139338 h 6557032"/>
              <a:gd name="connsiteX49504" fmla="*/ 2174310 w 4610101"/>
              <a:gd name="connsiteY49504" fmla="*/ 140248 h 6557032"/>
              <a:gd name="connsiteX49505" fmla="*/ 2173854 w 4610101"/>
              <a:gd name="connsiteY49505" fmla="*/ 144804 h 6557032"/>
              <a:gd name="connsiteX49506" fmla="*/ 2175990 w 4610101"/>
              <a:gd name="connsiteY49506" fmla="*/ 142290 h 6557032"/>
              <a:gd name="connsiteX49507" fmla="*/ 2181598 w 4610101"/>
              <a:gd name="connsiteY49507" fmla="*/ 150043 h 6557032"/>
              <a:gd name="connsiteX49508" fmla="*/ 2197542 w 4610101"/>
              <a:gd name="connsiteY49508" fmla="*/ 153915 h 6557032"/>
              <a:gd name="connsiteX49509" fmla="*/ 2195720 w 4610101"/>
              <a:gd name="connsiteY49509" fmla="*/ 148449 h 6557032"/>
              <a:gd name="connsiteX49510" fmla="*/ 2212120 w 4610101"/>
              <a:gd name="connsiteY49510" fmla="*/ 146626 h 6557032"/>
              <a:gd name="connsiteX49511" fmla="*/ 2199364 w 4610101"/>
              <a:gd name="connsiteY49511" fmla="*/ 135693 h 6557032"/>
              <a:gd name="connsiteX49512" fmla="*/ 2208475 w 4610101"/>
              <a:gd name="connsiteY49512" fmla="*/ 119294 h 6557032"/>
              <a:gd name="connsiteX49513" fmla="*/ 2215764 w 4610101"/>
              <a:gd name="connsiteY49513" fmla="*/ 130227 h 6557032"/>
              <a:gd name="connsiteX49514" fmla="*/ 2226697 w 4610101"/>
              <a:gd name="connsiteY49514" fmla="*/ 115649 h 6557032"/>
              <a:gd name="connsiteX49515" fmla="*/ 2224875 w 4610101"/>
              <a:gd name="connsiteY49515" fmla="*/ 110183 h 6557032"/>
              <a:gd name="connsiteX49516" fmla="*/ 2230341 w 4610101"/>
              <a:gd name="connsiteY49516" fmla="*/ 112005 h 6557032"/>
              <a:gd name="connsiteX49517" fmla="*/ 2223053 w 4610101"/>
              <a:gd name="connsiteY49517" fmla="*/ 101072 h 6557032"/>
              <a:gd name="connsiteX49518" fmla="*/ 2221230 w 4610101"/>
              <a:gd name="connsiteY49518" fmla="*/ 99250 h 6557032"/>
              <a:gd name="connsiteX49519" fmla="*/ 2228519 w 4610101"/>
              <a:gd name="connsiteY49519" fmla="*/ 101072 h 6557032"/>
              <a:gd name="connsiteX49520" fmla="*/ 2243096 w 4610101"/>
              <a:gd name="connsiteY49520" fmla="*/ 91961 h 6557032"/>
              <a:gd name="connsiteX49521" fmla="*/ 2233986 w 4610101"/>
              <a:gd name="connsiteY49521" fmla="*/ 84673 h 6557032"/>
              <a:gd name="connsiteX49522" fmla="*/ 2244919 w 4610101"/>
              <a:gd name="connsiteY49522" fmla="*/ 82850 h 6557032"/>
              <a:gd name="connsiteX49523" fmla="*/ 2224875 w 4610101"/>
              <a:gd name="connsiteY49523" fmla="*/ 79206 h 6557032"/>
              <a:gd name="connsiteX49524" fmla="*/ 2226697 w 4610101"/>
              <a:gd name="connsiteY49524" fmla="*/ 71917 h 6557032"/>
              <a:gd name="connsiteX49525" fmla="*/ 2233986 w 4610101"/>
              <a:gd name="connsiteY49525" fmla="*/ 79206 h 6557032"/>
              <a:gd name="connsiteX49526" fmla="*/ 2233986 w 4610101"/>
              <a:gd name="connsiteY49526" fmla="*/ 75562 h 6557032"/>
              <a:gd name="connsiteX49527" fmla="*/ 2239452 w 4610101"/>
              <a:gd name="connsiteY49527" fmla="*/ 75562 h 6557032"/>
              <a:gd name="connsiteX49528" fmla="*/ 2208475 w 4610101"/>
              <a:gd name="connsiteY49528" fmla="*/ 59162 h 6557032"/>
              <a:gd name="connsiteX49529" fmla="*/ 2212120 w 4610101"/>
              <a:gd name="connsiteY49529" fmla="*/ 66451 h 6557032"/>
              <a:gd name="connsiteX49530" fmla="*/ 2195720 w 4610101"/>
              <a:gd name="connsiteY49530" fmla="*/ 55518 h 6557032"/>
              <a:gd name="connsiteX49531" fmla="*/ 2199364 w 4610101"/>
              <a:gd name="connsiteY49531" fmla="*/ 62806 h 6557032"/>
              <a:gd name="connsiteX49532" fmla="*/ 2188431 w 4610101"/>
              <a:gd name="connsiteY49532" fmla="*/ 51873 h 6557032"/>
              <a:gd name="connsiteX49533" fmla="*/ 2190253 w 4610101"/>
              <a:gd name="connsiteY49533" fmla="*/ 62806 h 6557032"/>
              <a:gd name="connsiteX49534" fmla="*/ 2179320 w 4610101"/>
              <a:gd name="connsiteY49534" fmla="*/ 51873 h 6557032"/>
              <a:gd name="connsiteX49535" fmla="*/ 2204831 w 4610101"/>
              <a:gd name="connsiteY49535" fmla="*/ 48229 h 6557032"/>
              <a:gd name="connsiteX49536" fmla="*/ 2203009 w 4610101"/>
              <a:gd name="connsiteY49536" fmla="*/ 50051 h 6557032"/>
              <a:gd name="connsiteX49537" fmla="*/ 2219408 w 4610101"/>
              <a:gd name="connsiteY49537" fmla="*/ 55518 h 6557032"/>
              <a:gd name="connsiteX49538" fmla="*/ 2221230 w 4610101"/>
              <a:gd name="connsiteY49538" fmla="*/ 48229 h 6557032"/>
              <a:gd name="connsiteX49539" fmla="*/ 2230341 w 4610101"/>
              <a:gd name="connsiteY49539" fmla="*/ 40940 h 6557032"/>
              <a:gd name="connsiteX49540" fmla="*/ 2228519 w 4610101"/>
              <a:gd name="connsiteY49540" fmla="*/ 55518 h 6557032"/>
              <a:gd name="connsiteX49541" fmla="*/ 2224875 w 4610101"/>
              <a:gd name="connsiteY49541" fmla="*/ 50051 h 6557032"/>
              <a:gd name="connsiteX49542" fmla="*/ 2223053 w 4610101"/>
              <a:gd name="connsiteY49542" fmla="*/ 57340 h 6557032"/>
              <a:gd name="connsiteX49543" fmla="*/ 2230341 w 4610101"/>
              <a:gd name="connsiteY49543" fmla="*/ 55518 h 6557032"/>
              <a:gd name="connsiteX49544" fmla="*/ 2246741 w 4610101"/>
              <a:gd name="connsiteY49544" fmla="*/ 70095 h 6557032"/>
              <a:gd name="connsiteX49545" fmla="*/ 2246741 w 4610101"/>
              <a:gd name="connsiteY49545" fmla="*/ 50051 h 6557032"/>
              <a:gd name="connsiteX49546" fmla="*/ 2252207 w 4610101"/>
              <a:gd name="connsiteY49546" fmla="*/ 55518 h 6557032"/>
              <a:gd name="connsiteX49547" fmla="*/ 2244919 w 4610101"/>
              <a:gd name="connsiteY49547" fmla="*/ 35474 h 6557032"/>
              <a:gd name="connsiteX49548" fmla="*/ 2250385 w 4610101"/>
              <a:gd name="connsiteY49548" fmla="*/ 37296 h 6557032"/>
              <a:gd name="connsiteX49549" fmla="*/ 2252207 w 4610101"/>
              <a:gd name="connsiteY49549" fmla="*/ 44585 h 6557032"/>
              <a:gd name="connsiteX49550" fmla="*/ 2264963 w 4610101"/>
              <a:gd name="connsiteY49550" fmla="*/ 51873 h 6557032"/>
              <a:gd name="connsiteX49551" fmla="*/ 2268894 w 4610101"/>
              <a:gd name="connsiteY49551" fmla="*/ 50727 h 6557032"/>
              <a:gd name="connsiteX49552" fmla="*/ 2268607 w 4610101"/>
              <a:gd name="connsiteY49552" fmla="*/ 51873 h 6557032"/>
              <a:gd name="connsiteX49553" fmla="*/ 2269083 w 4610101"/>
              <a:gd name="connsiteY49553" fmla="*/ 50671 h 6557032"/>
              <a:gd name="connsiteX49554" fmla="*/ 2270430 w 4610101"/>
              <a:gd name="connsiteY49554" fmla="*/ 50279 h 6557032"/>
              <a:gd name="connsiteX49555" fmla="*/ 2270429 w 4610101"/>
              <a:gd name="connsiteY49555" fmla="*/ 47269 h 6557032"/>
              <a:gd name="connsiteX49556" fmla="*/ 2272935 w 4610101"/>
              <a:gd name="connsiteY49556" fmla="*/ 40940 h 6557032"/>
              <a:gd name="connsiteX49557" fmla="*/ 2275896 w 4610101"/>
              <a:gd name="connsiteY49557" fmla="*/ 30007 h 6557032"/>
              <a:gd name="connsiteX49558" fmla="*/ 2279540 w 4610101"/>
              <a:gd name="connsiteY49558" fmla="*/ 42763 h 6557032"/>
              <a:gd name="connsiteX49559" fmla="*/ 2285007 w 4610101"/>
              <a:gd name="connsiteY49559" fmla="*/ 44585 h 6557032"/>
              <a:gd name="connsiteX49560" fmla="*/ 2301406 w 4610101"/>
              <a:gd name="connsiteY49560" fmla="*/ 42763 h 6557032"/>
              <a:gd name="connsiteX49561" fmla="*/ 2285007 w 4610101"/>
              <a:gd name="connsiteY49561" fmla="*/ 46407 h 6557032"/>
              <a:gd name="connsiteX49562" fmla="*/ 2286829 w 4610101"/>
              <a:gd name="connsiteY49562" fmla="*/ 60984 h 6557032"/>
              <a:gd name="connsiteX49563" fmla="*/ 2281806 w 4610101"/>
              <a:gd name="connsiteY49563" fmla="*/ 59309 h 6557032"/>
              <a:gd name="connsiteX49564" fmla="*/ 2279996 w 4610101"/>
              <a:gd name="connsiteY49564" fmla="*/ 57112 h 6557032"/>
              <a:gd name="connsiteX49565" fmla="*/ 2279540 w 4610101"/>
              <a:gd name="connsiteY49565" fmla="*/ 51873 h 6557032"/>
              <a:gd name="connsiteX49566" fmla="*/ 2272251 w 4610101"/>
              <a:gd name="connsiteY49566" fmla="*/ 53696 h 6557032"/>
              <a:gd name="connsiteX49567" fmla="*/ 2283184 w 4610101"/>
              <a:gd name="connsiteY49567" fmla="*/ 60984 h 6557032"/>
              <a:gd name="connsiteX49568" fmla="*/ 2281923 w 4610101"/>
              <a:gd name="connsiteY49568" fmla="*/ 59451 h 6557032"/>
              <a:gd name="connsiteX49569" fmla="*/ 2287968 w 4610101"/>
              <a:gd name="connsiteY49569" fmla="*/ 62578 h 6557032"/>
              <a:gd name="connsiteX49570" fmla="*/ 2290473 w 4610101"/>
              <a:gd name="connsiteY49570" fmla="*/ 70095 h 6557032"/>
              <a:gd name="connsiteX49571" fmla="*/ 2285007 w 4610101"/>
              <a:gd name="connsiteY49571" fmla="*/ 68273 h 6557032"/>
              <a:gd name="connsiteX49572" fmla="*/ 2286829 w 4610101"/>
              <a:gd name="connsiteY49572" fmla="*/ 75562 h 6557032"/>
              <a:gd name="connsiteX49573" fmla="*/ 2275896 w 4610101"/>
              <a:gd name="connsiteY49573" fmla="*/ 68273 h 6557032"/>
              <a:gd name="connsiteX49574" fmla="*/ 2274074 w 4610101"/>
              <a:gd name="connsiteY49574" fmla="*/ 73739 h 6557032"/>
              <a:gd name="connsiteX49575" fmla="*/ 2263140 w 4610101"/>
              <a:gd name="connsiteY49575" fmla="*/ 75562 h 6557032"/>
              <a:gd name="connsiteX49576" fmla="*/ 2295940 w 4610101"/>
              <a:gd name="connsiteY49576" fmla="*/ 77384 h 6557032"/>
              <a:gd name="connsiteX49577" fmla="*/ 2294117 w 4610101"/>
              <a:gd name="connsiteY49577" fmla="*/ 71917 h 6557032"/>
              <a:gd name="connsiteX49578" fmla="*/ 2305050 w 4610101"/>
              <a:gd name="connsiteY49578" fmla="*/ 70095 h 6557032"/>
              <a:gd name="connsiteX49579" fmla="*/ 2339672 w 4610101"/>
              <a:gd name="connsiteY49579" fmla="*/ 64629 h 6557032"/>
              <a:gd name="connsiteX49580" fmla="*/ 2339672 w 4610101"/>
              <a:gd name="connsiteY49580" fmla="*/ 71917 h 6557032"/>
              <a:gd name="connsiteX49581" fmla="*/ 2346960 w 4610101"/>
              <a:gd name="connsiteY49581" fmla="*/ 64629 h 6557032"/>
              <a:gd name="connsiteX49582" fmla="*/ 2339672 w 4610101"/>
              <a:gd name="connsiteY49582" fmla="*/ 64629 h 6557032"/>
              <a:gd name="connsiteX49583" fmla="*/ 2346960 w 4610101"/>
              <a:gd name="connsiteY49583" fmla="*/ 57340 h 6557032"/>
              <a:gd name="connsiteX49584" fmla="*/ 2350605 w 4610101"/>
              <a:gd name="connsiteY49584" fmla="*/ 60984 h 6557032"/>
              <a:gd name="connsiteX49585" fmla="*/ 2348782 w 4610101"/>
              <a:gd name="connsiteY49585" fmla="*/ 62806 h 6557032"/>
              <a:gd name="connsiteX49586" fmla="*/ 2354249 w 4610101"/>
              <a:gd name="connsiteY49586" fmla="*/ 60984 h 6557032"/>
              <a:gd name="connsiteX49587" fmla="*/ 2357893 w 4610101"/>
              <a:gd name="connsiteY49587" fmla="*/ 48229 h 6557032"/>
              <a:gd name="connsiteX49588" fmla="*/ 2365182 w 4610101"/>
              <a:gd name="connsiteY49588" fmla="*/ 55518 h 6557032"/>
              <a:gd name="connsiteX49589" fmla="*/ 2363360 w 4610101"/>
              <a:gd name="connsiteY49589" fmla="*/ 60984 h 6557032"/>
              <a:gd name="connsiteX49590" fmla="*/ 2370649 w 4610101"/>
              <a:gd name="connsiteY49590" fmla="*/ 60984 h 6557032"/>
              <a:gd name="connsiteX49591" fmla="*/ 2368827 w 4610101"/>
              <a:gd name="connsiteY49591" fmla="*/ 51873 h 6557032"/>
              <a:gd name="connsiteX49592" fmla="*/ 2387048 w 4610101"/>
              <a:gd name="connsiteY49592" fmla="*/ 57340 h 6557032"/>
              <a:gd name="connsiteX49593" fmla="*/ 2403448 w 4610101"/>
              <a:gd name="connsiteY49593" fmla="*/ 51873 h 6557032"/>
              <a:gd name="connsiteX49594" fmla="*/ 2401626 w 4610101"/>
              <a:gd name="connsiteY49594" fmla="*/ 44585 h 6557032"/>
              <a:gd name="connsiteX49595" fmla="*/ 2408914 w 4610101"/>
              <a:gd name="connsiteY49595" fmla="*/ 46407 h 6557032"/>
              <a:gd name="connsiteX49596" fmla="*/ 2410737 w 4610101"/>
              <a:gd name="connsiteY49596" fmla="*/ 33652 h 6557032"/>
              <a:gd name="connsiteX49597" fmla="*/ 2410312 w 4610101"/>
              <a:gd name="connsiteY49597" fmla="*/ 33782 h 6557032"/>
              <a:gd name="connsiteX49598" fmla="*/ 2416203 w 4610101"/>
              <a:gd name="connsiteY49598" fmla="*/ 26363 h 6557032"/>
              <a:gd name="connsiteX49599" fmla="*/ 2436247 w 4610101"/>
              <a:gd name="connsiteY49599" fmla="*/ 40940 h 6557032"/>
              <a:gd name="connsiteX49600" fmla="*/ 2434425 w 4610101"/>
              <a:gd name="connsiteY49600" fmla="*/ 31829 h 6557032"/>
              <a:gd name="connsiteX49601" fmla="*/ 2456291 w 4610101"/>
              <a:gd name="connsiteY49601" fmla="*/ 30007 h 6557032"/>
              <a:gd name="connsiteX49602" fmla="*/ 2465402 w 4610101"/>
              <a:gd name="connsiteY49602" fmla="*/ 53696 h 6557032"/>
              <a:gd name="connsiteX49603" fmla="*/ 2456291 w 4610101"/>
              <a:gd name="connsiteY49603" fmla="*/ 51873 h 6557032"/>
              <a:gd name="connsiteX49604" fmla="*/ 2459935 w 4610101"/>
              <a:gd name="connsiteY49604" fmla="*/ 50051 h 6557032"/>
              <a:gd name="connsiteX49605" fmla="*/ 2453414 w 4610101"/>
              <a:gd name="connsiteY49605" fmla="*/ 46790 h 6557032"/>
              <a:gd name="connsiteX49606" fmla="*/ 2461757 w 4610101"/>
              <a:gd name="connsiteY49606" fmla="*/ 48229 h 6557032"/>
              <a:gd name="connsiteX49607" fmla="*/ 2458113 w 4610101"/>
              <a:gd name="connsiteY49607" fmla="*/ 35474 h 6557032"/>
              <a:gd name="connsiteX49608" fmla="*/ 2456291 w 4610101"/>
              <a:gd name="connsiteY49608" fmla="*/ 40940 h 6557032"/>
              <a:gd name="connsiteX49609" fmla="*/ 2452647 w 4610101"/>
              <a:gd name="connsiteY49609" fmla="*/ 33652 h 6557032"/>
              <a:gd name="connsiteX49610" fmla="*/ 2445358 w 4610101"/>
              <a:gd name="connsiteY49610" fmla="*/ 33652 h 6557032"/>
              <a:gd name="connsiteX49611" fmla="*/ 2438069 w 4610101"/>
              <a:gd name="connsiteY49611" fmla="*/ 46407 h 6557032"/>
              <a:gd name="connsiteX49612" fmla="*/ 2438938 w 4610101"/>
              <a:gd name="connsiteY49612" fmla="*/ 46369 h 6557032"/>
              <a:gd name="connsiteX49613" fmla="*/ 2438525 w 4610101"/>
              <a:gd name="connsiteY49613" fmla="*/ 46634 h 6557032"/>
              <a:gd name="connsiteX49614" fmla="*/ 2438069 w 4610101"/>
              <a:gd name="connsiteY49614" fmla="*/ 50051 h 6557032"/>
              <a:gd name="connsiteX49615" fmla="*/ 2445358 w 4610101"/>
              <a:gd name="connsiteY49615" fmla="*/ 57340 h 6557032"/>
              <a:gd name="connsiteX49616" fmla="*/ 2439891 w 4610101"/>
              <a:gd name="connsiteY49616" fmla="*/ 64629 h 6557032"/>
              <a:gd name="connsiteX49617" fmla="*/ 2452647 w 4610101"/>
              <a:gd name="connsiteY49617" fmla="*/ 57340 h 6557032"/>
              <a:gd name="connsiteX49618" fmla="*/ 2454469 w 4610101"/>
              <a:gd name="connsiteY49618" fmla="*/ 64629 h 6557032"/>
              <a:gd name="connsiteX49619" fmla="*/ 2459935 w 4610101"/>
              <a:gd name="connsiteY49619" fmla="*/ 62806 h 6557032"/>
              <a:gd name="connsiteX49620" fmla="*/ 2458113 w 4610101"/>
              <a:gd name="connsiteY49620" fmla="*/ 57340 h 6557032"/>
              <a:gd name="connsiteX49621" fmla="*/ 2461757 w 4610101"/>
              <a:gd name="connsiteY49621" fmla="*/ 59162 h 6557032"/>
              <a:gd name="connsiteX49622" fmla="*/ 2459935 w 4610101"/>
              <a:gd name="connsiteY49622" fmla="*/ 66451 h 6557032"/>
              <a:gd name="connsiteX49623" fmla="*/ 2476335 w 4610101"/>
              <a:gd name="connsiteY49623" fmla="*/ 73739 h 6557032"/>
              <a:gd name="connsiteX49624" fmla="*/ 2478157 w 4610101"/>
              <a:gd name="connsiteY49624" fmla="*/ 53696 h 6557032"/>
              <a:gd name="connsiteX49625" fmla="*/ 2465402 w 4610101"/>
              <a:gd name="connsiteY49625" fmla="*/ 33652 h 6557032"/>
              <a:gd name="connsiteX49626" fmla="*/ 2478157 w 4610101"/>
              <a:gd name="connsiteY49626" fmla="*/ 50051 h 6557032"/>
              <a:gd name="connsiteX49627" fmla="*/ 2483624 w 4610101"/>
              <a:gd name="connsiteY49627" fmla="*/ 51873 h 6557032"/>
              <a:gd name="connsiteX49628" fmla="*/ 2500023 w 4610101"/>
              <a:gd name="connsiteY49628" fmla="*/ 30007 h 6557032"/>
              <a:gd name="connsiteX49629" fmla="*/ 2501845 w 4610101"/>
              <a:gd name="connsiteY49629" fmla="*/ 24541 h 6557032"/>
              <a:gd name="connsiteX49630" fmla="*/ 2507312 w 4610101"/>
              <a:gd name="connsiteY49630" fmla="*/ 30007 h 6557032"/>
              <a:gd name="connsiteX49631" fmla="*/ 2509134 w 4610101"/>
              <a:gd name="connsiteY49631" fmla="*/ 22719 h 6557032"/>
              <a:gd name="connsiteX49632" fmla="*/ 2510956 w 4610101"/>
              <a:gd name="connsiteY49632" fmla="*/ 31829 h 6557032"/>
              <a:gd name="connsiteX49633" fmla="*/ 2531000 w 4610101"/>
              <a:gd name="connsiteY49633" fmla="*/ 20896 h 6557032"/>
              <a:gd name="connsiteX49634" fmla="*/ 2529178 w 4610101"/>
              <a:gd name="connsiteY49634" fmla="*/ 26363 h 6557032"/>
              <a:gd name="connsiteX49635" fmla="*/ 2536466 w 4610101"/>
              <a:gd name="connsiteY49635" fmla="*/ 39118 h 6557032"/>
              <a:gd name="connsiteX49636" fmla="*/ 2552866 w 4610101"/>
              <a:gd name="connsiteY49636" fmla="*/ 24541 h 6557032"/>
              <a:gd name="connsiteX49637" fmla="*/ 2541933 w 4610101"/>
              <a:gd name="connsiteY49637" fmla="*/ 30007 h 6557032"/>
              <a:gd name="connsiteX49638" fmla="*/ 2543755 w 4610101"/>
              <a:gd name="connsiteY49638" fmla="*/ 22719 h 6557032"/>
              <a:gd name="connsiteX49639" fmla="*/ 2551044 w 4610101"/>
              <a:gd name="connsiteY49639" fmla="*/ 15430 h 6557032"/>
              <a:gd name="connsiteX49640" fmla="*/ 2549222 w 4610101"/>
              <a:gd name="connsiteY49640" fmla="*/ 11786 h 6557032"/>
              <a:gd name="connsiteX49641" fmla="*/ 2540111 w 4610101"/>
              <a:gd name="connsiteY49641" fmla="*/ 13608 h 6557032"/>
              <a:gd name="connsiteX49642" fmla="*/ 2541933 w 4610101"/>
              <a:gd name="connsiteY49642" fmla="*/ 8141 h 6557032"/>
              <a:gd name="connsiteX49643" fmla="*/ 2540111 w 4610101"/>
              <a:gd name="connsiteY49643" fmla="*/ 9963 h 6557032"/>
              <a:gd name="connsiteX49644" fmla="*/ 2540111 w 4610101"/>
              <a:gd name="connsiteY49644" fmla="*/ 853 h 655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Lst>
            <a:rect l="l" t="t" r="r" b="b"/>
            <a:pathLst>
              <a:path w="4610101" h="6557032">
                <a:moveTo>
                  <a:pt x="1206279" y="6465923"/>
                </a:moveTo>
                <a:cubicBezTo>
                  <a:pt x="1226323" y="6475034"/>
                  <a:pt x="1209923" y="6475034"/>
                  <a:pt x="1228145" y="6467746"/>
                </a:cubicBezTo>
                <a:lnTo>
                  <a:pt x="1244545" y="6482323"/>
                </a:lnTo>
                <a:lnTo>
                  <a:pt x="1235434" y="6495078"/>
                </a:lnTo>
                <a:lnTo>
                  <a:pt x="1251833" y="6526055"/>
                </a:lnTo>
                <a:cubicBezTo>
                  <a:pt x="1235434" y="6538810"/>
                  <a:pt x="1242722" y="6527877"/>
                  <a:pt x="1237256" y="6547921"/>
                </a:cubicBezTo>
                <a:lnTo>
                  <a:pt x="1222679" y="6557032"/>
                </a:lnTo>
                <a:cubicBezTo>
                  <a:pt x="1202636" y="6547921"/>
                  <a:pt x="1219034" y="6549743"/>
                  <a:pt x="1200814" y="6555210"/>
                </a:cubicBezTo>
                <a:lnTo>
                  <a:pt x="1177124" y="6533343"/>
                </a:lnTo>
                <a:cubicBezTo>
                  <a:pt x="1186235" y="6518766"/>
                  <a:pt x="1191703" y="6518766"/>
                  <a:pt x="1191703" y="6502367"/>
                </a:cubicBezTo>
                <a:lnTo>
                  <a:pt x="1191703" y="6495078"/>
                </a:lnTo>
                <a:lnTo>
                  <a:pt x="1193525" y="6482323"/>
                </a:lnTo>
                <a:close/>
                <a:moveTo>
                  <a:pt x="2674951" y="6438590"/>
                </a:moveTo>
                <a:lnTo>
                  <a:pt x="2684062" y="6467745"/>
                </a:lnTo>
                <a:lnTo>
                  <a:pt x="2676773" y="6506010"/>
                </a:lnTo>
                <a:cubicBezTo>
                  <a:pt x="2658551" y="6516943"/>
                  <a:pt x="2667662" y="6515121"/>
                  <a:pt x="2645796" y="6520588"/>
                </a:cubicBezTo>
                <a:cubicBezTo>
                  <a:pt x="2638508" y="6489611"/>
                  <a:pt x="2643974" y="6496899"/>
                  <a:pt x="2623930" y="6489611"/>
                </a:cubicBezTo>
                <a:cubicBezTo>
                  <a:pt x="2633041" y="6471389"/>
                  <a:pt x="2631219" y="6487789"/>
                  <a:pt x="2623930" y="6467745"/>
                </a:cubicBezTo>
                <a:cubicBezTo>
                  <a:pt x="2651263" y="6449523"/>
                  <a:pt x="2640330" y="6440413"/>
                  <a:pt x="2674951" y="6438590"/>
                </a:cubicBezTo>
                <a:close/>
                <a:moveTo>
                  <a:pt x="2556511" y="6391214"/>
                </a:moveTo>
                <a:cubicBezTo>
                  <a:pt x="2541934" y="6427658"/>
                  <a:pt x="2567444" y="6389392"/>
                  <a:pt x="2549222" y="6422191"/>
                </a:cubicBezTo>
                <a:lnTo>
                  <a:pt x="2525534" y="6398503"/>
                </a:lnTo>
                <a:close/>
                <a:moveTo>
                  <a:pt x="2436248" y="6383925"/>
                </a:moveTo>
                <a:cubicBezTo>
                  <a:pt x="2447181" y="6393036"/>
                  <a:pt x="2458114" y="6394858"/>
                  <a:pt x="2459936" y="6414902"/>
                </a:cubicBezTo>
                <a:lnTo>
                  <a:pt x="2459936" y="6422191"/>
                </a:lnTo>
                <a:cubicBezTo>
                  <a:pt x="2459936" y="6444057"/>
                  <a:pt x="2450825" y="6442234"/>
                  <a:pt x="2428959" y="6444057"/>
                </a:cubicBezTo>
                <a:cubicBezTo>
                  <a:pt x="2427137" y="6436768"/>
                  <a:pt x="2421670" y="6424013"/>
                  <a:pt x="2421670" y="6422191"/>
                </a:cubicBezTo>
                <a:cubicBezTo>
                  <a:pt x="2421670" y="6409436"/>
                  <a:pt x="2430781" y="6393036"/>
                  <a:pt x="2436248" y="6383925"/>
                </a:cubicBezTo>
                <a:close/>
                <a:moveTo>
                  <a:pt x="1869551" y="6331082"/>
                </a:moveTo>
                <a:lnTo>
                  <a:pt x="1867729" y="6347482"/>
                </a:lnTo>
                <a:lnTo>
                  <a:pt x="1853151" y="6332904"/>
                </a:lnTo>
                <a:close/>
                <a:moveTo>
                  <a:pt x="1166191" y="6329260"/>
                </a:moveTo>
                <a:lnTo>
                  <a:pt x="1160725" y="6362059"/>
                </a:lnTo>
                <a:lnTo>
                  <a:pt x="1144325" y="6352948"/>
                </a:lnTo>
                <a:close/>
                <a:moveTo>
                  <a:pt x="2208475" y="6301927"/>
                </a:moveTo>
                <a:cubicBezTo>
                  <a:pt x="2230341" y="6307394"/>
                  <a:pt x="2221231" y="6300105"/>
                  <a:pt x="2230341" y="6316504"/>
                </a:cubicBezTo>
                <a:cubicBezTo>
                  <a:pt x="2208475" y="6311038"/>
                  <a:pt x="2219408" y="6318327"/>
                  <a:pt x="2208475" y="6301927"/>
                </a:cubicBezTo>
                <a:close/>
                <a:moveTo>
                  <a:pt x="1002195" y="6301927"/>
                </a:moveTo>
                <a:cubicBezTo>
                  <a:pt x="1020417" y="6301927"/>
                  <a:pt x="1020417" y="6307394"/>
                  <a:pt x="1033173" y="6316504"/>
                </a:cubicBezTo>
                <a:cubicBezTo>
                  <a:pt x="1016774" y="6352948"/>
                  <a:pt x="1034995" y="6312860"/>
                  <a:pt x="1033173" y="6340193"/>
                </a:cubicBezTo>
                <a:lnTo>
                  <a:pt x="1011306" y="6362059"/>
                </a:lnTo>
                <a:cubicBezTo>
                  <a:pt x="991263" y="6354770"/>
                  <a:pt x="980330" y="6367526"/>
                  <a:pt x="980330" y="6340193"/>
                </a:cubicBezTo>
                <a:lnTo>
                  <a:pt x="980330" y="6332904"/>
                </a:lnTo>
                <a:cubicBezTo>
                  <a:pt x="980330" y="6318327"/>
                  <a:pt x="993084" y="6301927"/>
                  <a:pt x="1002195" y="6301927"/>
                </a:cubicBezTo>
                <a:close/>
                <a:moveTo>
                  <a:pt x="1747465" y="6292816"/>
                </a:moveTo>
                <a:lnTo>
                  <a:pt x="1749287" y="6309216"/>
                </a:lnTo>
                <a:lnTo>
                  <a:pt x="1732887" y="6307393"/>
                </a:lnTo>
                <a:close/>
                <a:moveTo>
                  <a:pt x="2479980" y="6287349"/>
                </a:moveTo>
                <a:lnTo>
                  <a:pt x="2496379" y="6301927"/>
                </a:lnTo>
                <a:cubicBezTo>
                  <a:pt x="2485446" y="6327437"/>
                  <a:pt x="2500023" y="6334726"/>
                  <a:pt x="2489091" y="6354770"/>
                </a:cubicBezTo>
                <a:cubicBezTo>
                  <a:pt x="2469047" y="6363881"/>
                  <a:pt x="2487268" y="6352948"/>
                  <a:pt x="2467224" y="6360236"/>
                </a:cubicBezTo>
                <a:lnTo>
                  <a:pt x="2443536" y="6338370"/>
                </a:lnTo>
                <a:cubicBezTo>
                  <a:pt x="2452647" y="6320149"/>
                  <a:pt x="2450825" y="6336548"/>
                  <a:pt x="2443536" y="6316504"/>
                </a:cubicBezTo>
                <a:cubicBezTo>
                  <a:pt x="2469047" y="6278238"/>
                  <a:pt x="2447181" y="6300105"/>
                  <a:pt x="2479980" y="6287349"/>
                </a:cubicBezTo>
                <a:close/>
                <a:moveTo>
                  <a:pt x="2654907" y="6254551"/>
                </a:moveTo>
                <a:lnTo>
                  <a:pt x="2669485" y="6270951"/>
                </a:lnTo>
                <a:lnTo>
                  <a:pt x="2654907" y="6280062"/>
                </a:lnTo>
                <a:close/>
                <a:moveTo>
                  <a:pt x="2895435" y="6250906"/>
                </a:moveTo>
                <a:lnTo>
                  <a:pt x="2919123" y="6254551"/>
                </a:lnTo>
                <a:lnTo>
                  <a:pt x="2919123" y="6292817"/>
                </a:lnTo>
                <a:cubicBezTo>
                  <a:pt x="2919123" y="6307394"/>
                  <a:pt x="2906368" y="6323793"/>
                  <a:pt x="2897257" y="6323793"/>
                </a:cubicBezTo>
                <a:cubicBezTo>
                  <a:pt x="2880858" y="6323793"/>
                  <a:pt x="2880858" y="6318327"/>
                  <a:pt x="2866281" y="6309216"/>
                </a:cubicBezTo>
                <a:lnTo>
                  <a:pt x="2873569" y="6294639"/>
                </a:lnTo>
                <a:cubicBezTo>
                  <a:pt x="2864458" y="6294639"/>
                  <a:pt x="2866281" y="6298283"/>
                  <a:pt x="2866281" y="6287350"/>
                </a:cubicBezTo>
                <a:cubicBezTo>
                  <a:pt x="2866281" y="6256373"/>
                  <a:pt x="2864458" y="6283706"/>
                  <a:pt x="2873569" y="6270950"/>
                </a:cubicBezTo>
                <a:lnTo>
                  <a:pt x="2864458" y="6256373"/>
                </a:lnTo>
                <a:close/>
                <a:moveTo>
                  <a:pt x="949353" y="6249084"/>
                </a:moveTo>
                <a:lnTo>
                  <a:pt x="965752" y="6249084"/>
                </a:lnTo>
                <a:lnTo>
                  <a:pt x="973041" y="6278239"/>
                </a:lnTo>
                <a:lnTo>
                  <a:pt x="985796" y="6287349"/>
                </a:lnTo>
                <a:cubicBezTo>
                  <a:pt x="974863" y="6309216"/>
                  <a:pt x="969397" y="6320149"/>
                  <a:pt x="954819" y="6342015"/>
                </a:cubicBezTo>
                <a:lnTo>
                  <a:pt x="918376" y="6309216"/>
                </a:lnTo>
                <a:lnTo>
                  <a:pt x="925666" y="6294639"/>
                </a:lnTo>
                <a:lnTo>
                  <a:pt x="911087" y="6294639"/>
                </a:lnTo>
                <a:cubicBezTo>
                  <a:pt x="918376" y="6281883"/>
                  <a:pt x="934775" y="6249084"/>
                  <a:pt x="949353" y="6249084"/>
                </a:cubicBezTo>
                <a:close/>
                <a:moveTo>
                  <a:pt x="1007663" y="6232685"/>
                </a:moveTo>
                <a:lnTo>
                  <a:pt x="1016774" y="6247263"/>
                </a:lnTo>
                <a:lnTo>
                  <a:pt x="1004018" y="6254552"/>
                </a:lnTo>
                <a:lnTo>
                  <a:pt x="993085" y="6247263"/>
                </a:lnTo>
                <a:close/>
                <a:moveTo>
                  <a:pt x="2057235" y="6232684"/>
                </a:moveTo>
                <a:lnTo>
                  <a:pt x="2088211" y="6239973"/>
                </a:lnTo>
                <a:lnTo>
                  <a:pt x="2084568" y="6254551"/>
                </a:lnTo>
                <a:lnTo>
                  <a:pt x="2088211" y="6278240"/>
                </a:lnTo>
                <a:cubicBezTo>
                  <a:pt x="2124654" y="6280062"/>
                  <a:pt x="2119188" y="6296461"/>
                  <a:pt x="2111899" y="6314683"/>
                </a:cubicBezTo>
                <a:lnTo>
                  <a:pt x="2124654" y="6323794"/>
                </a:lnTo>
                <a:lnTo>
                  <a:pt x="2131943" y="6343838"/>
                </a:lnTo>
                <a:cubicBezTo>
                  <a:pt x="2124654" y="6363882"/>
                  <a:pt x="2124654" y="6347483"/>
                  <a:pt x="2128299" y="6365704"/>
                </a:cubicBezTo>
                <a:lnTo>
                  <a:pt x="2122832" y="6387570"/>
                </a:lnTo>
                <a:lnTo>
                  <a:pt x="2110077" y="6403970"/>
                </a:lnTo>
                <a:cubicBezTo>
                  <a:pt x="2091855" y="6394859"/>
                  <a:pt x="2108255" y="6396681"/>
                  <a:pt x="2088211" y="6403970"/>
                </a:cubicBezTo>
                <a:cubicBezTo>
                  <a:pt x="2079100" y="6387570"/>
                  <a:pt x="2066346" y="6383926"/>
                  <a:pt x="2066346" y="6365704"/>
                </a:cubicBezTo>
                <a:lnTo>
                  <a:pt x="2066346" y="6358416"/>
                </a:lnTo>
                <a:cubicBezTo>
                  <a:pt x="2066346" y="6329261"/>
                  <a:pt x="2064524" y="6356593"/>
                  <a:pt x="2073634" y="6343838"/>
                </a:cubicBezTo>
                <a:lnTo>
                  <a:pt x="2066346" y="6329261"/>
                </a:lnTo>
                <a:cubicBezTo>
                  <a:pt x="2071811" y="6325616"/>
                  <a:pt x="2088211" y="6318328"/>
                  <a:pt x="2088211" y="6307394"/>
                </a:cubicBezTo>
                <a:cubicBezTo>
                  <a:pt x="2088211" y="6278240"/>
                  <a:pt x="2090033" y="6305572"/>
                  <a:pt x="2080922" y="6285529"/>
                </a:cubicBezTo>
                <a:lnTo>
                  <a:pt x="2059056" y="6292817"/>
                </a:lnTo>
                <a:lnTo>
                  <a:pt x="2049945" y="6278240"/>
                </a:lnTo>
                <a:cubicBezTo>
                  <a:pt x="2051767" y="6274596"/>
                  <a:pt x="2057235" y="6234507"/>
                  <a:pt x="2057235" y="6232684"/>
                </a:cubicBezTo>
                <a:close/>
                <a:moveTo>
                  <a:pt x="1213568" y="6232684"/>
                </a:moveTo>
                <a:cubicBezTo>
                  <a:pt x="1262767" y="6256373"/>
                  <a:pt x="1235434" y="6229040"/>
                  <a:pt x="1259122" y="6278239"/>
                </a:cubicBezTo>
                <a:lnTo>
                  <a:pt x="1259122" y="6292817"/>
                </a:lnTo>
                <a:cubicBezTo>
                  <a:pt x="1259122" y="6314683"/>
                  <a:pt x="1257300" y="6307394"/>
                  <a:pt x="1246367" y="6316505"/>
                </a:cubicBezTo>
                <a:lnTo>
                  <a:pt x="1239078" y="6345660"/>
                </a:lnTo>
                <a:lnTo>
                  <a:pt x="1275524" y="6378459"/>
                </a:lnTo>
                <a:lnTo>
                  <a:pt x="1268234" y="6391215"/>
                </a:lnTo>
                <a:lnTo>
                  <a:pt x="1280989" y="6407614"/>
                </a:lnTo>
                <a:lnTo>
                  <a:pt x="1266413" y="6424013"/>
                </a:lnTo>
                <a:lnTo>
                  <a:pt x="1275524" y="6438591"/>
                </a:lnTo>
                <a:cubicBezTo>
                  <a:pt x="1275524" y="6438591"/>
                  <a:pt x="1268234" y="6451346"/>
                  <a:pt x="1268234" y="6453168"/>
                </a:cubicBezTo>
                <a:cubicBezTo>
                  <a:pt x="1268234" y="6480501"/>
                  <a:pt x="1266413" y="6454991"/>
                  <a:pt x="1275524" y="6475035"/>
                </a:cubicBezTo>
                <a:lnTo>
                  <a:pt x="1253656" y="6475035"/>
                </a:lnTo>
                <a:cubicBezTo>
                  <a:pt x="1266413" y="6454991"/>
                  <a:pt x="1257300" y="6467746"/>
                  <a:pt x="1253656" y="6460457"/>
                </a:cubicBezTo>
                <a:cubicBezTo>
                  <a:pt x="1250011" y="6458635"/>
                  <a:pt x="1248189" y="6456813"/>
                  <a:pt x="1248189" y="6454991"/>
                </a:cubicBezTo>
                <a:cubicBezTo>
                  <a:pt x="1246367" y="6456813"/>
                  <a:pt x="1244545" y="6458635"/>
                  <a:pt x="1239078" y="6460457"/>
                </a:cubicBezTo>
                <a:lnTo>
                  <a:pt x="1239078" y="6445880"/>
                </a:lnTo>
                <a:lnTo>
                  <a:pt x="1208101" y="6445880"/>
                </a:lnTo>
                <a:cubicBezTo>
                  <a:pt x="1208101" y="6445880"/>
                  <a:pt x="1215390" y="6433124"/>
                  <a:pt x="1215390" y="6431303"/>
                </a:cubicBezTo>
                <a:cubicBezTo>
                  <a:pt x="1215390" y="6402148"/>
                  <a:pt x="1217212" y="6427658"/>
                  <a:pt x="1208101" y="6416725"/>
                </a:cubicBezTo>
                <a:cubicBezTo>
                  <a:pt x="1215390" y="6400325"/>
                  <a:pt x="1215390" y="6394859"/>
                  <a:pt x="1208101" y="6378459"/>
                </a:cubicBezTo>
                <a:cubicBezTo>
                  <a:pt x="1228145" y="6369348"/>
                  <a:pt x="1228145" y="6371171"/>
                  <a:pt x="1229967" y="6340194"/>
                </a:cubicBezTo>
                <a:cubicBezTo>
                  <a:pt x="1213568" y="6351127"/>
                  <a:pt x="1202636" y="6362060"/>
                  <a:pt x="1182592" y="6369348"/>
                </a:cubicBezTo>
                <a:lnTo>
                  <a:pt x="1198990" y="6325616"/>
                </a:lnTo>
                <a:lnTo>
                  <a:pt x="1177124" y="6309217"/>
                </a:lnTo>
                <a:cubicBezTo>
                  <a:pt x="1184414" y="6289173"/>
                  <a:pt x="1184414" y="6305572"/>
                  <a:pt x="1177124" y="6287350"/>
                </a:cubicBezTo>
                <a:lnTo>
                  <a:pt x="1191703" y="6278239"/>
                </a:lnTo>
                <a:lnTo>
                  <a:pt x="1182592" y="6263661"/>
                </a:lnTo>
                <a:close/>
                <a:moveTo>
                  <a:pt x="2261319" y="6225395"/>
                </a:moveTo>
                <a:lnTo>
                  <a:pt x="2285007" y="6234506"/>
                </a:lnTo>
                <a:lnTo>
                  <a:pt x="2299585" y="6227218"/>
                </a:lnTo>
                <a:cubicBezTo>
                  <a:pt x="2301407" y="6258196"/>
                  <a:pt x="2306873" y="6245440"/>
                  <a:pt x="2306873" y="6265484"/>
                </a:cubicBezTo>
                <a:lnTo>
                  <a:pt x="2306873" y="6280061"/>
                </a:lnTo>
                <a:lnTo>
                  <a:pt x="2290474" y="6318327"/>
                </a:lnTo>
                <a:lnTo>
                  <a:pt x="2268608" y="6301928"/>
                </a:lnTo>
                <a:lnTo>
                  <a:pt x="2268608" y="6323793"/>
                </a:lnTo>
                <a:cubicBezTo>
                  <a:pt x="2235808" y="6300105"/>
                  <a:pt x="2261319" y="6320149"/>
                  <a:pt x="2261319" y="6301928"/>
                </a:cubicBezTo>
                <a:cubicBezTo>
                  <a:pt x="2261319" y="6272773"/>
                  <a:pt x="2263141" y="6298283"/>
                  <a:pt x="2254030" y="6287350"/>
                </a:cubicBezTo>
                <a:cubicBezTo>
                  <a:pt x="2261319" y="6270951"/>
                  <a:pt x="2261319" y="6265484"/>
                  <a:pt x="2254030" y="6249085"/>
                </a:cubicBezTo>
                <a:close/>
                <a:moveTo>
                  <a:pt x="1833107" y="6174375"/>
                </a:moveTo>
                <a:lnTo>
                  <a:pt x="1854975" y="6181664"/>
                </a:lnTo>
                <a:lnTo>
                  <a:pt x="1864084" y="6196241"/>
                </a:lnTo>
                <a:lnTo>
                  <a:pt x="1856796" y="6208996"/>
                </a:lnTo>
                <a:lnTo>
                  <a:pt x="1871374" y="6227218"/>
                </a:lnTo>
                <a:lnTo>
                  <a:pt x="1851329" y="6241795"/>
                </a:lnTo>
                <a:lnTo>
                  <a:pt x="1825820" y="6219930"/>
                </a:lnTo>
                <a:lnTo>
                  <a:pt x="1833107" y="6205352"/>
                </a:lnTo>
                <a:cubicBezTo>
                  <a:pt x="1822174" y="6187130"/>
                  <a:pt x="1820352" y="6198063"/>
                  <a:pt x="1833107" y="6174375"/>
                </a:cubicBezTo>
                <a:close/>
                <a:moveTo>
                  <a:pt x="2955567" y="6150686"/>
                </a:moveTo>
                <a:cubicBezTo>
                  <a:pt x="2975611" y="6159797"/>
                  <a:pt x="2959211" y="6159797"/>
                  <a:pt x="2977433" y="6152509"/>
                </a:cubicBezTo>
                <a:lnTo>
                  <a:pt x="2993832" y="6165264"/>
                </a:lnTo>
                <a:cubicBezTo>
                  <a:pt x="2986544" y="6181663"/>
                  <a:pt x="2986544" y="6187130"/>
                  <a:pt x="2993832" y="6203530"/>
                </a:cubicBezTo>
                <a:cubicBezTo>
                  <a:pt x="2986544" y="6210818"/>
                  <a:pt x="2981077" y="6225395"/>
                  <a:pt x="2971966" y="6225395"/>
                </a:cubicBezTo>
                <a:cubicBezTo>
                  <a:pt x="2966500" y="6225395"/>
                  <a:pt x="2950100" y="6208996"/>
                  <a:pt x="2940989" y="6203530"/>
                </a:cubicBezTo>
                <a:cubicBezTo>
                  <a:pt x="2948278" y="6187130"/>
                  <a:pt x="2948278" y="6181663"/>
                  <a:pt x="2940989" y="6165264"/>
                </a:cubicBezTo>
                <a:close/>
                <a:moveTo>
                  <a:pt x="2352428" y="6143399"/>
                </a:moveTo>
                <a:lnTo>
                  <a:pt x="2357894" y="6156155"/>
                </a:lnTo>
                <a:lnTo>
                  <a:pt x="2350606" y="6167088"/>
                </a:lnTo>
                <a:lnTo>
                  <a:pt x="2336028" y="6152510"/>
                </a:lnTo>
                <a:close/>
                <a:moveTo>
                  <a:pt x="2674952" y="6136109"/>
                </a:moveTo>
                <a:lnTo>
                  <a:pt x="2698640" y="6163443"/>
                </a:lnTo>
                <a:lnTo>
                  <a:pt x="2689529" y="6178020"/>
                </a:lnTo>
                <a:lnTo>
                  <a:pt x="2698640" y="6192598"/>
                </a:lnTo>
                <a:lnTo>
                  <a:pt x="2689529" y="6218108"/>
                </a:lnTo>
                <a:lnTo>
                  <a:pt x="2658552" y="6208997"/>
                </a:lnTo>
                <a:lnTo>
                  <a:pt x="2653085" y="6239974"/>
                </a:lnTo>
                <a:cubicBezTo>
                  <a:pt x="2633041" y="6223574"/>
                  <a:pt x="2633041" y="6229041"/>
                  <a:pt x="2645797" y="6201709"/>
                </a:cubicBezTo>
                <a:lnTo>
                  <a:pt x="2645797" y="6179842"/>
                </a:lnTo>
                <a:lnTo>
                  <a:pt x="2645797" y="6172554"/>
                </a:lnTo>
                <a:cubicBezTo>
                  <a:pt x="2645797" y="6150687"/>
                  <a:pt x="2664018" y="6143398"/>
                  <a:pt x="2674952" y="6136109"/>
                </a:cubicBezTo>
                <a:close/>
                <a:moveTo>
                  <a:pt x="1619913" y="6103311"/>
                </a:moveTo>
                <a:lnTo>
                  <a:pt x="1627202" y="6119711"/>
                </a:lnTo>
                <a:lnTo>
                  <a:pt x="1619913" y="6128822"/>
                </a:lnTo>
                <a:lnTo>
                  <a:pt x="1603513" y="6119711"/>
                </a:lnTo>
                <a:close/>
                <a:moveTo>
                  <a:pt x="721581" y="6096021"/>
                </a:moveTo>
                <a:lnTo>
                  <a:pt x="730691" y="6112421"/>
                </a:lnTo>
                <a:lnTo>
                  <a:pt x="707003" y="6110599"/>
                </a:lnTo>
                <a:close/>
                <a:moveTo>
                  <a:pt x="920198" y="6068688"/>
                </a:moveTo>
                <a:cubicBezTo>
                  <a:pt x="929309" y="6085088"/>
                  <a:pt x="942064" y="6088732"/>
                  <a:pt x="942064" y="6106954"/>
                </a:cubicBezTo>
                <a:lnTo>
                  <a:pt x="942064" y="6128820"/>
                </a:lnTo>
                <a:lnTo>
                  <a:pt x="943886" y="6145220"/>
                </a:lnTo>
                <a:lnTo>
                  <a:pt x="905621" y="6159797"/>
                </a:lnTo>
                <a:cubicBezTo>
                  <a:pt x="894688" y="6143397"/>
                  <a:pt x="905621" y="6150686"/>
                  <a:pt x="883755" y="6145220"/>
                </a:cubicBezTo>
                <a:cubicBezTo>
                  <a:pt x="878288" y="6121532"/>
                  <a:pt x="881932" y="6132464"/>
                  <a:pt x="869177" y="6114243"/>
                </a:cubicBezTo>
                <a:lnTo>
                  <a:pt x="891043" y="6099665"/>
                </a:lnTo>
                <a:lnTo>
                  <a:pt x="891043" y="6077799"/>
                </a:lnTo>
                <a:close/>
                <a:moveTo>
                  <a:pt x="1073262" y="6066868"/>
                </a:moveTo>
                <a:lnTo>
                  <a:pt x="1058683" y="6097845"/>
                </a:lnTo>
                <a:cubicBezTo>
                  <a:pt x="1064151" y="6117889"/>
                  <a:pt x="1067794" y="6105133"/>
                  <a:pt x="1049572" y="6117889"/>
                </a:cubicBezTo>
                <a:lnTo>
                  <a:pt x="1040461" y="6112423"/>
                </a:lnTo>
                <a:cubicBezTo>
                  <a:pt x="1051394" y="6090556"/>
                  <a:pt x="1049572" y="6083268"/>
                  <a:pt x="1073262" y="6066868"/>
                </a:cubicBezTo>
                <a:close/>
                <a:moveTo>
                  <a:pt x="1184414" y="6046823"/>
                </a:moveTo>
                <a:cubicBezTo>
                  <a:pt x="1188058" y="6052290"/>
                  <a:pt x="1198991" y="6065046"/>
                  <a:pt x="1198991" y="6068690"/>
                </a:cubicBezTo>
                <a:lnTo>
                  <a:pt x="1198991" y="6092379"/>
                </a:lnTo>
                <a:lnTo>
                  <a:pt x="1189880" y="6106956"/>
                </a:lnTo>
                <a:lnTo>
                  <a:pt x="1198991" y="6137933"/>
                </a:lnTo>
                <a:lnTo>
                  <a:pt x="1182592" y="6159799"/>
                </a:lnTo>
                <a:lnTo>
                  <a:pt x="1162547" y="6145221"/>
                </a:lnTo>
                <a:cubicBezTo>
                  <a:pt x="1175302" y="6112423"/>
                  <a:pt x="1157080" y="6145221"/>
                  <a:pt x="1169835" y="6114244"/>
                </a:cubicBezTo>
                <a:lnTo>
                  <a:pt x="1146148" y="6114244"/>
                </a:lnTo>
                <a:lnTo>
                  <a:pt x="1151614" y="6101489"/>
                </a:lnTo>
                <a:lnTo>
                  <a:pt x="1146148" y="6085090"/>
                </a:lnTo>
                <a:close/>
                <a:moveTo>
                  <a:pt x="2835303" y="6045000"/>
                </a:moveTo>
                <a:lnTo>
                  <a:pt x="2858991" y="6046823"/>
                </a:lnTo>
                <a:lnTo>
                  <a:pt x="2842592" y="6059577"/>
                </a:lnTo>
                <a:close/>
                <a:moveTo>
                  <a:pt x="1749287" y="6045000"/>
                </a:moveTo>
                <a:lnTo>
                  <a:pt x="1772975" y="6045000"/>
                </a:lnTo>
                <a:lnTo>
                  <a:pt x="1785730" y="6046823"/>
                </a:lnTo>
                <a:lnTo>
                  <a:pt x="1800308" y="6059578"/>
                </a:lnTo>
                <a:cubicBezTo>
                  <a:pt x="1793019" y="6075978"/>
                  <a:pt x="1793019" y="6081445"/>
                  <a:pt x="1800308" y="6097844"/>
                </a:cubicBezTo>
                <a:cubicBezTo>
                  <a:pt x="1787553" y="6123354"/>
                  <a:pt x="1800308" y="6112422"/>
                  <a:pt x="1778442" y="6128821"/>
                </a:cubicBezTo>
                <a:cubicBezTo>
                  <a:pt x="1787553" y="6148865"/>
                  <a:pt x="1791197" y="6136110"/>
                  <a:pt x="1771154" y="6150687"/>
                </a:cubicBezTo>
                <a:lnTo>
                  <a:pt x="1771154" y="6128821"/>
                </a:lnTo>
                <a:lnTo>
                  <a:pt x="1741998" y="6119710"/>
                </a:lnTo>
                <a:lnTo>
                  <a:pt x="1741998" y="6105133"/>
                </a:lnTo>
                <a:lnTo>
                  <a:pt x="1741998" y="6083267"/>
                </a:lnTo>
                <a:cubicBezTo>
                  <a:pt x="1741998" y="6061401"/>
                  <a:pt x="1745643" y="6068689"/>
                  <a:pt x="1758398" y="6059578"/>
                </a:cubicBezTo>
                <a:close/>
                <a:moveTo>
                  <a:pt x="2638508" y="6030424"/>
                </a:moveTo>
                <a:cubicBezTo>
                  <a:pt x="2656730" y="6041357"/>
                  <a:pt x="2649441" y="6030424"/>
                  <a:pt x="2653086" y="6052290"/>
                </a:cubicBezTo>
                <a:lnTo>
                  <a:pt x="2638508" y="6052290"/>
                </a:lnTo>
                <a:close/>
                <a:moveTo>
                  <a:pt x="827267" y="6023135"/>
                </a:moveTo>
                <a:lnTo>
                  <a:pt x="836378" y="6030424"/>
                </a:lnTo>
                <a:lnTo>
                  <a:pt x="827267" y="6052290"/>
                </a:lnTo>
                <a:lnTo>
                  <a:pt x="803578" y="6043179"/>
                </a:lnTo>
                <a:close/>
                <a:moveTo>
                  <a:pt x="2328738" y="6023134"/>
                </a:moveTo>
                <a:cubicBezTo>
                  <a:pt x="2328738" y="6023134"/>
                  <a:pt x="2341493" y="6030423"/>
                  <a:pt x="2343316" y="6030423"/>
                </a:cubicBezTo>
                <a:cubicBezTo>
                  <a:pt x="2372470" y="6030423"/>
                  <a:pt x="2346960" y="6034068"/>
                  <a:pt x="2365182" y="6024957"/>
                </a:cubicBezTo>
                <a:lnTo>
                  <a:pt x="2388870" y="6046824"/>
                </a:lnTo>
                <a:cubicBezTo>
                  <a:pt x="2381581" y="6063223"/>
                  <a:pt x="2381581" y="6068690"/>
                  <a:pt x="2388870" y="6085090"/>
                </a:cubicBezTo>
                <a:lnTo>
                  <a:pt x="2379759" y="6106955"/>
                </a:lnTo>
                <a:lnTo>
                  <a:pt x="2367004" y="6121533"/>
                </a:lnTo>
                <a:lnTo>
                  <a:pt x="2336027" y="6116066"/>
                </a:lnTo>
                <a:lnTo>
                  <a:pt x="2336027" y="6092378"/>
                </a:lnTo>
                <a:lnTo>
                  <a:pt x="2321449" y="6099667"/>
                </a:lnTo>
                <a:cubicBezTo>
                  <a:pt x="2315983" y="6081445"/>
                  <a:pt x="2299583" y="6072334"/>
                  <a:pt x="2299583" y="6061401"/>
                </a:cubicBezTo>
                <a:cubicBezTo>
                  <a:pt x="2299583" y="6045002"/>
                  <a:pt x="2301406" y="6052290"/>
                  <a:pt x="2306872" y="6032245"/>
                </a:cubicBezTo>
                <a:close/>
                <a:moveTo>
                  <a:pt x="2124655" y="5990336"/>
                </a:moveTo>
                <a:lnTo>
                  <a:pt x="2126477" y="6015847"/>
                </a:lnTo>
                <a:lnTo>
                  <a:pt x="2110077" y="6006736"/>
                </a:lnTo>
                <a:close/>
                <a:moveTo>
                  <a:pt x="1552492" y="5963002"/>
                </a:moveTo>
                <a:lnTo>
                  <a:pt x="1576181" y="5984870"/>
                </a:lnTo>
                <a:cubicBezTo>
                  <a:pt x="1561603" y="6019491"/>
                  <a:pt x="1585291" y="5983047"/>
                  <a:pt x="1568892" y="6014024"/>
                </a:cubicBezTo>
                <a:lnTo>
                  <a:pt x="1583469" y="6026779"/>
                </a:lnTo>
                <a:lnTo>
                  <a:pt x="1541559" y="6065045"/>
                </a:lnTo>
                <a:lnTo>
                  <a:pt x="1516049" y="6043179"/>
                </a:lnTo>
                <a:lnTo>
                  <a:pt x="1523339" y="6028602"/>
                </a:lnTo>
                <a:lnTo>
                  <a:pt x="1508760" y="6021313"/>
                </a:lnTo>
                <a:cubicBezTo>
                  <a:pt x="1517871" y="6001269"/>
                  <a:pt x="1517871" y="6017668"/>
                  <a:pt x="1512405" y="5999447"/>
                </a:cubicBezTo>
                <a:lnTo>
                  <a:pt x="1525160" y="5970291"/>
                </a:lnTo>
                <a:close/>
                <a:moveTo>
                  <a:pt x="1876839" y="5955714"/>
                </a:moveTo>
                <a:cubicBezTo>
                  <a:pt x="1895061" y="5955714"/>
                  <a:pt x="1895061" y="5961181"/>
                  <a:pt x="1907816" y="5970292"/>
                </a:cubicBezTo>
                <a:lnTo>
                  <a:pt x="1909639" y="5990336"/>
                </a:lnTo>
                <a:lnTo>
                  <a:pt x="1931505" y="6015847"/>
                </a:lnTo>
                <a:lnTo>
                  <a:pt x="1909639" y="6023135"/>
                </a:lnTo>
                <a:cubicBezTo>
                  <a:pt x="1902350" y="6050468"/>
                  <a:pt x="1904172" y="6046824"/>
                  <a:pt x="1878662" y="6054112"/>
                </a:cubicBezTo>
                <a:lnTo>
                  <a:pt x="1878662" y="6039535"/>
                </a:lnTo>
                <a:lnTo>
                  <a:pt x="1854973" y="6039535"/>
                </a:lnTo>
                <a:lnTo>
                  <a:pt x="1862262" y="6024958"/>
                </a:lnTo>
                <a:cubicBezTo>
                  <a:pt x="1851329" y="6006736"/>
                  <a:pt x="1847685" y="6004914"/>
                  <a:pt x="1862262" y="5986692"/>
                </a:cubicBezTo>
                <a:lnTo>
                  <a:pt x="1853151" y="5972115"/>
                </a:lnTo>
                <a:cubicBezTo>
                  <a:pt x="1860440" y="5966648"/>
                  <a:pt x="1873195" y="5955714"/>
                  <a:pt x="1876839" y="5955714"/>
                </a:cubicBezTo>
                <a:close/>
                <a:moveTo>
                  <a:pt x="2172033" y="5946604"/>
                </a:moveTo>
                <a:lnTo>
                  <a:pt x="2179321" y="5977581"/>
                </a:lnTo>
                <a:lnTo>
                  <a:pt x="2157455" y="5977581"/>
                </a:lnTo>
                <a:cubicBezTo>
                  <a:pt x="2162922" y="5959359"/>
                  <a:pt x="2161100" y="5957537"/>
                  <a:pt x="2159277" y="5959359"/>
                </a:cubicBezTo>
                <a:cubicBezTo>
                  <a:pt x="2161100" y="5957537"/>
                  <a:pt x="2164744" y="5953893"/>
                  <a:pt x="2172033" y="5946604"/>
                </a:cubicBezTo>
                <a:close/>
                <a:moveTo>
                  <a:pt x="858244" y="5930204"/>
                </a:moveTo>
                <a:lnTo>
                  <a:pt x="858244" y="5946604"/>
                </a:lnTo>
                <a:lnTo>
                  <a:pt x="841844" y="5944781"/>
                </a:lnTo>
                <a:close/>
                <a:moveTo>
                  <a:pt x="1115170" y="5908337"/>
                </a:moveTo>
                <a:cubicBezTo>
                  <a:pt x="1140681" y="5924738"/>
                  <a:pt x="1120637" y="5921094"/>
                  <a:pt x="1155259" y="5924738"/>
                </a:cubicBezTo>
                <a:lnTo>
                  <a:pt x="1146148" y="5953893"/>
                </a:lnTo>
                <a:lnTo>
                  <a:pt x="1160725" y="5953893"/>
                </a:lnTo>
                <a:cubicBezTo>
                  <a:pt x="1155259" y="5975759"/>
                  <a:pt x="1160725" y="5964826"/>
                  <a:pt x="1144325" y="5977581"/>
                </a:cubicBezTo>
                <a:lnTo>
                  <a:pt x="1149791" y="5988514"/>
                </a:lnTo>
                <a:lnTo>
                  <a:pt x="1142503" y="6006735"/>
                </a:lnTo>
                <a:lnTo>
                  <a:pt x="1137037" y="5988514"/>
                </a:lnTo>
                <a:lnTo>
                  <a:pt x="1116992" y="6012202"/>
                </a:lnTo>
                <a:lnTo>
                  <a:pt x="1084193" y="6004913"/>
                </a:lnTo>
                <a:lnTo>
                  <a:pt x="1093304" y="5975759"/>
                </a:lnTo>
                <a:cubicBezTo>
                  <a:pt x="1084193" y="5975759"/>
                  <a:pt x="1086015" y="5979403"/>
                  <a:pt x="1086015" y="5968470"/>
                </a:cubicBezTo>
                <a:cubicBezTo>
                  <a:pt x="1086015" y="5937493"/>
                  <a:pt x="1084193" y="5964826"/>
                  <a:pt x="1091482" y="5953893"/>
                </a:cubicBezTo>
                <a:lnTo>
                  <a:pt x="1084193" y="5924738"/>
                </a:lnTo>
                <a:cubicBezTo>
                  <a:pt x="1120637" y="5921094"/>
                  <a:pt x="1098771" y="5932026"/>
                  <a:pt x="1115170" y="5908337"/>
                </a:cubicBezTo>
                <a:close/>
                <a:moveTo>
                  <a:pt x="2707752" y="5893761"/>
                </a:moveTo>
                <a:lnTo>
                  <a:pt x="2705930" y="5919272"/>
                </a:lnTo>
                <a:lnTo>
                  <a:pt x="2682241" y="5895583"/>
                </a:lnTo>
                <a:close/>
                <a:moveTo>
                  <a:pt x="1328364" y="5891939"/>
                </a:moveTo>
                <a:lnTo>
                  <a:pt x="1341120" y="5908339"/>
                </a:lnTo>
                <a:lnTo>
                  <a:pt x="1326542" y="5917450"/>
                </a:lnTo>
                <a:close/>
                <a:moveTo>
                  <a:pt x="963930" y="5890116"/>
                </a:moveTo>
                <a:lnTo>
                  <a:pt x="978507" y="5895583"/>
                </a:lnTo>
                <a:lnTo>
                  <a:pt x="994906" y="5941137"/>
                </a:lnTo>
                <a:cubicBezTo>
                  <a:pt x="978507" y="5950248"/>
                  <a:pt x="974863" y="5963003"/>
                  <a:pt x="956641" y="5963003"/>
                </a:cubicBezTo>
                <a:lnTo>
                  <a:pt x="949352" y="5963003"/>
                </a:lnTo>
                <a:cubicBezTo>
                  <a:pt x="932953" y="5963003"/>
                  <a:pt x="932953" y="5955715"/>
                  <a:pt x="918375" y="5946604"/>
                </a:cubicBezTo>
                <a:cubicBezTo>
                  <a:pt x="925664" y="5930204"/>
                  <a:pt x="925664" y="5924737"/>
                  <a:pt x="918375" y="5908338"/>
                </a:cubicBezTo>
                <a:lnTo>
                  <a:pt x="934775" y="5895583"/>
                </a:lnTo>
                <a:close/>
                <a:moveTo>
                  <a:pt x="1297388" y="5864606"/>
                </a:moveTo>
                <a:lnTo>
                  <a:pt x="1319254" y="5864606"/>
                </a:lnTo>
                <a:lnTo>
                  <a:pt x="1319254" y="5886472"/>
                </a:lnTo>
                <a:lnTo>
                  <a:pt x="1304677" y="5886472"/>
                </a:lnTo>
                <a:close/>
                <a:moveTo>
                  <a:pt x="2305051" y="5855495"/>
                </a:moveTo>
                <a:lnTo>
                  <a:pt x="2321451" y="5877361"/>
                </a:lnTo>
                <a:lnTo>
                  <a:pt x="2294118" y="5884650"/>
                </a:lnTo>
                <a:lnTo>
                  <a:pt x="2283185" y="5877361"/>
                </a:lnTo>
                <a:close/>
                <a:moveTo>
                  <a:pt x="2795214" y="5848207"/>
                </a:moveTo>
                <a:lnTo>
                  <a:pt x="2797037" y="5871895"/>
                </a:lnTo>
                <a:lnTo>
                  <a:pt x="2780637" y="5862784"/>
                </a:lnTo>
                <a:close/>
                <a:moveTo>
                  <a:pt x="2080923" y="5848207"/>
                </a:moveTo>
                <a:lnTo>
                  <a:pt x="2102790" y="5848207"/>
                </a:lnTo>
                <a:cubicBezTo>
                  <a:pt x="2090034" y="5881006"/>
                  <a:pt x="2108256" y="5848207"/>
                  <a:pt x="2095501" y="5879184"/>
                </a:cubicBezTo>
                <a:cubicBezTo>
                  <a:pt x="2066346" y="5857318"/>
                  <a:pt x="2093679" y="5879184"/>
                  <a:pt x="2080923" y="5848207"/>
                </a:cubicBezTo>
                <a:close/>
                <a:moveTo>
                  <a:pt x="2518244" y="5848206"/>
                </a:moveTo>
                <a:lnTo>
                  <a:pt x="2541933" y="5848206"/>
                </a:lnTo>
                <a:lnTo>
                  <a:pt x="2554688" y="5850028"/>
                </a:lnTo>
                <a:lnTo>
                  <a:pt x="2571088" y="5862783"/>
                </a:lnTo>
                <a:cubicBezTo>
                  <a:pt x="2561977" y="5881005"/>
                  <a:pt x="2563799" y="5864606"/>
                  <a:pt x="2571088" y="5884650"/>
                </a:cubicBezTo>
                <a:cubicBezTo>
                  <a:pt x="2561977" y="5899227"/>
                  <a:pt x="2556510" y="5922915"/>
                  <a:pt x="2549221" y="5937493"/>
                </a:cubicBezTo>
                <a:lnTo>
                  <a:pt x="2527355" y="5930204"/>
                </a:lnTo>
                <a:cubicBezTo>
                  <a:pt x="2520067" y="5904693"/>
                  <a:pt x="2523711" y="5913804"/>
                  <a:pt x="2505489" y="5901049"/>
                </a:cubicBezTo>
                <a:lnTo>
                  <a:pt x="2512778" y="5871894"/>
                </a:lnTo>
                <a:lnTo>
                  <a:pt x="2527355" y="5862783"/>
                </a:lnTo>
                <a:close/>
                <a:moveTo>
                  <a:pt x="2760595" y="5824518"/>
                </a:moveTo>
                <a:lnTo>
                  <a:pt x="2766061" y="5855495"/>
                </a:lnTo>
                <a:cubicBezTo>
                  <a:pt x="2755128" y="5853673"/>
                  <a:pt x="2744195" y="5853673"/>
                  <a:pt x="2744195" y="5840918"/>
                </a:cubicBezTo>
                <a:cubicBezTo>
                  <a:pt x="2744195" y="5831807"/>
                  <a:pt x="2753306" y="5829985"/>
                  <a:pt x="2760595" y="5824518"/>
                </a:cubicBezTo>
                <a:close/>
                <a:moveTo>
                  <a:pt x="2292296" y="5811762"/>
                </a:moveTo>
                <a:lnTo>
                  <a:pt x="2283185" y="5828162"/>
                </a:lnTo>
                <a:lnTo>
                  <a:pt x="2268607" y="5813584"/>
                </a:lnTo>
                <a:close/>
                <a:moveTo>
                  <a:pt x="2004392" y="5795363"/>
                </a:moveTo>
                <a:lnTo>
                  <a:pt x="2011682" y="5809941"/>
                </a:lnTo>
                <a:lnTo>
                  <a:pt x="2004392" y="5819052"/>
                </a:lnTo>
                <a:lnTo>
                  <a:pt x="1989814" y="5809941"/>
                </a:lnTo>
                <a:close/>
                <a:moveTo>
                  <a:pt x="572162" y="5780785"/>
                </a:moveTo>
                <a:lnTo>
                  <a:pt x="588562" y="5782608"/>
                </a:lnTo>
                <a:lnTo>
                  <a:pt x="573984" y="5797185"/>
                </a:lnTo>
                <a:close/>
                <a:moveTo>
                  <a:pt x="2268608" y="5771675"/>
                </a:moveTo>
                <a:lnTo>
                  <a:pt x="2268608" y="5795363"/>
                </a:lnTo>
                <a:lnTo>
                  <a:pt x="2244919" y="5795363"/>
                </a:lnTo>
                <a:close/>
                <a:moveTo>
                  <a:pt x="1944260" y="5758920"/>
                </a:moveTo>
                <a:cubicBezTo>
                  <a:pt x="1951548" y="5762565"/>
                  <a:pt x="1967948" y="5771676"/>
                  <a:pt x="1966126" y="5782609"/>
                </a:cubicBezTo>
                <a:cubicBezTo>
                  <a:pt x="1966126" y="5809941"/>
                  <a:pt x="1967948" y="5784431"/>
                  <a:pt x="1958837" y="5804475"/>
                </a:cubicBezTo>
                <a:cubicBezTo>
                  <a:pt x="1938793" y="5789897"/>
                  <a:pt x="1942438" y="5802653"/>
                  <a:pt x="1947904" y="5782609"/>
                </a:cubicBezTo>
                <a:close/>
                <a:moveTo>
                  <a:pt x="1741999" y="5758919"/>
                </a:moveTo>
                <a:lnTo>
                  <a:pt x="1732888" y="5775319"/>
                </a:lnTo>
                <a:lnTo>
                  <a:pt x="1716488" y="5760742"/>
                </a:lnTo>
                <a:close/>
                <a:moveTo>
                  <a:pt x="1712844" y="5758919"/>
                </a:moveTo>
                <a:lnTo>
                  <a:pt x="1701911" y="5775319"/>
                </a:lnTo>
                <a:lnTo>
                  <a:pt x="1687333" y="5760742"/>
                </a:lnTo>
                <a:close/>
                <a:moveTo>
                  <a:pt x="2503667" y="5751630"/>
                </a:moveTo>
                <a:lnTo>
                  <a:pt x="2520067" y="5751630"/>
                </a:lnTo>
                <a:lnTo>
                  <a:pt x="2505490" y="5768030"/>
                </a:lnTo>
                <a:close/>
                <a:moveTo>
                  <a:pt x="2818904" y="5704255"/>
                </a:moveTo>
                <a:lnTo>
                  <a:pt x="2826193" y="5718833"/>
                </a:lnTo>
                <a:lnTo>
                  <a:pt x="2818904" y="5729766"/>
                </a:lnTo>
                <a:lnTo>
                  <a:pt x="2804326" y="5718833"/>
                </a:lnTo>
                <a:close/>
                <a:moveTo>
                  <a:pt x="1674579" y="5693321"/>
                </a:moveTo>
                <a:cubicBezTo>
                  <a:pt x="1680046" y="5702432"/>
                  <a:pt x="1681868" y="5700610"/>
                  <a:pt x="1681868" y="5715187"/>
                </a:cubicBezTo>
                <a:lnTo>
                  <a:pt x="1681868" y="5722476"/>
                </a:lnTo>
                <a:cubicBezTo>
                  <a:pt x="1681868" y="5738876"/>
                  <a:pt x="1674579" y="5738876"/>
                  <a:pt x="1665467" y="5753453"/>
                </a:cubicBezTo>
                <a:lnTo>
                  <a:pt x="1643602" y="5737053"/>
                </a:lnTo>
                <a:cubicBezTo>
                  <a:pt x="1650890" y="5720654"/>
                  <a:pt x="1650890" y="5715187"/>
                  <a:pt x="1643602" y="5698788"/>
                </a:cubicBezTo>
                <a:close/>
                <a:moveTo>
                  <a:pt x="1975236" y="5689677"/>
                </a:moveTo>
                <a:cubicBezTo>
                  <a:pt x="2006214" y="5689677"/>
                  <a:pt x="1993459" y="5715188"/>
                  <a:pt x="1989814" y="5724298"/>
                </a:cubicBezTo>
                <a:lnTo>
                  <a:pt x="1967948" y="5720654"/>
                </a:lnTo>
                <a:cubicBezTo>
                  <a:pt x="1966126" y="5717010"/>
                  <a:pt x="1953370" y="5689677"/>
                  <a:pt x="1975236" y="5689677"/>
                </a:cubicBezTo>
                <a:close/>
                <a:moveTo>
                  <a:pt x="1055040" y="5689676"/>
                </a:moveTo>
                <a:lnTo>
                  <a:pt x="1069616" y="5689676"/>
                </a:lnTo>
                <a:lnTo>
                  <a:pt x="1084194" y="5689676"/>
                </a:lnTo>
                <a:lnTo>
                  <a:pt x="1106061" y="5726121"/>
                </a:lnTo>
                <a:lnTo>
                  <a:pt x="1098772" y="5755276"/>
                </a:lnTo>
                <a:lnTo>
                  <a:pt x="1062327" y="5795363"/>
                </a:lnTo>
                <a:cubicBezTo>
                  <a:pt x="1042284" y="5782608"/>
                  <a:pt x="1055040" y="5791719"/>
                  <a:pt x="1047750" y="5795363"/>
                </a:cubicBezTo>
                <a:cubicBezTo>
                  <a:pt x="1040461" y="5809941"/>
                  <a:pt x="1042284" y="5809941"/>
                  <a:pt x="1044106" y="5809941"/>
                </a:cubicBezTo>
                <a:cubicBezTo>
                  <a:pt x="1042284" y="5809941"/>
                  <a:pt x="1038639" y="5813585"/>
                  <a:pt x="1033173" y="5817229"/>
                </a:cubicBezTo>
                <a:lnTo>
                  <a:pt x="1024062" y="5811763"/>
                </a:lnTo>
                <a:cubicBezTo>
                  <a:pt x="1024062" y="5811763"/>
                  <a:pt x="1031350" y="5799008"/>
                  <a:pt x="1031350" y="5797185"/>
                </a:cubicBezTo>
                <a:cubicBezTo>
                  <a:pt x="1031350" y="5766209"/>
                  <a:pt x="1033173" y="5793541"/>
                  <a:pt x="1024062" y="5780786"/>
                </a:cubicBezTo>
                <a:lnTo>
                  <a:pt x="1031350" y="5766209"/>
                </a:lnTo>
                <a:lnTo>
                  <a:pt x="1007663" y="5764386"/>
                </a:lnTo>
                <a:lnTo>
                  <a:pt x="1024062" y="5751631"/>
                </a:lnTo>
                <a:cubicBezTo>
                  <a:pt x="1011307" y="5718832"/>
                  <a:pt x="1029528" y="5751631"/>
                  <a:pt x="1016774" y="5720654"/>
                </a:cubicBezTo>
                <a:cubicBezTo>
                  <a:pt x="1033173" y="5707899"/>
                  <a:pt x="1027707" y="5718832"/>
                  <a:pt x="1033173" y="5698787"/>
                </a:cubicBezTo>
                <a:close/>
                <a:moveTo>
                  <a:pt x="1198991" y="5684211"/>
                </a:moveTo>
                <a:cubicBezTo>
                  <a:pt x="1182592" y="5720655"/>
                  <a:pt x="1202636" y="5680567"/>
                  <a:pt x="1198991" y="5706077"/>
                </a:cubicBezTo>
                <a:lnTo>
                  <a:pt x="1168013" y="5698788"/>
                </a:lnTo>
                <a:cubicBezTo>
                  <a:pt x="1186235" y="5676922"/>
                  <a:pt x="1164370" y="5687855"/>
                  <a:pt x="1198991" y="5684211"/>
                </a:cubicBezTo>
                <a:close/>
                <a:moveTo>
                  <a:pt x="2849881" y="5667810"/>
                </a:moveTo>
                <a:lnTo>
                  <a:pt x="2875392" y="5669633"/>
                </a:lnTo>
                <a:lnTo>
                  <a:pt x="2858992" y="5682388"/>
                </a:lnTo>
                <a:close/>
                <a:moveTo>
                  <a:pt x="1771154" y="5645945"/>
                </a:moveTo>
                <a:cubicBezTo>
                  <a:pt x="1789376" y="5658700"/>
                  <a:pt x="1794842" y="5667811"/>
                  <a:pt x="1772975" y="5675100"/>
                </a:cubicBezTo>
                <a:lnTo>
                  <a:pt x="1763864" y="5653234"/>
                </a:lnTo>
                <a:close/>
                <a:moveTo>
                  <a:pt x="2888145" y="5645944"/>
                </a:moveTo>
                <a:lnTo>
                  <a:pt x="2902723" y="5660521"/>
                </a:lnTo>
                <a:lnTo>
                  <a:pt x="2888145" y="5660521"/>
                </a:lnTo>
                <a:close/>
                <a:moveTo>
                  <a:pt x="2215765" y="5640478"/>
                </a:moveTo>
                <a:cubicBezTo>
                  <a:pt x="2233986" y="5647767"/>
                  <a:pt x="2217587" y="5647767"/>
                  <a:pt x="2235808" y="5640478"/>
                </a:cubicBezTo>
                <a:lnTo>
                  <a:pt x="2254030" y="5669634"/>
                </a:lnTo>
                <a:lnTo>
                  <a:pt x="2246742" y="5682390"/>
                </a:lnTo>
                <a:lnTo>
                  <a:pt x="2268608" y="5698789"/>
                </a:lnTo>
                <a:cubicBezTo>
                  <a:pt x="2259497" y="5717011"/>
                  <a:pt x="2261319" y="5700611"/>
                  <a:pt x="2268608" y="5720655"/>
                </a:cubicBezTo>
                <a:cubicBezTo>
                  <a:pt x="2259497" y="5720655"/>
                  <a:pt x="2261319" y="5717011"/>
                  <a:pt x="2261319" y="5727944"/>
                </a:cubicBezTo>
                <a:cubicBezTo>
                  <a:pt x="2261319" y="5757099"/>
                  <a:pt x="2257675" y="5731588"/>
                  <a:pt x="2264963" y="5749810"/>
                </a:cubicBezTo>
                <a:lnTo>
                  <a:pt x="2261319" y="5766210"/>
                </a:lnTo>
                <a:cubicBezTo>
                  <a:pt x="2239453" y="5771676"/>
                  <a:pt x="2250386" y="5764387"/>
                  <a:pt x="2237631" y="5784431"/>
                </a:cubicBezTo>
                <a:cubicBezTo>
                  <a:pt x="2206654" y="5771676"/>
                  <a:pt x="2210298" y="5789898"/>
                  <a:pt x="2221231" y="5813586"/>
                </a:cubicBezTo>
                <a:lnTo>
                  <a:pt x="2213942" y="5824519"/>
                </a:lnTo>
                <a:lnTo>
                  <a:pt x="2199365" y="5808119"/>
                </a:lnTo>
                <a:lnTo>
                  <a:pt x="2184788" y="5815408"/>
                </a:lnTo>
                <a:cubicBezTo>
                  <a:pt x="2179320" y="5793542"/>
                  <a:pt x="2177498" y="5800831"/>
                  <a:pt x="2177498" y="5784431"/>
                </a:cubicBezTo>
                <a:lnTo>
                  <a:pt x="2177498" y="5768031"/>
                </a:lnTo>
                <a:lnTo>
                  <a:pt x="2186610" y="5751632"/>
                </a:lnTo>
                <a:lnTo>
                  <a:pt x="2170209" y="5738877"/>
                </a:lnTo>
                <a:lnTo>
                  <a:pt x="2192076" y="5686034"/>
                </a:lnTo>
                <a:lnTo>
                  <a:pt x="2184788" y="5671456"/>
                </a:lnTo>
                <a:lnTo>
                  <a:pt x="2208476" y="5671456"/>
                </a:lnTo>
                <a:lnTo>
                  <a:pt x="2199365" y="5656878"/>
                </a:lnTo>
                <a:close/>
                <a:moveTo>
                  <a:pt x="1966125" y="5624079"/>
                </a:moveTo>
                <a:lnTo>
                  <a:pt x="1991636" y="5631368"/>
                </a:lnTo>
                <a:lnTo>
                  <a:pt x="1975236" y="5645946"/>
                </a:lnTo>
                <a:close/>
                <a:moveTo>
                  <a:pt x="2474513" y="5607680"/>
                </a:moveTo>
                <a:lnTo>
                  <a:pt x="2481802" y="5629547"/>
                </a:lnTo>
                <a:cubicBezTo>
                  <a:pt x="2458113" y="5635013"/>
                  <a:pt x="2463580" y="5638657"/>
                  <a:pt x="2443536" y="5629547"/>
                </a:cubicBezTo>
                <a:cubicBezTo>
                  <a:pt x="2456291" y="5611325"/>
                  <a:pt x="2447181" y="5614969"/>
                  <a:pt x="2474513" y="5607680"/>
                </a:cubicBezTo>
                <a:close/>
                <a:moveTo>
                  <a:pt x="1636313" y="5607680"/>
                </a:moveTo>
                <a:lnTo>
                  <a:pt x="1643602" y="5638657"/>
                </a:lnTo>
                <a:lnTo>
                  <a:pt x="1621735" y="5638657"/>
                </a:lnTo>
                <a:cubicBezTo>
                  <a:pt x="1623558" y="5604036"/>
                  <a:pt x="1612624" y="5624080"/>
                  <a:pt x="1636313" y="5607680"/>
                </a:cubicBezTo>
                <a:close/>
                <a:moveTo>
                  <a:pt x="1062329" y="5605857"/>
                </a:moveTo>
                <a:cubicBezTo>
                  <a:pt x="1055040" y="5622257"/>
                  <a:pt x="1055040" y="5627724"/>
                  <a:pt x="1062329" y="5644123"/>
                </a:cubicBezTo>
                <a:lnTo>
                  <a:pt x="1040462" y="5656878"/>
                </a:lnTo>
                <a:lnTo>
                  <a:pt x="1024062" y="5644123"/>
                </a:lnTo>
                <a:cubicBezTo>
                  <a:pt x="1033173" y="5625901"/>
                  <a:pt x="1031351" y="5642301"/>
                  <a:pt x="1024062" y="5622257"/>
                </a:cubicBezTo>
                <a:cubicBezTo>
                  <a:pt x="1049573" y="5605857"/>
                  <a:pt x="1029529" y="5609502"/>
                  <a:pt x="1062329" y="5605857"/>
                </a:cubicBezTo>
                <a:close/>
                <a:moveTo>
                  <a:pt x="2376115" y="5554836"/>
                </a:moveTo>
                <a:lnTo>
                  <a:pt x="2407092" y="5562125"/>
                </a:lnTo>
                <a:lnTo>
                  <a:pt x="2397981" y="5576703"/>
                </a:lnTo>
                <a:lnTo>
                  <a:pt x="2421669" y="5593103"/>
                </a:lnTo>
                <a:cubicBezTo>
                  <a:pt x="2410736" y="5614969"/>
                  <a:pt x="2399803" y="5627724"/>
                  <a:pt x="2399803" y="5660523"/>
                </a:cubicBezTo>
                <a:cubicBezTo>
                  <a:pt x="2372471" y="5653234"/>
                  <a:pt x="2377937" y="5645946"/>
                  <a:pt x="2354249" y="5629546"/>
                </a:cubicBezTo>
                <a:lnTo>
                  <a:pt x="2361538" y="5614969"/>
                </a:lnTo>
                <a:lnTo>
                  <a:pt x="2346960" y="5614969"/>
                </a:lnTo>
                <a:cubicBezTo>
                  <a:pt x="2352427" y="5589458"/>
                  <a:pt x="2354249" y="5602214"/>
                  <a:pt x="2346960" y="5583992"/>
                </a:cubicBezTo>
                <a:cubicBezTo>
                  <a:pt x="2363360" y="5571237"/>
                  <a:pt x="2356071" y="5582170"/>
                  <a:pt x="2361538" y="5562125"/>
                </a:cubicBezTo>
                <a:close/>
                <a:moveTo>
                  <a:pt x="2999300" y="5532970"/>
                </a:moveTo>
                <a:lnTo>
                  <a:pt x="3008410" y="5547548"/>
                </a:lnTo>
                <a:cubicBezTo>
                  <a:pt x="2993833" y="5583991"/>
                  <a:pt x="3012055" y="5543903"/>
                  <a:pt x="3008410" y="5569414"/>
                </a:cubicBezTo>
                <a:cubicBezTo>
                  <a:pt x="2993833" y="5569414"/>
                  <a:pt x="2977433" y="5569414"/>
                  <a:pt x="2977433" y="5554837"/>
                </a:cubicBezTo>
                <a:cubicBezTo>
                  <a:pt x="2977433" y="5534793"/>
                  <a:pt x="2982900" y="5536615"/>
                  <a:pt x="2999300" y="5532970"/>
                </a:cubicBezTo>
                <a:close/>
                <a:moveTo>
                  <a:pt x="2321450" y="5532970"/>
                </a:moveTo>
                <a:lnTo>
                  <a:pt x="2343316" y="5532970"/>
                </a:lnTo>
                <a:cubicBezTo>
                  <a:pt x="2326917" y="5569414"/>
                  <a:pt x="2346961" y="5529326"/>
                  <a:pt x="2343316" y="5554837"/>
                </a:cubicBezTo>
                <a:lnTo>
                  <a:pt x="2321450" y="5554837"/>
                </a:lnTo>
                <a:close/>
                <a:moveTo>
                  <a:pt x="1984347" y="5532970"/>
                </a:moveTo>
                <a:lnTo>
                  <a:pt x="2006214" y="5532970"/>
                </a:lnTo>
                <a:lnTo>
                  <a:pt x="2006214" y="5554837"/>
                </a:lnTo>
                <a:cubicBezTo>
                  <a:pt x="1973414" y="5547548"/>
                  <a:pt x="1997102" y="5556659"/>
                  <a:pt x="1984347" y="5532970"/>
                </a:cubicBezTo>
                <a:close/>
                <a:moveTo>
                  <a:pt x="3099518" y="5509281"/>
                </a:moveTo>
                <a:lnTo>
                  <a:pt x="3114095" y="5523858"/>
                </a:lnTo>
                <a:lnTo>
                  <a:pt x="3099518" y="5523858"/>
                </a:lnTo>
                <a:close/>
                <a:moveTo>
                  <a:pt x="2835303" y="5509281"/>
                </a:moveTo>
                <a:cubicBezTo>
                  <a:pt x="2851702" y="5509281"/>
                  <a:pt x="2851702" y="5514748"/>
                  <a:pt x="2866280" y="5525681"/>
                </a:cubicBezTo>
                <a:lnTo>
                  <a:pt x="2849880" y="5540258"/>
                </a:lnTo>
                <a:lnTo>
                  <a:pt x="2857169" y="5554836"/>
                </a:lnTo>
                <a:lnTo>
                  <a:pt x="2835303" y="5554836"/>
                </a:lnTo>
                <a:cubicBezTo>
                  <a:pt x="2848058" y="5585812"/>
                  <a:pt x="2829836" y="5553013"/>
                  <a:pt x="2842592" y="5583990"/>
                </a:cubicBezTo>
                <a:lnTo>
                  <a:pt x="2818903" y="5602212"/>
                </a:lnTo>
                <a:cubicBezTo>
                  <a:pt x="2813437" y="5593101"/>
                  <a:pt x="2797037" y="5576701"/>
                  <a:pt x="2797037" y="5571235"/>
                </a:cubicBezTo>
                <a:cubicBezTo>
                  <a:pt x="2797037" y="5551191"/>
                  <a:pt x="2807970" y="5549369"/>
                  <a:pt x="2820726" y="5540258"/>
                </a:cubicBezTo>
                <a:lnTo>
                  <a:pt x="2811615" y="5525681"/>
                </a:lnTo>
                <a:cubicBezTo>
                  <a:pt x="2818903" y="5520214"/>
                  <a:pt x="2831658" y="5509281"/>
                  <a:pt x="2835303" y="5509281"/>
                </a:cubicBezTo>
                <a:close/>
                <a:moveTo>
                  <a:pt x="1984348" y="5501993"/>
                </a:moveTo>
                <a:lnTo>
                  <a:pt x="1973416" y="5518393"/>
                </a:lnTo>
                <a:lnTo>
                  <a:pt x="1958837" y="5503815"/>
                </a:lnTo>
                <a:close/>
                <a:moveTo>
                  <a:pt x="1588935" y="5494704"/>
                </a:moveTo>
                <a:lnTo>
                  <a:pt x="1619912" y="5501993"/>
                </a:lnTo>
                <a:lnTo>
                  <a:pt x="1610801" y="5516572"/>
                </a:lnTo>
                <a:lnTo>
                  <a:pt x="1627201" y="5516572"/>
                </a:lnTo>
                <a:lnTo>
                  <a:pt x="1627201" y="5547549"/>
                </a:lnTo>
                <a:cubicBezTo>
                  <a:pt x="1627201" y="5574881"/>
                  <a:pt x="1625380" y="5549370"/>
                  <a:pt x="1634489" y="5569414"/>
                </a:cubicBezTo>
                <a:lnTo>
                  <a:pt x="1619912" y="5569414"/>
                </a:lnTo>
                <a:lnTo>
                  <a:pt x="1618090" y="5580348"/>
                </a:lnTo>
                <a:lnTo>
                  <a:pt x="1596225" y="5589458"/>
                </a:lnTo>
                <a:lnTo>
                  <a:pt x="1557958" y="5574881"/>
                </a:lnTo>
                <a:lnTo>
                  <a:pt x="1557958" y="5560304"/>
                </a:lnTo>
                <a:lnTo>
                  <a:pt x="1557958" y="5553015"/>
                </a:lnTo>
                <a:lnTo>
                  <a:pt x="1559781" y="5531149"/>
                </a:lnTo>
                <a:lnTo>
                  <a:pt x="1567069" y="5501993"/>
                </a:lnTo>
                <a:close/>
                <a:moveTo>
                  <a:pt x="1490539" y="5492882"/>
                </a:moveTo>
                <a:lnTo>
                  <a:pt x="1499650" y="5509282"/>
                </a:lnTo>
                <a:lnTo>
                  <a:pt x="1475961" y="5507459"/>
                </a:lnTo>
                <a:close/>
                <a:moveTo>
                  <a:pt x="2465401" y="5487415"/>
                </a:moveTo>
                <a:lnTo>
                  <a:pt x="2481801" y="5489238"/>
                </a:lnTo>
                <a:lnTo>
                  <a:pt x="2467223" y="5503815"/>
                </a:lnTo>
                <a:close/>
                <a:moveTo>
                  <a:pt x="1011307" y="5487415"/>
                </a:moveTo>
                <a:cubicBezTo>
                  <a:pt x="1029529" y="5496526"/>
                  <a:pt x="1013129" y="5494704"/>
                  <a:pt x="1033173" y="5487415"/>
                </a:cubicBezTo>
                <a:cubicBezTo>
                  <a:pt x="1045929" y="5505638"/>
                  <a:pt x="1042284" y="5509283"/>
                  <a:pt x="1064151" y="5518393"/>
                </a:cubicBezTo>
                <a:cubicBezTo>
                  <a:pt x="1056861" y="5538437"/>
                  <a:pt x="1056861" y="5522037"/>
                  <a:pt x="1064151" y="5540259"/>
                </a:cubicBezTo>
                <a:lnTo>
                  <a:pt x="1049572" y="5549370"/>
                </a:lnTo>
                <a:lnTo>
                  <a:pt x="1058683" y="5563948"/>
                </a:lnTo>
                <a:lnTo>
                  <a:pt x="1036818" y="5571236"/>
                </a:lnTo>
                <a:lnTo>
                  <a:pt x="1027707" y="5585813"/>
                </a:lnTo>
                <a:lnTo>
                  <a:pt x="1034995" y="5600391"/>
                </a:lnTo>
                <a:lnTo>
                  <a:pt x="1011307" y="5600391"/>
                </a:lnTo>
                <a:lnTo>
                  <a:pt x="1018596" y="5585813"/>
                </a:lnTo>
                <a:lnTo>
                  <a:pt x="996729" y="5583992"/>
                </a:lnTo>
                <a:lnTo>
                  <a:pt x="983974" y="5571236"/>
                </a:lnTo>
                <a:lnTo>
                  <a:pt x="983974" y="5518393"/>
                </a:lnTo>
                <a:close/>
                <a:moveTo>
                  <a:pt x="2804327" y="5463728"/>
                </a:moveTo>
                <a:lnTo>
                  <a:pt x="2811616" y="5478305"/>
                </a:lnTo>
                <a:lnTo>
                  <a:pt x="2804327" y="5487416"/>
                </a:lnTo>
                <a:lnTo>
                  <a:pt x="2787927" y="5478305"/>
                </a:lnTo>
                <a:close/>
                <a:moveTo>
                  <a:pt x="1530626" y="5449149"/>
                </a:moveTo>
                <a:lnTo>
                  <a:pt x="1545204" y="5463727"/>
                </a:lnTo>
                <a:lnTo>
                  <a:pt x="1530626" y="5463727"/>
                </a:lnTo>
                <a:close/>
                <a:moveTo>
                  <a:pt x="2804326" y="5432750"/>
                </a:moveTo>
                <a:lnTo>
                  <a:pt x="2804326" y="5449150"/>
                </a:lnTo>
                <a:lnTo>
                  <a:pt x="2787926" y="5447328"/>
                </a:lnTo>
                <a:close/>
                <a:moveTo>
                  <a:pt x="971219" y="5412707"/>
                </a:moveTo>
                <a:cubicBezTo>
                  <a:pt x="996729" y="5419996"/>
                  <a:pt x="998552" y="5427285"/>
                  <a:pt x="971219" y="5434574"/>
                </a:cubicBezTo>
                <a:close/>
                <a:moveTo>
                  <a:pt x="1175302" y="5410884"/>
                </a:moveTo>
                <a:lnTo>
                  <a:pt x="1191703" y="5427284"/>
                </a:lnTo>
                <a:lnTo>
                  <a:pt x="1175302" y="5427284"/>
                </a:lnTo>
                <a:close/>
                <a:moveTo>
                  <a:pt x="3287202" y="5396306"/>
                </a:moveTo>
                <a:lnTo>
                  <a:pt x="3287202" y="5412706"/>
                </a:lnTo>
                <a:lnTo>
                  <a:pt x="3270802" y="5398129"/>
                </a:lnTo>
                <a:close/>
                <a:moveTo>
                  <a:pt x="2332383" y="5387197"/>
                </a:moveTo>
                <a:lnTo>
                  <a:pt x="2350605" y="5410886"/>
                </a:lnTo>
                <a:lnTo>
                  <a:pt x="2343316" y="5419997"/>
                </a:lnTo>
                <a:lnTo>
                  <a:pt x="2321450" y="5398130"/>
                </a:lnTo>
                <a:close/>
                <a:moveTo>
                  <a:pt x="752558" y="5381730"/>
                </a:moveTo>
                <a:lnTo>
                  <a:pt x="767136" y="5381730"/>
                </a:lnTo>
                <a:lnTo>
                  <a:pt x="776246" y="5403596"/>
                </a:lnTo>
                <a:lnTo>
                  <a:pt x="759848" y="5412707"/>
                </a:lnTo>
                <a:close/>
                <a:moveTo>
                  <a:pt x="2292295" y="5374442"/>
                </a:moveTo>
                <a:lnTo>
                  <a:pt x="2297761" y="5387197"/>
                </a:lnTo>
                <a:lnTo>
                  <a:pt x="2290472" y="5398130"/>
                </a:lnTo>
                <a:lnTo>
                  <a:pt x="2277717" y="5381731"/>
                </a:lnTo>
                <a:close/>
                <a:moveTo>
                  <a:pt x="2653086" y="5352575"/>
                </a:moveTo>
                <a:cubicBezTo>
                  <a:pt x="2684063" y="5354398"/>
                  <a:pt x="2676774" y="5347109"/>
                  <a:pt x="2684063" y="5374442"/>
                </a:cubicBezTo>
                <a:cubicBezTo>
                  <a:pt x="2658553" y="5367152"/>
                  <a:pt x="2667663" y="5370797"/>
                  <a:pt x="2653086" y="5352575"/>
                </a:cubicBezTo>
                <a:close/>
                <a:moveTo>
                  <a:pt x="2301406" y="5350753"/>
                </a:moveTo>
                <a:lnTo>
                  <a:pt x="2292295" y="5374442"/>
                </a:lnTo>
                <a:lnTo>
                  <a:pt x="2285006" y="5359864"/>
                </a:lnTo>
                <a:close/>
                <a:moveTo>
                  <a:pt x="3077652" y="5337998"/>
                </a:moveTo>
                <a:lnTo>
                  <a:pt x="3066719" y="5376263"/>
                </a:lnTo>
                <a:lnTo>
                  <a:pt x="3044853" y="5354398"/>
                </a:lnTo>
                <a:cubicBezTo>
                  <a:pt x="3063075" y="5339820"/>
                  <a:pt x="3053964" y="5343465"/>
                  <a:pt x="3077652" y="5337998"/>
                </a:cubicBezTo>
                <a:close/>
                <a:moveTo>
                  <a:pt x="2592955" y="5336175"/>
                </a:moveTo>
                <a:lnTo>
                  <a:pt x="2603887" y="5358041"/>
                </a:lnTo>
                <a:lnTo>
                  <a:pt x="2594777" y="5372619"/>
                </a:lnTo>
                <a:cubicBezTo>
                  <a:pt x="2598421" y="5379907"/>
                  <a:pt x="2605710" y="5394484"/>
                  <a:pt x="2587488" y="5394484"/>
                </a:cubicBezTo>
                <a:cubicBezTo>
                  <a:pt x="2569266" y="5394484"/>
                  <a:pt x="2565622" y="5383552"/>
                  <a:pt x="2549222" y="5372619"/>
                </a:cubicBezTo>
                <a:cubicBezTo>
                  <a:pt x="2558333" y="5354397"/>
                  <a:pt x="2556511" y="5370796"/>
                  <a:pt x="2549222" y="5350752"/>
                </a:cubicBezTo>
                <a:cubicBezTo>
                  <a:pt x="2565622" y="5339819"/>
                  <a:pt x="2563800" y="5336175"/>
                  <a:pt x="2592955" y="5336175"/>
                </a:cubicBezTo>
                <a:close/>
                <a:moveTo>
                  <a:pt x="2993833" y="5319776"/>
                </a:moveTo>
                <a:cubicBezTo>
                  <a:pt x="3012055" y="5319776"/>
                  <a:pt x="3012055" y="5325243"/>
                  <a:pt x="3024810" y="5334353"/>
                </a:cubicBezTo>
                <a:cubicBezTo>
                  <a:pt x="3008411" y="5359864"/>
                  <a:pt x="3012055" y="5339820"/>
                  <a:pt x="3010233" y="5372619"/>
                </a:cubicBezTo>
                <a:cubicBezTo>
                  <a:pt x="2977434" y="5370797"/>
                  <a:pt x="2995655" y="5374441"/>
                  <a:pt x="2971967" y="5358041"/>
                </a:cubicBezTo>
                <a:cubicBezTo>
                  <a:pt x="2981078" y="5339820"/>
                  <a:pt x="2979256" y="5356220"/>
                  <a:pt x="2971967" y="5336176"/>
                </a:cubicBezTo>
                <a:cubicBezTo>
                  <a:pt x="2977434" y="5332531"/>
                  <a:pt x="2990189" y="5321598"/>
                  <a:pt x="2993833" y="5319776"/>
                </a:cubicBezTo>
                <a:close/>
                <a:moveTo>
                  <a:pt x="819978" y="5307020"/>
                </a:moveTo>
                <a:lnTo>
                  <a:pt x="858244" y="5307020"/>
                </a:lnTo>
                <a:cubicBezTo>
                  <a:pt x="865533" y="5332531"/>
                  <a:pt x="860066" y="5323420"/>
                  <a:pt x="881932" y="5337997"/>
                </a:cubicBezTo>
                <a:lnTo>
                  <a:pt x="867355" y="5352575"/>
                </a:lnTo>
                <a:lnTo>
                  <a:pt x="872821" y="5365330"/>
                </a:lnTo>
                <a:cubicBezTo>
                  <a:pt x="861889" y="5372619"/>
                  <a:pt x="840022" y="5396307"/>
                  <a:pt x="834556" y="5396307"/>
                </a:cubicBezTo>
                <a:cubicBezTo>
                  <a:pt x="809045" y="5396307"/>
                  <a:pt x="814512" y="5387196"/>
                  <a:pt x="819978" y="5374441"/>
                </a:cubicBezTo>
                <a:cubicBezTo>
                  <a:pt x="814512" y="5370796"/>
                  <a:pt x="798112" y="5363508"/>
                  <a:pt x="798112" y="5352575"/>
                </a:cubicBezTo>
                <a:cubicBezTo>
                  <a:pt x="798112" y="5325242"/>
                  <a:pt x="810867" y="5341641"/>
                  <a:pt x="819978" y="5307020"/>
                </a:cubicBezTo>
                <a:close/>
                <a:moveTo>
                  <a:pt x="2795214" y="5305199"/>
                </a:moveTo>
                <a:lnTo>
                  <a:pt x="2797037" y="5328888"/>
                </a:lnTo>
                <a:lnTo>
                  <a:pt x="2780637" y="5319777"/>
                </a:lnTo>
                <a:close/>
                <a:moveTo>
                  <a:pt x="2292295" y="5290622"/>
                </a:moveTo>
                <a:lnTo>
                  <a:pt x="2299584" y="5290622"/>
                </a:lnTo>
                <a:lnTo>
                  <a:pt x="2299584" y="5328888"/>
                </a:lnTo>
                <a:cubicBezTo>
                  <a:pt x="2270429" y="5307022"/>
                  <a:pt x="2292295" y="5332532"/>
                  <a:pt x="2292295" y="5290622"/>
                </a:cubicBezTo>
                <a:close/>
                <a:moveTo>
                  <a:pt x="2350605" y="5261466"/>
                </a:moveTo>
                <a:lnTo>
                  <a:pt x="2376116" y="5261466"/>
                </a:lnTo>
                <a:lnTo>
                  <a:pt x="2367005" y="5277866"/>
                </a:lnTo>
                <a:close/>
                <a:moveTo>
                  <a:pt x="1357521" y="5259644"/>
                </a:moveTo>
                <a:lnTo>
                  <a:pt x="1372097" y="5276044"/>
                </a:lnTo>
                <a:lnTo>
                  <a:pt x="1350231" y="5285155"/>
                </a:lnTo>
                <a:close/>
                <a:moveTo>
                  <a:pt x="2857169" y="5246888"/>
                </a:moveTo>
                <a:cubicBezTo>
                  <a:pt x="2875391" y="5246888"/>
                  <a:pt x="2875391" y="5252355"/>
                  <a:pt x="2888146" y="5261465"/>
                </a:cubicBezTo>
                <a:cubicBezTo>
                  <a:pt x="2871747" y="5297909"/>
                  <a:pt x="2891791" y="5257821"/>
                  <a:pt x="2886324" y="5285153"/>
                </a:cubicBezTo>
                <a:lnTo>
                  <a:pt x="2879036" y="5297909"/>
                </a:lnTo>
                <a:lnTo>
                  <a:pt x="2857169" y="5307020"/>
                </a:lnTo>
                <a:cubicBezTo>
                  <a:pt x="2851703" y="5296087"/>
                  <a:pt x="2828014" y="5246888"/>
                  <a:pt x="2857169" y="5246888"/>
                </a:cubicBezTo>
                <a:close/>
                <a:moveTo>
                  <a:pt x="2556510" y="5245066"/>
                </a:moveTo>
                <a:lnTo>
                  <a:pt x="2572910" y="5246889"/>
                </a:lnTo>
                <a:lnTo>
                  <a:pt x="2558332" y="5261466"/>
                </a:lnTo>
                <a:close/>
                <a:moveTo>
                  <a:pt x="963930" y="5230488"/>
                </a:moveTo>
                <a:cubicBezTo>
                  <a:pt x="983974" y="5239599"/>
                  <a:pt x="967574" y="5237777"/>
                  <a:pt x="985796" y="5232311"/>
                </a:cubicBezTo>
                <a:lnTo>
                  <a:pt x="1018596" y="5261465"/>
                </a:lnTo>
                <a:lnTo>
                  <a:pt x="1011307" y="5274221"/>
                </a:lnTo>
                <a:lnTo>
                  <a:pt x="1022240" y="5288798"/>
                </a:lnTo>
                <a:lnTo>
                  <a:pt x="1007663" y="5305197"/>
                </a:lnTo>
                <a:lnTo>
                  <a:pt x="1016774" y="5327064"/>
                </a:lnTo>
                <a:cubicBezTo>
                  <a:pt x="1011307" y="5332530"/>
                  <a:pt x="1009485" y="5336175"/>
                  <a:pt x="1007663" y="5337997"/>
                </a:cubicBezTo>
                <a:cubicBezTo>
                  <a:pt x="1004018" y="5337997"/>
                  <a:pt x="1000374" y="5337997"/>
                  <a:pt x="993085" y="5341641"/>
                </a:cubicBezTo>
                <a:lnTo>
                  <a:pt x="996729" y="5356219"/>
                </a:lnTo>
                <a:lnTo>
                  <a:pt x="993085" y="5379907"/>
                </a:lnTo>
                <a:cubicBezTo>
                  <a:pt x="969397" y="5361685"/>
                  <a:pt x="980330" y="5383551"/>
                  <a:pt x="976685" y="5350752"/>
                </a:cubicBezTo>
                <a:lnTo>
                  <a:pt x="940242" y="5319775"/>
                </a:lnTo>
                <a:lnTo>
                  <a:pt x="940242" y="5305197"/>
                </a:lnTo>
                <a:lnTo>
                  <a:pt x="940242" y="5297909"/>
                </a:lnTo>
                <a:cubicBezTo>
                  <a:pt x="940242" y="5268754"/>
                  <a:pt x="942064" y="5294264"/>
                  <a:pt x="932953" y="5283332"/>
                </a:cubicBezTo>
                <a:cubicBezTo>
                  <a:pt x="942064" y="5265110"/>
                  <a:pt x="940242" y="5281509"/>
                  <a:pt x="932953" y="5261465"/>
                </a:cubicBezTo>
                <a:close/>
                <a:moveTo>
                  <a:pt x="1275522" y="5168536"/>
                </a:moveTo>
                <a:cubicBezTo>
                  <a:pt x="1284633" y="5183114"/>
                  <a:pt x="1290100" y="5183114"/>
                  <a:pt x="1290100" y="5199513"/>
                </a:cubicBezTo>
                <a:lnTo>
                  <a:pt x="1290100" y="5221379"/>
                </a:lnTo>
                <a:cubicBezTo>
                  <a:pt x="1257300" y="5219557"/>
                  <a:pt x="1275522" y="5223201"/>
                  <a:pt x="1251833" y="5206802"/>
                </a:cubicBezTo>
                <a:cubicBezTo>
                  <a:pt x="1260944" y="5188580"/>
                  <a:pt x="1259122" y="5204980"/>
                  <a:pt x="1251833" y="5184936"/>
                </a:cubicBezTo>
                <a:close/>
                <a:moveTo>
                  <a:pt x="2097323" y="5148492"/>
                </a:moveTo>
                <a:lnTo>
                  <a:pt x="2086390" y="5179469"/>
                </a:lnTo>
                <a:lnTo>
                  <a:pt x="2064524" y="5157603"/>
                </a:lnTo>
                <a:close/>
                <a:moveTo>
                  <a:pt x="1386674" y="5139380"/>
                </a:moveTo>
                <a:lnTo>
                  <a:pt x="1401252" y="5155780"/>
                </a:lnTo>
                <a:lnTo>
                  <a:pt x="1386674" y="5155780"/>
                </a:lnTo>
                <a:close/>
                <a:moveTo>
                  <a:pt x="819978" y="5117515"/>
                </a:moveTo>
                <a:lnTo>
                  <a:pt x="843667" y="5139381"/>
                </a:lnTo>
                <a:lnTo>
                  <a:pt x="827267" y="5148492"/>
                </a:lnTo>
                <a:close/>
                <a:moveTo>
                  <a:pt x="1884128" y="5115693"/>
                </a:moveTo>
                <a:lnTo>
                  <a:pt x="1891417" y="5132093"/>
                </a:lnTo>
                <a:lnTo>
                  <a:pt x="1878661" y="5139381"/>
                </a:lnTo>
                <a:lnTo>
                  <a:pt x="1867728" y="5130270"/>
                </a:lnTo>
                <a:close/>
                <a:moveTo>
                  <a:pt x="3022986" y="5086537"/>
                </a:moveTo>
                <a:cubicBezTo>
                  <a:pt x="3043030" y="5095648"/>
                  <a:pt x="3026631" y="5095648"/>
                  <a:pt x="3046674" y="5092004"/>
                </a:cubicBezTo>
                <a:lnTo>
                  <a:pt x="3068540" y="5095648"/>
                </a:lnTo>
                <a:lnTo>
                  <a:pt x="3077651" y="5124804"/>
                </a:lnTo>
                <a:lnTo>
                  <a:pt x="3077651" y="5141203"/>
                </a:lnTo>
                <a:lnTo>
                  <a:pt x="3077651" y="5155781"/>
                </a:lnTo>
                <a:lnTo>
                  <a:pt x="3061252" y="5186758"/>
                </a:lnTo>
                <a:lnTo>
                  <a:pt x="3015697" y="5177647"/>
                </a:lnTo>
                <a:lnTo>
                  <a:pt x="3022986" y="5163070"/>
                </a:lnTo>
                <a:lnTo>
                  <a:pt x="3010231" y="5153959"/>
                </a:lnTo>
                <a:lnTo>
                  <a:pt x="3002942" y="5132093"/>
                </a:lnTo>
                <a:lnTo>
                  <a:pt x="3010231" y="5102938"/>
                </a:lnTo>
                <a:close/>
                <a:moveTo>
                  <a:pt x="2472690" y="5079249"/>
                </a:moveTo>
                <a:lnTo>
                  <a:pt x="2489090" y="5088360"/>
                </a:lnTo>
                <a:lnTo>
                  <a:pt x="2474513" y="5104760"/>
                </a:lnTo>
                <a:close/>
                <a:moveTo>
                  <a:pt x="1740176" y="5073782"/>
                </a:moveTo>
                <a:cubicBezTo>
                  <a:pt x="1751110" y="5117514"/>
                  <a:pt x="1769332" y="5093826"/>
                  <a:pt x="1793020" y="5126625"/>
                </a:cubicBezTo>
                <a:lnTo>
                  <a:pt x="1814886" y="5128447"/>
                </a:lnTo>
                <a:lnTo>
                  <a:pt x="1838575" y="5150313"/>
                </a:lnTo>
                <a:lnTo>
                  <a:pt x="1838575" y="5172179"/>
                </a:lnTo>
                <a:cubicBezTo>
                  <a:pt x="1860441" y="5188580"/>
                  <a:pt x="1847685" y="5177647"/>
                  <a:pt x="1862263" y="5203157"/>
                </a:cubicBezTo>
                <a:lnTo>
                  <a:pt x="1856796" y="5215913"/>
                </a:lnTo>
                <a:lnTo>
                  <a:pt x="1862263" y="5232312"/>
                </a:lnTo>
                <a:lnTo>
                  <a:pt x="1854975" y="5246890"/>
                </a:lnTo>
                <a:lnTo>
                  <a:pt x="1854975" y="5261467"/>
                </a:lnTo>
                <a:cubicBezTo>
                  <a:pt x="1854975" y="5288800"/>
                  <a:pt x="1853152" y="5263289"/>
                  <a:pt x="1862263" y="5283333"/>
                </a:cubicBezTo>
                <a:cubicBezTo>
                  <a:pt x="1849508" y="5290622"/>
                  <a:pt x="1847685" y="5283333"/>
                  <a:pt x="1847685" y="5305199"/>
                </a:cubicBezTo>
                <a:lnTo>
                  <a:pt x="1845864" y="5305199"/>
                </a:lnTo>
                <a:lnTo>
                  <a:pt x="1845864" y="5323421"/>
                </a:lnTo>
                <a:cubicBezTo>
                  <a:pt x="1833108" y="5347109"/>
                  <a:pt x="1814886" y="5368975"/>
                  <a:pt x="1785731" y="5376264"/>
                </a:cubicBezTo>
                <a:cubicBezTo>
                  <a:pt x="1778443" y="5405419"/>
                  <a:pt x="1783909" y="5398130"/>
                  <a:pt x="1763865" y="5405419"/>
                </a:cubicBezTo>
                <a:lnTo>
                  <a:pt x="1778443" y="5443684"/>
                </a:lnTo>
                <a:lnTo>
                  <a:pt x="1769332" y="5458261"/>
                </a:lnTo>
                <a:lnTo>
                  <a:pt x="1769332" y="5472839"/>
                </a:lnTo>
                <a:lnTo>
                  <a:pt x="1769332" y="5494705"/>
                </a:lnTo>
                <a:lnTo>
                  <a:pt x="1769332" y="5509283"/>
                </a:lnTo>
                <a:lnTo>
                  <a:pt x="1740176" y="5523860"/>
                </a:lnTo>
                <a:cubicBezTo>
                  <a:pt x="1729243" y="5516571"/>
                  <a:pt x="1709199" y="5500172"/>
                  <a:pt x="1709199" y="5485594"/>
                </a:cubicBezTo>
                <a:cubicBezTo>
                  <a:pt x="1709199" y="5465551"/>
                  <a:pt x="1720132" y="5465551"/>
                  <a:pt x="1723777" y="5432751"/>
                </a:cubicBezTo>
                <a:cubicBezTo>
                  <a:pt x="1690977" y="5445507"/>
                  <a:pt x="1723777" y="5427285"/>
                  <a:pt x="1692800" y="5440040"/>
                </a:cubicBezTo>
                <a:lnTo>
                  <a:pt x="1684599" y="5433206"/>
                </a:lnTo>
                <a:lnTo>
                  <a:pt x="1681867" y="5430929"/>
                </a:lnTo>
                <a:cubicBezTo>
                  <a:pt x="1681867" y="5429107"/>
                  <a:pt x="1680044" y="5425463"/>
                  <a:pt x="1678222" y="5418174"/>
                </a:cubicBezTo>
                <a:cubicBezTo>
                  <a:pt x="1632669" y="5414529"/>
                  <a:pt x="1661824" y="5403596"/>
                  <a:pt x="1632669" y="5403596"/>
                </a:cubicBezTo>
                <a:lnTo>
                  <a:pt x="1625380" y="5403596"/>
                </a:lnTo>
                <a:lnTo>
                  <a:pt x="1610802" y="5401774"/>
                </a:lnTo>
                <a:lnTo>
                  <a:pt x="1587114" y="5372620"/>
                </a:lnTo>
                <a:lnTo>
                  <a:pt x="1565247" y="5372620"/>
                </a:lnTo>
                <a:lnTo>
                  <a:pt x="1548848" y="5350753"/>
                </a:lnTo>
                <a:cubicBezTo>
                  <a:pt x="1541559" y="5354398"/>
                  <a:pt x="1526982" y="5361686"/>
                  <a:pt x="1526982" y="5343465"/>
                </a:cubicBezTo>
                <a:cubicBezTo>
                  <a:pt x="1526982" y="5314310"/>
                  <a:pt x="1525160" y="5341642"/>
                  <a:pt x="1534270" y="5321598"/>
                </a:cubicBezTo>
                <a:lnTo>
                  <a:pt x="1526982" y="5299733"/>
                </a:lnTo>
                <a:lnTo>
                  <a:pt x="1488716" y="5314310"/>
                </a:lnTo>
                <a:lnTo>
                  <a:pt x="1474139" y="5314310"/>
                </a:lnTo>
                <a:cubicBezTo>
                  <a:pt x="1454095" y="5314310"/>
                  <a:pt x="1452273" y="5303377"/>
                  <a:pt x="1443162" y="5290622"/>
                </a:cubicBezTo>
                <a:lnTo>
                  <a:pt x="1450451" y="5270578"/>
                </a:lnTo>
                <a:lnTo>
                  <a:pt x="1443162" y="5261467"/>
                </a:lnTo>
                <a:lnTo>
                  <a:pt x="1421296" y="5277866"/>
                </a:lnTo>
                <a:lnTo>
                  <a:pt x="1406718" y="5246890"/>
                </a:lnTo>
                <a:lnTo>
                  <a:pt x="1421296" y="5215913"/>
                </a:lnTo>
                <a:lnTo>
                  <a:pt x="1414007" y="5201335"/>
                </a:lnTo>
                <a:cubicBezTo>
                  <a:pt x="1419474" y="5195869"/>
                  <a:pt x="1421296" y="5192225"/>
                  <a:pt x="1423118" y="5190402"/>
                </a:cubicBezTo>
                <a:cubicBezTo>
                  <a:pt x="1426762" y="5190402"/>
                  <a:pt x="1430407" y="5190402"/>
                  <a:pt x="1437695" y="5186758"/>
                </a:cubicBezTo>
                <a:lnTo>
                  <a:pt x="1428584" y="5172179"/>
                </a:lnTo>
                <a:lnTo>
                  <a:pt x="1452273" y="5164891"/>
                </a:lnTo>
                <a:lnTo>
                  <a:pt x="1481427" y="5172179"/>
                </a:lnTo>
                <a:lnTo>
                  <a:pt x="1497827" y="5184935"/>
                </a:lnTo>
                <a:lnTo>
                  <a:pt x="1497827" y="5199513"/>
                </a:lnTo>
                <a:lnTo>
                  <a:pt x="1497827" y="5206802"/>
                </a:lnTo>
                <a:lnTo>
                  <a:pt x="1497827" y="5223201"/>
                </a:lnTo>
                <a:lnTo>
                  <a:pt x="1506938" y="5239601"/>
                </a:lnTo>
                <a:lnTo>
                  <a:pt x="1492360" y="5259645"/>
                </a:lnTo>
                <a:lnTo>
                  <a:pt x="1499649" y="5270578"/>
                </a:lnTo>
                <a:lnTo>
                  <a:pt x="1536093" y="5230490"/>
                </a:lnTo>
                <a:cubicBezTo>
                  <a:pt x="1530626" y="5221379"/>
                  <a:pt x="1528804" y="5223201"/>
                  <a:pt x="1528804" y="5208624"/>
                </a:cubicBezTo>
                <a:cubicBezTo>
                  <a:pt x="1528804" y="5199513"/>
                  <a:pt x="1579825" y="5130269"/>
                  <a:pt x="1588936" y="5117514"/>
                </a:cubicBezTo>
                <a:lnTo>
                  <a:pt x="1603513" y="5124803"/>
                </a:lnTo>
                <a:lnTo>
                  <a:pt x="1610802" y="5110226"/>
                </a:lnTo>
                <a:lnTo>
                  <a:pt x="1632669" y="5110226"/>
                </a:lnTo>
                <a:lnTo>
                  <a:pt x="1641780" y="5097470"/>
                </a:lnTo>
                <a:lnTo>
                  <a:pt x="1663645" y="5088359"/>
                </a:lnTo>
                <a:cubicBezTo>
                  <a:pt x="1689155" y="5099293"/>
                  <a:pt x="1683689" y="5084715"/>
                  <a:pt x="1709199" y="5095648"/>
                </a:cubicBezTo>
                <a:cubicBezTo>
                  <a:pt x="1723777" y="5077426"/>
                  <a:pt x="1714666" y="5081071"/>
                  <a:pt x="1740176" y="5073782"/>
                </a:cubicBezTo>
                <a:close/>
                <a:moveTo>
                  <a:pt x="956641" y="5064671"/>
                </a:moveTo>
                <a:cubicBezTo>
                  <a:pt x="989441" y="5073782"/>
                  <a:pt x="1005841" y="5070138"/>
                  <a:pt x="994907" y="5095648"/>
                </a:cubicBezTo>
                <a:cubicBezTo>
                  <a:pt x="1004018" y="5102936"/>
                  <a:pt x="1002196" y="5082893"/>
                  <a:pt x="1002196" y="5110226"/>
                </a:cubicBezTo>
                <a:lnTo>
                  <a:pt x="1002196" y="5117514"/>
                </a:lnTo>
                <a:cubicBezTo>
                  <a:pt x="1002196" y="5146669"/>
                  <a:pt x="998552" y="5121158"/>
                  <a:pt x="1007663" y="5139380"/>
                </a:cubicBezTo>
                <a:lnTo>
                  <a:pt x="971219" y="5170357"/>
                </a:lnTo>
                <a:lnTo>
                  <a:pt x="971219" y="5194045"/>
                </a:lnTo>
                <a:lnTo>
                  <a:pt x="942063" y="5184934"/>
                </a:lnTo>
                <a:lnTo>
                  <a:pt x="934775" y="5199512"/>
                </a:lnTo>
                <a:cubicBezTo>
                  <a:pt x="914731" y="5192223"/>
                  <a:pt x="931130" y="5192223"/>
                  <a:pt x="909264" y="5197690"/>
                </a:cubicBezTo>
                <a:lnTo>
                  <a:pt x="918375" y="5161246"/>
                </a:lnTo>
                <a:lnTo>
                  <a:pt x="887398" y="5159424"/>
                </a:lnTo>
                <a:lnTo>
                  <a:pt x="911086" y="5137558"/>
                </a:lnTo>
                <a:cubicBezTo>
                  <a:pt x="898331" y="5106581"/>
                  <a:pt x="916553" y="5139380"/>
                  <a:pt x="907442" y="5108403"/>
                </a:cubicBezTo>
                <a:lnTo>
                  <a:pt x="912909" y="5086537"/>
                </a:lnTo>
                <a:lnTo>
                  <a:pt x="927486" y="5070138"/>
                </a:lnTo>
                <a:lnTo>
                  <a:pt x="940241" y="5077426"/>
                </a:lnTo>
                <a:close/>
                <a:moveTo>
                  <a:pt x="2292295" y="5050093"/>
                </a:moveTo>
                <a:lnTo>
                  <a:pt x="2306873" y="5064671"/>
                </a:lnTo>
                <a:lnTo>
                  <a:pt x="2292295" y="5064671"/>
                </a:lnTo>
                <a:close/>
                <a:moveTo>
                  <a:pt x="1129748" y="5042806"/>
                </a:moveTo>
                <a:cubicBezTo>
                  <a:pt x="1127926" y="5081072"/>
                  <a:pt x="1116992" y="5070139"/>
                  <a:pt x="1115170" y="5073783"/>
                </a:cubicBezTo>
                <a:cubicBezTo>
                  <a:pt x="1116992" y="5037340"/>
                  <a:pt x="1106059" y="5059206"/>
                  <a:pt x="1129748" y="5042806"/>
                </a:cubicBezTo>
                <a:close/>
                <a:moveTo>
                  <a:pt x="1800308" y="5017295"/>
                </a:moveTo>
                <a:lnTo>
                  <a:pt x="1802130" y="5042806"/>
                </a:lnTo>
                <a:lnTo>
                  <a:pt x="1785730" y="5033695"/>
                </a:lnTo>
                <a:close/>
                <a:moveTo>
                  <a:pt x="807223" y="5011829"/>
                </a:moveTo>
                <a:lnTo>
                  <a:pt x="823623" y="5020940"/>
                </a:lnTo>
                <a:lnTo>
                  <a:pt x="798114" y="5042806"/>
                </a:lnTo>
                <a:lnTo>
                  <a:pt x="796290" y="5066494"/>
                </a:lnTo>
                <a:lnTo>
                  <a:pt x="783535" y="5050095"/>
                </a:lnTo>
                <a:lnTo>
                  <a:pt x="798112" y="5042806"/>
                </a:lnTo>
                <a:close/>
                <a:moveTo>
                  <a:pt x="2368827" y="5004540"/>
                </a:moveTo>
                <a:lnTo>
                  <a:pt x="2383405" y="5013651"/>
                </a:lnTo>
                <a:lnTo>
                  <a:pt x="2368827" y="5026407"/>
                </a:lnTo>
                <a:lnTo>
                  <a:pt x="2359716" y="5019118"/>
                </a:lnTo>
                <a:close/>
                <a:moveTo>
                  <a:pt x="1506938" y="5002718"/>
                </a:moveTo>
                <a:lnTo>
                  <a:pt x="1537915" y="5002718"/>
                </a:lnTo>
                <a:cubicBezTo>
                  <a:pt x="1543382" y="5024585"/>
                  <a:pt x="1541561" y="5013651"/>
                  <a:pt x="1552494" y="5031873"/>
                </a:cubicBezTo>
                <a:lnTo>
                  <a:pt x="1537915" y="5040984"/>
                </a:lnTo>
                <a:lnTo>
                  <a:pt x="1530627" y="5019118"/>
                </a:lnTo>
                <a:cubicBezTo>
                  <a:pt x="1508761" y="5013651"/>
                  <a:pt x="1519694" y="5020940"/>
                  <a:pt x="1506938" y="5002718"/>
                </a:cubicBezTo>
                <a:close/>
                <a:moveTo>
                  <a:pt x="1033173" y="4975385"/>
                </a:moveTo>
                <a:lnTo>
                  <a:pt x="1053217" y="4975385"/>
                </a:lnTo>
                <a:lnTo>
                  <a:pt x="1060507" y="4995429"/>
                </a:lnTo>
                <a:lnTo>
                  <a:pt x="1045929" y="5013651"/>
                </a:lnTo>
                <a:lnTo>
                  <a:pt x="1025884" y="4997252"/>
                </a:lnTo>
                <a:close/>
                <a:moveTo>
                  <a:pt x="2926412" y="4973563"/>
                </a:moveTo>
                <a:cubicBezTo>
                  <a:pt x="2944634" y="4982674"/>
                  <a:pt x="2928234" y="4980852"/>
                  <a:pt x="2948278" y="4973563"/>
                </a:cubicBezTo>
                <a:lnTo>
                  <a:pt x="2948278" y="5011828"/>
                </a:lnTo>
                <a:cubicBezTo>
                  <a:pt x="2928234" y="4997251"/>
                  <a:pt x="2930057" y="5004540"/>
                  <a:pt x="2926412" y="4973563"/>
                </a:cubicBezTo>
                <a:close/>
                <a:moveTo>
                  <a:pt x="1144326" y="4949875"/>
                </a:moveTo>
                <a:lnTo>
                  <a:pt x="1151614" y="4964453"/>
                </a:lnTo>
                <a:lnTo>
                  <a:pt x="1144326" y="4975386"/>
                </a:lnTo>
                <a:lnTo>
                  <a:pt x="1129748" y="4964453"/>
                </a:lnTo>
                <a:close/>
                <a:moveTo>
                  <a:pt x="3332756" y="4942586"/>
                </a:moveTo>
                <a:lnTo>
                  <a:pt x="3349156" y="4953519"/>
                </a:lnTo>
                <a:lnTo>
                  <a:pt x="3334579" y="4968097"/>
                </a:lnTo>
                <a:close/>
                <a:moveTo>
                  <a:pt x="1649067" y="4929831"/>
                </a:moveTo>
                <a:lnTo>
                  <a:pt x="1667290" y="4944409"/>
                </a:lnTo>
                <a:lnTo>
                  <a:pt x="1658179" y="4958986"/>
                </a:lnTo>
                <a:lnTo>
                  <a:pt x="1681867" y="4958986"/>
                </a:lnTo>
                <a:cubicBezTo>
                  <a:pt x="1689155" y="4935297"/>
                  <a:pt x="1670933" y="4953520"/>
                  <a:pt x="1703733" y="4937119"/>
                </a:cubicBezTo>
                <a:cubicBezTo>
                  <a:pt x="1718310" y="4955342"/>
                  <a:pt x="1709199" y="4951697"/>
                  <a:pt x="1734710" y="4958986"/>
                </a:cubicBezTo>
                <a:cubicBezTo>
                  <a:pt x="1740176" y="4982675"/>
                  <a:pt x="1736532" y="4971741"/>
                  <a:pt x="1747465" y="4988141"/>
                </a:cubicBezTo>
                <a:lnTo>
                  <a:pt x="1725599" y="5013651"/>
                </a:lnTo>
                <a:lnTo>
                  <a:pt x="1725599" y="5026406"/>
                </a:lnTo>
                <a:lnTo>
                  <a:pt x="1741998" y="5042805"/>
                </a:lnTo>
                <a:lnTo>
                  <a:pt x="1725599" y="5042805"/>
                </a:lnTo>
                <a:lnTo>
                  <a:pt x="1725599" y="5028230"/>
                </a:lnTo>
                <a:lnTo>
                  <a:pt x="1718310" y="5035517"/>
                </a:lnTo>
                <a:cubicBezTo>
                  <a:pt x="1698266" y="5026407"/>
                  <a:pt x="1714666" y="5026407"/>
                  <a:pt x="1696444" y="5031873"/>
                </a:cubicBezTo>
                <a:lnTo>
                  <a:pt x="1680044" y="5028229"/>
                </a:lnTo>
                <a:cubicBezTo>
                  <a:pt x="1674578" y="5000896"/>
                  <a:pt x="1678222" y="5010007"/>
                  <a:pt x="1658178" y="4997252"/>
                </a:cubicBezTo>
                <a:cubicBezTo>
                  <a:pt x="1670933" y="4966275"/>
                  <a:pt x="1652713" y="4999074"/>
                  <a:pt x="1663645" y="4968097"/>
                </a:cubicBezTo>
                <a:lnTo>
                  <a:pt x="1658178" y="4958987"/>
                </a:lnTo>
                <a:lnTo>
                  <a:pt x="1645423" y="4966275"/>
                </a:lnTo>
                <a:lnTo>
                  <a:pt x="1629023" y="4944409"/>
                </a:lnTo>
                <a:close/>
                <a:moveTo>
                  <a:pt x="3287202" y="4929830"/>
                </a:moveTo>
                <a:lnTo>
                  <a:pt x="3310891" y="4929830"/>
                </a:lnTo>
                <a:lnTo>
                  <a:pt x="3301780" y="4946230"/>
                </a:lnTo>
                <a:close/>
                <a:moveTo>
                  <a:pt x="2751484" y="4928009"/>
                </a:moveTo>
                <a:lnTo>
                  <a:pt x="2758772" y="4942586"/>
                </a:lnTo>
                <a:lnTo>
                  <a:pt x="2751484" y="4951697"/>
                </a:lnTo>
                <a:lnTo>
                  <a:pt x="2735084" y="4942586"/>
                </a:lnTo>
                <a:close/>
                <a:moveTo>
                  <a:pt x="1098771" y="4928009"/>
                </a:moveTo>
                <a:lnTo>
                  <a:pt x="1129749" y="4928009"/>
                </a:lnTo>
                <a:cubicBezTo>
                  <a:pt x="1126104" y="4964453"/>
                  <a:pt x="1140682" y="4940764"/>
                  <a:pt x="1106060" y="4957164"/>
                </a:cubicBezTo>
                <a:close/>
                <a:moveTo>
                  <a:pt x="2102790" y="4922542"/>
                </a:moveTo>
                <a:lnTo>
                  <a:pt x="2126478" y="4929831"/>
                </a:lnTo>
                <a:cubicBezTo>
                  <a:pt x="2119190" y="4951697"/>
                  <a:pt x="2126478" y="4946231"/>
                  <a:pt x="2104612" y="4951697"/>
                </a:cubicBezTo>
                <a:lnTo>
                  <a:pt x="2095501" y="4929831"/>
                </a:lnTo>
                <a:close/>
                <a:moveTo>
                  <a:pt x="2787927" y="4920719"/>
                </a:moveTo>
                <a:lnTo>
                  <a:pt x="2797038" y="4937119"/>
                </a:lnTo>
                <a:lnTo>
                  <a:pt x="2773349" y="4935297"/>
                </a:lnTo>
                <a:close/>
                <a:moveTo>
                  <a:pt x="1885950" y="4915253"/>
                </a:moveTo>
                <a:lnTo>
                  <a:pt x="1907816" y="4915253"/>
                </a:lnTo>
                <a:cubicBezTo>
                  <a:pt x="1900528" y="4922542"/>
                  <a:pt x="1898705" y="4926186"/>
                  <a:pt x="1898705" y="4928009"/>
                </a:cubicBezTo>
                <a:cubicBezTo>
                  <a:pt x="1898705" y="4926186"/>
                  <a:pt x="1898705" y="4922542"/>
                  <a:pt x="1885950" y="4929830"/>
                </a:cubicBezTo>
                <a:close/>
                <a:moveTo>
                  <a:pt x="2653086" y="4904320"/>
                </a:moveTo>
                <a:lnTo>
                  <a:pt x="2653086" y="4929831"/>
                </a:lnTo>
                <a:lnTo>
                  <a:pt x="2638508" y="4920720"/>
                </a:lnTo>
                <a:close/>
                <a:moveTo>
                  <a:pt x="3205203" y="4898854"/>
                </a:moveTo>
                <a:lnTo>
                  <a:pt x="3205203" y="4920720"/>
                </a:lnTo>
                <a:lnTo>
                  <a:pt x="3190626" y="4920720"/>
                </a:lnTo>
                <a:cubicBezTo>
                  <a:pt x="3194271" y="4900677"/>
                  <a:pt x="3186982" y="4909787"/>
                  <a:pt x="3205203" y="4898854"/>
                </a:cubicBezTo>
                <a:close/>
                <a:moveTo>
                  <a:pt x="1067794" y="4889742"/>
                </a:moveTo>
                <a:lnTo>
                  <a:pt x="1076904" y="4906142"/>
                </a:lnTo>
                <a:lnTo>
                  <a:pt x="1053216" y="4904319"/>
                </a:lnTo>
                <a:close/>
                <a:moveTo>
                  <a:pt x="1694622" y="4869699"/>
                </a:moveTo>
                <a:lnTo>
                  <a:pt x="1701911" y="4875166"/>
                </a:lnTo>
                <a:lnTo>
                  <a:pt x="1694622" y="4906143"/>
                </a:lnTo>
                <a:lnTo>
                  <a:pt x="1681867" y="4906143"/>
                </a:lnTo>
                <a:lnTo>
                  <a:pt x="1674578" y="4884276"/>
                </a:lnTo>
                <a:close/>
                <a:moveTo>
                  <a:pt x="2893613" y="4869698"/>
                </a:moveTo>
                <a:lnTo>
                  <a:pt x="2919124" y="4869698"/>
                </a:lnTo>
                <a:lnTo>
                  <a:pt x="2910013" y="4886098"/>
                </a:lnTo>
                <a:close/>
                <a:moveTo>
                  <a:pt x="329813" y="4869698"/>
                </a:moveTo>
                <a:lnTo>
                  <a:pt x="353501" y="4869698"/>
                </a:lnTo>
                <a:lnTo>
                  <a:pt x="344391" y="4886098"/>
                </a:lnTo>
                <a:close/>
                <a:moveTo>
                  <a:pt x="1497827" y="4838722"/>
                </a:moveTo>
                <a:lnTo>
                  <a:pt x="1523339" y="4847833"/>
                </a:lnTo>
                <a:lnTo>
                  <a:pt x="1506938" y="4860589"/>
                </a:lnTo>
                <a:close/>
                <a:moveTo>
                  <a:pt x="1854973" y="4838721"/>
                </a:moveTo>
                <a:cubicBezTo>
                  <a:pt x="1865906" y="4847832"/>
                  <a:pt x="1876840" y="4849654"/>
                  <a:pt x="1876840" y="4869698"/>
                </a:cubicBezTo>
                <a:lnTo>
                  <a:pt x="1876840" y="4884276"/>
                </a:lnTo>
                <a:lnTo>
                  <a:pt x="1869551" y="4906142"/>
                </a:lnTo>
                <a:cubicBezTo>
                  <a:pt x="1833107" y="4897031"/>
                  <a:pt x="1853151" y="4891565"/>
                  <a:pt x="1840395" y="4860588"/>
                </a:cubicBezTo>
                <a:close/>
                <a:moveTo>
                  <a:pt x="843667" y="4838721"/>
                </a:moveTo>
                <a:cubicBezTo>
                  <a:pt x="867355" y="4847832"/>
                  <a:pt x="889222" y="4827789"/>
                  <a:pt x="889222" y="4860588"/>
                </a:cubicBezTo>
                <a:lnTo>
                  <a:pt x="889222" y="4867876"/>
                </a:lnTo>
                <a:cubicBezTo>
                  <a:pt x="889222" y="4893386"/>
                  <a:pt x="876465" y="4882454"/>
                  <a:pt x="874643" y="4898853"/>
                </a:cubicBezTo>
                <a:lnTo>
                  <a:pt x="889222" y="4907964"/>
                </a:lnTo>
                <a:lnTo>
                  <a:pt x="874643" y="4907964"/>
                </a:lnTo>
                <a:cubicBezTo>
                  <a:pt x="883754" y="4926186"/>
                  <a:pt x="881932" y="4909786"/>
                  <a:pt x="874643" y="4929830"/>
                </a:cubicBezTo>
                <a:cubicBezTo>
                  <a:pt x="850955" y="4913430"/>
                  <a:pt x="850955" y="4898853"/>
                  <a:pt x="821800" y="4891565"/>
                </a:cubicBezTo>
                <a:lnTo>
                  <a:pt x="830911" y="4855121"/>
                </a:lnTo>
                <a:close/>
                <a:moveTo>
                  <a:pt x="1401251" y="4831434"/>
                </a:moveTo>
                <a:lnTo>
                  <a:pt x="1401251" y="4853301"/>
                </a:lnTo>
                <a:cubicBezTo>
                  <a:pt x="1373919" y="4842367"/>
                  <a:pt x="1381208" y="4867878"/>
                  <a:pt x="1379385" y="4838723"/>
                </a:cubicBezTo>
                <a:close/>
                <a:moveTo>
                  <a:pt x="1650890" y="4829611"/>
                </a:moveTo>
                <a:lnTo>
                  <a:pt x="1658179" y="4829611"/>
                </a:lnTo>
                <a:lnTo>
                  <a:pt x="1658179" y="4867877"/>
                </a:lnTo>
                <a:cubicBezTo>
                  <a:pt x="1629024" y="4847833"/>
                  <a:pt x="1650890" y="4871522"/>
                  <a:pt x="1650890" y="4829611"/>
                </a:cubicBezTo>
                <a:close/>
                <a:moveTo>
                  <a:pt x="3529551" y="4829610"/>
                </a:moveTo>
                <a:cubicBezTo>
                  <a:pt x="3551417" y="4829610"/>
                  <a:pt x="3544128" y="4833255"/>
                  <a:pt x="3553239" y="4846010"/>
                </a:cubicBezTo>
                <a:lnTo>
                  <a:pt x="3567816" y="4838721"/>
                </a:lnTo>
                <a:cubicBezTo>
                  <a:pt x="3569638" y="4873343"/>
                  <a:pt x="3558706" y="4851477"/>
                  <a:pt x="3582394" y="4869698"/>
                </a:cubicBezTo>
                <a:cubicBezTo>
                  <a:pt x="3573283" y="4887920"/>
                  <a:pt x="3575105" y="4871521"/>
                  <a:pt x="3582394" y="4891565"/>
                </a:cubicBezTo>
                <a:cubicBezTo>
                  <a:pt x="3576927" y="4895209"/>
                  <a:pt x="3564172" y="4906142"/>
                  <a:pt x="3560528" y="4906142"/>
                </a:cubicBezTo>
                <a:cubicBezTo>
                  <a:pt x="3542306" y="4906142"/>
                  <a:pt x="3531373" y="4886098"/>
                  <a:pt x="3514973" y="4875165"/>
                </a:cubicBezTo>
                <a:cubicBezTo>
                  <a:pt x="3522262" y="4856943"/>
                  <a:pt x="3511329" y="4829610"/>
                  <a:pt x="3529551" y="4829610"/>
                </a:cubicBezTo>
                <a:close/>
                <a:moveTo>
                  <a:pt x="1144326" y="4815033"/>
                </a:moveTo>
                <a:lnTo>
                  <a:pt x="1146148" y="4831433"/>
                </a:lnTo>
                <a:lnTo>
                  <a:pt x="1129748" y="4829610"/>
                </a:lnTo>
                <a:close/>
                <a:moveTo>
                  <a:pt x="2797038" y="4807746"/>
                </a:moveTo>
                <a:lnTo>
                  <a:pt x="2795215" y="4833257"/>
                </a:lnTo>
                <a:lnTo>
                  <a:pt x="2773349" y="4809569"/>
                </a:lnTo>
                <a:close/>
                <a:moveTo>
                  <a:pt x="2472690" y="4807745"/>
                </a:moveTo>
                <a:lnTo>
                  <a:pt x="2489090" y="4807745"/>
                </a:lnTo>
                <a:lnTo>
                  <a:pt x="2489090" y="4824144"/>
                </a:lnTo>
                <a:lnTo>
                  <a:pt x="2503666" y="4824144"/>
                </a:lnTo>
                <a:lnTo>
                  <a:pt x="2501844" y="4840544"/>
                </a:lnTo>
                <a:lnTo>
                  <a:pt x="2489090" y="4824145"/>
                </a:lnTo>
                <a:lnTo>
                  <a:pt x="2479979" y="4816856"/>
                </a:lnTo>
                <a:close/>
                <a:moveTo>
                  <a:pt x="3678970" y="4798635"/>
                </a:moveTo>
                <a:lnTo>
                  <a:pt x="3686259" y="4815035"/>
                </a:lnTo>
                <a:lnTo>
                  <a:pt x="3678970" y="4824146"/>
                </a:lnTo>
                <a:lnTo>
                  <a:pt x="3664393" y="4815035"/>
                </a:lnTo>
                <a:close/>
                <a:moveTo>
                  <a:pt x="1732888" y="4798635"/>
                </a:moveTo>
                <a:lnTo>
                  <a:pt x="1740177" y="4815035"/>
                </a:lnTo>
                <a:lnTo>
                  <a:pt x="1732888" y="4824146"/>
                </a:lnTo>
                <a:lnTo>
                  <a:pt x="1716488" y="4815035"/>
                </a:lnTo>
                <a:close/>
                <a:moveTo>
                  <a:pt x="2472691" y="4787700"/>
                </a:moveTo>
                <a:lnTo>
                  <a:pt x="2481802" y="4793167"/>
                </a:lnTo>
                <a:lnTo>
                  <a:pt x="2472691" y="4807744"/>
                </a:lnTo>
                <a:lnTo>
                  <a:pt x="2456291" y="4798633"/>
                </a:lnTo>
                <a:close/>
                <a:moveTo>
                  <a:pt x="3301780" y="4769479"/>
                </a:moveTo>
                <a:lnTo>
                  <a:pt x="3310891" y="4785879"/>
                </a:lnTo>
                <a:lnTo>
                  <a:pt x="3287202" y="4784056"/>
                </a:lnTo>
                <a:close/>
                <a:moveTo>
                  <a:pt x="193151" y="4769479"/>
                </a:moveTo>
                <a:lnTo>
                  <a:pt x="202263" y="4785879"/>
                </a:lnTo>
                <a:lnTo>
                  <a:pt x="178573" y="4784056"/>
                </a:lnTo>
                <a:close/>
                <a:moveTo>
                  <a:pt x="1794841" y="4749435"/>
                </a:moveTo>
                <a:lnTo>
                  <a:pt x="1847684" y="4749435"/>
                </a:lnTo>
                <a:cubicBezTo>
                  <a:pt x="1834929" y="4780412"/>
                  <a:pt x="1853151" y="4747613"/>
                  <a:pt x="1840395" y="4778590"/>
                </a:cubicBezTo>
                <a:lnTo>
                  <a:pt x="1856795" y="4787701"/>
                </a:lnTo>
                <a:lnTo>
                  <a:pt x="1840395" y="4800456"/>
                </a:lnTo>
                <a:cubicBezTo>
                  <a:pt x="1853151" y="4833255"/>
                  <a:pt x="1834929" y="4800456"/>
                  <a:pt x="1847684" y="4831433"/>
                </a:cubicBezTo>
                <a:cubicBezTo>
                  <a:pt x="1809418" y="4827789"/>
                  <a:pt x="1807596" y="4805923"/>
                  <a:pt x="1778441" y="4785879"/>
                </a:cubicBezTo>
                <a:lnTo>
                  <a:pt x="1803952" y="4764013"/>
                </a:lnTo>
                <a:close/>
                <a:moveTo>
                  <a:pt x="1505115" y="4747613"/>
                </a:moveTo>
                <a:lnTo>
                  <a:pt x="1543382" y="4747613"/>
                </a:lnTo>
                <a:cubicBezTo>
                  <a:pt x="1532448" y="4773124"/>
                  <a:pt x="1547026" y="4765835"/>
                  <a:pt x="1536093" y="4785879"/>
                </a:cubicBezTo>
                <a:lnTo>
                  <a:pt x="1514226" y="4785879"/>
                </a:lnTo>
                <a:lnTo>
                  <a:pt x="1507794" y="4781056"/>
                </a:lnTo>
                <a:lnTo>
                  <a:pt x="1506937" y="4780413"/>
                </a:lnTo>
                <a:cubicBezTo>
                  <a:pt x="1508760" y="4778590"/>
                  <a:pt x="1508760" y="4774946"/>
                  <a:pt x="1510582" y="4771302"/>
                </a:cubicBezTo>
                <a:close/>
                <a:moveTo>
                  <a:pt x="2578376" y="4747612"/>
                </a:moveTo>
                <a:lnTo>
                  <a:pt x="2576553" y="4764012"/>
                </a:lnTo>
                <a:lnTo>
                  <a:pt x="2561976" y="4749435"/>
                </a:lnTo>
                <a:close/>
                <a:moveTo>
                  <a:pt x="2780639" y="4745792"/>
                </a:moveTo>
                <a:lnTo>
                  <a:pt x="2789750" y="4762192"/>
                </a:lnTo>
                <a:lnTo>
                  <a:pt x="2776994" y="4769480"/>
                </a:lnTo>
                <a:lnTo>
                  <a:pt x="2766061" y="4762192"/>
                </a:lnTo>
                <a:close/>
                <a:moveTo>
                  <a:pt x="4065270" y="4740324"/>
                </a:moveTo>
                <a:lnTo>
                  <a:pt x="4079847" y="4754902"/>
                </a:lnTo>
                <a:lnTo>
                  <a:pt x="4065270" y="4754902"/>
                </a:lnTo>
                <a:close/>
                <a:moveTo>
                  <a:pt x="2006213" y="4733035"/>
                </a:moveTo>
                <a:lnTo>
                  <a:pt x="2020791" y="4747612"/>
                </a:lnTo>
                <a:lnTo>
                  <a:pt x="2006213" y="4747612"/>
                </a:lnTo>
                <a:close/>
                <a:moveTo>
                  <a:pt x="1875017" y="4731214"/>
                </a:moveTo>
                <a:lnTo>
                  <a:pt x="1876839" y="4756725"/>
                </a:lnTo>
                <a:lnTo>
                  <a:pt x="1860439" y="4745792"/>
                </a:lnTo>
                <a:close/>
                <a:moveTo>
                  <a:pt x="1138859" y="4718459"/>
                </a:moveTo>
                <a:lnTo>
                  <a:pt x="1129747" y="4754903"/>
                </a:lnTo>
                <a:cubicBezTo>
                  <a:pt x="1118815" y="4753080"/>
                  <a:pt x="1107881" y="4753080"/>
                  <a:pt x="1107881" y="4740325"/>
                </a:cubicBezTo>
                <a:cubicBezTo>
                  <a:pt x="1107881" y="4716637"/>
                  <a:pt x="1116992" y="4720281"/>
                  <a:pt x="1138859" y="4718459"/>
                </a:cubicBezTo>
                <a:close/>
                <a:moveTo>
                  <a:pt x="850955" y="4716637"/>
                </a:moveTo>
                <a:lnTo>
                  <a:pt x="850955" y="4754903"/>
                </a:lnTo>
                <a:lnTo>
                  <a:pt x="829089" y="4754903"/>
                </a:lnTo>
                <a:cubicBezTo>
                  <a:pt x="830911" y="4723926"/>
                  <a:pt x="830911" y="4729392"/>
                  <a:pt x="850955" y="4716637"/>
                </a:cubicBezTo>
                <a:close/>
                <a:moveTo>
                  <a:pt x="3844788" y="4709348"/>
                </a:moveTo>
                <a:lnTo>
                  <a:pt x="3852076" y="4723925"/>
                </a:lnTo>
                <a:lnTo>
                  <a:pt x="3846610" y="4733036"/>
                </a:lnTo>
                <a:lnTo>
                  <a:pt x="3830210" y="4723925"/>
                </a:lnTo>
                <a:close/>
                <a:moveTo>
                  <a:pt x="2999299" y="4709347"/>
                </a:moveTo>
                <a:lnTo>
                  <a:pt x="3001121" y="4725747"/>
                </a:lnTo>
                <a:lnTo>
                  <a:pt x="2984721" y="4723924"/>
                </a:lnTo>
                <a:close/>
                <a:moveTo>
                  <a:pt x="2028080" y="4694771"/>
                </a:moveTo>
                <a:lnTo>
                  <a:pt x="2049946" y="4694771"/>
                </a:lnTo>
                <a:cubicBezTo>
                  <a:pt x="2035369" y="4731215"/>
                  <a:pt x="2053591" y="4691127"/>
                  <a:pt x="2049946" y="4716638"/>
                </a:cubicBezTo>
                <a:cubicBezTo>
                  <a:pt x="2028080" y="4711171"/>
                  <a:pt x="2033547" y="4716638"/>
                  <a:pt x="2028080" y="4694771"/>
                </a:cubicBezTo>
                <a:close/>
                <a:moveTo>
                  <a:pt x="2902724" y="4687482"/>
                </a:moveTo>
                <a:lnTo>
                  <a:pt x="2893613" y="4711170"/>
                </a:lnTo>
                <a:cubicBezTo>
                  <a:pt x="2871747" y="4705704"/>
                  <a:pt x="2884502" y="4712993"/>
                  <a:pt x="2871747" y="4694771"/>
                </a:cubicBezTo>
                <a:close/>
                <a:moveTo>
                  <a:pt x="2481802" y="4687481"/>
                </a:moveTo>
                <a:lnTo>
                  <a:pt x="2470869" y="4703881"/>
                </a:lnTo>
                <a:lnTo>
                  <a:pt x="2456291" y="4689304"/>
                </a:lnTo>
                <a:close/>
                <a:moveTo>
                  <a:pt x="3075830" y="4672904"/>
                </a:moveTo>
                <a:lnTo>
                  <a:pt x="3075830" y="4689304"/>
                </a:lnTo>
                <a:lnTo>
                  <a:pt x="3059430" y="4674726"/>
                </a:lnTo>
                <a:close/>
                <a:moveTo>
                  <a:pt x="1009485" y="4672904"/>
                </a:moveTo>
                <a:lnTo>
                  <a:pt x="1024062" y="4687481"/>
                </a:lnTo>
                <a:lnTo>
                  <a:pt x="1009485" y="4687481"/>
                </a:lnTo>
                <a:close/>
                <a:moveTo>
                  <a:pt x="3234359" y="4671082"/>
                </a:moveTo>
                <a:lnTo>
                  <a:pt x="3234359" y="4696593"/>
                </a:lnTo>
                <a:lnTo>
                  <a:pt x="3217959" y="4685659"/>
                </a:lnTo>
                <a:close/>
                <a:moveTo>
                  <a:pt x="2684064" y="4658326"/>
                </a:moveTo>
                <a:cubicBezTo>
                  <a:pt x="2716863" y="4660149"/>
                  <a:pt x="2698641" y="4656504"/>
                  <a:pt x="2722329" y="4672904"/>
                </a:cubicBezTo>
                <a:cubicBezTo>
                  <a:pt x="2705930" y="4709347"/>
                  <a:pt x="2725974" y="4669259"/>
                  <a:pt x="2722329" y="4696592"/>
                </a:cubicBezTo>
                <a:lnTo>
                  <a:pt x="2698641" y="4720280"/>
                </a:lnTo>
                <a:lnTo>
                  <a:pt x="2669486" y="4696592"/>
                </a:lnTo>
                <a:close/>
                <a:moveTo>
                  <a:pt x="2837124" y="4640105"/>
                </a:moveTo>
                <a:lnTo>
                  <a:pt x="2849879" y="4656505"/>
                </a:lnTo>
                <a:lnTo>
                  <a:pt x="2835302" y="4665616"/>
                </a:lnTo>
                <a:close/>
                <a:moveTo>
                  <a:pt x="2893614" y="4632816"/>
                </a:moveTo>
                <a:lnTo>
                  <a:pt x="2902725" y="4649216"/>
                </a:lnTo>
                <a:lnTo>
                  <a:pt x="2879036" y="4649216"/>
                </a:lnTo>
                <a:close/>
                <a:moveTo>
                  <a:pt x="2775171" y="4627349"/>
                </a:moveTo>
                <a:lnTo>
                  <a:pt x="2789749" y="4641927"/>
                </a:lnTo>
                <a:lnTo>
                  <a:pt x="2775171" y="4641927"/>
                </a:lnTo>
                <a:close/>
                <a:moveTo>
                  <a:pt x="3258048" y="4612773"/>
                </a:moveTo>
                <a:lnTo>
                  <a:pt x="3270803" y="4625529"/>
                </a:lnTo>
                <a:lnTo>
                  <a:pt x="3265337" y="4634640"/>
                </a:lnTo>
                <a:lnTo>
                  <a:pt x="3248937" y="4627351"/>
                </a:lnTo>
                <a:close/>
                <a:moveTo>
                  <a:pt x="3777366" y="4605483"/>
                </a:moveTo>
                <a:lnTo>
                  <a:pt x="3793766" y="4605483"/>
                </a:lnTo>
                <a:lnTo>
                  <a:pt x="3791944" y="4621883"/>
                </a:lnTo>
                <a:close/>
                <a:moveTo>
                  <a:pt x="3453020" y="4603661"/>
                </a:moveTo>
                <a:lnTo>
                  <a:pt x="3453020" y="4620061"/>
                </a:lnTo>
                <a:lnTo>
                  <a:pt x="3436620" y="4618239"/>
                </a:lnTo>
                <a:close/>
                <a:moveTo>
                  <a:pt x="1619913" y="4598196"/>
                </a:moveTo>
                <a:cubicBezTo>
                  <a:pt x="1638134" y="4598196"/>
                  <a:pt x="1638134" y="4603663"/>
                  <a:pt x="1650891" y="4612773"/>
                </a:cubicBezTo>
                <a:cubicBezTo>
                  <a:pt x="1647246" y="4618240"/>
                  <a:pt x="1639957" y="4634640"/>
                  <a:pt x="1629024" y="4634640"/>
                </a:cubicBezTo>
                <a:cubicBezTo>
                  <a:pt x="1616269" y="4634640"/>
                  <a:pt x="1605336" y="4630995"/>
                  <a:pt x="1605336" y="4620062"/>
                </a:cubicBezTo>
                <a:cubicBezTo>
                  <a:pt x="1605336" y="4609129"/>
                  <a:pt x="1608980" y="4598196"/>
                  <a:pt x="1619913" y="4598196"/>
                </a:cubicBezTo>
                <a:close/>
                <a:moveTo>
                  <a:pt x="2212119" y="4598195"/>
                </a:moveTo>
                <a:cubicBezTo>
                  <a:pt x="2219408" y="4610950"/>
                  <a:pt x="2212119" y="4612772"/>
                  <a:pt x="2233985" y="4612772"/>
                </a:cubicBezTo>
                <a:lnTo>
                  <a:pt x="2255851" y="4612772"/>
                </a:lnTo>
                <a:cubicBezTo>
                  <a:pt x="2285006" y="4612772"/>
                  <a:pt x="2257673" y="4610950"/>
                  <a:pt x="2270428" y="4620061"/>
                </a:cubicBezTo>
                <a:lnTo>
                  <a:pt x="2285006" y="4612772"/>
                </a:lnTo>
                <a:lnTo>
                  <a:pt x="2285006" y="4627350"/>
                </a:lnTo>
                <a:lnTo>
                  <a:pt x="2314161" y="4627350"/>
                </a:lnTo>
                <a:lnTo>
                  <a:pt x="2330560" y="4651038"/>
                </a:lnTo>
                <a:lnTo>
                  <a:pt x="2350604" y="4636461"/>
                </a:lnTo>
                <a:lnTo>
                  <a:pt x="2407092" y="4689305"/>
                </a:lnTo>
                <a:lnTo>
                  <a:pt x="2390692" y="4709349"/>
                </a:lnTo>
                <a:cubicBezTo>
                  <a:pt x="2410736" y="4722104"/>
                  <a:pt x="2423491" y="4731215"/>
                  <a:pt x="2428958" y="4756725"/>
                </a:cubicBezTo>
                <a:lnTo>
                  <a:pt x="2407092" y="4747614"/>
                </a:lnTo>
                <a:lnTo>
                  <a:pt x="2397981" y="4764014"/>
                </a:lnTo>
                <a:lnTo>
                  <a:pt x="2374292" y="4747614"/>
                </a:lnTo>
                <a:lnTo>
                  <a:pt x="2383403" y="4776769"/>
                </a:lnTo>
                <a:lnTo>
                  <a:pt x="2368826" y="4785880"/>
                </a:lnTo>
                <a:lnTo>
                  <a:pt x="2376114" y="4800458"/>
                </a:lnTo>
                <a:cubicBezTo>
                  <a:pt x="2367004" y="4816857"/>
                  <a:pt x="2368826" y="4800458"/>
                  <a:pt x="2368826" y="4831434"/>
                </a:cubicBezTo>
                <a:lnTo>
                  <a:pt x="2352426" y="4831434"/>
                </a:lnTo>
                <a:lnTo>
                  <a:pt x="2359715" y="4846012"/>
                </a:lnTo>
                <a:cubicBezTo>
                  <a:pt x="2352426" y="4847834"/>
                  <a:pt x="2348782" y="4849656"/>
                  <a:pt x="2346960" y="4849656"/>
                </a:cubicBezTo>
                <a:cubicBezTo>
                  <a:pt x="2345137" y="4851478"/>
                  <a:pt x="2343315" y="4855123"/>
                  <a:pt x="2337849" y="4860589"/>
                </a:cubicBezTo>
                <a:lnTo>
                  <a:pt x="2350604" y="4897033"/>
                </a:lnTo>
                <a:lnTo>
                  <a:pt x="2345137" y="4906143"/>
                </a:lnTo>
                <a:cubicBezTo>
                  <a:pt x="2339671" y="4902499"/>
                  <a:pt x="2326916" y="4891566"/>
                  <a:pt x="2323271" y="4891566"/>
                </a:cubicBezTo>
                <a:cubicBezTo>
                  <a:pt x="2305050" y="4891566"/>
                  <a:pt x="2301405" y="4902499"/>
                  <a:pt x="2285006" y="4913432"/>
                </a:cubicBezTo>
                <a:cubicBezTo>
                  <a:pt x="2292295" y="4933476"/>
                  <a:pt x="2292295" y="4917077"/>
                  <a:pt x="2283184" y="4937121"/>
                </a:cubicBezTo>
                <a:lnTo>
                  <a:pt x="2268606" y="4920721"/>
                </a:lnTo>
                <a:lnTo>
                  <a:pt x="2255851" y="4928010"/>
                </a:lnTo>
                <a:lnTo>
                  <a:pt x="2239451" y="4906143"/>
                </a:lnTo>
                <a:lnTo>
                  <a:pt x="2217585" y="4911610"/>
                </a:lnTo>
                <a:lnTo>
                  <a:pt x="2186608" y="4906143"/>
                </a:lnTo>
                <a:cubicBezTo>
                  <a:pt x="2192075" y="4920721"/>
                  <a:pt x="2192075" y="4928010"/>
                  <a:pt x="2186608" y="4942587"/>
                </a:cubicBezTo>
                <a:lnTo>
                  <a:pt x="2201186" y="4951698"/>
                </a:lnTo>
                <a:cubicBezTo>
                  <a:pt x="2192075" y="4971742"/>
                  <a:pt x="2192075" y="4955342"/>
                  <a:pt x="2199364" y="4973564"/>
                </a:cubicBezTo>
                <a:lnTo>
                  <a:pt x="2179320" y="4988141"/>
                </a:lnTo>
                <a:lnTo>
                  <a:pt x="2157454" y="4966275"/>
                </a:lnTo>
                <a:lnTo>
                  <a:pt x="2153809" y="4940765"/>
                </a:lnTo>
                <a:lnTo>
                  <a:pt x="2177498" y="4922543"/>
                </a:lnTo>
                <a:lnTo>
                  <a:pt x="2122832" y="4864234"/>
                </a:lnTo>
                <a:cubicBezTo>
                  <a:pt x="2091855" y="4860589"/>
                  <a:pt x="2097322" y="4851478"/>
                  <a:pt x="2084568" y="4833257"/>
                </a:cubicBezTo>
                <a:lnTo>
                  <a:pt x="2091855" y="4818679"/>
                </a:lnTo>
                <a:lnTo>
                  <a:pt x="2077278" y="4809568"/>
                </a:lnTo>
                <a:lnTo>
                  <a:pt x="2084568" y="4794991"/>
                </a:lnTo>
                <a:lnTo>
                  <a:pt x="2073634" y="4787702"/>
                </a:lnTo>
                <a:lnTo>
                  <a:pt x="2069989" y="4734859"/>
                </a:lnTo>
                <a:lnTo>
                  <a:pt x="2084568" y="4725748"/>
                </a:lnTo>
                <a:lnTo>
                  <a:pt x="2077278" y="4711171"/>
                </a:lnTo>
                <a:lnTo>
                  <a:pt x="2091855" y="4703882"/>
                </a:lnTo>
                <a:lnTo>
                  <a:pt x="2093679" y="4682015"/>
                </a:lnTo>
                <a:lnTo>
                  <a:pt x="2130121" y="4651038"/>
                </a:lnTo>
                <a:lnTo>
                  <a:pt x="2131943" y="4629172"/>
                </a:lnTo>
                <a:lnTo>
                  <a:pt x="2151987" y="4605484"/>
                </a:lnTo>
                <a:lnTo>
                  <a:pt x="2173853" y="4612772"/>
                </a:lnTo>
                <a:close/>
                <a:moveTo>
                  <a:pt x="2715040" y="4596373"/>
                </a:moveTo>
                <a:lnTo>
                  <a:pt x="2736906" y="4620062"/>
                </a:lnTo>
                <a:cubicBezTo>
                  <a:pt x="2704106" y="4610951"/>
                  <a:pt x="2727795" y="4620062"/>
                  <a:pt x="2715040" y="4596373"/>
                </a:cubicBezTo>
                <a:close/>
                <a:moveTo>
                  <a:pt x="2953744" y="4596372"/>
                </a:moveTo>
                <a:cubicBezTo>
                  <a:pt x="2975610" y="4610950"/>
                  <a:pt x="2977432" y="4612772"/>
                  <a:pt x="2984721" y="4641927"/>
                </a:cubicBezTo>
                <a:lnTo>
                  <a:pt x="2962855" y="4641927"/>
                </a:lnTo>
                <a:lnTo>
                  <a:pt x="2962855" y="4678370"/>
                </a:lnTo>
                <a:lnTo>
                  <a:pt x="2924589" y="4678370"/>
                </a:lnTo>
                <a:cubicBezTo>
                  <a:pt x="2931878" y="4661971"/>
                  <a:pt x="2931878" y="4656504"/>
                  <a:pt x="2924589" y="4640104"/>
                </a:cubicBezTo>
                <a:lnTo>
                  <a:pt x="2946455" y="4640104"/>
                </a:lnTo>
                <a:lnTo>
                  <a:pt x="2946455" y="4618238"/>
                </a:lnTo>
                <a:cubicBezTo>
                  <a:pt x="2946455" y="4590906"/>
                  <a:pt x="2944633" y="4616416"/>
                  <a:pt x="2953744" y="4596372"/>
                </a:cubicBezTo>
                <a:close/>
                <a:moveTo>
                  <a:pt x="783535" y="4590907"/>
                </a:moveTo>
                <a:cubicBezTo>
                  <a:pt x="783535" y="4590907"/>
                  <a:pt x="790823" y="4603662"/>
                  <a:pt x="790823" y="4605485"/>
                </a:cubicBezTo>
                <a:cubicBezTo>
                  <a:pt x="790823" y="4625529"/>
                  <a:pt x="787179" y="4618240"/>
                  <a:pt x="776246" y="4627351"/>
                </a:cubicBezTo>
                <a:cubicBezTo>
                  <a:pt x="776246" y="4627351"/>
                  <a:pt x="768957" y="4614596"/>
                  <a:pt x="768957" y="4612773"/>
                </a:cubicBezTo>
                <a:cubicBezTo>
                  <a:pt x="768957" y="4592730"/>
                  <a:pt x="770779" y="4600018"/>
                  <a:pt x="783535" y="4590907"/>
                </a:cubicBezTo>
                <a:close/>
                <a:moveTo>
                  <a:pt x="3392888" y="4587261"/>
                </a:moveTo>
                <a:lnTo>
                  <a:pt x="3392888" y="4605483"/>
                </a:lnTo>
                <a:lnTo>
                  <a:pt x="3376488" y="4603661"/>
                </a:lnTo>
                <a:close/>
                <a:moveTo>
                  <a:pt x="3152361" y="4581795"/>
                </a:moveTo>
                <a:lnTo>
                  <a:pt x="3150538" y="4598195"/>
                </a:lnTo>
                <a:lnTo>
                  <a:pt x="3135961" y="4583618"/>
                </a:lnTo>
                <a:close/>
                <a:moveTo>
                  <a:pt x="3890343" y="4572685"/>
                </a:moveTo>
                <a:lnTo>
                  <a:pt x="3892165" y="4596374"/>
                </a:lnTo>
                <a:lnTo>
                  <a:pt x="3866654" y="4594551"/>
                </a:lnTo>
                <a:close/>
                <a:moveTo>
                  <a:pt x="2924590" y="4572684"/>
                </a:moveTo>
                <a:lnTo>
                  <a:pt x="2933701" y="4589084"/>
                </a:lnTo>
                <a:lnTo>
                  <a:pt x="2910012" y="4587262"/>
                </a:lnTo>
                <a:close/>
                <a:moveTo>
                  <a:pt x="819978" y="4565396"/>
                </a:moveTo>
                <a:lnTo>
                  <a:pt x="821801" y="4589085"/>
                </a:lnTo>
                <a:lnTo>
                  <a:pt x="796290" y="4587262"/>
                </a:lnTo>
                <a:close/>
                <a:moveTo>
                  <a:pt x="1656356" y="4558108"/>
                </a:moveTo>
                <a:lnTo>
                  <a:pt x="1658178" y="4581797"/>
                </a:lnTo>
                <a:lnTo>
                  <a:pt x="1641778" y="4572686"/>
                </a:lnTo>
                <a:close/>
                <a:moveTo>
                  <a:pt x="947531" y="4558108"/>
                </a:moveTo>
                <a:lnTo>
                  <a:pt x="956641" y="4574508"/>
                </a:lnTo>
                <a:lnTo>
                  <a:pt x="943886" y="4579975"/>
                </a:lnTo>
                <a:lnTo>
                  <a:pt x="932953" y="4572686"/>
                </a:lnTo>
                <a:close/>
                <a:moveTo>
                  <a:pt x="3287202" y="4558107"/>
                </a:moveTo>
                <a:lnTo>
                  <a:pt x="3296313" y="4574507"/>
                </a:lnTo>
                <a:lnTo>
                  <a:pt x="3263514" y="4572685"/>
                </a:lnTo>
                <a:close/>
                <a:moveTo>
                  <a:pt x="1341120" y="4552641"/>
                </a:moveTo>
                <a:cubicBezTo>
                  <a:pt x="1364809" y="4569041"/>
                  <a:pt x="1353876" y="4547175"/>
                  <a:pt x="1355698" y="4583618"/>
                </a:cubicBezTo>
                <a:cubicBezTo>
                  <a:pt x="1332009" y="4565396"/>
                  <a:pt x="1346587" y="4589085"/>
                  <a:pt x="1341120" y="4552641"/>
                </a:cubicBezTo>
                <a:close/>
                <a:moveTo>
                  <a:pt x="1180769" y="4552640"/>
                </a:moveTo>
                <a:lnTo>
                  <a:pt x="1213569" y="4581796"/>
                </a:lnTo>
                <a:lnTo>
                  <a:pt x="1204458" y="4596373"/>
                </a:lnTo>
                <a:lnTo>
                  <a:pt x="1220858" y="4627350"/>
                </a:lnTo>
                <a:cubicBezTo>
                  <a:pt x="1200814" y="4636461"/>
                  <a:pt x="1217213" y="4634639"/>
                  <a:pt x="1197168" y="4625528"/>
                </a:cubicBezTo>
                <a:lnTo>
                  <a:pt x="1197168" y="4649216"/>
                </a:lnTo>
                <a:lnTo>
                  <a:pt x="1175302" y="4632817"/>
                </a:lnTo>
                <a:lnTo>
                  <a:pt x="1175302" y="4647394"/>
                </a:lnTo>
                <a:cubicBezTo>
                  <a:pt x="1147969" y="4640105"/>
                  <a:pt x="1158902" y="4640105"/>
                  <a:pt x="1137037" y="4625528"/>
                </a:cubicBezTo>
                <a:lnTo>
                  <a:pt x="1137037" y="4603662"/>
                </a:lnTo>
                <a:cubicBezTo>
                  <a:pt x="1118815" y="4612773"/>
                  <a:pt x="1135214" y="4610951"/>
                  <a:pt x="1115170" y="4603662"/>
                </a:cubicBezTo>
                <a:cubicBezTo>
                  <a:pt x="1127926" y="4583618"/>
                  <a:pt x="1118815" y="4587262"/>
                  <a:pt x="1144325" y="4579974"/>
                </a:cubicBezTo>
                <a:lnTo>
                  <a:pt x="1153436" y="4559929"/>
                </a:lnTo>
                <a:close/>
                <a:moveTo>
                  <a:pt x="978507" y="4552640"/>
                </a:moveTo>
                <a:lnTo>
                  <a:pt x="994907" y="4559929"/>
                </a:lnTo>
                <a:lnTo>
                  <a:pt x="987618" y="4572684"/>
                </a:lnTo>
                <a:lnTo>
                  <a:pt x="1018596" y="4583617"/>
                </a:lnTo>
                <a:lnTo>
                  <a:pt x="993085" y="4605483"/>
                </a:lnTo>
                <a:lnTo>
                  <a:pt x="1000374" y="4618238"/>
                </a:lnTo>
                <a:lnTo>
                  <a:pt x="978507" y="4634638"/>
                </a:lnTo>
                <a:lnTo>
                  <a:pt x="985796" y="4649215"/>
                </a:lnTo>
                <a:lnTo>
                  <a:pt x="962108" y="4651037"/>
                </a:lnTo>
                <a:lnTo>
                  <a:pt x="1002196" y="4687481"/>
                </a:lnTo>
                <a:lnTo>
                  <a:pt x="1002196" y="4705703"/>
                </a:lnTo>
                <a:lnTo>
                  <a:pt x="1002196" y="4712991"/>
                </a:lnTo>
                <a:lnTo>
                  <a:pt x="1004018" y="4725747"/>
                </a:lnTo>
                <a:lnTo>
                  <a:pt x="1018596" y="4742146"/>
                </a:lnTo>
                <a:lnTo>
                  <a:pt x="1031350" y="4734858"/>
                </a:lnTo>
                <a:lnTo>
                  <a:pt x="1055040" y="4753079"/>
                </a:lnTo>
                <a:cubicBezTo>
                  <a:pt x="1045929" y="4773123"/>
                  <a:pt x="1045929" y="4756723"/>
                  <a:pt x="1053216" y="4774945"/>
                </a:cubicBezTo>
                <a:lnTo>
                  <a:pt x="1040461" y="4791345"/>
                </a:lnTo>
                <a:cubicBezTo>
                  <a:pt x="1024062" y="4784056"/>
                  <a:pt x="1018596" y="4784056"/>
                  <a:pt x="1002196" y="4791345"/>
                </a:cubicBezTo>
                <a:lnTo>
                  <a:pt x="1002196" y="4753079"/>
                </a:lnTo>
                <a:lnTo>
                  <a:pt x="978507" y="4753079"/>
                </a:lnTo>
                <a:cubicBezTo>
                  <a:pt x="985796" y="4769479"/>
                  <a:pt x="985796" y="4774945"/>
                  <a:pt x="978507" y="4791345"/>
                </a:cubicBezTo>
                <a:cubicBezTo>
                  <a:pt x="1007663" y="4802278"/>
                  <a:pt x="996729" y="4809567"/>
                  <a:pt x="1009485" y="4836899"/>
                </a:cubicBezTo>
                <a:cubicBezTo>
                  <a:pt x="980330" y="4858765"/>
                  <a:pt x="1009485" y="4849654"/>
                  <a:pt x="978507" y="4860587"/>
                </a:cubicBezTo>
                <a:lnTo>
                  <a:pt x="982152" y="4875165"/>
                </a:lnTo>
                <a:lnTo>
                  <a:pt x="978507" y="4898853"/>
                </a:lnTo>
                <a:lnTo>
                  <a:pt x="956641" y="4882454"/>
                </a:lnTo>
                <a:cubicBezTo>
                  <a:pt x="947530" y="4900676"/>
                  <a:pt x="949352" y="4884276"/>
                  <a:pt x="956641" y="4904320"/>
                </a:cubicBezTo>
                <a:cubicBezTo>
                  <a:pt x="947530" y="4911608"/>
                  <a:pt x="949352" y="4891565"/>
                  <a:pt x="949352" y="4918897"/>
                </a:cubicBezTo>
                <a:lnTo>
                  <a:pt x="949352" y="4957162"/>
                </a:lnTo>
                <a:cubicBezTo>
                  <a:pt x="925664" y="4938941"/>
                  <a:pt x="945708" y="4938941"/>
                  <a:pt x="934775" y="4911608"/>
                </a:cubicBezTo>
                <a:cubicBezTo>
                  <a:pt x="943886" y="4904320"/>
                  <a:pt x="942064" y="4924364"/>
                  <a:pt x="942064" y="4897031"/>
                </a:cubicBezTo>
                <a:lnTo>
                  <a:pt x="942064" y="4875165"/>
                </a:lnTo>
                <a:lnTo>
                  <a:pt x="920198" y="4875165"/>
                </a:lnTo>
                <a:cubicBezTo>
                  <a:pt x="918376" y="4844188"/>
                  <a:pt x="914731" y="4842366"/>
                  <a:pt x="905620" y="4824144"/>
                </a:cubicBezTo>
                <a:lnTo>
                  <a:pt x="927486" y="4807745"/>
                </a:lnTo>
                <a:lnTo>
                  <a:pt x="920198" y="4794989"/>
                </a:lnTo>
                <a:lnTo>
                  <a:pt x="925664" y="4785878"/>
                </a:lnTo>
                <a:lnTo>
                  <a:pt x="940242" y="4793167"/>
                </a:lnTo>
                <a:lnTo>
                  <a:pt x="956641" y="4771301"/>
                </a:lnTo>
                <a:cubicBezTo>
                  <a:pt x="920198" y="4773123"/>
                  <a:pt x="942064" y="4762190"/>
                  <a:pt x="925664" y="4785878"/>
                </a:cubicBezTo>
                <a:cubicBezTo>
                  <a:pt x="907442" y="4760368"/>
                  <a:pt x="929309" y="4774945"/>
                  <a:pt x="901976" y="4754902"/>
                </a:cubicBezTo>
                <a:lnTo>
                  <a:pt x="907442" y="4742146"/>
                </a:lnTo>
                <a:lnTo>
                  <a:pt x="894687" y="4711169"/>
                </a:lnTo>
                <a:cubicBezTo>
                  <a:pt x="923842" y="4689303"/>
                  <a:pt x="894687" y="4698414"/>
                  <a:pt x="925664" y="4687481"/>
                </a:cubicBezTo>
                <a:lnTo>
                  <a:pt x="918376" y="4672904"/>
                </a:lnTo>
                <a:lnTo>
                  <a:pt x="932953" y="4672904"/>
                </a:lnTo>
                <a:lnTo>
                  <a:pt x="932953" y="4658326"/>
                </a:lnTo>
                <a:cubicBezTo>
                  <a:pt x="952997" y="4671082"/>
                  <a:pt x="940242" y="4661971"/>
                  <a:pt x="947530" y="4658326"/>
                </a:cubicBezTo>
                <a:cubicBezTo>
                  <a:pt x="956641" y="4640104"/>
                  <a:pt x="945708" y="4658326"/>
                  <a:pt x="954819" y="4636460"/>
                </a:cubicBezTo>
                <a:cubicBezTo>
                  <a:pt x="945708" y="4636460"/>
                  <a:pt x="947530" y="4638282"/>
                  <a:pt x="947530" y="4629171"/>
                </a:cubicBezTo>
                <a:cubicBezTo>
                  <a:pt x="947530" y="4600017"/>
                  <a:pt x="945708" y="4627349"/>
                  <a:pt x="954819" y="4614594"/>
                </a:cubicBezTo>
                <a:lnTo>
                  <a:pt x="947530" y="4598195"/>
                </a:lnTo>
                <a:lnTo>
                  <a:pt x="976685" y="4605483"/>
                </a:lnTo>
                <a:lnTo>
                  <a:pt x="985796" y="4598195"/>
                </a:lnTo>
                <a:lnTo>
                  <a:pt x="978507" y="4583617"/>
                </a:lnTo>
                <a:close/>
                <a:moveTo>
                  <a:pt x="1523337" y="4550819"/>
                </a:moveTo>
                <a:lnTo>
                  <a:pt x="1547026" y="4550819"/>
                </a:lnTo>
                <a:cubicBezTo>
                  <a:pt x="1541559" y="4563574"/>
                  <a:pt x="1541559" y="4569041"/>
                  <a:pt x="1543381" y="4570863"/>
                </a:cubicBezTo>
                <a:lnTo>
                  <a:pt x="1542096" y="4571077"/>
                </a:lnTo>
                <a:lnTo>
                  <a:pt x="1532448" y="4572685"/>
                </a:lnTo>
                <a:close/>
                <a:moveTo>
                  <a:pt x="3361911" y="4543529"/>
                </a:moveTo>
                <a:lnTo>
                  <a:pt x="3363733" y="4559929"/>
                </a:lnTo>
                <a:lnTo>
                  <a:pt x="3347333" y="4558106"/>
                </a:lnTo>
                <a:close/>
                <a:moveTo>
                  <a:pt x="2864458" y="4536240"/>
                </a:moveTo>
                <a:lnTo>
                  <a:pt x="2889969" y="4538063"/>
                </a:lnTo>
                <a:lnTo>
                  <a:pt x="2873569" y="4550818"/>
                </a:lnTo>
                <a:close/>
                <a:moveTo>
                  <a:pt x="276971" y="4534419"/>
                </a:moveTo>
                <a:lnTo>
                  <a:pt x="286082" y="4550819"/>
                </a:lnTo>
                <a:lnTo>
                  <a:pt x="271504" y="4558107"/>
                </a:lnTo>
                <a:lnTo>
                  <a:pt x="262393" y="4550819"/>
                </a:lnTo>
                <a:close/>
                <a:moveTo>
                  <a:pt x="2059057" y="4527131"/>
                </a:moveTo>
                <a:cubicBezTo>
                  <a:pt x="2079101" y="4536242"/>
                  <a:pt x="2062702" y="4536242"/>
                  <a:pt x="2080923" y="4530776"/>
                </a:cubicBezTo>
                <a:lnTo>
                  <a:pt x="2095501" y="4536242"/>
                </a:lnTo>
                <a:lnTo>
                  <a:pt x="2104612" y="4548997"/>
                </a:lnTo>
                <a:cubicBezTo>
                  <a:pt x="2091856" y="4581796"/>
                  <a:pt x="2110078" y="4548997"/>
                  <a:pt x="2097323" y="4579974"/>
                </a:cubicBezTo>
                <a:cubicBezTo>
                  <a:pt x="2062702" y="4556286"/>
                  <a:pt x="2073635" y="4561753"/>
                  <a:pt x="2059057" y="4527131"/>
                </a:cubicBezTo>
                <a:close/>
                <a:moveTo>
                  <a:pt x="1838574" y="4527130"/>
                </a:moveTo>
                <a:lnTo>
                  <a:pt x="1840396" y="4543530"/>
                </a:lnTo>
                <a:lnTo>
                  <a:pt x="1822174" y="4543530"/>
                </a:lnTo>
                <a:close/>
                <a:moveTo>
                  <a:pt x="3414755" y="4521664"/>
                </a:moveTo>
                <a:lnTo>
                  <a:pt x="3440266" y="4530775"/>
                </a:lnTo>
                <a:lnTo>
                  <a:pt x="3423866" y="4543531"/>
                </a:lnTo>
                <a:close/>
                <a:moveTo>
                  <a:pt x="2993833" y="4521664"/>
                </a:moveTo>
                <a:lnTo>
                  <a:pt x="2993833" y="4536242"/>
                </a:lnTo>
                <a:lnTo>
                  <a:pt x="3010232" y="4536242"/>
                </a:lnTo>
                <a:lnTo>
                  <a:pt x="2999300" y="4552641"/>
                </a:lnTo>
                <a:lnTo>
                  <a:pt x="2977433" y="4530775"/>
                </a:lnTo>
                <a:close/>
                <a:moveTo>
                  <a:pt x="2811616" y="4521664"/>
                </a:moveTo>
                <a:lnTo>
                  <a:pt x="2818904" y="4550819"/>
                </a:lnTo>
                <a:lnTo>
                  <a:pt x="2804327" y="4559930"/>
                </a:lnTo>
                <a:lnTo>
                  <a:pt x="2797038" y="4528953"/>
                </a:lnTo>
                <a:close/>
                <a:moveTo>
                  <a:pt x="2654907" y="4521664"/>
                </a:moveTo>
                <a:lnTo>
                  <a:pt x="2671307" y="4530775"/>
                </a:lnTo>
                <a:lnTo>
                  <a:pt x="2654907" y="4543531"/>
                </a:lnTo>
                <a:close/>
                <a:moveTo>
                  <a:pt x="2518245" y="4521664"/>
                </a:moveTo>
                <a:cubicBezTo>
                  <a:pt x="2525534" y="4528953"/>
                  <a:pt x="2532823" y="4536242"/>
                  <a:pt x="2540111" y="4543531"/>
                </a:cubicBezTo>
                <a:lnTo>
                  <a:pt x="2518245" y="4543531"/>
                </a:lnTo>
                <a:close/>
                <a:moveTo>
                  <a:pt x="3077651" y="4521663"/>
                </a:moveTo>
                <a:cubicBezTo>
                  <a:pt x="3097695" y="4528952"/>
                  <a:pt x="3081296" y="4528952"/>
                  <a:pt x="3099518" y="4521663"/>
                </a:cubicBezTo>
                <a:lnTo>
                  <a:pt x="3106806" y="4536242"/>
                </a:lnTo>
                <a:cubicBezTo>
                  <a:pt x="3139605" y="4523486"/>
                  <a:pt x="3106806" y="4541708"/>
                  <a:pt x="3137783" y="4528952"/>
                </a:cubicBezTo>
                <a:lnTo>
                  <a:pt x="3137783" y="4543531"/>
                </a:lnTo>
                <a:lnTo>
                  <a:pt x="3121384" y="4543531"/>
                </a:lnTo>
                <a:lnTo>
                  <a:pt x="3130494" y="4558108"/>
                </a:lnTo>
                <a:lnTo>
                  <a:pt x="3106806" y="4603662"/>
                </a:lnTo>
                <a:lnTo>
                  <a:pt x="3114095" y="4620062"/>
                </a:lnTo>
                <a:lnTo>
                  <a:pt x="3092229" y="4610951"/>
                </a:lnTo>
                <a:lnTo>
                  <a:pt x="3077651" y="4618239"/>
                </a:lnTo>
                <a:cubicBezTo>
                  <a:pt x="3072185" y="4594551"/>
                  <a:pt x="3066718" y="4589085"/>
                  <a:pt x="3053963" y="4572685"/>
                </a:cubicBezTo>
                <a:lnTo>
                  <a:pt x="3063074" y="4558108"/>
                </a:lnTo>
                <a:lnTo>
                  <a:pt x="3055785" y="4536242"/>
                </a:lnTo>
                <a:cubicBezTo>
                  <a:pt x="3077651" y="4530774"/>
                  <a:pt x="3066718" y="4538064"/>
                  <a:pt x="3077651" y="4521663"/>
                </a:cubicBezTo>
                <a:close/>
                <a:moveTo>
                  <a:pt x="3447553" y="4519842"/>
                </a:moveTo>
                <a:lnTo>
                  <a:pt x="3462131" y="4528952"/>
                </a:lnTo>
                <a:lnTo>
                  <a:pt x="3474886" y="4523485"/>
                </a:lnTo>
                <a:lnTo>
                  <a:pt x="3485820" y="4530774"/>
                </a:lnTo>
                <a:lnTo>
                  <a:pt x="3469420" y="4543529"/>
                </a:lnTo>
                <a:lnTo>
                  <a:pt x="3462131" y="4528953"/>
                </a:lnTo>
                <a:lnTo>
                  <a:pt x="3445731" y="4543531"/>
                </a:lnTo>
                <a:close/>
                <a:moveTo>
                  <a:pt x="3575106" y="4518020"/>
                </a:moveTo>
                <a:lnTo>
                  <a:pt x="3595150" y="4541709"/>
                </a:lnTo>
                <a:lnTo>
                  <a:pt x="3575106" y="4559930"/>
                </a:lnTo>
                <a:cubicBezTo>
                  <a:pt x="3565995" y="4539886"/>
                  <a:pt x="3569639" y="4545353"/>
                  <a:pt x="3575106" y="4518020"/>
                </a:cubicBezTo>
                <a:close/>
                <a:moveTo>
                  <a:pt x="3959584" y="4512552"/>
                </a:moveTo>
                <a:lnTo>
                  <a:pt x="3979628" y="4528952"/>
                </a:lnTo>
                <a:lnTo>
                  <a:pt x="3990561" y="4559929"/>
                </a:lnTo>
                <a:cubicBezTo>
                  <a:pt x="3985094" y="4565395"/>
                  <a:pt x="3983272" y="4569040"/>
                  <a:pt x="3981450" y="4570862"/>
                </a:cubicBezTo>
                <a:lnTo>
                  <a:pt x="3979831" y="4571267"/>
                </a:lnTo>
                <a:lnTo>
                  <a:pt x="3966873" y="4574506"/>
                </a:lnTo>
                <a:lnTo>
                  <a:pt x="3974161" y="4589084"/>
                </a:lnTo>
                <a:cubicBezTo>
                  <a:pt x="3924963" y="4583617"/>
                  <a:pt x="3957762" y="4570862"/>
                  <a:pt x="3921318" y="4558107"/>
                </a:cubicBezTo>
                <a:lnTo>
                  <a:pt x="3921318" y="4536241"/>
                </a:lnTo>
                <a:lnTo>
                  <a:pt x="3937718" y="4534419"/>
                </a:lnTo>
                <a:lnTo>
                  <a:pt x="3919496" y="4523485"/>
                </a:lnTo>
                <a:close/>
                <a:moveTo>
                  <a:pt x="3536841" y="4507087"/>
                </a:moveTo>
                <a:lnTo>
                  <a:pt x="3536841" y="4514376"/>
                </a:lnTo>
                <a:cubicBezTo>
                  <a:pt x="3514974" y="4514376"/>
                  <a:pt x="3509508" y="4519842"/>
                  <a:pt x="3498575" y="4528953"/>
                </a:cubicBezTo>
                <a:lnTo>
                  <a:pt x="3491286" y="4514376"/>
                </a:lnTo>
                <a:close/>
                <a:moveTo>
                  <a:pt x="2638508" y="4507086"/>
                </a:moveTo>
                <a:lnTo>
                  <a:pt x="2654908" y="4507086"/>
                </a:lnTo>
                <a:lnTo>
                  <a:pt x="2654908" y="4521663"/>
                </a:lnTo>
                <a:close/>
                <a:moveTo>
                  <a:pt x="3332757" y="4505265"/>
                </a:moveTo>
                <a:cubicBezTo>
                  <a:pt x="3323646" y="4539886"/>
                  <a:pt x="3327291" y="4519843"/>
                  <a:pt x="3310891" y="4536242"/>
                </a:cubicBezTo>
                <a:lnTo>
                  <a:pt x="3303602" y="4528954"/>
                </a:lnTo>
                <a:cubicBezTo>
                  <a:pt x="3316357" y="4508910"/>
                  <a:pt x="3307247" y="4514376"/>
                  <a:pt x="3332757" y="4505265"/>
                </a:cubicBezTo>
                <a:close/>
                <a:moveTo>
                  <a:pt x="2858992" y="4501620"/>
                </a:moveTo>
                <a:lnTo>
                  <a:pt x="2889969" y="4507087"/>
                </a:lnTo>
                <a:lnTo>
                  <a:pt x="2889969" y="4514375"/>
                </a:lnTo>
                <a:cubicBezTo>
                  <a:pt x="2868103" y="4514375"/>
                  <a:pt x="2862636" y="4519842"/>
                  <a:pt x="2851703" y="4528953"/>
                </a:cubicBezTo>
                <a:lnTo>
                  <a:pt x="2842592" y="4519842"/>
                </a:lnTo>
                <a:close/>
                <a:moveTo>
                  <a:pt x="2095500" y="4499797"/>
                </a:moveTo>
                <a:lnTo>
                  <a:pt x="2095500" y="4514375"/>
                </a:lnTo>
                <a:lnTo>
                  <a:pt x="2079100" y="4512552"/>
                </a:lnTo>
                <a:close/>
                <a:moveTo>
                  <a:pt x="3361911" y="4497976"/>
                </a:moveTo>
                <a:lnTo>
                  <a:pt x="3363733" y="4521664"/>
                </a:lnTo>
                <a:lnTo>
                  <a:pt x="3347333" y="4512553"/>
                </a:lnTo>
                <a:close/>
                <a:moveTo>
                  <a:pt x="3145073" y="4497976"/>
                </a:moveTo>
                <a:lnTo>
                  <a:pt x="3166938" y="4514375"/>
                </a:lnTo>
                <a:lnTo>
                  <a:pt x="3181516" y="4507086"/>
                </a:lnTo>
                <a:lnTo>
                  <a:pt x="3181516" y="4521663"/>
                </a:lnTo>
                <a:lnTo>
                  <a:pt x="3166939" y="4514376"/>
                </a:lnTo>
                <a:lnTo>
                  <a:pt x="3159650" y="4521664"/>
                </a:lnTo>
                <a:cubicBezTo>
                  <a:pt x="3168761" y="4541708"/>
                  <a:pt x="3172406" y="4528953"/>
                  <a:pt x="3152362" y="4543531"/>
                </a:cubicBezTo>
                <a:cubicBezTo>
                  <a:pt x="3148717" y="4510731"/>
                  <a:pt x="3152362" y="4530775"/>
                  <a:pt x="3137784" y="4507087"/>
                </a:cubicBezTo>
                <a:close/>
                <a:moveTo>
                  <a:pt x="41910" y="4497976"/>
                </a:moveTo>
                <a:lnTo>
                  <a:pt x="51021" y="4512553"/>
                </a:lnTo>
                <a:lnTo>
                  <a:pt x="38265" y="4519842"/>
                </a:lnTo>
                <a:lnTo>
                  <a:pt x="27332" y="4512553"/>
                </a:lnTo>
                <a:close/>
                <a:moveTo>
                  <a:pt x="3414753" y="4490687"/>
                </a:moveTo>
                <a:lnTo>
                  <a:pt x="3416576" y="4514376"/>
                </a:lnTo>
                <a:lnTo>
                  <a:pt x="3400176" y="4505265"/>
                </a:lnTo>
                <a:close/>
                <a:moveTo>
                  <a:pt x="3473064" y="4488865"/>
                </a:moveTo>
                <a:lnTo>
                  <a:pt x="3470029" y="4490686"/>
                </a:lnTo>
                <a:lnTo>
                  <a:pt x="3476251" y="4490686"/>
                </a:lnTo>
                <a:close/>
                <a:moveTo>
                  <a:pt x="3441827" y="4483919"/>
                </a:moveTo>
                <a:lnTo>
                  <a:pt x="3438443" y="4490686"/>
                </a:lnTo>
                <a:lnTo>
                  <a:pt x="3456207" y="4490686"/>
                </a:lnTo>
                <a:close/>
                <a:moveTo>
                  <a:pt x="3892164" y="4483399"/>
                </a:moveTo>
                <a:lnTo>
                  <a:pt x="3883054" y="4507087"/>
                </a:lnTo>
                <a:lnTo>
                  <a:pt x="3855721" y="4536242"/>
                </a:lnTo>
                <a:lnTo>
                  <a:pt x="3846610" y="4507087"/>
                </a:lnTo>
                <a:lnTo>
                  <a:pt x="3883053" y="4507087"/>
                </a:lnTo>
                <a:lnTo>
                  <a:pt x="3875764" y="4492510"/>
                </a:lnTo>
                <a:close/>
                <a:moveTo>
                  <a:pt x="2104612" y="4481575"/>
                </a:moveTo>
                <a:lnTo>
                  <a:pt x="2119190" y="4499797"/>
                </a:lnTo>
                <a:lnTo>
                  <a:pt x="2095501" y="4499797"/>
                </a:lnTo>
                <a:close/>
                <a:moveTo>
                  <a:pt x="3327291" y="4474288"/>
                </a:moveTo>
                <a:lnTo>
                  <a:pt x="3356446" y="4490688"/>
                </a:lnTo>
                <a:lnTo>
                  <a:pt x="3318180" y="4499799"/>
                </a:lnTo>
                <a:close/>
                <a:moveTo>
                  <a:pt x="2791570" y="4468820"/>
                </a:moveTo>
                <a:lnTo>
                  <a:pt x="2782459" y="4497975"/>
                </a:lnTo>
                <a:lnTo>
                  <a:pt x="2798859" y="4508908"/>
                </a:lnTo>
                <a:lnTo>
                  <a:pt x="2791570" y="4521663"/>
                </a:lnTo>
                <a:lnTo>
                  <a:pt x="2797037" y="4530774"/>
                </a:lnTo>
                <a:cubicBezTo>
                  <a:pt x="2789748" y="4538063"/>
                  <a:pt x="2782459" y="4545351"/>
                  <a:pt x="2775171" y="4552640"/>
                </a:cubicBezTo>
                <a:cubicBezTo>
                  <a:pt x="2755127" y="4543529"/>
                  <a:pt x="2771526" y="4545351"/>
                  <a:pt x="2753305" y="4548996"/>
                </a:cubicBezTo>
                <a:lnTo>
                  <a:pt x="2736905" y="4545351"/>
                </a:lnTo>
                <a:cubicBezTo>
                  <a:pt x="2736905" y="4512552"/>
                  <a:pt x="2738727" y="4528952"/>
                  <a:pt x="2729616" y="4514375"/>
                </a:cubicBezTo>
                <a:cubicBezTo>
                  <a:pt x="2736905" y="4494331"/>
                  <a:pt x="2736905" y="4510730"/>
                  <a:pt x="2729616" y="4492509"/>
                </a:cubicBezTo>
                <a:close/>
                <a:moveTo>
                  <a:pt x="2910011" y="4461533"/>
                </a:moveTo>
                <a:lnTo>
                  <a:pt x="2926411" y="4468822"/>
                </a:lnTo>
                <a:lnTo>
                  <a:pt x="2926411" y="4483398"/>
                </a:lnTo>
                <a:lnTo>
                  <a:pt x="2942811" y="4485220"/>
                </a:lnTo>
                <a:lnTo>
                  <a:pt x="2926411" y="4499798"/>
                </a:lnTo>
                <a:lnTo>
                  <a:pt x="2926411" y="4483399"/>
                </a:lnTo>
                <a:lnTo>
                  <a:pt x="2910011" y="4483399"/>
                </a:lnTo>
                <a:close/>
                <a:moveTo>
                  <a:pt x="3039387" y="4454244"/>
                </a:moveTo>
                <a:lnTo>
                  <a:pt x="3053965" y="4468822"/>
                </a:lnTo>
                <a:lnTo>
                  <a:pt x="3075831" y="4461533"/>
                </a:lnTo>
                <a:lnTo>
                  <a:pt x="3075831" y="4483399"/>
                </a:lnTo>
                <a:lnTo>
                  <a:pt x="3039387" y="4483399"/>
                </a:lnTo>
                <a:lnTo>
                  <a:pt x="3030276" y="4468822"/>
                </a:lnTo>
                <a:close/>
                <a:moveTo>
                  <a:pt x="1093305" y="4454243"/>
                </a:moveTo>
                <a:lnTo>
                  <a:pt x="1091484" y="4470643"/>
                </a:lnTo>
                <a:lnTo>
                  <a:pt x="1076905" y="4456066"/>
                </a:lnTo>
                <a:close/>
                <a:moveTo>
                  <a:pt x="3491017" y="4452421"/>
                </a:moveTo>
                <a:lnTo>
                  <a:pt x="3491286" y="4452421"/>
                </a:lnTo>
                <a:lnTo>
                  <a:pt x="3491230" y="4452605"/>
                </a:lnTo>
                <a:close/>
                <a:moveTo>
                  <a:pt x="2902724" y="4446955"/>
                </a:moveTo>
                <a:lnTo>
                  <a:pt x="2910013" y="4461533"/>
                </a:lnTo>
                <a:lnTo>
                  <a:pt x="2910011" y="4461533"/>
                </a:lnTo>
                <a:lnTo>
                  <a:pt x="2895435" y="4461533"/>
                </a:lnTo>
                <a:lnTo>
                  <a:pt x="2893613" y="4485221"/>
                </a:lnTo>
                <a:lnTo>
                  <a:pt x="2880858" y="4461533"/>
                </a:lnTo>
                <a:close/>
                <a:moveTo>
                  <a:pt x="2971967" y="4439666"/>
                </a:moveTo>
                <a:lnTo>
                  <a:pt x="2977433" y="4470643"/>
                </a:lnTo>
                <a:lnTo>
                  <a:pt x="2964678" y="4463355"/>
                </a:lnTo>
                <a:lnTo>
                  <a:pt x="2950100" y="4477932"/>
                </a:lnTo>
                <a:cubicBezTo>
                  <a:pt x="2955567" y="4448777"/>
                  <a:pt x="2951923" y="4452422"/>
                  <a:pt x="2971967" y="4439666"/>
                </a:cubicBezTo>
                <a:close/>
                <a:moveTo>
                  <a:pt x="2350605" y="4439666"/>
                </a:moveTo>
                <a:lnTo>
                  <a:pt x="2357894" y="4445133"/>
                </a:lnTo>
                <a:lnTo>
                  <a:pt x="2350605" y="4476110"/>
                </a:lnTo>
                <a:cubicBezTo>
                  <a:pt x="2332383" y="4463355"/>
                  <a:pt x="2336028" y="4472465"/>
                  <a:pt x="2330561" y="4446955"/>
                </a:cubicBezTo>
                <a:close/>
                <a:moveTo>
                  <a:pt x="3762789" y="4437843"/>
                </a:moveTo>
                <a:lnTo>
                  <a:pt x="3777367" y="4454243"/>
                </a:lnTo>
                <a:lnTo>
                  <a:pt x="3762789" y="4454243"/>
                </a:lnTo>
                <a:close/>
                <a:moveTo>
                  <a:pt x="2465401" y="4437843"/>
                </a:moveTo>
                <a:lnTo>
                  <a:pt x="2479979" y="4454243"/>
                </a:lnTo>
                <a:lnTo>
                  <a:pt x="2465401" y="4454243"/>
                </a:lnTo>
                <a:close/>
                <a:moveTo>
                  <a:pt x="3671682" y="4431972"/>
                </a:moveTo>
                <a:lnTo>
                  <a:pt x="3671682" y="4445133"/>
                </a:lnTo>
                <a:lnTo>
                  <a:pt x="3688081" y="4445133"/>
                </a:lnTo>
                <a:lnTo>
                  <a:pt x="3680793" y="4457888"/>
                </a:lnTo>
                <a:lnTo>
                  <a:pt x="3649816" y="4452422"/>
                </a:lnTo>
                <a:lnTo>
                  <a:pt x="3649816" y="4466999"/>
                </a:lnTo>
                <a:lnTo>
                  <a:pt x="3635238" y="4466999"/>
                </a:lnTo>
                <a:cubicBezTo>
                  <a:pt x="3638883" y="4437844"/>
                  <a:pt x="3638883" y="4436022"/>
                  <a:pt x="3657104" y="4443311"/>
                </a:cubicBezTo>
                <a:close/>
                <a:moveTo>
                  <a:pt x="3671682" y="4430555"/>
                </a:moveTo>
                <a:lnTo>
                  <a:pt x="3673504" y="4430555"/>
                </a:lnTo>
                <a:lnTo>
                  <a:pt x="3671682" y="4431972"/>
                </a:lnTo>
                <a:close/>
                <a:moveTo>
                  <a:pt x="1069617" y="4430555"/>
                </a:moveTo>
                <a:cubicBezTo>
                  <a:pt x="1055040" y="4459710"/>
                  <a:pt x="1075084" y="4452422"/>
                  <a:pt x="1038639" y="4452422"/>
                </a:cubicBezTo>
                <a:cubicBezTo>
                  <a:pt x="1053217" y="4434200"/>
                  <a:pt x="1044106" y="4437844"/>
                  <a:pt x="1069617" y="4430555"/>
                </a:cubicBezTo>
                <a:close/>
                <a:moveTo>
                  <a:pt x="2753306" y="4425089"/>
                </a:moveTo>
                <a:lnTo>
                  <a:pt x="2775172" y="4446955"/>
                </a:lnTo>
                <a:cubicBezTo>
                  <a:pt x="2742372" y="4437844"/>
                  <a:pt x="2764239" y="4446955"/>
                  <a:pt x="2753306" y="4425089"/>
                </a:cubicBezTo>
                <a:close/>
                <a:moveTo>
                  <a:pt x="2654908" y="4423267"/>
                </a:moveTo>
                <a:cubicBezTo>
                  <a:pt x="2682241" y="4430556"/>
                  <a:pt x="2674952" y="4425090"/>
                  <a:pt x="2676774" y="4454244"/>
                </a:cubicBezTo>
                <a:lnTo>
                  <a:pt x="2654908" y="4454244"/>
                </a:lnTo>
                <a:close/>
                <a:moveTo>
                  <a:pt x="3808344" y="4423266"/>
                </a:moveTo>
                <a:lnTo>
                  <a:pt x="3846610" y="4423266"/>
                </a:lnTo>
                <a:lnTo>
                  <a:pt x="3846610" y="4428733"/>
                </a:lnTo>
                <a:lnTo>
                  <a:pt x="3808344" y="4439666"/>
                </a:lnTo>
                <a:close/>
                <a:moveTo>
                  <a:pt x="3740923" y="4423266"/>
                </a:moveTo>
                <a:lnTo>
                  <a:pt x="3757323" y="4425089"/>
                </a:lnTo>
                <a:lnTo>
                  <a:pt x="3742745" y="4439666"/>
                </a:lnTo>
                <a:close/>
                <a:moveTo>
                  <a:pt x="1000374" y="4421444"/>
                </a:moveTo>
                <a:lnTo>
                  <a:pt x="978507" y="4443310"/>
                </a:lnTo>
                <a:lnTo>
                  <a:pt x="1002196" y="4445132"/>
                </a:lnTo>
                <a:close/>
                <a:moveTo>
                  <a:pt x="3582395" y="4415977"/>
                </a:moveTo>
                <a:lnTo>
                  <a:pt x="3573284" y="4432377"/>
                </a:lnTo>
                <a:lnTo>
                  <a:pt x="3560528" y="4424405"/>
                </a:lnTo>
                <a:lnTo>
                  <a:pt x="3560528" y="4445133"/>
                </a:lnTo>
                <a:lnTo>
                  <a:pt x="3575106" y="4454244"/>
                </a:lnTo>
                <a:lnTo>
                  <a:pt x="3536840" y="4454244"/>
                </a:lnTo>
                <a:cubicBezTo>
                  <a:pt x="3542307" y="4433745"/>
                  <a:pt x="3541623" y="4433744"/>
                  <a:pt x="3549396" y="4429644"/>
                </a:cubicBezTo>
                <a:lnTo>
                  <a:pt x="3559578" y="4423811"/>
                </a:lnTo>
                <a:lnTo>
                  <a:pt x="3558706" y="4423266"/>
                </a:lnTo>
                <a:close/>
                <a:moveTo>
                  <a:pt x="3518429" y="4413275"/>
                </a:moveTo>
                <a:lnTo>
                  <a:pt x="3520440" y="4417800"/>
                </a:lnTo>
                <a:lnTo>
                  <a:pt x="3518481" y="4416984"/>
                </a:lnTo>
                <a:lnTo>
                  <a:pt x="3517821" y="4413643"/>
                </a:lnTo>
                <a:close/>
                <a:moveTo>
                  <a:pt x="4116290" y="4406866"/>
                </a:moveTo>
                <a:lnTo>
                  <a:pt x="4118113" y="4423266"/>
                </a:lnTo>
                <a:lnTo>
                  <a:pt x="4101713" y="4421443"/>
                </a:lnTo>
                <a:close/>
                <a:moveTo>
                  <a:pt x="1463205" y="4403223"/>
                </a:moveTo>
                <a:cubicBezTo>
                  <a:pt x="1478694" y="4404134"/>
                  <a:pt x="1485072" y="4404590"/>
                  <a:pt x="1489172" y="4407323"/>
                </a:cubicBezTo>
                <a:lnTo>
                  <a:pt x="1500560" y="4423773"/>
                </a:lnTo>
                <a:lnTo>
                  <a:pt x="1516049" y="4432378"/>
                </a:lnTo>
                <a:lnTo>
                  <a:pt x="1499649" y="4446956"/>
                </a:lnTo>
                <a:lnTo>
                  <a:pt x="1499649" y="4426153"/>
                </a:lnTo>
                <a:lnTo>
                  <a:pt x="1479605" y="4437845"/>
                </a:lnTo>
                <a:lnTo>
                  <a:pt x="1463205" y="4425090"/>
                </a:lnTo>
                <a:cubicBezTo>
                  <a:pt x="1472316" y="4406868"/>
                  <a:pt x="1470494" y="4423267"/>
                  <a:pt x="1463205" y="4403223"/>
                </a:cubicBezTo>
                <a:close/>
                <a:moveTo>
                  <a:pt x="3392888" y="4401400"/>
                </a:moveTo>
                <a:lnTo>
                  <a:pt x="3371022" y="4423266"/>
                </a:lnTo>
                <a:cubicBezTo>
                  <a:pt x="3396532" y="4412333"/>
                  <a:pt x="3385600" y="4434199"/>
                  <a:pt x="3392888" y="4401400"/>
                </a:cubicBezTo>
                <a:close/>
                <a:moveTo>
                  <a:pt x="2904546" y="4392290"/>
                </a:moveTo>
                <a:lnTo>
                  <a:pt x="2926413" y="4392290"/>
                </a:lnTo>
                <a:cubicBezTo>
                  <a:pt x="2913657" y="4408690"/>
                  <a:pt x="2924590" y="4403223"/>
                  <a:pt x="2904546" y="4408690"/>
                </a:cubicBezTo>
                <a:lnTo>
                  <a:pt x="2893613" y="4432378"/>
                </a:lnTo>
                <a:lnTo>
                  <a:pt x="2880858" y="4415979"/>
                </a:lnTo>
                <a:cubicBezTo>
                  <a:pt x="2904546" y="4406868"/>
                  <a:pt x="2886325" y="4425089"/>
                  <a:pt x="2904546" y="4392290"/>
                </a:cubicBezTo>
                <a:close/>
                <a:moveTo>
                  <a:pt x="3259869" y="4386823"/>
                </a:moveTo>
                <a:lnTo>
                  <a:pt x="3236181" y="4394111"/>
                </a:lnTo>
                <a:cubicBezTo>
                  <a:pt x="3247114" y="4415978"/>
                  <a:pt x="3221604" y="4395934"/>
                  <a:pt x="3250759" y="4415978"/>
                </a:cubicBezTo>
                <a:close/>
                <a:moveTo>
                  <a:pt x="3558706" y="4386822"/>
                </a:moveTo>
                <a:lnTo>
                  <a:pt x="3582395" y="4386822"/>
                </a:lnTo>
                <a:lnTo>
                  <a:pt x="3573284" y="4403222"/>
                </a:lnTo>
                <a:close/>
                <a:moveTo>
                  <a:pt x="1946083" y="4385001"/>
                </a:moveTo>
                <a:lnTo>
                  <a:pt x="1967948" y="4385001"/>
                </a:lnTo>
                <a:cubicBezTo>
                  <a:pt x="1951549" y="4421445"/>
                  <a:pt x="1971593" y="4381357"/>
                  <a:pt x="1967948" y="4406868"/>
                </a:cubicBezTo>
                <a:lnTo>
                  <a:pt x="1946083" y="4406868"/>
                </a:lnTo>
                <a:close/>
                <a:moveTo>
                  <a:pt x="3285380" y="4385000"/>
                </a:moveTo>
                <a:lnTo>
                  <a:pt x="3270803" y="4399578"/>
                </a:lnTo>
                <a:lnTo>
                  <a:pt x="3287202" y="4410511"/>
                </a:lnTo>
                <a:close/>
                <a:moveTo>
                  <a:pt x="2880857" y="4385000"/>
                </a:moveTo>
                <a:lnTo>
                  <a:pt x="2879035" y="4403222"/>
                </a:lnTo>
                <a:lnTo>
                  <a:pt x="2864457" y="4386823"/>
                </a:lnTo>
                <a:close/>
                <a:moveTo>
                  <a:pt x="1191703" y="4385000"/>
                </a:moveTo>
                <a:lnTo>
                  <a:pt x="1189880" y="4403222"/>
                </a:lnTo>
                <a:lnTo>
                  <a:pt x="1173481" y="4386823"/>
                </a:lnTo>
                <a:close/>
                <a:moveTo>
                  <a:pt x="3873943" y="4377712"/>
                </a:moveTo>
                <a:lnTo>
                  <a:pt x="3883054" y="4392290"/>
                </a:lnTo>
                <a:lnTo>
                  <a:pt x="3870298" y="4399578"/>
                </a:lnTo>
                <a:lnTo>
                  <a:pt x="3859365" y="4392290"/>
                </a:lnTo>
                <a:close/>
                <a:moveTo>
                  <a:pt x="2379761" y="4372245"/>
                </a:moveTo>
                <a:cubicBezTo>
                  <a:pt x="2399804" y="4381356"/>
                  <a:pt x="2383405" y="4381356"/>
                  <a:pt x="2401627" y="4374068"/>
                </a:cubicBezTo>
                <a:lnTo>
                  <a:pt x="2418026" y="4386823"/>
                </a:lnTo>
                <a:cubicBezTo>
                  <a:pt x="2418026" y="4386823"/>
                  <a:pt x="2410738" y="4399578"/>
                  <a:pt x="2410738" y="4401400"/>
                </a:cubicBezTo>
                <a:cubicBezTo>
                  <a:pt x="2410738" y="4415978"/>
                  <a:pt x="2412560" y="4415978"/>
                  <a:pt x="2416204" y="4423266"/>
                </a:cubicBezTo>
                <a:lnTo>
                  <a:pt x="2403449" y="4439666"/>
                </a:lnTo>
                <a:cubicBezTo>
                  <a:pt x="2385227" y="4430555"/>
                  <a:pt x="2401627" y="4432377"/>
                  <a:pt x="2381583" y="4439666"/>
                </a:cubicBezTo>
                <a:cubicBezTo>
                  <a:pt x="2372472" y="4425088"/>
                  <a:pt x="2367005" y="4425088"/>
                  <a:pt x="2367005" y="4408689"/>
                </a:cubicBezTo>
                <a:lnTo>
                  <a:pt x="2365183" y="4408689"/>
                </a:lnTo>
                <a:lnTo>
                  <a:pt x="2365183" y="4403222"/>
                </a:lnTo>
                <a:cubicBezTo>
                  <a:pt x="2365183" y="4385000"/>
                  <a:pt x="2370650" y="4385000"/>
                  <a:pt x="2379761" y="4372245"/>
                </a:cubicBezTo>
                <a:close/>
                <a:moveTo>
                  <a:pt x="1734710" y="4370424"/>
                </a:moveTo>
                <a:lnTo>
                  <a:pt x="1756575" y="4379535"/>
                </a:lnTo>
                <a:lnTo>
                  <a:pt x="1772976" y="4370424"/>
                </a:lnTo>
                <a:lnTo>
                  <a:pt x="1762043" y="4403223"/>
                </a:lnTo>
                <a:lnTo>
                  <a:pt x="1749287" y="4385001"/>
                </a:lnTo>
                <a:lnTo>
                  <a:pt x="1734710" y="4394112"/>
                </a:lnTo>
                <a:close/>
                <a:moveTo>
                  <a:pt x="406345" y="4370424"/>
                </a:moveTo>
                <a:lnTo>
                  <a:pt x="428211" y="4370424"/>
                </a:lnTo>
                <a:cubicBezTo>
                  <a:pt x="419100" y="4388646"/>
                  <a:pt x="420923" y="4372246"/>
                  <a:pt x="428211" y="4392290"/>
                </a:cubicBezTo>
                <a:lnTo>
                  <a:pt x="406345" y="4392290"/>
                </a:lnTo>
                <a:cubicBezTo>
                  <a:pt x="415456" y="4374069"/>
                  <a:pt x="413634" y="4390468"/>
                  <a:pt x="406345" y="4370424"/>
                </a:cubicBezTo>
                <a:close/>
                <a:moveTo>
                  <a:pt x="3203382" y="4370423"/>
                </a:moveTo>
                <a:lnTo>
                  <a:pt x="3165116" y="4375890"/>
                </a:lnTo>
                <a:lnTo>
                  <a:pt x="3135962" y="4377712"/>
                </a:lnTo>
                <a:lnTo>
                  <a:pt x="3135962" y="4386823"/>
                </a:lnTo>
                <a:lnTo>
                  <a:pt x="3159650" y="4390467"/>
                </a:lnTo>
                <a:lnTo>
                  <a:pt x="3174227" y="4386823"/>
                </a:lnTo>
                <a:lnTo>
                  <a:pt x="3188805" y="4403222"/>
                </a:lnTo>
                <a:cubicBezTo>
                  <a:pt x="3201560" y="4383178"/>
                  <a:pt x="3199738" y="4392289"/>
                  <a:pt x="3203382" y="4370423"/>
                </a:cubicBezTo>
                <a:close/>
                <a:moveTo>
                  <a:pt x="1634491" y="4368602"/>
                </a:moveTo>
                <a:lnTo>
                  <a:pt x="1636312" y="4394113"/>
                </a:lnTo>
                <a:lnTo>
                  <a:pt x="1619912" y="4385002"/>
                </a:lnTo>
                <a:close/>
                <a:moveTo>
                  <a:pt x="2563799" y="4363135"/>
                </a:moveTo>
                <a:lnTo>
                  <a:pt x="2561977" y="4386824"/>
                </a:lnTo>
                <a:lnTo>
                  <a:pt x="2547399" y="4372246"/>
                </a:lnTo>
                <a:close/>
                <a:moveTo>
                  <a:pt x="1703733" y="4355845"/>
                </a:moveTo>
                <a:lnTo>
                  <a:pt x="1701911" y="4372245"/>
                </a:lnTo>
                <a:lnTo>
                  <a:pt x="1687333" y="4357667"/>
                </a:lnTo>
                <a:close/>
                <a:moveTo>
                  <a:pt x="2505490" y="4350380"/>
                </a:moveTo>
                <a:lnTo>
                  <a:pt x="2481802" y="4372246"/>
                </a:lnTo>
                <a:lnTo>
                  <a:pt x="2472691" y="4354025"/>
                </a:lnTo>
                <a:close/>
                <a:moveTo>
                  <a:pt x="2882679" y="4348558"/>
                </a:moveTo>
                <a:lnTo>
                  <a:pt x="2886323" y="4379535"/>
                </a:lnTo>
                <a:lnTo>
                  <a:pt x="2866279" y="4355847"/>
                </a:lnTo>
                <a:close/>
                <a:moveTo>
                  <a:pt x="3695369" y="4348557"/>
                </a:moveTo>
                <a:lnTo>
                  <a:pt x="3695369" y="4363135"/>
                </a:lnTo>
                <a:lnTo>
                  <a:pt x="3678969" y="4361313"/>
                </a:lnTo>
                <a:close/>
                <a:moveTo>
                  <a:pt x="2789749" y="4348557"/>
                </a:moveTo>
                <a:cubicBezTo>
                  <a:pt x="2773350" y="4372246"/>
                  <a:pt x="2795216" y="4359490"/>
                  <a:pt x="2758772" y="4363135"/>
                </a:cubicBezTo>
                <a:cubicBezTo>
                  <a:pt x="2776994" y="4341269"/>
                  <a:pt x="2755128" y="4352202"/>
                  <a:pt x="2789749" y="4348557"/>
                </a:cubicBezTo>
                <a:close/>
                <a:moveTo>
                  <a:pt x="2835304" y="4341269"/>
                </a:moveTo>
                <a:lnTo>
                  <a:pt x="2835304" y="4363135"/>
                </a:lnTo>
                <a:cubicBezTo>
                  <a:pt x="2793393" y="4350380"/>
                  <a:pt x="2826193" y="4346736"/>
                  <a:pt x="2835304" y="4341269"/>
                </a:cubicBezTo>
                <a:close/>
                <a:moveTo>
                  <a:pt x="2419848" y="4341269"/>
                </a:moveTo>
                <a:lnTo>
                  <a:pt x="2450825" y="4341269"/>
                </a:lnTo>
                <a:lnTo>
                  <a:pt x="2441714" y="4355847"/>
                </a:lnTo>
                <a:lnTo>
                  <a:pt x="2458114" y="4370424"/>
                </a:lnTo>
                <a:lnTo>
                  <a:pt x="2436248" y="4385001"/>
                </a:lnTo>
                <a:lnTo>
                  <a:pt x="2412559" y="4363135"/>
                </a:lnTo>
                <a:close/>
                <a:moveTo>
                  <a:pt x="2381582" y="4341268"/>
                </a:moveTo>
                <a:lnTo>
                  <a:pt x="2405271" y="4341268"/>
                </a:lnTo>
                <a:lnTo>
                  <a:pt x="2396160" y="4357668"/>
                </a:lnTo>
                <a:close/>
                <a:moveTo>
                  <a:pt x="2911834" y="4339447"/>
                </a:moveTo>
                <a:lnTo>
                  <a:pt x="2933700" y="4339447"/>
                </a:lnTo>
                <a:cubicBezTo>
                  <a:pt x="2937344" y="4368602"/>
                  <a:pt x="2937344" y="4368602"/>
                  <a:pt x="2964677" y="4370424"/>
                </a:cubicBezTo>
                <a:lnTo>
                  <a:pt x="2961033" y="4394112"/>
                </a:lnTo>
                <a:lnTo>
                  <a:pt x="2957388" y="4375891"/>
                </a:lnTo>
                <a:cubicBezTo>
                  <a:pt x="2933700" y="4381357"/>
                  <a:pt x="2944633" y="4377713"/>
                  <a:pt x="2926411" y="4390468"/>
                </a:cubicBezTo>
                <a:cubicBezTo>
                  <a:pt x="2911834" y="4372246"/>
                  <a:pt x="2928233" y="4375891"/>
                  <a:pt x="2895434" y="4375891"/>
                </a:cubicBezTo>
                <a:lnTo>
                  <a:pt x="2895434" y="4368602"/>
                </a:lnTo>
                <a:lnTo>
                  <a:pt x="2919123" y="4368602"/>
                </a:lnTo>
                <a:lnTo>
                  <a:pt x="2911834" y="4354025"/>
                </a:lnTo>
                <a:lnTo>
                  <a:pt x="2928233" y="4352203"/>
                </a:lnTo>
                <a:close/>
                <a:moveTo>
                  <a:pt x="965752" y="4339446"/>
                </a:moveTo>
                <a:cubicBezTo>
                  <a:pt x="985796" y="4348557"/>
                  <a:pt x="969396" y="4346735"/>
                  <a:pt x="987618" y="4341269"/>
                </a:cubicBezTo>
                <a:lnTo>
                  <a:pt x="1018596" y="4370423"/>
                </a:lnTo>
                <a:lnTo>
                  <a:pt x="1011307" y="4392289"/>
                </a:lnTo>
                <a:lnTo>
                  <a:pt x="1033174" y="4401400"/>
                </a:lnTo>
                <a:lnTo>
                  <a:pt x="1025885" y="4415978"/>
                </a:lnTo>
                <a:cubicBezTo>
                  <a:pt x="1034996" y="4423266"/>
                  <a:pt x="1033174" y="4403222"/>
                  <a:pt x="1033174" y="4430555"/>
                </a:cubicBezTo>
                <a:lnTo>
                  <a:pt x="1033174" y="4452421"/>
                </a:lnTo>
                <a:lnTo>
                  <a:pt x="1000374" y="4452421"/>
                </a:lnTo>
                <a:lnTo>
                  <a:pt x="1011307" y="4499798"/>
                </a:lnTo>
                <a:lnTo>
                  <a:pt x="978507" y="4528952"/>
                </a:lnTo>
                <a:lnTo>
                  <a:pt x="989441" y="4539885"/>
                </a:lnTo>
                <a:lnTo>
                  <a:pt x="983974" y="4548996"/>
                </a:lnTo>
                <a:lnTo>
                  <a:pt x="952997" y="4541708"/>
                </a:lnTo>
                <a:lnTo>
                  <a:pt x="960286" y="4527130"/>
                </a:lnTo>
                <a:lnTo>
                  <a:pt x="938419" y="4525308"/>
                </a:lnTo>
                <a:lnTo>
                  <a:pt x="922020" y="4510731"/>
                </a:lnTo>
                <a:lnTo>
                  <a:pt x="929309" y="4496153"/>
                </a:lnTo>
                <a:cubicBezTo>
                  <a:pt x="920198" y="4496153"/>
                  <a:pt x="922020" y="4499798"/>
                  <a:pt x="922020" y="4488865"/>
                </a:cubicBezTo>
                <a:cubicBezTo>
                  <a:pt x="922020" y="4459710"/>
                  <a:pt x="920198" y="4485220"/>
                  <a:pt x="929309" y="4474287"/>
                </a:cubicBezTo>
                <a:cubicBezTo>
                  <a:pt x="922020" y="4454243"/>
                  <a:pt x="922020" y="4470643"/>
                  <a:pt x="929309" y="4452421"/>
                </a:cubicBezTo>
                <a:lnTo>
                  <a:pt x="914731" y="4445132"/>
                </a:lnTo>
                <a:cubicBezTo>
                  <a:pt x="914731" y="4445132"/>
                  <a:pt x="922020" y="4432377"/>
                  <a:pt x="922020" y="4430555"/>
                </a:cubicBezTo>
                <a:cubicBezTo>
                  <a:pt x="922020" y="4419622"/>
                  <a:pt x="922020" y="4415978"/>
                  <a:pt x="922020" y="4415978"/>
                </a:cubicBezTo>
                <a:cubicBezTo>
                  <a:pt x="922020" y="4415978"/>
                  <a:pt x="922020" y="4417800"/>
                  <a:pt x="918376" y="4408689"/>
                </a:cubicBezTo>
                <a:lnTo>
                  <a:pt x="922020" y="4385001"/>
                </a:lnTo>
                <a:cubicBezTo>
                  <a:pt x="940242" y="4370423"/>
                  <a:pt x="936597" y="4379534"/>
                  <a:pt x="943886" y="4354024"/>
                </a:cubicBezTo>
                <a:cubicBezTo>
                  <a:pt x="965752" y="4348557"/>
                  <a:pt x="954819" y="4355846"/>
                  <a:pt x="965752" y="4339446"/>
                </a:cubicBezTo>
                <a:close/>
                <a:moveTo>
                  <a:pt x="3469419" y="4333980"/>
                </a:moveTo>
                <a:lnTo>
                  <a:pt x="3476708" y="4348557"/>
                </a:lnTo>
                <a:lnTo>
                  <a:pt x="3454842" y="4348557"/>
                </a:lnTo>
                <a:lnTo>
                  <a:pt x="3467597" y="4364957"/>
                </a:lnTo>
                <a:lnTo>
                  <a:pt x="3476708" y="4348557"/>
                </a:lnTo>
                <a:lnTo>
                  <a:pt x="3493108" y="4335802"/>
                </a:lnTo>
                <a:close/>
                <a:moveTo>
                  <a:pt x="2662197" y="4333980"/>
                </a:moveTo>
                <a:lnTo>
                  <a:pt x="2685885" y="4341269"/>
                </a:lnTo>
                <a:lnTo>
                  <a:pt x="2674952" y="4364957"/>
                </a:lnTo>
                <a:lnTo>
                  <a:pt x="2653086" y="4343091"/>
                </a:lnTo>
                <a:close/>
                <a:moveTo>
                  <a:pt x="3801055" y="4333979"/>
                </a:moveTo>
                <a:lnTo>
                  <a:pt x="3817455" y="4333979"/>
                </a:lnTo>
                <a:lnTo>
                  <a:pt x="3802877" y="4350379"/>
                </a:lnTo>
                <a:close/>
                <a:moveTo>
                  <a:pt x="3718251" y="4329275"/>
                </a:moveTo>
                <a:lnTo>
                  <a:pt x="3709948" y="4355847"/>
                </a:lnTo>
                <a:lnTo>
                  <a:pt x="3723841" y="4369740"/>
                </a:lnTo>
                <a:cubicBezTo>
                  <a:pt x="3728168" y="4361768"/>
                  <a:pt x="3732724" y="4354024"/>
                  <a:pt x="3739101" y="4344913"/>
                </a:cubicBezTo>
                <a:close/>
                <a:moveTo>
                  <a:pt x="3853899" y="4317581"/>
                </a:moveTo>
                <a:lnTo>
                  <a:pt x="3875765" y="4317581"/>
                </a:lnTo>
                <a:cubicBezTo>
                  <a:pt x="3863010" y="4337625"/>
                  <a:pt x="3866654" y="4341270"/>
                  <a:pt x="3848432" y="4348558"/>
                </a:cubicBezTo>
                <a:close/>
                <a:moveTo>
                  <a:pt x="770779" y="4308470"/>
                </a:moveTo>
                <a:lnTo>
                  <a:pt x="783535" y="4324870"/>
                </a:lnTo>
                <a:lnTo>
                  <a:pt x="768957" y="4333981"/>
                </a:lnTo>
                <a:close/>
                <a:moveTo>
                  <a:pt x="3564173" y="4301181"/>
                </a:moveTo>
                <a:lnTo>
                  <a:pt x="3542306" y="4323047"/>
                </a:lnTo>
                <a:lnTo>
                  <a:pt x="3565995" y="4333980"/>
                </a:lnTo>
                <a:close/>
                <a:moveTo>
                  <a:pt x="1055038" y="4295715"/>
                </a:moveTo>
                <a:lnTo>
                  <a:pt x="1069616" y="4295715"/>
                </a:lnTo>
                <a:lnTo>
                  <a:pt x="1076904" y="4317581"/>
                </a:lnTo>
                <a:lnTo>
                  <a:pt x="1055038" y="4317581"/>
                </a:lnTo>
                <a:close/>
                <a:moveTo>
                  <a:pt x="2186609" y="4288426"/>
                </a:moveTo>
                <a:cubicBezTo>
                  <a:pt x="2199364" y="4319403"/>
                  <a:pt x="2181143" y="4286604"/>
                  <a:pt x="2193898" y="4319403"/>
                </a:cubicBezTo>
                <a:lnTo>
                  <a:pt x="2164743" y="4310292"/>
                </a:lnTo>
                <a:lnTo>
                  <a:pt x="2155633" y="4326691"/>
                </a:lnTo>
                <a:lnTo>
                  <a:pt x="2141055" y="4310291"/>
                </a:lnTo>
                <a:lnTo>
                  <a:pt x="2164743" y="4310291"/>
                </a:lnTo>
                <a:close/>
                <a:moveTo>
                  <a:pt x="1807596" y="4288426"/>
                </a:moveTo>
                <a:lnTo>
                  <a:pt x="1814886" y="4295715"/>
                </a:lnTo>
                <a:lnTo>
                  <a:pt x="1807596" y="4324870"/>
                </a:lnTo>
                <a:lnTo>
                  <a:pt x="1785730" y="4308470"/>
                </a:lnTo>
                <a:close/>
                <a:moveTo>
                  <a:pt x="903798" y="4288426"/>
                </a:moveTo>
                <a:cubicBezTo>
                  <a:pt x="903798" y="4288426"/>
                  <a:pt x="911088" y="4301181"/>
                  <a:pt x="911088" y="4303003"/>
                </a:cubicBezTo>
                <a:cubicBezTo>
                  <a:pt x="911088" y="4330336"/>
                  <a:pt x="912910" y="4304826"/>
                  <a:pt x="903798" y="4324870"/>
                </a:cubicBezTo>
                <a:cubicBezTo>
                  <a:pt x="874644" y="4304826"/>
                  <a:pt x="892865" y="4317581"/>
                  <a:pt x="881932" y="4295715"/>
                </a:cubicBezTo>
                <a:close/>
                <a:moveTo>
                  <a:pt x="2787927" y="4286603"/>
                </a:moveTo>
                <a:lnTo>
                  <a:pt x="2797038" y="4303003"/>
                </a:lnTo>
                <a:lnTo>
                  <a:pt x="2773349" y="4301181"/>
                </a:lnTo>
                <a:close/>
                <a:moveTo>
                  <a:pt x="3731813" y="4281137"/>
                </a:moveTo>
                <a:lnTo>
                  <a:pt x="3746390" y="4295714"/>
                </a:lnTo>
                <a:cubicBezTo>
                  <a:pt x="3740924" y="4313936"/>
                  <a:pt x="3739101" y="4297536"/>
                  <a:pt x="3748212" y="4317580"/>
                </a:cubicBezTo>
                <a:cubicBezTo>
                  <a:pt x="3766434" y="4304825"/>
                  <a:pt x="3770078" y="4282959"/>
                  <a:pt x="3731813" y="4281137"/>
                </a:cubicBezTo>
                <a:close/>
                <a:moveTo>
                  <a:pt x="3596972" y="4281137"/>
                </a:moveTo>
                <a:lnTo>
                  <a:pt x="3573284" y="4293892"/>
                </a:lnTo>
                <a:lnTo>
                  <a:pt x="3596972" y="4297536"/>
                </a:lnTo>
                <a:close/>
                <a:moveTo>
                  <a:pt x="1018596" y="4281137"/>
                </a:moveTo>
                <a:cubicBezTo>
                  <a:pt x="1022240" y="4286604"/>
                  <a:pt x="1033174" y="4299359"/>
                  <a:pt x="1033174" y="4303003"/>
                </a:cubicBezTo>
                <a:cubicBezTo>
                  <a:pt x="1033174" y="4319403"/>
                  <a:pt x="1025885" y="4319403"/>
                  <a:pt x="1016774" y="4333980"/>
                </a:cubicBezTo>
                <a:lnTo>
                  <a:pt x="996729" y="4317581"/>
                </a:lnTo>
                <a:cubicBezTo>
                  <a:pt x="1005840" y="4299359"/>
                  <a:pt x="1004018" y="4315759"/>
                  <a:pt x="996729" y="4295715"/>
                </a:cubicBezTo>
                <a:close/>
                <a:moveTo>
                  <a:pt x="2487267" y="4281136"/>
                </a:moveTo>
                <a:lnTo>
                  <a:pt x="2503667" y="4281136"/>
                </a:lnTo>
                <a:lnTo>
                  <a:pt x="2501845" y="4297536"/>
                </a:lnTo>
                <a:close/>
                <a:moveTo>
                  <a:pt x="2999299" y="4279315"/>
                </a:moveTo>
                <a:lnTo>
                  <a:pt x="2984721" y="4293892"/>
                </a:lnTo>
                <a:lnTo>
                  <a:pt x="3008410" y="4295714"/>
                </a:lnTo>
                <a:close/>
                <a:moveTo>
                  <a:pt x="2179321" y="4264737"/>
                </a:moveTo>
                <a:cubicBezTo>
                  <a:pt x="2201187" y="4270204"/>
                  <a:pt x="2190254" y="4264737"/>
                  <a:pt x="2201187" y="4279315"/>
                </a:cubicBezTo>
                <a:cubicBezTo>
                  <a:pt x="2179321" y="4273848"/>
                  <a:pt x="2190254" y="4281137"/>
                  <a:pt x="2179321" y="4264737"/>
                </a:cubicBezTo>
                <a:close/>
                <a:moveTo>
                  <a:pt x="2919123" y="4259271"/>
                </a:moveTo>
                <a:lnTo>
                  <a:pt x="2900901" y="4272026"/>
                </a:lnTo>
                <a:lnTo>
                  <a:pt x="2888146" y="4266559"/>
                </a:lnTo>
                <a:lnTo>
                  <a:pt x="2888146" y="4281137"/>
                </a:lnTo>
                <a:lnTo>
                  <a:pt x="2902724" y="4281137"/>
                </a:lnTo>
                <a:cubicBezTo>
                  <a:pt x="2893613" y="4301181"/>
                  <a:pt x="2889968" y="4288425"/>
                  <a:pt x="2910012" y="4303003"/>
                </a:cubicBezTo>
                <a:cubicBezTo>
                  <a:pt x="2919123" y="4282959"/>
                  <a:pt x="2919123" y="4299358"/>
                  <a:pt x="2910012" y="4281137"/>
                </a:cubicBezTo>
                <a:close/>
                <a:moveTo>
                  <a:pt x="2268608" y="4257449"/>
                </a:moveTo>
                <a:lnTo>
                  <a:pt x="2286830" y="4266560"/>
                </a:lnTo>
                <a:lnTo>
                  <a:pt x="2270430" y="4279316"/>
                </a:lnTo>
                <a:lnTo>
                  <a:pt x="2261319" y="4272027"/>
                </a:lnTo>
                <a:close/>
                <a:moveTo>
                  <a:pt x="3822921" y="4257448"/>
                </a:moveTo>
                <a:lnTo>
                  <a:pt x="3821046" y="4271725"/>
                </a:lnTo>
                <a:lnTo>
                  <a:pt x="3818105" y="4267682"/>
                </a:lnTo>
                <a:close/>
                <a:moveTo>
                  <a:pt x="3689903" y="4257448"/>
                </a:moveTo>
                <a:lnTo>
                  <a:pt x="3664392" y="4259271"/>
                </a:lnTo>
                <a:lnTo>
                  <a:pt x="3678969" y="4273848"/>
                </a:lnTo>
                <a:close/>
                <a:moveTo>
                  <a:pt x="3821019" y="4251530"/>
                </a:moveTo>
                <a:lnTo>
                  <a:pt x="3821099" y="4251982"/>
                </a:lnTo>
                <a:lnTo>
                  <a:pt x="3820783" y="4251733"/>
                </a:lnTo>
                <a:close/>
                <a:moveTo>
                  <a:pt x="3884875" y="4250160"/>
                </a:moveTo>
                <a:cubicBezTo>
                  <a:pt x="3906741" y="4255627"/>
                  <a:pt x="3899453" y="4246516"/>
                  <a:pt x="3892164" y="4264738"/>
                </a:cubicBezTo>
                <a:cubicBezTo>
                  <a:pt x="3932252" y="4261093"/>
                  <a:pt x="3912208" y="4248338"/>
                  <a:pt x="3928608" y="4272026"/>
                </a:cubicBezTo>
                <a:lnTo>
                  <a:pt x="3899453" y="4281137"/>
                </a:lnTo>
                <a:cubicBezTo>
                  <a:pt x="3888520" y="4270204"/>
                  <a:pt x="3886698" y="4272026"/>
                  <a:pt x="3884875" y="4250160"/>
                </a:cubicBezTo>
                <a:close/>
                <a:moveTo>
                  <a:pt x="3642526" y="4250160"/>
                </a:moveTo>
                <a:lnTo>
                  <a:pt x="3642526" y="4264737"/>
                </a:lnTo>
                <a:lnTo>
                  <a:pt x="3657103" y="4264737"/>
                </a:lnTo>
                <a:close/>
                <a:moveTo>
                  <a:pt x="3578750" y="4250160"/>
                </a:moveTo>
                <a:lnTo>
                  <a:pt x="3609727" y="4281137"/>
                </a:lnTo>
                <a:lnTo>
                  <a:pt x="3617016" y="4270204"/>
                </a:lnTo>
                <a:cubicBezTo>
                  <a:pt x="3604260" y="4251982"/>
                  <a:pt x="3609727" y="4250160"/>
                  <a:pt x="3578750" y="4250160"/>
                </a:cubicBezTo>
                <a:close/>
                <a:moveTo>
                  <a:pt x="2828014" y="4250159"/>
                </a:moveTo>
                <a:lnTo>
                  <a:pt x="2844414" y="4251982"/>
                </a:lnTo>
                <a:lnTo>
                  <a:pt x="2829837" y="4266559"/>
                </a:lnTo>
                <a:close/>
                <a:moveTo>
                  <a:pt x="2494557" y="4248338"/>
                </a:moveTo>
                <a:lnTo>
                  <a:pt x="2496380" y="4272027"/>
                </a:lnTo>
                <a:lnTo>
                  <a:pt x="2470869" y="4270205"/>
                </a:lnTo>
                <a:close/>
                <a:moveTo>
                  <a:pt x="1388496" y="4248338"/>
                </a:moveTo>
                <a:lnTo>
                  <a:pt x="1401252" y="4264738"/>
                </a:lnTo>
                <a:lnTo>
                  <a:pt x="1386674" y="4273849"/>
                </a:lnTo>
                <a:close/>
                <a:moveTo>
                  <a:pt x="1076904" y="4248338"/>
                </a:moveTo>
                <a:lnTo>
                  <a:pt x="1091484" y="4272027"/>
                </a:lnTo>
                <a:lnTo>
                  <a:pt x="1076904" y="4288426"/>
                </a:lnTo>
                <a:lnTo>
                  <a:pt x="1053216" y="4270205"/>
                </a:lnTo>
                <a:close/>
                <a:moveTo>
                  <a:pt x="1295566" y="4242872"/>
                </a:moveTo>
                <a:cubicBezTo>
                  <a:pt x="1313788" y="4242872"/>
                  <a:pt x="1319255" y="4248339"/>
                  <a:pt x="1319255" y="4266560"/>
                </a:cubicBezTo>
                <a:lnTo>
                  <a:pt x="1319255" y="4288427"/>
                </a:lnTo>
                <a:cubicBezTo>
                  <a:pt x="1299210" y="4279316"/>
                  <a:pt x="1315610" y="4279316"/>
                  <a:pt x="1297388" y="4286604"/>
                </a:cubicBezTo>
                <a:lnTo>
                  <a:pt x="1280988" y="4273849"/>
                </a:lnTo>
                <a:cubicBezTo>
                  <a:pt x="1286455" y="4259272"/>
                  <a:pt x="1279166" y="4242872"/>
                  <a:pt x="1295566" y="4242872"/>
                </a:cubicBezTo>
                <a:close/>
                <a:moveTo>
                  <a:pt x="4163667" y="4235582"/>
                </a:moveTo>
                <a:lnTo>
                  <a:pt x="4178245" y="4250160"/>
                </a:lnTo>
                <a:lnTo>
                  <a:pt x="4163667" y="4250160"/>
                </a:lnTo>
                <a:close/>
                <a:moveTo>
                  <a:pt x="2685885" y="4235582"/>
                </a:moveTo>
                <a:lnTo>
                  <a:pt x="2707752" y="4235582"/>
                </a:lnTo>
                <a:lnTo>
                  <a:pt x="2707752" y="4250160"/>
                </a:lnTo>
                <a:cubicBezTo>
                  <a:pt x="2684063" y="4244693"/>
                  <a:pt x="2696818" y="4250160"/>
                  <a:pt x="2685885" y="4235582"/>
                </a:cubicBezTo>
                <a:close/>
                <a:moveTo>
                  <a:pt x="2933700" y="4228294"/>
                </a:moveTo>
                <a:cubicBezTo>
                  <a:pt x="2950100" y="4259271"/>
                  <a:pt x="2931878" y="4241049"/>
                  <a:pt x="2955566" y="4250160"/>
                </a:cubicBezTo>
                <a:cubicBezTo>
                  <a:pt x="2950100" y="4228294"/>
                  <a:pt x="2955566" y="4233760"/>
                  <a:pt x="2933700" y="4228294"/>
                </a:cubicBezTo>
                <a:close/>
                <a:moveTo>
                  <a:pt x="2276579" y="4227838"/>
                </a:moveTo>
                <a:cubicBezTo>
                  <a:pt x="2276352" y="4228294"/>
                  <a:pt x="2274985" y="4230116"/>
                  <a:pt x="2285007" y="4235583"/>
                </a:cubicBezTo>
                <a:lnTo>
                  <a:pt x="2268607" y="4257449"/>
                </a:lnTo>
                <a:lnTo>
                  <a:pt x="2246741" y="4235583"/>
                </a:lnTo>
                <a:cubicBezTo>
                  <a:pt x="2246741" y="4235583"/>
                  <a:pt x="2259496" y="4228294"/>
                  <a:pt x="2261319" y="4228294"/>
                </a:cubicBezTo>
                <a:cubicBezTo>
                  <a:pt x="2275896" y="4228294"/>
                  <a:pt x="2276807" y="4227383"/>
                  <a:pt x="2276579" y="4227838"/>
                </a:cubicBezTo>
                <a:close/>
                <a:moveTo>
                  <a:pt x="1590758" y="4226472"/>
                </a:moveTo>
                <a:lnTo>
                  <a:pt x="1621736" y="4237405"/>
                </a:lnTo>
                <a:lnTo>
                  <a:pt x="1599869" y="4259271"/>
                </a:lnTo>
                <a:close/>
                <a:moveTo>
                  <a:pt x="224128" y="4226471"/>
                </a:moveTo>
                <a:lnTo>
                  <a:pt x="233239" y="4242871"/>
                </a:lnTo>
                <a:lnTo>
                  <a:pt x="209550" y="4241049"/>
                </a:lnTo>
                <a:close/>
                <a:moveTo>
                  <a:pt x="3567817" y="4221005"/>
                </a:moveTo>
                <a:lnTo>
                  <a:pt x="3551417" y="4222827"/>
                </a:lnTo>
                <a:lnTo>
                  <a:pt x="3565995" y="4237404"/>
                </a:lnTo>
                <a:close/>
                <a:moveTo>
                  <a:pt x="646872" y="4219183"/>
                </a:moveTo>
                <a:lnTo>
                  <a:pt x="670560" y="4242872"/>
                </a:lnTo>
                <a:lnTo>
                  <a:pt x="646872" y="4242872"/>
                </a:lnTo>
                <a:close/>
                <a:moveTo>
                  <a:pt x="3950474" y="4213717"/>
                </a:moveTo>
                <a:lnTo>
                  <a:pt x="3957762" y="4226472"/>
                </a:lnTo>
                <a:lnTo>
                  <a:pt x="3950474" y="4237406"/>
                </a:lnTo>
                <a:lnTo>
                  <a:pt x="3935896" y="4221006"/>
                </a:lnTo>
                <a:close/>
                <a:moveTo>
                  <a:pt x="2405270" y="4213717"/>
                </a:moveTo>
                <a:lnTo>
                  <a:pt x="2428959" y="4213717"/>
                </a:lnTo>
                <a:lnTo>
                  <a:pt x="2419848" y="4242872"/>
                </a:lnTo>
                <a:cubicBezTo>
                  <a:pt x="2396158" y="4224650"/>
                  <a:pt x="2410737" y="4248338"/>
                  <a:pt x="2405270" y="4213717"/>
                </a:cubicBezTo>
                <a:close/>
                <a:moveTo>
                  <a:pt x="2676775" y="4206428"/>
                </a:moveTo>
                <a:lnTo>
                  <a:pt x="2654909" y="4228294"/>
                </a:lnTo>
                <a:lnTo>
                  <a:pt x="2660375" y="4241049"/>
                </a:lnTo>
                <a:lnTo>
                  <a:pt x="2638509" y="4241049"/>
                </a:lnTo>
                <a:cubicBezTo>
                  <a:pt x="2647620" y="4222828"/>
                  <a:pt x="2645798" y="4239227"/>
                  <a:pt x="2638509" y="4219183"/>
                </a:cubicBezTo>
                <a:cubicBezTo>
                  <a:pt x="2680419" y="4204606"/>
                  <a:pt x="2627575" y="4210073"/>
                  <a:pt x="2676775" y="4206428"/>
                </a:cubicBezTo>
                <a:close/>
                <a:moveTo>
                  <a:pt x="1598046" y="4204605"/>
                </a:moveTo>
                <a:lnTo>
                  <a:pt x="1621735" y="4206428"/>
                </a:lnTo>
                <a:lnTo>
                  <a:pt x="1607158" y="4219183"/>
                </a:lnTo>
                <a:close/>
                <a:moveTo>
                  <a:pt x="2015325" y="4199138"/>
                </a:moveTo>
                <a:cubicBezTo>
                  <a:pt x="2024435" y="4204605"/>
                  <a:pt x="2022613" y="4206427"/>
                  <a:pt x="2037191" y="4206427"/>
                </a:cubicBezTo>
                <a:lnTo>
                  <a:pt x="2059057" y="4206427"/>
                </a:lnTo>
                <a:lnTo>
                  <a:pt x="2059057" y="4228293"/>
                </a:lnTo>
                <a:cubicBezTo>
                  <a:pt x="2059057" y="4257448"/>
                  <a:pt x="2060879" y="4230115"/>
                  <a:pt x="2051768" y="4242871"/>
                </a:cubicBezTo>
                <a:lnTo>
                  <a:pt x="2059057" y="4257448"/>
                </a:lnTo>
                <a:cubicBezTo>
                  <a:pt x="2044479" y="4266559"/>
                  <a:pt x="2044479" y="4272025"/>
                  <a:pt x="2028080" y="4272025"/>
                </a:cubicBezTo>
                <a:lnTo>
                  <a:pt x="2009858" y="4273847"/>
                </a:lnTo>
                <a:lnTo>
                  <a:pt x="2000747" y="4221004"/>
                </a:lnTo>
                <a:lnTo>
                  <a:pt x="2015325" y="4221004"/>
                </a:lnTo>
                <a:cubicBezTo>
                  <a:pt x="1998925" y="4184561"/>
                  <a:pt x="2018969" y="4224649"/>
                  <a:pt x="2015325" y="4199138"/>
                </a:cubicBezTo>
                <a:close/>
                <a:moveTo>
                  <a:pt x="3596972" y="4197317"/>
                </a:moveTo>
                <a:cubicBezTo>
                  <a:pt x="3576928" y="4210072"/>
                  <a:pt x="3576928" y="4204605"/>
                  <a:pt x="3575106" y="4235582"/>
                </a:cubicBezTo>
                <a:cubicBezTo>
                  <a:pt x="3586039" y="4230116"/>
                  <a:pt x="3595150" y="4215538"/>
                  <a:pt x="3596972" y="4197317"/>
                </a:cubicBezTo>
                <a:close/>
                <a:moveTo>
                  <a:pt x="1778441" y="4190028"/>
                </a:moveTo>
                <a:cubicBezTo>
                  <a:pt x="1798485" y="4197317"/>
                  <a:pt x="1782086" y="4197317"/>
                  <a:pt x="1800307" y="4190028"/>
                </a:cubicBezTo>
                <a:cubicBezTo>
                  <a:pt x="1798485" y="4211894"/>
                  <a:pt x="1800307" y="4226472"/>
                  <a:pt x="1778441" y="4228294"/>
                </a:cubicBezTo>
                <a:close/>
                <a:moveTo>
                  <a:pt x="1062328" y="4190028"/>
                </a:moveTo>
                <a:cubicBezTo>
                  <a:pt x="1045929" y="4226472"/>
                  <a:pt x="1065973" y="4186384"/>
                  <a:pt x="1062328" y="4211894"/>
                </a:cubicBezTo>
                <a:cubicBezTo>
                  <a:pt x="1027707" y="4208250"/>
                  <a:pt x="1049572" y="4219183"/>
                  <a:pt x="1031350" y="4195495"/>
                </a:cubicBezTo>
                <a:close/>
                <a:moveTo>
                  <a:pt x="3914029" y="4182739"/>
                </a:moveTo>
                <a:lnTo>
                  <a:pt x="3928607" y="4197317"/>
                </a:lnTo>
                <a:lnTo>
                  <a:pt x="3914029" y="4197317"/>
                </a:lnTo>
                <a:close/>
                <a:moveTo>
                  <a:pt x="2357893" y="4173629"/>
                </a:moveTo>
                <a:lnTo>
                  <a:pt x="2359716" y="4197318"/>
                </a:lnTo>
                <a:lnTo>
                  <a:pt x="2343316" y="4188207"/>
                </a:lnTo>
                <a:close/>
                <a:moveTo>
                  <a:pt x="2893613" y="4173628"/>
                </a:moveTo>
                <a:lnTo>
                  <a:pt x="2879035" y="4188206"/>
                </a:lnTo>
                <a:lnTo>
                  <a:pt x="2895435" y="4199139"/>
                </a:lnTo>
                <a:close/>
                <a:moveTo>
                  <a:pt x="3859366" y="4166339"/>
                </a:moveTo>
                <a:lnTo>
                  <a:pt x="3868477" y="4182739"/>
                </a:lnTo>
                <a:lnTo>
                  <a:pt x="3844788" y="4180917"/>
                </a:lnTo>
                <a:close/>
                <a:moveTo>
                  <a:pt x="2647619" y="4159052"/>
                </a:moveTo>
                <a:cubicBezTo>
                  <a:pt x="2669485" y="4166341"/>
                  <a:pt x="2662197" y="4157230"/>
                  <a:pt x="2656730" y="4173630"/>
                </a:cubicBezTo>
                <a:lnTo>
                  <a:pt x="2678596" y="4173630"/>
                </a:lnTo>
                <a:cubicBezTo>
                  <a:pt x="2664019" y="4193673"/>
                  <a:pt x="2660374" y="4195496"/>
                  <a:pt x="2625753" y="4195496"/>
                </a:cubicBezTo>
                <a:cubicBezTo>
                  <a:pt x="2627575" y="4166341"/>
                  <a:pt x="2627575" y="4164519"/>
                  <a:pt x="2647619" y="4173630"/>
                </a:cubicBezTo>
                <a:close/>
                <a:moveTo>
                  <a:pt x="1122459" y="4151762"/>
                </a:moveTo>
                <a:cubicBezTo>
                  <a:pt x="1142503" y="4159051"/>
                  <a:pt x="1126103" y="4159051"/>
                  <a:pt x="1144325" y="4155407"/>
                </a:cubicBezTo>
                <a:lnTo>
                  <a:pt x="1168013" y="4159051"/>
                </a:lnTo>
                <a:lnTo>
                  <a:pt x="1168013" y="4204606"/>
                </a:lnTo>
                <a:cubicBezTo>
                  <a:pt x="1168013" y="4224650"/>
                  <a:pt x="1164370" y="4226472"/>
                  <a:pt x="1160724" y="4242872"/>
                </a:cubicBezTo>
                <a:cubicBezTo>
                  <a:pt x="1138858" y="4237405"/>
                  <a:pt x="1149791" y="4244694"/>
                  <a:pt x="1138858" y="4228294"/>
                </a:cubicBezTo>
                <a:cubicBezTo>
                  <a:pt x="1129747" y="4231939"/>
                  <a:pt x="1111526" y="4235583"/>
                  <a:pt x="1106059" y="4241050"/>
                </a:cubicBezTo>
                <a:cubicBezTo>
                  <a:pt x="1084193" y="4261094"/>
                  <a:pt x="1135214" y="4242872"/>
                  <a:pt x="1091482" y="4255627"/>
                </a:cubicBezTo>
                <a:lnTo>
                  <a:pt x="1091482" y="4226472"/>
                </a:lnTo>
                <a:lnTo>
                  <a:pt x="1075082" y="4217361"/>
                </a:lnTo>
                <a:lnTo>
                  <a:pt x="1089660" y="4204606"/>
                </a:lnTo>
                <a:lnTo>
                  <a:pt x="1084193" y="4173629"/>
                </a:lnTo>
                <a:lnTo>
                  <a:pt x="1107881" y="4173629"/>
                </a:lnTo>
                <a:lnTo>
                  <a:pt x="1098770" y="4159051"/>
                </a:lnTo>
                <a:close/>
                <a:moveTo>
                  <a:pt x="4067092" y="4149941"/>
                </a:moveTo>
                <a:lnTo>
                  <a:pt x="4079847" y="4166341"/>
                </a:lnTo>
                <a:lnTo>
                  <a:pt x="4065270" y="4175452"/>
                </a:lnTo>
                <a:close/>
                <a:moveTo>
                  <a:pt x="3919498" y="4149941"/>
                </a:moveTo>
                <a:lnTo>
                  <a:pt x="3928609" y="4166341"/>
                </a:lnTo>
                <a:lnTo>
                  <a:pt x="3915853" y="4173630"/>
                </a:lnTo>
                <a:lnTo>
                  <a:pt x="3904920" y="4166341"/>
                </a:lnTo>
                <a:close/>
                <a:moveTo>
                  <a:pt x="2501846" y="4149941"/>
                </a:moveTo>
                <a:lnTo>
                  <a:pt x="2510957" y="4166341"/>
                </a:lnTo>
                <a:lnTo>
                  <a:pt x="2496379" y="4173630"/>
                </a:lnTo>
                <a:lnTo>
                  <a:pt x="2487268" y="4166341"/>
                </a:lnTo>
                <a:close/>
                <a:moveTo>
                  <a:pt x="918376" y="4149941"/>
                </a:moveTo>
                <a:lnTo>
                  <a:pt x="918376" y="4175452"/>
                </a:lnTo>
                <a:lnTo>
                  <a:pt x="901976" y="4166341"/>
                </a:lnTo>
                <a:close/>
                <a:moveTo>
                  <a:pt x="701537" y="4146296"/>
                </a:moveTo>
                <a:lnTo>
                  <a:pt x="690604" y="4177273"/>
                </a:lnTo>
                <a:lnTo>
                  <a:pt x="676026" y="4162696"/>
                </a:lnTo>
                <a:cubicBezTo>
                  <a:pt x="685137" y="4159051"/>
                  <a:pt x="690604" y="4157229"/>
                  <a:pt x="692426" y="4157229"/>
                </a:cubicBezTo>
                <a:cubicBezTo>
                  <a:pt x="694248" y="4153585"/>
                  <a:pt x="696071" y="4149941"/>
                  <a:pt x="701537" y="4146296"/>
                </a:cubicBezTo>
                <a:close/>
                <a:moveTo>
                  <a:pt x="3476708" y="4144473"/>
                </a:moveTo>
                <a:lnTo>
                  <a:pt x="3476708" y="4159051"/>
                </a:lnTo>
                <a:lnTo>
                  <a:pt x="3491286" y="4159051"/>
                </a:lnTo>
                <a:close/>
                <a:moveTo>
                  <a:pt x="3671681" y="4142651"/>
                </a:moveTo>
                <a:cubicBezTo>
                  <a:pt x="3660748" y="4149940"/>
                  <a:pt x="3649815" y="4151762"/>
                  <a:pt x="3649815" y="4171806"/>
                </a:cubicBezTo>
                <a:cubicBezTo>
                  <a:pt x="3649815" y="4175450"/>
                  <a:pt x="3660748" y="4188206"/>
                  <a:pt x="3664392" y="4193672"/>
                </a:cubicBezTo>
                <a:lnTo>
                  <a:pt x="3640704" y="4215538"/>
                </a:lnTo>
                <a:lnTo>
                  <a:pt x="3627949" y="4217360"/>
                </a:lnTo>
                <a:lnTo>
                  <a:pt x="3606082" y="4217360"/>
                </a:lnTo>
                <a:lnTo>
                  <a:pt x="3606082" y="4224649"/>
                </a:lnTo>
                <a:lnTo>
                  <a:pt x="3627949" y="4224649"/>
                </a:lnTo>
                <a:lnTo>
                  <a:pt x="3627949" y="4239226"/>
                </a:lnTo>
                <a:lnTo>
                  <a:pt x="3649815" y="4231938"/>
                </a:lnTo>
                <a:lnTo>
                  <a:pt x="3671681" y="4239226"/>
                </a:lnTo>
                <a:lnTo>
                  <a:pt x="3664392" y="4222827"/>
                </a:lnTo>
                <a:lnTo>
                  <a:pt x="3688080" y="4222827"/>
                </a:lnTo>
                <a:lnTo>
                  <a:pt x="3666214" y="4191850"/>
                </a:lnTo>
                <a:lnTo>
                  <a:pt x="3680792" y="4182739"/>
                </a:lnTo>
                <a:lnTo>
                  <a:pt x="3704480" y="4211894"/>
                </a:lnTo>
                <a:lnTo>
                  <a:pt x="3733635" y="4204605"/>
                </a:lnTo>
                <a:lnTo>
                  <a:pt x="3733635" y="4199139"/>
                </a:lnTo>
                <a:lnTo>
                  <a:pt x="3702658" y="4193672"/>
                </a:lnTo>
                <a:lnTo>
                  <a:pt x="3709947" y="4177273"/>
                </a:lnTo>
                <a:lnTo>
                  <a:pt x="3724524" y="4186384"/>
                </a:lnTo>
                <a:cubicBezTo>
                  <a:pt x="3737279" y="4153584"/>
                  <a:pt x="3719057" y="4186384"/>
                  <a:pt x="3731813" y="4155407"/>
                </a:cubicBezTo>
                <a:lnTo>
                  <a:pt x="3709947" y="4155407"/>
                </a:lnTo>
                <a:lnTo>
                  <a:pt x="3717235" y="4169984"/>
                </a:lnTo>
                <a:lnTo>
                  <a:pt x="3709947" y="4177273"/>
                </a:lnTo>
                <a:lnTo>
                  <a:pt x="3693547" y="4164517"/>
                </a:lnTo>
                <a:lnTo>
                  <a:pt x="3673503" y="4179095"/>
                </a:lnTo>
                <a:lnTo>
                  <a:pt x="3666214" y="4169984"/>
                </a:lnTo>
                <a:lnTo>
                  <a:pt x="3680792" y="4149940"/>
                </a:lnTo>
                <a:close/>
                <a:moveTo>
                  <a:pt x="2820726" y="4137185"/>
                </a:moveTo>
                <a:lnTo>
                  <a:pt x="2820726" y="4159051"/>
                </a:lnTo>
                <a:cubicBezTo>
                  <a:pt x="2820726" y="4159051"/>
                  <a:pt x="2828014" y="4166339"/>
                  <a:pt x="2835303" y="4137185"/>
                </a:cubicBezTo>
                <a:close/>
                <a:moveTo>
                  <a:pt x="2585666" y="4129897"/>
                </a:moveTo>
                <a:cubicBezTo>
                  <a:pt x="2583844" y="4160874"/>
                  <a:pt x="2582021" y="4160874"/>
                  <a:pt x="2558333" y="4166341"/>
                </a:cubicBezTo>
                <a:lnTo>
                  <a:pt x="2549222" y="4144475"/>
                </a:lnTo>
                <a:close/>
                <a:moveTo>
                  <a:pt x="1251833" y="4129897"/>
                </a:moveTo>
                <a:lnTo>
                  <a:pt x="1295566" y="4129897"/>
                </a:lnTo>
                <a:lnTo>
                  <a:pt x="1304677" y="4153586"/>
                </a:lnTo>
                <a:lnTo>
                  <a:pt x="1295566" y="4168163"/>
                </a:lnTo>
                <a:lnTo>
                  <a:pt x="1302855" y="4182740"/>
                </a:lnTo>
                <a:lnTo>
                  <a:pt x="1280988" y="4182740"/>
                </a:lnTo>
                <a:lnTo>
                  <a:pt x="1268233" y="4180918"/>
                </a:lnTo>
                <a:lnTo>
                  <a:pt x="1251833" y="4168163"/>
                </a:lnTo>
                <a:cubicBezTo>
                  <a:pt x="1259122" y="4151764"/>
                  <a:pt x="1259122" y="4146297"/>
                  <a:pt x="1251833" y="4129897"/>
                </a:cubicBezTo>
                <a:close/>
                <a:moveTo>
                  <a:pt x="3635237" y="4129896"/>
                </a:moveTo>
                <a:cubicBezTo>
                  <a:pt x="3627949" y="4137185"/>
                  <a:pt x="3624304" y="4140829"/>
                  <a:pt x="3622482" y="4142651"/>
                </a:cubicBezTo>
                <a:cubicBezTo>
                  <a:pt x="3624304" y="4140829"/>
                  <a:pt x="3626127" y="4142651"/>
                  <a:pt x="3620660" y="4160873"/>
                </a:cubicBezTo>
                <a:lnTo>
                  <a:pt x="3642526" y="4160873"/>
                </a:lnTo>
                <a:cubicBezTo>
                  <a:pt x="3629771" y="4128074"/>
                  <a:pt x="3647993" y="4160873"/>
                  <a:pt x="3635237" y="4129896"/>
                </a:cubicBezTo>
                <a:close/>
                <a:moveTo>
                  <a:pt x="1619913" y="4129896"/>
                </a:moveTo>
                <a:lnTo>
                  <a:pt x="1636312" y="4169985"/>
                </a:lnTo>
                <a:lnTo>
                  <a:pt x="1658178" y="4146297"/>
                </a:lnTo>
                <a:lnTo>
                  <a:pt x="1678222" y="4137185"/>
                </a:lnTo>
                <a:lnTo>
                  <a:pt x="1709199" y="4151764"/>
                </a:lnTo>
                <a:lnTo>
                  <a:pt x="1723776" y="4144474"/>
                </a:lnTo>
                <a:cubicBezTo>
                  <a:pt x="1725599" y="4180918"/>
                  <a:pt x="1714666" y="4159052"/>
                  <a:pt x="1738354" y="4175452"/>
                </a:cubicBezTo>
                <a:cubicBezTo>
                  <a:pt x="1731065" y="4195496"/>
                  <a:pt x="1731065" y="4179096"/>
                  <a:pt x="1734710" y="4197318"/>
                </a:cubicBezTo>
                <a:lnTo>
                  <a:pt x="1729243" y="4219184"/>
                </a:lnTo>
                <a:lnTo>
                  <a:pt x="1700088" y="4244694"/>
                </a:lnTo>
                <a:lnTo>
                  <a:pt x="1685511" y="4235583"/>
                </a:lnTo>
                <a:lnTo>
                  <a:pt x="1670933" y="4242872"/>
                </a:lnTo>
                <a:cubicBezTo>
                  <a:pt x="1661822" y="4228295"/>
                  <a:pt x="1652713" y="4219184"/>
                  <a:pt x="1632669" y="4211895"/>
                </a:cubicBezTo>
                <a:lnTo>
                  <a:pt x="1639956" y="4191851"/>
                </a:lnTo>
                <a:lnTo>
                  <a:pt x="1625380" y="4175452"/>
                </a:lnTo>
                <a:lnTo>
                  <a:pt x="1610802" y="4182740"/>
                </a:lnTo>
                <a:cubicBezTo>
                  <a:pt x="1607158" y="4177274"/>
                  <a:pt x="1596225" y="4164519"/>
                  <a:pt x="1596225" y="4160874"/>
                </a:cubicBezTo>
                <a:cubicBezTo>
                  <a:pt x="1596225" y="4140829"/>
                  <a:pt x="1607158" y="4137185"/>
                  <a:pt x="1619913" y="4129896"/>
                </a:cubicBezTo>
                <a:close/>
                <a:moveTo>
                  <a:pt x="2381582" y="4115319"/>
                </a:moveTo>
                <a:lnTo>
                  <a:pt x="2407093" y="4115319"/>
                </a:lnTo>
                <a:lnTo>
                  <a:pt x="2390693" y="4129896"/>
                </a:lnTo>
                <a:close/>
                <a:moveTo>
                  <a:pt x="3799233" y="4113497"/>
                </a:moveTo>
                <a:cubicBezTo>
                  <a:pt x="3819277" y="4122608"/>
                  <a:pt x="3802878" y="4120786"/>
                  <a:pt x="3822922" y="4113497"/>
                </a:cubicBezTo>
                <a:cubicBezTo>
                  <a:pt x="3846610" y="4131719"/>
                  <a:pt x="3833854" y="4109853"/>
                  <a:pt x="3852076" y="4135363"/>
                </a:cubicBezTo>
                <a:lnTo>
                  <a:pt x="3830210" y="4144474"/>
                </a:lnTo>
                <a:cubicBezTo>
                  <a:pt x="3811988" y="4135363"/>
                  <a:pt x="3828388" y="4137186"/>
                  <a:pt x="3808344" y="4142652"/>
                </a:cubicBezTo>
                <a:close/>
                <a:moveTo>
                  <a:pt x="2631220" y="4113497"/>
                </a:moveTo>
                <a:cubicBezTo>
                  <a:pt x="2625754" y="4139008"/>
                  <a:pt x="2627576" y="4140830"/>
                  <a:pt x="2609354" y="4151763"/>
                </a:cubicBezTo>
                <a:lnTo>
                  <a:pt x="2602065" y="4129897"/>
                </a:lnTo>
                <a:cubicBezTo>
                  <a:pt x="2623931" y="4122608"/>
                  <a:pt x="2612998" y="4126252"/>
                  <a:pt x="2631220" y="4113497"/>
                </a:cubicBezTo>
                <a:close/>
                <a:moveTo>
                  <a:pt x="1689155" y="4113497"/>
                </a:moveTo>
                <a:lnTo>
                  <a:pt x="1711021" y="4113497"/>
                </a:lnTo>
                <a:lnTo>
                  <a:pt x="1709199" y="4139008"/>
                </a:lnTo>
                <a:close/>
                <a:moveTo>
                  <a:pt x="752558" y="4106209"/>
                </a:moveTo>
                <a:lnTo>
                  <a:pt x="759846" y="4120786"/>
                </a:lnTo>
                <a:lnTo>
                  <a:pt x="747091" y="4128075"/>
                </a:lnTo>
                <a:lnTo>
                  <a:pt x="736158" y="4120786"/>
                </a:lnTo>
                <a:close/>
                <a:moveTo>
                  <a:pt x="2835303" y="4098919"/>
                </a:moveTo>
                <a:lnTo>
                  <a:pt x="2837125" y="4115319"/>
                </a:lnTo>
                <a:lnTo>
                  <a:pt x="2851703" y="4100741"/>
                </a:lnTo>
                <a:close/>
                <a:moveTo>
                  <a:pt x="3899452" y="4091630"/>
                </a:moveTo>
                <a:lnTo>
                  <a:pt x="3914030" y="4106208"/>
                </a:lnTo>
                <a:lnTo>
                  <a:pt x="3899452" y="4106208"/>
                </a:lnTo>
                <a:close/>
                <a:moveTo>
                  <a:pt x="3813811" y="4089808"/>
                </a:moveTo>
                <a:lnTo>
                  <a:pt x="3822922" y="4106208"/>
                </a:lnTo>
                <a:lnTo>
                  <a:pt x="3799233" y="4106208"/>
                </a:lnTo>
                <a:close/>
                <a:moveTo>
                  <a:pt x="2396160" y="4089808"/>
                </a:moveTo>
                <a:lnTo>
                  <a:pt x="2405271" y="4106208"/>
                </a:lnTo>
                <a:lnTo>
                  <a:pt x="2381582" y="4106208"/>
                </a:lnTo>
                <a:close/>
                <a:moveTo>
                  <a:pt x="1146148" y="4084342"/>
                </a:moveTo>
                <a:lnTo>
                  <a:pt x="1198991" y="4084342"/>
                </a:lnTo>
                <a:cubicBezTo>
                  <a:pt x="1191703" y="4102564"/>
                  <a:pt x="1193525" y="4106209"/>
                  <a:pt x="1198991" y="4129897"/>
                </a:cubicBezTo>
                <a:cubicBezTo>
                  <a:pt x="1177124" y="4135363"/>
                  <a:pt x="1184414" y="4137185"/>
                  <a:pt x="1168013" y="4137185"/>
                </a:cubicBezTo>
                <a:cubicBezTo>
                  <a:pt x="1140681" y="4137185"/>
                  <a:pt x="1166191" y="4139007"/>
                  <a:pt x="1146148" y="4129897"/>
                </a:cubicBezTo>
                <a:cubicBezTo>
                  <a:pt x="1151614" y="4106209"/>
                  <a:pt x="1153436" y="4102564"/>
                  <a:pt x="1146148" y="4084342"/>
                </a:cubicBezTo>
                <a:close/>
                <a:moveTo>
                  <a:pt x="1703732" y="4082520"/>
                </a:moveTo>
                <a:lnTo>
                  <a:pt x="1734710" y="4093453"/>
                </a:lnTo>
                <a:lnTo>
                  <a:pt x="1711021" y="4113497"/>
                </a:lnTo>
                <a:close/>
                <a:moveTo>
                  <a:pt x="819978" y="4082520"/>
                </a:moveTo>
                <a:lnTo>
                  <a:pt x="829090" y="4113497"/>
                </a:lnTo>
                <a:lnTo>
                  <a:pt x="796290" y="4104386"/>
                </a:lnTo>
                <a:close/>
                <a:moveTo>
                  <a:pt x="1415830" y="4075231"/>
                </a:moveTo>
                <a:lnTo>
                  <a:pt x="1417652" y="4091631"/>
                </a:lnTo>
                <a:lnTo>
                  <a:pt x="1401252" y="4089809"/>
                </a:lnTo>
                <a:close/>
                <a:moveTo>
                  <a:pt x="2525535" y="4069765"/>
                </a:moveTo>
                <a:lnTo>
                  <a:pt x="2525535" y="4091631"/>
                </a:lnTo>
                <a:lnTo>
                  <a:pt x="2503668" y="4091631"/>
                </a:lnTo>
                <a:cubicBezTo>
                  <a:pt x="2510957" y="4084342"/>
                  <a:pt x="2518246" y="4077054"/>
                  <a:pt x="2525535" y="4069765"/>
                </a:cubicBezTo>
                <a:close/>
                <a:moveTo>
                  <a:pt x="1437696" y="4067943"/>
                </a:moveTo>
                <a:lnTo>
                  <a:pt x="1439518" y="4091632"/>
                </a:lnTo>
                <a:lnTo>
                  <a:pt x="1423118" y="4082521"/>
                </a:lnTo>
                <a:close/>
                <a:moveTo>
                  <a:pt x="3748430" y="4067021"/>
                </a:moveTo>
                <a:lnTo>
                  <a:pt x="3745878" y="4074253"/>
                </a:lnTo>
                <a:lnTo>
                  <a:pt x="3742746" y="4075231"/>
                </a:lnTo>
                <a:close/>
                <a:moveTo>
                  <a:pt x="2864458" y="4062476"/>
                </a:moveTo>
                <a:lnTo>
                  <a:pt x="2873569" y="4077053"/>
                </a:lnTo>
                <a:lnTo>
                  <a:pt x="2889968" y="4064298"/>
                </a:lnTo>
                <a:close/>
                <a:moveTo>
                  <a:pt x="3666214" y="4060654"/>
                </a:moveTo>
                <a:cubicBezTo>
                  <a:pt x="3678969" y="4093452"/>
                  <a:pt x="3660748" y="4060654"/>
                  <a:pt x="3673503" y="4091630"/>
                </a:cubicBezTo>
                <a:cubicBezTo>
                  <a:pt x="3702658" y="4069764"/>
                  <a:pt x="3675325" y="4091630"/>
                  <a:pt x="3688080" y="4060654"/>
                </a:cubicBezTo>
                <a:close/>
                <a:moveTo>
                  <a:pt x="1809420" y="4055188"/>
                </a:moveTo>
                <a:cubicBezTo>
                  <a:pt x="1825818" y="4066121"/>
                  <a:pt x="1816707" y="4064299"/>
                  <a:pt x="1840397" y="4069766"/>
                </a:cubicBezTo>
                <a:lnTo>
                  <a:pt x="1831285" y="4106209"/>
                </a:lnTo>
                <a:lnTo>
                  <a:pt x="1802130" y="4106209"/>
                </a:lnTo>
                <a:lnTo>
                  <a:pt x="1793019" y="4069766"/>
                </a:lnTo>
                <a:lnTo>
                  <a:pt x="1809420" y="4069766"/>
                </a:lnTo>
                <a:close/>
                <a:moveTo>
                  <a:pt x="2518245" y="4053364"/>
                </a:moveTo>
                <a:lnTo>
                  <a:pt x="2541934" y="4055187"/>
                </a:lnTo>
                <a:lnTo>
                  <a:pt x="2525534" y="4069764"/>
                </a:lnTo>
                <a:close/>
                <a:moveTo>
                  <a:pt x="4313087" y="4031498"/>
                </a:moveTo>
                <a:lnTo>
                  <a:pt x="4320376" y="4046077"/>
                </a:lnTo>
                <a:lnTo>
                  <a:pt x="4313087" y="4055188"/>
                </a:lnTo>
                <a:lnTo>
                  <a:pt x="4296687" y="4040610"/>
                </a:lnTo>
                <a:close/>
                <a:moveTo>
                  <a:pt x="2443536" y="4024210"/>
                </a:moveTo>
                <a:lnTo>
                  <a:pt x="2465402" y="4046077"/>
                </a:lnTo>
                <a:lnTo>
                  <a:pt x="2443536" y="4046077"/>
                </a:lnTo>
                <a:close/>
                <a:moveTo>
                  <a:pt x="1379386" y="4022388"/>
                </a:moveTo>
                <a:cubicBezTo>
                  <a:pt x="1377564" y="4055188"/>
                  <a:pt x="1381209" y="4036967"/>
                  <a:pt x="1362987" y="4062477"/>
                </a:cubicBezTo>
                <a:lnTo>
                  <a:pt x="1339299" y="4038789"/>
                </a:lnTo>
                <a:cubicBezTo>
                  <a:pt x="1366632" y="4020566"/>
                  <a:pt x="1346587" y="4024211"/>
                  <a:pt x="1379386" y="4022388"/>
                </a:cubicBezTo>
                <a:close/>
                <a:moveTo>
                  <a:pt x="3813810" y="4015555"/>
                </a:moveTo>
                <a:cubicBezTo>
                  <a:pt x="3814721" y="4017833"/>
                  <a:pt x="3816544" y="4024211"/>
                  <a:pt x="3832032" y="4024211"/>
                </a:cubicBezTo>
                <a:lnTo>
                  <a:pt x="3853898" y="4024211"/>
                </a:lnTo>
                <a:lnTo>
                  <a:pt x="3853898" y="4038788"/>
                </a:lnTo>
                <a:cubicBezTo>
                  <a:pt x="3886697" y="4031500"/>
                  <a:pt x="3866653" y="4022388"/>
                  <a:pt x="3883053" y="4046077"/>
                </a:cubicBezTo>
                <a:cubicBezTo>
                  <a:pt x="3850254" y="4047899"/>
                  <a:pt x="3868476" y="4044255"/>
                  <a:pt x="3846610" y="4060655"/>
                </a:cubicBezTo>
                <a:lnTo>
                  <a:pt x="3837499" y="4031500"/>
                </a:lnTo>
                <a:lnTo>
                  <a:pt x="3822921" y="4031500"/>
                </a:lnTo>
                <a:lnTo>
                  <a:pt x="3801055" y="4031500"/>
                </a:lnTo>
                <a:cubicBezTo>
                  <a:pt x="3812899" y="4015100"/>
                  <a:pt x="3812899" y="4013278"/>
                  <a:pt x="3813810" y="4015555"/>
                </a:cubicBezTo>
                <a:close/>
                <a:moveTo>
                  <a:pt x="3935895" y="4009632"/>
                </a:moveTo>
                <a:lnTo>
                  <a:pt x="3952295" y="4009632"/>
                </a:lnTo>
                <a:cubicBezTo>
                  <a:pt x="3945006" y="4038788"/>
                  <a:pt x="3937718" y="4029677"/>
                  <a:pt x="3935895" y="4031499"/>
                </a:cubicBezTo>
                <a:close/>
                <a:moveTo>
                  <a:pt x="2547400" y="4009632"/>
                </a:moveTo>
                <a:lnTo>
                  <a:pt x="2571089" y="4009632"/>
                </a:lnTo>
                <a:lnTo>
                  <a:pt x="2561978" y="4026032"/>
                </a:lnTo>
                <a:close/>
                <a:moveTo>
                  <a:pt x="956641" y="4007810"/>
                </a:moveTo>
                <a:lnTo>
                  <a:pt x="994907" y="4022388"/>
                </a:lnTo>
                <a:lnTo>
                  <a:pt x="985796" y="4007810"/>
                </a:lnTo>
                <a:cubicBezTo>
                  <a:pt x="1011306" y="4009633"/>
                  <a:pt x="1018596" y="4024210"/>
                  <a:pt x="1038640" y="4036965"/>
                </a:cubicBezTo>
                <a:lnTo>
                  <a:pt x="1038640" y="4051543"/>
                </a:lnTo>
                <a:lnTo>
                  <a:pt x="1038640" y="4066120"/>
                </a:lnTo>
                <a:lnTo>
                  <a:pt x="1047751" y="4080697"/>
                </a:lnTo>
                <a:lnTo>
                  <a:pt x="1038640" y="4102563"/>
                </a:lnTo>
                <a:lnTo>
                  <a:pt x="1053217" y="4111674"/>
                </a:lnTo>
                <a:lnTo>
                  <a:pt x="1044106" y="4126252"/>
                </a:lnTo>
                <a:cubicBezTo>
                  <a:pt x="1067795" y="4139007"/>
                  <a:pt x="1071439" y="4128074"/>
                  <a:pt x="1073262" y="4162695"/>
                </a:cubicBezTo>
                <a:lnTo>
                  <a:pt x="1058684" y="4171806"/>
                </a:lnTo>
                <a:lnTo>
                  <a:pt x="1044106" y="4164517"/>
                </a:lnTo>
                <a:lnTo>
                  <a:pt x="1034995" y="4179095"/>
                </a:lnTo>
                <a:cubicBezTo>
                  <a:pt x="1002195" y="4166339"/>
                  <a:pt x="1034995" y="4184561"/>
                  <a:pt x="1005840" y="4173628"/>
                </a:cubicBezTo>
                <a:lnTo>
                  <a:pt x="980330" y="4195494"/>
                </a:lnTo>
                <a:lnTo>
                  <a:pt x="983974" y="4210072"/>
                </a:lnTo>
                <a:lnTo>
                  <a:pt x="980330" y="4233760"/>
                </a:lnTo>
                <a:cubicBezTo>
                  <a:pt x="962108" y="4221004"/>
                  <a:pt x="967574" y="4208249"/>
                  <a:pt x="982152" y="4179095"/>
                </a:cubicBezTo>
                <a:lnTo>
                  <a:pt x="965752" y="4166339"/>
                </a:lnTo>
                <a:cubicBezTo>
                  <a:pt x="963930" y="4135362"/>
                  <a:pt x="963930" y="4135362"/>
                  <a:pt x="943886" y="4139007"/>
                </a:cubicBezTo>
                <a:lnTo>
                  <a:pt x="920197" y="4135362"/>
                </a:lnTo>
                <a:cubicBezTo>
                  <a:pt x="929308" y="4117141"/>
                  <a:pt x="927486" y="4133540"/>
                  <a:pt x="920197" y="4113496"/>
                </a:cubicBezTo>
                <a:lnTo>
                  <a:pt x="942064" y="4113496"/>
                </a:lnTo>
                <a:cubicBezTo>
                  <a:pt x="929308" y="4082519"/>
                  <a:pt x="947530" y="4115319"/>
                  <a:pt x="934775" y="4084341"/>
                </a:cubicBezTo>
                <a:lnTo>
                  <a:pt x="896509" y="4098919"/>
                </a:lnTo>
                <a:cubicBezTo>
                  <a:pt x="903798" y="4078875"/>
                  <a:pt x="925664" y="4064298"/>
                  <a:pt x="949352" y="4051543"/>
                </a:cubicBezTo>
                <a:lnTo>
                  <a:pt x="942064" y="4036965"/>
                </a:lnTo>
                <a:lnTo>
                  <a:pt x="958463" y="4036965"/>
                </a:lnTo>
                <a:lnTo>
                  <a:pt x="951174" y="4016921"/>
                </a:lnTo>
                <a:close/>
                <a:moveTo>
                  <a:pt x="2292295" y="4002344"/>
                </a:moveTo>
                <a:lnTo>
                  <a:pt x="2299584" y="4016922"/>
                </a:lnTo>
                <a:cubicBezTo>
                  <a:pt x="2319628" y="4007811"/>
                  <a:pt x="2303228" y="4007811"/>
                  <a:pt x="2319628" y="4018744"/>
                </a:cubicBezTo>
                <a:cubicBezTo>
                  <a:pt x="2319628" y="4018744"/>
                  <a:pt x="2312339" y="4031500"/>
                  <a:pt x="2312339" y="4033322"/>
                </a:cubicBezTo>
                <a:cubicBezTo>
                  <a:pt x="2312339" y="4047900"/>
                  <a:pt x="2314161" y="4046078"/>
                  <a:pt x="2319628" y="4055188"/>
                </a:cubicBezTo>
                <a:cubicBezTo>
                  <a:pt x="2292295" y="4067944"/>
                  <a:pt x="2277718" y="4057010"/>
                  <a:pt x="2286828" y="4084343"/>
                </a:cubicBezTo>
                <a:lnTo>
                  <a:pt x="2283184" y="4100743"/>
                </a:lnTo>
                <a:cubicBezTo>
                  <a:pt x="2254029" y="4093454"/>
                  <a:pt x="2261318" y="4098920"/>
                  <a:pt x="2268607" y="4078877"/>
                </a:cubicBezTo>
                <a:lnTo>
                  <a:pt x="2254029" y="4071588"/>
                </a:lnTo>
                <a:cubicBezTo>
                  <a:pt x="2261318" y="4055188"/>
                  <a:pt x="2261318" y="4049722"/>
                  <a:pt x="2254029" y="4033322"/>
                </a:cubicBezTo>
                <a:cubicBezTo>
                  <a:pt x="2272251" y="4020566"/>
                  <a:pt x="2264962" y="4031500"/>
                  <a:pt x="2270429" y="4011455"/>
                </a:cubicBezTo>
                <a:close/>
                <a:moveTo>
                  <a:pt x="3979627" y="4000522"/>
                </a:moveTo>
                <a:lnTo>
                  <a:pt x="3981450" y="4016922"/>
                </a:lnTo>
                <a:lnTo>
                  <a:pt x="3965050" y="4015100"/>
                </a:lnTo>
                <a:close/>
                <a:moveTo>
                  <a:pt x="2826192" y="4000522"/>
                </a:moveTo>
                <a:lnTo>
                  <a:pt x="2811615" y="4015099"/>
                </a:lnTo>
                <a:lnTo>
                  <a:pt x="2828014" y="4026032"/>
                </a:lnTo>
                <a:close/>
                <a:moveTo>
                  <a:pt x="3830210" y="3995055"/>
                </a:moveTo>
                <a:lnTo>
                  <a:pt x="3868476" y="3995055"/>
                </a:lnTo>
                <a:cubicBezTo>
                  <a:pt x="3853899" y="4013278"/>
                  <a:pt x="3861187" y="4015100"/>
                  <a:pt x="3830210" y="4016922"/>
                </a:cubicBezTo>
                <a:close/>
                <a:moveTo>
                  <a:pt x="2208476" y="3993233"/>
                </a:moveTo>
                <a:cubicBezTo>
                  <a:pt x="2217587" y="4018745"/>
                  <a:pt x="2219409" y="4004167"/>
                  <a:pt x="2237631" y="4029678"/>
                </a:cubicBezTo>
                <a:lnTo>
                  <a:pt x="2208476" y="4038789"/>
                </a:lnTo>
                <a:cubicBezTo>
                  <a:pt x="2201187" y="4018745"/>
                  <a:pt x="2201187" y="4035144"/>
                  <a:pt x="2206654" y="4016923"/>
                </a:cubicBezTo>
                <a:lnTo>
                  <a:pt x="2192076" y="4002345"/>
                </a:lnTo>
                <a:close/>
                <a:moveTo>
                  <a:pt x="2797037" y="3985944"/>
                </a:moveTo>
                <a:lnTo>
                  <a:pt x="2773349" y="3987767"/>
                </a:lnTo>
                <a:lnTo>
                  <a:pt x="2795215" y="4009633"/>
                </a:lnTo>
                <a:close/>
                <a:moveTo>
                  <a:pt x="1536092" y="3985944"/>
                </a:moveTo>
                <a:cubicBezTo>
                  <a:pt x="1545204" y="4005989"/>
                  <a:pt x="1545204" y="3989589"/>
                  <a:pt x="1537915" y="4007811"/>
                </a:cubicBezTo>
                <a:lnTo>
                  <a:pt x="1550672" y="4022389"/>
                </a:lnTo>
                <a:lnTo>
                  <a:pt x="1543381" y="4033322"/>
                </a:lnTo>
                <a:lnTo>
                  <a:pt x="1503293" y="3995056"/>
                </a:lnTo>
                <a:close/>
                <a:moveTo>
                  <a:pt x="3647993" y="3980478"/>
                </a:moveTo>
                <a:lnTo>
                  <a:pt x="3657103" y="4002344"/>
                </a:lnTo>
                <a:lnTo>
                  <a:pt x="3673503" y="3987767"/>
                </a:lnTo>
                <a:close/>
                <a:moveTo>
                  <a:pt x="3859365" y="3969545"/>
                </a:moveTo>
                <a:lnTo>
                  <a:pt x="3861187" y="3985945"/>
                </a:lnTo>
                <a:lnTo>
                  <a:pt x="3844787" y="3984122"/>
                </a:lnTo>
                <a:close/>
                <a:moveTo>
                  <a:pt x="3682614" y="3969545"/>
                </a:moveTo>
                <a:lnTo>
                  <a:pt x="3680792" y="3995055"/>
                </a:lnTo>
                <a:lnTo>
                  <a:pt x="3695369" y="3985944"/>
                </a:lnTo>
                <a:close/>
                <a:moveTo>
                  <a:pt x="2561978" y="3969545"/>
                </a:moveTo>
                <a:lnTo>
                  <a:pt x="2571089" y="3985945"/>
                </a:lnTo>
                <a:lnTo>
                  <a:pt x="2547400" y="3984122"/>
                </a:lnTo>
                <a:close/>
                <a:moveTo>
                  <a:pt x="3647993" y="3954967"/>
                </a:moveTo>
                <a:lnTo>
                  <a:pt x="3657103" y="3969545"/>
                </a:lnTo>
                <a:lnTo>
                  <a:pt x="3673503" y="3956789"/>
                </a:lnTo>
                <a:close/>
                <a:moveTo>
                  <a:pt x="2489091" y="3954967"/>
                </a:moveTo>
                <a:lnTo>
                  <a:pt x="2494557" y="3987767"/>
                </a:lnTo>
                <a:lnTo>
                  <a:pt x="2470869" y="3965901"/>
                </a:lnTo>
                <a:close/>
                <a:moveTo>
                  <a:pt x="973041" y="3947678"/>
                </a:moveTo>
                <a:lnTo>
                  <a:pt x="996729" y="3956790"/>
                </a:lnTo>
                <a:lnTo>
                  <a:pt x="973041" y="3980478"/>
                </a:lnTo>
                <a:close/>
                <a:moveTo>
                  <a:pt x="2155632" y="3938567"/>
                </a:moveTo>
                <a:lnTo>
                  <a:pt x="2155632" y="3964079"/>
                </a:lnTo>
                <a:lnTo>
                  <a:pt x="2139232" y="3954968"/>
                </a:lnTo>
                <a:close/>
                <a:moveTo>
                  <a:pt x="4088959" y="3934923"/>
                </a:moveTo>
                <a:cubicBezTo>
                  <a:pt x="4078026" y="3962257"/>
                  <a:pt x="4087137" y="3945857"/>
                  <a:pt x="4057982" y="3956790"/>
                </a:cubicBezTo>
                <a:cubicBezTo>
                  <a:pt x="4070737" y="3936747"/>
                  <a:pt x="4061627" y="3940391"/>
                  <a:pt x="4088959" y="3934923"/>
                </a:cubicBezTo>
                <a:close/>
                <a:moveTo>
                  <a:pt x="2684062" y="3933101"/>
                </a:moveTo>
                <a:lnTo>
                  <a:pt x="2700462" y="3940391"/>
                </a:lnTo>
                <a:lnTo>
                  <a:pt x="2692319" y="3955048"/>
                </a:lnTo>
                <a:lnTo>
                  <a:pt x="2713218" y="3956790"/>
                </a:lnTo>
                <a:lnTo>
                  <a:pt x="2729618" y="3976834"/>
                </a:lnTo>
                <a:lnTo>
                  <a:pt x="2705930" y="3985945"/>
                </a:lnTo>
                <a:cubicBezTo>
                  <a:pt x="2701829" y="3968179"/>
                  <a:pt x="2702854" y="3969887"/>
                  <a:pt x="2698242" y="3964164"/>
                </a:cubicBezTo>
                <a:lnTo>
                  <a:pt x="2691933" y="3955743"/>
                </a:lnTo>
                <a:lnTo>
                  <a:pt x="2691351" y="3956790"/>
                </a:lnTo>
                <a:close/>
                <a:moveTo>
                  <a:pt x="2064524" y="3933101"/>
                </a:moveTo>
                <a:lnTo>
                  <a:pt x="2088212" y="3933101"/>
                </a:lnTo>
                <a:cubicBezTo>
                  <a:pt x="2079101" y="3953146"/>
                  <a:pt x="2079101" y="3936747"/>
                  <a:pt x="2086390" y="3954968"/>
                </a:cubicBezTo>
                <a:lnTo>
                  <a:pt x="2064524" y="3971368"/>
                </a:lnTo>
                <a:lnTo>
                  <a:pt x="2057235" y="3947679"/>
                </a:lnTo>
                <a:lnTo>
                  <a:pt x="2073635" y="3947679"/>
                </a:lnTo>
                <a:close/>
                <a:moveTo>
                  <a:pt x="1652713" y="3933101"/>
                </a:moveTo>
                <a:lnTo>
                  <a:pt x="1641778" y="3965901"/>
                </a:lnTo>
                <a:lnTo>
                  <a:pt x="1619912" y="3942213"/>
                </a:lnTo>
                <a:close/>
                <a:moveTo>
                  <a:pt x="1281662" y="3926210"/>
                </a:moveTo>
                <a:lnTo>
                  <a:pt x="1281672" y="3926268"/>
                </a:lnTo>
                <a:cubicBezTo>
                  <a:pt x="1281330" y="3926496"/>
                  <a:pt x="1280931" y="3926382"/>
                  <a:pt x="1281643" y="3926211"/>
                </a:cubicBezTo>
                <a:close/>
                <a:moveTo>
                  <a:pt x="3629771" y="3925813"/>
                </a:moveTo>
                <a:lnTo>
                  <a:pt x="3596972" y="3931279"/>
                </a:lnTo>
                <a:lnTo>
                  <a:pt x="3606082" y="3949501"/>
                </a:lnTo>
                <a:close/>
                <a:moveTo>
                  <a:pt x="694249" y="3925812"/>
                </a:moveTo>
                <a:lnTo>
                  <a:pt x="683316" y="3942212"/>
                </a:lnTo>
                <a:lnTo>
                  <a:pt x="668738" y="3927635"/>
                </a:lnTo>
                <a:close/>
                <a:moveTo>
                  <a:pt x="2033547" y="3923990"/>
                </a:moveTo>
                <a:lnTo>
                  <a:pt x="2035369" y="3940390"/>
                </a:lnTo>
                <a:lnTo>
                  <a:pt x="2018969" y="3938567"/>
                </a:lnTo>
                <a:close/>
                <a:moveTo>
                  <a:pt x="1876839" y="3918524"/>
                </a:moveTo>
                <a:cubicBezTo>
                  <a:pt x="1884128" y="3938568"/>
                  <a:pt x="1887772" y="3934924"/>
                  <a:pt x="1907817" y="3949501"/>
                </a:cubicBezTo>
                <a:cubicBezTo>
                  <a:pt x="1900530" y="3965901"/>
                  <a:pt x="1900530" y="3971367"/>
                  <a:pt x="1907817" y="3987767"/>
                </a:cubicBezTo>
                <a:lnTo>
                  <a:pt x="1885950" y="3987767"/>
                </a:lnTo>
                <a:lnTo>
                  <a:pt x="1871373" y="3985945"/>
                </a:lnTo>
                <a:lnTo>
                  <a:pt x="1854973" y="3964079"/>
                </a:lnTo>
                <a:cubicBezTo>
                  <a:pt x="1860440" y="3934924"/>
                  <a:pt x="1856795" y="3933102"/>
                  <a:pt x="1876839" y="3918524"/>
                </a:cubicBezTo>
                <a:close/>
                <a:moveTo>
                  <a:pt x="1379385" y="3918524"/>
                </a:moveTo>
                <a:cubicBezTo>
                  <a:pt x="1401251" y="3923992"/>
                  <a:pt x="1395785" y="3918524"/>
                  <a:pt x="1401251" y="3940391"/>
                </a:cubicBezTo>
                <a:cubicBezTo>
                  <a:pt x="1368452" y="3933103"/>
                  <a:pt x="1392141" y="3942214"/>
                  <a:pt x="1379385" y="3918524"/>
                </a:cubicBezTo>
                <a:close/>
                <a:moveTo>
                  <a:pt x="2826192" y="3914880"/>
                </a:moveTo>
                <a:lnTo>
                  <a:pt x="2804326" y="3929457"/>
                </a:lnTo>
                <a:cubicBezTo>
                  <a:pt x="2813437" y="3949501"/>
                  <a:pt x="2811615" y="3922168"/>
                  <a:pt x="2811615" y="3951323"/>
                </a:cubicBezTo>
                <a:cubicBezTo>
                  <a:pt x="2811615" y="3951323"/>
                  <a:pt x="2804326" y="3965900"/>
                  <a:pt x="2804326" y="3965900"/>
                </a:cubicBezTo>
                <a:lnTo>
                  <a:pt x="2813437" y="3971367"/>
                </a:lnTo>
                <a:lnTo>
                  <a:pt x="2828014" y="3958612"/>
                </a:lnTo>
                <a:lnTo>
                  <a:pt x="2857169" y="3965900"/>
                </a:lnTo>
                <a:cubicBezTo>
                  <a:pt x="2849880" y="3944034"/>
                  <a:pt x="2849880" y="3960434"/>
                  <a:pt x="2857169" y="3944034"/>
                </a:cubicBezTo>
                <a:lnTo>
                  <a:pt x="2835303" y="3927635"/>
                </a:lnTo>
                <a:lnTo>
                  <a:pt x="2829837" y="3945857"/>
                </a:lnTo>
                <a:close/>
                <a:moveTo>
                  <a:pt x="3801055" y="3911235"/>
                </a:moveTo>
                <a:lnTo>
                  <a:pt x="3784656" y="3913057"/>
                </a:lnTo>
                <a:lnTo>
                  <a:pt x="3799233" y="3927635"/>
                </a:lnTo>
                <a:close/>
                <a:moveTo>
                  <a:pt x="2886324" y="3909413"/>
                </a:moveTo>
                <a:lnTo>
                  <a:pt x="2864458" y="3931279"/>
                </a:lnTo>
                <a:lnTo>
                  <a:pt x="2888146" y="3933101"/>
                </a:lnTo>
                <a:close/>
                <a:moveTo>
                  <a:pt x="2503668" y="3903946"/>
                </a:moveTo>
                <a:lnTo>
                  <a:pt x="2516424" y="3903946"/>
                </a:lnTo>
                <a:lnTo>
                  <a:pt x="2525535" y="3925813"/>
                </a:lnTo>
                <a:lnTo>
                  <a:pt x="2503668" y="3925813"/>
                </a:lnTo>
                <a:close/>
                <a:moveTo>
                  <a:pt x="1439518" y="3903946"/>
                </a:moveTo>
                <a:lnTo>
                  <a:pt x="1439518" y="3927635"/>
                </a:lnTo>
                <a:lnTo>
                  <a:pt x="1441340" y="3940391"/>
                </a:lnTo>
                <a:lnTo>
                  <a:pt x="1463206" y="3965901"/>
                </a:lnTo>
                <a:lnTo>
                  <a:pt x="1454095" y="3980478"/>
                </a:lnTo>
                <a:lnTo>
                  <a:pt x="1461384" y="3993234"/>
                </a:lnTo>
                <a:lnTo>
                  <a:pt x="1432229" y="4016922"/>
                </a:lnTo>
                <a:cubicBezTo>
                  <a:pt x="1419474" y="3996878"/>
                  <a:pt x="1414007" y="3984123"/>
                  <a:pt x="1401252" y="3964079"/>
                </a:cubicBezTo>
                <a:cubicBezTo>
                  <a:pt x="1406719" y="3958612"/>
                  <a:pt x="1408541" y="3954968"/>
                  <a:pt x="1410363" y="3953146"/>
                </a:cubicBezTo>
                <a:cubicBezTo>
                  <a:pt x="1414007" y="3953146"/>
                  <a:pt x="1417652" y="3953146"/>
                  <a:pt x="1424940" y="3949502"/>
                </a:cubicBezTo>
                <a:lnTo>
                  <a:pt x="1417652" y="3934923"/>
                </a:lnTo>
                <a:lnTo>
                  <a:pt x="1432229" y="3934923"/>
                </a:lnTo>
                <a:cubicBezTo>
                  <a:pt x="1421296" y="3911235"/>
                  <a:pt x="1415830" y="3918524"/>
                  <a:pt x="1439518" y="3903946"/>
                </a:cubicBezTo>
                <a:close/>
                <a:moveTo>
                  <a:pt x="4214688" y="3902124"/>
                </a:moveTo>
                <a:lnTo>
                  <a:pt x="4214688" y="3925814"/>
                </a:lnTo>
                <a:lnTo>
                  <a:pt x="4198288" y="3916703"/>
                </a:lnTo>
                <a:close/>
                <a:moveTo>
                  <a:pt x="2044480" y="3896658"/>
                </a:moveTo>
                <a:lnTo>
                  <a:pt x="2066346" y="3896658"/>
                </a:lnTo>
                <a:lnTo>
                  <a:pt x="2066346" y="3911235"/>
                </a:lnTo>
                <a:cubicBezTo>
                  <a:pt x="2044480" y="3905769"/>
                  <a:pt x="2055413" y="3911235"/>
                  <a:pt x="2044480" y="3896658"/>
                </a:cubicBezTo>
                <a:close/>
                <a:moveTo>
                  <a:pt x="2487269" y="3894835"/>
                </a:moveTo>
                <a:lnTo>
                  <a:pt x="2496380" y="3911235"/>
                </a:lnTo>
                <a:lnTo>
                  <a:pt x="2470869" y="3909413"/>
                </a:lnTo>
                <a:close/>
                <a:moveTo>
                  <a:pt x="1310144" y="3894835"/>
                </a:moveTo>
                <a:cubicBezTo>
                  <a:pt x="1308322" y="3909414"/>
                  <a:pt x="1302855" y="3925813"/>
                  <a:pt x="1288277" y="3925813"/>
                </a:cubicBezTo>
                <a:lnTo>
                  <a:pt x="1281662" y="3926210"/>
                </a:lnTo>
                <a:lnTo>
                  <a:pt x="1281358" y="3924276"/>
                </a:lnTo>
                <a:cubicBezTo>
                  <a:pt x="1280419" y="3923080"/>
                  <a:pt x="1278255" y="3921258"/>
                  <a:pt x="1273699" y="3918525"/>
                </a:cubicBezTo>
                <a:cubicBezTo>
                  <a:pt x="1286454" y="3898481"/>
                  <a:pt x="1280988" y="3898481"/>
                  <a:pt x="1310144" y="3894835"/>
                </a:cubicBezTo>
                <a:close/>
                <a:moveTo>
                  <a:pt x="3784656" y="3887547"/>
                </a:moveTo>
                <a:lnTo>
                  <a:pt x="3770078" y="3902124"/>
                </a:lnTo>
                <a:lnTo>
                  <a:pt x="3793766" y="3903947"/>
                </a:lnTo>
                <a:close/>
                <a:moveTo>
                  <a:pt x="2427136" y="3887547"/>
                </a:moveTo>
                <a:lnTo>
                  <a:pt x="2458113" y="3894837"/>
                </a:lnTo>
                <a:cubicBezTo>
                  <a:pt x="2441714" y="3918525"/>
                  <a:pt x="2463580" y="3907592"/>
                  <a:pt x="2427136" y="3909414"/>
                </a:cubicBezTo>
                <a:cubicBezTo>
                  <a:pt x="2436247" y="3891193"/>
                  <a:pt x="2434425" y="3907592"/>
                  <a:pt x="2427136" y="3887547"/>
                </a:cubicBezTo>
                <a:close/>
                <a:moveTo>
                  <a:pt x="1475961" y="3887547"/>
                </a:moveTo>
                <a:lnTo>
                  <a:pt x="1501471" y="3887547"/>
                </a:lnTo>
                <a:lnTo>
                  <a:pt x="1494182" y="3900302"/>
                </a:lnTo>
                <a:lnTo>
                  <a:pt x="1516049" y="3916702"/>
                </a:lnTo>
                <a:cubicBezTo>
                  <a:pt x="1508761" y="3936746"/>
                  <a:pt x="1508761" y="3920346"/>
                  <a:pt x="1516049" y="3938568"/>
                </a:cubicBezTo>
                <a:lnTo>
                  <a:pt x="1494182" y="3954968"/>
                </a:lnTo>
                <a:lnTo>
                  <a:pt x="1501471" y="3969545"/>
                </a:lnTo>
                <a:lnTo>
                  <a:pt x="1477784" y="3969545"/>
                </a:lnTo>
                <a:lnTo>
                  <a:pt x="1485072" y="3954968"/>
                </a:lnTo>
                <a:cubicBezTo>
                  <a:pt x="1479605" y="3949501"/>
                  <a:pt x="1477784" y="3945857"/>
                  <a:pt x="1475961" y="3944034"/>
                </a:cubicBezTo>
                <a:cubicBezTo>
                  <a:pt x="1474139" y="3944034"/>
                  <a:pt x="1470494" y="3942212"/>
                  <a:pt x="1463206" y="3940390"/>
                </a:cubicBezTo>
                <a:cubicBezTo>
                  <a:pt x="1468673" y="3925813"/>
                  <a:pt x="1468673" y="3918524"/>
                  <a:pt x="1461383" y="3902124"/>
                </a:cubicBezTo>
                <a:lnTo>
                  <a:pt x="1485072" y="3902124"/>
                </a:lnTo>
                <a:close/>
                <a:moveTo>
                  <a:pt x="4014250" y="3885725"/>
                </a:moveTo>
                <a:lnTo>
                  <a:pt x="4027005" y="3902126"/>
                </a:lnTo>
                <a:lnTo>
                  <a:pt x="4012427" y="3911237"/>
                </a:lnTo>
                <a:close/>
                <a:moveTo>
                  <a:pt x="1915105" y="3874791"/>
                </a:moveTo>
                <a:lnTo>
                  <a:pt x="1969771" y="3874791"/>
                </a:lnTo>
                <a:lnTo>
                  <a:pt x="1960661" y="3903947"/>
                </a:lnTo>
                <a:cubicBezTo>
                  <a:pt x="1936972" y="3891192"/>
                  <a:pt x="1929683" y="3893014"/>
                  <a:pt x="1915105" y="3874791"/>
                </a:cubicBezTo>
                <a:close/>
                <a:moveTo>
                  <a:pt x="2397981" y="3872969"/>
                </a:moveTo>
                <a:lnTo>
                  <a:pt x="2396159" y="3889369"/>
                </a:lnTo>
                <a:lnTo>
                  <a:pt x="2381581" y="3874791"/>
                </a:lnTo>
                <a:close/>
                <a:moveTo>
                  <a:pt x="1802131" y="3872969"/>
                </a:moveTo>
                <a:lnTo>
                  <a:pt x="1800309" y="3896659"/>
                </a:lnTo>
                <a:lnTo>
                  <a:pt x="1771154" y="3887548"/>
                </a:lnTo>
                <a:cubicBezTo>
                  <a:pt x="1789376" y="3865680"/>
                  <a:pt x="1767509" y="3876615"/>
                  <a:pt x="1802131" y="3872969"/>
                </a:cubicBezTo>
                <a:close/>
                <a:moveTo>
                  <a:pt x="1213568" y="3872969"/>
                </a:moveTo>
                <a:cubicBezTo>
                  <a:pt x="1224501" y="3872969"/>
                  <a:pt x="1235435" y="3876614"/>
                  <a:pt x="1235435" y="3887548"/>
                </a:cubicBezTo>
                <a:cubicBezTo>
                  <a:pt x="1235435" y="3907591"/>
                  <a:pt x="1231790" y="3909414"/>
                  <a:pt x="1229969" y="3923991"/>
                </a:cubicBezTo>
                <a:cubicBezTo>
                  <a:pt x="1204457" y="3907591"/>
                  <a:pt x="1224501" y="3911236"/>
                  <a:pt x="1191703" y="3909414"/>
                </a:cubicBezTo>
                <a:cubicBezTo>
                  <a:pt x="1200814" y="3891192"/>
                  <a:pt x="1198991" y="3907591"/>
                  <a:pt x="1191703" y="3887548"/>
                </a:cubicBezTo>
                <a:cubicBezTo>
                  <a:pt x="1197169" y="3883903"/>
                  <a:pt x="1209925" y="3872969"/>
                  <a:pt x="1213568" y="3872969"/>
                </a:cubicBezTo>
                <a:close/>
                <a:moveTo>
                  <a:pt x="2715040" y="3865681"/>
                </a:moveTo>
                <a:cubicBezTo>
                  <a:pt x="2736906" y="3871148"/>
                  <a:pt x="2725973" y="3863859"/>
                  <a:pt x="2736906" y="3880259"/>
                </a:cubicBezTo>
                <a:lnTo>
                  <a:pt x="2715040" y="3880259"/>
                </a:lnTo>
                <a:close/>
                <a:moveTo>
                  <a:pt x="798112" y="3865681"/>
                </a:moveTo>
                <a:lnTo>
                  <a:pt x="814512" y="3867504"/>
                </a:lnTo>
                <a:lnTo>
                  <a:pt x="799934" y="3882081"/>
                </a:lnTo>
                <a:close/>
                <a:moveTo>
                  <a:pt x="4065270" y="3858392"/>
                </a:moveTo>
                <a:lnTo>
                  <a:pt x="4081670" y="3860215"/>
                </a:lnTo>
                <a:lnTo>
                  <a:pt x="4067092" y="3874792"/>
                </a:lnTo>
                <a:close/>
                <a:moveTo>
                  <a:pt x="3952296" y="3858392"/>
                </a:moveTo>
                <a:lnTo>
                  <a:pt x="3974163" y="3858392"/>
                </a:lnTo>
                <a:cubicBezTo>
                  <a:pt x="3961407" y="3889370"/>
                  <a:pt x="3988740" y="3865682"/>
                  <a:pt x="3957763" y="3889370"/>
                </a:cubicBezTo>
                <a:close/>
                <a:moveTo>
                  <a:pt x="3815632" y="3858392"/>
                </a:moveTo>
                <a:cubicBezTo>
                  <a:pt x="3801055" y="3874792"/>
                  <a:pt x="3797411" y="3854748"/>
                  <a:pt x="3808344" y="3880258"/>
                </a:cubicBezTo>
                <a:lnTo>
                  <a:pt x="3799233" y="3902124"/>
                </a:lnTo>
                <a:lnTo>
                  <a:pt x="3822921" y="3887547"/>
                </a:lnTo>
                <a:close/>
                <a:moveTo>
                  <a:pt x="2479980" y="3858392"/>
                </a:moveTo>
                <a:cubicBezTo>
                  <a:pt x="2516424" y="3858392"/>
                  <a:pt x="2510957" y="3858392"/>
                  <a:pt x="2523712" y="3882082"/>
                </a:cubicBezTo>
                <a:lnTo>
                  <a:pt x="2501846" y="3889370"/>
                </a:lnTo>
                <a:lnTo>
                  <a:pt x="2501846" y="3874793"/>
                </a:lnTo>
                <a:lnTo>
                  <a:pt x="2472691" y="3882082"/>
                </a:lnTo>
                <a:close/>
                <a:moveTo>
                  <a:pt x="4025183" y="3843815"/>
                </a:moveTo>
                <a:lnTo>
                  <a:pt x="4050694" y="3843815"/>
                </a:lnTo>
                <a:lnTo>
                  <a:pt x="4041583" y="3860215"/>
                </a:lnTo>
                <a:close/>
                <a:moveTo>
                  <a:pt x="2230342" y="3843815"/>
                </a:moveTo>
                <a:lnTo>
                  <a:pt x="2255853" y="3843815"/>
                </a:lnTo>
                <a:lnTo>
                  <a:pt x="2244920" y="3860215"/>
                </a:lnTo>
                <a:close/>
                <a:moveTo>
                  <a:pt x="2337963" y="3843132"/>
                </a:moveTo>
                <a:cubicBezTo>
                  <a:pt x="2341835" y="3841879"/>
                  <a:pt x="2344682" y="3841993"/>
                  <a:pt x="2346504" y="3843360"/>
                </a:cubicBezTo>
                <a:cubicBezTo>
                  <a:pt x="2350149" y="3846093"/>
                  <a:pt x="2349693" y="3853837"/>
                  <a:pt x="2345138" y="3865681"/>
                </a:cubicBezTo>
                <a:lnTo>
                  <a:pt x="2359715" y="3872970"/>
                </a:lnTo>
                <a:cubicBezTo>
                  <a:pt x="2350604" y="3893014"/>
                  <a:pt x="2350604" y="3876614"/>
                  <a:pt x="2357893" y="3894836"/>
                </a:cubicBezTo>
                <a:lnTo>
                  <a:pt x="2345138" y="3911235"/>
                </a:lnTo>
                <a:lnTo>
                  <a:pt x="2330560" y="3911235"/>
                </a:lnTo>
                <a:lnTo>
                  <a:pt x="2323272" y="3911235"/>
                </a:lnTo>
                <a:cubicBezTo>
                  <a:pt x="2312339" y="3911235"/>
                  <a:pt x="2308694" y="3911235"/>
                  <a:pt x="2308694" y="3911235"/>
                </a:cubicBezTo>
                <a:cubicBezTo>
                  <a:pt x="2308694" y="3911235"/>
                  <a:pt x="2310516" y="3911235"/>
                  <a:pt x="2301406" y="3914880"/>
                </a:cubicBezTo>
                <a:lnTo>
                  <a:pt x="2277717" y="3911235"/>
                </a:lnTo>
                <a:cubicBezTo>
                  <a:pt x="2283184" y="3894836"/>
                  <a:pt x="2283184" y="3889369"/>
                  <a:pt x="2277717" y="3872970"/>
                </a:cubicBezTo>
                <a:lnTo>
                  <a:pt x="2301406" y="3872970"/>
                </a:lnTo>
                <a:cubicBezTo>
                  <a:pt x="2303228" y="3843815"/>
                  <a:pt x="2303228" y="3841993"/>
                  <a:pt x="2323272" y="3851104"/>
                </a:cubicBezTo>
                <a:cubicBezTo>
                  <a:pt x="2329194" y="3847004"/>
                  <a:pt x="2334091" y="3844385"/>
                  <a:pt x="2337963" y="3843132"/>
                </a:cubicBezTo>
                <a:close/>
                <a:moveTo>
                  <a:pt x="1302855" y="3841993"/>
                </a:moveTo>
                <a:lnTo>
                  <a:pt x="1295566" y="3872971"/>
                </a:lnTo>
                <a:lnTo>
                  <a:pt x="1279166" y="3863860"/>
                </a:lnTo>
                <a:close/>
                <a:moveTo>
                  <a:pt x="2547400" y="3836526"/>
                </a:moveTo>
                <a:lnTo>
                  <a:pt x="2563799" y="3849282"/>
                </a:lnTo>
                <a:lnTo>
                  <a:pt x="2556511" y="3863860"/>
                </a:lnTo>
                <a:cubicBezTo>
                  <a:pt x="2527356" y="3851105"/>
                  <a:pt x="2538289" y="3867504"/>
                  <a:pt x="2520067" y="3843816"/>
                </a:cubicBezTo>
                <a:close/>
                <a:moveTo>
                  <a:pt x="1583469" y="3836526"/>
                </a:moveTo>
                <a:cubicBezTo>
                  <a:pt x="1588935" y="3836526"/>
                  <a:pt x="1598047" y="3843816"/>
                  <a:pt x="1598047" y="3851105"/>
                </a:cubicBezTo>
                <a:cubicBezTo>
                  <a:pt x="1598047" y="3867504"/>
                  <a:pt x="1601692" y="3847460"/>
                  <a:pt x="1588935" y="3867504"/>
                </a:cubicBezTo>
                <a:lnTo>
                  <a:pt x="1567069" y="3845638"/>
                </a:lnTo>
                <a:cubicBezTo>
                  <a:pt x="1568892" y="3843816"/>
                  <a:pt x="1581647" y="3836526"/>
                  <a:pt x="1583469" y="3836526"/>
                </a:cubicBezTo>
                <a:close/>
                <a:moveTo>
                  <a:pt x="2722327" y="3827415"/>
                </a:moveTo>
                <a:lnTo>
                  <a:pt x="2736905" y="3827415"/>
                </a:lnTo>
                <a:lnTo>
                  <a:pt x="2722327" y="3841993"/>
                </a:lnTo>
                <a:close/>
                <a:moveTo>
                  <a:pt x="4012428" y="3820126"/>
                </a:moveTo>
                <a:lnTo>
                  <a:pt x="4019716" y="3841994"/>
                </a:lnTo>
                <a:cubicBezTo>
                  <a:pt x="4006961" y="3874792"/>
                  <a:pt x="4025183" y="3841994"/>
                  <a:pt x="4012428" y="3872970"/>
                </a:cubicBezTo>
                <a:cubicBezTo>
                  <a:pt x="3990561" y="3856571"/>
                  <a:pt x="3997850" y="3836527"/>
                  <a:pt x="4012428" y="3820126"/>
                </a:cubicBezTo>
                <a:close/>
                <a:moveTo>
                  <a:pt x="3793766" y="3820126"/>
                </a:moveTo>
                <a:lnTo>
                  <a:pt x="3770078" y="3821949"/>
                </a:lnTo>
                <a:lnTo>
                  <a:pt x="3784656" y="3836526"/>
                </a:lnTo>
                <a:close/>
                <a:moveTo>
                  <a:pt x="3760967" y="3820126"/>
                </a:moveTo>
                <a:lnTo>
                  <a:pt x="3739101" y="3841993"/>
                </a:lnTo>
                <a:lnTo>
                  <a:pt x="3762790" y="3843815"/>
                </a:lnTo>
                <a:close/>
                <a:moveTo>
                  <a:pt x="2388871" y="3812838"/>
                </a:moveTo>
                <a:lnTo>
                  <a:pt x="2396159" y="3825594"/>
                </a:lnTo>
                <a:lnTo>
                  <a:pt x="2388871" y="3836528"/>
                </a:lnTo>
                <a:lnTo>
                  <a:pt x="2374293" y="3821950"/>
                </a:lnTo>
                <a:close/>
                <a:moveTo>
                  <a:pt x="1862262" y="3812838"/>
                </a:moveTo>
                <a:lnTo>
                  <a:pt x="1853151" y="3829238"/>
                </a:lnTo>
                <a:lnTo>
                  <a:pt x="1838573" y="3814661"/>
                </a:lnTo>
                <a:close/>
                <a:moveTo>
                  <a:pt x="1754753" y="3811015"/>
                </a:moveTo>
                <a:lnTo>
                  <a:pt x="1771154" y="3834705"/>
                </a:lnTo>
                <a:lnTo>
                  <a:pt x="1732887" y="3832883"/>
                </a:lnTo>
                <a:close/>
                <a:moveTo>
                  <a:pt x="4087138" y="3803727"/>
                </a:moveTo>
                <a:lnTo>
                  <a:pt x="4094426" y="3820127"/>
                </a:lnTo>
                <a:lnTo>
                  <a:pt x="4063449" y="3818305"/>
                </a:lnTo>
                <a:close/>
                <a:moveTo>
                  <a:pt x="2345139" y="3798260"/>
                </a:moveTo>
                <a:lnTo>
                  <a:pt x="2343317" y="3836527"/>
                </a:lnTo>
                <a:lnTo>
                  <a:pt x="2305051" y="3800084"/>
                </a:lnTo>
                <a:close/>
                <a:moveTo>
                  <a:pt x="2751483" y="3790972"/>
                </a:moveTo>
                <a:lnTo>
                  <a:pt x="2753305" y="3807371"/>
                </a:lnTo>
                <a:lnTo>
                  <a:pt x="2767882" y="3792794"/>
                </a:lnTo>
                <a:close/>
                <a:moveTo>
                  <a:pt x="4010605" y="3789149"/>
                </a:moveTo>
                <a:lnTo>
                  <a:pt x="4012427" y="3812839"/>
                </a:lnTo>
                <a:lnTo>
                  <a:pt x="3996027" y="3803728"/>
                </a:lnTo>
                <a:close/>
                <a:moveTo>
                  <a:pt x="1552492" y="3789149"/>
                </a:moveTo>
                <a:cubicBezTo>
                  <a:pt x="1565248" y="3821949"/>
                  <a:pt x="1547025" y="3789149"/>
                  <a:pt x="1559781" y="3820127"/>
                </a:cubicBezTo>
                <a:lnTo>
                  <a:pt x="1536092" y="3820127"/>
                </a:lnTo>
                <a:cubicBezTo>
                  <a:pt x="1539737" y="3811016"/>
                  <a:pt x="1541105" y="3806460"/>
                  <a:pt x="1541331" y="3804182"/>
                </a:cubicBezTo>
                <a:lnTo>
                  <a:pt x="1540487" y="3802976"/>
                </a:lnTo>
                <a:lnTo>
                  <a:pt x="1539737" y="3801905"/>
                </a:lnTo>
                <a:cubicBezTo>
                  <a:pt x="1541559" y="3800083"/>
                  <a:pt x="1545203" y="3796439"/>
                  <a:pt x="1552492" y="3789149"/>
                </a:cubicBezTo>
                <a:close/>
                <a:moveTo>
                  <a:pt x="4161846" y="3783683"/>
                </a:moveTo>
                <a:lnTo>
                  <a:pt x="4185535" y="3783683"/>
                </a:lnTo>
                <a:lnTo>
                  <a:pt x="4176424" y="3798261"/>
                </a:lnTo>
                <a:close/>
                <a:moveTo>
                  <a:pt x="1357519" y="3781861"/>
                </a:moveTo>
                <a:lnTo>
                  <a:pt x="1379385" y="3781861"/>
                </a:lnTo>
                <a:lnTo>
                  <a:pt x="1379385" y="3803728"/>
                </a:lnTo>
                <a:lnTo>
                  <a:pt x="1357519" y="3803728"/>
                </a:lnTo>
                <a:close/>
                <a:moveTo>
                  <a:pt x="2623931" y="3778216"/>
                </a:moveTo>
                <a:lnTo>
                  <a:pt x="2602064" y="3800082"/>
                </a:lnTo>
                <a:lnTo>
                  <a:pt x="2607531" y="3831059"/>
                </a:lnTo>
                <a:lnTo>
                  <a:pt x="2583843" y="3831059"/>
                </a:lnTo>
                <a:lnTo>
                  <a:pt x="2591131" y="3858393"/>
                </a:lnTo>
                <a:lnTo>
                  <a:pt x="2578376" y="3872970"/>
                </a:lnTo>
                <a:lnTo>
                  <a:pt x="2585665" y="3883903"/>
                </a:lnTo>
                <a:lnTo>
                  <a:pt x="2607531" y="3860215"/>
                </a:lnTo>
                <a:cubicBezTo>
                  <a:pt x="2631219" y="3874792"/>
                  <a:pt x="2612997" y="3871148"/>
                  <a:pt x="2645797" y="3874792"/>
                </a:cubicBezTo>
                <a:lnTo>
                  <a:pt x="2638508" y="3887548"/>
                </a:lnTo>
                <a:lnTo>
                  <a:pt x="2667663" y="3913058"/>
                </a:lnTo>
                <a:lnTo>
                  <a:pt x="2691351" y="3903947"/>
                </a:lnTo>
                <a:lnTo>
                  <a:pt x="2682240" y="3933102"/>
                </a:lnTo>
                <a:lnTo>
                  <a:pt x="2676773" y="3933102"/>
                </a:lnTo>
                <a:lnTo>
                  <a:pt x="2669486" y="3940391"/>
                </a:lnTo>
                <a:cubicBezTo>
                  <a:pt x="2678597" y="3962257"/>
                  <a:pt x="2684063" y="3947679"/>
                  <a:pt x="2664019" y="3954968"/>
                </a:cubicBezTo>
                <a:lnTo>
                  <a:pt x="2654908" y="3933101"/>
                </a:lnTo>
                <a:lnTo>
                  <a:pt x="2674951" y="3933101"/>
                </a:lnTo>
                <a:lnTo>
                  <a:pt x="2667663" y="3918525"/>
                </a:lnTo>
                <a:cubicBezTo>
                  <a:pt x="2647619" y="3927635"/>
                  <a:pt x="2664018" y="3914880"/>
                  <a:pt x="2645797" y="3925813"/>
                </a:cubicBezTo>
                <a:cubicBezTo>
                  <a:pt x="2634864" y="3947679"/>
                  <a:pt x="2642152" y="3947679"/>
                  <a:pt x="2600242" y="3956790"/>
                </a:cubicBezTo>
                <a:cubicBezTo>
                  <a:pt x="2592954" y="3923991"/>
                  <a:pt x="2565621" y="3913058"/>
                  <a:pt x="2547399" y="3887548"/>
                </a:cubicBezTo>
                <a:lnTo>
                  <a:pt x="2525533" y="3903947"/>
                </a:lnTo>
                <a:lnTo>
                  <a:pt x="2534644" y="3872970"/>
                </a:lnTo>
                <a:lnTo>
                  <a:pt x="2549221" y="3880259"/>
                </a:lnTo>
                <a:lnTo>
                  <a:pt x="2556510" y="3865681"/>
                </a:lnTo>
                <a:lnTo>
                  <a:pt x="2572910" y="3872970"/>
                </a:lnTo>
                <a:lnTo>
                  <a:pt x="2561977" y="3854748"/>
                </a:lnTo>
                <a:lnTo>
                  <a:pt x="2571088" y="3831059"/>
                </a:lnTo>
                <a:lnTo>
                  <a:pt x="2547399" y="3801904"/>
                </a:lnTo>
                <a:cubicBezTo>
                  <a:pt x="2567443" y="3792793"/>
                  <a:pt x="2551044" y="3792793"/>
                  <a:pt x="2569265" y="3798260"/>
                </a:cubicBezTo>
                <a:close/>
                <a:moveTo>
                  <a:pt x="2456291" y="3772750"/>
                </a:moveTo>
                <a:lnTo>
                  <a:pt x="2458113" y="3798262"/>
                </a:lnTo>
                <a:lnTo>
                  <a:pt x="2441713" y="3789151"/>
                </a:lnTo>
                <a:close/>
                <a:moveTo>
                  <a:pt x="2767882" y="3767284"/>
                </a:moveTo>
                <a:lnTo>
                  <a:pt x="2767882" y="3781861"/>
                </a:lnTo>
                <a:lnTo>
                  <a:pt x="2782460" y="3781861"/>
                </a:lnTo>
                <a:close/>
                <a:moveTo>
                  <a:pt x="3974163" y="3767283"/>
                </a:moveTo>
                <a:lnTo>
                  <a:pt x="3965052" y="3783683"/>
                </a:lnTo>
                <a:lnTo>
                  <a:pt x="3950474" y="3769106"/>
                </a:lnTo>
                <a:close/>
                <a:moveTo>
                  <a:pt x="1129748" y="3767283"/>
                </a:moveTo>
                <a:cubicBezTo>
                  <a:pt x="1160726" y="3769107"/>
                  <a:pt x="1155259" y="3770929"/>
                  <a:pt x="1166194" y="3790973"/>
                </a:cubicBezTo>
                <a:lnTo>
                  <a:pt x="1151614" y="3790973"/>
                </a:lnTo>
                <a:lnTo>
                  <a:pt x="1151614" y="3805550"/>
                </a:lnTo>
                <a:cubicBezTo>
                  <a:pt x="1131570" y="3790973"/>
                  <a:pt x="1133393" y="3798261"/>
                  <a:pt x="1129748" y="3767283"/>
                </a:cubicBezTo>
                <a:close/>
                <a:moveTo>
                  <a:pt x="2656730" y="3758173"/>
                </a:moveTo>
                <a:lnTo>
                  <a:pt x="2654908" y="3783683"/>
                </a:lnTo>
                <a:lnTo>
                  <a:pt x="2669485" y="3774572"/>
                </a:lnTo>
                <a:close/>
                <a:moveTo>
                  <a:pt x="2578377" y="3752706"/>
                </a:moveTo>
                <a:lnTo>
                  <a:pt x="2633042" y="3752706"/>
                </a:lnTo>
                <a:lnTo>
                  <a:pt x="2623932" y="3774573"/>
                </a:lnTo>
                <a:lnTo>
                  <a:pt x="2623932" y="3759996"/>
                </a:lnTo>
                <a:cubicBezTo>
                  <a:pt x="2600243" y="3761818"/>
                  <a:pt x="2603888" y="3763640"/>
                  <a:pt x="2592955" y="3774573"/>
                </a:cubicBezTo>
                <a:cubicBezTo>
                  <a:pt x="2591132" y="3769107"/>
                  <a:pt x="2589310" y="3763640"/>
                  <a:pt x="2589310" y="3761818"/>
                </a:cubicBezTo>
                <a:cubicBezTo>
                  <a:pt x="2587488" y="3759996"/>
                  <a:pt x="2583844" y="3758174"/>
                  <a:pt x="2578377" y="3752706"/>
                </a:cubicBezTo>
                <a:close/>
                <a:moveTo>
                  <a:pt x="1328365" y="3752706"/>
                </a:moveTo>
                <a:lnTo>
                  <a:pt x="1317431" y="3776396"/>
                </a:lnTo>
                <a:lnTo>
                  <a:pt x="1295565" y="3754530"/>
                </a:lnTo>
                <a:close/>
                <a:moveTo>
                  <a:pt x="2297762" y="3750884"/>
                </a:moveTo>
                <a:lnTo>
                  <a:pt x="2299584" y="3776396"/>
                </a:lnTo>
                <a:lnTo>
                  <a:pt x="2283184" y="3765462"/>
                </a:lnTo>
                <a:close/>
                <a:moveTo>
                  <a:pt x="940241" y="3745417"/>
                </a:moveTo>
                <a:cubicBezTo>
                  <a:pt x="978507" y="3747239"/>
                  <a:pt x="967574" y="3756350"/>
                  <a:pt x="994906" y="3772750"/>
                </a:cubicBezTo>
                <a:lnTo>
                  <a:pt x="1025883" y="3767283"/>
                </a:lnTo>
                <a:lnTo>
                  <a:pt x="1025883" y="3783683"/>
                </a:lnTo>
                <a:lnTo>
                  <a:pt x="1038639" y="3776394"/>
                </a:lnTo>
                <a:lnTo>
                  <a:pt x="1067793" y="3807371"/>
                </a:lnTo>
                <a:lnTo>
                  <a:pt x="1076904" y="3831060"/>
                </a:lnTo>
                <a:lnTo>
                  <a:pt x="1071438" y="3843815"/>
                </a:lnTo>
                <a:lnTo>
                  <a:pt x="1084193" y="3867504"/>
                </a:lnTo>
                <a:lnTo>
                  <a:pt x="1080549" y="3882081"/>
                </a:lnTo>
                <a:lnTo>
                  <a:pt x="1082371" y="3907592"/>
                </a:lnTo>
                <a:lnTo>
                  <a:pt x="1060505" y="3882081"/>
                </a:lnTo>
                <a:lnTo>
                  <a:pt x="1036818" y="3898481"/>
                </a:lnTo>
                <a:lnTo>
                  <a:pt x="1053216" y="3920347"/>
                </a:lnTo>
                <a:lnTo>
                  <a:pt x="1038639" y="3927636"/>
                </a:lnTo>
                <a:cubicBezTo>
                  <a:pt x="1047750" y="3945857"/>
                  <a:pt x="1045927" y="3929458"/>
                  <a:pt x="1038639" y="3949502"/>
                </a:cubicBezTo>
                <a:cubicBezTo>
                  <a:pt x="1047750" y="3949502"/>
                  <a:pt x="1045927" y="3945857"/>
                  <a:pt x="1045927" y="3956790"/>
                </a:cubicBezTo>
                <a:cubicBezTo>
                  <a:pt x="1045927" y="3985945"/>
                  <a:pt x="1047750" y="3960435"/>
                  <a:pt x="1038639" y="3971368"/>
                </a:cubicBezTo>
                <a:cubicBezTo>
                  <a:pt x="1047750" y="3991412"/>
                  <a:pt x="1051394" y="3978657"/>
                  <a:pt x="1031350" y="3985945"/>
                </a:cubicBezTo>
                <a:cubicBezTo>
                  <a:pt x="1031350" y="3953146"/>
                  <a:pt x="1033172" y="3969546"/>
                  <a:pt x="1024061" y="3954968"/>
                </a:cubicBezTo>
                <a:cubicBezTo>
                  <a:pt x="1036818" y="3922169"/>
                  <a:pt x="1018596" y="3954968"/>
                  <a:pt x="1031350" y="3925813"/>
                </a:cubicBezTo>
                <a:lnTo>
                  <a:pt x="1000374" y="3914880"/>
                </a:lnTo>
                <a:lnTo>
                  <a:pt x="985796" y="3923991"/>
                </a:lnTo>
                <a:cubicBezTo>
                  <a:pt x="965752" y="3911236"/>
                  <a:pt x="978507" y="3920347"/>
                  <a:pt x="971219" y="3923991"/>
                </a:cubicBezTo>
                <a:cubicBezTo>
                  <a:pt x="969396" y="3927636"/>
                  <a:pt x="967574" y="3929458"/>
                  <a:pt x="965752" y="3929458"/>
                </a:cubicBezTo>
                <a:cubicBezTo>
                  <a:pt x="965752" y="3931280"/>
                  <a:pt x="967574" y="3934924"/>
                  <a:pt x="969396" y="3938568"/>
                </a:cubicBezTo>
                <a:lnTo>
                  <a:pt x="949352" y="3953146"/>
                </a:lnTo>
                <a:lnTo>
                  <a:pt x="932953" y="3940391"/>
                </a:lnTo>
                <a:cubicBezTo>
                  <a:pt x="940241" y="3920347"/>
                  <a:pt x="940241" y="3936746"/>
                  <a:pt x="932953" y="3918525"/>
                </a:cubicBezTo>
                <a:lnTo>
                  <a:pt x="949352" y="3909414"/>
                </a:lnTo>
                <a:lnTo>
                  <a:pt x="932953" y="3894836"/>
                </a:lnTo>
                <a:lnTo>
                  <a:pt x="940241" y="3882081"/>
                </a:lnTo>
                <a:lnTo>
                  <a:pt x="918375" y="3865682"/>
                </a:lnTo>
                <a:cubicBezTo>
                  <a:pt x="936597" y="3832883"/>
                  <a:pt x="916553" y="3851104"/>
                  <a:pt x="942063" y="3843815"/>
                </a:cubicBezTo>
                <a:cubicBezTo>
                  <a:pt x="929308" y="3811015"/>
                  <a:pt x="947530" y="3843815"/>
                  <a:pt x="934775" y="3812838"/>
                </a:cubicBezTo>
                <a:cubicBezTo>
                  <a:pt x="954819" y="3805549"/>
                  <a:pt x="962108" y="3790972"/>
                  <a:pt x="971219" y="3776394"/>
                </a:cubicBezTo>
                <a:close/>
                <a:moveTo>
                  <a:pt x="2503667" y="3738130"/>
                </a:moveTo>
                <a:lnTo>
                  <a:pt x="2489092" y="3745418"/>
                </a:lnTo>
                <a:lnTo>
                  <a:pt x="2510956" y="3752706"/>
                </a:lnTo>
                <a:close/>
                <a:moveTo>
                  <a:pt x="1854973" y="3738128"/>
                </a:moveTo>
                <a:lnTo>
                  <a:pt x="1898706" y="3745418"/>
                </a:lnTo>
                <a:cubicBezTo>
                  <a:pt x="1887772" y="3774573"/>
                  <a:pt x="1916928" y="3765462"/>
                  <a:pt x="1876839" y="3776395"/>
                </a:cubicBezTo>
                <a:cubicBezTo>
                  <a:pt x="1869551" y="3756351"/>
                  <a:pt x="1867728" y="3759996"/>
                  <a:pt x="1854973" y="3738128"/>
                </a:cubicBezTo>
                <a:close/>
                <a:moveTo>
                  <a:pt x="2794532" y="3729701"/>
                </a:moveTo>
                <a:cubicBezTo>
                  <a:pt x="2791116" y="3729929"/>
                  <a:pt x="2789749" y="3731751"/>
                  <a:pt x="2789749" y="3738129"/>
                </a:cubicBezTo>
                <a:lnTo>
                  <a:pt x="2775171" y="3730840"/>
                </a:lnTo>
                <a:lnTo>
                  <a:pt x="2758772" y="3752706"/>
                </a:lnTo>
                <a:lnTo>
                  <a:pt x="2767882" y="3759995"/>
                </a:lnTo>
                <a:lnTo>
                  <a:pt x="2789749" y="3738129"/>
                </a:lnTo>
                <a:lnTo>
                  <a:pt x="2811615" y="3738129"/>
                </a:lnTo>
                <a:lnTo>
                  <a:pt x="2804326" y="3752706"/>
                </a:lnTo>
                <a:lnTo>
                  <a:pt x="2820384" y="3759843"/>
                </a:lnTo>
                <a:lnTo>
                  <a:pt x="2818903" y="3761817"/>
                </a:lnTo>
                <a:lnTo>
                  <a:pt x="2821637" y="3761817"/>
                </a:lnTo>
                <a:lnTo>
                  <a:pt x="2828014" y="3774572"/>
                </a:lnTo>
                <a:lnTo>
                  <a:pt x="2804326" y="3774572"/>
                </a:lnTo>
                <a:lnTo>
                  <a:pt x="2804326" y="3781861"/>
                </a:lnTo>
                <a:lnTo>
                  <a:pt x="2835303" y="3781861"/>
                </a:lnTo>
                <a:lnTo>
                  <a:pt x="2835303" y="3761817"/>
                </a:lnTo>
                <a:lnTo>
                  <a:pt x="2821637" y="3761817"/>
                </a:lnTo>
                <a:lnTo>
                  <a:pt x="2820726" y="3759995"/>
                </a:lnTo>
                <a:lnTo>
                  <a:pt x="2820384" y="3759843"/>
                </a:lnTo>
                <a:lnTo>
                  <a:pt x="2835303" y="3739951"/>
                </a:lnTo>
                <a:cubicBezTo>
                  <a:pt x="2813437" y="3729018"/>
                  <a:pt x="2840769" y="3730840"/>
                  <a:pt x="2811615" y="3730840"/>
                </a:cubicBezTo>
                <a:cubicBezTo>
                  <a:pt x="2803415" y="3730840"/>
                  <a:pt x="2797949" y="3729473"/>
                  <a:pt x="2794532" y="3729701"/>
                </a:cubicBezTo>
                <a:close/>
                <a:moveTo>
                  <a:pt x="3770078" y="3729018"/>
                </a:moveTo>
                <a:lnTo>
                  <a:pt x="3746390" y="3736307"/>
                </a:lnTo>
                <a:lnTo>
                  <a:pt x="3760967" y="3750884"/>
                </a:lnTo>
                <a:close/>
                <a:moveTo>
                  <a:pt x="2609353" y="3721729"/>
                </a:moveTo>
                <a:lnTo>
                  <a:pt x="2607531" y="3738129"/>
                </a:lnTo>
                <a:lnTo>
                  <a:pt x="2592953" y="3723552"/>
                </a:lnTo>
                <a:close/>
                <a:moveTo>
                  <a:pt x="2095501" y="3721729"/>
                </a:moveTo>
                <a:lnTo>
                  <a:pt x="2119190" y="3721729"/>
                </a:lnTo>
                <a:lnTo>
                  <a:pt x="2119190" y="3738129"/>
                </a:lnTo>
                <a:cubicBezTo>
                  <a:pt x="2097323" y="3732662"/>
                  <a:pt x="2108256" y="3738129"/>
                  <a:pt x="2095501" y="3721729"/>
                </a:cubicBezTo>
                <a:close/>
                <a:moveTo>
                  <a:pt x="1936972" y="3721729"/>
                </a:moveTo>
                <a:lnTo>
                  <a:pt x="1953371" y="3723552"/>
                </a:lnTo>
                <a:lnTo>
                  <a:pt x="1938793" y="3738129"/>
                </a:lnTo>
                <a:close/>
                <a:moveTo>
                  <a:pt x="1893238" y="3721729"/>
                </a:moveTo>
                <a:lnTo>
                  <a:pt x="1909639" y="3723552"/>
                </a:lnTo>
                <a:lnTo>
                  <a:pt x="1893238" y="3738129"/>
                </a:lnTo>
                <a:close/>
                <a:moveTo>
                  <a:pt x="1712843" y="3721729"/>
                </a:moveTo>
                <a:lnTo>
                  <a:pt x="1718310" y="3756350"/>
                </a:lnTo>
                <a:lnTo>
                  <a:pt x="1740176" y="3756350"/>
                </a:lnTo>
                <a:cubicBezTo>
                  <a:pt x="1736532" y="3785506"/>
                  <a:pt x="1736532" y="3787329"/>
                  <a:pt x="1718310" y="3780040"/>
                </a:cubicBezTo>
                <a:lnTo>
                  <a:pt x="1692799" y="3801906"/>
                </a:lnTo>
                <a:lnTo>
                  <a:pt x="1709199" y="3814661"/>
                </a:lnTo>
                <a:cubicBezTo>
                  <a:pt x="1703732" y="3829238"/>
                  <a:pt x="1703732" y="3836527"/>
                  <a:pt x="1709199" y="3851105"/>
                </a:cubicBezTo>
                <a:lnTo>
                  <a:pt x="1696444" y="3858393"/>
                </a:lnTo>
                <a:lnTo>
                  <a:pt x="1701910" y="3889370"/>
                </a:lnTo>
                <a:lnTo>
                  <a:pt x="1680044" y="3889370"/>
                </a:lnTo>
                <a:cubicBezTo>
                  <a:pt x="1676400" y="3860216"/>
                  <a:pt x="1676400" y="3860216"/>
                  <a:pt x="1649067" y="3858393"/>
                </a:cubicBezTo>
                <a:lnTo>
                  <a:pt x="1649067" y="3836527"/>
                </a:lnTo>
                <a:cubicBezTo>
                  <a:pt x="1649067" y="3814661"/>
                  <a:pt x="1667289" y="3807372"/>
                  <a:pt x="1680044" y="3798261"/>
                </a:cubicBezTo>
                <a:cubicBezTo>
                  <a:pt x="1672756" y="3778218"/>
                  <a:pt x="1672756" y="3794617"/>
                  <a:pt x="1680044" y="3776394"/>
                </a:cubicBezTo>
                <a:lnTo>
                  <a:pt x="1656356" y="3758173"/>
                </a:lnTo>
                <a:lnTo>
                  <a:pt x="1681866" y="3730840"/>
                </a:lnTo>
                <a:close/>
                <a:moveTo>
                  <a:pt x="1109704" y="3712618"/>
                </a:moveTo>
                <a:lnTo>
                  <a:pt x="1122459" y="3729019"/>
                </a:lnTo>
                <a:cubicBezTo>
                  <a:pt x="1086016" y="3743596"/>
                  <a:pt x="1129749" y="3732663"/>
                  <a:pt x="1100593" y="3743596"/>
                </a:cubicBezTo>
                <a:close/>
                <a:moveTo>
                  <a:pt x="3733635" y="3699863"/>
                </a:moveTo>
                <a:lnTo>
                  <a:pt x="3709947" y="3701685"/>
                </a:lnTo>
                <a:lnTo>
                  <a:pt x="3731813" y="3723551"/>
                </a:lnTo>
                <a:close/>
                <a:moveTo>
                  <a:pt x="2186610" y="3699863"/>
                </a:moveTo>
                <a:lnTo>
                  <a:pt x="2195721" y="3723552"/>
                </a:lnTo>
                <a:lnTo>
                  <a:pt x="2188432" y="3738129"/>
                </a:lnTo>
                <a:cubicBezTo>
                  <a:pt x="2219409" y="3741773"/>
                  <a:pt x="2213943" y="3750884"/>
                  <a:pt x="2223053" y="3769106"/>
                </a:cubicBezTo>
                <a:lnTo>
                  <a:pt x="2224876" y="3820127"/>
                </a:lnTo>
                <a:lnTo>
                  <a:pt x="2203010" y="3836526"/>
                </a:lnTo>
                <a:lnTo>
                  <a:pt x="2210298" y="3851104"/>
                </a:lnTo>
                <a:lnTo>
                  <a:pt x="2188432" y="3851104"/>
                </a:lnTo>
                <a:cubicBezTo>
                  <a:pt x="2159277" y="3851104"/>
                  <a:pt x="2186610" y="3852926"/>
                  <a:pt x="2173855" y="3843815"/>
                </a:cubicBezTo>
                <a:lnTo>
                  <a:pt x="2159277" y="3851104"/>
                </a:lnTo>
                <a:lnTo>
                  <a:pt x="2150166" y="3836526"/>
                </a:lnTo>
                <a:lnTo>
                  <a:pt x="2137411" y="3843815"/>
                </a:lnTo>
                <a:lnTo>
                  <a:pt x="2111901" y="3821949"/>
                </a:lnTo>
                <a:lnTo>
                  <a:pt x="2119190" y="3807371"/>
                </a:lnTo>
                <a:cubicBezTo>
                  <a:pt x="2084568" y="3803727"/>
                  <a:pt x="2106434" y="3814660"/>
                  <a:pt x="2088213" y="3790972"/>
                </a:cubicBezTo>
                <a:lnTo>
                  <a:pt x="2073635" y="3800083"/>
                </a:lnTo>
                <a:cubicBezTo>
                  <a:pt x="2066348" y="3790972"/>
                  <a:pt x="2086390" y="3792794"/>
                  <a:pt x="2059058" y="3792794"/>
                </a:cubicBezTo>
                <a:lnTo>
                  <a:pt x="2035369" y="3792794"/>
                </a:lnTo>
                <a:lnTo>
                  <a:pt x="2042658" y="3805549"/>
                </a:lnTo>
                <a:lnTo>
                  <a:pt x="2018971" y="3814660"/>
                </a:lnTo>
                <a:lnTo>
                  <a:pt x="2004392" y="3807371"/>
                </a:lnTo>
                <a:lnTo>
                  <a:pt x="2004392" y="3821949"/>
                </a:lnTo>
                <a:lnTo>
                  <a:pt x="1989814" y="3821949"/>
                </a:lnTo>
                <a:cubicBezTo>
                  <a:pt x="2002569" y="3789150"/>
                  <a:pt x="1984348" y="3821949"/>
                  <a:pt x="1997103" y="3790972"/>
                </a:cubicBezTo>
                <a:cubicBezTo>
                  <a:pt x="1973416" y="3781861"/>
                  <a:pt x="1980703" y="3776394"/>
                  <a:pt x="1969770" y="3754528"/>
                </a:cubicBezTo>
                <a:cubicBezTo>
                  <a:pt x="1984348" y="3736307"/>
                  <a:pt x="2002569" y="3721729"/>
                  <a:pt x="2015325" y="3701685"/>
                </a:cubicBezTo>
                <a:cubicBezTo>
                  <a:pt x="2035369" y="3710796"/>
                  <a:pt x="2018971" y="3710796"/>
                  <a:pt x="2037193" y="3705330"/>
                </a:cubicBezTo>
                <a:lnTo>
                  <a:pt x="2066348" y="3716263"/>
                </a:lnTo>
                <a:lnTo>
                  <a:pt x="2080924" y="3703508"/>
                </a:lnTo>
                <a:lnTo>
                  <a:pt x="2091857" y="3710796"/>
                </a:lnTo>
                <a:lnTo>
                  <a:pt x="2069991" y="3732662"/>
                </a:lnTo>
                <a:lnTo>
                  <a:pt x="2097323" y="3761817"/>
                </a:lnTo>
                <a:lnTo>
                  <a:pt x="2090035" y="3783683"/>
                </a:lnTo>
                <a:lnTo>
                  <a:pt x="2111901" y="3792794"/>
                </a:lnTo>
                <a:cubicBezTo>
                  <a:pt x="2121012" y="3772750"/>
                  <a:pt x="2121012" y="3789150"/>
                  <a:pt x="2115545" y="3770928"/>
                </a:cubicBezTo>
                <a:lnTo>
                  <a:pt x="2128300" y="3739951"/>
                </a:lnTo>
                <a:lnTo>
                  <a:pt x="2150166" y="3730840"/>
                </a:lnTo>
                <a:cubicBezTo>
                  <a:pt x="2170210" y="3738129"/>
                  <a:pt x="2153811" y="3738129"/>
                  <a:pt x="2173855" y="3729018"/>
                </a:cubicBezTo>
                <a:lnTo>
                  <a:pt x="2157455" y="3707152"/>
                </a:lnTo>
                <a:cubicBezTo>
                  <a:pt x="2188432" y="3694397"/>
                  <a:pt x="2155633" y="3712618"/>
                  <a:pt x="2186610" y="3699863"/>
                </a:cubicBezTo>
                <a:close/>
                <a:moveTo>
                  <a:pt x="2864458" y="3698041"/>
                </a:moveTo>
                <a:lnTo>
                  <a:pt x="2858991" y="3730840"/>
                </a:lnTo>
                <a:lnTo>
                  <a:pt x="2880857" y="3707152"/>
                </a:lnTo>
                <a:close/>
                <a:moveTo>
                  <a:pt x="2561977" y="3698041"/>
                </a:moveTo>
                <a:lnTo>
                  <a:pt x="2563799" y="3714441"/>
                </a:lnTo>
                <a:lnTo>
                  <a:pt x="2547399" y="3712619"/>
                </a:lnTo>
                <a:close/>
                <a:moveTo>
                  <a:pt x="2481801" y="3698041"/>
                </a:moveTo>
                <a:lnTo>
                  <a:pt x="2510956" y="3718086"/>
                </a:lnTo>
                <a:lnTo>
                  <a:pt x="2543755" y="3723553"/>
                </a:lnTo>
                <a:lnTo>
                  <a:pt x="2510957" y="3752707"/>
                </a:lnTo>
                <a:lnTo>
                  <a:pt x="2481802" y="3767284"/>
                </a:lnTo>
                <a:lnTo>
                  <a:pt x="2472691" y="3752707"/>
                </a:lnTo>
                <a:lnTo>
                  <a:pt x="2489089" y="3745418"/>
                </a:lnTo>
                <a:lnTo>
                  <a:pt x="2472690" y="3729019"/>
                </a:lnTo>
                <a:cubicBezTo>
                  <a:pt x="2485445" y="3698041"/>
                  <a:pt x="2467224" y="3730841"/>
                  <a:pt x="2481801" y="3698041"/>
                </a:cubicBezTo>
                <a:close/>
                <a:moveTo>
                  <a:pt x="2244919" y="3698041"/>
                </a:moveTo>
                <a:lnTo>
                  <a:pt x="2246741" y="3714441"/>
                </a:lnTo>
                <a:lnTo>
                  <a:pt x="2230341" y="3712619"/>
                </a:lnTo>
                <a:close/>
                <a:moveTo>
                  <a:pt x="4147269" y="3692574"/>
                </a:moveTo>
                <a:lnTo>
                  <a:pt x="4172780" y="3694397"/>
                </a:lnTo>
                <a:lnTo>
                  <a:pt x="4156380" y="3707152"/>
                </a:lnTo>
                <a:close/>
                <a:moveTo>
                  <a:pt x="3884874" y="3692574"/>
                </a:moveTo>
                <a:lnTo>
                  <a:pt x="3899452" y="3692574"/>
                </a:lnTo>
                <a:lnTo>
                  <a:pt x="3899452" y="3714442"/>
                </a:lnTo>
                <a:cubicBezTo>
                  <a:pt x="3870297" y="3694398"/>
                  <a:pt x="3895807" y="3714442"/>
                  <a:pt x="3884874" y="3692574"/>
                </a:cubicBezTo>
                <a:close/>
                <a:moveTo>
                  <a:pt x="2503668" y="3692574"/>
                </a:moveTo>
                <a:lnTo>
                  <a:pt x="2527357" y="3694397"/>
                </a:lnTo>
                <a:lnTo>
                  <a:pt x="2510957" y="3707152"/>
                </a:lnTo>
                <a:close/>
                <a:moveTo>
                  <a:pt x="2261319" y="3692574"/>
                </a:moveTo>
                <a:lnTo>
                  <a:pt x="2299585" y="3692574"/>
                </a:lnTo>
                <a:cubicBezTo>
                  <a:pt x="2281363" y="3718086"/>
                  <a:pt x="2292296" y="3699864"/>
                  <a:pt x="2261319" y="3714442"/>
                </a:cubicBezTo>
                <a:close/>
                <a:moveTo>
                  <a:pt x="1823996" y="3692574"/>
                </a:moveTo>
                <a:lnTo>
                  <a:pt x="1849507" y="3694397"/>
                </a:lnTo>
                <a:lnTo>
                  <a:pt x="1833107" y="3707152"/>
                </a:lnTo>
                <a:close/>
                <a:moveTo>
                  <a:pt x="2685884" y="3690752"/>
                </a:moveTo>
                <a:lnTo>
                  <a:pt x="2700461" y="3690752"/>
                </a:lnTo>
                <a:cubicBezTo>
                  <a:pt x="2705928" y="3714442"/>
                  <a:pt x="2702284" y="3703508"/>
                  <a:pt x="2715039" y="3721730"/>
                </a:cubicBezTo>
                <a:lnTo>
                  <a:pt x="2694995" y="3721730"/>
                </a:lnTo>
                <a:lnTo>
                  <a:pt x="2694995" y="3741774"/>
                </a:lnTo>
                <a:lnTo>
                  <a:pt x="2673129" y="3741774"/>
                </a:lnTo>
                <a:lnTo>
                  <a:pt x="2656729" y="3719908"/>
                </a:lnTo>
                <a:lnTo>
                  <a:pt x="2664018" y="3712619"/>
                </a:lnTo>
                <a:cubicBezTo>
                  <a:pt x="2684062" y="3721730"/>
                  <a:pt x="2684062" y="3721730"/>
                  <a:pt x="2685884" y="3690752"/>
                </a:cubicBezTo>
                <a:close/>
                <a:moveTo>
                  <a:pt x="1905994" y="3690752"/>
                </a:moveTo>
                <a:lnTo>
                  <a:pt x="1913282" y="3705331"/>
                </a:lnTo>
                <a:lnTo>
                  <a:pt x="1907816" y="3714442"/>
                </a:lnTo>
                <a:lnTo>
                  <a:pt x="1891417" y="3705331"/>
                </a:lnTo>
                <a:close/>
                <a:moveTo>
                  <a:pt x="2110079" y="3683463"/>
                </a:moveTo>
                <a:lnTo>
                  <a:pt x="2119190" y="3699863"/>
                </a:lnTo>
                <a:lnTo>
                  <a:pt x="2093679" y="3698041"/>
                </a:lnTo>
                <a:close/>
                <a:moveTo>
                  <a:pt x="954819" y="3679819"/>
                </a:moveTo>
                <a:lnTo>
                  <a:pt x="971221" y="3692575"/>
                </a:lnTo>
                <a:cubicBezTo>
                  <a:pt x="958464" y="3723553"/>
                  <a:pt x="976686" y="3690753"/>
                  <a:pt x="963932" y="3723553"/>
                </a:cubicBezTo>
                <a:lnTo>
                  <a:pt x="932953" y="3714442"/>
                </a:lnTo>
                <a:cubicBezTo>
                  <a:pt x="942064" y="3696220"/>
                  <a:pt x="940242" y="3712619"/>
                  <a:pt x="932953" y="3692575"/>
                </a:cubicBezTo>
                <a:close/>
                <a:moveTo>
                  <a:pt x="4356819" y="3677997"/>
                </a:moveTo>
                <a:lnTo>
                  <a:pt x="4382330" y="3677997"/>
                </a:lnTo>
                <a:lnTo>
                  <a:pt x="4373219" y="3694397"/>
                </a:lnTo>
                <a:close/>
                <a:moveTo>
                  <a:pt x="1741999" y="3676175"/>
                </a:moveTo>
                <a:lnTo>
                  <a:pt x="1734710" y="3707153"/>
                </a:lnTo>
                <a:lnTo>
                  <a:pt x="1711021" y="3698042"/>
                </a:lnTo>
                <a:close/>
                <a:moveTo>
                  <a:pt x="1448628" y="3676175"/>
                </a:moveTo>
                <a:lnTo>
                  <a:pt x="1470495" y="3676175"/>
                </a:lnTo>
                <a:lnTo>
                  <a:pt x="1470495" y="3759995"/>
                </a:lnTo>
                <a:cubicBezTo>
                  <a:pt x="1455917" y="3745418"/>
                  <a:pt x="1434051" y="3725374"/>
                  <a:pt x="1417651" y="3712619"/>
                </a:cubicBezTo>
                <a:cubicBezTo>
                  <a:pt x="1426762" y="3694397"/>
                  <a:pt x="1424940" y="3710796"/>
                  <a:pt x="1417651" y="3690753"/>
                </a:cubicBezTo>
                <a:cubicBezTo>
                  <a:pt x="1432229" y="3681642"/>
                  <a:pt x="1432229" y="3676175"/>
                  <a:pt x="1448628" y="3676175"/>
                </a:cubicBezTo>
                <a:close/>
                <a:moveTo>
                  <a:pt x="2556511" y="3668886"/>
                </a:moveTo>
                <a:lnTo>
                  <a:pt x="2571089" y="3685286"/>
                </a:lnTo>
                <a:lnTo>
                  <a:pt x="2547400" y="3683463"/>
                </a:lnTo>
                <a:close/>
                <a:moveTo>
                  <a:pt x="3799233" y="3663420"/>
                </a:moveTo>
                <a:lnTo>
                  <a:pt x="3777367" y="3672531"/>
                </a:lnTo>
                <a:cubicBezTo>
                  <a:pt x="3782834" y="3696219"/>
                  <a:pt x="3784656" y="3683463"/>
                  <a:pt x="3777367" y="3701685"/>
                </a:cubicBezTo>
                <a:lnTo>
                  <a:pt x="3784656" y="3708974"/>
                </a:lnTo>
                <a:lnTo>
                  <a:pt x="3770078" y="3716263"/>
                </a:lnTo>
                <a:lnTo>
                  <a:pt x="3770078" y="3699863"/>
                </a:lnTo>
                <a:cubicBezTo>
                  <a:pt x="3750034" y="3705330"/>
                  <a:pt x="3759145" y="3698041"/>
                  <a:pt x="3746390" y="3718085"/>
                </a:cubicBezTo>
                <a:lnTo>
                  <a:pt x="3784656" y="3732662"/>
                </a:lnTo>
                <a:lnTo>
                  <a:pt x="3799233" y="3741773"/>
                </a:lnTo>
                <a:lnTo>
                  <a:pt x="3790122" y="3761817"/>
                </a:lnTo>
                <a:cubicBezTo>
                  <a:pt x="3811988" y="3752706"/>
                  <a:pt x="3795589" y="3765461"/>
                  <a:pt x="3813810" y="3754528"/>
                </a:cubicBezTo>
                <a:cubicBezTo>
                  <a:pt x="3819277" y="3743595"/>
                  <a:pt x="3821099" y="3727196"/>
                  <a:pt x="3813810" y="3708974"/>
                </a:cubicBezTo>
                <a:cubicBezTo>
                  <a:pt x="3793766" y="3721729"/>
                  <a:pt x="3797411" y="3708974"/>
                  <a:pt x="3806522" y="3730840"/>
                </a:cubicBezTo>
                <a:lnTo>
                  <a:pt x="3784656" y="3730840"/>
                </a:lnTo>
                <a:lnTo>
                  <a:pt x="3784656" y="3708974"/>
                </a:lnTo>
                <a:cubicBezTo>
                  <a:pt x="3795589" y="3699863"/>
                  <a:pt x="3806522" y="3698041"/>
                  <a:pt x="3806522" y="3677997"/>
                </a:cubicBezTo>
                <a:cubicBezTo>
                  <a:pt x="3806522" y="3677997"/>
                  <a:pt x="3799233" y="3663420"/>
                  <a:pt x="3799233" y="3663420"/>
                </a:cubicBezTo>
                <a:close/>
                <a:moveTo>
                  <a:pt x="1357519" y="3663419"/>
                </a:moveTo>
                <a:lnTo>
                  <a:pt x="1357519" y="3685286"/>
                </a:lnTo>
                <a:cubicBezTo>
                  <a:pt x="1333831" y="3679820"/>
                  <a:pt x="1346586" y="3685286"/>
                  <a:pt x="1335653" y="3670709"/>
                </a:cubicBezTo>
                <a:close/>
                <a:moveTo>
                  <a:pt x="2525534" y="3661597"/>
                </a:moveTo>
                <a:lnTo>
                  <a:pt x="2532822" y="3676176"/>
                </a:lnTo>
                <a:lnTo>
                  <a:pt x="2523711" y="3685287"/>
                </a:lnTo>
                <a:lnTo>
                  <a:pt x="2510956" y="3670709"/>
                </a:lnTo>
                <a:close/>
                <a:moveTo>
                  <a:pt x="1922393" y="3661597"/>
                </a:moveTo>
                <a:lnTo>
                  <a:pt x="1936972" y="3661597"/>
                </a:lnTo>
                <a:lnTo>
                  <a:pt x="1935148" y="3685287"/>
                </a:lnTo>
                <a:close/>
                <a:moveTo>
                  <a:pt x="3476708" y="3654309"/>
                </a:moveTo>
                <a:lnTo>
                  <a:pt x="3476708" y="3668886"/>
                </a:lnTo>
                <a:lnTo>
                  <a:pt x="3491286" y="3654309"/>
                </a:lnTo>
                <a:close/>
                <a:moveTo>
                  <a:pt x="2828014" y="3654309"/>
                </a:moveTo>
                <a:lnTo>
                  <a:pt x="2828014" y="3685286"/>
                </a:lnTo>
                <a:cubicBezTo>
                  <a:pt x="2846236" y="3672531"/>
                  <a:pt x="2851703" y="3661597"/>
                  <a:pt x="2828014" y="3654309"/>
                </a:cubicBezTo>
                <a:close/>
                <a:moveTo>
                  <a:pt x="2472691" y="3654309"/>
                </a:moveTo>
                <a:lnTo>
                  <a:pt x="2479980" y="3668888"/>
                </a:lnTo>
                <a:lnTo>
                  <a:pt x="2470869" y="3677999"/>
                </a:lnTo>
                <a:lnTo>
                  <a:pt x="2458113" y="3661599"/>
                </a:lnTo>
                <a:close/>
                <a:moveTo>
                  <a:pt x="4154556" y="3647020"/>
                </a:moveTo>
                <a:lnTo>
                  <a:pt x="4172778" y="3648843"/>
                </a:lnTo>
                <a:lnTo>
                  <a:pt x="4156379" y="3663420"/>
                </a:lnTo>
                <a:close/>
                <a:moveTo>
                  <a:pt x="2261318" y="3647020"/>
                </a:moveTo>
                <a:lnTo>
                  <a:pt x="2261318" y="3663420"/>
                </a:lnTo>
                <a:lnTo>
                  <a:pt x="2244918" y="3648843"/>
                </a:lnTo>
                <a:close/>
                <a:moveTo>
                  <a:pt x="2142877" y="3647020"/>
                </a:moveTo>
                <a:lnTo>
                  <a:pt x="2164743" y="3647020"/>
                </a:lnTo>
                <a:cubicBezTo>
                  <a:pt x="2162010" y="3653399"/>
                  <a:pt x="2160643" y="3657954"/>
                  <a:pt x="2160188" y="3661143"/>
                </a:cubicBezTo>
                <a:lnTo>
                  <a:pt x="2161099" y="3667064"/>
                </a:lnTo>
                <a:lnTo>
                  <a:pt x="2161099" y="3667065"/>
                </a:lnTo>
                <a:cubicBezTo>
                  <a:pt x="2157455" y="3667065"/>
                  <a:pt x="2155633" y="3667065"/>
                  <a:pt x="2150166" y="3668888"/>
                </a:cubicBezTo>
                <a:close/>
                <a:moveTo>
                  <a:pt x="1900528" y="3647020"/>
                </a:moveTo>
                <a:lnTo>
                  <a:pt x="1898706" y="3663420"/>
                </a:lnTo>
                <a:lnTo>
                  <a:pt x="1884128" y="3648843"/>
                </a:lnTo>
                <a:close/>
                <a:moveTo>
                  <a:pt x="1499649" y="3647020"/>
                </a:moveTo>
                <a:lnTo>
                  <a:pt x="1516049" y="3648843"/>
                </a:lnTo>
                <a:lnTo>
                  <a:pt x="1501471" y="3663420"/>
                </a:lnTo>
                <a:close/>
                <a:moveTo>
                  <a:pt x="2893613" y="3645198"/>
                </a:moveTo>
                <a:lnTo>
                  <a:pt x="2879035" y="3659775"/>
                </a:lnTo>
                <a:lnTo>
                  <a:pt x="2895435" y="3661597"/>
                </a:lnTo>
                <a:close/>
                <a:moveTo>
                  <a:pt x="3649815" y="3639731"/>
                </a:moveTo>
                <a:lnTo>
                  <a:pt x="3649815" y="3661597"/>
                </a:lnTo>
                <a:lnTo>
                  <a:pt x="3666214" y="3652487"/>
                </a:lnTo>
                <a:close/>
                <a:moveTo>
                  <a:pt x="2795215" y="3639731"/>
                </a:moveTo>
                <a:lnTo>
                  <a:pt x="2778816" y="3652487"/>
                </a:lnTo>
                <a:lnTo>
                  <a:pt x="2766060" y="3645198"/>
                </a:lnTo>
                <a:lnTo>
                  <a:pt x="2766060" y="3668886"/>
                </a:lnTo>
                <a:cubicBezTo>
                  <a:pt x="2766060" y="3687108"/>
                  <a:pt x="2760594" y="3687108"/>
                  <a:pt x="2751483" y="3699863"/>
                </a:cubicBezTo>
                <a:lnTo>
                  <a:pt x="2773349" y="3716263"/>
                </a:lnTo>
                <a:lnTo>
                  <a:pt x="2782460" y="3692574"/>
                </a:lnTo>
                <a:cubicBezTo>
                  <a:pt x="2769705" y="3659775"/>
                  <a:pt x="2787927" y="3692574"/>
                  <a:pt x="2773349" y="3661597"/>
                </a:cubicBezTo>
                <a:lnTo>
                  <a:pt x="2804326" y="3667064"/>
                </a:lnTo>
                <a:lnTo>
                  <a:pt x="2809793" y="3659775"/>
                </a:lnTo>
                <a:close/>
                <a:moveTo>
                  <a:pt x="2352428" y="3639731"/>
                </a:moveTo>
                <a:lnTo>
                  <a:pt x="2357894" y="3652487"/>
                </a:lnTo>
                <a:lnTo>
                  <a:pt x="2350606" y="3663421"/>
                </a:lnTo>
                <a:lnTo>
                  <a:pt x="2336028" y="3648843"/>
                </a:lnTo>
                <a:close/>
                <a:moveTo>
                  <a:pt x="3855721" y="3637909"/>
                </a:moveTo>
                <a:lnTo>
                  <a:pt x="3868476" y="3654309"/>
                </a:lnTo>
                <a:lnTo>
                  <a:pt x="3846610" y="3654309"/>
                </a:lnTo>
                <a:close/>
                <a:moveTo>
                  <a:pt x="2321450" y="3637909"/>
                </a:moveTo>
                <a:lnTo>
                  <a:pt x="2321450" y="3654309"/>
                </a:lnTo>
                <a:lnTo>
                  <a:pt x="2305050" y="3652487"/>
                </a:lnTo>
                <a:close/>
                <a:moveTo>
                  <a:pt x="1250011" y="3637909"/>
                </a:moveTo>
                <a:cubicBezTo>
                  <a:pt x="1262766" y="3650665"/>
                  <a:pt x="1277344" y="3663420"/>
                  <a:pt x="1288277" y="3676175"/>
                </a:cubicBezTo>
                <a:lnTo>
                  <a:pt x="1280988" y="3699863"/>
                </a:lnTo>
                <a:lnTo>
                  <a:pt x="1288277" y="3714441"/>
                </a:lnTo>
                <a:lnTo>
                  <a:pt x="1286455" y="3714441"/>
                </a:lnTo>
                <a:lnTo>
                  <a:pt x="1286455" y="3730840"/>
                </a:lnTo>
                <a:cubicBezTo>
                  <a:pt x="1286455" y="3759995"/>
                  <a:pt x="1288277" y="3734484"/>
                  <a:pt x="1279166" y="3745418"/>
                </a:cubicBezTo>
                <a:cubicBezTo>
                  <a:pt x="1288277" y="3765461"/>
                  <a:pt x="1286455" y="3765461"/>
                  <a:pt x="1255478" y="3769106"/>
                </a:cubicBezTo>
                <a:lnTo>
                  <a:pt x="1271877" y="3790972"/>
                </a:lnTo>
                <a:lnTo>
                  <a:pt x="1262766" y="3805549"/>
                </a:lnTo>
                <a:lnTo>
                  <a:pt x="1268233" y="3818305"/>
                </a:lnTo>
                <a:lnTo>
                  <a:pt x="1264589" y="3834704"/>
                </a:lnTo>
                <a:lnTo>
                  <a:pt x="1233611" y="3834704"/>
                </a:lnTo>
                <a:cubicBezTo>
                  <a:pt x="1217212" y="3856570"/>
                  <a:pt x="1239078" y="3845637"/>
                  <a:pt x="1202636" y="3847459"/>
                </a:cubicBezTo>
                <a:lnTo>
                  <a:pt x="1219034" y="3832882"/>
                </a:lnTo>
                <a:lnTo>
                  <a:pt x="1213568" y="3820127"/>
                </a:lnTo>
                <a:lnTo>
                  <a:pt x="1226323" y="3796439"/>
                </a:lnTo>
                <a:lnTo>
                  <a:pt x="1220856" y="3783683"/>
                </a:lnTo>
                <a:lnTo>
                  <a:pt x="1233611" y="3752706"/>
                </a:lnTo>
                <a:cubicBezTo>
                  <a:pt x="1209923" y="3741773"/>
                  <a:pt x="1222678" y="3739951"/>
                  <a:pt x="1202636" y="3752706"/>
                </a:cubicBezTo>
                <a:lnTo>
                  <a:pt x="1188057" y="3745418"/>
                </a:lnTo>
                <a:cubicBezTo>
                  <a:pt x="1171658" y="3767284"/>
                  <a:pt x="1193525" y="3756351"/>
                  <a:pt x="1157080" y="3758173"/>
                </a:cubicBezTo>
                <a:lnTo>
                  <a:pt x="1180769" y="3736307"/>
                </a:lnTo>
                <a:cubicBezTo>
                  <a:pt x="1171658" y="3718085"/>
                  <a:pt x="1173481" y="3734484"/>
                  <a:pt x="1180769" y="3714441"/>
                </a:cubicBezTo>
                <a:lnTo>
                  <a:pt x="1158902" y="3714441"/>
                </a:lnTo>
                <a:cubicBezTo>
                  <a:pt x="1171658" y="3694397"/>
                  <a:pt x="1162547" y="3698041"/>
                  <a:pt x="1188057" y="3690752"/>
                </a:cubicBezTo>
                <a:lnTo>
                  <a:pt x="1197168" y="3668886"/>
                </a:lnTo>
                <a:lnTo>
                  <a:pt x="1197168" y="3654309"/>
                </a:lnTo>
                <a:lnTo>
                  <a:pt x="1211745" y="3661598"/>
                </a:lnTo>
                <a:lnTo>
                  <a:pt x="1220856" y="3648842"/>
                </a:lnTo>
                <a:close/>
                <a:moveTo>
                  <a:pt x="3926785" y="3634265"/>
                </a:moveTo>
                <a:lnTo>
                  <a:pt x="3935896" y="3641554"/>
                </a:lnTo>
                <a:lnTo>
                  <a:pt x="3919497" y="3661598"/>
                </a:lnTo>
                <a:lnTo>
                  <a:pt x="3935896" y="3663420"/>
                </a:lnTo>
                <a:lnTo>
                  <a:pt x="3935896" y="3677998"/>
                </a:lnTo>
                <a:cubicBezTo>
                  <a:pt x="3968695" y="3674353"/>
                  <a:pt x="3948651" y="3677998"/>
                  <a:pt x="3972340" y="3663420"/>
                </a:cubicBezTo>
                <a:lnTo>
                  <a:pt x="3981450" y="3668887"/>
                </a:lnTo>
                <a:lnTo>
                  <a:pt x="3974162" y="3692575"/>
                </a:lnTo>
                <a:lnTo>
                  <a:pt x="3935896" y="3685286"/>
                </a:lnTo>
                <a:lnTo>
                  <a:pt x="3945007" y="3699864"/>
                </a:lnTo>
                <a:lnTo>
                  <a:pt x="3921319" y="3699864"/>
                </a:lnTo>
                <a:lnTo>
                  <a:pt x="3928608" y="3687108"/>
                </a:lnTo>
                <a:lnTo>
                  <a:pt x="3906741" y="3670709"/>
                </a:lnTo>
                <a:cubicBezTo>
                  <a:pt x="3914030" y="3650665"/>
                  <a:pt x="3914030" y="3667064"/>
                  <a:pt x="3906741" y="3648843"/>
                </a:cubicBezTo>
                <a:close/>
                <a:moveTo>
                  <a:pt x="2858991" y="3632443"/>
                </a:moveTo>
                <a:lnTo>
                  <a:pt x="2851703" y="3661597"/>
                </a:lnTo>
                <a:cubicBezTo>
                  <a:pt x="2873569" y="3652487"/>
                  <a:pt x="2855347" y="3670708"/>
                  <a:pt x="2871747" y="3639731"/>
                </a:cubicBezTo>
                <a:close/>
                <a:moveTo>
                  <a:pt x="2186610" y="3623332"/>
                </a:moveTo>
                <a:lnTo>
                  <a:pt x="2179321" y="3654310"/>
                </a:lnTo>
                <a:cubicBezTo>
                  <a:pt x="2173855" y="3648844"/>
                  <a:pt x="2172033" y="3645199"/>
                  <a:pt x="2170211" y="3643377"/>
                </a:cubicBezTo>
                <a:cubicBezTo>
                  <a:pt x="2168388" y="3643377"/>
                  <a:pt x="2162922" y="3641555"/>
                  <a:pt x="2155633" y="3637910"/>
                </a:cubicBezTo>
                <a:cubicBezTo>
                  <a:pt x="2177499" y="3608755"/>
                  <a:pt x="2155633" y="3636088"/>
                  <a:pt x="2186610" y="3623332"/>
                </a:cubicBezTo>
                <a:close/>
                <a:moveTo>
                  <a:pt x="3673503" y="3617865"/>
                </a:moveTo>
                <a:lnTo>
                  <a:pt x="3673503" y="3632443"/>
                </a:lnTo>
                <a:lnTo>
                  <a:pt x="3688080" y="3632443"/>
                </a:lnTo>
                <a:cubicBezTo>
                  <a:pt x="3684436" y="3668886"/>
                  <a:pt x="3668037" y="3663420"/>
                  <a:pt x="3649815" y="3694397"/>
                </a:cubicBezTo>
                <a:cubicBezTo>
                  <a:pt x="3668037" y="3707152"/>
                  <a:pt x="3673503" y="3710796"/>
                  <a:pt x="3688080" y="3725373"/>
                </a:cubicBezTo>
                <a:lnTo>
                  <a:pt x="3682614" y="3694397"/>
                </a:lnTo>
                <a:lnTo>
                  <a:pt x="3697191" y="3694397"/>
                </a:lnTo>
                <a:lnTo>
                  <a:pt x="3682614" y="3685286"/>
                </a:lnTo>
                <a:cubicBezTo>
                  <a:pt x="3695369" y="3665242"/>
                  <a:pt x="3682614" y="3668886"/>
                  <a:pt x="3704480" y="3677997"/>
                </a:cubicBezTo>
                <a:lnTo>
                  <a:pt x="3720880" y="3656131"/>
                </a:lnTo>
                <a:lnTo>
                  <a:pt x="3697191" y="3656131"/>
                </a:lnTo>
                <a:cubicBezTo>
                  <a:pt x="3709947" y="3623332"/>
                  <a:pt x="3691725" y="3656131"/>
                  <a:pt x="3704480" y="3625154"/>
                </a:cubicBezTo>
                <a:close/>
                <a:moveTo>
                  <a:pt x="2208476" y="3608754"/>
                </a:moveTo>
                <a:lnTo>
                  <a:pt x="2239453" y="3623333"/>
                </a:lnTo>
                <a:lnTo>
                  <a:pt x="2246741" y="3639732"/>
                </a:lnTo>
                <a:lnTo>
                  <a:pt x="2230341" y="3637909"/>
                </a:lnTo>
                <a:lnTo>
                  <a:pt x="2239452" y="3623333"/>
                </a:lnTo>
                <a:lnTo>
                  <a:pt x="2223053" y="3623333"/>
                </a:lnTo>
                <a:lnTo>
                  <a:pt x="2210298" y="3630621"/>
                </a:lnTo>
                <a:lnTo>
                  <a:pt x="2201187" y="3623333"/>
                </a:lnTo>
                <a:close/>
                <a:moveTo>
                  <a:pt x="3919498" y="3606932"/>
                </a:moveTo>
                <a:lnTo>
                  <a:pt x="3928609" y="3623332"/>
                </a:lnTo>
                <a:lnTo>
                  <a:pt x="3904920" y="3623332"/>
                </a:lnTo>
                <a:close/>
                <a:moveTo>
                  <a:pt x="2764238" y="3606932"/>
                </a:moveTo>
                <a:lnTo>
                  <a:pt x="2751483" y="3623332"/>
                </a:lnTo>
                <a:lnTo>
                  <a:pt x="2736906" y="3623332"/>
                </a:lnTo>
                <a:cubicBezTo>
                  <a:pt x="2729617" y="3650665"/>
                  <a:pt x="2729617" y="3639731"/>
                  <a:pt x="2715040" y="3661597"/>
                </a:cubicBezTo>
                <a:cubicBezTo>
                  <a:pt x="2715040" y="3661597"/>
                  <a:pt x="2727795" y="3668886"/>
                  <a:pt x="2729617" y="3668886"/>
                </a:cubicBezTo>
                <a:cubicBezTo>
                  <a:pt x="2758772" y="3668886"/>
                  <a:pt x="2749661" y="3645198"/>
                  <a:pt x="2746016" y="3632443"/>
                </a:cubicBezTo>
                <a:lnTo>
                  <a:pt x="2751483" y="3623332"/>
                </a:lnTo>
                <a:lnTo>
                  <a:pt x="2766060" y="3630620"/>
                </a:lnTo>
                <a:close/>
                <a:moveTo>
                  <a:pt x="2315984" y="3606932"/>
                </a:moveTo>
                <a:lnTo>
                  <a:pt x="2330561" y="3625155"/>
                </a:lnTo>
                <a:lnTo>
                  <a:pt x="2308695" y="3632444"/>
                </a:lnTo>
                <a:close/>
                <a:moveTo>
                  <a:pt x="1973416" y="3606932"/>
                </a:moveTo>
                <a:lnTo>
                  <a:pt x="1975237" y="3623332"/>
                </a:lnTo>
                <a:lnTo>
                  <a:pt x="1958837" y="3623332"/>
                </a:lnTo>
                <a:close/>
                <a:moveTo>
                  <a:pt x="4072560" y="3601465"/>
                </a:moveTo>
                <a:lnTo>
                  <a:pt x="4087137" y="3608754"/>
                </a:lnTo>
                <a:lnTo>
                  <a:pt x="4103536" y="3601465"/>
                </a:lnTo>
                <a:lnTo>
                  <a:pt x="4101714" y="3617865"/>
                </a:lnTo>
                <a:lnTo>
                  <a:pt x="4087138" y="3608755"/>
                </a:lnTo>
                <a:lnTo>
                  <a:pt x="4082155" y="3617182"/>
                </a:lnTo>
                <a:cubicBezTo>
                  <a:pt x="4079507" y="3622308"/>
                  <a:pt x="4081215" y="3619232"/>
                  <a:pt x="4063449" y="3623333"/>
                </a:cubicBezTo>
                <a:close/>
                <a:moveTo>
                  <a:pt x="2676774" y="3601465"/>
                </a:moveTo>
                <a:lnTo>
                  <a:pt x="2667663" y="3617865"/>
                </a:lnTo>
                <a:lnTo>
                  <a:pt x="2653086" y="3603288"/>
                </a:lnTo>
                <a:close/>
                <a:moveTo>
                  <a:pt x="2080923" y="3601465"/>
                </a:moveTo>
                <a:cubicBezTo>
                  <a:pt x="2115544" y="3605110"/>
                  <a:pt x="2093679" y="3594177"/>
                  <a:pt x="2111900" y="3617865"/>
                </a:cubicBezTo>
                <a:lnTo>
                  <a:pt x="2124655" y="3606932"/>
                </a:lnTo>
                <a:cubicBezTo>
                  <a:pt x="2124655" y="3623332"/>
                  <a:pt x="2119188" y="3659775"/>
                  <a:pt x="2102790" y="3659775"/>
                </a:cubicBezTo>
                <a:cubicBezTo>
                  <a:pt x="2079100" y="3659775"/>
                  <a:pt x="2068167" y="3639731"/>
                  <a:pt x="2066346" y="3614221"/>
                </a:cubicBezTo>
                <a:lnTo>
                  <a:pt x="2080923" y="3623332"/>
                </a:lnTo>
                <a:close/>
                <a:moveTo>
                  <a:pt x="1816707" y="3601465"/>
                </a:moveTo>
                <a:lnTo>
                  <a:pt x="1849507" y="3603289"/>
                </a:lnTo>
                <a:lnTo>
                  <a:pt x="1825818" y="3625155"/>
                </a:lnTo>
                <a:close/>
                <a:moveTo>
                  <a:pt x="1771154" y="3601465"/>
                </a:moveTo>
                <a:lnTo>
                  <a:pt x="1778441" y="3623333"/>
                </a:lnTo>
                <a:lnTo>
                  <a:pt x="1756575" y="3623333"/>
                </a:lnTo>
                <a:cubicBezTo>
                  <a:pt x="1762043" y="3603289"/>
                  <a:pt x="1752932" y="3612399"/>
                  <a:pt x="1771154" y="3601465"/>
                </a:cubicBezTo>
                <a:close/>
                <a:moveTo>
                  <a:pt x="1712844" y="3601465"/>
                </a:moveTo>
                <a:lnTo>
                  <a:pt x="1701911" y="3617865"/>
                </a:lnTo>
                <a:lnTo>
                  <a:pt x="1687333" y="3603288"/>
                </a:lnTo>
                <a:close/>
                <a:moveTo>
                  <a:pt x="3642526" y="3594177"/>
                </a:moveTo>
                <a:lnTo>
                  <a:pt x="3618838" y="3595999"/>
                </a:lnTo>
                <a:lnTo>
                  <a:pt x="3633415" y="3610576"/>
                </a:lnTo>
                <a:close/>
                <a:moveTo>
                  <a:pt x="2014414" y="3594177"/>
                </a:moveTo>
                <a:cubicBezTo>
                  <a:pt x="2015325" y="3593721"/>
                  <a:pt x="2017147" y="3596910"/>
                  <a:pt x="2028080" y="3601465"/>
                </a:cubicBezTo>
                <a:lnTo>
                  <a:pt x="2049946" y="3594177"/>
                </a:lnTo>
                <a:cubicBezTo>
                  <a:pt x="2055413" y="3603288"/>
                  <a:pt x="2059057" y="3601465"/>
                  <a:pt x="2059057" y="3617866"/>
                </a:cubicBezTo>
                <a:lnTo>
                  <a:pt x="2059057" y="3625154"/>
                </a:lnTo>
                <a:cubicBezTo>
                  <a:pt x="2059057" y="3654309"/>
                  <a:pt x="2060879" y="3626977"/>
                  <a:pt x="2051769" y="3647021"/>
                </a:cubicBezTo>
                <a:lnTo>
                  <a:pt x="2028080" y="3639732"/>
                </a:lnTo>
                <a:cubicBezTo>
                  <a:pt x="2022614" y="3608755"/>
                  <a:pt x="2026258" y="3616044"/>
                  <a:pt x="2006214" y="3608755"/>
                </a:cubicBezTo>
                <a:cubicBezTo>
                  <a:pt x="2013503" y="3598733"/>
                  <a:pt x="2013503" y="3594633"/>
                  <a:pt x="2014414" y="3594177"/>
                </a:cubicBezTo>
                <a:close/>
                <a:moveTo>
                  <a:pt x="3595150" y="3592355"/>
                </a:moveTo>
                <a:lnTo>
                  <a:pt x="3580572" y="3606932"/>
                </a:lnTo>
                <a:lnTo>
                  <a:pt x="3596972" y="3616043"/>
                </a:lnTo>
                <a:close/>
                <a:moveTo>
                  <a:pt x="2727795" y="3585066"/>
                </a:moveTo>
                <a:lnTo>
                  <a:pt x="2711395" y="3599644"/>
                </a:lnTo>
                <a:lnTo>
                  <a:pt x="2736906" y="3601466"/>
                </a:lnTo>
                <a:close/>
                <a:moveTo>
                  <a:pt x="2148343" y="3579599"/>
                </a:moveTo>
                <a:lnTo>
                  <a:pt x="2164743" y="3594177"/>
                </a:lnTo>
                <a:lnTo>
                  <a:pt x="2148343" y="3594177"/>
                </a:lnTo>
                <a:close/>
                <a:moveTo>
                  <a:pt x="3535018" y="3577778"/>
                </a:moveTo>
                <a:lnTo>
                  <a:pt x="3520440" y="3592355"/>
                </a:lnTo>
                <a:lnTo>
                  <a:pt x="3535018" y="3599644"/>
                </a:lnTo>
                <a:lnTo>
                  <a:pt x="3544129" y="3594177"/>
                </a:lnTo>
                <a:close/>
                <a:moveTo>
                  <a:pt x="1793019" y="3577777"/>
                </a:moveTo>
                <a:lnTo>
                  <a:pt x="1800307" y="3592355"/>
                </a:lnTo>
                <a:lnTo>
                  <a:pt x="1793019" y="3601466"/>
                </a:lnTo>
                <a:lnTo>
                  <a:pt x="1778441" y="3592355"/>
                </a:lnTo>
                <a:close/>
                <a:moveTo>
                  <a:pt x="630473" y="3577777"/>
                </a:moveTo>
                <a:lnTo>
                  <a:pt x="639583" y="3592355"/>
                </a:lnTo>
                <a:lnTo>
                  <a:pt x="632296" y="3601466"/>
                </a:lnTo>
                <a:lnTo>
                  <a:pt x="615895" y="3592355"/>
                </a:lnTo>
                <a:close/>
                <a:moveTo>
                  <a:pt x="2352427" y="3570488"/>
                </a:moveTo>
                <a:lnTo>
                  <a:pt x="2390693" y="3570488"/>
                </a:lnTo>
                <a:cubicBezTo>
                  <a:pt x="2381582" y="3588711"/>
                  <a:pt x="2383404" y="3572312"/>
                  <a:pt x="2390693" y="3592355"/>
                </a:cubicBezTo>
                <a:cubicBezTo>
                  <a:pt x="2359716" y="3590533"/>
                  <a:pt x="2365182" y="3590533"/>
                  <a:pt x="2352427" y="3570488"/>
                </a:cubicBezTo>
                <a:close/>
                <a:moveTo>
                  <a:pt x="1953827" y="3570034"/>
                </a:moveTo>
                <a:lnTo>
                  <a:pt x="1967948" y="3579600"/>
                </a:lnTo>
                <a:lnTo>
                  <a:pt x="1967948" y="3579599"/>
                </a:lnTo>
                <a:lnTo>
                  <a:pt x="1982527" y="3594177"/>
                </a:lnTo>
                <a:lnTo>
                  <a:pt x="1967948" y="3594177"/>
                </a:lnTo>
                <a:lnTo>
                  <a:pt x="1967948" y="3579603"/>
                </a:lnTo>
                <a:lnTo>
                  <a:pt x="1960659" y="3601467"/>
                </a:lnTo>
                <a:lnTo>
                  <a:pt x="1946083" y="3601467"/>
                </a:lnTo>
                <a:lnTo>
                  <a:pt x="1936972" y="3579601"/>
                </a:lnTo>
                <a:cubicBezTo>
                  <a:pt x="1945171" y="3575045"/>
                  <a:pt x="1949727" y="3570945"/>
                  <a:pt x="1953827" y="3570034"/>
                </a:cubicBezTo>
                <a:close/>
                <a:moveTo>
                  <a:pt x="3416577" y="3563200"/>
                </a:moveTo>
                <a:lnTo>
                  <a:pt x="3392888" y="3565022"/>
                </a:lnTo>
                <a:lnTo>
                  <a:pt x="3407466" y="3579600"/>
                </a:lnTo>
                <a:close/>
                <a:moveTo>
                  <a:pt x="2330560" y="3563200"/>
                </a:moveTo>
                <a:lnTo>
                  <a:pt x="2337849" y="3586890"/>
                </a:lnTo>
                <a:lnTo>
                  <a:pt x="2321449" y="3577779"/>
                </a:lnTo>
                <a:close/>
                <a:moveTo>
                  <a:pt x="4132691" y="3557733"/>
                </a:moveTo>
                <a:lnTo>
                  <a:pt x="4154557" y="3557733"/>
                </a:lnTo>
                <a:cubicBezTo>
                  <a:pt x="4145446" y="3575956"/>
                  <a:pt x="4147269" y="3559557"/>
                  <a:pt x="4154557" y="3579600"/>
                </a:cubicBezTo>
                <a:lnTo>
                  <a:pt x="4132691" y="3579600"/>
                </a:lnTo>
                <a:cubicBezTo>
                  <a:pt x="4141802" y="3561379"/>
                  <a:pt x="4139980" y="3577778"/>
                  <a:pt x="4132691" y="3557733"/>
                </a:cubicBezTo>
                <a:close/>
                <a:moveTo>
                  <a:pt x="3724523" y="3557733"/>
                </a:moveTo>
                <a:cubicBezTo>
                  <a:pt x="3744567" y="3565022"/>
                  <a:pt x="3728168" y="3565022"/>
                  <a:pt x="3746390" y="3557733"/>
                </a:cubicBezTo>
                <a:lnTo>
                  <a:pt x="3764611" y="3579599"/>
                </a:lnTo>
                <a:lnTo>
                  <a:pt x="3757322" y="3599643"/>
                </a:lnTo>
                <a:lnTo>
                  <a:pt x="3784655" y="3632442"/>
                </a:lnTo>
                <a:cubicBezTo>
                  <a:pt x="3760056" y="3631076"/>
                  <a:pt x="3764156" y="3632784"/>
                  <a:pt x="3757750" y="3626805"/>
                </a:cubicBezTo>
                <a:lnTo>
                  <a:pt x="3746954" y="3618309"/>
                </a:lnTo>
                <a:lnTo>
                  <a:pt x="3739102" y="3632443"/>
                </a:lnTo>
                <a:lnTo>
                  <a:pt x="3724524" y="3616043"/>
                </a:lnTo>
                <a:lnTo>
                  <a:pt x="3744113" y="3616043"/>
                </a:lnTo>
                <a:lnTo>
                  <a:pt x="3737279" y="3610576"/>
                </a:lnTo>
                <a:lnTo>
                  <a:pt x="3746390" y="3595999"/>
                </a:lnTo>
                <a:cubicBezTo>
                  <a:pt x="3728168" y="3583244"/>
                  <a:pt x="3726346" y="3586888"/>
                  <a:pt x="3724523" y="3557733"/>
                </a:cubicBezTo>
                <a:close/>
                <a:moveTo>
                  <a:pt x="4019717" y="3555911"/>
                </a:moveTo>
                <a:lnTo>
                  <a:pt x="4010606" y="3572311"/>
                </a:lnTo>
                <a:lnTo>
                  <a:pt x="3996028" y="3557734"/>
                </a:lnTo>
                <a:close/>
                <a:moveTo>
                  <a:pt x="1499649" y="3555911"/>
                </a:moveTo>
                <a:cubicBezTo>
                  <a:pt x="1521516" y="3561379"/>
                  <a:pt x="1510582" y="3555911"/>
                  <a:pt x="1521516" y="3572312"/>
                </a:cubicBezTo>
                <a:lnTo>
                  <a:pt x="1492360" y="3579601"/>
                </a:lnTo>
                <a:close/>
                <a:moveTo>
                  <a:pt x="1060505" y="3550445"/>
                </a:moveTo>
                <a:lnTo>
                  <a:pt x="1091484" y="3555912"/>
                </a:lnTo>
                <a:lnTo>
                  <a:pt x="1091484" y="3577778"/>
                </a:lnTo>
                <a:cubicBezTo>
                  <a:pt x="1091484" y="3608755"/>
                  <a:pt x="1093305" y="3581422"/>
                  <a:pt x="1084195" y="3594177"/>
                </a:cubicBezTo>
                <a:lnTo>
                  <a:pt x="1091484" y="3606932"/>
                </a:lnTo>
                <a:lnTo>
                  <a:pt x="1064151" y="3614221"/>
                </a:lnTo>
                <a:lnTo>
                  <a:pt x="1038639" y="3594177"/>
                </a:lnTo>
                <a:cubicBezTo>
                  <a:pt x="1047750" y="3575956"/>
                  <a:pt x="1045929" y="3592355"/>
                  <a:pt x="1038639" y="3572311"/>
                </a:cubicBezTo>
                <a:close/>
                <a:moveTo>
                  <a:pt x="3203382" y="3546800"/>
                </a:moveTo>
                <a:lnTo>
                  <a:pt x="3188805" y="3561378"/>
                </a:lnTo>
                <a:lnTo>
                  <a:pt x="3205204" y="3570489"/>
                </a:lnTo>
                <a:close/>
                <a:moveTo>
                  <a:pt x="3830209" y="3541334"/>
                </a:moveTo>
                <a:lnTo>
                  <a:pt x="3839320" y="3546802"/>
                </a:lnTo>
                <a:lnTo>
                  <a:pt x="3846609" y="3555912"/>
                </a:lnTo>
                <a:lnTo>
                  <a:pt x="3830209" y="3563201"/>
                </a:lnTo>
                <a:close/>
                <a:moveTo>
                  <a:pt x="3527729" y="3541334"/>
                </a:moveTo>
                <a:cubicBezTo>
                  <a:pt x="3516796" y="3543156"/>
                  <a:pt x="3505863" y="3543156"/>
                  <a:pt x="3505863" y="3555911"/>
                </a:cubicBezTo>
                <a:cubicBezTo>
                  <a:pt x="3505863" y="3574133"/>
                  <a:pt x="3504041" y="3552267"/>
                  <a:pt x="3513152" y="3572311"/>
                </a:cubicBezTo>
                <a:cubicBezTo>
                  <a:pt x="3542306" y="3550445"/>
                  <a:pt x="3514974" y="3572311"/>
                  <a:pt x="3527729" y="3541334"/>
                </a:cubicBezTo>
                <a:close/>
                <a:moveTo>
                  <a:pt x="1989814" y="3541334"/>
                </a:moveTo>
                <a:lnTo>
                  <a:pt x="2006214" y="3541334"/>
                </a:lnTo>
                <a:lnTo>
                  <a:pt x="1989814" y="3563201"/>
                </a:lnTo>
                <a:close/>
                <a:moveTo>
                  <a:pt x="1809420" y="3541334"/>
                </a:moveTo>
                <a:lnTo>
                  <a:pt x="1825818" y="3548624"/>
                </a:lnTo>
                <a:lnTo>
                  <a:pt x="1811241" y="3570490"/>
                </a:lnTo>
                <a:lnTo>
                  <a:pt x="1802130" y="3548624"/>
                </a:lnTo>
                <a:close/>
                <a:moveTo>
                  <a:pt x="3770079" y="3534045"/>
                </a:moveTo>
                <a:cubicBezTo>
                  <a:pt x="3793767" y="3566845"/>
                  <a:pt x="3784656" y="3530401"/>
                  <a:pt x="3806522" y="3565023"/>
                </a:cubicBezTo>
                <a:lnTo>
                  <a:pt x="3753679" y="3546801"/>
                </a:lnTo>
                <a:close/>
                <a:moveTo>
                  <a:pt x="3152361" y="3534045"/>
                </a:moveTo>
                <a:lnTo>
                  <a:pt x="3152361" y="3555911"/>
                </a:lnTo>
                <a:lnTo>
                  <a:pt x="3166939" y="3555911"/>
                </a:lnTo>
                <a:cubicBezTo>
                  <a:pt x="3161472" y="3534045"/>
                  <a:pt x="3168761" y="3544978"/>
                  <a:pt x="3152361" y="3534045"/>
                </a:cubicBezTo>
                <a:close/>
                <a:moveTo>
                  <a:pt x="3001121" y="3534045"/>
                </a:moveTo>
                <a:lnTo>
                  <a:pt x="2984721" y="3535868"/>
                </a:lnTo>
                <a:lnTo>
                  <a:pt x="2999299" y="3550445"/>
                </a:lnTo>
                <a:close/>
                <a:moveTo>
                  <a:pt x="3739102" y="3532223"/>
                </a:moveTo>
                <a:lnTo>
                  <a:pt x="3748213" y="3548623"/>
                </a:lnTo>
                <a:lnTo>
                  <a:pt x="3724524" y="3546800"/>
                </a:lnTo>
                <a:close/>
                <a:moveTo>
                  <a:pt x="2806148" y="3532223"/>
                </a:moveTo>
                <a:lnTo>
                  <a:pt x="2811615" y="3563200"/>
                </a:lnTo>
                <a:lnTo>
                  <a:pt x="2797037" y="3555911"/>
                </a:lnTo>
                <a:lnTo>
                  <a:pt x="2798860" y="3579600"/>
                </a:lnTo>
                <a:lnTo>
                  <a:pt x="2813437" y="3563200"/>
                </a:lnTo>
                <a:cubicBezTo>
                  <a:pt x="2835303" y="3544978"/>
                  <a:pt x="2824370" y="3566844"/>
                  <a:pt x="2828014" y="3532223"/>
                </a:cubicBezTo>
                <a:close/>
                <a:moveTo>
                  <a:pt x="1567070" y="3532223"/>
                </a:moveTo>
                <a:lnTo>
                  <a:pt x="1576181" y="3548623"/>
                </a:lnTo>
                <a:lnTo>
                  <a:pt x="1550670" y="3546800"/>
                </a:lnTo>
                <a:close/>
                <a:moveTo>
                  <a:pt x="2006214" y="3526756"/>
                </a:moveTo>
                <a:cubicBezTo>
                  <a:pt x="2011680" y="3528579"/>
                  <a:pt x="2015780" y="3529490"/>
                  <a:pt x="2018741" y="3529945"/>
                </a:cubicBezTo>
                <a:lnTo>
                  <a:pt x="2024435" y="3530401"/>
                </a:lnTo>
                <a:lnTo>
                  <a:pt x="2024436" y="3530401"/>
                </a:lnTo>
                <a:cubicBezTo>
                  <a:pt x="2026258" y="3532223"/>
                  <a:pt x="2026258" y="3535867"/>
                  <a:pt x="2028080" y="3541334"/>
                </a:cubicBezTo>
                <a:lnTo>
                  <a:pt x="2006214" y="3541334"/>
                </a:lnTo>
                <a:close/>
                <a:moveTo>
                  <a:pt x="1681866" y="3526756"/>
                </a:moveTo>
                <a:lnTo>
                  <a:pt x="1696444" y="3526756"/>
                </a:lnTo>
                <a:lnTo>
                  <a:pt x="1696444" y="3526756"/>
                </a:lnTo>
                <a:lnTo>
                  <a:pt x="1681866" y="3541334"/>
                </a:lnTo>
                <a:close/>
                <a:moveTo>
                  <a:pt x="3467597" y="3524934"/>
                </a:moveTo>
                <a:lnTo>
                  <a:pt x="3453020" y="3539512"/>
                </a:lnTo>
                <a:lnTo>
                  <a:pt x="3467597" y="3546800"/>
                </a:lnTo>
                <a:lnTo>
                  <a:pt x="3476708" y="3541334"/>
                </a:lnTo>
                <a:close/>
                <a:moveTo>
                  <a:pt x="2549222" y="3524934"/>
                </a:moveTo>
                <a:lnTo>
                  <a:pt x="2536466" y="3541334"/>
                </a:lnTo>
                <a:lnTo>
                  <a:pt x="2534644" y="3541334"/>
                </a:lnTo>
                <a:lnTo>
                  <a:pt x="2521889" y="3541334"/>
                </a:lnTo>
                <a:cubicBezTo>
                  <a:pt x="2516423" y="3563200"/>
                  <a:pt x="2523711" y="3552267"/>
                  <a:pt x="2507312" y="3563200"/>
                </a:cubicBezTo>
                <a:lnTo>
                  <a:pt x="2507312" y="3548623"/>
                </a:lnTo>
                <a:cubicBezTo>
                  <a:pt x="2481801" y="3554089"/>
                  <a:pt x="2494556" y="3555911"/>
                  <a:pt x="2476335" y="3548623"/>
                </a:cubicBezTo>
                <a:lnTo>
                  <a:pt x="2476335" y="3570489"/>
                </a:lnTo>
                <a:lnTo>
                  <a:pt x="2492734" y="3570489"/>
                </a:lnTo>
                <a:lnTo>
                  <a:pt x="2483624" y="3592355"/>
                </a:lnTo>
                <a:cubicBezTo>
                  <a:pt x="2503667" y="3601466"/>
                  <a:pt x="2487268" y="3601466"/>
                  <a:pt x="2505490" y="3594177"/>
                </a:cubicBezTo>
                <a:lnTo>
                  <a:pt x="2521889" y="3608754"/>
                </a:lnTo>
                <a:lnTo>
                  <a:pt x="2536466" y="3577778"/>
                </a:lnTo>
                <a:lnTo>
                  <a:pt x="2529178" y="3565022"/>
                </a:lnTo>
                <a:lnTo>
                  <a:pt x="2534644" y="3555911"/>
                </a:lnTo>
                <a:lnTo>
                  <a:pt x="2534644" y="3541334"/>
                </a:lnTo>
                <a:lnTo>
                  <a:pt x="2541933" y="3563200"/>
                </a:lnTo>
                <a:cubicBezTo>
                  <a:pt x="2565621" y="3546800"/>
                  <a:pt x="2552866" y="3566844"/>
                  <a:pt x="2549222" y="3524934"/>
                </a:cubicBezTo>
                <a:close/>
                <a:moveTo>
                  <a:pt x="2873569" y="3519468"/>
                </a:moveTo>
                <a:lnTo>
                  <a:pt x="2873569" y="3541334"/>
                </a:lnTo>
                <a:lnTo>
                  <a:pt x="2888146" y="3541334"/>
                </a:lnTo>
                <a:lnTo>
                  <a:pt x="2888146" y="3519468"/>
                </a:lnTo>
                <a:close/>
                <a:moveTo>
                  <a:pt x="1189880" y="3519468"/>
                </a:moveTo>
                <a:cubicBezTo>
                  <a:pt x="1193525" y="3552267"/>
                  <a:pt x="1206280" y="3566845"/>
                  <a:pt x="1220858" y="3586889"/>
                </a:cubicBezTo>
                <a:cubicBezTo>
                  <a:pt x="1200814" y="3596000"/>
                  <a:pt x="1217213" y="3583244"/>
                  <a:pt x="1198991" y="3594177"/>
                </a:cubicBezTo>
                <a:cubicBezTo>
                  <a:pt x="1188057" y="3614221"/>
                  <a:pt x="1200814" y="3621510"/>
                  <a:pt x="1191703" y="3643376"/>
                </a:cubicBezTo>
                <a:lnTo>
                  <a:pt x="1197169" y="3652487"/>
                </a:lnTo>
                <a:lnTo>
                  <a:pt x="1166191" y="3683464"/>
                </a:lnTo>
                <a:cubicBezTo>
                  <a:pt x="1149792" y="3676175"/>
                  <a:pt x="1146148" y="3677998"/>
                  <a:pt x="1120637" y="3683464"/>
                </a:cubicBezTo>
                <a:lnTo>
                  <a:pt x="1129748" y="3654309"/>
                </a:lnTo>
                <a:lnTo>
                  <a:pt x="1113348" y="3654309"/>
                </a:lnTo>
                <a:lnTo>
                  <a:pt x="1124281" y="3610577"/>
                </a:lnTo>
                <a:lnTo>
                  <a:pt x="1138859" y="3594177"/>
                </a:lnTo>
                <a:lnTo>
                  <a:pt x="1129748" y="3579600"/>
                </a:lnTo>
                <a:cubicBezTo>
                  <a:pt x="1138859" y="3561378"/>
                  <a:pt x="1137037" y="3577778"/>
                  <a:pt x="1131570" y="3559556"/>
                </a:cubicBezTo>
                <a:lnTo>
                  <a:pt x="1160725" y="3528579"/>
                </a:lnTo>
                <a:close/>
                <a:moveTo>
                  <a:pt x="2962855" y="3517646"/>
                </a:moveTo>
                <a:cubicBezTo>
                  <a:pt x="2944634" y="3532223"/>
                  <a:pt x="2948278" y="3515824"/>
                  <a:pt x="2948278" y="3548623"/>
                </a:cubicBezTo>
                <a:cubicBezTo>
                  <a:pt x="2968322" y="3539512"/>
                  <a:pt x="2951922" y="3541334"/>
                  <a:pt x="2971966" y="3546800"/>
                </a:cubicBezTo>
                <a:close/>
                <a:moveTo>
                  <a:pt x="2280013" y="3517646"/>
                </a:moveTo>
                <a:lnTo>
                  <a:pt x="2285007" y="3517646"/>
                </a:lnTo>
                <a:lnTo>
                  <a:pt x="2276123" y="3528011"/>
                </a:lnTo>
                <a:lnTo>
                  <a:pt x="2279199" y="3520294"/>
                </a:lnTo>
                <a:cubicBezTo>
                  <a:pt x="2279996" y="3518956"/>
                  <a:pt x="2280451" y="3518671"/>
                  <a:pt x="2280451" y="3518329"/>
                </a:cubicBezTo>
                <a:close/>
                <a:moveTo>
                  <a:pt x="1922394" y="3517646"/>
                </a:moveTo>
                <a:lnTo>
                  <a:pt x="1946083" y="3534047"/>
                </a:lnTo>
                <a:lnTo>
                  <a:pt x="1922394" y="3555913"/>
                </a:lnTo>
                <a:cubicBezTo>
                  <a:pt x="1911461" y="3530402"/>
                  <a:pt x="1924216" y="3526758"/>
                  <a:pt x="1922394" y="3517646"/>
                </a:cubicBezTo>
                <a:close/>
                <a:moveTo>
                  <a:pt x="1884129" y="3517646"/>
                </a:moveTo>
                <a:cubicBezTo>
                  <a:pt x="1871373" y="3546802"/>
                  <a:pt x="1887774" y="3539513"/>
                  <a:pt x="1862262" y="3555913"/>
                </a:cubicBezTo>
                <a:lnTo>
                  <a:pt x="1853151" y="3523114"/>
                </a:lnTo>
                <a:close/>
                <a:moveTo>
                  <a:pt x="1807598" y="3517646"/>
                </a:moveTo>
                <a:lnTo>
                  <a:pt x="1816707" y="3534046"/>
                </a:lnTo>
                <a:lnTo>
                  <a:pt x="1793019" y="3532224"/>
                </a:lnTo>
                <a:close/>
                <a:moveTo>
                  <a:pt x="2181143" y="3515824"/>
                </a:moveTo>
                <a:lnTo>
                  <a:pt x="2181143" y="3537690"/>
                </a:lnTo>
                <a:lnTo>
                  <a:pt x="2171812" y="3537690"/>
                </a:lnTo>
                <a:lnTo>
                  <a:pt x="2173399" y="3539056"/>
                </a:lnTo>
                <a:cubicBezTo>
                  <a:pt x="2174766" y="3541106"/>
                  <a:pt x="2175563" y="3543726"/>
                  <a:pt x="2176132" y="3547769"/>
                </a:cubicBezTo>
                <a:lnTo>
                  <a:pt x="2177248" y="3561853"/>
                </a:lnTo>
                <a:lnTo>
                  <a:pt x="2188431" y="3552267"/>
                </a:lnTo>
                <a:lnTo>
                  <a:pt x="2181143" y="3537690"/>
                </a:lnTo>
                <a:lnTo>
                  <a:pt x="2195720" y="3537690"/>
                </a:lnTo>
                <a:lnTo>
                  <a:pt x="2195720" y="3515824"/>
                </a:lnTo>
                <a:close/>
                <a:moveTo>
                  <a:pt x="2121011" y="3514001"/>
                </a:moveTo>
                <a:lnTo>
                  <a:pt x="2122273" y="3514562"/>
                </a:lnTo>
                <a:lnTo>
                  <a:pt x="2121315" y="3515520"/>
                </a:lnTo>
                <a:close/>
                <a:moveTo>
                  <a:pt x="3649815" y="3510357"/>
                </a:moveTo>
                <a:lnTo>
                  <a:pt x="3673504" y="3510357"/>
                </a:lnTo>
                <a:lnTo>
                  <a:pt x="3649815" y="3534047"/>
                </a:lnTo>
                <a:close/>
                <a:moveTo>
                  <a:pt x="3589683" y="3510357"/>
                </a:moveTo>
                <a:lnTo>
                  <a:pt x="3611549" y="3510357"/>
                </a:lnTo>
                <a:lnTo>
                  <a:pt x="3611549" y="3532224"/>
                </a:lnTo>
                <a:lnTo>
                  <a:pt x="3589683" y="3532224"/>
                </a:lnTo>
                <a:close/>
                <a:moveTo>
                  <a:pt x="3046675" y="3510357"/>
                </a:moveTo>
                <a:lnTo>
                  <a:pt x="3022987" y="3512179"/>
                </a:lnTo>
                <a:lnTo>
                  <a:pt x="3037564" y="3526757"/>
                </a:lnTo>
                <a:close/>
                <a:moveTo>
                  <a:pt x="1689155" y="3510357"/>
                </a:moveTo>
                <a:lnTo>
                  <a:pt x="1712844" y="3512180"/>
                </a:lnTo>
                <a:lnTo>
                  <a:pt x="1696444" y="3526757"/>
                </a:lnTo>
                <a:lnTo>
                  <a:pt x="1696444" y="3526756"/>
                </a:lnTo>
                <a:lnTo>
                  <a:pt x="1696444" y="3526756"/>
                </a:lnTo>
                <a:lnTo>
                  <a:pt x="1696444" y="3526756"/>
                </a:lnTo>
                <a:close/>
                <a:moveTo>
                  <a:pt x="1439518" y="3510357"/>
                </a:moveTo>
                <a:lnTo>
                  <a:pt x="1455917" y="3512180"/>
                </a:lnTo>
                <a:lnTo>
                  <a:pt x="1441340" y="3526757"/>
                </a:lnTo>
                <a:close/>
                <a:moveTo>
                  <a:pt x="2151988" y="3506713"/>
                </a:moveTo>
                <a:lnTo>
                  <a:pt x="2154719" y="3510357"/>
                </a:lnTo>
                <a:lnTo>
                  <a:pt x="2145914" y="3510357"/>
                </a:lnTo>
                <a:close/>
                <a:moveTo>
                  <a:pt x="3883052" y="3503068"/>
                </a:moveTo>
                <a:cubicBezTo>
                  <a:pt x="3906740" y="3521291"/>
                  <a:pt x="3895807" y="3499424"/>
                  <a:pt x="3897629" y="3534046"/>
                </a:cubicBezTo>
                <a:cubicBezTo>
                  <a:pt x="3873941" y="3515824"/>
                  <a:pt x="3888519" y="3539513"/>
                  <a:pt x="3883052" y="3503068"/>
                </a:cubicBezTo>
                <a:close/>
                <a:moveTo>
                  <a:pt x="1280988" y="3503068"/>
                </a:moveTo>
                <a:cubicBezTo>
                  <a:pt x="1282811" y="3508536"/>
                  <a:pt x="1288278" y="3532224"/>
                  <a:pt x="1288278" y="3534046"/>
                </a:cubicBezTo>
                <a:cubicBezTo>
                  <a:pt x="1259122" y="3530402"/>
                  <a:pt x="1266411" y="3537690"/>
                  <a:pt x="1259122" y="3512180"/>
                </a:cubicBezTo>
                <a:close/>
                <a:moveTo>
                  <a:pt x="2155632" y="3499425"/>
                </a:moveTo>
                <a:lnTo>
                  <a:pt x="2155632" y="3506433"/>
                </a:lnTo>
                <a:lnTo>
                  <a:pt x="2151988" y="3506713"/>
                </a:lnTo>
                <a:close/>
                <a:moveTo>
                  <a:pt x="2427136" y="3499424"/>
                </a:moveTo>
                <a:lnTo>
                  <a:pt x="2396159" y="3506713"/>
                </a:lnTo>
                <a:lnTo>
                  <a:pt x="2396159" y="3512179"/>
                </a:lnTo>
                <a:lnTo>
                  <a:pt x="2419847" y="3512179"/>
                </a:lnTo>
                <a:lnTo>
                  <a:pt x="2412559" y="3524934"/>
                </a:lnTo>
                <a:lnTo>
                  <a:pt x="2427136" y="3541334"/>
                </a:lnTo>
                <a:lnTo>
                  <a:pt x="2441713" y="3537690"/>
                </a:lnTo>
                <a:lnTo>
                  <a:pt x="2465402" y="3541334"/>
                </a:lnTo>
                <a:close/>
                <a:moveTo>
                  <a:pt x="3935895" y="3495780"/>
                </a:moveTo>
                <a:lnTo>
                  <a:pt x="3954117" y="3497602"/>
                </a:lnTo>
                <a:lnTo>
                  <a:pt x="3935895" y="3510357"/>
                </a:lnTo>
                <a:close/>
                <a:moveTo>
                  <a:pt x="3664393" y="3495780"/>
                </a:moveTo>
                <a:lnTo>
                  <a:pt x="3689904" y="3497602"/>
                </a:lnTo>
                <a:lnTo>
                  <a:pt x="3673504" y="3510357"/>
                </a:lnTo>
                <a:close/>
                <a:moveTo>
                  <a:pt x="1115170" y="3495780"/>
                </a:moveTo>
                <a:lnTo>
                  <a:pt x="1138860" y="3495780"/>
                </a:lnTo>
                <a:lnTo>
                  <a:pt x="1129748" y="3548624"/>
                </a:lnTo>
                <a:cubicBezTo>
                  <a:pt x="1115170" y="3544980"/>
                  <a:pt x="1093304" y="3534047"/>
                  <a:pt x="1093304" y="3517647"/>
                </a:cubicBezTo>
                <a:cubicBezTo>
                  <a:pt x="1093304" y="3501247"/>
                  <a:pt x="1096949" y="3495780"/>
                  <a:pt x="1115170" y="3495780"/>
                </a:cubicBezTo>
                <a:close/>
                <a:moveTo>
                  <a:pt x="3695370" y="3493957"/>
                </a:moveTo>
                <a:lnTo>
                  <a:pt x="3717236" y="3510357"/>
                </a:lnTo>
                <a:cubicBezTo>
                  <a:pt x="3717236" y="3510357"/>
                  <a:pt x="3709948" y="3524934"/>
                  <a:pt x="3708125" y="3523112"/>
                </a:cubicBezTo>
                <a:cubicBezTo>
                  <a:pt x="3708125" y="3552267"/>
                  <a:pt x="3704481" y="3526756"/>
                  <a:pt x="3713592" y="3544978"/>
                </a:cubicBezTo>
                <a:lnTo>
                  <a:pt x="3700837" y="3561378"/>
                </a:lnTo>
                <a:cubicBezTo>
                  <a:pt x="3677148" y="3544978"/>
                  <a:pt x="3697192" y="3548622"/>
                  <a:pt x="3664393" y="3546800"/>
                </a:cubicBezTo>
                <a:lnTo>
                  <a:pt x="3671682" y="3524934"/>
                </a:lnTo>
                <a:lnTo>
                  <a:pt x="3686259" y="3524934"/>
                </a:lnTo>
                <a:lnTo>
                  <a:pt x="3678970" y="3539512"/>
                </a:lnTo>
                <a:lnTo>
                  <a:pt x="3702659" y="3537689"/>
                </a:lnTo>
                <a:lnTo>
                  <a:pt x="3686259" y="3524934"/>
                </a:lnTo>
                <a:close/>
                <a:moveTo>
                  <a:pt x="2713217" y="3493957"/>
                </a:moveTo>
                <a:lnTo>
                  <a:pt x="2698640" y="3508535"/>
                </a:lnTo>
                <a:lnTo>
                  <a:pt x="2715040" y="3510357"/>
                </a:lnTo>
                <a:close/>
                <a:moveTo>
                  <a:pt x="1494183" y="3493957"/>
                </a:moveTo>
                <a:lnTo>
                  <a:pt x="1514228" y="3517647"/>
                </a:lnTo>
                <a:lnTo>
                  <a:pt x="1497827" y="3535868"/>
                </a:lnTo>
                <a:lnTo>
                  <a:pt x="1475961" y="3512180"/>
                </a:lnTo>
                <a:lnTo>
                  <a:pt x="1492361" y="3510358"/>
                </a:lnTo>
                <a:close/>
                <a:moveTo>
                  <a:pt x="1598047" y="3488491"/>
                </a:moveTo>
                <a:lnTo>
                  <a:pt x="1598047" y="3488492"/>
                </a:lnTo>
                <a:lnTo>
                  <a:pt x="1598047" y="3510357"/>
                </a:lnTo>
                <a:lnTo>
                  <a:pt x="1621735" y="3512180"/>
                </a:lnTo>
                <a:lnTo>
                  <a:pt x="1607158" y="3524935"/>
                </a:lnTo>
                <a:lnTo>
                  <a:pt x="1598047" y="3510358"/>
                </a:lnTo>
                <a:lnTo>
                  <a:pt x="1581647" y="3501247"/>
                </a:lnTo>
                <a:close/>
                <a:moveTo>
                  <a:pt x="3731812" y="3488491"/>
                </a:moveTo>
                <a:cubicBezTo>
                  <a:pt x="3751856" y="3503070"/>
                  <a:pt x="3748211" y="3488491"/>
                  <a:pt x="3739100" y="3510358"/>
                </a:cubicBezTo>
                <a:lnTo>
                  <a:pt x="3762789" y="3510358"/>
                </a:lnTo>
                <a:lnTo>
                  <a:pt x="3755500" y="3495780"/>
                </a:lnTo>
                <a:cubicBezTo>
                  <a:pt x="3797410" y="3499425"/>
                  <a:pt x="3779188" y="3503070"/>
                  <a:pt x="3793766" y="3534047"/>
                </a:cubicBezTo>
                <a:lnTo>
                  <a:pt x="3771900" y="3534047"/>
                </a:lnTo>
                <a:lnTo>
                  <a:pt x="3771900" y="3519469"/>
                </a:lnTo>
                <a:cubicBezTo>
                  <a:pt x="3750034" y="3524936"/>
                  <a:pt x="3757322" y="3526758"/>
                  <a:pt x="3740923" y="3526758"/>
                </a:cubicBezTo>
                <a:cubicBezTo>
                  <a:pt x="3722701" y="3526758"/>
                  <a:pt x="3742745" y="3530402"/>
                  <a:pt x="3726345" y="3519469"/>
                </a:cubicBezTo>
                <a:close/>
                <a:moveTo>
                  <a:pt x="3498574" y="3488491"/>
                </a:moveTo>
                <a:lnTo>
                  <a:pt x="3498574" y="3510357"/>
                </a:lnTo>
                <a:lnTo>
                  <a:pt x="3520440" y="3488491"/>
                </a:lnTo>
                <a:close/>
                <a:moveTo>
                  <a:pt x="2753305" y="3488491"/>
                </a:moveTo>
                <a:cubicBezTo>
                  <a:pt x="2750572" y="3488491"/>
                  <a:pt x="2747839" y="3492136"/>
                  <a:pt x="2742372" y="3499424"/>
                </a:cubicBezTo>
                <a:lnTo>
                  <a:pt x="2727795" y="3506713"/>
                </a:lnTo>
                <a:cubicBezTo>
                  <a:pt x="2740550" y="3526757"/>
                  <a:pt x="2731439" y="3514001"/>
                  <a:pt x="2727795" y="3521290"/>
                </a:cubicBezTo>
                <a:cubicBezTo>
                  <a:pt x="2724150" y="3523112"/>
                  <a:pt x="2722328" y="3524934"/>
                  <a:pt x="2722328" y="3526757"/>
                </a:cubicBezTo>
                <a:cubicBezTo>
                  <a:pt x="2720506" y="3524934"/>
                  <a:pt x="2718684" y="3523112"/>
                  <a:pt x="2713217" y="3521290"/>
                </a:cubicBezTo>
                <a:lnTo>
                  <a:pt x="2713217" y="3543156"/>
                </a:lnTo>
                <a:lnTo>
                  <a:pt x="2705929" y="3543156"/>
                </a:lnTo>
                <a:lnTo>
                  <a:pt x="2691351" y="3528579"/>
                </a:lnTo>
                <a:lnTo>
                  <a:pt x="2691351" y="3543156"/>
                </a:lnTo>
                <a:lnTo>
                  <a:pt x="2705929" y="3543156"/>
                </a:lnTo>
                <a:lnTo>
                  <a:pt x="2684063" y="3550445"/>
                </a:lnTo>
                <a:cubicBezTo>
                  <a:pt x="2691351" y="3568667"/>
                  <a:pt x="2691351" y="3552267"/>
                  <a:pt x="2684063" y="3570489"/>
                </a:cubicBezTo>
                <a:lnTo>
                  <a:pt x="2709573" y="3581422"/>
                </a:lnTo>
                <a:lnTo>
                  <a:pt x="2727795" y="3566844"/>
                </a:lnTo>
                <a:lnTo>
                  <a:pt x="2711395" y="3544978"/>
                </a:lnTo>
                <a:lnTo>
                  <a:pt x="2718684" y="3539512"/>
                </a:lnTo>
                <a:lnTo>
                  <a:pt x="2749661" y="3544978"/>
                </a:lnTo>
                <a:cubicBezTo>
                  <a:pt x="2740550" y="3524934"/>
                  <a:pt x="2740550" y="3541334"/>
                  <a:pt x="2747839" y="3523112"/>
                </a:cubicBezTo>
                <a:lnTo>
                  <a:pt x="2742372" y="3514001"/>
                </a:lnTo>
                <a:lnTo>
                  <a:pt x="2742372" y="3499424"/>
                </a:lnTo>
                <a:lnTo>
                  <a:pt x="2749661" y="3506713"/>
                </a:lnTo>
                <a:lnTo>
                  <a:pt x="2764238" y="3499424"/>
                </a:lnTo>
                <a:lnTo>
                  <a:pt x="2773349" y="3515824"/>
                </a:lnTo>
                <a:lnTo>
                  <a:pt x="2786104" y="3501246"/>
                </a:lnTo>
                <a:lnTo>
                  <a:pt x="2778816" y="3492135"/>
                </a:lnTo>
                <a:lnTo>
                  <a:pt x="2764238" y="3499424"/>
                </a:lnTo>
                <a:cubicBezTo>
                  <a:pt x="2758772" y="3492136"/>
                  <a:pt x="2756039" y="3488491"/>
                  <a:pt x="2753305" y="3488491"/>
                </a:cubicBezTo>
                <a:close/>
                <a:moveTo>
                  <a:pt x="2594776" y="3488491"/>
                </a:moveTo>
                <a:lnTo>
                  <a:pt x="2594776" y="3510357"/>
                </a:lnTo>
                <a:lnTo>
                  <a:pt x="2583843" y="3515824"/>
                </a:lnTo>
                <a:lnTo>
                  <a:pt x="2578377" y="3524934"/>
                </a:lnTo>
                <a:lnTo>
                  <a:pt x="2563799" y="3539512"/>
                </a:lnTo>
                <a:lnTo>
                  <a:pt x="2587487" y="3539512"/>
                </a:lnTo>
                <a:lnTo>
                  <a:pt x="2580199" y="3524934"/>
                </a:lnTo>
                <a:lnTo>
                  <a:pt x="2594776" y="3524934"/>
                </a:lnTo>
                <a:lnTo>
                  <a:pt x="2594776" y="3510357"/>
                </a:lnTo>
                <a:lnTo>
                  <a:pt x="2640330" y="3503068"/>
                </a:lnTo>
                <a:cubicBezTo>
                  <a:pt x="2629397" y="3486669"/>
                  <a:pt x="2640330" y="3493957"/>
                  <a:pt x="2618464" y="3488491"/>
                </a:cubicBezTo>
                <a:lnTo>
                  <a:pt x="2616642" y="3504891"/>
                </a:lnTo>
                <a:close/>
                <a:moveTo>
                  <a:pt x="2314161" y="3488491"/>
                </a:moveTo>
                <a:lnTo>
                  <a:pt x="2290473" y="3490313"/>
                </a:lnTo>
                <a:lnTo>
                  <a:pt x="2305050" y="3504891"/>
                </a:lnTo>
                <a:close/>
                <a:moveTo>
                  <a:pt x="1756576" y="3488491"/>
                </a:moveTo>
                <a:lnTo>
                  <a:pt x="1771154" y="3503069"/>
                </a:lnTo>
                <a:lnTo>
                  <a:pt x="1749287" y="3503069"/>
                </a:lnTo>
                <a:close/>
                <a:moveTo>
                  <a:pt x="1636312" y="3488491"/>
                </a:moveTo>
                <a:lnTo>
                  <a:pt x="1650889" y="3497603"/>
                </a:lnTo>
                <a:lnTo>
                  <a:pt x="1665468" y="3497603"/>
                </a:lnTo>
                <a:lnTo>
                  <a:pt x="1659056" y="3510425"/>
                </a:lnTo>
                <a:lnTo>
                  <a:pt x="1681867" y="3512180"/>
                </a:lnTo>
                <a:lnTo>
                  <a:pt x="1667289" y="3524935"/>
                </a:lnTo>
                <a:lnTo>
                  <a:pt x="1658685" y="3511168"/>
                </a:lnTo>
                <a:lnTo>
                  <a:pt x="1658178" y="3512181"/>
                </a:lnTo>
                <a:lnTo>
                  <a:pt x="1643602" y="3512181"/>
                </a:lnTo>
                <a:lnTo>
                  <a:pt x="1643602" y="3526758"/>
                </a:lnTo>
                <a:cubicBezTo>
                  <a:pt x="1625380" y="3514003"/>
                  <a:pt x="1629023" y="3506714"/>
                  <a:pt x="1636312" y="3488491"/>
                </a:cubicBezTo>
                <a:close/>
                <a:moveTo>
                  <a:pt x="3799233" y="3483024"/>
                </a:moveTo>
                <a:lnTo>
                  <a:pt x="3839321" y="3483024"/>
                </a:lnTo>
                <a:lnTo>
                  <a:pt x="3832032" y="3510357"/>
                </a:lnTo>
                <a:lnTo>
                  <a:pt x="3842965" y="3524934"/>
                </a:lnTo>
                <a:lnTo>
                  <a:pt x="3830210" y="3541334"/>
                </a:lnTo>
                <a:lnTo>
                  <a:pt x="3813811" y="3534045"/>
                </a:lnTo>
                <a:lnTo>
                  <a:pt x="3821099" y="3521290"/>
                </a:lnTo>
                <a:lnTo>
                  <a:pt x="3799233" y="3504891"/>
                </a:lnTo>
                <a:cubicBezTo>
                  <a:pt x="3808344" y="3486669"/>
                  <a:pt x="3806522" y="3503068"/>
                  <a:pt x="3799233" y="3483024"/>
                </a:cubicBezTo>
                <a:close/>
                <a:moveTo>
                  <a:pt x="3921318" y="3481202"/>
                </a:moveTo>
                <a:lnTo>
                  <a:pt x="3935896" y="3481202"/>
                </a:lnTo>
                <a:lnTo>
                  <a:pt x="3935896" y="3495780"/>
                </a:lnTo>
                <a:close/>
                <a:moveTo>
                  <a:pt x="2857169" y="3481202"/>
                </a:moveTo>
                <a:cubicBezTo>
                  <a:pt x="2860813" y="3514001"/>
                  <a:pt x="2849880" y="3493957"/>
                  <a:pt x="2871747" y="3512179"/>
                </a:cubicBezTo>
                <a:cubicBezTo>
                  <a:pt x="2869924" y="3475736"/>
                  <a:pt x="2880857" y="3497602"/>
                  <a:pt x="2857169" y="3481202"/>
                </a:cubicBezTo>
                <a:close/>
                <a:moveTo>
                  <a:pt x="3651636" y="3479380"/>
                </a:moveTo>
                <a:lnTo>
                  <a:pt x="3664392" y="3495781"/>
                </a:lnTo>
                <a:lnTo>
                  <a:pt x="3649814" y="3503070"/>
                </a:lnTo>
                <a:close/>
                <a:moveTo>
                  <a:pt x="2368827" y="3479380"/>
                </a:moveTo>
                <a:cubicBezTo>
                  <a:pt x="2376115" y="3512179"/>
                  <a:pt x="2363360" y="3503068"/>
                  <a:pt x="2383404" y="3517646"/>
                </a:cubicBezTo>
                <a:lnTo>
                  <a:pt x="2388871" y="3510357"/>
                </a:lnTo>
                <a:lnTo>
                  <a:pt x="2383404" y="3479380"/>
                </a:lnTo>
                <a:close/>
                <a:moveTo>
                  <a:pt x="3906742" y="3473913"/>
                </a:moveTo>
                <a:lnTo>
                  <a:pt x="3912209" y="3486669"/>
                </a:lnTo>
                <a:lnTo>
                  <a:pt x="3906742" y="3493957"/>
                </a:lnTo>
                <a:lnTo>
                  <a:pt x="3875765" y="3488491"/>
                </a:lnTo>
                <a:lnTo>
                  <a:pt x="3875765" y="3481202"/>
                </a:lnTo>
                <a:close/>
                <a:moveTo>
                  <a:pt x="3476708" y="3473913"/>
                </a:moveTo>
                <a:lnTo>
                  <a:pt x="3476708" y="3488491"/>
                </a:lnTo>
                <a:lnTo>
                  <a:pt x="3454842" y="3488491"/>
                </a:lnTo>
                <a:cubicBezTo>
                  <a:pt x="3467597" y="3521290"/>
                  <a:pt x="3449376" y="3488491"/>
                  <a:pt x="3462131" y="3519468"/>
                </a:cubicBezTo>
                <a:cubicBezTo>
                  <a:pt x="3482175" y="3504891"/>
                  <a:pt x="3478530" y="3517646"/>
                  <a:pt x="3471242" y="3497602"/>
                </a:cubicBezTo>
                <a:lnTo>
                  <a:pt x="3476708" y="3488491"/>
                </a:lnTo>
                <a:lnTo>
                  <a:pt x="3491286" y="3473913"/>
                </a:lnTo>
                <a:close/>
                <a:moveTo>
                  <a:pt x="2246741" y="3472091"/>
                </a:moveTo>
                <a:lnTo>
                  <a:pt x="2230341" y="3473913"/>
                </a:lnTo>
                <a:lnTo>
                  <a:pt x="2244919" y="3488491"/>
                </a:lnTo>
                <a:close/>
                <a:moveTo>
                  <a:pt x="1794841" y="3466625"/>
                </a:moveTo>
                <a:lnTo>
                  <a:pt x="1816707" y="3466625"/>
                </a:lnTo>
                <a:cubicBezTo>
                  <a:pt x="1805774" y="3483025"/>
                  <a:pt x="1816707" y="3475736"/>
                  <a:pt x="1794841" y="3481203"/>
                </a:cubicBezTo>
                <a:close/>
                <a:moveTo>
                  <a:pt x="3059430" y="3464803"/>
                </a:moveTo>
                <a:lnTo>
                  <a:pt x="3044853" y="3479380"/>
                </a:lnTo>
                <a:lnTo>
                  <a:pt x="3068541" y="3481202"/>
                </a:lnTo>
                <a:close/>
                <a:moveTo>
                  <a:pt x="2924590" y="3464803"/>
                </a:moveTo>
                <a:lnTo>
                  <a:pt x="2910012" y="3479380"/>
                </a:lnTo>
                <a:lnTo>
                  <a:pt x="2924590" y="3486669"/>
                </a:lnTo>
                <a:lnTo>
                  <a:pt x="2933700" y="3481202"/>
                </a:lnTo>
                <a:close/>
                <a:moveTo>
                  <a:pt x="2893613" y="3464803"/>
                </a:moveTo>
                <a:lnTo>
                  <a:pt x="2879035" y="3479380"/>
                </a:lnTo>
                <a:lnTo>
                  <a:pt x="2895435" y="3488491"/>
                </a:lnTo>
                <a:close/>
                <a:moveTo>
                  <a:pt x="2532822" y="3464803"/>
                </a:moveTo>
                <a:lnTo>
                  <a:pt x="2516423" y="3479380"/>
                </a:lnTo>
                <a:lnTo>
                  <a:pt x="2541933" y="3481202"/>
                </a:lnTo>
                <a:close/>
                <a:moveTo>
                  <a:pt x="2350605" y="3464803"/>
                </a:moveTo>
                <a:lnTo>
                  <a:pt x="2336027" y="3479380"/>
                </a:lnTo>
                <a:lnTo>
                  <a:pt x="2359716" y="3481202"/>
                </a:lnTo>
                <a:close/>
                <a:moveTo>
                  <a:pt x="3997850" y="3462980"/>
                </a:moveTo>
                <a:lnTo>
                  <a:pt x="4019716" y="3479381"/>
                </a:lnTo>
                <a:cubicBezTo>
                  <a:pt x="4006961" y="3510358"/>
                  <a:pt x="4036116" y="3488492"/>
                  <a:pt x="4005139" y="3510358"/>
                </a:cubicBezTo>
                <a:cubicBezTo>
                  <a:pt x="3996028" y="3492136"/>
                  <a:pt x="3996028" y="3506713"/>
                  <a:pt x="4003317" y="3488492"/>
                </a:cubicBezTo>
                <a:lnTo>
                  <a:pt x="3988739" y="3473914"/>
                </a:lnTo>
                <a:close/>
                <a:moveTo>
                  <a:pt x="1703734" y="3459336"/>
                </a:moveTo>
                <a:cubicBezTo>
                  <a:pt x="1711022" y="3473914"/>
                  <a:pt x="1711022" y="3481203"/>
                  <a:pt x="1703734" y="3497603"/>
                </a:cubicBezTo>
                <a:lnTo>
                  <a:pt x="1681867" y="3483025"/>
                </a:lnTo>
                <a:lnTo>
                  <a:pt x="1665467" y="3495781"/>
                </a:lnTo>
                <a:lnTo>
                  <a:pt x="1658178" y="3479381"/>
                </a:lnTo>
                <a:lnTo>
                  <a:pt x="1687333" y="3472092"/>
                </a:lnTo>
                <a:close/>
                <a:moveTo>
                  <a:pt x="3620661" y="3457515"/>
                </a:moveTo>
                <a:lnTo>
                  <a:pt x="3620661" y="3479381"/>
                </a:lnTo>
                <a:lnTo>
                  <a:pt x="3637060" y="3470271"/>
                </a:lnTo>
                <a:close/>
                <a:moveTo>
                  <a:pt x="2993832" y="3457514"/>
                </a:moveTo>
                <a:lnTo>
                  <a:pt x="2970144" y="3459336"/>
                </a:lnTo>
                <a:lnTo>
                  <a:pt x="2984721" y="3473913"/>
                </a:lnTo>
                <a:close/>
                <a:moveTo>
                  <a:pt x="2775171" y="3457514"/>
                </a:moveTo>
                <a:lnTo>
                  <a:pt x="2775171" y="3481202"/>
                </a:lnTo>
                <a:lnTo>
                  <a:pt x="2798860" y="3479380"/>
                </a:lnTo>
                <a:close/>
                <a:moveTo>
                  <a:pt x="2751483" y="3457514"/>
                </a:moveTo>
                <a:cubicBezTo>
                  <a:pt x="2724150" y="3461158"/>
                  <a:pt x="2725973" y="3461158"/>
                  <a:pt x="2713217" y="3479380"/>
                </a:cubicBezTo>
                <a:cubicBezTo>
                  <a:pt x="2744194" y="3477558"/>
                  <a:pt x="2738728" y="3477558"/>
                  <a:pt x="2751483" y="3457514"/>
                </a:cubicBezTo>
                <a:close/>
                <a:moveTo>
                  <a:pt x="2418025" y="3457514"/>
                </a:moveTo>
                <a:lnTo>
                  <a:pt x="2403448" y="3472091"/>
                </a:lnTo>
                <a:lnTo>
                  <a:pt x="2419847" y="3481202"/>
                </a:lnTo>
                <a:close/>
                <a:moveTo>
                  <a:pt x="1612624" y="3457514"/>
                </a:moveTo>
                <a:cubicBezTo>
                  <a:pt x="1625380" y="3490314"/>
                  <a:pt x="1607158" y="3457514"/>
                  <a:pt x="1619914" y="3488492"/>
                </a:cubicBezTo>
                <a:lnTo>
                  <a:pt x="1598047" y="3488492"/>
                </a:lnTo>
                <a:lnTo>
                  <a:pt x="1598047" y="3488491"/>
                </a:lnTo>
                <a:lnTo>
                  <a:pt x="1598047" y="3488491"/>
                </a:lnTo>
                <a:lnTo>
                  <a:pt x="1590758" y="3473915"/>
                </a:lnTo>
                <a:close/>
                <a:moveTo>
                  <a:pt x="1576181" y="3450225"/>
                </a:moveTo>
                <a:lnTo>
                  <a:pt x="1567070" y="3466625"/>
                </a:lnTo>
                <a:lnTo>
                  <a:pt x="1550670" y="3452047"/>
                </a:lnTo>
                <a:close/>
                <a:moveTo>
                  <a:pt x="1501472" y="3450225"/>
                </a:moveTo>
                <a:lnTo>
                  <a:pt x="1490539" y="3466625"/>
                </a:lnTo>
                <a:lnTo>
                  <a:pt x="1475961" y="3452047"/>
                </a:lnTo>
                <a:close/>
                <a:moveTo>
                  <a:pt x="1146148" y="3450225"/>
                </a:moveTo>
                <a:lnTo>
                  <a:pt x="1168013" y="3450225"/>
                </a:lnTo>
                <a:lnTo>
                  <a:pt x="1168013" y="3481203"/>
                </a:lnTo>
                <a:lnTo>
                  <a:pt x="1155259" y="3481203"/>
                </a:lnTo>
                <a:close/>
                <a:moveTo>
                  <a:pt x="3815633" y="3446581"/>
                </a:moveTo>
                <a:lnTo>
                  <a:pt x="3839322" y="3450227"/>
                </a:lnTo>
                <a:lnTo>
                  <a:pt x="3835677" y="3473915"/>
                </a:lnTo>
                <a:lnTo>
                  <a:pt x="3832033" y="3457515"/>
                </a:lnTo>
                <a:cubicBezTo>
                  <a:pt x="3810167" y="3462982"/>
                  <a:pt x="3819278" y="3459338"/>
                  <a:pt x="3801056" y="3472093"/>
                </a:cubicBezTo>
                <a:lnTo>
                  <a:pt x="3793767" y="3450227"/>
                </a:lnTo>
                <a:close/>
                <a:moveTo>
                  <a:pt x="2532822" y="3442937"/>
                </a:moveTo>
                <a:cubicBezTo>
                  <a:pt x="2545577" y="3455692"/>
                  <a:pt x="2547400" y="3457514"/>
                  <a:pt x="2556510" y="3472091"/>
                </a:cubicBezTo>
                <a:lnTo>
                  <a:pt x="2571088" y="3464803"/>
                </a:lnTo>
                <a:cubicBezTo>
                  <a:pt x="2558332" y="3446581"/>
                  <a:pt x="2561977" y="3444759"/>
                  <a:pt x="2532822" y="3442937"/>
                </a:cubicBezTo>
                <a:close/>
                <a:moveTo>
                  <a:pt x="3770078" y="3435648"/>
                </a:moveTo>
                <a:lnTo>
                  <a:pt x="3793766" y="3435648"/>
                </a:lnTo>
                <a:lnTo>
                  <a:pt x="3793767" y="3435648"/>
                </a:lnTo>
                <a:lnTo>
                  <a:pt x="3793767" y="3450226"/>
                </a:lnTo>
                <a:lnTo>
                  <a:pt x="3779189" y="3450226"/>
                </a:lnTo>
                <a:close/>
                <a:moveTo>
                  <a:pt x="3514974" y="3435648"/>
                </a:moveTo>
                <a:cubicBezTo>
                  <a:pt x="3509507" y="3435648"/>
                  <a:pt x="3500397" y="3441115"/>
                  <a:pt x="3502219" y="3442937"/>
                </a:cubicBezTo>
                <a:lnTo>
                  <a:pt x="3516796" y="3466625"/>
                </a:lnTo>
                <a:lnTo>
                  <a:pt x="3545951" y="3442937"/>
                </a:lnTo>
                <a:cubicBezTo>
                  <a:pt x="3524085" y="3437470"/>
                  <a:pt x="3531374" y="3435648"/>
                  <a:pt x="3514974" y="3435648"/>
                </a:cubicBezTo>
                <a:close/>
                <a:moveTo>
                  <a:pt x="2993832" y="3435648"/>
                </a:moveTo>
                <a:lnTo>
                  <a:pt x="2993832" y="3450225"/>
                </a:lnTo>
                <a:lnTo>
                  <a:pt x="3010232" y="3448403"/>
                </a:lnTo>
                <a:close/>
                <a:moveTo>
                  <a:pt x="2390693" y="3435648"/>
                </a:moveTo>
                <a:lnTo>
                  <a:pt x="2381582" y="3450225"/>
                </a:lnTo>
                <a:lnTo>
                  <a:pt x="2407092" y="3448403"/>
                </a:lnTo>
                <a:close/>
                <a:moveTo>
                  <a:pt x="2818903" y="3433826"/>
                </a:moveTo>
                <a:lnTo>
                  <a:pt x="2802504" y="3448403"/>
                </a:lnTo>
                <a:lnTo>
                  <a:pt x="2828014" y="3450225"/>
                </a:lnTo>
                <a:close/>
                <a:moveTo>
                  <a:pt x="830911" y="3433825"/>
                </a:moveTo>
                <a:lnTo>
                  <a:pt x="843667" y="3450226"/>
                </a:lnTo>
                <a:lnTo>
                  <a:pt x="829089" y="3459337"/>
                </a:lnTo>
                <a:close/>
                <a:moveTo>
                  <a:pt x="3318179" y="3428359"/>
                </a:moveTo>
                <a:cubicBezTo>
                  <a:pt x="3323646" y="3442937"/>
                  <a:pt x="3325468" y="3435648"/>
                  <a:pt x="3318179" y="3450225"/>
                </a:cubicBezTo>
                <a:lnTo>
                  <a:pt x="3332756" y="3450225"/>
                </a:lnTo>
                <a:lnTo>
                  <a:pt x="3332756" y="3493957"/>
                </a:lnTo>
                <a:lnTo>
                  <a:pt x="3354623" y="3493957"/>
                </a:lnTo>
                <a:cubicBezTo>
                  <a:pt x="3349156" y="3479380"/>
                  <a:pt x="3349156" y="3472091"/>
                  <a:pt x="3354623" y="3457514"/>
                </a:cubicBezTo>
                <a:lnTo>
                  <a:pt x="3340045" y="3450225"/>
                </a:lnTo>
                <a:cubicBezTo>
                  <a:pt x="3349156" y="3430181"/>
                  <a:pt x="3349156" y="3430181"/>
                  <a:pt x="3318179" y="3428359"/>
                </a:cubicBezTo>
                <a:close/>
                <a:moveTo>
                  <a:pt x="3258047" y="3428359"/>
                </a:moveTo>
                <a:lnTo>
                  <a:pt x="3241648" y="3430181"/>
                </a:lnTo>
                <a:lnTo>
                  <a:pt x="3256225" y="3444759"/>
                </a:lnTo>
                <a:close/>
                <a:moveTo>
                  <a:pt x="2691351" y="3428359"/>
                </a:moveTo>
                <a:cubicBezTo>
                  <a:pt x="2680418" y="3437470"/>
                  <a:pt x="2676774" y="3430181"/>
                  <a:pt x="2676774" y="3450225"/>
                </a:cubicBezTo>
                <a:lnTo>
                  <a:pt x="2691351" y="3450225"/>
                </a:lnTo>
                <a:close/>
                <a:moveTo>
                  <a:pt x="2510956" y="3428359"/>
                </a:moveTo>
                <a:lnTo>
                  <a:pt x="2510956" y="3442937"/>
                </a:lnTo>
                <a:lnTo>
                  <a:pt x="2525534" y="3428359"/>
                </a:lnTo>
                <a:close/>
                <a:moveTo>
                  <a:pt x="3708125" y="3426537"/>
                </a:moveTo>
                <a:lnTo>
                  <a:pt x="3702659" y="3459337"/>
                </a:lnTo>
                <a:lnTo>
                  <a:pt x="3686259" y="3448404"/>
                </a:lnTo>
                <a:close/>
                <a:moveTo>
                  <a:pt x="1346587" y="3422210"/>
                </a:moveTo>
                <a:cubicBezTo>
                  <a:pt x="1352965" y="3420160"/>
                  <a:pt x="1361165" y="3423804"/>
                  <a:pt x="1370276" y="3428360"/>
                </a:cubicBezTo>
                <a:cubicBezTo>
                  <a:pt x="1355697" y="3448404"/>
                  <a:pt x="1370276" y="3444760"/>
                  <a:pt x="1348410" y="3435649"/>
                </a:cubicBezTo>
                <a:lnTo>
                  <a:pt x="1348410" y="3450226"/>
                </a:lnTo>
                <a:lnTo>
                  <a:pt x="1333831" y="3450226"/>
                </a:lnTo>
                <a:cubicBezTo>
                  <a:pt x="1335654" y="3432004"/>
                  <a:pt x="1340209" y="3424260"/>
                  <a:pt x="1346587" y="3422210"/>
                </a:cubicBezTo>
                <a:close/>
                <a:moveTo>
                  <a:pt x="3952297" y="3421070"/>
                </a:moveTo>
                <a:lnTo>
                  <a:pt x="3943186" y="3444760"/>
                </a:lnTo>
                <a:lnTo>
                  <a:pt x="3926786" y="3430182"/>
                </a:lnTo>
                <a:close/>
                <a:moveTo>
                  <a:pt x="3793766" y="3421070"/>
                </a:moveTo>
                <a:lnTo>
                  <a:pt x="3810166" y="3422893"/>
                </a:lnTo>
                <a:lnTo>
                  <a:pt x="3793766" y="3435648"/>
                </a:lnTo>
                <a:close/>
                <a:moveTo>
                  <a:pt x="3770078" y="3421070"/>
                </a:moveTo>
                <a:lnTo>
                  <a:pt x="3770078" y="3435648"/>
                </a:lnTo>
                <a:lnTo>
                  <a:pt x="3770078" y="3435649"/>
                </a:lnTo>
                <a:lnTo>
                  <a:pt x="3755501" y="3442937"/>
                </a:lnTo>
                <a:lnTo>
                  <a:pt x="3748212" y="3428360"/>
                </a:lnTo>
                <a:close/>
                <a:moveTo>
                  <a:pt x="594028" y="3421070"/>
                </a:moveTo>
                <a:lnTo>
                  <a:pt x="612250" y="3422893"/>
                </a:lnTo>
                <a:lnTo>
                  <a:pt x="595850" y="3437470"/>
                </a:lnTo>
                <a:close/>
                <a:moveTo>
                  <a:pt x="2645797" y="3417426"/>
                </a:moveTo>
                <a:lnTo>
                  <a:pt x="2623931" y="3426537"/>
                </a:lnTo>
                <a:lnTo>
                  <a:pt x="2640330" y="3442937"/>
                </a:lnTo>
                <a:close/>
                <a:moveTo>
                  <a:pt x="3296313" y="3413782"/>
                </a:moveTo>
                <a:lnTo>
                  <a:pt x="3296313" y="3428359"/>
                </a:lnTo>
                <a:lnTo>
                  <a:pt x="3310890" y="3413782"/>
                </a:lnTo>
                <a:close/>
                <a:moveTo>
                  <a:pt x="3219782" y="3413782"/>
                </a:moveTo>
                <a:lnTo>
                  <a:pt x="3219782" y="3428359"/>
                </a:lnTo>
                <a:lnTo>
                  <a:pt x="3234359" y="3413782"/>
                </a:lnTo>
                <a:close/>
                <a:moveTo>
                  <a:pt x="2080923" y="3406493"/>
                </a:moveTo>
                <a:cubicBezTo>
                  <a:pt x="2055413" y="3422893"/>
                  <a:pt x="2080923" y="3452047"/>
                  <a:pt x="2042657" y="3428359"/>
                </a:cubicBezTo>
                <a:lnTo>
                  <a:pt x="2028080" y="3432004"/>
                </a:lnTo>
                <a:lnTo>
                  <a:pt x="2004392" y="3430181"/>
                </a:lnTo>
                <a:lnTo>
                  <a:pt x="2020791" y="3452047"/>
                </a:lnTo>
                <a:lnTo>
                  <a:pt x="2033546" y="3446581"/>
                </a:lnTo>
                <a:lnTo>
                  <a:pt x="2049946" y="3450225"/>
                </a:lnTo>
                <a:cubicBezTo>
                  <a:pt x="2077279" y="3437470"/>
                  <a:pt x="2073634" y="3437470"/>
                  <a:pt x="2088212" y="3457514"/>
                </a:cubicBezTo>
                <a:lnTo>
                  <a:pt x="2064524" y="3466625"/>
                </a:lnTo>
                <a:lnTo>
                  <a:pt x="2049946" y="3459336"/>
                </a:lnTo>
                <a:cubicBezTo>
                  <a:pt x="2031724" y="3481202"/>
                  <a:pt x="2053590" y="3470269"/>
                  <a:pt x="2018969" y="3473913"/>
                </a:cubicBezTo>
                <a:cubicBezTo>
                  <a:pt x="2037191" y="3497602"/>
                  <a:pt x="2017147" y="3488491"/>
                  <a:pt x="2049946" y="3481202"/>
                </a:cubicBezTo>
                <a:cubicBezTo>
                  <a:pt x="2055413" y="3484847"/>
                  <a:pt x="2068168" y="3495780"/>
                  <a:pt x="2071812" y="3495780"/>
                </a:cubicBezTo>
                <a:cubicBezTo>
                  <a:pt x="2090034" y="3495780"/>
                  <a:pt x="2090034" y="3490313"/>
                  <a:pt x="2102790" y="3481202"/>
                </a:cubicBezTo>
                <a:cubicBezTo>
                  <a:pt x="2090034" y="3450225"/>
                  <a:pt x="2108256" y="3483024"/>
                  <a:pt x="2097323" y="3452047"/>
                </a:cubicBezTo>
                <a:lnTo>
                  <a:pt x="2111900" y="3433826"/>
                </a:lnTo>
                <a:lnTo>
                  <a:pt x="2080923" y="3428359"/>
                </a:lnTo>
                <a:cubicBezTo>
                  <a:pt x="2090034" y="3410137"/>
                  <a:pt x="2088212" y="3426537"/>
                  <a:pt x="2080923" y="3406493"/>
                </a:cubicBezTo>
                <a:close/>
                <a:moveTo>
                  <a:pt x="2006214" y="3406493"/>
                </a:moveTo>
                <a:cubicBezTo>
                  <a:pt x="1987992" y="3408315"/>
                  <a:pt x="1977059" y="3404671"/>
                  <a:pt x="1975237" y="3421071"/>
                </a:cubicBezTo>
                <a:cubicBezTo>
                  <a:pt x="2009858" y="3417426"/>
                  <a:pt x="1987992" y="3428359"/>
                  <a:pt x="2006214" y="3406493"/>
                </a:cubicBezTo>
                <a:close/>
                <a:moveTo>
                  <a:pt x="1665467" y="3406493"/>
                </a:moveTo>
                <a:lnTo>
                  <a:pt x="1665467" y="3421071"/>
                </a:lnTo>
                <a:lnTo>
                  <a:pt x="1681867" y="3419248"/>
                </a:lnTo>
                <a:close/>
                <a:moveTo>
                  <a:pt x="1536092" y="3406493"/>
                </a:moveTo>
                <a:lnTo>
                  <a:pt x="1559781" y="3426538"/>
                </a:lnTo>
                <a:lnTo>
                  <a:pt x="1543381" y="3435649"/>
                </a:lnTo>
                <a:close/>
                <a:moveTo>
                  <a:pt x="3445731" y="3404671"/>
                </a:moveTo>
                <a:lnTo>
                  <a:pt x="3445731" y="3419248"/>
                </a:lnTo>
                <a:lnTo>
                  <a:pt x="3467597" y="3426537"/>
                </a:lnTo>
                <a:lnTo>
                  <a:pt x="3476708" y="3410137"/>
                </a:lnTo>
                <a:close/>
                <a:moveTo>
                  <a:pt x="1920572" y="3404671"/>
                </a:moveTo>
                <a:lnTo>
                  <a:pt x="1927861" y="3435648"/>
                </a:lnTo>
                <a:lnTo>
                  <a:pt x="1946083" y="3424715"/>
                </a:lnTo>
                <a:close/>
                <a:moveTo>
                  <a:pt x="1583469" y="3404671"/>
                </a:moveTo>
                <a:lnTo>
                  <a:pt x="1605336" y="3428360"/>
                </a:lnTo>
                <a:lnTo>
                  <a:pt x="1574358" y="3419249"/>
                </a:lnTo>
                <a:close/>
                <a:moveTo>
                  <a:pt x="2937345" y="3402849"/>
                </a:moveTo>
                <a:lnTo>
                  <a:pt x="2922767" y="3417426"/>
                </a:lnTo>
                <a:lnTo>
                  <a:pt x="2948278" y="3419248"/>
                </a:lnTo>
                <a:close/>
                <a:moveTo>
                  <a:pt x="3394710" y="3399205"/>
                </a:moveTo>
                <a:cubicBezTo>
                  <a:pt x="3371022" y="3404671"/>
                  <a:pt x="3374666" y="3401027"/>
                  <a:pt x="3363734" y="3421071"/>
                </a:cubicBezTo>
                <a:lnTo>
                  <a:pt x="3372844" y="3430181"/>
                </a:lnTo>
                <a:cubicBezTo>
                  <a:pt x="3391066" y="3415604"/>
                  <a:pt x="3387422" y="3424715"/>
                  <a:pt x="3394710" y="3399205"/>
                </a:cubicBezTo>
                <a:close/>
                <a:moveTo>
                  <a:pt x="2751483" y="3397382"/>
                </a:moveTo>
                <a:cubicBezTo>
                  <a:pt x="2720506" y="3401027"/>
                  <a:pt x="2713217" y="3415604"/>
                  <a:pt x="2698640" y="3435648"/>
                </a:cubicBezTo>
                <a:lnTo>
                  <a:pt x="2707751" y="3444759"/>
                </a:lnTo>
                <a:lnTo>
                  <a:pt x="2720506" y="3428359"/>
                </a:lnTo>
                <a:cubicBezTo>
                  <a:pt x="2751483" y="3439292"/>
                  <a:pt x="2738728" y="3424715"/>
                  <a:pt x="2751483" y="3397382"/>
                </a:cubicBezTo>
                <a:close/>
                <a:moveTo>
                  <a:pt x="2133766" y="3397382"/>
                </a:moveTo>
                <a:lnTo>
                  <a:pt x="2110078" y="3399205"/>
                </a:lnTo>
                <a:lnTo>
                  <a:pt x="2124655" y="3413782"/>
                </a:lnTo>
                <a:close/>
                <a:moveTo>
                  <a:pt x="3837498" y="3388271"/>
                </a:moveTo>
                <a:lnTo>
                  <a:pt x="3837498" y="3413783"/>
                </a:lnTo>
                <a:lnTo>
                  <a:pt x="3821098" y="3404672"/>
                </a:lnTo>
                <a:close/>
                <a:moveTo>
                  <a:pt x="3671681" y="3388271"/>
                </a:moveTo>
                <a:lnTo>
                  <a:pt x="3671681" y="3413783"/>
                </a:lnTo>
                <a:lnTo>
                  <a:pt x="3655281" y="3404672"/>
                </a:lnTo>
                <a:close/>
                <a:moveTo>
                  <a:pt x="3852076" y="3384627"/>
                </a:moveTo>
                <a:lnTo>
                  <a:pt x="3883053" y="3390095"/>
                </a:lnTo>
                <a:cubicBezTo>
                  <a:pt x="3866654" y="3415605"/>
                  <a:pt x="3868476" y="3388273"/>
                  <a:pt x="3852076" y="3406494"/>
                </a:cubicBezTo>
                <a:close/>
                <a:moveTo>
                  <a:pt x="3791945" y="3382805"/>
                </a:moveTo>
                <a:lnTo>
                  <a:pt x="3815633" y="3390095"/>
                </a:lnTo>
                <a:cubicBezTo>
                  <a:pt x="3810167" y="3413783"/>
                  <a:pt x="3817456" y="3401028"/>
                  <a:pt x="3799234" y="3413783"/>
                </a:cubicBezTo>
                <a:close/>
                <a:moveTo>
                  <a:pt x="3551417" y="3382805"/>
                </a:moveTo>
                <a:lnTo>
                  <a:pt x="3567816" y="3390095"/>
                </a:lnTo>
                <a:lnTo>
                  <a:pt x="3567816" y="3413783"/>
                </a:lnTo>
                <a:lnTo>
                  <a:pt x="3565995" y="3413783"/>
                </a:lnTo>
                <a:lnTo>
                  <a:pt x="3551417" y="3413783"/>
                </a:lnTo>
                <a:lnTo>
                  <a:pt x="3547772" y="3397384"/>
                </a:lnTo>
                <a:close/>
                <a:moveTo>
                  <a:pt x="3099518" y="3382805"/>
                </a:moveTo>
                <a:lnTo>
                  <a:pt x="3099518" y="3397382"/>
                </a:lnTo>
                <a:lnTo>
                  <a:pt x="3114096" y="3382805"/>
                </a:lnTo>
                <a:close/>
                <a:moveTo>
                  <a:pt x="2888146" y="3382805"/>
                </a:moveTo>
                <a:lnTo>
                  <a:pt x="2864458" y="3384627"/>
                </a:lnTo>
                <a:lnTo>
                  <a:pt x="2879035" y="3399205"/>
                </a:lnTo>
                <a:close/>
                <a:moveTo>
                  <a:pt x="1093304" y="3382805"/>
                </a:moveTo>
                <a:lnTo>
                  <a:pt x="1107882" y="3397383"/>
                </a:lnTo>
                <a:lnTo>
                  <a:pt x="1093304" y="3397383"/>
                </a:lnTo>
                <a:close/>
                <a:moveTo>
                  <a:pt x="2961830" y="3382122"/>
                </a:moveTo>
                <a:cubicBezTo>
                  <a:pt x="2957502" y="3382350"/>
                  <a:pt x="2951466" y="3382805"/>
                  <a:pt x="2942811" y="3382805"/>
                </a:cubicBezTo>
                <a:cubicBezTo>
                  <a:pt x="2957389" y="3402849"/>
                  <a:pt x="2942811" y="3399205"/>
                  <a:pt x="2964677" y="3390094"/>
                </a:cubicBezTo>
                <a:lnTo>
                  <a:pt x="2979255" y="3404671"/>
                </a:lnTo>
                <a:cubicBezTo>
                  <a:pt x="2972422" y="3382805"/>
                  <a:pt x="2974813" y="3381438"/>
                  <a:pt x="2961830" y="3382122"/>
                </a:cubicBezTo>
                <a:close/>
                <a:moveTo>
                  <a:pt x="2496379" y="3375516"/>
                </a:moveTo>
                <a:lnTo>
                  <a:pt x="2496379" y="3390094"/>
                </a:lnTo>
                <a:lnTo>
                  <a:pt x="2512778" y="3388271"/>
                </a:lnTo>
                <a:close/>
                <a:moveTo>
                  <a:pt x="1900528" y="3370050"/>
                </a:moveTo>
                <a:lnTo>
                  <a:pt x="1893239" y="3377338"/>
                </a:lnTo>
                <a:cubicBezTo>
                  <a:pt x="1905994" y="3395560"/>
                  <a:pt x="1893239" y="3391916"/>
                  <a:pt x="1913283" y="3388271"/>
                </a:cubicBezTo>
                <a:lnTo>
                  <a:pt x="1936972" y="3391916"/>
                </a:lnTo>
                <a:cubicBezTo>
                  <a:pt x="1918750" y="3366405"/>
                  <a:pt x="1927861" y="3382805"/>
                  <a:pt x="1900528" y="3370050"/>
                </a:cubicBezTo>
                <a:close/>
                <a:moveTo>
                  <a:pt x="3974162" y="3360969"/>
                </a:moveTo>
                <a:cubicBezTo>
                  <a:pt x="3996028" y="3364613"/>
                  <a:pt x="3985095" y="3359144"/>
                  <a:pt x="3996028" y="3375517"/>
                </a:cubicBezTo>
                <a:lnTo>
                  <a:pt x="3974162" y="3375517"/>
                </a:lnTo>
                <a:close/>
                <a:moveTo>
                  <a:pt x="3733635" y="3359154"/>
                </a:moveTo>
                <a:lnTo>
                  <a:pt x="3726347" y="3373732"/>
                </a:lnTo>
                <a:lnTo>
                  <a:pt x="3748213" y="3373732"/>
                </a:lnTo>
                <a:cubicBezTo>
                  <a:pt x="3735458" y="3406494"/>
                  <a:pt x="3753679" y="3373732"/>
                  <a:pt x="3740924" y="3404672"/>
                </a:cubicBezTo>
                <a:cubicBezTo>
                  <a:pt x="3720880" y="3391916"/>
                  <a:pt x="3724524" y="3404672"/>
                  <a:pt x="3733635" y="3382805"/>
                </a:cubicBezTo>
                <a:cubicBezTo>
                  <a:pt x="3726347" y="3380983"/>
                  <a:pt x="3722702" y="3379161"/>
                  <a:pt x="3719058" y="3377339"/>
                </a:cubicBezTo>
                <a:cubicBezTo>
                  <a:pt x="3717236" y="3375517"/>
                  <a:pt x="3715414" y="3371912"/>
                  <a:pt x="3709947" y="3366441"/>
                </a:cubicBezTo>
                <a:close/>
                <a:moveTo>
                  <a:pt x="1332010" y="3359140"/>
                </a:moveTo>
                <a:lnTo>
                  <a:pt x="1333832" y="3382805"/>
                </a:lnTo>
                <a:lnTo>
                  <a:pt x="1317432" y="3373719"/>
                </a:lnTo>
                <a:close/>
                <a:moveTo>
                  <a:pt x="1747465" y="3359117"/>
                </a:moveTo>
                <a:lnTo>
                  <a:pt x="1734710" y="3375516"/>
                </a:lnTo>
                <a:lnTo>
                  <a:pt x="1756576" y="3375516"/>
                </a:lnTo>
                <a:lnTo>
                  <a:pt x="1749287" y="3390094"/>
                </a:lnTo>
                <a:cubicBezTo>
                  <a:pt x="1771154" y="3397382"/>
                  <a:pt x="1769331" y="3397382"/>
                  <a:pt x="1772976" y="3428359"/>
                </a:cubicBezTo>
                <a:lnTo>
                  <a:pt x="1787553" y="3421071"/>
                </a:lnTo>
                <a:lnTo>
                  <a:pt x="1802130" y="3437470"/>
                </a:lnTo>
                <a:lnTo>
                  <a:pt x="1802130" y="3413782"/>
                </a:lnTo>
                <a:lnTo>
                  <a:pt x="1787553" y="3421071"/>
                </a:lnTo>
                <a:lnTo>
                  <a:pt x="1780265" y="3390094"/>
                </a:lnTo>
                <a:lnTo>
                  <a:pt x="1802130" y="3390094"/>
                </a:lnTo>
                <a:cubicBezTo>
                  <a:pt x="1787553" y="3368228"/>
                  <a:pt x="1791197" y="3370050"/>
                  <a:pt x="1765687" y="3380983"/>
                </a:cubicBezTo>
                <a:lnTo>
                  <a:pt x="1756576" y="3375516"/>
                </a:lnTo>
                <a:close/>
                <a:moveTo>
                  <a:pt x="2676774" y="3353650"/>
                </a:moveTo>
                <a:lnTo>
                  <a:pt x="2653086" y="3355472"/>
                </a:lnTo>
                <a:lnTo>
                  <a:pt x="2667663" y="3370050"/>
                </a:lnTo>
                <a:close/>
                <a:moveTo>
                  <a:pt x="2806148" y="3351828"/>
                </a:moveTo>
                <a:cubicBezTo>
                  <a:pt x="2817081" y="3368228"/>
                  <a:pt x="2806148" y="3360939"/>
                  <a:pt x="2828014" y="3366405"/>
                </a:cubicBezTo>
                <a:lnTo>
                  <a:pt x="2828014" y="3351828"/>
                </a:lnTo>
                <a:close/>
                <a:moveTo>
                  <a:pt x="1982527" y="3351828"/>
                </a:moveTo>
                <a:lnTo>
                  <a:pt x="1958837" y="3353650"/>
                </a:lnTo>
                <a:lnTo>
                  <a:pt x="1973416" y="3368228"/>
                </a:lnTo>
                <a:close/>
                <a:moveTo>
                  <a:pt x="3181516" y="3344539"/>
                </a:moveTo>
                <a:cubicBezTo>
                  <a:pt x="3163294" y="3357294"/>
                  <a:pt x="3163294" y="3346361"/>
                  <a:pt x="3172405" y="3368228"/>
                </a:cubicBezTo>
                <a:lnTo>
                  <a:pt x="3165116" y="3390094"/>
                </a:lnTo>
                <a:cubicBezTo>
                  <a:pt x="3190627" y="3371872"/>
                  <a:pt x="3174227" y="3380983"/>
                  <a:pt x="3186982" y="3353650"/>
                </a:cubicBezTo>
                <a:close/>
                <a:moveTo>
                  <a:pt x="1822174" y="3342717"/>
                </a:moveTo>
                <a:lnTo>
                  <a:pt x="1807598" y="3357294"/>
                </a:lnTo>
                <a:lnTo>
                  <a:pt x="1823996" y="3359117"/>
                </a:lnTo>
                <a:close/>
                <a:moveTo>
                  <a:pt x="1732888" y="3342717"/>
                </a:moveTo>
                <a:lnTo>
                  <a:pt x="1718310" y="3357294"/>
                </a:lnTo>
                <a:lnTo>
                  <a:pt x="1734710" y="3359117"/>
                </a:lnTo>
                <a:close/>
                <a:moveTo>
                  <a:pt x="3618838" y="3339103"/>
                </a:moveTo>
                <a:lnTo>
                  <a:pt x="3633415" y="3339103"/>
                </a:lnTo>
                <a:lnTo>
                  <a:pt x="3664392" y="3370092"/>
                </a:lnTo>
                <a:lnTo>
                  <a:pt x="3695369" y="3360983"/>
                </a:lnTo>
                <a:lnTo>
                  <a:pt x="3709946" y="3368271"/>
                </a:lnTo>
                <a:lnTo>
                  <a:pt x="3702657" y="3390094"/>
                </a:lnTo>
                <a:lnTo>
                  <a:pt x="3717235" y="3390094"/>
                </a:lnTo>
                <a:cubicBezTo>
                  <a:pt x="3713591" y="3395561"/>
                  <a:pt x="3713591" y="3404672"/>
                  <a:pt x="3702657" y="3404672"/>
                </a:cubicBezTo>
                <a:cubicBezTo>
                  <a:pt x="3677147" y="3404672"/>
                  <a:pt x="3682614" y="3395561"/>
                  <a:pt x="3688080" y="3382805"/>
                </a:cubicBezTo>
                <a:lnTo>
                  <a:pt x="3664392" y="3373738"/>
                </a:lnTo>
                <a:lnTo>
                  <a:pt x="3647992" y="3382805"/>
                </a:lnTo>
                <a:lnTo>
                  <a:pt x="3635238" y="3382805"/>
                </a:lnTo>
                <a:lnTo>
                  <a:pt x="3635238" y="3402850"/>
                </a:lnTo>
                <a:cubicBezTo>
                  <a:pt x="3651637" y="3413783"/>
                  <a:pt x="3657104" y="3419250"/>
                  <a:pt x="3678970" y="3424716"/>
                </a:cubicBezTo>
                <a:lnTo>
                  <a:pt x="3673504" y="3455693"/>
                </a:lnTo>
                <a:cubicBezTo>
                  <a:pt x="3642527" y="3459338"/>
                  <a:pt x="3647993" y="3468449"/>
                  <a:pt x="3635238" y="3486670"/>
                </a:cubicBezTo>
                <a:cubicBezTo>
                  <a:pt x="3642527" y="3506714"/>
                  <a:pt x="3642527" y="3490315"/>
                  <a:pt x="3633416" y="3510358"/>
                </a:cubicBezTo>
                <a:lnTo>
                  <a:pt x="3618839" y="3493959"/>
                </a:lnTo>
                <a:lnTo>
                  <a:pt x="3604261" y="3503070"/>
                </a:lnTo>
                <a:lnTo>
                  <a:pt x="3589684" y="3503070"/>
                </a:lnTo>
                <a:lnTo>
                  <a:pt x="3604261" y="3483026"/>
                </a:lnTo>
                <a:lnTo>
                  <a:pt x="3575105" y="3450227"/>
                </a:lnTo>
                <a:lnTo>
                  <a:pt x="3596972" y="3450227"/>
                </a:lnTo>
                <a:lnTo>
                  <a:pt x="3595150" y="3442938"/>
                </a:lnTo>
                <a:lnTo>
                  <a:pt x="3573283" y="3433827"/>
                </a:lnTo>
                <a:lnTo>
                  <a:pt x="3596972" y="3432005"/>
                </a:lnTo>
                <a:lnTo>
                  <a:pt x="3580572" y="3417428"/>
                </a:lnTo>
                <a:lnTo>
                  <a:pt x="3587861" y="3404673"/>
                </a:lnTo>
                <a:lnTo>
                  <a:pt x="3575105" y="3386451"/>
                </a:lnTo>
                <a:lnTo>
                  <a:pt x="3596972" y="3395562"/>
                </a:lnTo>
                <a:cubicBezTo>
                  <a:pt x="3617016" y="3386451"/>
                  <a:pt x="3600617" y="3386451"/>
                  <a:pt x="3618839" y="3393739"/>
                </a:cubicBezTo>
                <a:lnTo>
                  <a:pt x="3633319" y="3382476"/>
                </a:lnTo>
                <a:lnTo>
                  <a:pt x="3624304" y="3351865"/>
                </a:lnTo>
                <a:lnTo>
                  <a:pt x="3611549" y="3368271"/>
                </a:lnTo>
                <a:cubicBezTo>
                  <a:pt x="3582394" y="3355517"/>
                  <a:pt x="3593327" y="3371915"/>
                  <a:pt x="3575105" y="3344579"/>
                </a:cubicBezTo>
                <a:lnTo>
                  <a:pt x="3602438" y="3351865"/>
                </a:lnTo>
                <a:close/>
                <a:moveTo>
                  <a:pt x="1684600" y="3337934"/>
                </a:moveTo>
                <a:cubicBezTo>
                  <a:pt x="1676856" y="3337706"/>
                  <a:pt x="1667289" y="3339073"/>
                  <a:pt x="1660001" y="3339073"/>
                </a:cubicBezTo>
                <a:cubicBezTo>
                  <a:pt x="1672756" y="3359117"/>
                  <a:pt x="1660001" y="3355472"/>
                  <a:pt x="1681867" y="3346361"/>
                </a:cubicBezTo>
                <a:lnTo>
                  <a:pt x="1696444" y="3346361"/>
                </a:lnTo>
                <a:lnTo>
                  <a:pt x="1689157" y="3353650"/>
                </a:lnTo>
                <a:cubicBezTo>
                  <a:pt x="1701911" y="3384627"/>
                  <a:pt x="1683689" y="3351828"/>
                  <a:pt x="1696444" y="3382805"/>
                </a:cubicBezTo>
                <a:lnTo>
                  <a:pt x="1721955" y="3371872"/>
                </a:lnTo>
                <a:lnTo>
                  <a:pt x="1705555" y="3368228"/>
                </a:lnTo>
                <a:lnTo>
                  <a:pt x="1712844" y="3353650"/>
                </a:lnTo>
                <a:lnTo>
                  <a:pt x="1698266" y="3346361"/>
                </a:lnTo>
                <a:cubicBezTo>
                  <a:pt x="1698266" y="3339984"/>
                  <a:pt x="1692344" y="3338162"/>
                  <a:pt x="1684600" y="3337934"/>
                </a:cubicBezTo>
                <a:close/>
                <a:moveTo>
                  <a:pt x="4125401" y="3337265"/>
                </a:moveTo>
                <a:lnTo>
                  <a:pt x="4139979" y="3351845"/>
                </a:lnTo>
                <a:lnTo>
                  <a:pt x="4125401" y="3351845"/>
                </a:lnTo>
                <a:close/>
                <a:moveTo>
                  <a:pt x="3008410" y="3337250"/>
                </a:moveTo>
                <a:lnTo>
                  <a:pt x="2984721" y="3339073"/>
                </a:lnTo>
                <a:lnTo>
                  <a:pt x="2999299" y="3353650"/>
                </a:lnTo>
                <a:close/>
                <a:moveTo>
                  <a:pt x="3538663" y="3335459"/>
                </a:moveTo>
                <a:lnTo>
                  <a:pt x="3567818" y="3368271"/>
                </a:lnTo>
                <a:lnTo>
                  <a:pt x="3544129" y="3368271"/>
                </a:lnTo>
                <a:lnTo>
                  <a:pt x="3551418" y="3382805"/>
                </a:lnTo>
                <a:lnTo>
                  <a:pt x="3551417" y="3382805"/>
                </a:lnTo>
                <a:lnTo>
                  <a:pt x="3536841" y="3382805"/>
                </a:lnTo>
                <a:lnTo>
                  <a:pt x="3529552" y="3397382"/>
                </a:lnTo>
                <a:lnTo>
                  <a:pt x="3522263" y="3382805"/>
                </a:lnTo>
                <a:lnTo>
                  <a:pt x="3536841" y="3375516"/>
                </a:lnTo>
                <a:lnTo>
                  <a:pt x="3529552" y="3360983"/>
                </a:lnTo>
                <a:lnTo>
                  <a:pt x="3544129" y="3360983"/>
                </a:lnTo>
                <a:close/>
                <a:moveTo>
                  <a:pt x="3859365" y="3331811"/>
                </a:moveTo>
                <a:lnTo>
                  <a:pt x="3892164" y="3337277"/>
                </a:lnTo>
                <a:lnTo>
                  <a:pt x="3883054" y="3353680"/>
                </a:lnTo>
                <a:close/>
                <a:moveTo>
                  <a:pt x="1997103" y="3322673"/>
                </a:moveTo>
                <a:lnTo>
                  <a:pt x="1973416" y="3324495"/>
                </a:lnTo>
                <a:lnTo>
                  <a:pt x="1987992" y="3339073"/>
                </a:lnTo>
                <a:close/>
                <a:moveTo>
                  <a:pt x="3979628" y="3320881"/>
                </a:moveTo>
                <a:lnTo>
                  <a:pt x="3988739" y="3335459"/>
                </a:lnTo>
                <a:lnTo>
                  <a:pt x="3981451" y="3346389"/>
                </a:lnTo>
                <a:lnTo>
                  <a:pt x="3965051" y="3335459"/>
                </a:lnTo>
                <a:close/>
                <a:moveTo>
                  <a:pt x="3644349" y="3320874"/>
                </a:moveTo>
                <a:lnTo>
                  <a:pt x="3657104" y="3337270"/>
                </a:lnTo>
                <a:lnTo>
                  <a:pt x="3635238" y="3337270"/>
                </a:lnTo>
                <a:close/>
                <a:moveTo>
                  <a:pt x="3602438" y="3320868"/>
                </a:moveTo>
                <a:lnTo>
                  <a:pt x="3604260" y="3337265"/>
                </a:lnTo>
                <a:lnTo>
                  <a:pt x="3587860" y="3335443"/>
                </a:lnTo>
                <a:close/>
                <a:moveTo>
                  <a:pt x="3097696" y="3320851"/>
                </a:moveTo>
                <a:lnTo>
                  <a:pt x="3083119" y="3335428"/>
                </a:lnTo>
                <a:lnTo>
                  <a:pt x="3097696" y="3344539"/>
                </a:lnTo>
                <a:lnTo>
                  <a:pt x="3106807" y="3337250"/>
                </a:lnTo>
                <a:close/>
                <a:moveTo>
                  <a:pt x="3544129" y="3313590"/>
                </a:moveTo>
                <a:lnTo>
                  <a:pt x="3575106" y="3322704"/>
                </a:lnTo>
                <a:lnTo>
                  <a:pt x="3565995" y="3339096"/>
                </a:lnTo>
                <a:close/>
                <a:moveTo>
                  <a:pt x="2924590" y="3313562"/>
                </a:moveTo>
                <a:lnTo>
                  <a:pt x="2910012" y="3328140"/>
                </a:lnTo>
                <a:lnTo>
                  <a:pt x="2926412" y="3329962"/>
                </a:lnTo>
                <a:close/>
                <a:moveTo>
                  <a:pt x="3717236" y="3299008"/>
                </a:moveTo>
                <a:lnTo>
                  <a:pt x="3715413" y="3324526"/>
                </a:lnTo>
                <a:lnTo>
                  <a:pt x="3693547" y="3300834"/>
                </a:lnTo>
                <a:close/>
                <a:moveTo>
                  <a:pt x="3575106" y="3299008"/>
                </a:moveTo>
                <a:lnTo>
                  <a:pt x="3598795" y="3300832"/>
                </a:lnTo>
                <a:lnTo>
                  <a:pt x="3575106" y="3322704"/>
                </a:lnTo>
                <a:close/>
                <a:moveTo>
                  <a:pt x="3225248" y="3298985"/>
                </a:moveTo>
                <a:lnTo>
                  <a:pt x="3210671" y="3313562"/>
                </a:lnTo>
                <a:lnTo>
                  <a:pt x="3227071" y="3315384"/>
                </a:lnTo>
                <a:close/>
                <a:moveTo>
                  <a:pt x="3520441" y="3284446"/>
                </a:moveTo>
                <a:lnTo>
                  <a:pt x="3536841" y="3300842"/>
                </a:lnTo>
                <a:lnTo>
                  <a:pt x="3529552" y="3322713"/>
                </a:lnTo>
                <a:cubicBezTo>
                  <a:pt x="3507686" y="3315421"/>
                  <a:pt x="3514975" y="3326352"/>
                  <a:pt x="3522264" y="3308130"/>
                </a:cubicBezTo>
                <a:lnTo>
                  <a:pt x="3498575" y="3306308"/>
                </a:lnTo>
                <a:close/>
                <a:moveTo>
                  <a:pt x="3912208" y="3277154"/>
                </a:moveTo>
                <a:lnTo>
                  <a:pt x="3945007" y="3286265"/>
                </a:lnTo>
                <a:lnTo>
                  <a:pt x="3923141" y="3306306"/>
                </a:lnTo>
                <a:close/>
                <a:moveTo>
                  <a:pt x="3536839" y="3277136"/>
                </a:moveTo>
                <a:lnTo>
                  <a:pt x="3551416" y="3291716"/>
                </a:lnTo>
                <a:lnTo>
                  <a:pt x="3536839" y="3291716"/>
                </a:lnTo>
                <a:close/>
                <a:moveTo>
                  <a:pt x="3227071" y="3269831"/>
                </a:moveTo>
                <a:lnTo>
                  <a:pt x="3203382" y="3271653"/>
                </a:lnTo>
                <a:lnTo>
                  <a:pt x="3217960" y="3286230"/>
                </a:lnTo>
                <a:close/>
                <a:moveTo>
                  <a:pt x="3024809" y="3269831"/>
                </a:moveTo>
                <a:lnTo>
                  <a:pt x="3024809" y="3291696"/>
                </a:lnTo>
                <a:lnTo>
                  <a:pt x="3046675" y="3269831"/>
                </a:lnTo>
                <a:close/>
                <a:moveTo>
                  <a:pt x="3363734" y="3268009"/>
                </a:moveTo>
                <a:lnTo>
                  <a:pt x="3332756" y="3277119"/>
                </a:lnTo>
                <a:lnTo>
                  <a:pt x="3340045" y="3291696"/>
                </a:lnTo>
                <a:lnTo>
                  <a:pt x="3325468" y="3291696"/>
                </a:lnTo>
                <a:lnTo>
                  <a:pt x="3325468" y="3306274"/>
                </a:lnTo>
                <a:lnTo>
                  <a:pt x="3303602" y="3306274"/>
                </a:lnTo>
                <a:lnTo>
                  <a:pt x="3287202" y="3328140"/>
                </a:lnTo>
                <a:lnTo>
                  <a:pt x="3256225" y="3320851"/>
                </a:lnTo>
                <a:lnTo>
                  <a:pt x="3263514" y="3308096"/>
                </a:lnTo>
                <a:lnTo>
                  <a:pt x="3241648" y="3291696"/>
                </a:lnTo>
                <a:lnTo>
                  <a:pt x="3250759" y="3313562"/>
                </a:lnTo>
                <a:lnTo>
                  <a:pt x="3243470" y="3328140"/>
                </a:lnTo>
                <a:lnTo>
                  <a:pt x="3267158" y="3328140"/>
                </a:lnTo>
                <a:lnTo>
                  <a:pt x="3258047" y="3342717"/>
                </a:lnTo>
                <a:lnTo>
                  <a:pt x="3227071" y="3350006"/>
                </a:lnTo>
                <a:lnTo>
                  <a:pt x="3236181" y="3366405"/>
                </a:lnTo>
                <a:lnTo>
                  <a:pt x="3258047" y="3342717"/>
                </a:lnTo>
                <a:lnTo>
                  <a:pt x="3272625" y="3350006"/>
                </a:lnTo>
                <a:lnTo>
                  <a:pt x="3273367" y="3350748"/>
                </a:lnTo>
                <a:lnTo>
                  <a:pt x="3287202" y="3329989"/>
                </a:lnTo>
                <a:lnTo>
                  <a:pt x="3296313" y="3335459"/>
                </a:lnTo>
                <a:lnTo>
                  <a:pt x="3303602" y="3344569"/>
                </a:lnTo>
                <a:lnTo>
                  <a:pt x="3289025" y="3353683"/>
                </a:lnTo>
                <a:lnTo>
                  <a:pt x="3274713" y="3352094"/>
                </a:lnTo>
                <a:lnTo>
                  <a:pt x="3287202" y="3364583"/>
                </a:lnTo>
                <a:cubicBezTo>
                  <a:pt x="3279913" y="3382805"/>
                  <a:pt x="3276269" y="3390094"/>
                  <a:pt x="3294491" y="3402849"/>
                </a:cubicBezTo>
                <a:lnTo>
                  <a:pt x="3294491" y="3388271"/>
                </a:lnTo>
                <a:lnTo>
                  <a:pt x="3325468" y="3388271"/>
                </a:lnTo>
                <a:cubicBezTo>
                  <a:pt x="3356445" y="3388271"/>
                  <a:pt x="3332756" y="3413782"/>
                  <a:pt x="3356445" y="3380983"/>
                </a:cubicBezTo>
                <a:lnTo>
                  <a:pt x="3332756" y="3380983"/>
                </a:lnTo>
                <a:lnTo>
                  <a:pt x="3340045" y="3368228"/>
                </a:lnTo>
                <a:lnTo>
                  <a:pt x="3336401" y="3353650"/>
                </a:lnTo>
                <a:lnTo>
                  <a:pt x="3336401" y="3341841"/>
                </a:lnTo>
                <a:lnTo>
                  <a:pt x="3334579" y="3344574"/>
                </a:lnTo>
                <a:cubicBezTo>
                  <a:pt x="3329113" y="3346398"/>
                  <a:pt x="3303602" y="3362807"/>
                  <a:pt x="3303602" y="3344574"/>
                </a:cubicBezTo>
                <a:lnTo>
                  <a:pt x="3334579" y="3322713"/>
                </a:lnTo>
                <a:lnTo>
                  <a:pt x="3349157" y="3322713"/>
                </a:lnTo>
                <a:lnTo>
                  <a:pt x="3338247" y="3339073"/>
                </a:lnTo>
                <a:lnTo>
                  <a:pt x="3350978" y="3339073"/>
                </a:lnTo>
                <a:lnTo>
                  <a:pt x="3387422" y="3326318"/>
                </a:lnTo>
                <a:lnTo>
                  <a:pt x="3394710" y="3330691"/>
                </a:lnTo>
                <a:lnTo>
                  <a:pt x="3394710" y="3333606"/>
                </a:lnTo>
                <a:lnTo>
                  <a:pt x="3395166" y="3333834"/>
                </a:lnTo>
                <a:lnTo>
                  <a:pt x="3381955" y="3353650"/>
                </a:lnTo>
                <a:lnTo>
                  <a:pt x="3389244" y="3364583"/>
                </a:lnTo>
                <a:lnTo>
                  <a:pt x="3409288" y="3340895"/>
                </a:lnTo>
                <a:lnTo>
                  <a:pt x="3395166" y="3333834"/>
                </a:lnTo>
                <a:lnTo>
                  <a:pt x="3396532" y="3331784"/>
                </a:lnTo>
                <a:lnTo>
                  <a:pt x="3394710" y="3330691"/>
                </a:lnTo>
                <a:lnTo>
                  <a:pt x="3394710" y="3319029"/>
                </a:lnTo>
                <a:lnTo>
                  <a:pt x="3401999" y="3306274"/>
                </a:lnTo>
                <a:lnTo>
                  <a:pt x="3396532" y="3298985"/>
                </a:lnTo>
                <a:lnTo>
                  <a:pt x="3365556" y="3306274"/>
                </a:lnTo>
                <a:lnTo>
                  <a:pt x="3372844" y="3320851"/>
                </a:lnTo>
                <a:lnTo>
                  <a:pt x="3350978" y="3320851"/>
                </a:lnTo>
                <a:lnTo>
                  <a:pt x="3334579" y="3306274"/>
                </a:lnTo>
                <a:lnTo>
                  <a:pt x="3341867" y="3291696"/>
                </a:lnTo>
                <a:lnTo>
                  <a:pt x="3354623" y="3298985"/>
                </a:lnTo>
                <a:close/>
                <a:moveTo>
                  <a:pt x="1501471" y="3264368"/>
                </a:moveTo>
                <a:cubicBezTo>
                  <a:pt x="1506938" y="3266190"/>
                  <a:pt x="1512404" y="3266190"/>
                  <a:pt x="1516049" y="3273480"/>
                </a:cubicBezTo>
                <a:cubicBezTo>
                  <a:pt x="1512404" y="3273480"/>
                  <a:pt x="1506938" y="3275302"/>
                  <a:pt x="1503293" y="3275302"/>
                </a:cubicBezTo>
                <a:lnTo>
                  <a:pt x="1501471" y="3271656"/>
                </a:lnTo>
                <a:cubicBezTo>
                  <a:pt x="1503293" y="3271656"/>
                  <a:pt x="1503293" y="3269836"/>
                  <a:pt x="1503293" y="3269836"/>
                </a:cubicBezTo>
                <a:cubicBezTo>
                  <a:pt x="1501471" y="3268012"/>
                  <a:pt x="1503293" y="3266190"/>
                  <a:pt x="1501471" y="3264368"/>
                </a:cubicBezTo>
                <a:close/>
                <a:moveTo>
                  <a:pt x="3671682" y="3262569"/>
                </a:moveTo>
                <a:lnTo>
                  <a:pt x="3702659" y="3269861"/>
                </a:lnTo>
                <a:cubicBezTo>
                  <a:pt x="3688081" y="3289912"/>
                  <a:pt x="3700837" y="3286268"/>
                  <a:pt x="3677148" y="3277158"/>
                </a:cubicBezTo>
                <a:lnTo>
                  <a:pt x="3684437" y="3306309"/>
                </a:lnTo>
                <a:lnTo>
                  <a:pt x="3678970" y="3315421"/>
                </a:lnTo>
                <a:cubicBezTo>
                  <a:pt x="3653459" y="3297200"/>
                  <a:pt x="3673504" y="3278977"/>
                  <a:pt x="3671682" y="3262569"/>
                </a:cubicBezTo>
                <a:close/>
                <a:moveTo>
                  <a:pt x="3544129" y="3231590"/>
                </a:moveTo>
                <a:cubicBezTo>
                  <a:pt x="3556884" y="3262569"/>
                  <a:pt x="3538663" y="3229769"/>
                  <a:pt x="3551418" y="3260747"/>
                </a:cubicBezTo>
                <a:lnTo>
                  <a:pt x="3522263" y="3268044"/>
                </a:lnTo>
                <a:lnTo>
                  <a:pt x="3513153" y="3262569"/>
                </a:lnTo>
                <a:lnTo>
                  <a:pt x="3506320" y="3273759"/>
                </a:lnTo>
                <a:cubicBezTo>
                  <a:pt x="3494020" y="3272478"/>
                  <a:pt x="3469420" y="3240696"/>
                  <a:pt x="3469420" y="3240696"/>
                </a:cubicBezTo>
                <a:lnTo>
                  <a:pt x="3476709" y="3231592"/>
                </a:lnTo>
                <a:lnTo>
                  <a:pt x="3513152" y="3262569"/>
                </a:lnTo>
                <a:close/>
                <a:moveTo>
                  <a:pt x="3693548" y="3231586"/>
                </a:moveTo>
                <a:lnTo>
                  <a:pt x="3700837" y="3264385"/>
                </a:lnTo>
                <a:lnTo>
                  <a:pt x="3678970" y="3240693"/>
                </a:lnTo>
                <a:close/>
                <a:moveTo>
                  <a:pt x="3618839" y="3229758"/>
                </a:moveTo>
                <a:lnTo>
                  <a:pt x="3627950" y="3246159"/>
                </a:lnTo>
                <a:lnTo>
                  <a:pt x="3602439" y="3246159"/>
                </a:lnTo>
                <a:close/>
                <a:moveTo>
                  <a:pt x="1694622" y="3229745"/>
                </a:moveTo>
                <a:cubicBezTo>
                  <a:pt x="1692800" y="3231567"/>
                  <a:pt x="1694622" y="3238856"/>
                  <a:pt x="1698266" y="3240677"/>
                </a:cubicBezTo>
                <a:cubicBezTo>
                  <a:pt x="1696444" y="3240677"/>
                  <a:pt x="1696444" y="3246146"/>
                  <a:pt x="1694622" y="3246146"/>
                </a:cubicBezTo>
                <a:cubicBezTo>
                  <a:pt x="1694622" y="3244322"/>
                  <a:pt x="1692800" y="3242500"/>
                  <a:pt x="1690978" y="3240677"/>
                </a:cubicBezTo>
                <a:cubicBezTo>
                  <a:pt x="1690978" y="3238856"/>
                  <a:pt x="1694622" y="3240677"/>
                  <a:pt x="1692800" y="3237034"/>
                </a:cubicBezTo>
                <a:cubicBezTo>
                  <a:pt x="1692800" y="3235212"/>
                  <a:pt x="1690978" y="3235212"/>
                  <a:pt x="1689155" y="3235212"/>
                </a:cubicBezTo>
                <a:cubicBezTo>
                  <a:pt x="1690978" y="3233390"/>
                  <a:pt x="1692800" y="3231567"/>
                  <a:pt x="1694622" y="3229745"/>
                </a:cubicBezTo>
                <a:close/>
                <a:moveTo>
                  <a:pt x="1175302" y="3224283"/>
                </a:moveTo>
                <a:lnTo>
                  <a:pt x="1173481" y="3240687"/>
                </a:lnTo>
                <a:lnTo>
                  <a:pt x="1158902" y="3226109"/>
                </a:lnTo>
                <a:close/>
                <a:moveTo>
                  <a:pt x="1182592" y="3215177"/>
                </a:moveTo>
                <a:cubicBezTo>
                  <a:pt x="1217212" y="3218826"/>
                  <a:pt x="1195346" y="3207879"/>
                  <a:pt x="1213567" y="3231592"/>
                </a:cubicBezTo>
                <a:lnTo>
                  <a:pt x="1228145" y="3224292"/>
                </a:lnTo>
                <a:lnTo>
                  <a:pt x="1228145" y="3238878"/>
                </a:lnTo>
                <a:lnTo>
                  <a:pt x="1244544" y="3238878"/>
                </a:lnTo>
                <a:lnTo>
                  <a:pt x="1237256" y="3253460"/>
                </a:lnTo>
                <a:cubicBezTo>
                  <a:pt x="1255479" y="3266214"/>
                  <a:pt x="1248189" y="3255282"/>
                  <a:pt x="1253655" y="3275329"/>
                </a:cubicBezTo>
                <a:lnTo>
                  <a:pt x="1275522" y="3284446"/>
                </a:lnTo>
                <a:cubicBezTo>
                  <a:pt x="1260945" y="3302667"/>
                  <a:pt x="1270056" y="3299018"/>
                  <a:pt x="1244544" y="3306311"/>
                </a:cubicBezTo>
                <a:cubicBezTo>
                  <a:pt x="1237256" y="3331819"/>
                  <a:pt x="1224500" y="3344579"/>
                  <a:pt x="1198990" y="3351865"/>
                </a:cubicBezTo>
                <a:lnTo>
                  <a:pt x="1198990" y="3337283"/>
                </a:lnTo>
                <a:cubicBezTo>
                  <a:pt x="1168013" y="3335469"/>
                  <a:pt x="1173481" y="3326353"/>
                  <a:pt x="1158902" y="3306311"/>
                </a:cubicBezTo>
                <a:cubicBezTo>
                  <a:pt x="1166191" y="3289912"/>
                  <a:pt x="1166191" y="3284446"/>
                  <a:pt x="1160724" y="3269861"/>
                </a:cubicBezTo>
                <a:lnTo>
                  <a:pt x="1175302" y="3255282"/>
                </a:lnTo>
                <a:lnTo>
                  <a:pt x="1206279" y="3244341"/>
                </a:lnTo>
                <a:close/>
                <a:moveTo>
                  <a:pt x="1144326" y="3215171"/>
                </a:moveTo>
                <a:lnTo>
                  <a:pt x="1146148" y="3231581"/>
                </a:lnTo>
                <a:lnTo>
                  <a:pt x="1129748" y="3229758"/>
                </a:lnTo>
                <a:close/>
                <a:moveTo>
                  <a:pt x="1392141" y="3215167"/>
                </a:moveTo>
                <a:cubicBezTo>
                  <a:pt x="1428585" y="3209699"/>
                  <a:pt x="1457739" y="3218811"/>
                  <a:pt x="1490540" y="3222457"/>
                </a:cubicBezTo>
                <a:cubicBezTo>
                  <a:pt x="1490540" y="3226101"/>
                  <a:pt x="1490540" y="3227923"/>
                  <a:pt x="1490540" y="3231568"/>
                </a:cubicBezTo>
                <a:cubicBezTo>
                  <a:pt x="1490540" y="3231568"/>
                  <a:pt x="1492362" y="3233390"/>
                  <a:pt x="1492362" y="3231568"/>
                </a:cubicBezTo>
                <a:cubicBezTo>
                  <a:pt x="1494184" y="3233390"/>
                  <a:pt x="1492362" y="3235213"/>
                  <a:pt x="1492362" y="3237035"/>
                </a:cubicBezTo>
                <a:cubicBezTo>
                  <a:pt x="1490540" y="3237035"/>
                  <a:pt x="1490540" y="3233390"/>
                  <a:pt x="1486895" y="3235213"/>
                </a:cubicBezTo>
                <a:cubicBezTo>
                  <a:pt x="1485073" y="3237035"/>
                  <a:pt x="1488717" y="3238856"/>
                  <a:pt x="1488717" y="3238856"/>
                </a:cubicBezTo>
                <a:cubicBezTo>
                  <a:pt x="1485073" y="3240680"/>
                  <a:pt x="1483251" y="3240680"/>
                  <a:pt x="1477784" y="3242502"/>
                </a:cubicBezTo>
                <a:cubicBezTo>
                  <a:pt x="1475962" y="3238856"/>
                  <a:pt x="1470495" y="3235213"/>
                  <a:pt x="1465028" y="3233390"/>
                </a:cubicBezTo>
                <a:cubicBezTo>
                  <a:pt x="1455917" y="3229745"/>
                  <a:pt x="1446806" y="3227923"/>
                  <a:pt x="1439518" y="3233390"/>
                </a:cubicBezTo>
                <a:cubicBezTo>
                  <a:pt x="1439518" y="3240680"/>
                  <a:pt x="1446806" y="3244324"/>
                  <a:pt x="1452273" y="3247968"/>
                </a:cubicBezTo>
                <a:cubicBezTo>
                  <a:pt x="1443162" y="3251612"/>
                  <a:pt x="1439518" y="3257080"/>
                  <a:pt x="1434051" y="3262548"/>
                </a:cubicBezTo>
                <a:lnTo>
                  <a:pt x="1430407" y="3269834"/>
                </a:lnTo>
                <a:cubicBezTo>
                  <a:pt x="1444984" y="3275302"/>
                  <a:pt x="1459562" y="3262546"/>
                  <a:pt x="1468673" y="3253434"/>
                </a:cubicBezTo>
                <a:cubicBezTo>
                  <a:pt x="1472316" y="3255256"/>
                  <a:pt x="1477784" y="3253434"/>
                  <a:pt x="1481428" y="3249790"/>
                </a:cubicBezTo>
                <a:lnTo>
                  <a:pt x="1484460" y="3250397"/>
                </a:lnTo>
                <a:lnTo>
                  <a:pt x="1479605" y="3247968"/>
                </a:lnTo>
                <a:cubicBezTo>
                  <a:pt x="1483250" y="3246146"/>
                  <a:pt x="1485072" y="3246146"/>
                  <a:pt x="1486895" y="3244322"/>
                </a:cubicBezTo>
                <a:cubicBezTo>
                  <a:pt x="1486895" y="3246146"/>
                  <a:pt x="1486895" y="3246146"/>
                  <a:pt x="1488716" y="3246146"/>
                </a:cubicBezTo>
                <a:lnTo>
                  <a:pt x="1490537" y="3251612"/>
                </a:lnTo>
                <a:lnTo>
                  <a:pt x="1490539" y="3251612"/>
                </a:lnTo>
                <a:lnTo>
                  <a:pt x="1490538" y="3251614"/>
                </a:lnTo>
                <a:lnTo>
                  <a:pt x="1490538" y="3253434"/>
                </a:lnTo>
                <a:lnTo>
                  <a:pt x="1489810" y="3253072"/>
                </a:lnTo>
                <a:lnTo>
                  <a:pt x="1486895" y="3258902"/>
                </a:lnTo>
                <a:cubicBezTo>
                  <a:pt x="1488717" y="3258902"/>
                  <a:pt x="1490539" y="3260724"/>
                  <a:pt x="1494183" y="3258902"/>
                </a:cubicBezTo>
                <a:cubicBezTo>
                  <a:pt x="1494183" y="3260724"/>
                  <a:pt x="1494183" y="3260724"/>
                  <a:pt x="1494183" y="3262546"/>
                </a:cubicBezTo>
                <a:cubicBezTo>
                  <a:pt x="1492361" y="3262546"/>
                  <a:pt x="1488717" y="3264368"/>
                  <a:pt x="1488717" y="3266190"/>
                </a:cubicBezTo>
                <a:cubicBezTo>
                  <a:pt x="1490539" y="3269834"/>
                  <a:pt x="1494183" y="3268012"/>
                  <a:pt x="1492361" y="3269834"/>
                </a:cubicBezTo>
                <a:cubicBezTo>
                  <a:pt x="1486895" y="3269834"/>
                  <a:pt x="1479606" y="3266190"/>
                  <a:pt x="1472316" y="3268012"/>
                </a:cubicBezTo>
                <a:cubicBezTo>
                  <a:pt x="1470494" y="3268012"/>
                  <a:pt x="1468673" y="3269834"/>
                  <a:pt x="1466850" y="3269834"/>
                </a:cubicBezTo>
                <a:cubicBezTo>
                  <a:pt x="1465028" y="3275302"/>
                  <a:pt x="1475962" y="3277124"/>
                  <a:pt x="1479606" y="3278946"/>
                </a:cubicBezTo>
                <a:cubicBezTo>
                  <a:pt x="1466850" y="3288057"/>
                  <a:pt x="1455917" y="3298985"/>
                  <a:pt x="1454095" y="3315384"/>
                </a:cubicBezTo>
                <a:cubicBezTo>
                  <a:pt x="1455917" y="3317206"/>
                  <a:pt x="1459562" y="3315384"/>
                  <a:pt x="1463206" y="3313562"/>
                </a:cubicBezTo>
                <a:cubicBezTo>
                  <a:pt x="1470494" y="3309917"/>
                  <a:pt x="1483250" y="3295340"/>
                  <a:pt x="1486895" y="3288057"/>
                </a:cubicBezTo>
                <a:cubicBezTo>
                  <a:pt x="1488717" y="3284413"/>
                  <a:pt x="1488717" y="3280767"/>
                  <a:pt x="1488717" y="3277124"/>
                </a:cubicBezTo>
                <a:cubicBezTo>
                  <a:pt x="1490539" y="3275302"/>
                  <a:pt x="1490539" y="3273480"/>
                  <a:pt x="1492361" y="3271656"/>
                </a:cubicBezTo>
                <a:cubicBezTo>
                  <a:pt x="1492361" y="3273480"/>
                  <a:pt x="1490539" y="3277124"/>
                  <a:pt x="1494183" y="3278946"/>
                </a:cubicBezTo>
                <a:cubicBezTo>
                  <a:pt x="1488717" y="3288057"/>
                  <a:pt x="1481428" y="3297162"/>
                  <a:pt x="1483250" y="3308095"/>
                </a:cubicBezTo>
                <a:cubicBezTo>
                  <a:pt x="1490539" y="3304451"/>
                  <a:pt x="1497828" y="3295340"/>
                  <a:pt x="1496006" y="3286234"/>
                </a:cubicBezTo>
                <a:cubicBezTo>
                  <a:pt x="1499650" y="3288057"/>
                  <a:pt x="1496006" y="3297162"/>
                  <a:pt x="1497828" y="3302629"/>
                </a:cubicBezTo>
                <a:cubicBezTo>
                  <a:pt x="1501472" y="3313562"/>
                  <a:pt x="1508761" y="3324495"/>
                  <a:pt x="1514228" y="3329961"/>
                </a:cubicBezTo>
                <a:cubicBezTo>
                  <a:pt x="1508761" y="3331784"/>
                  <a:pt x="1501472" y="3331784"/>
                  <a:pt x="1496006" y="3331784"/>
                </a:cubicBezTo>
                <a:cubicBezTo>
                  <a:pt x="1494183" y="3329961"/>
                  <a:pt x="1494183" y="3326317"/>
                  <a:pt x="1490539" y="3328139"/>
                </a:cubicBezTo>
                <a:cubicBezTo>
                  <a:pt x="1488717" y="3328139"/>
                  <a:pt x="1488717" y="3329961"/>
                  <a:pt x="1488717" y="3331784"/>
                </a:cubicBezTo>
                <a:cubicBezTo>
                  <a:pt x="1475962" y="3339072"/>
                  <a:pt x="1463206" y="3344539"/>
                  <a:pt x="1450451" y="3344539"/>
                </a:cubicBezTo>
                <a:cubicBezTo>
                  <a:pt x="1444984" y="3346361"/>
                  <a:pt x="1435873" y="3350005"/>
                  <a:pt x="1432229" y="3348183"/>
                </a:cubicBezTo>
                <a:cubicBezTo>
                  <a:pt x="1430407" y="3350005"/>
                  <a:pt x="1426762" y="3350005"/>
                  <a:pt x="1424940" y="3351827"/>
                </a:cubicBezTo>
                <a:lnTo>
                  <a:pt x="1403074" y="3351827"/>
                </a:lnTo>
                <a:cubicBezTo>
                  <a:pt x="1414007" y="3328139"/>
                  <a:pt x="1401252" y="3331784"/>
                  <a:pt x="1410362" y="3308095"/>
                </a:cubicBezTo>
                <a:lnTo>
                  <a:pt x="1386674" y="3291701"/>
                </a:lnTo>
                <a:lnTo>
                  <a:pt x="1381208" y="3322673"/>
                </a:lnTo>
                <a:cubicBezTo>
                  <a:pt x="1348410" y="3319028"/>
                  <a:pt x="1368452" y="3322673"/>
                  <a:pt x="1342942" y="3306273"/>
                </a:cubicBezTo>
                <a:lnTo>
                  <a:pt x="1359342" y="3284413"/>
                </a:lnTo>
                <a:cubicBezTo>
                  <a:pt x="1366630" y="3288057"/>
                  <a:pt x="1381208" y="3295340"/>
                  <a:pt x="1381208" y="3277124"/>
                </a:cubicBezTo>
                <a:cubicBezTo>
                  <a:pt x="1381208" y="3249790"/>
                  <a:pt x="1370275" y="3262546"/>
                  <a:pt x="1352053" y="3258902"/>
                </a:cubicBezTo>
                <a:lnTo>
                  <a:pt x="1328365" y="3262546"/>
                </a:lnTo>
                <a:lnTo>
                  <a:pt x="1328365" y="3247968"/>
                </a:lnTo>
                <a:lnTo>
                  <a:pt x="1324720" y="3247968"/>
                </a:lnTo>
                <a:cubicBezTo>
                  <a:pt x="1328365" y="3246144"/>
                  <a:pt x="1332009" y="3242500"/>
                  <a:pt x="1335653" y="3240678"/>
                </a:cubicBezTo>
                <a:cubicBezTo>
                  <a:pt x="1337476" y="3238856"/>
                  <a:pt x="1337476" y="3237032"/>
                  <a:pt x="1339299" y="3237032"/>
                </a:cubicBezTo>
                <a:cubicBezTo>
                  <a:pt x="1344764" y="3235212"/>
                  <a:pt x="1350231" y="3238856"/>
                  <a:pt x="1353875" y="3240678"/>
                </a:cubicBezTo>
                <a:cubicBezTo>
                  <a:pt x="1353875" y="3237032"/>
                  <a:pt x="1346586" y="3238856"/>
                  <a:pt x="1344764" y="3233388"/>
                </a:cubicBezTo>
                <a:cubicBezTo>
                  <a:pt x="1353875" y="3224276"/>
                  <a:pt x="1370275" y="3209699"/>
                  <a:pt x="1383030" y="3218811"/>
                </a:cubicBezTo>
                <a:cubicBezTo>
                  <a:pt x="1384852" y="3224276"/>
                  <a:pt x="1388496" y="3226101"/>
                  <a:pt x="1393963" y="3222455"/>
                </a:cubicBezTo>
                <a:cubicBezTo>
                  <a:pt x="1399429" y="3233388"/>
                  <a:pt x="1408540" y="3240678"/>
                  <a:pt x="1415829" y="3249790"/>
                </a:cubicBezTo>
                <a:lnTo>
                  <a:pt x="1434037" y="3262535"/>
                </a:lnTo>
                <a:lnTo>
                  <a:pt x="1411047" y="3242957"/>
                </a:lnTo>
                <a:cubicBezTo>
                  <a:pt x="1403986" y="3235213"/>
                  <a:pt x="1397608" y="3226101"/>
                  <a:pt x="1392141" y="3215167"/>
                </a:cubicBezTo>
                <a:close/>
                <a:moveTo>
                  <a:pt x="1220856" y="3209701"/>
                </a:moveTo>
                <a:lnTo>
                  <a:pt x="1244545" y="3211525"/>
                </a:lnTo>
                <a:lnTo>
                  <a:pt x="1228145" y="3224289"/>
                </a:lnTo>
                <a:close/>
                <a:moveTo>
                  <a:pt x="3830209" y="3209699"/>
                </a:moveTo>
                <a:lnTo>
                  <a:pt x="3846609" y="3224283"/>
                </a:lnTo>
                <a:lnTo>
                  <a:pt x="3830209" y="3224283"/>
                </a:lnTo>
                <a:close/>
                <a:moveTo>
                  <a:pt x="1324721" y="3207877"/>
                </a:moveTo>
                <a:cubicBezTo>
                  <a:pt x="1337476" y="3209699"/>
                  <a:pt x="1350231" y="3211523"/>
                  <a:pt x="1364809" y="3213345"/>
                </a:cubicBezTo>
                <a:cubicBezTo>
                  <a:pt x="1359342" y="3216989"/>
                  <a:pt x="1355698" y="3220633"/>
                  <a:pt x="1348410" y="3224279"/>
                </a:cubicBezTo>
                <a:cubicBezTo>
                  <a:pt x="1342943" y="3229744"/>
                  <a:pt x="1335654" y="3235211"/>
                  <a:pt x="1326543" y="3240677"/>
                </a:cubicBezTo>
                <a:cubicBezTo>
                  <a:pt x="1326543" y="3240677"/>
                  <a:pt x="1326543" y="3238855"/>
                  <a:pt x="1324721" y="3238855"/>
                </a:cubicBezTo>
                <a:lnTo>
                  <a:pt x="1319254" y="3244322"/>
                </a:lnTo>
                <a:lnTo>
                  <a:pt x="1315610" y="3242500"/>
                </a:lnTo>
                <a:cubicBezTo>
                  <a:pt x="1321077" y="3229744"/>
                  <a:pt x="1315610" y="3238855"/>
                  <a:pt x="1311966" y="3233388"/>
                </a:cubicBezTo>
                <a:cubicBezTo>
                  <a:pt x="1308321" y="3231567"/>
                  <a:pt x="1306499" y="3229744"/>
                  <a:pt x="1306499" y="3227922"/>
                </a:cubicBezTo>
                <a:cubicBezTo>
                  <a:pt x="1304677" y="3229744"/>
                  <a:pt x="1302855" y="3231567"/>
                  <a:pt x="1297388" y="3233388"/>
                </a:cubicBezTo>
                <a:lnTo>
                  <a:pt x="1297388" y="3231567"/>
                </a:lnTo>
                <a:cubicBezTo>
                  <a:pt x="1301033" y="3226099"/>
                  <a:pt x="1306499" y="3220633"/>
                  <a:pt x="1310144" y="3215167"/>
                </a:cubicBezTo>
                <a:cubicBezTo>
                  <a:pt x="1315610" y="3216989"/>
                  <a:pt x="1319254" y="3220633"/>
                  <a:pt x="1324721" y="3222455"/>
                </a:cubicBezTo>
                <a:cubicBezTo>
                  <a:pt x="1326543" y="3218811"/>
                  <a:pt x="1326543" y="3211523"/>
                  <a:pt x="1324721" y="3207877"/>
                </a:cubicBezTo>
                <a:close/>
                <a:moveTo>
                  <a:pt x="1665240" y="3206967"/>
                </a:moveTo>
                <a:cubicBezTo>
                  <a:pt x="1674123" y="3207877"/>
                  <a:pt x="1680956" y="3212433"/>
                  <a:pt x="1681868" y="3226101"/>
                </a:cubicBezTo>
                <a:cubicBezTo>
                  <a:pt x="1681868" y="3229745"/>
                  <a:pt x="1683690" y="3227923"/>
                  <a:pt x="1683690" y="3229745"/>
                </a:cubicBezTo>
                <a:cubicBezTo>
                  <a:pt x="1685512" y="3231568"/>
                  <a:pt x="1683690" y="3235213"/>
                  <a:pt x="1683690" y="3237034"/>
                </a:cubicBezTo>
                <a:cubicBezTo>
                  <a:pt x="1672757" y="3244324"/>
                  <a:pt x="1660001" y="3253436"/>
                  <a:pt x="1645424" y="3260724"/>
                </a:cubicBezTo>
                <a:cubicBezTo>
                  <a:pt x="1636312" y="3264370"/>
                  <a:pt x="1630846" y="3271659"/>
                  <a:pt x="1621735" y="3273480"/>
                </a:cubicBezTo>
                <a:cubicBezTo>
                  <a:pt x="1614447" y="3282592"/>
                  <a:pt x="1601691" y="3288058"/>
                  <a:pt x="1590758" y="3293525"/>
                </a:cubicBezTo>
                <a:cubicBezTo>
                  <a:pt x="1583469" y="3298986"/>
                  <a:pt x="1578003" y="3306275"/>
                  <a:pt x="1570714" y="3306275"/>
                </a:cubicBezTo>
                <a:cubicBezTo>
                  <a:pt x="1567070" y="3311742"/>
                  <a:pt x="1556137" y="3319030"/>
                  <a:pt x="1548848" y="3317208"/>
                </a:cubicBezTo>
                <a:cubicBezTo>
                  <a:pt x="1543381" y="3322675"/>
                  <a:pt x="1536093" y="3324497"/>
                  <a:pt x="1526982" y="3328141"/>
                </a:cubicBezTo>
                <a:cubicBezTo>
                  <a:pt x="1526982" y="3326319"/>
                  <a:pt x="1526982" y="3326319"/>
                  <a:pt x="1525159" y="3324497"/>
                </a:cubicBezTo>
                <a:cubicBezTo>
                  <a:pt x="1526982" y="3324497"/>
                  <a:pt x="1528804" y="3326319"/>
                  <a:pt x="1532448" y="3324497"/>
                </a:cubicBezTo>
                <a:cubicBezTo>
                  <a:pt x="1532448" y="3322675"/>
                  <a:pt x="1532448" y="3322675"/>
                  <a:pt x="1532448" y="3322675"/>
                </a:cubicBezTo>
                <a:cubicBezTo>
                  <a:pt x="1532448" y="3319030"/>
                  <a:pt x="1528804" y="3322675"/>
                  <a:pt x="1526982" y="3320852"/>
                </a:cubicBezTo>
                <a:cubicBezTo>
                  <a:pt x="1528804" y="3320852"/>
                  <a:pt x="1530626" y="3317208"/>
                  <a:pt x="1530626" y="3315386"/>
                </a:cubicBezTo>
                <a:cubicBezTo>
                  <a:pt x="1528804" y="3311742"/>
                  <a:pt x="1526982" y="3309919"/>
                  <a:pt x="1523337" y="3309919"/>
                </a:cubicBezTo>
                <a:cubicBezTo>
                  <a:pt x="1519693" y="3298986"/>
                  <a:pt x="1514226" y="3291703"/>
                  <a:pt x="1506938" y="3284414"/>
                </a:cubicBezTo>
                <a:cubicBezTo>
                  <a:pt x="1512404" y="3286236"/>
                  <a:pt x="1517871" y="3282592"/>
                  <a:pt x="1523337" y="3282592"/>
                </a:cubicBezTo>
                <a:cubicBezTo>
                  <a:pt x="1525159" y="3282592"/>
                  <a:pt x="1526982" y="3284414"/>
                  <a:pt x="1530626" y="3284414"/>
                </a:cubicBezTo>
                <a:cubicBezTo>
                  <a:pt x="1537915" y="3286236"/>
                  <a:pt x="1552492" y="3284414"/>
                  <a:pt x="1557959" y="3280769"/>
                </a:cubicBezTo>
                <a:cubicBezTo>
                  <a:pt x="1556137" y="3273480"/>
                  <a:pt x="1547026" y="3269836"/>
                  <a:pt x="1541559" y="3268014"/>
                </a:cubicBezTo>
                <a:cubicBezTo>
                  <a:pt x="1536093" y="3266192"/>
                  <a:pt x="1526982" y="3262548"/>
                  <a:pt x="1521515" y="3262548"/>
                </a:cubicBezTo>
                <a:cubicBezTo>
                  <a:pt x="1516049" y="3262548"/>
                  <a:pt x="1510582" y="3268014"/>
                  <a:pt x="1505117" y="3262548"/>
                </a:cubicBezTo>
                <a:cubicBezTo>
                  <a:pt x="1510582" y="3258902"/>
                  <a:pt x="1510582" y="3253436"/>
                  <a:pt x="1510582" y="3246146"/>
                </a:cubicBezTo>
                <a:cubicBezTo>
                  <a:pt x="1510582" y="3244324"/>
                  <a:pt x="1512404" y="3244324"/>
                  <a:pt x="1514226" y="3244324"/>
                </a:cubicBezTo>
                <a:cubicBezTo>
                  <a:pt x="1512404" y="3238857"/>
                  <a:pt x="1510582" y="3238857"/>
                  <a:pt x="1508760" y="3235213"/>
                </a:cubicBezTo>
                <a:cubicBezTo>
                  <a:pt x="1508760" y="3233390"/>
                  <a:pt x="1505117" y="3235213"/>
                  <a:pt x="1503293" y="3233390"/>
                </a:cubicBezTo>
                <a:cubicBezTo>
                  <a:pt x="1501471" y="3233390"/>
                  <a:pt x="1505117" y="3231568"/>
                  <a:pt x="1505117" y="3233390"/>
                </a:cubicBezTo>
                <a:cubicBezTo>
                  <a:pt x="1501471" y="3229745"/>
                  <a:pt x="1505117" y="3227923"/>
                  <a:pt x="1505117" y="3224279"/>
                </a:cubicBezTo>
                <a:cubicBezTo>
                  <a:pt x="1517871" y="3222457"/>
                  <a:pt x="1528804" y="3222457"/>
                  <a:pt x="1539737" y="3220635"/>
                </a:cubicBezTo>
                <a:cubicBezTo>
                  <a:pt x="1539737" y="3222457"/>
                  <a:pt x="1539737" y="3222457"/>
                  <a:pt x="1539737" y="3224279"/>
                </a:cubicBezTo>
                <a:cubicBezTo>
                  <a:pt x="1545203" y="3227923"/>
                  <a:pt x="1548848" y="3222457"/>
                  <a:pt x="1554314" y="3220635"/>
                </a:cubicBezTo>
                <a:cubicBezTo>
                  <a:pt x="1561603" y="3216989"/>
                  <a:pt x="1568892" y="3218813"/>
                  <a:pt x="1576180" y="3216989"/>
                </a:cubicBezTo>
                <a:cubicBezTo>
                  <a:pt x="1568892" y="3224279"/>
                  <a:pt x="1565247" y="3237034"/>
                  <a:pt x="1570714" y="3247968"/>
                </a:cubicBezTo>
                <a:cubicBezTo>
                  <a:pt x="1583469" y="3240680"/>
                  <a:pt x="1581647" y="3224279"/>
                  <a:pt x="1590758" y="3215167"/>
                </a:cubicBezTo>
                <a:cubicBezTo>
                  <a:pt x="1599869" y="3215167"/>
                  <a:pt x="1605336" y="3213345"/>
                  <a:pt x="1614447" y="3213345"/>
                </a:cubicBezTo>
                <a:cubicBezTo>
                  <a:pt x="1621735" y="3213345"/>
                  <a:pt x="1630846" y="3218813"/>
                  <a:pt x="1636312" y="3215167"/>
                </a:cubicBezTo>
                <a:cubicBezTo>
                  <a:pt x="1636312" y="3213345"/>
                  <a:pt x="1636312" y="3211523"/>
                  <a:pt x="1636312" y="3209701"/>
                </a:cubicBezTo>
                <a:cubicBezTo>
                  <a:pt x="1645424" y="3208789"/>
                  <a:pt x="1656357" y="3206057"/>
                  <a:pt x="1665240" y="3206967"/>
                </a:cubicBezTo>
                <a:close/>
                <a:moveTo>
                  <a:pt x="3853898" y="3202411"/>
                </a:moveTo>
                <a:lnTo>
                  <a:pt x="3868476" y="3216995"/>
                </a:lnTo>
                <a:lnTo>
                  <a:pt x="3853898" y="3216995"/>
                </a:lnTo>
                <a:close/>
                <a:moveTo>
                  <a:pt x="1288277" y="3202411"/>
                </a:moveTo>
                <a:cubicBezTo>
                  <a:pt x="1291921" y="3204233"/>
                  <a:pt x="1293744" y="3204233"/>
                  <a:pt x="1297388" y="3204233"/>
                </a:cubicBezTo>
                <a:cubicBezTo>
                  <a:pt x="1301032" y="3207877"/>
                  <a:pt x="1304676" y="3209699"/>
                  <a:pt x="1306499" y="3213343"/>
                </a:cubicBezTo>
                <a:cubicBezTo>
                  <a:pt x="1302855" y="3216989"/>
                  <a:pt x="1299210" y="3220633"/>
                  <a:pt x="1295566" y="3224276"/>
                </a:cubicBezTo>
                <a:lnTo>
                  <a:pt x="1295566" y="3216989"/>
                </a:lnTo>
                <a:lnTo>
                  <a:pt x="1280988" y="3216989"/>
                </a:lnTo>
                <a:cubicBezTo>
                  <a:pt x="1284633" y="3209699"/>
                  <a:pt x="1286455" y="3206055"/>
                  <a:pt x="1288277" y="3202411"/>
                </a:cubicBezTo>
                <a:close/>
                <a:moveTo>
                  <a:pt x="1574358" y="3200587"/>
                </a:moveTo>
                <a:cubicBezTo>
                  <a:pt x="1576180" y="3198767"/>
                  <a:pt x="1576180" y="3200587"/>
                  <a:pt x="1578003" y="3200587"/>
                </a:cubicBezTo>
                <a:cubicBezTo>
                  <a:pt x="1578003" y="3202411"/>
                  <a:pt x="1576180" y="3200587"/>
                  <a:pt x="1574358" y="3202411"/>
                </a:cubicBezTo>
                <a:cubicBezTo>
                  <a:pt x="1572536" y="3200587"/>
                  <a:pt x="1574358" y="3200587"/>
                  <a:pt x="1574358" y="3200587"/>
                </a:cubicBezTo>
                <a:close/>
                <a:moveTo>
                  <a:pt x="1873195" y="3198768"/>
                </a:moveTo>
                <a:cubicBezTo>
                  <a:pt x="1875017" y="3196945"/>
                  <a:pt x="1875017" y="3200589"/>
                  <a:pt x="1875017" y="3200589"/>
                </a:cubicBezTo>
                <a:cubicBezTo>
                  <a:pt x="1875017" y="3202411"/>
                  <a:pt x="1875017" y="3200589"/>
                  <a:pt x="1871372" y="3200589"/>
                </a:cubicBezTo>
                <a:cubicBezTo>
                  <a:pt x="1871372" y="3200589"/>
                  <a:pt x="1873195" y="3200589"/>
                  <a:pt x="1873195" y="3198768"/>
                </a:cubicBezTo>
                <a:close/>
                <a:moveTo>
                  <a:pt x="1712845" y="3198767"/>
                </a:moveTo>
                <a:cubicBezTo>
                  <a:pt x="1707377" y="3202411"/>
                  <a:pt x="1701911" y="3211521"/>
                  <a:pt x="1694622" y="3213345"/>
                </a:cubicBezTo>
                <a:cubicBezTo>
                  <a:pt x="1689157" y="3215167"/>
                  <a:pt x="1685511" y="3211521"/>
                  <a:pt x="1681867" y="3207877"/>
                </a:cubicBezTo>
                <a:cubicBezTo>
                  <a:pt x="1680046" y="3204233"/>
                  <a:pt x="1680046" y="3204233"/>
                  <a:pt x="1681867" y="3204233"/>
                </a:cubicBezTo>
                <a:cubicBezTo>
                  <a:pt x="1692800" y="3200587"/>
                  <a:pt x="1701911" y="3200587"/>
                  <a:pt x="1712845" y="3198767"/>
                </a:cubicBezTo>
                <a:close/>
                <a:moveTo>
                  <a:pt x="1596225" y="3198767"/>
                </a:moveTo>
                <a:cubicBezTo>
                  <a:pt x="1598047" y="3198767"/>
                  <a:pt x="1599869" y="3200587"/>
                  <a:pt x="1599869" y="3200587"/>
                </a:cubicBezTo>
                <a:cubicBezTo>
                  <a:pt x="1598047" y="3202411"/>
                  <a:pt x="1594402" y="3202411"/>
                  <a:pt x="1592580" y="3202411"/>
                </a:cubicBezTo>
                <a:cubicBezTo>
                  <a:pt x="1592580" y="3200587"/>
                  <a:pt x="1596225" y="3202411"/>
                  <a:pt x="1596225" y="3198767"/>
                </a:cubicBezTo>
                <a:close/>
                <a:moveTo>
                  <a:pt x="3649815" y="3195125"/>
                </a:moveTo>
                <a:lnTo>
                  <a:pt x="3671681" y="3218820"/>
                </a:lnTo>
                <a:lnTo>
                  <a:pt x="3642526" y="3209701"/>
                </a:lnTo>
                <a:close/>
                <a:moveTo>
                  <a:pt x="1716488" y="3195123"/>
                </a:moveTo>
                <a:cubicBezTo>
                  <a:pt x="1731065" y="3195123"/>
                  <a:pt x="1745642" y="3195123"/>
                  <a:pt x="1758397" y="3196945"/>
                </a:cubicBezTo>
                <a:cubicBezTo>
                  <a:pt x="1743821" y="3207877"/>
                  <a:pt x="1720132" y="3216989"/>
                  <a:pt x="1705554" y="3222457"/>
                </a:cubicBezTo>
                <a:cubicBezTo>
                  <a:pt x="1705554" y="3220635"/>
                  <a:pt x="1703732" y="3222457"/>
                  <a:pt x="1701910" y="3220635"/>
                </a:cubicBezTo>
                <a:cubicBezTo>
                  <a:pt x="1700088" y="3220635"/>
                  <a:pt x="1698266" y="3222457"/>
                  <a:pt x="1698266" y="3222457"/>
                </a:cubicBezTo>
                <a:cubicBezTo>
                  <a:pt x="1696444" y="3222457"/>
                  <a:pt x="1694621" y="3220635"/>
                  <a:pt x="1692799" y="3218811"/>
                </a:cubicBezTo>
                <a:cubicBezTo>
                  <a:pt x="1692799" y="3218811"/>
                  <a:pt x="1694621" y="3218811"/>
                  <a:pt x="1696444" y="3218811"/>
                </a:cubicBezTo>
                <a:cubicBezTo>
                  <a:pt x="1696444" y="3216989"/>
                  <a:pt x="1694621" y="3216989"/>
                  <a:pt x="1692799" y="3215169"/>
                </a:cubicBezTo>
                <a:cubicBezTo>
                  <a:pt x="1701910" y="3215169"/>
                  <a:pt x="1716488" y="3209699"/>
                  <a:pt x="1716488" y="3195123"/>
                </a:cubicBezTo>
                <a:close/>
                <a:moveTo>
                  <a:pt x="3565995" y="3193304"/>
                </a:moveTo>
                <a:lnTo>
                  <a:pt x="3565995" y="3216998"/>
                </a:lnTo>
                <a:lnTo>
                  <a:pt x="3549595" y="3207879"/>
                </a:lnTo>
                <a:close/>
                <a:moveTo>
                  <a:pt x="3325468" y="3193304"/>
                </a:moveTo>
                <a:lnTo>
                  <a:pt x="3323645" y="3218820"/>
                </a:lnTo>
                <a:lnTo>
                  <a:pt x="3309068" y="3202413"/>
                </a:lnTo>
                <a:close/>
                <a:moveTo>
                  <a:pt x="3436621" y="3187840"/>
                </a:moveTo>
                <a:lnTo>
                  <a:pt x="3445732" y="3193306"/>
                </a:lnTo>
                <a:cubicBezTo>
                  <a:pt x="3432976" y="3215177"/>
                  <a:pt x="3432976" y="3222469"/>
                  <a:pt x="3400177" y="3224292"/>
                </a:cubicBezTo>
                <a:close/>
                <a:moveTo>
                  <a:pt x="3678970" y="3187838"/>
                </a:moveTo>
                <a:lnTo>
                  <a:pt x="3704481" y="3195125"/>
                </a:lnTo>
                <a:lnTo>
                  <a:pt x="3688081" y="3209703"/>
                </a:lnTo>
                <a:close/>
                <a:moveTo>
                  <a:pt x="1450453" y="3182367"/>
                </a:moveTo>
                <a:cubicBezTo>
                  <a:pt x="1448629" y="3187835"/>
                  <a:pt x="1446807" y="3195123"/>
                  <a:pt x="1444985" y="3200589"/>
                </a:cubicBezTo>
                <a:cubicBezTo>
                  <a:pt x="1426762" y="3207877"/>
                  <a:pt x="1410363" y="3202411"/>
                  <a:pt x="1393963" y="3204233"/>
                </a:cubicBezTo>
                <a:cubicBezTo>
                  <a:pt x="1399430" y="3202411"/>
                  <a:pt x="1408541" y="3198767"/>
                  <a:pt x="1412185" y="3202411"/>
                </a:cubicBezTo>
                <a:cubicBezTo>
                  <a:pt x="1414007" y="3202411"/>
                  <a:pt x="1414007" y="3200589"/>
                  <a:pt x="1415829" y="3200589"/>
                </a:cubicBezTo>
                <a:cubicBezTo>
                  <a:pt x="1415829" y="3196945"/>
                  <a:pt x="1412185" y="3200589"/>
                  <a:pt x="1412185" y="3198767"/>
                </a:cubicBezTo>
                <a:cubicBezTo>
                  <a:pt x="1424940" y="3193301"/>
                  <a:pt x="1434051" y="3187835"/>
                  <a:pt x="1450453" y="3182367"/>
                </a:cubicBezTo>
                <a:close/>
                <a:moveTo>
                  <a:pt x="3239826" y="3180543"/>
                </a:moveTo>
                <a:cubicBezTo>
                  <a:pt x="3219782" y="3195121"/>
                  <a:pt x="3230715" y="3175078"/>
                  <a:pt x="3227071" y="3209699"/>
                </a:cubicBezTo>
                <a:lnTo>
                  <a:pt x="3241648" y="3209699"/>
                </a:lnTo>
                <a:lnTo>
                  <a:pt x="3241648" y="3213343"/>
                </a:lnTo>
                <a:cubicBezTo>
                  <a:pt x="3214315" y="3211521"/>
                  <a:pt x="3186983" y="3206055"/>
                  <a:pt x="3161471" y="3198765"/>
                </a:cubicBezTo>
                <a:cubicBezTo>
                  <a:pt x="3188805" y="3196943"/>
                  <a:pt x="3214315" y="3189655"/>
                  <a:pt x="3239826" y="3180543"/>
                </a:cubicBezTo>
                <a:close/>
                <a:moveTo>
                  <a:pt x="1887772" y="3178724"/>
                </a:moveTo>
                <a:cubicBezTo>
                  <a:pt x="1887772" y="3182367"/>
                  <a:pt x="1885950" y="3186012"/>
                  <a:pt x="1882306" y="3187833"/>
                </a:cubicBezTo>
                <a:cubicBezTo>
                  <a:pt x="1884127" y="3186012"/>
                  <a:pt x="1884127" y="3184189"/>
                  <a:pt x="1882306" y="3182367"/>
                </a:cubicBezTo>
                <a:cubicBezTo>
                  <a:pt x="1882306" y="3180546"/>
                  <a:pt x="1885950" y="3180546"/>
                  <a:pt x="1887772" y="3178724"/>
                </a:cubicBezTo>
                <a:close/>
                <a:moveTo>
                  <a:pt x="2979255" y="3178721"/>
                </a:moveTo>
                <a:lnTo>
                  <a:pt x="2979255" y="3200587"/>
                </a:lnTo>
                <a:lnTo>
                  <a:pt x="3010232" y="3193299"/>
                </a:lnTo>
                <a:cubicBezTo>
                  <a:pt x="2988366" y="3164144"/>
                  <a:pt x="3010232" y="3191477"/>
                  <a:pt x="2979255" y="3178721"/>
                </a:cubicBezTo>
                <a:close/>
                <a:moveTo>
                  <a:pt x="3015698" y="3171434"/>
                </a:moveTo>
                <a:lnTo>
                  <a:pt x="3019343" y="3195121"/>
                </a:lnTo>
                <a:cubicBezTo>
                  <a:pt x="3015698" y="3215165"/>
                  <a:pt x="3010232" y="3202411"/>
                  <a:pt x="3030276" y="3207877"/>
                </a:cubicBezTo>
                <a:lnTo>
                  <a:pt x="3039387" y="3186011"/>
                </a:lnTo>
                <a:cubicBezTo>
                  <a:pt x="3030276" y="3184189"/>
                  <a:pt x="3026631" y="3182367"/>
                  <a:pt x="3024809" y="3182367"/>
                </a:cubicBezTo>
                <a:cubicBezTo>
                  <a:pt x="3022987" y="3180544"/>
                  <a:pt x="3021165" y="3176899"/>
                  <a:pt x="3015698" y="3171434"/>
                </a:cubicBezTo>
                <a:close/>
                <a:moveTo>
                  <a:pt x="1605336" y="3169614"/>
                </a:moveTo>
                <a:cubicBezTo>
                  <a:pt x="1607158" y="3171436"/>
                  <a:pt x="1605336" y="3173258"/>
                  <a:pt x="1607158" y="3176902"/>
                </a:cubicBezTo>
                <a:cubicBezTo>
                  <a:pt x="1605336" y="3176902"/>
                  <a:pt x="1603514" y="3176902"/>
                  <a:pt x="1601691" y="3176902"/>
                </a:cubicBezTo>
                <a:cubicBezTo>
                  <a:pt x="1601691" y="3176902"/>
                  <a:pt x="1603514" y="3176902"/>
                  <a:pt x="1603514" y="3175082"/>
                </a:cubicBezTo>
                <a:cubicBezTo>
                  <a:pt x="1601691" y="3175082"/>
                  <a:pt x="1599869" y="3175082"/>
                  <a:pt x="1599869" y="3173258"/>
                </a:cubicBezTo>
                <a:cubicBezTo>
                  <a:pt x="1601691" y="3171436"/>
                  <a:pt x="1605336" y="3171436"/>
                  <a:pt x="1605336" y="3169614"/>
                </a:cubicBezTo>
                <a:close/>
                <a:moveTo>
                  <a:pt x="3270802" y="3167790"/>
                </a:moveTo>
                <a:cubicBezTo>
                  <a:pt x="3270802" y="3169612"/>
                  <a:pt x="3270802" y="3171434"/>
                  <a:pt x="3270802" y="3173256"/>
                </a:cubicBezTo>
                <a:lnTo>
                  <a:pt x="3270802" y="3180543"/>
                </a:lnTo>
                <a:cubicBezTo>
                  <a:pt x="3270802" y="3200587"/>
                  <a:pt x="3267157" y="3193299"/>
                  <a:pt x="3254402" y="3202411"/>
                </a:cubicBezTo>
                <a:lnTo>
                  <a:pt x="3263513" y="3173256"/>
                </a:lnTo>
                <a:cubicBezTo>
                  <a:pt x="3265335" y="3169612"/>
                  <a:pt x="3268979" y="3167790"/>
                  <a:pt x="3270802" y="3167790"/>
                </a:cubicBezTo>
                <a:close/>
                <a:moveTo>
                  <a:pt x="1297388" y="3164146"/>
                </a:moveTo>
                <a:lnTo>
                  <a:pt x="1310144" y="3171434"/>
                </a:lnTo>
                <a:lnTo>
                  <a:pt x="1311966" y="3169614"/>
                </a:lnTo>
                <a:cubicBezTo>
                  <a:pt x="1319254" y="3171434"/>
                  <a:pt x="1326544" y="3171434"/>
                  <a:pt x="1335655" y="3171434"/>
                </a:cubicBezTo>
                <a:cubicBezTo>
                  <a:pt x="1330188" y="3176902"/>
                  <a:pt x="1328366" y="3186013"/>
                  <a:pt x="1321077" y="3191479"/>
                </a:cubicBezTo>
                <a:cubicBezTo>
                  <a:pt x="1321077" y="3193301"/>
                  <a:pt x="1319254" y="3195123"/>
                  <a:pt x="1319254" y="3196945"/>
                </a:cubicBezTo>
                <a:cubicBezTo>
                  <a:pt x="1317432" y="3196945"/>
                  <a:pt x="1315610" y="3195123"/>
                  <a:pt x="1311966" y="3195123"/>
                </a:cubicBezTo>
                <a:cubicBezTo>
                  <a:pt x="1308321" y="3193301"/>
                  <a:pt x="1304677" y="3189657"/>
                  <a:pt x="1301033" y="3187835"/>
                </a:cubicBezTo>
                <a:close/>
                <a:moveTo>
                  <a:pt x="3334579" y="3164144"/>
                </a:moveTo>
                <a:lnTo>
                  <a:pt x="3341868" y="3164144"/>
                </a:lnTo>
                <a:lnTo>
                  <a:pt x="3341868" y="3167790"/>
                </a:lnTo>
                <a:cubicBezTo>
                  <a:pt x="3336402" y="3169612"/>
                  <a:pt x="3330935" y="3171434"/>
                  <a:pt x="3325468" y="3175078"/>
                </a:cubicBezTo>
                <a:cubicBezTo>
                  <a:pt x="3323646" y="3175078"/>
                  <a:pt x="3329113" y="3184189"/>
                  <a:pt x="3334579" y="3184189"/>
                </a:cubicBezTo>
                <a:cubicBezTo>
                  <a:pt x="3336402" y="3182367"/>
                  <a:pt x="3340046" y="3182367"/>
                  <a:pt x="3343690" y="3180544"/>
                </a:cubicBezTo>
                <a:lnTo>
                  <a:pt x="3343690" y="3186012"/>
                </a:lnTo>
                <a:lnTo>
                  <a:pt x="3305424" y="3180544"/>
                </a:lnTo>
                <a:lnTo>
                  <a:pt x="3305424" y="3202411"/>
                </a:lnTo>
                <a:lnTo>
                  <a:pt x="3290846" y="3202411"/>
                </a:lnTo>
                <a:lnTo>
                  <a:pt x="3298136" y="3173256"/>
                </a:lnTo>
                <a:lnTo>
                  <a:pt x="3299958" y="3169612"/>
                </a:lnTo>
                <a:cubicBezTo>
                  <a:pt x="3299958" y="3173256"/>
                  <a:pt x="3301780" y="3176900"/>
                  <a:pt x="3305424" y="3175078"/>
                </a:cubicBezTo>
                <a:cubicBezTo>
                  <a:pt x="3316358" y="3171434"/>
                  <a:pt x="3325468" y="3167790"/>
                  <a:pt x="3334579" y="3164144"/>
                </a:cubicBezTo>
                <a:close/>
                <a:moveTo>
                  <a:pt x="3852076" y="3158695"/>
                </a:moveTo>
                <a:lnTo>
                  <a:pt x="3892164" y="3171447"/>
                </a:lnTo>
                <a:lnTo>
                  <a:pt x="3883053" y="3187840"/>
                </a:lnTo>
                <a:close/>
                <a:moveTo>
                  <a:pt x="3613372" y="3156871"/>
                </a:moveTo>
                <a:lnTo>
                  <a:pt x="3635238" y="3156871"/>
                </a:lnTo>
                <a:lnTo>
                  <a:pt x="3635238" y="3171444"/>
                </a:lnTo>
                <a:cubicBezTo>
                  <a:pt x="3613372" y="3165979"/>
                  <a:pt x="3624305" y="3173265"/>
                  <a:pt x="3613372" y="3156871"/>
                </a:cubicBezTo>
                <a:close/>
                <a:moveTo>
                  <a:pt x="1718310" y="3156858"/>
                </a:moveTo>
                <a:cubicBezTo>
                  <a:pt x="1721955" y="3156858"/>
                  <a:pt x="1727421" y="3158681"/>
                  <a:pt x="1723777" y="3162325"/>
                </a:cubicBezTo>
                <a:cubicBezTo>
                  <a:pt x="1721955" y="3158681"/>
                  <a:pt x="1720132" y="3158681"/>
                  <a:pt x="1718310" y="3156858"/>
                </a:cubicBezTo>
                <a:close/>
                <a:moveTo>
                  <a:pt x="3106807" y="3156856"/>
                </a:moveTo>
                <a:cubicBezTo>
                  <a:pt x="3112274" y="3171434"/>
                  <a:pt x="3114096" y="3164144"/>
                  <a:pt x="3106807" y="3178721"/>
                </a:cubicBezTo>
                <a:lnTo>
                  <a:pt x="3128673" y="3178721"/>
                </a:lnTo>
                <a:cubicBezTo>
                  <a:pt x="3119562" y="3160500"/>
                  <a:pt x="3121384" y="3176899"/>
                  <a:pt x="3128673" y="3156856"/>
                </a:cubicBezTo>
                <a:close/>
                <a:moveTo>
                  <a:pt x="1144326" y="3155051"/>
                </a:moveTo>
                <a:lnTo>
                  <a:pt x="1151614" y="3169625"/>
                </a:lnTo>
                <a:lnTo>
                  <a:pt x="1144326" y="3180554"/>
                </a:lnTo>
                <a:lnTo>
                  <a:pt x="1129748" y="3169625"/>
                </a:lnTo>
                <a:close/>
                <a:moveTo>
                  <a:pt x="1729243" y="3151395"/>
                </a:moveTo>
                <a:cubicBezTo>
                  <a:pt x="1734710" y="3153217"/>
                  <a:pt x="1736532" y="3153217"/>
                  <a:pt x="1741998" y="3153217"/>
                </a:cubicBezTo>
                <a:cubicBezTo>
                  <a:pt x="1741998" y="3155038"/>
                  <a:pt x="1738354" y="3156862"/>
                  <a:pt x="1738354" y="3158682"/>
                </a:cubicBezTo>
                <a:cubicBezTo>
                  <a:pt x="1734710" y="3158682"/>
                  <a:pt x="1736532" y="3155038"/>
                  <a:pt x="1734710" y="3153217"/>
                </a:cubicBezTo>
                <a:cubicBezTo>
                  <a:pt x="1731065" y="3153217"/>
                  <a:pt x="1732888" y="3156862"/>
                  <a:pt x="1729243" y="3156862"/>
                </a:cubicBezTo>
                <a:cubicBezTo>
                  <a:pt x="1731065" y="3155038"/>
                  <a:pt x="1729243" y="3151395"/>
                  <a:pt x="1729243" y="3151395"/>
                </a:cubicBezTo>
                <a:close/>
                <a:moveTo>
                  <a:pt x="3197916" y="3151390"/>
                </a:moveTo>
                <a:lnTo>
                  <a:pt x="3166939" y="3158678"/>
                </a:lnTo>
                <a:lnTo>
                  <a:pt x="3166939" y="3180544"/>
                </a:lnTo>
                <a:cubicBezTo>
                  <a:pt x="3203382" y="3178721"/>
                  <a:pt x="3181516" y="3189655"/>
                  <a:pt x="3197916" y="3165966"/>
                </a:cubicBezTo>
                <a:cubicBezTo>
                  <a:pt x="3219782" y="3173256"/>
                  <a:pt x="3205204" y="3178721"/>
                  <a:pt x="3212493" y="3158678"/>
                </a:cubicBezTo>
                <a:close/>
                <a:moveTo>
                  <a:pt x="3385601" y="3149590"/>
                </a:moveTo>
                <a:lnTo>
                  <a:pt x="3385601" y="3164161"/>
                </a:lnTo>
                <a:lnTo>
                  <a:pt x="3407467" y="3164161"/>
                </a:lnTo>
                <a:cubicBezTo>
                  <a:pt x="3402000" y="3186020"/>
                  <a:pt x="3409289" y="3175091"/>
                  <a:pt x="3392889" y="3186020"/>
                </a:cubicBezTo>
                <a:cubicBezTo>
                  <a:pt x="3381956" y="3156875"/>
                  <a:pt x="3392889" y="3186020"/>
                  <a:pt x="3371023" y="3156875"/>
                </a:cubicBezTo>
                <a:close/>
                <a:moveTo>
                  <a:pt x="4305797" y="3149581"/>
                </a:moveTo>
                <a:lnTo>
                  <a:pt x="4322197" y="3149581"/>
                </a:lnTo>
                <a:lnTo>
                  <a:pt x="4307619" y="3165976"/>
                </a:lnTo>
                <a:close/>
                <a:moveTo>
                  <a:pt x="1226323" y="3147762"/>
                </a:moveTo>
                <a:lnTo>
                  <a:pt x="1228145" y="3171444"/>
                </a:lnTo>
                <a:lnTo>
                  <a:pt x="1211745" y="3162337"/>
                </a:lnTo>
                <a:close/>
                <a:moveTo>
                  <a:pt x="3336401" y="3136811"/>
                </a:moveTo>
                <a:lnTo>
                  <a:pt x="3338223" y="3138635"/>
                </a:lnTo>
                <a:lnTo>
                  <a:pt x="3332756" y="3145922"/>
                </a:lnTo>
                <a:cubicBezTo>
                  <a:pt x="3323645" y="3151389"/>
                  <a:pt x="3314534" y="3156856"/>
                  <a:pt x="3305424" y="3162322"/>
                </a:cubicBezTo>
                <a:lnTo>
                  <a:pt x="3310890" y="3156856"/>
                </a:lnTo>
                <a:lnTo>
                  <a:pt x="3301779" y="3151389"/>
                </a:lnTo>
                <a:cubicBezTo>
                  <a:pt x="3312712" y="3147744"/>
                  <a:pt x="3323645" y="3142278"/>
                  <a:pt x="3336401" y="3136811"/>
                </a:cubicBezTo>
                <a:close/>
                <a:moveTo>
                  <a:pt x="1251834" y="3133196"/>
                </a:moveTo>
                <a:cubicBezTo>
                  <a:pt x="1273701" y="3140482"/>
                  <a:pt x="1266413" y="3131374"/>
                  <a:pt x="1259122" y="3149590"/>
                </a:cubicBezTo>
                <a:lnTo>
                  <a:pt x="1275524" y="3151412"/>
                </a:lnTo>
                <a:lnTo>
                  <a:pt x="1259122" y="3164163"/>
                </a:lnTo>
                <a:cubicBezTo>
                  <a:pt x="1268234" y="3184198"/>
                  <a:pt x="1271879" y="3171447"/>
                  <a:pt x="1251834" y="3186020"/>
                </a:cubicBezTo>
                <a:cubicBezTo>
                  <a:pt x="1250011" y="3153233"/>
                  <a:pt x="1253656" y="3171447"/>
                  <a:pt x="1237256" y="3147770"/>
                </a:cubicBezTo>
                <a:lnTo>
                  <a:pt x="1251834" y="3147770"/>
                </a:lnTo>
                <a:close/>
                <a:moveTo>
                  <a:pt x="1295565" y="3133192"/>
                </a:moveTo>
                <a:lnTo>
                  <a:pt x="1326543" y="3133192"/>
                </a:lnTo>
                <a:lnTo>
                  <a:pt x="1326543" y="3149569"/>
                </a:lnTo>
                <a:lnTo>
                  <a:pt x="1333831" y="3142281"/>
                </a:lnTo>
                <a:lnTo>
                  <a:pt x="1346586" y="3145925"/>
                </a:lnTo>
                <a:cubicBezTo>
                  <a:pt x="1344764" y="3151390"/>
                  <a:pt x="1342942" y="3155034"/>
                  <a:pt x="1341120" y="3158681"/>
                </a:cubicBezTo>
                <a:cubicBezTo>
                  <a:pt x="1335653" y="3156858"/>
                  <a:pt x="1332009" y="3153214"/>
                  <a:pt x="1326542" y="3151390"/>
                </a:cubicBezTo>
                <a:lnTo>
                  <a:pt x="1326542" y="3149588"/>
                </a:lnTo>
                <a:lnTo>
                  <a:pt x="1295565" y="3142300"/>
                </a:lnTo>
                <a:close/>
                <a:moveTo>
                  <a:pt x="3152361" y="3133169"/>
                </a:moveTo>
                <a:cubicBezTo>
                  <a:pt x="3135962" y="3145922"/>
                  <a:pt x="3141428" y="3142278"/>
                  <a:pt x="3141428" y="3158678"/>
                </a:cubicBezTo>
                <a:cubicBezTo>
                  <a:pt x="3141428" y="3178721"/>
                  <a:pt x="3126851" y="3169612"/>
                  <a:pt x="3152361" y="3178721"/>
                </a:cubicBezTo>
                <a:close/>
                <a:moveTo>
                  <a:pt x="1160725" y="3125911"/>
                </a:moveTo>
                <a:cubicBezTo>
                  <a:pt x="1208102" y="3142306"/>
                  <a:pt x="1140681" y="3122269"/>
                  <a:pt x="1178946" y="3145946"/>
                </a:cubicBezTo>
                <a:cubicBezTo>
                  <a:pt x="1202636" y="3162341"/>
                  <a:pt x="1202636" y="3136840"/>
                  <a:pt x="1206280" y="3178734"/>
                </a:cubicBezTo>
                <a:cubicBezTo>
                  <a:pt x="1173481" y="3162341"/>
                  <a:pt x="1191703" y="3180556"/>
                  <a:pt x="1182592" y="3155054"/>
                </a:cubicBezTo>
                <a:lnTo>
                  <a:pt x="1162547" y="3171447"/>
                </a:lnTo>
                <a:lnTo>
                  <a:pt x="1157080" y="3142306"/>
                </a:lnTo>
                <a:close/>
                <a:moveTo>
                  <a:pt x="3378312" y="3125907"/>
                </a:moveTo>
                <a:lnTo>
                  <a:pt x="3402000" y="3135014"/>
                </a:lnTo>
                <a:lnTo>
                  <a:pt x="3385601" y="3149588"/>
                </a:lnTo>
                <a:lnTo>
                  <a:pt x="3380134" y="3140478"/>
                </a:lnTo>
                <a:lnTo>
                  <a:pt x="3371023" y="3133192"/>
                </a:lnTo>
                <a:close/>
                <a:moveTo>
                  <a:pt x="3356445" y="3125898"/>
                </a:moveTo>
                <a:lnTo>
                  <a:pt x="3371023" y="3133186"/>
                </a:lnTo>
                <a:lnTo>
                  <a:pt x="3347334" y="3140473"/>
                </a:lnTo>
                <a:close/>
                <a:moveTo>
                  <a:pt x="3416576" y="3098588"/>
                </a:moveTo>
                <a:cubicBezTo>
                  <a:pt x="3425687" y="3098588"/>
                  <a:pt x="3425687" y="3100410"/>
                  <a:pt x="3431154" y="3107696"/>
                </a:cubicBezTo>
                <a:cubicBezTo>
                  <a:pt x="3431154" y="3107696"/>
                  <a:pt x="3427509" y="3111340"/>
                  <a:pt x="3425687" y="3111340"/>
                </a:cubicBezTo>
                <a:cubicBezTo>
                  <a:pt x="3418399" y="3111340"/>
                  <a:pt x="3418399" y="3105876"/>
                  <a:pt x="3416576" y="3098588"/>
                </a:cubicBezTo>
                <a:close/>
                <a:moveTo>
                  <a:pt x="1326543" y="3096753"/>
                </a:moveTo>
                <a:lnTo>
                  <a:pt x="1333831" y="3111327"/>
                </a:lnTo>
                <a:lnTo>
                  <a:pt x="1310143" y="3109503"/>
                </a:lnTo>
                <a:close/>
                <a:moveTo>
                  <a:pt x="1204457" y="3094934"/>
                </a:moveTo>
                <a:lnTo>
                  <a:pt x="1206279" y="3118614"/>
                </a:lnTo>
                <a:lnTo>
                  <a:pt x="1189879" y="3109505"/>
                </a:lnTo>
                <a:close/>
                <a:moveTo>
                  <a:pt x="1115170" y="3089474"/>
                </a:moveTo>
                <a:lnTo>
                  <a:pt x="1138858" y="3089474"/>
                </a:lnTo>
                <a:lnTo>
                  <a:pt x="1116992" y="3113157"/>
                </a:lnTo>
                <a:close/>
                <a:moveTo>
                  <a:pt x="3536839" y="3089463"/>
                </a:moveTo>
                <a:lnTo>
                  <a:pt x="3553239" y="3089463"/>
                </a:lnTo>
                <a:lnTo>
                  <a:pt x="3538661" y="3105859"/>
                </a:lnTo>
                <a:close/>
                <a:moveTo>
                  <a:pt x="3753679" y="3087659"/>
                </a:moveTo>
                <a:cubicBezTo>
                  <a:pt x="3788300" y="3091303"/>
                  <a:pt x="3768256" y="3087659"/>
                  <a:pt x="3793767" y="3104052"/>
                </a:cubicBezTo>
                <a:lnTo>
                  <a:pt x="3777367" y="3125911"/>
                </a:lnTo>
                <a:cubicBezTo>
                  <a:pt x="3760967" y="3114981"/>
                  <a:pt x="3770078" y="3116803"/>
                  <a:pt x="3746390" y="3105874"/>
                </a:cubicBezTo>
                <a:lnTo>
                  <a:pt x="3762790" y="3102230"/>
                </a:lnTo>
                <a:close/>
                <a:moveTo>
                  <a:pt x="1381208" y="3087625"/>
                </a:moveTo>
                <a:cubicBezTo>
                  <a:pt x="1383030" y="3089446"/>
                  <a:pt x="1383030" y="3091268"/>
                  <a:pt x="1384854" y="3093090"/>
                </a:cubicBezTo>
                <a:cubicBezTo>
                  <a:pt x="1384854" y="3091268"/>
                  <a:pt x="1383030" y="3091268"/>
                  <a:pt x="1383030" y="3091268"/>
                </a:cubicBezTo>
                <a:cubicBezTo>
                  <a:pt x="1381208" y="3089446"/>
                  <a:pt x="1381208" y="3089446"/>
                  <a:pt x="1381208" y="3087625"/>
                </a:cubicBezTo>
                <a:close/>
                <a:moveTo>
                  <a:pt x="4056161" y="3080367"/>
                </a:moveTo>
                <a:lnTo>
                  <a:pt x="4065272" y="3089476"/>
                </a:lnTo>
                <a:lnTo>
                  <a:pt x="4056161" y="3104048"/>
                </a:lnTo>
                <a:lnTo>
                  <a:pt x="4041583" y="3094940"/>
                </a:lnTo>
                <a:close/>
                <a:moveTo>
                  <a:pt x="1235434" y="3080358"/>
                </a:moveTo>
                <a:lnTo>
                  <a:pt x="1242722" y="3096755"/>
                </a:lnTo>
                <a:lnTo>
                  <a:pt x="1219034" y="3094934"/>
                </a:lnTo>
                <a:close/>
                <a:moveTo>
                  <a:pt x="1280988" y="3074909"/>
                </a:moveTo>
                <a:lnTo>
                  <a:pt x="1304676" y="3074909"/>
                </a:lnTo>
                <a:lnTo>
                  <a:pt x="1297388" y="3089481"/>
                </a:lnTo>
                <a:cubicBezTo>
                  <a:pt x="1311966" y="3113159"/>
                  <a:pt x="1308321" y="3105874"/>
                  <a:pt x="1290099" y="3118623"/>
                </a:cubicBezTo>
                <a:lnTo>
                  <a:pt x="1280988" y="3096766"/>
                </a:lnTo>
                <a:cubicBezTo>
                  <a:pt x="1290099" y="3078551"/>
                  <a:pt x="1288277" y="3094944"/>
                  <a:pt x="1280988" y="3074909"/>
                </a:cubicBezTo>
                <a:close/>
                <a:moveTo>
                  <a:pt x="4522635" y="3074896"/>
                </a:moveTo>
                <a:lnTo>
                  <a:pt x="4548147" y="3074896"/>
                </a:lnTo>
                <a:lnTo>
                  <a:pt x="4539036" y="3089470"/>
                </a:lnTo>
                <a:close/>
                <a:moveTo>
                  <a:pt x="4200112" y="3073083"/>
                </a:moveTo>
                <a:lnTo>
                  <a:pt x="4207400" y="3094940"/>
                </a:lnTo>
                <a:lnTo>
                  <a:pt x="4185534" y="3094940"/>
                </a:lnTo>
                <a:cubicBezTo>
                  <a:pt x="4189179" y="3074903"/>
                  <a:pt x="4181890" y="3084011"/>
                  <a:pt x="4200112" y="3073083"/>
                </a:cubicBezTo>
                <a:close/>
                <a:moveTo>
                  <a:pt x="3394711" y="3073083"/>
                </a:moveTo>
                <a:lnTo>
                  <a:pt x="3416577" y="3073083"/>
                </a:lnTo>
                <a:cubicBezTo>
                  <a:pt x="3409288" y="3093120"/>
                  <a:pt x="3411110" y="3080371"/>
                  <a:pt x="3416577" y="3104050"/>
                </a:cubicBezTo>
                <a:cubicBezTo>
                  <a:pt x="3376488" y="3093120"/>
                  <a:pt x="3405644" y="3102230"/>
                  <a:pt x="3394711" y="3073083"/>
                </a:cubicBezTo>
                <a:close/>
                <a:moveTo>
                  <a:pt x="3443909" y="3071253"/>
                </a:moveTo>
                <a:lnTo>
                  <a:pt x="3445731" y="3096756"/>
                </a:lnTo>
                <a:lnTo>
                  <a:pt x="3429331" y="3087648"/>
                </a:lnTo>
                <a:close/>
                <a:moveTo>
                  <a:pt x="3356444" y="3065746"/>
                </a:moveTo>
                <a:cubicBezTo>
                  <a:pt x="3365555" y="3069392"/>
                  <a:pt x="3372844" y="3074858"/>
                  <a:pt x="3381955" y="3080324"/>
                </a:cubicBezTo>
                <a:cubicBezTo>
                  <a:pt x="3378310" y="3080324"/>
                  <a:pt x="3376488" y="3080324"/>
                  <a:pt x="3374666" y="3080324"/>
                </a:cubicBezTo>
                <a:cubicBezTo>
                  <a:pt x="3369199" y="3078502"/>
                  <a:pt x="3365555" y="3074858"/>
                  <a:pt x="3361911" y="3073036"/>
                </a:cubicBezTo>
                <a:cubicBezTo>
                  <a:pt x="3360089" y="3071214"/>
                  <a:pt x="3358267" y="3069392"/>
                  <a:pt x="3356444" y="3065746"/>
                </a:cubicBezTo>
                <a:close/>
                <a:moveTo>
                  <a:pt x="1069616" y="3058503"/>
                </a:moveTo>
                <a:lnTo>
                  <a:pt x="1076904" y="3080364"/>
                </a:lnTo>
                <a:lnTo>
                  <a:pt x="1055038" y="3080364"/>
                </a:lnTo>
                <a:cubicBezTo>
                  <a:pt x="1058683" y="3073077"/>
                  <a:pt x="1060505" y="3067611"/>
                  <a:pt x="1060505" y="3063969"/>
                </a:cubicBezTo>
                <a:cubicBezTo>
                  <a:pt x="1062327" y="3062147"/>
                  <a:pt x="1065971" y="3060325"/>
                  <a:pt x="1069616" y="3058503"/>
                </a:cubicBezTo>
                <a:close/>
                <a:moveTo>
                  <a:pt x="993085" y="3056696"/>
                </a:moveTo>
                <a:lnTo>
                  <a:pt x="1002196" y="3071270"/>
                </a:lnTo>
                <a:lnTo>
                  <a:pt x="1014951" y="3063982"/>
                </a:lnTo>
                <a:lnTo>
                  <a:pt x="1038639" y="3093127"/>
                </a:lnTo>
                <a:lnTo>
                  <a:pt x="1069616" y="3093127"/>
                </a:lnTo>
                <a:cubicBezTo>
                  <a:pt x="1076905" y="3116805"/>
                  <a:pt x="1087838" y="3125913"/>
                  <a:pt x="1107882" y="3138662"/>
                </a:cubicBezTo>
                <a:lnTo>
                  <a:pt x="1100593" y="3153233"/>
                </a:lnTo>
                <a:lnTo>
                  <a:pt x="1122459" y="3153233"/>
                </a:lnTo>
                <a:lnTo>
                  <a:pt x="1115171" y="3176914"/>
                </a:lnTo>
                <a:lnTo>
                  <a:pt x="1124282" y="3191484"/>
                </a:lnTo>
                <a:lnTo>
                  <a:pt x="1115171" y="3206057"/>
                </a:lnTo>
                <a:lnTo>
                  <a:pt x="1122459" y="3220647"/>
                </a:lnTo>
                <a:cubicBezTo>
                  <a:pt x="1113349" y="3220647"/>
                  <a:pt x="1115171" y="3217002"/>
                  <a:pt x="1115171" y="3227940"/>
                </a:cubicBezTo>
                <a:cubicBezTo>
                  <a:pt x="1115171" y="3257110"/>
                  <a:pt x="1113349" y="3229772"/>
                  <a:pt x="1122459" y="3242520"/>
                </a:cubicBezTo>
                <a:cubicBezTo>
                  <a:pt x="1115171" y="3262572"/>
                  <a:pt x="1115171" y="3246174"/>
                  <a:pt x="1122459" y="3264395"/>
                </a:cubicBezTo>
                <a:lnTo>
                  <a:pt x="1100593" y="3280798"/>
                </a:lnTo>
                <a:lnTo>
                  <a:pt x="1106060" y="3293563"/>
                </a:lnTo>
                <a:lnTo>
                  <a:pt x="1102946" y="3307573"/>
                </a:lnTo>
                <a:lnTo>
                  <a:pt x="1138860" y="3299017"/>
                </a:lnTo>
                <a:lnTo>
                  <a:pt x="1137039" y="3329996"/>
                </a:lnTo>
                <a:lnTo>
                  <a:pt x="1100593" y="3322715"/>
                </a:lnTo>
                <a:lnTo>
                  <a:pt x="1100593" y="3310184"/>
                </a:lnTo>
                <a:lnTo>
                  <a:pt x="1087838" y="3311780"/>
                </a:lnTo>
                <a:lnTo>
                  <a:pt x="1064151" y="3340928"/>
                </a:lnTo>
                <a:lnTo>
                  <a:pt x="1040462" y="3340928"/>
                </a:lnTo>
                <a:lnTo>
                  <a:pt x="1047750" y="3355517"/>
                </a:lnTo>
                <a:cubicBezTo>
                  <a:pt x="1002196" y="3359159"/>
                  <a:pt x="1031351" y="3370095"/>
                  <a:pt x="1002196" y="3370095"/>
                </a:cubicBezTo>
                <a:lnTo>
                  <a:pt x="991263" y="3370095"/>
                </a:lnTo>
                <a:cubicBezTo>
                  <a:pt x="962108" y="3370095"/>
                  <a:pt x="987619" y="3368273"/>
                  <a:pt x="976686" y="3377342"/>
                </a:cubicBezTo>
                <a:cubicBezTo>
                  <a:pt x="958464" y="3368273"/>
                  <a:pt x="974863" y="3370095"/>
                  <a:pt x="954819" y="3377342"/>
                </a:cubicBezTo>
                <a:cubicBezTo>
                  <a:pt x="936598" y="3362810"/>
                  <a:pt x="922020" y="3364627"/>
                  <a:pt x="901976" y="3346398"/>
                </a:cubicBezTo>
                <a:lnTo>
                  <a:pt x="887399" y="3353696"/>
                </a:lnTo>
                <a:cubicBezTo>
                  <a:pt x="869177" y="3331819"/>
                  <a:pt x="891043" y="3342752"/>
                  <a:pt x="856422" y="3339103"/>
                </a:cubicBezTo>
                <a:lnTo>
                  <a:pt x="856422" y="3324535"/>
                </a:lnTo>
                <a:lnTo>
                  <a:pt x="841845" y="3324535"/>
                </a:lnTo>
                <a:lnTo>
                  <a:pt x="840022" y="3302667"/>
                </a:lnTo>
                <a:lnTo>
                  <a:pt x="827267" y="3286268"/>
                </a:lnTo>
                <a:cubicBezTo>
                  <a:pt x="818156" y="3291745"/>
                  <a:pt x="819979" y="3293563"/>
                  <a:pt x="805401" y="3293563"/>
                </a:cubicBezTo>
                <a:lnTo>
                  <a:pt x="798112" y="3293563"/>
                </a:lnTo>
                <a:cubicBezTo>
                  <a:pt x="768959" y="3293563"/>
                  <a:pt x="796290" y="3295374"/>
                  <a:pt x="774424" y="3284446"/>
                </a:cubicBezTo>
                <a:lnTo>
                  <a:pt x="798112" y="3255282"/>
                </a:lnTo>
                <a:lnTo>
                  <a:pt x="819979" y="3255282"/>
                </a:lnTo>
                <a:cubicBezTo>
                  <a:pt x="812690" y="3235234"/>
                  <a:pt x="812690" y="3251638"/>
                  <a:pt x="819979" y="3233414"/>
                </a:cubicBezTo>
                <a:lnTo>
                  <a:pt x="807223" y="3227940"/>
                </a:lnTo>
                <a:cubicBezTo>
                  <a:pt x="812690" y="3213355"/>
                  <a:pt x="812690" y="3206057"/>
                  <a:pt x="807223" y="3191484"/>
                </a:cubicBezTo>
                <a:lnTo>
                  <a:pt x="821801" y="3182376"/>
                </a:lnTo>
                <a:lnTo>
                  <a:pt x="814512" y="3167807"/>
                </a:lnTo>
                <a:cubicBezTo>
                  <a:pt x="819979" y="3162339"/>
                  <a:pt x="821801" y="3158699"/>
                  <a:pt x="823623" y="3156877"/>
                </a:cubicBezTo>
                <a:cubicBezTo>
                  <a:pt x="827267" y="3156877"/>
                  <a:pt x="830912" y="3156877"/>
                  <a:pt x="838200" y="3153233"/>
                </a:cubicBezTo>
                <a:lnTo>
                  <a:pt x="830912" y="3140482"/>
                </a:lnTo>
                <a:lnTo>
                  <a:pt x="889222" y="3078555"/>
                </a:lnTo>
                <a:cubicBezTo>
                  <a:pt x="920198" y="3078555"/>
                  <a:pt x="922020" y="3074912"/>
                  <a:pt x="942064" y="3063982"/>
                </a:cubicBezTo>
                <a:lnTo>
                  <a:pt x="956642" y="3063982"/>
                </a:lnTo>
                <a:lnTo>
                  <a:pt x="971219" y="3063982"/>
                </a:lnTo>
                <a:cubicBezTo>
                  <a:pt x="1000374" y="3063982"/>
                  <a:pt x="973041" y="3065804"/>
                  <a:pt x="993085" y="3056696"/>
                </a:cubicBezTo>
                <a:close/>
                <a:moveTo>
                  <a:pt x="1059993" y="3056283"/>
                </a:moveTo>
                <a:cubicBezTo>
                  <a:pt x="1061303" y="3056453"/>
                  <a:pt x="1061872" y="3058503"/>
                  <a:pt x="1060506" y="3063967"/>
                </a:cubicBezTo>
                <a:cubicBezTo>
                  <a:pt x="1045473" y="3072165"/>
                  <a:pt x="1056064" y="3055769"/>
                  <a:pt x="1059993" y="3056283"/>
                </a:cubicBezTo>
                <a:close/>
                <a:moveTo>
                  <a:pt x="1220856" y="3053046"/>
                </a:moveTo>
                <a:lnTo>
                  <a:pt x="1229969" y="3058512"/>
                </a:lnTo>
                <a:cubicBezTo>
                  <a:pt x="1215390" y="3078549"/>
                  <a:pt x="1226323" y="3073083"/>
                  <a:pt x="1198990" y="3080369"/>
                </a:cubicBezTo>
                <a:cubicBezTo>
                  <a:pt x="1206279" y="3054868"/>
                  <a:pt x="1200812" y="3063976"/>
                  <a:pt x="1220856" y="3053046"/>
                </a:cubicBezTo>
                <a:close/>
                <a:moveTo>
                  <a:pt x="3303601" y="3045703"/>
                </a:moveTo>
                <a:cubicBezTo>
                  <a:pt x="3307246" y="3049349"/>
                  <a:pt x="3312712" y="3051171"/>
                  <a:pt x="3316357" y="3054815"/>
                </a:cubicBezTo>
                <a:cubicBezTo>
                  <a:pt x="3305423" y="3054815"/>
                  <a:pt x="3294491" y="3054815"/>
                  <a:pt x="3285380" y="3058459"/>
                </a:cubicBezTo>
                <a:cubicBezTo>
                  <a:pt x="3272625" y="3062102"/>
                  <a:pt x="3258047" y="3065746"/>
                  <a:pt x="3248936" y="3074858"/>
                </a:cubicBezTo>
                <a:cubicBezTo>
                  <a:pt x="3247114" y="3076680"/>
                  <a:pt x="3256225" y="3076680"/>
                  <a:pt x="3258047" y="3076680"/>
                </a:cubicBezTo>
                <a:cubicBezTo>
                  <a:pt x="3268980" y="3071214"/>
                  <a:pt x="3281735" y="3067570"/>
                  <a:pt x="3292668" y="3063924"/>
                </a:cubicBezTo>
                <a:cubicBezTo>
                  <a:pt x="3296313" y="3062102"/>
                  <a:pt x="3301779" y="3062102"/>
                  <a:pt x="3305423" y="3062102"/>
                </a:cubicBezTo>
                <a:cubicBezTo>
                  <a:pt x="3289024" y="3067570"/>
                  <a:pt x="3270802" y="3076680"/>
                  <a:pt x="3259869" y="3085792"/>
                </a:cubicBezTo>
                <a:cubicBezTo>
                  <a:pt x="3259869" y="3087614"/>
                  <a:pt x="3261691" y="3096724"/>
                  <a:pt x="3263514" y="3096724"/>
                </a:cubicBezTo>
                <a:cubicBezTo>
                  <a:pt x="3279913" y="3098548"/>
                  <a:pt x="3294491" y="3093080"/>
                  <a:pt x="3310890" y="3089436"/>
                </a:cubicBezTo>
                <a:cubicBezTo>
                  <a:pt x="3314534" y="3089436"/>
                  <a:pt x="3318179" y="3087614"/>
                  <a:pt x="3321823" y="3087614"/>
                </a:cubicBezTo>
                <a:lnTo>
                  <a:pt x="3325467" y="3093080"/>
                </a:lnTo>
                <a:cubicBezTo>
                  <a:pt x="3314534" y="3094902"/>
                  <a:pt x="3303601" y="3096724"/>
                  <a:pt x="3294491" y="3100370"/>
                </a:cubicBezTo>
                <a:lnTo>
                  <a:pt x="3289024" y="3094902"/>
                </a:lnTo>
                <a:lnTo>
                  <a:pt x="3283557" y="3104013"/>
                </a:lnTo>
                <a:cubicBezTo>
                  <a:pt x="3281735" y="3104013"/>
                  <a:pt x="3279913" y="3104013"/>
                  <a:pt x="3278091" y="3105835"/>
                </a:cubicBezTo>
                <a:cubicBezTo>
                  <a:pt x="3272625" y="3107657"/>
                  <a:pt x="3278091" y="3114945"/>
                  <a:pt x="3281735" y="3114945"/>
                </a:cubicBezTo>
                <a:cubicBezTo>
                  <a:pt x="3285380" y="3113123"/>
                  <a:pt x="3289024" y="3113123"/>
                  <a:pt x="3292668" y="3113123"/>
                </a:cubicBezTo>
                <a:lnTo>
                  <a:pt x="3294491" y="3114945"/>
                </a:lnTo>
                <a:lnTo>
                  <a:pt x="3296313" y="3113123"/>
                </a:lnTo>
                <a:cubicBezTo>
                  <a:pt x="3309068" y="3111301"/>
                  <a:pt x="3323645" y="3109479"/>
                  <a:pt x="3336401" y="3109479"/>
                </a:cubicBezTo>
                <a:cubicBezTo>
                  <a:pt x="3341867" y="3109479"/>
                  <a:pt x="3347334" y="3109479"/>
                  <a:pt x="3352800" y="3109479"/>
                </a:cubicBezTo>
                <a:cubicBezTo>
                  <a:pt x="3350978" y="3109479"/>
                  <a:pt x="3350978" y="3111301"/>
                  <a:pt x="3350978" y="3111301"/>
                </a:cubicBezTo>
                <a:cubicBezTo>
                  <a:pt x="3332756" y="3114945"/>
                  <a:pt x="3314534" y="3114945"/>
                  <a:pt x="3299957" y="3124057"/>
                </a:cubicBezTo>
                <a:cubicBezTo>
                  <a:pt x="3294491" y="3127701"/>
                  <a:pt x="3303601" y="3131347"/>
                  <a:pt x="3307246" y="3129523"/>
                </a:cubicBezTo>
                <a:cubicBezTo>
                  <a:pt x="3316357" y="3125879"/>
                  <a:pt x="3325467" y="3125879"/>
                  <a:pt x="3336401" y="3124057"/>
                </a:cubicBezTo>
                <a:cubicBezTo>
                  <a:pt x="3334578" y="3125879"/>
                  <a:pt x="3334578" y="3125879"/>
                  <a:pt x="3332756" y="3125879"/>
                </a:cubicBezTo>
                <a:cubicBezTo>
                  <a:pt x="3321823" y="3129523"/>
                  <a:pt x="3310890" y="3134991"/>
                  <a:pt x="3299957" y="3138635"/>
                </a:cubicBezTo>
                <a:cubicBezTo>
                  <a:pt x="3287202" y="3138635"/>
                  <a:pt x="3274447" y="3136813"/>
                  <a:pt x="3261691" y="3133169"/>
                </a:cubicBezTo>
                <a:lnTo>
                  <a:pt x="3265336" y="3125879"/>
                </a:lnTo>
                <a:lnTo>
                  <a:pt x="3259869" y="3116767"/>
                </a:lnTo>
                <a:lnTo>
                  <a:pt x="3236181" y="3125879"/>
                </a:lnTo>
                <a:cubicBezTo>
                  <a:pt x="3223426" y="3122235"/>
                  <a:pt x="3210670" y="3116767"/>
                  <a:pt x="3197915" y="3111301"/>
                </a:cubicBezTo>
                <a:cubicBezTo>
                  <a:pt x="3201560" y="3107657"/>
                  <a:pt x="3205204" y="3104013"/>
                  <a:pt x="3208848" y="3100370"/>
                </a:cubicBezTo>
                <a:lnTo>
                  <a:pt x="3214315" y="3100370"/>
                </a:lnTo>
                <a:lnTo>
                  <a:pt x="3214315" y="3094902"/>
                </a:lnTo>
                <a:cubicBezTo>
                  <a:pt x="3239825" y="3071214"/>
                  <a:pt x="3270802" y="3049349"/>
                  <a:pt x="3303601" y="3045703"/>
                </a:cubicBezTo>
                <a:close/>
                <a:moveTo>
                  <a:pt x="3360431" y="3044680"/>
                </a:moveTo>
                <a:lnTo>
                  <a:pt x="3349157" y="3058458"/>
                </a:lnTo>
                <a:lnTo>
                  <a:pt x="3367377" y="3058458"/>
                </a:lnTo>
                <a:lnTo>
                  <a:pt x="3367377" y="3053055"/>
                </a:lnTo>
                <a:lnTo>
                  <a:pt x="3360088" y="3047589"/>
                </a:lnTo>
                <a:close/>
                <a:moveTo>
                  <a:pt x="3489863" y="3043804"/>
                </a:moveTo>
                <a:cubicBezTo>
                  <a:pt x="3495842" y="3043719"/>
                  <a:pt x="3484909" y="3044403"/>
                  <a:pt x="3498575" y="3051233"/>
                </a:cubicBezTo>
                <a:lnTo>
                  <a:pt x="3491287" y="3082197"/>
                </a:lnTo>
                <a:lnTo>
                  <a:pt x="3478531" y="3074912"/>
                </a:lnTo>
                <a:lnTo>
                  <a:pt x="3469426" y="3080371"/>
                </a:lnTo>
                <a:lnTo>
                  <a:pt x="3476709" y="3096753"/>
                </a:lnTo>
                <a:lnTo>
                  <a:pt x="3453020" y="3094931"/>
                </a:lnTo>
                <a:lnTo>
                  <a:pt x="3469409" y="3080367"/>
                </a:lnTo>
                <a:lnTo>
                  <a:pt x="3460310" y="3073089"/>
                </a:lnTo>
                <a:lnTo>
                  <a:pt x="3467598" y="3060338"/>
                </a:lnTo>
                <a:lnTo>
                  <a:pt x="3454843" y="3043945"/>
                </a:lnTo>
                <a:lnTo>
                  <a:pt x="3476709" y="3043945"/>
                </a:lnTo>
                <a:cubicBezTo>
                  <a:pt x="3483998" y="3043945"/>
                  <a:pt x="3487870" y="3043832"/>
                  <a:pt x="3489863" y="3043804"/>
                </a:cubicBezTo>
                <a:close/>
                <a:moveTo>
                  <a:pt x="4493481" y="3029350"/>
                </a:moveTo>
                <a:lnTo>
                  <a:pt x="4518993" y="3029350"/>
                </a:lnTo>
                <a:lnTo>
                  <a:pt x="4502592" y="3043924"/>
                </a:lnTo>
                <a:close/>
                <a:moveTo>
                  <a:pt x="3611550" y="3022084"/>
                </a:moveTo>
                <a:lnTo>
                  <a:pt x="3644349" y="3029369"/>
                </a:lnTo>
                <a:lnTo>
                  <a:pt x="3626128" y="3053048"/>
                </a:lnTo>
                <a:lnTo>
                  <a:pt x="3602439" y="3029369"/>
                </a:lnTo>
                <a:close/>
                <a:moveTo>
                  <a:pt x="1220858" y="3020262"/>
                </a:moveTo>
                <a:cubicBezTo>
                  <a:pt x="1240901" y="3020262"/>
                  <a:pt x="1242723" y="3031191"/>
                  <a:pt x="1250013" y="3042121"/>
                </a:cubicBezTo>
                <a:lnTo>
                  <a:pt x="1235434" y="3049406"/>
                </a:lnTo>
                <a:lnTo>
                  <a:pt x="1235434" y="3033015"/>
                </a:lnTo>
                <a:lnTo>
                  <a:pt x="1213568" y="3042121"/>
                </a:lnTo>
                <a:lnTo>
                  <a:pt x="1204457" y="3027550"/>
                </a:lnTo>
                <a:cubicBezTo>
                  <a:pt x="1206279" y="3027550"/>
                  <a:pt x="1219036" y="3020262"/>
                  <a:pt x="1220858" y="3020262"/>
                </a:cubicBezTo>
                <a:close/>
                <a:moveTo>
                  <a:pt x="3558707" y="3020251"/>
                </a:moveTo>
                <a:lnTo>
                  <a:pt x="3565996" y="3034827"/>
                </a:lnTo>
                <a:lnTo>
                  <a:pt x="3558707" y="3043934"/>
                </a:lnTo>
                <a:lnTo>
                  <a:pt x="3542307" y="3034827"/>
                </a:lnTo>
                <a:close/>
                <a:moveTo>
                  <a:pt x="1047750" y="3020234"/>
                </a:moveTo>
                <a:lnTo>
                  <a:pt x="1062328" y="3036629"/>
                </a:lnTo>
                <a:lnTo>
                  <a:pt x="1047750" y="3036629"/>
                </a:lnTo>
                <a:close/>
                <a:moveTo>
                  <a:pt x="3285379" y="3020194"/>
                </a:moveTo>
                <a:cubicBezTo>
                  <a:pt x="3305424" y="3031127"/>
                  <a:pt x="3325468" y="3045705"/>
                  <a:pt x="3343690" y="3058461"/>
                </a:cubicBezTo>
                <a:cubicBezTo>
                  <a:pt x="3347334" y="3060283"/>
                  <a:pt x="3350978" y="3063926"/>
                  <a:pt x="3354623" y="3065751"/>
                </a:cubicBezTo>
                <a:lnTo>
                  <a:pt x="3350978" y="3067570"/>
                </a:lnTo>
                <a:cubicBezTo>
                  <a:pt x="3350978" y="3067570"/>
                  <a:pt x="3349156" y="3065751"/>
                  <a:pt x="3349156" y="3065751"/>
                </a:cubicBezTo>
                <a:cubicBezTo>
                  <a:pt x="3327290" y="3051171"/>
                  <a:pt x="3305424" y="3036595"/>
                  <a:pt x="3285379" y="3020194"/>
                </a:cubicBezTo>
                <a:close/>
                <a:moveTo>
                  <a:pt x="3243470" y="3020194"/>
                </a:moveTo>
                <a:lnTo>
                  <a:pt x="3243470" y="3042059"/>
                </a:lnTo>
                <a:lnTo>
                  <a:pt x="3259869" y="3032949"/>
                </a:lnTo>
                <a:close/>
                <a:moveTo>
                  <a:pt x="1144326" y="3005686"/>
                </a:moveTo>
                <a:lnTo>
                  <a:pt x="1151614" y="3036655"/>
                </a:lnTo>
                <a:lnTo>
                  <a:pt x="1129748" y="3036655"/>
                </a:lnTo>
                <a:cubicBezTo>
                  <a:pt x="1133393" y="3002043"/>
                  <a:pt x="1122460" y="3022082"/>
                  <a:pt x="1144326" y="3005686"/>
                </a:cubicBezTo>
                <a:close/>
                <a:moveTo>
                  <a:pt x="1153436" y="3005657"/>
                </a:moveTo>
                <a:lnTo>
                  <a:pt x="1168014" y="3020236"/>
                </a:lnTo>
                <a:lnTo>
                  <a:pt x="1153436" y="3020236"/>
                </a:lnTo>
                <a:close/>
                <a:moveTo>
                  <a:pt x="1322899" y="3001972"/>
                </a:moveTo>
                <a:lnTo>
                  <a:pt x="1319254" y="3012906"/>
                </a:lnTo>
                <a:lnTo>
                  <a:pt x="1330188" y="3016550"/>
                </a:lnTo>
                <a:cubicBezTo>
                  <a:pt x="1328365" y="3014728"/>
                  <a:pt x="1328365" y="3014728"/>
                  <a:pt x="1326543" y="3011084"/>
                </a:cubicBezTo>
                <a:cubicBezTo>
                  <a:pt x="1322899" y="3003796"/>
                  <a:pt x="1322899" y="3003796"/>
                  <a:pt x="1322899" y="3001972"/>
                </a:cubicBezTo>
                <a:close/>
                <a:moveTo>
                  <a:pt x="3651636" y="3000223"/>
                </a:moveTo>
                <a:cubicBezTo>
                  <a:pt x="3655281" y="3002051"/>
                  <a:pt x="3657103" y="3002051"/>
                  <a:pt x="3653459" y="3009337"/>
                </a:cubicBezTo>
                <a:lnTo>
                  <a:pt x="3662569" y="3020266"/>
                </a:lnTo>
                <a:lnTo>
                  <a:pt x="3660747" y="3022090"/>
                </a:lnTo>
                <a:lnTo>
                  <a:pt x="3649814" y="3020266"/>
                </a:lnTo>
                <a:lnTo>
                  <a:pt x="3651636" y="3016624"/>
                </a:lnTo>
                <a:lnTo>
                  <a:pt x="3649814" y="3011159"/>
                </a:lnTo>
                <a:close/>
                <a:moveTo>
                  <a:pt x="3257052" y="2995652"/>
                </a:moveTo>
                <a:lnTo>
                  <a:pt x="3268253" y="2997372"/>
                </a:lnTo>
                <a:lnTo>
                  <a:pt x="3261009" y="2996506"/>
                </a:lnTo>
                <a:close/>
                <a:moveTo>
                  <a:pt x="3250758" y="2994684"/>
                </a:moveTo>
                <a:cubicBezTo>
                  <a:pt x="3252581" y="2994684"/>
                  <a:pt x="3252581" y="2994684"/>
                  <a:pt x="3252581" y="2994684"/>
                </a:cubicBezTo>
                <a:lnTo>
                  <a:pt x="3257052" y="2995652"/>
                </a:lnTo>
                <a:close/>
                <a:moveTo>
                  <a:pt x="1042283" y="2985592"/>
                </a:moveTo>
                <a:cubicBezTo>
                  <a:pt x="1042283" y="2987414"/>
                  <a:pt x="1042283" y="2989236"/>
                  <a:pt x="1042283" y="2992882"/>
                </a:cubicBezTo>
                <a:cubicBezTo>
                  <a:pt x="1042283" y="2991060"/>
                  <a:pt x="1040461" y="2991060"/>
                  <a:pt x="1040461" y="2991060"/>
                </a:cubicBezTo>
                <a:cubicBezTo>
                  <a:pt x="1040461" y="2989236"/>
                  <a:pt x="1042283" y="2987414"/>
                  <a:pt x="1042283" y="2985592"/>
                </a:cubicBezTo>
                <a:close/>
                <a:moveTo>
                  <a:pt x="3635237" y="2978366"/>
                </a:moveTo>
                <a:lnTo>
                  <a:pt x="3637059" y="2980185"/>
                </a:lnTo>
                <a:lnTo>
                  <a:pt x="3635237" y="2987476"/>
                </a:lnTo>
                <a:cubicBezTo>
                  <a:pt x="3635237" y="2987476"/>
                  <a:pt x="3637059" y="2992941"/>
                  <a:pt x="3637059" y="2992941"/>
                </a:cubicBezTo>
                <a:cubicBezTo>
                  <a:pt x="3637059" y="3003873"/>
                  <a:pt x="3637059" y="2994763"/>
                  <a:pt x="3635237" y="2998405"/>
                </a:cubicBezTo>
                <a:lnTo>
                  <a:pt x="3637059" y="3009337"/>
                </a:lnTo>
                <a:cubicBezTo>
                  <a:pt x="3629770" y="3011159"/>
                  <a:pt x="3631593" y="3009337"/>
                  <a:pt x="3629770" y="3016624"/>
                </a:cubicBezTo>
                <a:cubicBezTo>
                  <a:pt x="3618837" y="3009337"/>
                  <a:pt x="3627948" y="3018444"/>
                  <a:pt x="3624304" y="3007515"/>
                </a:cubicBezTo>
                <a:cubicBezTo>
                  <a:pt x="3626126" y="3005695"/>
                  <a:pt x="3629770" y="3005695"/>
                  <a:pt x="3629770" y="3002051"/>
                </a:cubicBezTo>
                <a:cubicBezTo>
                  <a:pt x="3629770" y="2994763"/>
                  <a:pt x="3627948" y="2998405"/>
                  <a:pt x="3624304" y="2994763"/>
                </a:cubicBezTo>
                <a:cubicBezTo>
                  <a:pt x="3626126" y="2987476"/>
                  <a:pt x="3626126" y="2992941"/>
                  <a:pt x="3624304" y="2987476"/>
                </a:cubicBezTo>
                <a:close/>
                <a:moveTo>
                  <a:pt x="3279913" y="2978366"/>
                </a:moveTo>
                <a:lnTo>
                  <a:pt x="3281735" y="2983832"/>
                </a:lnTo>
                <a:lnTo>
                  <a:pt x="3272624" y="2982010"/>
                </a:lnTo>
                <a:close/>
                <a:moveTo>
                  <a:pt x="3314535" y="2976463"/>
                </a:moveTo>
                <a:lnTo>
                  <a:pt x="3321824" y="2989216"/>
                </a:lnTo>
                <a:lnTo>
                  <a:pt x="3332757" y="2987397"/>
                </a:lnTo>
                <a:cubicBezTo>
                  <a:pt x="3334579" y="2987397"/>
                  <a:pt x="3334579" y="2987397"/>
                  <a:pt x="3336402" y="2987397"/>
                </a:cubicBezTo>
                <a:cubicBezTo>
                  <a:pt x="3338224" y="2987397"/>
                  <a:pt x="3340046" y="2985575"/>
                  <a:pt x="3341868" y="2985575"/>
                </a:cubicBezTo>
                <a:lnTo>
                  <a:pt x="3352801" y="2983751"/>
                </a:lnTo>
                <a:cubicBezTo>
                  <a:pt x="3352801" y="2981931"/>
                  <a:pt x="3352801" y="2981931"/>
                  <a:pt x="3352801" y="2981931"/>
                </a:cubicBezTo>
                <a:cubicBezTo>
                  <a:pt x="3356445" y="2981931"/>
                  <a:pt x="3358268" y="2980107"/>
                  <a:pt x="3361912" y="2980107"/>
                </a:cubicBezTo>
                <a:lnTo>
                  <a:pt x="3361912" y="2983751"/>
                </a:lnTo>
                <a:lnTo>
                  <a:pt x="3372845" y="2978285"/>
                </a:lnTo>
                <a:cubicBezTo>
                  <a:pt x="3374667" y="2978285"/>
                  <a:pt x="3376489" y="2978285"/>
                  <a:pt x="3378311" y="2978285"/>
                </a:cubicBezTo>
                <a:cubicBezTo>
                  <a:pt x="3378311" y="2980107"/>
                  <a:pt x="3378311" y="2980107"/>
                  <a:pt x="3378311" y="2981931"/>
                </a:cubicBezTo>
                <a:cubicBezTo>
                  <a:pt x="3369201" y="2985575"/>
                  <a:pt x="3358268" y="2989216"/>
                  <a:pt x="3347335" y="2992863"/>
                </a:cubicBezTo>
                <a:cubicBezTo>
                  <a:pt x="3345513" y="2992863"/>
                  <a:pt x="3354623" y="2994684"/>
                  <a:pt x="3356445" y="2994684"/>
                </a:cubicBezTo>
                <a:cubicBezTo>
                  <a:pt x="3363734" y="2992863"/>
                  <a:pt x="3372845" y="2991040"/>
                  <a:pt x="3380134" y="2989216"/>
                </a:cubicBezTo>
                <a:lnTo>
                  <a:pt x="3318179" y="3004764"/>
                </a:lnTo>
                <a:lnTo>
                  <a:pt x="3318179" y="3007515"/>
                </a:lnTo>
                <a:lnTo>
                  <a:pt x="3325468" y="3011161"/>
                </a:lnTo>
                <a:lnTo>
                  <a:pt x="3329112" y="3009337"/>
                </a:lnTo>
                <a:lnTo>
                  <a:pt x="3334578" y="3012980"/>
                </a:lnTo>
                <a:lnTo>
                  <a:pt x="3334311" y="3016550"/>
                </a:lnTo>
                <a:lnTo>
                  <a:pt x="3335489" y="3016550"/>
                </a:lnTo>
                <a:cubicBezTo>
                  <a:pt x="3352345" y="3014272"/>
                  <a:pt x="3369200" y="3010172"/>
                  <a:pt x="3385599" y="3005616"/>
                </a:cubicBezTo>
                <a:cubicBezTo>
                  <a:pt x="3389243" y="3018372"/>
                  <a:pt x="3394710" y="3027482"/>
                  <a:pt x="3401998" y="3040239"/>
                </a:cubicBezTo>
                <a:lnTo>
                  <a:pt x="3371021" y="3045705"/>
                </a:lnTo>
                <a:cubicBezTo>
                  <a:pt x="3376488" y="3040239"/>
                  <a:pt x="3380132" y="3038415"/>
                  <a:pt x="3381955" y="3036593"/>
                </a:cubicBezTo>
                <a:cubicBezTo>
                  <a:pt x="3381955" y="3034771"/>
                  <a:pt x="3381955" y="3029306"/>
                  <a:pt x="3385599" y="3022016"/>
                </a:cubicBezTo>
                <a:lnTo>
                  <a:pt x="3372844" y="3029306"/>
                </a:lnTo>
                <a:lnTo>
                  <a:pt x="3358266" y="3016550"/>
                </a:lnTo>
                <a:lnTo>
                  <a:pt x="3349157" y="3022623"/>
                </a:lnTo>
                <a:lnTo>
                  <a:pt x="3349157" y="3023908"/>
                </a:lnTo>
                <a:lnTo>
                  <a:pt x="3347420" y="3023908"/>
                </a:lnTo>
                <a:lnTo>
                  <a:pt x="3361806" y="3035417"/>
                </a:lnTo>
                <a:lnTo>
                  <a:pt x="3361911" y="3034837"/>
                </a:lnTo>
                <a:cubicBezTo>
                  <a:pt x="3367377" y="3033018"/>
                  <a:pt x="3361911" y="3036661"/>
                  <a:pt x="3369199" y="3033018"/>
                </a:cubicBezTo>
                <a:lnTo>
                  <a:pt x="3371021" y="3033018"/>
                </a:lnTo>
                <a:lnTo>
                  <a:pt x="3371021" y="3040303"/>
                </a:lnTo>
                <a:cubicBezTo>
                  <a:pt x="3371021" y="3051230"/>
                  <a:pt x="3369199" y="3042125"/>
                  <a:pt x="3372844" y="3045767"/>
                </a:cubicBezTo>
                <a:cubicBezTo>
                  <a:pt x="3371022" y="3050319"/>
                  <a:pt x="3371477" y="3052596"/>
                  <a:pt x="3371477" y="3054417"/>
                </a:cubicBezTo>
                <a:lnTo>
                  <a:pt x="3368679" y="3058458"/>
                </a:lnTo>
                <a:lnTo>
                  <a:pt x="3385599" y="3058458"/>
                </a:lnTo>
                <a:lnTo>
                  <a:pt x="3385599" y="3078502"/>
                </a:lnTo>
                <a:cubicBezTo>
                  <a:pt x="3376488" y="3074858"/>
                  <a:pt x="3369199" y="3069391"/>
                  <a:pt x="3358266" y="3063925"/>
                </a:cubicBezTo>
                <a:lnTo>
                  <a:pt x="3349157" y="3058459"/>
                </a:lnTo>
                <a:lnTo>
                  <a:pt x="3349155" y="3058461"/>
                </a:lnTo>
                <a:cubicBezTo>
                  <a:pt x="3329111" y="3045705"/>
                  <a:pt x="3310890" y="3034771"/>
                  <a:pt x="3292668" y="3022016"/>
                </a:cubicBezTo>
                <a:cubicBezTo>
                  <a:pt x="3290846" y="3020194"/>
                  <a:pt x="3287201" y="3018372"/>
                  <a:pt x="3285379" y="3016550"/>
                </a:cubicBezTo>
                <a:lnTo>
                  <a:pt x="3323063" y="3016550"/>
                </a:lnTo>
                <a:lnTo>
                  <a:pt x="3323645" y="3014802"/>
                </a:lnTo>
                <a:cubicBezTo>
                  <a:pt x="3319090" y="3013890"/>
                  <a:pt x="3316356" y="3013434"/>
                  <a:pt x="3314762" y="3012068"/>
                </a:cubicBezTo>
                <a:lnTo>
                  <a:pt x="3312797" y="3004212"/>
                </a:lnTo>
                <a:lnTo>
                  <a:pt x="3312042" y="3004097"/>
                </a:lnTo>
                <a:lnTo>
                  <a:pt x="3307246" y="3005695"/>
                </a:lnTo>
                <a:lnTo>
                  <a:pt x="3305116" y="3003033"/>
                </a:lnTo>
                <a:lnTo>
                  <a:pt x="3268253" y="2997372"/>
                </a:lnTo>
                <a:lnTo>
                  <a:pt x="3276270" y="2998328"/>
                </a:lnTo>
                <a:cubicBezTo>
                  <a:pt x="3272625" y="2992863"/>
                  <a:pt x="3272625" y="2991040"/>
                  <a:pt x="3270802" y="2989216"/>
                </a:cubicBezTo>
                <a:cubicBezTo>
                  <a:pt x="3285381" y="2985575"/>
                  <a:pt x="3299958" y="2980107"/>
                  <a:pt x="3314535" y="2976463"/>
                </a:cubicBezTo>
                <a:close/>
                <a:moveTo>
                  <a:pt x="3243470" y="2974643"/>
                </a:moveTo>
                <a:cubicBezTo>
                  <a:pt x="3244382" y="2976465"/>
                  <a:pt x="3245293" y="2978287"/>
                  <a:pt x="3246888" y="2979427"/>
                </a:cubicBezTo>
                <a:lnTo>
                  <a:pt x="3249933" y="2979702"/>
                </a:lnTo>
                <a:lnTo>
                  <a:pt x="3248936" y="2974722"/>
                </a:lnTo>
                <a:lnTo>
                  <a:pt x="3248976" y="2974643"/>
                </a:lnTo>
                <a:close/>
                <a:moveTo>
                  <a:pt x="3338223" y="2969175"/>
                </a:moveTo>
                <a:lnTo>
                  <a:pt x="3340045" y="2972821"/>
                </a:lnTo>
                <a:cubicBezTo>
                  <a:pt x="3340045" y="2972821"/>
                  <a:pt x="3338223" y="2974641"/>
                  <a:pt x="3338223" y="2974641"/>
                </a:cubicBezTo>
                <a:lnTo>
                  <a:pt x="3321823" y="2974641"/>
                </a:lnTo>
                <a:cubicBezTo>
                  <a:pt x="3327290" y="2974641"/>
                  <a:pt x="3332756" y="2972821"/>
                  <a:pt x="3338223" y="2969175"/>
                </a:cubicBezTo>
                <a:close/>
                <a:moveTo>
                  <a:pt x="1290100" y="2969173"/>
                </a:moveTo>
                <a:lnTo>
                  <a:pt x="1299210" y="2998328"/>
                </a:lnTo>
                <a:lnTo>
                  <a:pt x="1311966" y="2998328"/>
                </a:lnTo>
                <a:lnTo>
                  <a:pt x="1315610" y="2989216"/>
                </a:lnTo>
                <a:cubicBezTo>
                  <a:pt x="1315610" y="2987395"/>
                  <a:pt x="1313788" y="2985572"/>
                  <a:pt x="1313788" y="2983751"/>
                </a:cubicBezTo>
                <a:cubicBezTo>
                  <a:pt x="1313788" y="2983751"/>
                  <a:pt x="1315610" y="2985572"/>
                  <a:pt x="1315610" y="2985572"/>
                </a:cubicBezTo>
                <a:lnTo>
                  <a:pt x="1321077" y="2978285"/>
                </a:lnTo>
                <a:close/>
                <a:moveTo>
                  <a:pt x="3643437" y="2968802"/>
                </a:moveTo>
                <a:cubicBezTo>
                  <a:pt x="3643437" y="2968802"/>
                  <a:pt x="3643437" y="2969256"/>
                  <a:pt x="3646170" y="2971085"/>
                </a:cubicBezTo>
                <a:lnTo>
                  <a:pt x="3642526" y="2976544"/>
                </a:lnTo>
                <a:lnTo>
                  <a:pt x="3635237" y="2974722"/>
                </a:lnTo>
                <a:cubicBezTo>
                  <a:pt x="3637060" y="2972896"/>
                  <a:pt x="3637060" y="2969256"/>
                  <a:pt x="3640704" y="2969256"/>
                </a:cubicBezTo>
                <a:cubicBezTo>
                  <a:pt x="3643437" y="2969256"/>
                  <a:pt x="3643437" y="2968802"/>
                  <a:pt x="3643437" y="2968802"/>
                </a:cubicBezTo>
                <a:close/>
                <a:moveTo>
                  <a:pt x="1076905" y="2967360"/>
                </a:moveTo>
                <a:cubicBezTo>
                  <a:pt x="1069616" y="2983761"/>
                  <a:pt x="1069616" y="2989225"/>
                  <a:pt x="1076905" y="3005627"/>
                </a:cubicBezTo>
                <a:cubicBezTo>
                  <a:pt x="1053216" y="3001981"/>
                  <a:pt x="1058683" y="3003803"/>
                  <a:pt x="1051394" y="2998337"/>
                </a:cubicBezTo>
                <a:cubicBezTo>
                  <a:pt x="1053216" y="2996515"/>
                  <a:pt x="1056861" y="2992871"/>
                  <a:pt x="1060505" y="2991049"/>
                </a:cubicBezTo>
                <a:cubicBezTo>
                  <a:pt x="1062327" y="2989225"/>
                  <a:pt x="1062327" y="2987405"/>
                  <a:pt x="1062327" y="2985581"/>
                </a:cubicBezTo>
                <a:cubicBezTo>
                  <a:pt x="1064149" y="2983761"/>
                  <a:pt x="1067794" y="2981937"/>
                  <a:pt x="1069616" y="2978293"/>
                </a:cubicBezTo>
                <a:cubicBezTo>
                  <a:pt x="1071438" y="2974649"/>
                  <a:pt x="1075082" y="2971005"/>
                  <a:pt x="1076905" y="2967360"/>
                </a:cubicBezTo>
                <a:close/>
                <a:moveTo>
                  <a:pt x="3538662" y="2956515"/>
                </a:moveTo>
                <a:lnTo>
                  <a:pt x="3544129" y="2956515"/>
                </a:lnTo>
                <a:cubicBezTo>
                  <a:pt x="3540485" y="2965623"/>
                  <a:pt x="3538662" y="2963788"/>
                  <a:pt x="3538662" y="2963788"/>
                </a:cubicBezTo>
                <a:close/>
                <a:moveTo>
                  <a:pt x="3262751" y="2954320"/>
                </a:moveTo>
                <a:lnTo>
                  <a:pt x="3261692" y="2954600"/>
                </a:lnTo>
                <a:lnTo>
                  <a:pt x="3261676" y="2954655"/>
                </a:lnTo>
                <a:lnTo>
                  <a:pt x="3261691" y="2954676"/>
                </a:lnTo>
                <a:close/>
                <a:moveTo>
                  <a:pt x="3567818" y="2952835"/>
                </a:moveTo>
                <a:lnTo>
                  <a:pt x="3565996" y="2976529"/>
                </a:lnTo>
                <a:lnTo>
                  <a:pt x="3542307" y="2954664"/>
                </a:lnTo>
                <a:close/>
                <a:moveTo>
                  <a:pt x="1235434" y="2952773"/>
                </a:moveTo>
                <a:lnTo>
                  <a:pt x="1235434" y="2967351"/>
                </a:lnTo>
                <a:lnTo>
                  <a:pt x="1250012" y="2952773"/>
                </a:lnTo>
                <a:close/>
                <a:moveTo>
                  <a:pt x="3813982" y="2945413"/>
                </a:moveTo>
                <a:cubicBezTo>
                  <a:pt x="3819619" y="2945339"/>
                  <a:pt x="3808344" y="2946027"/>
                  <a:pt x="3824744" y="2952844"/>
                </a:cubicBezTo>
                <a:lnTo>
                  <a:pt x="3806522" y="2976540"/>
                </a:lnTo>
                <a:lnTo>
                  <a:pt x="3784656" y="2954674"/>
                </a:lnTo>
                <a:cubicBezTo>
                  <a:pt x="3786479" y="2952844"/>
                  <a:pt x="3799234" y="2945565"/>
                  <a:pt x="3801056" y="2945565"/>
                </a:cubicBezTo>
                <a:cubicBezTo>
                  <a:pt x="3808345" y="2945565"/>
                  <a:pt x="3812103" y="2945454"/>
                  <a:pt x="3813982" y="2945413"/>
                </a:cubicBezTo>
                <a:close/>
                <a:moveTo>
                  <a:pt x="3724524" y="2941935"/>
                </a:moveTo>
                <a:lnTo>
                  <a:pt x="3729990" y="2943766"/>
                </a:lnTo>
                <a:lnTo>
                  <a:pt x="3724524" y="2947397"/>
                </a:lnTo>
                <a:lnTo>
                  <a:pt x="3720879" y="2945571"/>
                </a:lnTo>
                <a:close/>
                <a:moveTo>
                  <a:pt x="3505862" y="2938251"/>
                </a:moveTo>
                <a:lnTo>
                  <a:pt x="3524084" y="2940080"/>
                </a:lnTo>
                <a:lnTo>
                  <a:pt x="3507685" y="2954647"/>
                </a:lnTo>
                <a:close/>
                <a:moveTo>
                  <a:pt x="3443909" y="2936431"/>
                </a:moveTo>
                <a:lnTo>
                  <a:pt x="3445731" y="2952823"/>
                </a:lnTo>
                <a:lnTo>
                  <a:pt x="3429331" y="2951009"/>
                </a:lnTo>
                <a:close/>
                <a:moveTo>
                  <a:pt x="4056160" y="2923684"/>
                </a:moveTo>
                <a:lnTo>
                  <a:pt x="4081671" y="2923684"/>
                </a:lnTo>
                <a:lnTo>
                  <a:pt x="4065271" y="2938260"/>
                </a:lnTo>
                <a:close/>
                <a:moveTo>
                  <a:pt x="3146895" y="2923625"/>
                </a:moveTo>
                <a:lnTo>
                  <a:pt x="3137784" y="2938200"/>
                </a:lnTo>
                <a:lnTo>
                  <a:pt x="3146895" y="2947312"/>
                </a:lnTo>
                <a:lnTo>
                  <a:pt x="3161473" y="2930912"/>
                </a:lnTo>
                <a:close/>
                <a:moveTo>
                  <a:pt x="3422043" y="2920068"/>
                </a:moveTo>
                <a:lnTo>
                  <a:pt x="3425512" y="2923865"/>
                </a:lnTo>
                <a:lnTo>
                  <a:pt x="3425688" y="2923710"/>
                </a:lnTo>
                <a:lnTo>
                  <a:pt x="3425622" y="2923987"/>
                </a:lnTo>
                <a:lnTo>
                  <a:pt x="3426827" y="2925312"/>
                </a:lnTo>
                <a:lnTo>
                  <a:pt x="3424946" y="2926838"/>
                </a:lnTo>
                <a:lnTo>
                  <a:pt x="3416577" y="2961970"/>
                </a:lnTo>
                <a:lnTo>
                  <a:pt x="3416577" y="2974722"/>
                </a:lnTo>
                <a:cubicBezTo>
                  <a:pt x="3434799" y="2989297"/>
                  <a:pt x="3440265" y="2989297"/>
                  <a:pt x="3447554" y="3012980"/>
                </a:cubicBezTo>
                <a:cubicBezTo>
                  <a:pt x="3420221" y="3005686"/>
                  <a:pt x="3431154" y="3003869"/>
                  <a:pt x="3409288" y="2989297"/>
                </a:cubicBezTo>
                <a:lnTo>
                  <a:pt x="3415916" y="2976041"/>
                </a:lnTo>
                <a:lnTo>
                  <a:pt x="3399494" y="2963554"/>
                </a:lnTo>
                <a:cubicBezTo>
                  <a:pt x="3396533" y="2959237"/>
                  <a:pt x="3395622" y="2952844"/>
                  <a:pt x="3394711" y="2938292"/>
                </a:cubicBezTo>
                <a:cubicBezTo>
                  <a:pt x="3405644" y="2937378"/>
                  <a:pt x="3410199" y="2936463"/>
                  <a:pt x="3413616" y="2934416"/>
                </a:cubicBezTo>
                <a:lnTo>
                  <a:pt x="3422043" y="2926957"/>
                </a:lnTo>
                <a:close/>
                <a:moveTo>
                  <a:pt x="3095874" y="2919981"/>
                </a:moveTo>
                <a:cubicBezTo>
                  <a:pt x="3090408" y="2919981"/>
                  <a:pt x="3088586" y="2925444"/>
                  <a:pt x="3094052" y="2927266"/>
                </a:cubicBezTo>
                <a:cubicBezTo>
                  <a:pt x="3097696" y="2929090"/>
                  <a:pt x="3099519" y="2923625"/>
                  <a:pt x="3097696" y="2919981"/>
                </a:cubicBezTo>
                <a:cubicBezTo>
                  <a:pt x="3095874" y="2919981"/>
                  <a:pt x="3095874" y="2919981"/>
                  <a:pt x="3095874" y="2919981"/>
                </a:cubicBezTo>
                <a:close/>
                <a:moveTo>
                  <a:pt x="3115918" y="2914513"/>
                </a:moveTo>
                <a:cubicBezTo>
                  <a:pt x="3110452" y="2914513"/>
                  <a:pt x="3108630" y="2919981"/>
                  <a:pt x="3114096" y="2921801"/>
                </a:cubicBezTo>
                <a:cubicBezTo>
                  <a:pt x="3117741" y="2923625"/>
                  <a:pt x="3119563" y="2916333"/>
                  <a:pt x="3117741" y="2914513"/>
                </a:cubicBezTo>
                <a:cubicBezTo>
                  <a:pt x="3115918" y="2914513"/>
                  <a:pt x="3115918" y="2914513"/>
                  <a:pt x="3115918" y="2914513"/>
                </a:cubicBezTo>
                <a:close/>
                <a:moveTo>
                  <a:pt x="1295566" y="2914509"/>
                </a:moveTo>
                <a:lnTo>
                  <a:pt x="1266411" y="2923620"/>
                </a:lnTo>
                <a:cubicBezTo>
                  <a:pt x="1273700" y="2949129"/>
                  <a:pt x="1268233" y="2940020"/>
                  <a:pt x="1288277" y="2952773"/>
                </a:cubicBezTo>
                <a:lnTo>
                  <a:pt x="1288277" y="2938198"/>
                </a:lnTo>
                <a:lnTo>
                  <a:pt x="1301033" y="2938198"/>
                </a:lnTo>
                <a:cubicBezTo>
                  <a:pt x="1297388" y="2927264"/>
                  <a:pt x="1297388" y="2925442"/>
                  <a:pt x="1297388" y="2918154"/>
                </a:cubicBezTo>
                <a:close/>
                <a:moveTo>
                  <a:pt x="776246" y="2909134"/>
                </a:moveTo>
                <a:cubicBezTo>
                  <a:pt x="776246" y="2909134"/>
                  <a:pt x="783536" y="2921888"/>
                  <a:pt x="783536" y="2923706"/>
                </a:cubicBezTo>
                <a:cubicBezTo>
                  <a:pt x="783536" y="2951033"/>
                  <a:pt x="785358" y="2925536"/>
                  <a:pt x="776246" y="2945565"/>
                </a:cubicBezTo>
                <a:cubicBezTo>
                  <a:pt x="745269" y="2925536"/>
                  <a:pt x="765313" y="2938287"/>
                  <a:pt x="754380" y="2916422"/>
                </a:cubicBezTo>
                <a:close/>
                <a:moveTo>
                  <a:pt x="3892164" y="2909115"/>
                </a:moveTo>
                <a:lnTo>
                  <a:pt x="3914030" y="2909115"/>
                </a:lnTo>
                <a:cubicBezTo>
                  <a:pt x="3906741" y="2916401"/>
                  <a:pt x="3904919" y="2920047"/>
                  <a:pt x="3904919" y="2921869"/>
                </a:cubicBezTo>
                <a:cubicBezTo>
                  <a:pt x="3904919" y="2920047"/>
                  <a:pt x="3904919" y="2916401"/>
                  <a:pt x="3892164" y="2923690"/>
                </a:cubicBezTo>
                <a:close/>
                <a:moveTo>
                  <a:pt x="1591663" y="2904945"/>
                </a:moveTo>
                <a:lnTo>
                  <a:pt x="1590758" y="2905399"/>
                </a:lnTo>
                <a:lnTo>
                  <a:pt x="1592240" y="2906385"/>
                </a:lnTo>
                <a:close/>
                <a:moveTo>
                  <a:pt x="3132318" y="2896291"/>
                </a:moveTo>
                <a:cubicBezTo>
                  <a:pt x="3128673" y="2898113"/>
                  <a:pt x="3130496" y="2903579"/>
                  <a:pt x="3134140" y="2901757"/>
                </a:cubicBezTo>
                <a:cubicBezTo>
                  <a:pt x="3134140" y="2901757"/>
                  <a:pt x="3135962" y="2901757"/>
                  <a:pt x="3135962" y="2901757"/>
                </a:cubicBezTo>
                <a:cubicBezTo>
                  <a:pt x="3141429" y="2899935"/>
                  <a:pt x="3137784" y="2892647"/>
                  <a:pt x="3132318" y="2896291"/>
                </a:cubicBezTo>
                <a:close/>
                <a:moveTo>
                  <a:pt x="958464" y="2892726"/>
                </a:moveTo>
                <a:lnTo>
                  <a:pt x="947531" y="2909115"/>
                </a:lnTo>
                <a:lnTo>
                  <a:pt x="932953" y="2894546"/>
                </a:lnTo>
                <a:close/>
                <a:moveTo>
                  <a:pt x="1129748" y="2892671"/>
                </a:moveTo>
                <a:lnTo>
                  <a:pt x="1137037" y="2892671"/>
                </a:lnTo>
                <a:cubicBezTo>
                  <a:pt x="1135215" y="2894495"/>
                  <a:pt x="1135215" y="2896315"/>
                  <a:pt x="1131570" y="2896315"/>
                </a:cubicBezTo>
                <a:close/>
                <a:moveTo>
                  <a:pt x="3491286" y="2885423"/>
                </a:moveTo>
                <a:lnTo>
                  <a:pt x="3514974" y="2887247"/>
                </a:lnTo>
                <a:lnTo>
                  <a:pt x="3500397" y="2900001"/>
                </a:lnTo>
                <a:close/>
                <a:moveTo>
                  <a:pt x="1280989" y="2885355"/>
                </a:moveTo>
                <a:lnTo>
                  <a:pt x="1290100" y="2894465"/>
                </a:lnTo>
                <a:cubicBezTo>
                  <a:pt x="1288277" y="2892643"/>
                  <a:pt x="1288277" y="2890821"/>
                  <a:pt x="1286455" y="2887177"/>
                </a:cubicBezTo>
                <a:cubicBezTo>
                  <a:pt x="1286455" y="2887177"/>
                  <a:pt x="1288277" y="2887177"/>
                  <a:pt x="1288277" y="2885355"/>
                </a:cubicBezTo>
                <a:close/>
                <a:moveTo>
                  <a:pt x="661450" y="2883644"/>
                </a:moveTo>
                <a:cubicBezTo>
                  <a:pt x="679671" y="2883644"/>
                  <a:pt x="670560" y="2885464"/>
                  <a:pt x="692428" y="2890941"/>
                </a:cubicBezTo>
                <a:cubicBezTo>
                  <a:pt x="685138" y="2923710"/>
                  <a:pt x="677849" y="2903675"/>
                  <a:pt x="677849" y="2929178"/>
                </a:cubicBezTo>
                <a:cubicBezTo>
                  <a:pt x="665094" y="2927367"/>
                  <a:pt x="646872" y="2921899"/>
                  <a:pt x="646872" y="2907316"/>
                </a:cubicBezTo>
                <a:cubicBezTo>
                  <a:pt x="646872" y="2894578"/>
                  <a:pt x="652339" y="2885464"/>
                  <a:pt x="661450" y="2883644"/>
                </a:cubicBezTo>
                <a:close/>
                <a:moveTo>
                  <a:pt x="3553240" y="2883633"/>
                </a:moveTo>
                <a:lnTo>
                  <a:pt x="3580573" y="2914600"/>
                </a:lnTo>
                <a:lnTo>
                  <a:pt x="3573284" y="2923706"/>
                </a:lnTo>
                <a:lnTo>
                  <a:pt x="3542307" y="2894567"/>
                </a:lnTo>
                <a:close/>
                <a:moveTo>
                  <a:pt x="3416576" y="2872702"/>
                </a:moveTo>
                <a:cubicBezTo>
                  <a:pt x="3422042" y="2878176"/>
                  <a:pt x="3423864" y="2878176"/>
                  <a:pt x="3423864" y="2887286"/>
                </a:cubicBezTo>
                <a:lnTo>
                  <a:pt x="3412931" y="2879996"/>
                </a:lnTo>
                <a:close/>
                <a:moveTo>
                  <a:pt x="3374667" y="2872604"/>
                </a:moveTo>
                <a:cubicBezTo>
                  <a:pt x="3380133" y="2874428"/>
                  <a:pt x="3383777" y="2876248"/>
                  <a:pt x="3389244" y="2878072"/>
                </a:cubicBezTo>
                <a:lnTo>
                  <a:pt x="3401999" y="2885359"/>
                </a:lnTo>
                <a:lnTo>
                  <a:pt x="3405644" y="2883538"/>
                </a:lnTo>
                <a:cubicBezTo>
                  <a:pt x="3407466" y="2885359"/>
                  <a:pt x="3411110" y="2885359"/>
                  <a:pt x="3414754" y="2885359"/>
                </a:cubicBezTo>
                <a:cubicBezTo>
                  <a:pt x="3414754" y="2890825"/>
                  <a:pt x="3414754" y="2894471"/>
                  <a:pt x="3412932" y="2898113"/>
                </a:cubicBezTo>
                <a:cubicBezTo>
                  <a:pt x="3391066" y="2896293"/>
                  <a:pt x="3369200" y="2889003"/>
                  <a:pt x="3349155" y="2878072"/>
                </a:cubicBezTo>
                <a:close/>
                <a:moveTo>
                  <a:pt x="3025716" y="2870322"/>
                </a:moveTo>
                <a:lnTo>
                  <a:pt x="3066720" y="2872599"/>
                </a:lnTo>
                <a:cubicBezTo>
                  <a:pt x="3066720" y="2874422"/>
                  <a:pt x="3066720" y="2874422"/>
                  <a:pt x="3066720" y="2874422"/>
                </a:cubicBezTo>
                <a:close/>
                <a:moveTo>
                  <a:pt x="3299957" y="2868954"/>
                </a:moveTo>
                <a:cubicBezTo>
                  <a:pt x="3307246" y="2870778"/>
                  <a:pt x="3312712" y="2874422"/>
                  <a:pt x="3320001" y="2878066"/>
                </a:cubicBezTo>
                <a:lnTo>
                  <a:pt x="3320001" y="2879887"/>
                </a:lnTo>
                <a:cubicBezTo>
                  <a:pt x="3318179" y="2879887"/>
                  <a:pt x="3314534" y="2878066"/>
                  <a:pt x="3312712" y="2878066"/>
                </a:cubicBezTo>
                <a:cubicBezTo>
                  <a:pt x="3305423" y="2876243"/>
                  <a:pt x="3298135" y="2876243"/>
                  <a:pt x="3292668" y="2872599"/>
                </a:cubicBezTo>
                <a:cubicBezTo>
                  <a:pt x="3296313" y="2872599"/>
                  <a:pt x="3298135" y="2870778"/>
                  <a:pt x="3299957" y="2868954"/>
                </a:cubicBezTo>
                <a:close/>
                <a:moveTo>
                  <a:pt x="3000041" y="2867754"/>
                </a:moveTo>
                <a:lnTo>
                  <a:pt x="3025716" y="2870322"/>
                </a:lnTo>
                <a:lnTo>
                  <a:pt x="3001122" y="2868956"/>
                </a:lnTo>
                <a:close/>
                <a:moveTo>
                  <a:pt x="3447553" y="2865388"/>
                </a:moveTo>
                <a:lnTo>
                  <a:pt x="3446870" y="2868806"/>
                </a:lnTo>
                <a:cubicBezTo>
                  <a:pt x="3446072" y="2868238"/>
                  <a:pt x="3445332" y="2867381"/>
                  <a:pt x="3445247" y="2866671"/>
                </a:cubicBezTo>
                <a:close/>
                <a:moveTo>
                  <a:pt x="3496752" y="2863562"/>
                </a:moveTo>
                <a:lnTo>
                  <a:pt x="3522263" y="2863562"/>
                </a:lnTo>
                <a:lnTo>
                  <a:pt x="3513152" y="2879968"/>
                </a:lnTo>
                <a:close/>
                <a:moveTo>
                  <a:pt x="3323646" y="2863494"/>
                </a:moveTo>
                <a:cubicBezTo>
                  <a:pt x="3325469" y="2863494"/>
                  <a:pt x="3325469" y="2863494"/>
                  <a:pt x="3327291" y="2863494"/>
                </a:cubicBezTo>
                <a:lnTo>
                  <a:pt x="3325469" y="2865318"/>
                </a:lnTo>
                <a:cubicBezTo>
                  <a:pt x="3325469" y="2863494"/>
                  <a:pt x="3323646" y="2863494"/>
                  <a:pt x="3323646" y="2863494"/>
                </a:cubicBezTo>
                <a:close/>
                <a:moveTo>
                  <a:pt x="3230032" y="2856888"/>
                </a:moveTo>
                <a:cubicBezTo>
                  <a:pt x="3250304" y="2855746"/>
                  <a:pt x="3270803" y="2857114"/>
                  <a:pt x="3290847" y="2861670"/>
                </a:cubicBezTo>
                <a:lnTo>
                  <a:pt x="3285380" y="2868958"/>
                </a:lnTo>
                <a:cubicBezTo>
                  <a:pt x="3276270" y="2868958"/>
                  <a:pt x="3265336" y="2867138"/>
                  <a:pt x="3256226" y="2867138"/>
                </a:cubicBezTo>
                <a:cubicBezTo>
                  <a:pt x="3247115" y="2865314"/>
                  <a:pt x="3236182" y="2865314"/>
                  <a:pt x="3225249" y="2867138"/>
                </a:cubicBezTo>
                <a:cubicBezTo>
                  <a:pt x="3225249" y="2865314"/>
                  <a:pt x="3225249" y="2865314"/>
                  <a:pt x="3225249" y="2865314"/>
                </a:cubicBezTo>
                <a:cubicBezTo>
                  <a:pt x="3223426" y="2861670"/>
                  <a:pt x="3219782" y="2863490"/>
                  <a:pt x="3219782" y="2867138"/>
                </a:cubicBezTo>
                <a:cubicBezTo>
                  <a:pt x="3210671" y="2868958"/>
                  <a:pt x="3201560" y="2870782"/>
                  <a:pt x="3192449" y="2872602"/>
                </a:cubicBezTo>
                <a:cubicBezTo>
                  <a:pt x="3192449" y="2868958"/>
                  <a:pt x="3186983" y="2867138"/>
                  <a:pt x="3185161" y="2870782"/>
                </a:cubicBezTo>
                <a:cubicBezTo>
                  <a:pt x="3185161" y="2872602"/>
                  <a:pt x="3185161" y="2872602"/>
                  <a:pt x="3185161" y="2872602"/>
                </a:cubicBezTo>
                <a:cubicBezTo>
                  <a:pt x="3183339" y="2874424"/>
                  <a:pt x="3185161" y="2876248"/>
                  <a:pt x="3185161" y="2876248"/>
                </a:cubicBezTo>
                <a:cubicBezTo>
                  <a:pt x="3183339" y="2876248"/>
                  <a:pt x="3181517" y="2878070"/>
                  <a:pt x="3179694" y="2878070"/>
                </a:cubicBezTo>
                <a:cubicBezTo>
                  <a:pt x="3179694" y="2876248"/>
                  <a:pt x="3179694" y="2874424"/>
                  <a:pt x="3177872" y="2874424"/>
                </a:cubicBezTo>
                <a:cubicBezTo>
                  <a:pt x="3174228" y="2872602"/>
                  <a:pt x="3172406" y="2878070"/>
                  <a:pt x="3176050" y="2879891"/>
                </a:cubicBezTo>
                <a:cubicBezTo>
                  <a:pt x="3168761" y="2883535"/>
                  <a:pt x="3161473" y="2887179"/>
                  <a:pt x="3156006" y="2890823"/>
                </a:cubicBezTo>
                <a:cubicBezTo>
                  <a:pt x="3156006" y="2889003"/>
                  <a:pt x="3156006" y="2889003"/>
                  <a:pt x="3154184" y="2887179"/>
                </a:cubicBezTo>
                <a:cubicBezTo>
                  <a:pt x="3152362" y="2887179"/>
                  <a:pt x="3148717" y="2887179"/>
                  <a:pt x="3148717" y="2889003"/>
                </a:cubicBezTo>
                <a:cubicBezTo>
                  <a:pt x="3146895" y="2890823"/>
                  <a:pt x="3146895" y="2894469"/>
                  <a:pt x="3150539" y="2894469"/>
                </a:cubicBezTo>
                <a:cubicBezTo>
                  <a:pt x="3148717" y="2896291"/>
                  <a:pt x="3148717" y="2896291"/>
                  <a:pt x="3146895" y="2898113"/>
                </a:cubicBezTo>
                <a:cubicBezTo>
                  <a:pt x="3145073" y="2899935"/>
                  <a:pt x="3150539" y="2907223"/>
                  <a:pt x="3150539" y="2907223"/>
                </a:cubicBezTo>
                <a:cubicBezTo>
                  <a:pt x="3183339" y="2892647"/>
                  <a:pt x="3223426" y="2889003"/>
                  <a:pt x="3259870" y="2889003"/>
                </a:cubicBezTo>
                <a:cubicBezTo>
                  <a:pt x="3278092" y="2889003"/>
                  <a:pt x="3294491" y="2892647"/>
                  <a:pt x="3310891" y="2896291"/>
                </a:cubicBezTo>
                <a:cubicBezTo>
                  <a:pt x="3289025" y="2896291"/>
                  <a:pt x="3267159" y="2896291"/>
                  <a:pt x="3245293" y="2898113"/>
                </a:cubicBezTo>
                <a:cubicBezTo>
                  <a:pt x="3216138" y="2899935"/>
                  <a:pt x="3181517" y="2901757"/>
                  <a:pt x="3156006" y="2918157"/>
                </a:cubicBezTo>
                <a:cubicBezTo>
                  <a:pt x="3152362" y="2919981"/>
                  <a:pt x="3159650" y="2925444"/>
                  <a:pt x="3163295" y="2925444"/>
                </a:cubicBezTo>
                <a:cubicBezTo>
                  <a:pt x="3196094" y="2916333"/>
                  <a:pt x="3230715" y="2914513"/>
                  <a:pt x="3265336" y="2914513"/>
                </a:cubicBezTo>
                <a:cubicBezTo>
                  <a:pt x="3283558" y="2914513"/>
                  <a:pt x="3299958" y="2914513"/>
                  <a:pt x="3318180" y="2914513"/>
                </a:cubicBezTo>
                <a:lnTo>
                  <a:pt x="3312713" y="2919981"/>
                </a:lnTo>
                <a:cubicBezTo>
                  <a:pt x="3279914" y="2923625"/>
                  <a:pt x="3245293" y="2919981"/>
                  <a:pt x="3216138" y="2934554"/>
                </a:cubicBezTo>
                <a:cubicBezTo>
                  <a:pt x="3210671" y="2938200"/>
                  <a:pt x="3219782" y="2938200"/>
                  <a:pt x="3221604" y="2938200"/>
                </a:cubicBezTo>
                <a:cubicBezTo>
                  <a:pt x="3247115" y="2929090"/>
                  <a:pt x="3272625" y="2929090"/>
                  <a:pt x="3298136" y="2929090"/>
                </a:cubicBezTo>
                <a:cubicBezTo>
                  <a:pt x="3301780" y="2929090"/>
                  <a:pt x="3307246" y="2929090"/>
                  <a:pt x="3312713" y="2929090"/>
                </a:cubicBezTo>
                <a:cubicBezTo>
                  <a:pt x="3299958" y="2929090"/>
                  <a:pt x="3287202" y="2932734"/>
                  <a:pt x="3274447" y="2932734"/>
                </a:cubicBezTo>
                <a:cubicBezTo>
                  <a:pt x="3259870" y="2932734"/>
                  <a:pt x="3241648" y="2934554"/>
                  <a:pt x="3228893" y="2945490"/>
                </a:cubicBezTo>
                <a:cubicBezTo>
                  <a:pt x="3227071" y="2945490"/>
                  <a:pt x="3232537" y="2952778"/>
                  <a:pt x="3234360" y="2952778"/>
                </a:cubicBezTo>
                <a:lnTo>
                  <a:pt x="3236398" y="2952449"/>
                </a:lnTo>
                <a:lnTo>
                  <a:pt x="3239827" y="2947397"/>
                </a:lnTo>
                <a:lnTo>
                  <a:pt x="3239827" y="2951904"/>
                </a:lnTo>
                <a:lnTo>
                  <a:pt x="3256224" y="2949279"/>
                </a:lnTo>
                <a:lnTo>
                  <a:pt x="3256224" y="2947397"/>
                </a:lnTo>
                <a:lnTo>
                  <a:pt x="3257486" y="2949076"/>
                </a:lnTo>
                <a:lnTo>
                  <a:pt x="3279914" y="2945490"/>
                </a:lnTo>
                <a:cubicBezTo>
                  <a:pt x="3283558" y="2945490"/>
                  <a:pt x="3290847" y="2945490"/>
                  <a:pt x="3296313" y="2945490"/>
                </a:cubicBezTo>
                <a:lnTo>
                  <a:pt x="3267157" y="2953161"/>
                </a:lnTo>
                <a:lnTo>
                  <a:pt x="3267157" y="2960138"/>
                </a:lnTo>
                <a:lnTo>
                  <a:pt x="3267973" y="2961500"/>
                </a:lnTo>
                <a:lnTo>
                  <a:pt x="3314535" y="2954600"/>
                </a:lnTo>
                <a:lnTo>
                  <a:pt x="3314975" y="2956356"/>
                </a:lnTo>
                <a:lnTo>
                  <a:pt x="3327290" y="2954595"/>
                </a:lnTo>
                <a:cubicBezTo>
                  <a:pt x="3332756" y="2952773"/>
                  <a:pt x="3336401" y="2952773"/>
                  <a:pt x="3341867" y="2952773"/>
                </a:cubicBezTo>
                <a:cubicBezTo>
                  <a:pt x="3336401" y="2956420"/>
                  <a:pt x="3329112" y="2958241"/>
                  <a:pt x="3321823" y="2960063"/>
                </a:cubicBezTo>
                <a:lnTo>
                  <a:pt x="3315055" y="2956679"/>
                </a:lnTo>
                <a:lnTo>
                  <a:pt x="3316357" y="2961887"/>
                </a:lnTo>
                <a:cubicBezTo>
                  <a:pt x="3312713" y="2963712"/>
                  <a:pt x="3309069" y="2963712"/>
                  <a:pt x="3305424" y="2965531"/>
                </a:cubicBezTo>
                <a:cubicBezTo>
                  <a:pt x="3296313" y="2969175"/>
                  <a:pt x="3285380" y="2970999"/>
                  <a:pt x="3276270" y="2974643"/>
                </a:cubicBezTo>
                <a:lnTo>
                  <a:pt x="3255514" y="2974643"/>
                </a:lnTo>
                <a:lnTo>
                  <a:pt x="3258047" y="2976540"/>
                </a:lnTo>
                <a:cubicBezTo>
                  <a:pt x="3254403" y="2982010"/>
                  <a:pt x="3256225" y="2976540"/>
                  <a:pt x="3258047" y="2983829"/>
                </a:cubicBezTo>
                <a:lnTo>
                  <a:pt x="3250758" y="2983829"/>
                </a:lnTo>
                <a:lnTo>
                  <a:pt x="3250194" y="2981010"/>
                </a:lnTo>
                <a:lnTo>
                  <a:pt x="3202244" y="2991271"/>
                </a:lnTo>
                <a:cubicBezTo>
                  <a:pt x="3184705" y="2993777"/>
                  <a:pt x="3166939" y="2994689"/>
                  <a:pt x="3148717" y="2992864"/>
                </a:cubicBezTo>
                <a:lnTo>
                  <a:pt x="3101912" y="2978387"/>
                </a:lnTo>
                <a:lnTo>
                  <a:pt x="3102744" y="2981074"/>
                </a:lnTo>
                <a:lnTo>
                  <a:pt x="3102109" y="2980642"/>
                </a:lnTo>
                <a:cubicBezTo>
                  <a:pt x="3100914" y="2980418"/>
                  <a:pt x="3102793" y="2982926"/>
                  <a:pt x="3102963" y="2981782"/>
                </a:cubicBezTo>
                <a:lnTo>
                  <a:pt x="3102744" y="2981074"/>
                </a:lnTo>
                <a:lnTo>
                  <a:pt x="3106807" y="2983832"/>
                </a:lnTo>
                <a:lnTo>
                  <a:pt x="3099518" y="2983832"/>
                </a:lnTo>
                <a:cubicBezTo>
                  <a:pt x="3090407" y="2983832"/>
                  <a:pt x="3094052" y="2982010"/>
                  <a:pt x="3092229" y="2976540"/>
                </a:cubicBezTo>
                <a:lnTo>
                  <a:pt x="3095941" y="2976540"/>
                </a:lnTo>
                <a:lnTo>
                  <a:pt x="3094963" y="2976237"/>
                </a:lnTo>
                <a:cubicBezTo>
                  <a:pt x="3078108" y="2967811"/>
                  <a:pt x="3062163" y="2957332"/>
                  <a:pt x="3046675" y="2947312"/>
                </a:cubicBezTo>
                <a:cubicBezTo>
                  <a:pt x="3022986" y="2930912"/>
                  <a:pt x="2995654" y="2918157"/>
                  <a:pt x="2970143" y="2905401"/>
                </a:cubicBezTo>
                <a:cubicBezTo>
                  <a:pt x="3033919" y="2907223"/>
                  <a:pt x="3099519" y="2890823"/>
                  <a:pt x="3159650" y="2870782"/>
                </a:cubicBezTo>
                <a:cubicBezTo>
                  <a:pt x="3163295" y="2868958"/>
                  <a:pt x="3165117" y="2867138"/>
                  <a:pt x="3168761" y="2867138"/>
                </a:cubicBezTo>
                <a:cubicBezTo>
                  <a:pt x="3170583" y="2867138"/>
                  <a:pt x="3170583" y="2867138"/>
                  <a:pt x="3170583" y="2867138"/>
                </a:cubicBezTo>
                <a:cubicBezTo>
                  <a:pt x="3189716" y="2861670"/>
                  <a:pt x="3209760" y="2858026"/>
                  <a:pt x="3230032" y="2856888"/>
                </a:cubicBezTo>
                <a:close/>
                <a:moveTo>
                  <a:pt x="3453021" y="2847171"/>
                </a:moveTo>
                <a:lnTo>
                  <a:pt x="3460309" y="2869035"/>
                </a:lnTo>
                <a:cubicBezTo>
                  <a:pt x="3454843" y="2867211"/>
                  <a:pt x="3449376" y="2865388"/>
                  <a:pt x="3447554" y="2865388"/>
                </a:cubicBezTo>
                <a:lnTo>
                  <a:pt x="3447553" y="2865388"/>
                </a:lnTo>
                <a:lnTo>
                  <a:pt x="3438443" y="2854461"/>
                </a:lnTo>
                <a:close/>
                <a:moveTo>
                  <a:pt x="3400178" y="2841729"/>
                </a:moveTo>
                <a:lnTo>
                  <a:pt x="3438444" y="2856306"/>
                </a:lnTo>
                <a:lnTo>
                  <a:pt x="3431162" y="2870863"/>
                </a:lnTo>
                <a:lnTo>
                  <a:pt x="3447554" y="2879975"/>
                </a:lnTo>
                <a:lnTo>
                  <a:pt x="3432976" y="2890919"/>
                </a:lnTo>
                <a:lnTo>
                  <a:pt x="3423865" y="2885439"/>
                </a:lnTo>
                <a:lnTo>
                  <a:pt x="3431144" y="2870878"/>
                </a:lnTo>
                <a:lnTo>
                  <a:pt x="3392889" y="2870878"/>
                </a:lnTo>
                <a:cubicBezTo>
                  <a:pt x="3405644" y="2838083"/>
                  <a:pt x="3387422" y="2870878"/>
                  <a:pt x="3400178" y="2841729"/>
                </a:cubicBezTo>
                <a:close/>
                <a:moveTo>
                  <a:pt x="1095127" y="2830725"/>
                </a:moveTo>
                <a:cubicBezTo>
                  <a:pt x="1100593" y="2830725"/>
                  <a:pt x="1106060" y="2836190"/>
                  <a:pt x="1109704" y="2836190"/>
                </a:cubicBezTo>
                <a:cubicBezTo>
                  <a:pt x="1111526" y="2839834"/>
                  <a:pt x="1115171" y="2841654"/>
                  <a:pt x="1116993" y="2843476"/>
                </a:cubicBezTo>
                <a:cubicBezTo>
                  <a:pt x="1107882" y="2848944"/>
                  <a:pt x="1102415" y="2856232"/>
                  <a:pt x="1111526" y="2861698"/>
                </a:cubicBezTo>
                <a:cubicBezTo>
                  <a:pt x="1122459" y="2863520"/>
                  <a:pt x="1131571" y="2850764"/>
                  <a:pt x="1127928" y="2838010"/>
                </a:cubicBezTo>
                <a:cubicBezTo>
                  <a:pt x="1127928" y="2836190"/>
                  <a:pt x="1127928" y="2839834"/>
                  <a:pt x="1129749" y="2838010"/>
                </a:cubicBezTo>
                <a:cubicBezTo>
                  <a:pt x="1131571" y="2841654"/>
                  <a:pt x="1131571" y="2845300"/>
                  <a:pt x="1133393" y="2847122"/>
                </a:cubicBezTo>
                <a:cubicBezTo>
                  <a:pt x="1138860" y="2848944"/>
                  <a:pt x="1142504" y="2856232"/>
                  <a:pt x="1147971" y="2858054"/>
                </a:cubicBezTo>
                <a:cubicBezTo>
                  <a:pt x="1127928" y="2872629"/>
                  <a:pt x="1131571" y="2859876"/>
                  <a:pt x="1138860" y="2879917"/>
                </a:cubicBezTo>
                <a:lnTo>
                  <a:pt x="1133393" y="2889027"/>
                </a:lnTo>
                <a:cubicBezTo>
                  <a:pt x="1118815" y="2898139"/>
                  <a:pt x="1107882" y="2907246"/>
                  <a:pt x="1095127" y="2918180"/>
                </a:cubicBezTo>
                <a:lnTo>
                  <a:pt x="1071438" y="2910890"/>
                </a:lnTo>
                <a:cubicBezTo>
                  <a:pt x="1084194" y="2943687"/>
                  <a:pt x="1065972" y="2910890"/>
                  <a:pt x="1078727" y="2941865"/>
                </a:cubicBezTo>
                <a:cubicBezTo>
                  <a:pt x="1069616" y="2941865"/>
                  <a:pt x="1071438" y="2938221"/>
                  <a:pt x="1071438" y="2949155"/>
                </a:cubicBezTo>
                <a:cubicBezTo>
                  <a:pt x="1071438" y="2974660"/>
                  <a:pt x="1069616" y="2961906"/>
                  <a:pt x="1075083" y="2961906"/>
                </a:cubicBezTo>
                <a:cubicBezTo>
                  <a:pt x="1071438" y="2969194"/>
                  <a:pt x="1065972" y="2974660"/>
                  <a:pt x="1060505" y="2981948"/>
                </a:cubicBezTo>
                <a:cubicBezTo>
                  <a:pt x="1058683" y="2983770"/>
                  <a:pt x="1058683" y="2981948"/>
                  <a:pt x="1056861" y="2983770"/>
                </a:cubicBezTo>
                <a:cubicBezTo>
                  <a:pt x="1056861" y="2989236"/>
                  <a:pt x="1053217" y="2991060"/>
                  <a:pt x="1049572" y="2994704"/>
                </a:cubicBezTo>
                <a:cubicBezTo>
                  <a:pt x="1047750" y="2994704"/>
                  <a:pt x="1045929" y="2992882"/>
                  <a:pt x="1044106" y="2991060"/>
                </a:cubicBezTo>
                <a:cubicBezTo>
                  <a:pt x="1047750" y="2987416"/>
                  <a:pt x="1051394" y="2983770"/>
                  <a:pt x="1055040" y="2980126"/>
                </a:cubicBezTo>
                <a:cubicBezTo>
                  <a:pt x="1055040" y="2978306"/>
                  <a:pt x="1053217" y="2980126"/>
                  <a:pt x="1053217" y="2978306"/>
                </a:cubicBezTo>
                <a:cubicBezTo>
                  <a:pt x="1055040" y="2980126"/>
                  <a:pt x="1055040" y="2976482"/>
                  <a:pt x="1056861" y="2976482"/>
                </a:cubicBezTo>
                <a:cubicBezTo>
                  <a:pt x="1055040" y="2974660"/>
                  <a:pt x="1053217" y="2976482"/>
                  <a:pt x="1053217" y="2974660"/>
                </a:cubicBezTo>
                <a:cubicBezTo>
                  <a:pt x="1051394" y="2972840"/>
                  <a:pt x="1055040" y="2971018"/>
                  <a:pt x="1053217" y="2969194"/>
                </a:cubicBezTo>
                <a:cubicBezTo>
                  <a:pt x="1053217" y="2967372"/>
                  <a:pt x="1049572" y="2971018"/>
                  <a:pt x="1049572" y="2969194"/>
                </a:cubicBezTo>
                <a:cubicBezTo>
                  <a:pt x="1047750" y="2971018"/>
                  <a:pt x="1047750" y="2972840"/>
                  <a:pt x="1047750" y="2974660"/>
                </a:cubicBezTo>
                <a:cubicBezTo>
                  <a:pt x="1047750" y="2972840"/>
                  <a:pt x="1045929" y="2971018"/>
                  <a:pt x="1042284" y="2963731"/>
                </a:cubicBezTo>
                <a:cubicBezTo>
                  <a:pt x="1047750" y="2958263"/>
                  <a:pt x="1049572" y="2954621"/>
                  <a:pt x="1051394" y="2952797"/>
                </a:cubicBezTo>
                <a:cubicBezTo>
                  <a:pt x="1055040" y="2952797"/>
                  <a:pt x="1058683" y="2952797"/>
                  <a:pt x="1065972" y="2949155"/>
                </a:cubicBezTo>
                <a:lnTo>
                  <a:pt x="1060505" y="2936399"/>
                </a:lnTo>
                <a:lnTo>
                  <a:pt x="1065972" y="2918180"/>
                </a:lnTo>
                <a:lnTo>
                  <a:pt x="1042284" y="2898139"/>
                </a:lnTo>
                <a:lnTo>
                  <a:pt x="1034995" y="2912714"/>
                </a:lnTo>
                <a:lnTo>
                  <a:pt x="1027707" y="2892671"/>
                </a:lnTo>
                <a:lnTo>
                  <a:pt x="1040461" y="2868988"/>
                </a:lnTo>
                <a:lnTo>
                  <a:pt x="1036818" y="2867164"/>
                </a:lnTo>
                <a:cubicBezTo>
                  <a:pt x="1036818" y="2867164"/>
                  <a:pt x="1038639" y="2867164"/>
                  <a:pt x="1040461" y="2867164"/>
                </a:cubicBezTo>
                <a:cubicBezTo>
                  <a:pt x="1042284" y="2865342"/>
                  <a:pt x="1042284" y="2861698"/>
                  <a:pt x="1042284" y="2859876"/>
                </a:cubicBezTo>
                <a:cubicBezTo>
                  <a:pt x="1049572" y="2854410"/>
                  <a:pt x="1060505" y="2847122"/>
                  <a:pt x="1073262" y="2841654"/>
                </a:cubicBezTo>
                <a:cubicBezTo>
                  <a:pt x="1080549" y="2838010"/>
                  <a:pt x="1089660" y="2830725"/>
                  <a:pt x="1095127" y="2830725"/>
                </a:cubicBezTo>
                <a:close/>
                <a:moveTo>
                  <a:pt x="3547318" y="2819180"/>
                </a:moveTo>
                <a:cubicBezTo>
                  <a:pt x="3554151" y="2821221"/>
                  <a:pt x="3558707" y="2828960"/>
                  <a:pt x="3560529" y="2847193"/>
                </a:cubicBezTo>
                <a:lnTo>
                  <a:pt x="3575106" y="2847193"/>
                </a:lnTo>
                <a:cubicBezTo>
                  <a:pt x="3569640" y="2869058"/>
                  <a:pt x="3571462" y="2858126"/>
                  <a:pt x="3558707" y="2878176"/>
                </a:cubicBezTo>
                <a:lnTo>
                  <a:pt x="3527730" y="2852652"/>
                </a:lnTo>
                <a:lnTo>
                  <a:pt x="3535019" y="2839907"/>
                </a:lnTo>
                <a:lnTo>
                  <a:pt x="3520441" y="2825321"/>
                </a:lnTo>
                <a:cubicBezTo>
                  <a:pt x="3531374" y="2820769"/>
                  <a:pt x="3540485" y="2817130"/>
                  <a:pt x="3547318" y="2819180"/>
                </a:cubicBezTo>
                <a:close/>
                <a:moveTo>
                  <a:pt x="896509" y="2818020"/>
                </a:moveTo>
                <a:lnTo>
                  <a:pt x="911087" y="2818020"/>
                </a:lnTo>
                <a:lnTo>
                  <a:pt x="911087" y="2832579"/>
                </a:lnTo>
                <a:lnTo>
                  <a:pt x="896509" y="2832579"/>
                </a:lnTo>
                <a:close/>
                <a:moveTo>
                  <a:pt x="3476709" y="2818009"/>
                </a:moveTo>
                <a:cubicBezTo>
                  <a:pt x="3467598" y="2848983"/>
                  <a:pt x="3480354" y="2827113"/>
                  <a:pt x="3454843" y="2839875"/>
                </a:cubicBezTo>
                <a:close/>
                <a:moveTo>
                  <a:pt x="1120637" y="2814304"/>
                </a:moveTo>
                <a:cubicBezTo>
                  <a:pt x="1118815" y="2817948"/>
                  <a:pt x="1115170" y="2823413"/>
                  <a:pt x="1115170" y="2828880"/>
                </a:cubicBezTo>
                <a:cubicBezTo>
                  <a:pt x="1113348" y="2828880"/>
                  <a:pt x="1111526" y="2828880"/>
                  <a:pt x="1109704" y="2830701"/>
                </a:cubicBezTo>
                <a:cubicBezTo>
                  <a:pt x="1106060" y="2830701"/>
                  <a:pt x="1104237" y="2828880"/>
                  <a:pt x="1102415" y="2827057"/>
                </a:cubicBezTo>
                <a:cubicBezTo>
                  <a:pt x="1107882" y="2821592"/>
                  <a:pt x="1113348" y="2816126"/>
                  <a:pt x="1120637" y="2814304"/>
                </a:cubicBezTo>
                <a:close/>
                <a:moveTo>
                  <a:pt x="3436621" y="2808893"/>
                </a:moveTo>
                <a:lnTo>
                  <a:pt x="3445732" y="2825295"/>
                </a:lnTo>
                <a:lnTo>
                  <a:pt x="3422043" y="2823475"/>
                </a:lnTo>
                <a:close/>
                <a:moveTo>
                  <a:pt x="1060505" y="2808861"/>
                </a:moveTo>
                <a:lnTo>
                  <a:pt x="1045929" y="2823437"/>
                </a:lnTo>
                <a:lnTo>
                  <a:pt x="1071438" y="2832546"/>
                </a:lnTo>
                <a:close/>
                <a:moveTo>
                  <a:pt x="3076300" y="2802989"/>
                </a:moveTo>
                <a:lnTo>
                  <a:pt x="3046676" y="2812469"/>
                </a:lnTo>
                <a:cubicBezTo>
                  <a:pt x="3043032" y="2812469"/>
                  <a:pt x="3052143" y="2816113"/>
                  <a:pt x="3053965" y="2816113"/>
                </a:cubicBezTo>
                <a:lnTo>
                  <a:pt x="3073957" y="2811314"/>
                </a:lnTo>
                <a:lnTo>
                  <a:pt x="3070363" y="2808913"/>
                </a:lnTo>
                <a:close/>
                <a:moveTo>
                  <a:pt x="3143251" y="2792425"/>
                </a:moveTo>
                <a:cubicBezTo>
                  <a:pt x="3143251" y="2794248"/>
                  <a:pt x="3145073" y="2796069"/>
                  <a:pt x="3146895" y="2796069"/>
                </a:cubicBezTo>
                <a:cubicBezTo>
                  <a:pt x="3141429" y="2797892"/>
                  <a:pt x="3135962" y="2801535"/>
                  <a:pt x="3132318" y="2805179"/>
                </a:cubicBezTo>
                <a:cubicBezTo>
                  <a:pt x="3128673" y="2808825"/>
                  <a:pt x="3130496" y="2816113"/>
                  <a:pt x="3135962" y="2816113"/>
                </a:cubicBezTo>
                <a:cubicBezTo>
                  <a:pt x="3152362" y="2812469"/>
                  <a:pt x="3168761" y="2808825"/>
                  <a:pt x="3185161" y="2807001"/>
                </a:cubicBezTo>
                <a:cubicBezTo>
                  <a:pt x="3192449" y="2807001"/>
                  <a:pt x="3201560" y="2805179"/>
                  <a:pt x="3210671" y="2803357"/>
                </a:cubicBezTo>
                <a:cubicBezTo>
                  <a:pt x="3210671" y="2803357"/>
                  <a:pt x="3212494" y="2805179"/>
                  <a:pt x="3212494" y="2805179"/>
                </a:cubicBezTo>
                <a:cubicBezTo>
                  <a:pt x="3197916" y="2807001"/>
                  <a:pt x="3185161" y="2810647"/>
                  <a:pt x="3172406" y="2814291"/>
                </a:cubicBezTo>
                <a:cubicBezTo>
                  <a:pt x="3170583" y="2814291"/>
                  <a:pt x="3179694" y="2816113"/>
                  <a:pt x="3181517" y="2816113"/>
                </a:cubicBezTo>
                <a:cubicBezTo>
                  <a:pt x="3190627" y="2814291"/>
                  <a:pt x="3201560" y="2814291"/>
                  <a:pt x="3212494" y="2812469"/>
                </a:cubicBezTo>
                <a:cubicBezTo>
                  <a:pt x="3212494" y="2812469"/>
                  <a:pt x="3214316" y="2812469"/>
                  <a:pt x="3214316" y="2812469"/>
                </a:cubicBezTo>
                <a:cubicBezTo>
                  <a:pt x="3192449" y="2816113"/>
                  <a:pt x="3170583" y="2819759"/>
                  <a:pt x="3148717" y="2827047"/>
                </a:cubicBezTo>
                <a:cubicBezTo>
                  <a:pt x="3148717" y="2827047"/>
                  <a:pt x="3157828" y="2830691"/>
                  <a:pt x="3159650" y="2830691"/>
                </a:cubicBezTo>
                <a:cubicBezTo>
                  <a:pt x="3174228" y="2828869"/>
                  <a:pt x="3190627" y="2827047"/>
                  <a:pt x="3207027" y="2825223"/>
                </a:cubicBezTo>
                <a:cubicBezTo>
                  <a:pt x="3207027" y="2825223"/>
                  <a:pt x="3205205" y="2827047"/>
                  <a:pt x="3205205" y="2827047"/>
                </a:cubicBezTo>
                <a:cubicBezTo>
                  <a:pt x="3197916" y="2827047"/>
                  <a:pt x="3188805" y="2828869"/>
                  <a:pt x="3183339" y="2834335"/>
                </a:cubicBezTo>
                <a:cubicBezTo>
                  <a:pt x="3181517" y="2836159"/>
                  <a:pt x="3186983" y="2845268"/>
                  <a:pt x="3188805" y="2845268"/>
                </a:cubicBezTo>
                <a:cubicBezTo>
                  <a:pt x="3192449" y="2847090"/>
                  <a:pt x="3196094" y="2847090"/>
                  <a:pt x="3201560" y="2847090"/>
                </a:cubicBezTo>
                <a:cubicBezTo>
                  <a:pt x="3194272" y="2848912"/>
                  <a:pt x="3186983" y="2848912"/>
                  <a:pt x="3179694" y="2850734"/>
                </a:cubicBezTo>
                <a:cubicBezTo>
                  <a:pt x="3170583" y="2852556"/>
                  <a:pt x="3163295" y="2854380"/>
                  <a:pt x="3156006" y="2856200"/>
                </a:cubicBezTo>
                <a:cubicBezTo>
                  <a:pt x="3128673" y="2843447"/>
                  <a:pt x="3095874" y="2837980"/>
                  <a:pt x="3064896" y="2834335"/>
                </a:cubicBezTo>
                <a:lnTo>
                  <a:pt x="3098644" y="2816283"/>
                </a:lnTo>
                <a:lnTo>
                  <a:pt x="3097696" y="2814385"/>
                </a:lnTo>
                <a:lnTo>
                  <a:pt x="3101341" y="2810743"/>
                </a:lnTo>
                <a:lnTo>
                  <a:pt x="3103352" y="2813767"/>
                </a:lnTo>
                <a:close/>
                <a:moveTo>
                  <a:pt x="1056861" y="2779708"/>
                </a:moveTo>
                <a:cubicBezTo>
                  <a:pt x="1064151" y="2792462"/>
                  <a:pt x="1075083" y="2799751"/>
                  <a:pt x="1086016" y="2801571"/>
                </a:cubicBezTo>
                <a:cubicBezTo>
                  <a:pt x="1086016" y="2801571"/>
                  <a:pt x="1086016" y="2803395"/>
                  <a:pt x="1087838" y="2803395"/>
                </a:cubicBezTo>
                <a:cubicBezTo>
                  <a:pt x="1091482" y="2801571"/>
                  <a:pt x="1093304" y="2799751"/>
                  <a:pt x="1095126" y="2797928"/>
                </a:cubicBezTo>
                <a:cubicBezTo>
                  <a:pt x="1095126" y="2803395"/>
                  <a:pt x="1098771" y="2808861"/>
                  <a:pt x="1100593" y="2812505"/>
                </a:cubicBezTo>
                <a:cubicBezTo>
                  <a:pt x="1107883" y="2816149"/>
                  <a:pt x="1111527" y="2807039"/>
                  <a:pt x="1107883" y="2801571"/>
                </a:cubicBezTo>
                <a:cubicBezTo>
                  <a:pt x="1109706" y="2799751"/>
                  <a:pt x="1109706" y="2797928"/>
                  <a:pt x="1109706" y="2794286"/>
                </a:cubicBezTo>
                <a:cubicBezTo>
                  <a:pt x="1113349" y="2796106"/>
                  <a:pt x="1115171" y="2799751"/>
                  <a:pt x="1118817" y="2801571"/>
                </a:cubicBezTo>
                <a:cubicBezTo>
                  <a:pt x="1116994" y="2803395"/>
                  <a:pt x="1116994" y="2808861"/>
                  <a:pt x="1115171" y="2812505"/>
                </a:cubicBezTo>
                <a:cubicBezTo>
                  <a:pt x="1111527" y="2819791"/>
                  <a:pt x="1086016" y="2834369"/>
                  <a:pt x="1073260" y="2839834"/>
                </a:cubicBezTo>
                <a:cubicBezTo>
                  <a:pt x="1071438" y="2838013"/>
                  <a:pt x="1073260" y="2838013"/>
                  <a:pt x="1073260" y="2836190"/>
                </a:cubicBezTo>
                <a:cubicBezTo>
                  <a:pt x="1071438" y="2832546"/>
                  <a:pt x="1065972" y="2836190"/>
                  <a:pt x="1067794" y="2839834"/>
                </a:cubicBezTo>
                <a:cubicBezTo>
                  <a:pt x="1055040" y="2847122"/>
                  <a:pt x="1042283" y="2858054"/>
                  <a:pt x="1029528" y="2867166"/>
                </a:cubicBezTo>
                <a:lnTo>
                  <a:pt x="1022240" y="2863520"/>
                </a:lnTo>
                <a:lnTo>
                  <a:pt x="1018596" y="2812505"/>
                </a:lnTo>
                <a:lnTo>
                  <a:pt x="1036818" y="2807039"/>
                </a:lnTo>
                <a:cubicBezTo>
                  <a:pt x="1038639" y="2810681"/>
                  <a:pt x="1042283" y="2812505"/>
                  <a:pt x="1045929" y="2812505"/>
                </a:cubicBezTo>
                <a:cubicBezTo>
                  <a:pt x="1045929" y="2810681"/>
                  <a:pt x="1044106" y="2807039"/>
                  <a:pt x="1044106" y="2805215"/>
                </a:cubicBezTo>
                <a:lnTo>
                  <a:pt x="1047750" y="2805215"/>
                </a:lnTo>
                <a:cubicBezTo>
                  <a:pt x="1045929" y="2803395"/>
                  <a:pt x="1045929" y="2803395"/>
                  <a:pt x="1045929" y="2803395"/>
                </a:cubicBezTo>
                <a:cubicBezTo>
                  <a:pt x="1049572" y="2803395"/>
                  <a:pt x="1053216" y="2805215"/>
                  <a:pt x="1056861" y="2803395"/>
                </a:cubicBezTo>
                <a:cubicBezTo>
                  <a:pt x="1058683" y="2803395"/>
                  <a:pt x="1058683" y="2801571"/>
                  <a:pt x="1058683" y="2801571"/>
                </a:cubicBezTo>
                <a:cubicBezTo>
                  <a:pt x="1056861" y="2794286"/>
                  <a:pt x="1049572" y="2794286"/>
                  <a:pt x="1047750" y="2786996"/>
                </a:cubicBezTo>
                <a:cubicBezTo>
                  <a:pt x="1053216" y="2788818"/>
                  <a:pt x="1056861" y="2794286"/>
                  <a:pt x="1064151" y="2794286"/>
                </a:cubicBezTo>
                <a:cubicBezTo>
                  <a:pt x="1064151" y="2786996"/>
                  <a:pt x="1055040" y="2783352"/>
                  <a:pt x="1056861" y="2779708"/>
                </a:cubicBezTo>
                <a:close/>
                <a:moveTo>
                  <a:pt x="1095127" y="2774234"/>
                </a:moveTo>
                <a:cubicBezTo>
                  <a:pt x="1093304" y="2779699"/>
                  <a:pt x="1102415" y="2785165"/>
                  <a:pt x="1096949" y="2785165"/>
                </a:cubicBezTo>
                <a:cubicBezTo>
                  <a:pt x="1096949" y="2781521"/>
                  <a:pt x="1093304" y="2779699"/>
                  <a:pt x="1091482" y="2776055"/>
                </a:cubicBezTo>
                <a:cubicBezTo>
                  <a:pt x="1091482" y="2776055"/>
                  <a:pt x="1093304" y="2774234"/>
                  <a:pt x="1095127" y="2774234"/>
                </a:cubicBezTo>
                <a:close/>
                <a:moveTo>
                  <a:pt x="1104237" y="2774232"/>
                </a:moveTo>
                <a:cubicBezTo>
                  <a:pt x="1107882" y="2774232"/>
                  <a:pt x="1109704" y="2776055"/>
                  <a:pt x="1111526" y="2776055"/>
                </a:cubicBezTo>
                <a:cubicBezTo>
                  <a:pt x="1111526" y="2779699"/>
                  <a:pt x="1107882" y="2777876"/>
                  <a:pt x="1104237" y="2779699"/>
                </a:cubicBezTo>
                <a:cubicBezTo>
                  <a:pt x="1104237" y="2777876"/>
                  <a:pt x="1106059" y="2777876"/>
                  <a:pt x="1106059" y="2777876"/>
                </a:cubicBezTo>
                <a:cubicBezTo>
                  <a:pt x="1106059" y="2776055"/>
                  <a:pt x="1104237" y="2774232"/>
                  <a:pt x="1104237" y="2774232"/>
                </a:cubicBezTo>
                <a:close/>
                <a:moveTo>
                  <a:pt x="3042857" y="2772855"/>
                </a:moveTo>
                <a:lnTo>
                  <a:pt x="3025494" y="2778530"/>
                </a:lnTo>
                <a:cubicBezTo>
                  <a:pt x="3010688" y="2784681"/>
                  <a:pt x="2996566" y="2791513"/>
                  <a:pt x="2982900" y="2797892"/>
                </a:cubicBezTo>
                <a:cubicBezTo>
                  <a:pt x="2979256" y="2801535"/>
                  <a:pt x="2988367" y="2803357"/>
                  <a:pt x="2990189" y="2803357"/>
                </a:cubicBezTo>
                <a:lnTo>
                  <a:pt x="3048532" y="2784933"/>
                </a:lnTo>
                <a:lnTo>
                  <a:pt x="3041208" y="2776156"/>
                </a:lnTo>
                <a:close/>
                <a:moveTo>
                  <a:pt x="1051395" y="2770577"/>
                </a:moveTo>
                <a:cubicBezTo>
                  <a:pt x="1051395" y="2772399"/>
                  <a:pt x="1047750" y="2772399"/>
                  <a:pt x="1047750" y="2774221"/>
                </a:cubicBezTo>
                <a:cubicBezTo>
                  <a:pt x="1044106" y="2770577"/>
                  <a:pt x="1049572" y="2770577"/>
                  <a:pt x="1051395" y="2770577"/>
                </a:cubicBezTo>
                <a:close/>
                <a:moveTo>
                  <a:pt x="3356446" y="2766923"/>
                </a:moveTo>
                <a:cubicBezTo>
                  <a:pt x="3356446" y="2768745"/>
                  <a:pt x="3354624" y="2770569"/>
                  <a:pt x="3354624" y="2772390"/>
                </a:cubicBezTo>
                <a:lnTo>
                  <a:pt x="3371023" y="2772390"/>
                </a:lnTo>
                <a:lnTo>
                  <a:pt x="3363734" y="2785146"/>
                </a:lnTo>
                <a:lnTo>
                  <a:pt x="3378312" y="2799722"/>
                </a:lnTo>
                <a:lnTo>
                  <a:pt x="3407467" y="2808834"/>
                </a:lnTo>
                <a:cubicBezTo>
                  <a:pt x="3405644" y="2810656"/>
                  <a:pt x="3405644" y="2812478"/>
                  <a:pt x="3403822" y="2814300"/>
                </a:cubicBezTo>
                <a:cubicBezTo>
                  <a:pt x="3380134" y="2805190"/>
                  <a:pt x="3356446" y="2794256"/>
                  <a:pt x="3332756" y="2785146"/>
                </a:cubicBezTo>
                <a:cubicBezTo>
                  <a:pt x="3341867" y="2779678"/>
                  <a:pt x="3349157" y="2772390"/>
                  <a:pt x="3356446" y="2766923"/>
                </a:cubicBezTo>
                <a:close/>
                <a:moveTo>
                  <a:pt x="1089660" y="2765122"/>
                </a:moveTo>
                <a:cubicBezTo>
                  <a:pt x="1091482" y="2766945"/>
                  <a:pt x="1093305" y="2766945"/>
                  <a:pt x="1095127" y="2766945"/>
                </a:cubicBezTo>
                <a:cubicBezTo>
                  <a:pt x="1095127" y="2768766"/>
                  <a:pt x="1095127" y="2768766"/>
                  <a:pt x="1095127" y="2770590"/>
                </a:cubicBezTo>
                <a:cubicBezTo>
                  <a:pt x="1091482" y="2772410"/>
                  <a:pt x="1089660" y="2770590"/>
                  <a:pt x="1087838" y="2770590"/>
                </a:cubicBezTo>
                <a:cubicBezTo>
                  <a:pt x="1086016" y="2768766"/>
                  <a:pt x="1087838" y="2768766"/>
                  <a:pt x="1089660" y="2765122"/>
                </a:cubicBezTo>
                <a:close/>
                <a:moveTo>
                  <a:pt x="3573284" y="2763390"/>
                </a:moveTo>
                <a:lnTo>
                  <a:pt x="3580572" y="2777950"/>
                </a:lnTo>
                <a:lnTo>
                  <a:pt x="3573284" y="2787056"/>
                </a:lnTo>
                <a:lnTo>
                  <a:pt x="3558706" y="2777950"/>
                </a:lnTo>
                <a:close/>
                <a:moveTo>
                  <a:pt x="1105149" y="2759198"/>
                </a:moveTo>
                <a:cubicBezTo>
                  <a:pt x="1106971" y="2760108"/>
                  <a:pt x="1108794" y="2761476"/>
                  <a:pt x="1111526" y="2761476"/>
                </a:cubicBezTo>
                <a:cubicBezTo>
                  <a:pt x="1109704" y="2765120"/>
                  <a:pt x="1111526" y="2770586"/>
                  <a:pt x="1106060" y="2772410"/>
                </a:cubicBezTo>
                <a:cubicBezTo>
                  <a:pt x="1106060" y="2768764"/>
                  <a:pt x="1102416" y="2766944"/>
                  <a:pt x="1104238" y="2763298"/>
                </a:cubicBezTo>
                <a:cubicBezTo>
                  <a:pt x="1102416" y="2761476"/>
                  <a:pt x="1098771" y="2763298"/>
                  <a:pt x="1098771" y="2759654"/>
                </a:cubicBezTo>
                <a:cubicBezTo>
                  <a:pt x="1101505" y="2757832"/>
                  <a:pt x="1103327" y="2758288"/>
                  <a:pt x="1105149" y="2759198"/>
                </a:cubicBezTo>
                <a:close/>
                <a:moveTo>
                  <a:pt x="3513152" y="2757898"/>
                </a:moveTo>
                <a:lnTo>
                  <a:pt x="3536841" y="2757898"/>
                </a:lnTo>
                <a:lnTo>
                  <a:pt x="3527730" y="2774294"/>
                </a:lnTo>
                <a:close/>
                <a:moveTo>
                  <a:pt x="1051394" y="2757823"/>
                </a:moveTo>
                <a:cubicBezTo>
                  <a:pt x="1053217" y="2757823"/>
                  <a:pt x="1055040" y="2759643"/>
                  <a:pt x="1056861" y="2757823"/>
                </a:cubicBezTo>
                <a:cubicBezTo>
                  <a:pt x="1056861" y="2759643"/>
                  <a:pt x="1051394" y="2761467"/>
                  <a:pt x="1049572" y="2759643"/>
                </a:cubicBezTo>
                <a:cubicBezTo>
                  <a:pt x="1049572" y="2757823"/>
                  <a:pt x="1051394" y="2759643"/>
                  <a:pt x="1051394" y="2757823"/>
                </a:cubicBezTo>
                <a:close/>
                <a:moveTo>
                  <a:pt x="4214688" y="2756080"/>
                </a:moveTo>
                <a:lnTo>
                  <a:pt x="4214688" y="2779761"/>
                </a:lnTo>
                <a:lnTo>
                  <a:pt x="4198288" y="2770656"/>
                </a:lnTo>
                <a:close/>
                <a:moveTo>
                  <a:pt x="3453020" y="2756068"/>
                </a:moveTo>
                <a:lnTo>
                  <a:pt x="3478531" y="2757887"/>
                </a:lnTo>
                <a:lnTo>
                  <a:pt x="3462131" y="2772467"/>
                </a:lnTo>
                <a:close/>
                <a:moveTo>
                  <a:pt x="1110615" y="2755555"/>
                </a:moveTo>
                <a:cubicBezTo>
                  <a:pt x="1112437" y="2755555"/>
                  <a:pt x="1114259" y="2756010"/>
                  <a:pt x="1115170" y="2756010"/>
                </a:cubicBezTo>
                <a:cubicBezTo>
                  <a:pt x="1113348" y="2761476"/>
                  <a:pt x="1109704" y="2757832"/>
                  <a:pt x="1106059" y="2757832"/>
                </a:cubicBezTo>
                <a:cubicBezTo>
                  <a:pt x="1106970" y="2756010"/>
                  <a:pt x="1108793" y="2755555"/>
                  <a:pt x="1110615" y="2755555"/>
                </a:cubicBezTo>
                <a:close/>
                <a:moveTo>
                  <a:pt x="3409287" y="2748817"/>
                </a:moveTo>
                <a:cubicBezTo>
                  <a:pt x="3418398" y="2768864"/>
                  <a:pt x="3418398" y="2752456"/>
                  <a:pt x="3412932" y="2770682"/>
                </a:cubicBezTo>
                <a:lnTo>
                  <a:pt x="3418398" y="2788888"/>
                </a:lnTo>
                <a:lnTo>
                  <a:pt x="3438442" y="2781622"/>
                </a:lnTo>
                <a:lnTo>
                  <a:pt x="3447553" y="2787075"/>
                </a:lnTo>
                <a:cubicBezTo>
                  <a:pt x="3425687" y="2816222"/>
                  <a:pt x="3447553" y="2788888"/>
                  <a:pt x="3416576" y="2801642"/>
                </a:cubicBezTo>
                <a:cubicBezTo>
                  <a:pt x="3400177" y="2792541"/>
                  <a:pt x="3392888" y="2788888"/>
                  <a:pt x="3378310" y="2777974"/>
                </a:cubicBezTo>
                <a:cubicBezTo>
                  <a:pt x="3387421" y="2759754"/>
                  <a:pt x="3385599" y="2776156"/>
                  <a:pt x="3378310" y="2756114"/>
                </a:cubicBezTo>
                <a:close/>
                <a:moveTo>
                  <a:pt x="3059430" y="2746997"/>
                </a:moveTo>
                <a:lnTo>
                  <a:pt x="3066719" y="2746997"/>
                </a:lnTo>
                <a:cubicBezTo>
                  <a:pt x="3063075" y="2757927"/>
                  <a:pt x="3070363" y="2745178"/>
                  <a:pt x="3064897" y="2756114"/>
                </a:cubicBezTo>
                <a:lnTo>
                  <a:pt x="3074008" y="2757927"/>
                </a:lnTo>
                <a:lnTo>
                  <a:pt x="3079474" y="2756114"/>
                </a:lnTo>
                <a:cubicBezTo>
                  <a:pt x="3083119" y="2763410"/>
                  <a:pt x="3084941" y="2767049"/>
                  <a:pt x="3088585" y="2774330"/>
                </a:cubicBezTo>
                <a:lnTo>
                  <a:pt x="3083119" y="2774330"/>
                </a:lnTo>
                <a:lnTo>
                  <a:pt x="3083119" y="2768864"/>
                </a:lnTo>
                <a:lnTo>
                  <a:pt x="3077652" y="2770682"/>
                </a:lnTo>
                <a:lnTo>
                  <a:pt x="3072186" y="2761578"/>
                </a:lnTo>
                <a:cubicBezTo>
                  <a:pt x="3059430" y="2765231"/>
                  <a:pt x="3063075" y="2763410"/>
                  <a:pt x="3059430" y="2746997"/>
                </a:cubicBezTo>
                <a:close/>
                <a:moveTo>
                  <a:pt x="1038639" y="2745066"/>
                </a:moveTo>
                <a:cubicBezTo>
                  <a:pt x="1038639" y="2745066"/>
                  <a:pt x="1040461" y="2745066"/>
                  <a:pt x="1042284" y="2745066"/>
                </a:cubicBezTo>
                <a:cubicBezTo>
                  <a:pt x="1042284" y="2746888"/>
                  <a:pt x="1040461" y="2748711"/>
                  <a:pt x="1040461" y="2748711"/>
                </a:cubicBezTo>
                <a:cubicBezTo>
                  <a:pt x="1038639" y="2746888"/>
                  <a:pt x="1038639" y="2746888"/>
                  <a:pt x="1038639" y="2745066"/>
                </a:cubicBezTo>
                <a:close/>
                <a:moveTo>
                  <a:pt x="3438442" y="2741477"/>
                </a:moveTo>
                <a:lnTo>
                  <a:pt x="3453020" y="2741477"/>
                </a:lnTo>
                <a:lnTo>
                  <a:pt x="3453020" y="2756059"/>
                </a:lnTo>
                <a:close/>
                <a:moveTo>
                  <a:pt x="2997478" y="2741402"/>
                </a:moveTo>
                <a:cubicBezTo>
                  <a:pt x="2973789" y="2746870"/>
                  <a:pt x="2951923" y="2759624"/>
                  <a:pt x="2930057" y="2770558"/>
                </a:cubicBezTo>
                <a:cubicBezTo>
                  <a:pt x="2926413" y="2772380"/>
                  <a:pt x="2935524" y="2774202"/>
                  <a:pt x="2935524" y="2776024"/>
                </a:cubicBezTo>
                <a:cubicBezTo>
                  <a:pt x="2948279" y="2770558"/>
                  <a:pt x="2962856" y="2765092"/>
                  <a:pt x="2975611" y="2759624"/>
                </a:cubicBezTo>
                <a:cubicBezTo>
                  <a:pt x="2984722" y="2754157"/>
                  <a:pt x="2993833" y="2752336"/>
                  <a:pt x="3002944" y="2750514"/>
                </a:cubicBezTo>
                <a:cubicBezTo>
                  <a:pt x="2992011" y="2752336"/>
                  <a:pt x="2981078" y="2761446"/>
                  <a:pt x="2970145" y="2765092"/>
                </a:cubicBezTo>
                <a:cubicBezTo>
                  <a:pt x="2964678" y="2766914"/>
                  <a:pt x="2970145" y="2774202"/>
                  <a:pt x="2973789" y="2774202"/>
                </a:cubicBezTo>
                <a:cubicBezTo>
                  <a:pt x="2986544" y="2770558"/>
                  <a:pt x="2999300" y="2765092"/>
                  <a:pt x="3012055" y="2763268"/>
                </a:cubicBezTo>
                <a:cubicBezTo>
                  <a:pt x="3013877" y="2763268"/>
                  <a:pt x="3017522" y="2763268"/>
                  <a:pt x="3019344" y="2763268"/>
                </a:cubicBezTo>
                <a:cubicBezTo>
                  <a:pt x="3004766" y="2768736"/>
                  <a:pt x="2990189" y="2776024"/>
                  <a:pt x="2977433" y="2785136"/>
                </a:cubicBezTo>
                <a:cubicBezTo>
                  <a:pt x="2971967" y="2788780"/>
                  <a:pt x="2979256" y="2792424"/>
                  <a:pt x="2982900" y="2790602"/>
                </a:cubicBezTo>
                <a:cubicBezTo>
                  <a:pt x="3010233" y="2779669"/>
                  <a:pt x="3039388" y="2765092"/>
                  <a:pt x="3068542" y="2763268"/>
                </a:cubicBezTo>
                <a:cubicBezTo>
                  <a:pt x="3068542" y="2763268"/>
                  <a:pt x="3070364" y="2763268"/>
                  <a:pt x="3070364" y="2763268"/>
                </a:cubicBezTo>
                <a:cubicBezTo>
                  <a:pt x="3072187" y="2763268"/>
                  <a:pt x="3072187" y="2763268"/>
                  <a:pt x="3072187" y="2763268"/>
                </a:cubicBezTo>
                <a:lnTo>
                  <a:pt x="3043251" y="2772727"/>
                </a:lnTo>
                <a:lnTo>
                  <a:pt x="3053804" y="2783267"/>
                </a:lnTo>
                <a:lnTo>
                  <a:pt x="3059431" y="2781490"/>
                </a:lnTo>
                <a:cubicBezTo>
                  <a:pt x="3077653" y="2774202"/>
                  <a:pt x="3095875" y="2774202"/>
                  <a:pt x="3115919" y="2772380"/>
                </a:cubicBezTo>
                <a:cubicBezTo>
                  <a:pt x="3123207" y="2772380"/>
                  <a:pt x="3130496" y="2774202"/>
                  <a:pt x="3137785" y="2774202"/>
                </a:cubicBezTo>
                <a:cubicBezTo>
                  <a:pt x="3137785" y="2776024"/>
                  <a:pt x="3135963" y="2776024"/>
                  <a:pt x="3135963" y="2776024"/>
                </a:cubicBezTo>
                <a:cubicBezTo>
                  <a:pt x="3112275" y="2778758"/>
                  <a:pt x="3088131" y="2783314"/>
                  <a:pt x="3064442" y="2789236"/>
                </a:cubicBezTo>
                <a:lnTo>
                  <a:pt x="3060109" y="2790584"/>
                </a:lnTo>
                <a:lnTo>
                  <a:pt x="3063075" y="2798004"/>
                </a:lnTo>
                <a:cubicBezTo>
                  <a:pt x="3055786" y="2798004"/>
                  <a:pt x="3051231" y="2798004"/>
                  <a:pt x="3049181" y="2796638"/>
                </a:cubicBezTo>
                <a:lnTo>
                  <a:pt x="3049509" y="2793883"/>
                </a:lnTo>
                <a:lnTo>
                  <a:pt x="2995655" y="2810647"/>
                </a:lnTo>
                <a:cubicBezTo>
                  <a:pt x="2988367" y="2812469"/>
                  <a:pt x="2997478" y="2812469"/>
                  <a:pt x="3001122" y="2812469"/>
                </a:cubicBezTo>
                <a:lnTo>
                  <a:pt x="3063075" y="2798171"/>
                </a:lnTo>
                <a:lnTo>
                  <a:pt x="3063075" y="2798008"/>
                </a:lnTo>
                <a:lnTo>
                  <a:pt x="3063208" y="2798141"/>
                </a:lnTo>
                <a:lnTo>
                  <a:pt x="3119563" y="2785136"/>
                </a:lnTo>
                <a:cubicBezTo>
                  <a:pt x="3110452" y="2790602"/>
                  <a:pt x="3101341" y="2794248"/>
                  <a:pt x="3092230" y="2797892"/>
                </a:cubicBezTo>
                <a:lnTo>
                  <a:pt x="3081296" y="2801390"/>
                </a:lnTo>
                <a:lnTo>
                  <a:pt x="3081296" y="2809554"/>
                </a:lnTo>
                <a:lnTo>
                  <a:pt x="3099519" y="2805179"/>
                </a:lnTo>
                <a:lnTo>
                  <a:pt x="3081296" y="2813279"/>
                </a:lnTo>
                <a:lnTo>
                  <a:pt x="3081296" y="2816222"/>
                </a:lnTo>
                <a:lnTo>
                  <a:pt x="3078652" y="2814453"/>
                </a:lnTo>
                <a:lnTo>
                  <a:pt x="3033921" y="2834335"/>
                </a:lnTo>
                <a:cubicBezTo>
                  <a:pt x="3026632" y="2836156"/>
                  <a:pt x="3028454" y="2847090"/>
                  <a:pt x="3035743" y="2847090"/>
                </a:cubicBezTo>
                <a:cubicBezTo>
                  <a:pt x="3043032" y="2847090"/>
                  <a:pt x="3050320" y="2848912"/>
                  <a:pt x="3057609" y="2848912"/>
                </a:cubicBezTo>
                <a:cubicBezTo>
                  <a:pt x="3037565" y="2848912"/>
                  <a:pt x="3019344" y="2848912"/>
                  <a:pt x="2999300" y="2850734"/>
                </a:cubicBezTo>
                <a:cubicBezTo>
                  <a:pt x="2995655" y="2850734"/>
                  <a:pt x="2993833" y="2854378"/>
                  <a:pt x="2999300" y="2854378"/>
                </a:cubicBezTo>
                <a:cubicBezTo>
                  <a:pt x="3019344" y="2854378"/>
                  <a:pt x="3041210" y="2854378"/>
                  <a:pt x="3061254" y="2854378"/>
                </a:cubicBezTo>
                <a:cubicBezTo>
                  <a:pt x="3051232" y="2855290"/>
                  <a:pt x="3041210" y="2855290"/>
                  <a:pt x="3031188" y="2855746"/>
                </a:cubicBezTo>
                <a:lnTo>
                  <a:pt x="3010109" y="2858619"/>
                </a:lnTo>
                <a:lnTo>
                  <a:pt x="3010004" y="2860630"/>
                </a:lnTo>
                <a:cubicBezTo>
                  <a:pt x="3010231" y="2860856"/>
                  <a:pt x="3010231" y="2860856"/>
                  <a:pt x="3008409" y="2863586"/>
                </a:cubicBezTo>
                <a:cubicBezTo>
                  <a:pt x="3002943" y="2865410"/>
                  <a:pt x="3008409" y="2861760"/>
                  <a:pt x="3001120" y="2865410"/>
                </a:cubicBezTo>
                <a:lnTo>
                  <a:pt x="3000031" y="2861057"/>
                </a:lnTo>
                <a:lnTo>
                  <a:pt x="2997021" y="2864400"/>
                </a:lnTo>
                <a:lnTo>
                  <a:pt x="3000041" y="2867754"/>
                </a:lnTo>
                <a:lnTo>
                  <a:pt x="2952834" y="2863034"/>
                </a:lnTo>
                <a:cubicBezTo>
                  <a:pt x="2914568" y="2853924"/>
                  <a:pt x="2878124" y="2838891"/>
                  <a:pt x="2849880" y="2816113"/>
                </a:cubicBezTo>
                <a:cubicBezTo>
                  <a:pt x="2888146" y="2788780"/>
                  <a:pt x="2928235" y="2761446"/>
                  <a:pt x="2973789" y="2746870"/>
                </a:cubicBezTo>
                <a:cubicBezTo>
                  <a:pt x="2979256" y="2745047"/>
                  <a:pt x="2990189" y="2743226"/>
                  <a:pt x="2997478" y="2741402"/>
                </a:cubicBezTo>
                <a:close/>
                <a:moveTo>
                  <a:pt x="194974" y="2737878"/>
                </a:moveTo>
                <a:lnTo>
                  <a:pt x="216840" y="2743341"/>
                </a:lnTo>
                <a:lnTo>
                  <a:pt x="233240" y="2757927"/>
                </a:lnTo>
                <a:lnTo>
                  <a:pt x="225951" y="2770682"/>
                </a:lnTo>
                <a:lnTo>
                  <a:pt x="231417" y="2788888"/>
                </a:lnTo>
                <a:lnTo>
                  <a:pt x="193152" y="2832600"/>
                </a:lnTo>
                <a:lnTo>
                  <a:pt x="156707" y="2821677"/>
                </a:lnTo>
                <a:lnTo>
                  <a:pt x="140308" y="2825321"/>
                </a:lnTo>
                <a:cubicBezTo>
                  <a:pt x="134841" y="2849017"/>
                  <a:pt x="129375" y="2849017"/>
                  <a:pt x="111153" y="2861760"/>
                </a:cubicBezTo>
                <a:lnTo>
                  <a:pt x="103864" y="2847199"/>
                </a:lnTo>
                <a:cubicBezTo>
                  <a:pt x="138486" y="2834464"/>
                  <a:pt x="107509" y="2827136"/>
                  <a:pt x="151241" y="2816222"/>
                </a:cubicBezTo>
                <a:lnTo>
                  <a:pt x="142130" y="2777974"/>
                </a:lnTo>
                <a:lnTo>
                  <a:pt x="142130" y="2763410"/>
                </a:lnTo>
                <a:cubicBezTo>
                  <a:pt x="142130" y="2736065"/>
                  <a:pt x="143952" y="2761578"/>
                  <a:pt x="134841" y="2741524"/>
                </a:cubicBezTo>
                <a:lnTo>
                  <a:pt x="173107" y="2741524"/>
                </a:lnTo>
                <a:cubicBezTo>
                  <a:pt x="184041" y="2741524"/>
                  <a:pt x="187685" y="2741524"/>
                  <a:pt x="187685" y="2741524"/>
                </a:cubicBezTo>
                <a:cubicBezTo>
                  <a:pt x="187685" y="2741524"/>
                  <a:pt x="185863" y="2741524"/>
                  <a:pt x="194974" y="2737878"/>
                </a:cubicBezTo>
                <a:close/>
                <a:moveTo>
                  <a:pt x="3354167" y="2732523"/>
                </a:moveTo>
                <a:cubicBezTo>
                  <a:pt x="3352345" y="2731841"/>
                  <a:pt x="3350067" y="2732295"/>
                  <a:pt x="3349156" y="2734117"/>
                </a:cubicBezTo>
                <a:cubicBezTo>
                  <a:pt x="3349156" y="2735940"/>
                  <a:pt x="3349156" y="2735940"/>
                  <a:pt x="3349156" y="2735940"/>
                </a:cubicBezTo>
                <a:cubicBezTo>
                  <a:pt x="3349156" y="2741407"/>
                  <a:pt x="3354622" y="2743229"/>
                  <a:pt x="3356444" y="2737763"/>
                </a:cubicBezTo>
                <a:cubicBezTo>
                  <a:pt x="3357355" y="2735029"/>
                  <a:pt x="3355989" y="2733207"/>
                  <a:pt x="3354167" y="2732523"/>
                </a:cubicBezTo>
                <a:close/>
                <a:moveTo>
                  <a:pt x="3104986" y="2732292"/>
                </a:moveTo>
                <a:cubicBezTo>
                  <a:pt x="3101341" y="2732292"/>
                  <a:pt x="3099519" y="2732292"/>
                  <a:pt x="3099519" y="2734115"/>
                </a:cubicBezTo>
                <a:cubicBezTo>
                  <a:pt x="3097697" y="2737761"/>
                  <a:pt x="3103164" y="2739582"/>
                  <a:pt x="3104986" y="2737761"/>
                </a:cubicBezTo>
                <a:cubicBezTo>
                  <a:pt x="3106808" y="2737761"/>
                  <a:pt x="3108630" y="2734115"/>
                  <a:pt x="3104986" y="2732292"/>
                </a:cubicBezTo>
                <a:close/>
                <a:moveTo>
                  <a:pt x="1246185" y="2731767"/>
                </a:moveTo>
                <a:lnTo>
                  <a:pt x="1246139" y="2732088"/>
                </a:lnTo>
                <a:cubicBezTo>
                  <a:pt x="1245456" y="2732314"/>
                  <a:pt x="1244545" y="2732314"/>
                  <a:pt x="1244545" y="2732314"/>
                </a:cubicBezTo>
                <a:close/>
                <a:moveTo>
                  <a:pt x="3017522" y="2728802"/>
                </a:moveTo>
                <a:lnTo>
                  <a:pt x="3022988" y="2734253"/>
                </a:lnTo>
                <a:lnTo>
                  <a:pt x="3015699" y="2734253"/>
                </a:lnTo>
                <a:close/>
                <a:moveTo>
                  <a:pt x="3657104" y="2728782"/>
                </a:moveTo>
                <a:lnTo>
                  <a:pt x="3666214" y="2736052"/>
                </a:lnTo>
                <a:lnTo>
                  <a:pt x="3644348" y="2757919"/>
                </a:lnTo>
                <a:lnTo>
                  <a:pt x="3633415" y="2746979"/>
                </a:lnTo>
                <a:close/>
                <a:moveTo>
                  <a:pt x="1253656" y="2728670"/>
                </a:moveTo>
                <a:cubicBezTo>
                  <a:pt x="1253656" y="2730491"/>
                  <a:pt x="1251834" y="2730491"/>
                  <a:pt x="1250012" y="2732314"/>
                </a:cubicBezTo>
                <a:cubicBezTo>
                  <a:pt x="1250012" y="2732314"/>
                  <a:pt x="1250012" y="2730491"/>
                  <a:pt x="1250012" y="2730491"/>
                </a:cubicBezTo>
                <a:lnTo>
                  <a:pt x="1246185" y="2731767"/>
                </a:lnTo>
                <a:lnTo>
                  <a:pt x="1246367" y="2730491"/>
                </a:lnTo>
                <a:cubicBezTo>
                  <a:pt x="1248191" y="2730491"/>
                  <a:pt x="1250012" y="2730491"/>
                  <a:pt x="1253656" y="2728670"/>
                </a:cubicBezTo>
                <a:close/>
                <a:moveTo>
                  <a:pt x="3469420" y="2726955"/>
                </a:moveTo>
                <a:lnTo>
                  <a:pt x="3500397" y="2734228"/>
                </a:lnTo>
                <a:lnTo>
                  <a:pt x="3489464" y="2750621"/>
                </a:lnTo>
                <a:close/>
                <a:moveTo>
                  <a:pt x="1264589" y="2726848"/>
                </a:moveTo>
                <a:cubicBezTo>
                  <a:pt x="1264589" y="2728671"/>
                  <a:pt x="1259123" y="2728671"/>
                  <a:pt x="1257300" y="2730494"/>
                </a:cubicBezTo>
                <a:cubicBezTo>
                  <a:pt x="1257300" y="2730494"/>
                  <a:pt x="1255478" y="2730494"/>
                  <a:pt x="1255478" y="2728671"/>
                </a:cubicBezTo>
                <a:cubicBezTo>
                  <a:pt x="1259123" y="2728671"/>
                  <a:pt x="1260945" y="2726848"/>
                  <a:pt x="1264589" y="2726848"/>
                </a:cubicBezTo>
                <a:close/>
                <a:moveTo>
                  <a:pt x="3092231" y="2726825"/>
                </a:moveTo>
                <a:cubicBezTo>
                  <a:pt x="3088586" y="2725003"/>
                  <a:pt x="3086764" y="2728648"/>
                  <a:pt x="3090409" y="2732292"/>
                </a:cubicBezTo>
                <a:cubicBezTo>
                  <a:pt x="3090409" y="2734115"/>
                  <a:pt x="3094053" y="2735937"/>
                  <a:pt x="3095875" y="2732292"/>
                </a:cubicBezTo>
                <a:cubicBezTo>
                  <a:pt x="3095875" y="2730471"/>
                  <a:pt x="3094053" y="2726825"/>
                  <a:pt x="3092231" y="2726825"/>
                </a:cubicBezTo>
                <a:close/>
                <a:moveTo>
                  <a:pt x="1226323" y="2721381"/>
                </a:moveTo>
                <a:cubicBezTo>
                  <a:pt x="1228145" y="2725026"/>
                  <a:pt x="1231789" y="2726848"/>
                  <a:pt x="1235434" y="2726848"/>
                </a:cubicBezTo>
                <a:cubicBezTo>
                  <a:pt x="1233611" y="2730491"/>
                  <a:pt x="1222678" y="2726848"/>
                  <a:pt x="1226323" y="2721381"/>
                </a:cubicBezTo>
                <a:close/>
                <a:moveTo>
                  <a:pt x="3405643" y="2721370"/>
                </a:moveTo>
                <a:lnTo>
                  <a:pt x="3414754" y="2732303"/>
                </a:lnTo>
                <a:lnTo>
                  <a:pt x="3409287" y="2741413"/>
                </a:lnTo>
                <a:lnTo>
                  <a:pt x="3389243" y="2734125"/>
                </a:lnTo>
                <a:cubicBezTo>
                  <a:pt x="3394710" y="2730480"/>
                  <a:pt x="3400176" y="2725015"/>
                  <a:pt x="3405643" y="2721370"/>
                </a:cubicBezTo>
                <a:close/>
                <a:moveTo>
                  <a:pt x="3369199" y="2719541"/>
                </a:moveTo>
                <a:cubicBezTo>
                  <a:pt x="3365555" y="2717719"/>
                  <a:pt x="3363733" y="2719541"/>
                  <a:pt x="3363733" y="2721363"/>
                </a:cubicBezTo>
                <a:cubicBezTo>
                  <a:pt x="3361911" y="2725007"/>
                  <a:pt x="3367377" y="2726830"/>
                  <a:pt x="3369199" y="2725007"/>
                </a:cubicBezTo>
                <a:cubicBezTo>
                  <a:pt x="3371022" y="2725007"/>
                  <a:pt x="3372844" y="2721363"/>
                  <a:pt x="3369199" y="2719541"/>
                </a:cubicBezTo>
                <a:close/>
                <a:moveTo>
                  <a:pt x="3303601" y="2719541"/>
                </a:moveTo>
                <a:lnTo>
                  <a:pt x="3303601" y="2741407"/>
                </a:lnTo>
                <a:cubicBezTo>
                  <a:pt x="3303601" y="2770562"/>
                  <a:pt x="3299957" y="2745051"/>
                  <a:pt x="3310890" y="2763274"/>
                </a:cubicBezTo>
                <a:cubicBezTo>
                  <a:pt x="3341867" y="2743229"/>
                  <a:pt x="3312712" y="2752339"/>
                  <a:pt x="3341867" y="2741407"/>
                </a:cubicBezTo>
                <a:cubicBezTo>
                  <a:pt x="3323645" y="2717719"/>
                  <a:pt x="3332756" y="2734117"/>
                  <a:pt x="3303601" y="2719541"/>
                </a:cubicBezTo>
                <a:close/>
                <a:moveTo>
                  <a:pt x="3527730" y="2717851"/>
                </a:moveTo>
                <a:lnTo>
                  <a:pt x="3535018" y="2732412"/>
                </a:lnTo>
                <a:lnTo>
                  <a:pt x="3529552" y="2743321"/>
                </a:lnTo>
                <a:lnTo>
                  <a:pt x="3513152" y="2732412"/>
                </a:lnTo>
                <a:close/>
                <a:moveTo>
                  <a:pt x="1209923" y="2715913"/>
                </a:moveTo>
                <a:cubicBezTo>
                  <a:pt x="1213568" y="2717735"/>
                  <a:pt x="1215390" y="2715913"/>
                  <a:pt x="1217212" y="2715913"/>
                </a:cubicBezTo>
                <a:cubicBezTo>
                  <a:pt x="1217212" y="2717735"/>
                  <a:pt x="1215390" y="2717735"/>
                  <a:pt x="1215390" y="2719558"/>
                </a:cubicBezTo>
                <a:cubicBezTo>
                  <a:pt x="1213568" y="2719558"/>
                  <a:pt x="1211745" y="2717735"/>
                  <a:pt x="1209923" y="2715913"/>
                </a:cubicBezTo>
                <a:close/>
                <a:moveTo>
                  <a:pt x="1271877" y="2715912"/>
                </a:moveTo>
                <a:cubicBezTo>
                  <a:pt x="1273699" y="2715912"/>
                  <a:pt x="1275522" y="2717735"/>
                  <a:pt x="1277343" y="2719558"/>
                </a:cubicBezTo>
                <a:cubicBezTo>
                  <a:pt x="1275522" y="2721381"/>
                  <a:pt x="1268233" y="2721381"/>
                  <a:pt x="1264588" y="2721381"/>
                </a:cubicBezTo>
                <a:cubicBezTo>
                  <a:pt x="1266411" y="2717735"/>
                  <a:pt x="1268233" y="2717735"/>
                  <a:pt x="1271877" y="2715912"/>
                </a:cubicBezTo>
                <a:close/>
                <a:moveTo>
                  <a:pt x="3061254" y="2714070"/>
                </a:moveTo>
                <a:cubicBezTo>
                  <a:pt x="3057609" y="2712249"/>
                  <a:pt x="3055787" y="2719537"/>
                  <a:pt x="3057609" y="2721359"/>
                </a:cubicBezTo>
                <a:cubicBezTo>
                  <a:pt x="3059431" y="2721359"/>
                  <a:pt x="3059431" y="2721359"/>
                  <a:pt x="3059431" y="2721359"/>
                </a:cubicBezTo>
                <a:cubicBezTo>
                  <a:pt x="3064898" y="2721359"/>
                  <a:pt x="3066720" y="2715893"/>
                  <a:pt x="3061254" y="2714070"/>
                </a:cubicBezTo>
                <a:close/>
                <a:moveTo>
                  <a:pt x="3626128" y="2712388"/>
                </a:moveTo>
                <a:lnTo>
                  <a:pt x="3637061" y="2721506"/>
                </a:lnTo>
                <a:lnTo>
                  <a:pt x="3613372" y="2743335"/>
                </a:lnTo>
                <a:lnTo>
                  <a:pt x="3602439" y="2732421"/>
                </a:lnTo>
                <a:close/>
                <a:moveTo>
                  <a:pt x="3445732" y="2712382"/>
                </a:moveTo>
                <a:lnTo>
                  <a:pt x="3460309" y="2712382"/>
                </a:lnTo>
                <a:lnTo>
                  <a:pt x="3469420" y="2726955"/>
                </a:lnTo>
                <a:lnTo>
                  <a:pt x="3453021" y="2734232"/>
                </a:lnTo>
                <a:close/>
                <a:moveTo>
                  <a:pt x="1106059" y="2710455"/>
                </a:moveTo>
                <a:cubicBezTo>
                  <a:pt x="1107881" y="2710455"/>
                  <a:pt x="1107881" y="2712277"/>
                  <a:pt x="1109704" y="2712277"/>
                </a:cubicBezTo>
                <a:cubicBezTo>
                  <a:pt x="1106059" y="2714099"/>
                  <a:pt x="1100593" y="2715924"/>
                  <a:pt x="1096948" y="2715924"/>
                </a:cubicBezTo>
                <a:cubicBezTo>
                  <a:pt x="1096948" y="2714099"/>
                  <a:pt x="1098770" y="2714099"/>
                  <a:pt x="1100593" y="2712277"/>
                </a:cubicBezTo>
                <a:cubicBezTo>
                  <a:pt x="1100593" y="2714099"/>
                  <a:pt x="1102415" y="2714099"/>
                  <a:pt x="1102415" y="2714099"/>
                </a:cubicBezTo>
                <a:cubicBezTo>
                  <a:pt x="1104237" y="2714099"/>
                  <a:pt x="1104237" y="2712277"/>
                  <a:pt x="1106059" y="2710455"/>
                </a:cubicBezTo>
                <a:close/>
                <a:moveTo>
                  <a:pt x="3423866" y="2710436"/>
                </a:moveTo>
                <a:lnTo>
                  <a:pt x="3423866" y="2712258"/>
                </a:lnTo>
                <a:lnTo>
                  <a:pt x="3420221" y="2712258"/>
                </a:lnTo>
                <a:cubicBezTo>
                  <a:pt x="3422044" y="2712258"/>
                  <a:pt x="3422044" y="2710436"/>
                  <a:pt x="3423866" y="2710436"/>
                </a:cubicBezTo>
                <a:close/>
                <a:moveTo>
                  <a:pt x="3381955" y="2710428"/>
                </a:moveTo>
                <a:cubicBezTo>
                  <a:pt x="3380132" y="2710428"/>
                  <a:pt x="3380132" y="2712252"/>
                  <a:pt x="3378310" y="2712252"/>
                </a:cubicBezTo>
                <a:cubicBezTo>
                  <a:pt x="3376488" y="2712252"/>
                  <a:pt x="3374666" y="2712252"/>
                  <a:pt x="3374666" y="2714073"/>
                </a:cubicBezTo>
                <a:cubicBezTo>
                  <a:pt x="3372844" y="2715896"/>
                  <a:pt x="3372844" y="2715896"/>
                  <a:pt x="3376488" y="2717719"/>
                </a:cubicBezTo>
                <a:cubicBezTo>
                  <a:pt x="3376488" y="2719541"/>
                  <a:pt x="3378310" y="2719541"/>
                  <a:pt x="3380132" y="2719541"/>
                </a:cubicBezTo>
                <a:cubicBezTo>
                  <a:pt x="3381955" y="2717719"/>
                  <a:pt x="3383777" y="2717719"/>
                  <a:pt x="3385599" y="2715896"/>
                </a:cubicBezTo>
                <a:cubicBezTo>
                  <a:pt x="3389243" y="2712252"/>
                  <a:pt x="3385599" y="2706787"/>
                  <a:pt x="3381955" y="2710428"/>
                </a:cubicBezTo>
                <a:close/>
                <a:moveTo>
                  <a:pt x="3047359" y="2708604"/>
                </a:moveTo>
                <a:cubicBezTo>
                  <a:pt x="3045765" y="2708148"/>
                  <a:pt x="3043943" y="2708604"/>
                  <a:pt x="3043032" y="2710426"/>
                </a:cubicBezTo>
                <a:cubicBezTo>
                  <a:pt x="3041210" y="2714070"/>
                  <a:pt x="3048498" y="2717715"/>
                  <a:pt x="3050320" y="2714070"/>
                </a:cubicBezTo>
                <a:cubicBezTo>
                  <a:pt x="3050320" y="2712249"/>
                  <a:pt x="3050320" y="2712249"/>
                  <a:pt x="3050320" y="2712249"/>
                </a:cubicBezTo>
                <a:cubicBezTo>
                  <a:pt x="3050320" y="2710426"/>
                  <a:pt x="3048953" y="2709059"/>
                  <a:pt x="3047359" y="2708604"/>
                </a:cubicBezTo>
                <a:close/>
                <a:moveTo>
                  <a:pt x="1311966" y="2706782"/>
                </a:moveTo>
                <a:lnTo>
                  <a:pt x="1319254" y="2706782"/>
                </a:lnTo>
                <a:cubicBezTo>
                  <a:pt x="1315610" y="2706782"/>
                  <a:pt x="1311966" y="2710426"/>
                  <a:pt x="1311966" y="2706782"/>
                </a:cubicBezTo>
                <a:close/>
                <a:moveTo>
                  <a:pt x="1326728" y="2706228"/>
                </a:moveTo>
                <a:lnTo>
                  <a:pt x="1326543" y="2706782"/>
                </a:lnTo>
                <a:lnTo>
                  <a:pt x="1319254" y="2706782"/>
                </a:lnTo>
                <a:close/>
                <a:moveTo>
                  <a:pt x="3389243" y="2703142"/>
                </a:moveTo>
                <a:cubicBezTo>
                  <a:pt x="3385599" y="2704963"/>
                  <a:pt x="3387421" y="2710428"/>
                  <a:pt x="3391066" y="2708607"/>
                </a:cubicBezTo>
                <a:cubicBezTo>
                  <a:pt x="3391066" y="2708607"/>
                  <a:pt x="3392888" y="2708607"/>
                  <a:pt x="3392888" y="2708607"/>
                </a:cubicBezTo>
                <a:cubicBezTo>
                  <a:pt x="3398354" y="2706787"/>
                  <a:pt x="3394710" y="2699497"/>
                  <a:pt x="3389243" y="2703142"/>
                </a:cubicBezTo>
                <a:close/>
                <a:moveTo>
                  <a:pt x="3445731" y="2695931"/>
                </a:moveTo>
                <a:lnTo>
                  <a:pt x="3445731" y="2712338"/>
                </a:lnTo>
                <a:lnTo>
                  <a:pt x="3429331" y="2710517"/>
                </a:lnTo>
                <a:close/>
                <a:moveTo>
                  <a:pt x="3347333" y="2695853"/>
                </a:moveTo>
                <a:lnTo>
                  <a:pt x="3332756" y="2712252"/>
                </a:lnTo>
                <a:lnTo>
                  <a:pt x="3347333" y="2719541"/>
                </a:lnTo>
                <a:lnTo>
                  <a:pt x="3356444" y="2712252"/>
                </a:lnTo>
                <a:close/>
                <a:moveTo>
                  <a:pt x="1024061" y="2690511"/>
                </a:moveTo>
                <a:lnTo>
                  <a:pt x="1033173" y="2695984"/>
                </a:lnTo>
                <a:cubicBezTo>
                  <a:pt x="1018596" y="2716039"/>
                  <a:pt x="1027707" y="2712392"/>
                  <a:pt x="1002195" y="2719683"/>
                </a:cubicBezTo>
                <a:lnTo>
                  <a:pt x="1002195" y="2705108"/>
                </a:lnTo>
                <a:close/>
                <a:moveTo>
                  <a:pt x="1065972" y="2690399"/>
                </a:moveTo>
                <a:cubicBezTo>
                  <a:pt x="1067794" y="2694043"/>
                  <a:pt x="1071438" y="2697688"/>
                  <a:pt x="1075083" y="2695866"/>
                </a:cubicBezTo>
                <a:cubicBezTo>
                  <a:pt x="1071438" y="2699511"/>
                  <a:pt x="1069616" y="2703156"/>
                  <a:pt x="1065972" y="2704977"/>
                </a:cubicBezTo>
                <a:cubicBezTo>
                  <a:pt x="1064151" y="2699511"/>
                  <a:pt x="1062328" y="2695866"/>
                  <a:pt x="1058683" y="2692222"/>
                </a:cubicBezTo>
                <a:cubicBezTo>
                  <a:pt x="1060505" y="2690399"/>
                  <a:pt x="1062328" y="2692222"/>
                  <a:pt x="1065972" y="2690399"/>
                </a:cubicBezTo>
                <a:close/>
                <a:moveTo>
                  <a:pt x="994907" y="2688670"/>
                </a:moveTo>
                <a:lnTo>
                  <a:pt x="1002195" y="2703262"/>
                </a:lnTo>
                <a:lnTo>
                  <a:pt x="987618" y="2710543"/>
                </a:lnTo>
                <a:lnTo>
                  <a:pt x="978507" y="2703262"/>
                </a:lnTo>
                <a:close/>
                <a:moveTo>
                  <a:pt x="1096948" y="2677658"/>
                </a:moveTo>
                <a:lnTo>
                  <a:pt x="1096948" y="2679482"/>
                </a:lnTo>
                <a:cubicBezTo>
                  <a:pt x="1095126" y="2683126"/>
                  <a:pt x="1091482" y="2684949"/>
                  <a:pt x="1087837" y="2688592"/>
                </a:cubicBezTo>
                <a:cubicBezTo>
                  <a:pt x="1086015" y="2684949"/>
                  <a:pt x="1089660" y="2683126"/>
                  <a:pt x="1089660" y="2681305"/>
                </a:cubicBezTo>
                <a:cubicBezTo>
                  <a:pt x="1093304" y="2679482"/>
                  <a:pt x="1095126" y="2679482"/>
                  <a:pt x="1096948" y="2677658"/>
                </a:cubicBezTo>
                <a:close/>
                <a:moveTo>
                  <a:pt x="3422043" y="2675811"/>
                </a:moveTo>
                <a:lnTo>
                  <a:pt x="3425687" y="2686743"/>
                </a:lnTo>
                <a:cubicBezTo>
                  <a:pt x="3423865" y="2686743"/>
                  <a:pt x="3423865" y="2686743"/>
                  <a:pt x="3422043" y="2690387"/>
                </a:cubicBezTo>
                <a:cubicBezTo>
                  <a:pt x="3422043" y="2692211"/>
                  <a:pt x="3422043" y="2692211"/>
                  <a:pt x="3422043" y="2695854"/>
                </a:cubicBezTo>
                <a:cubicBezTo>
                  <a:pt x="3418398" y="2697676"/>
                  <a:pt x="3414754" y="2701321"/>
                  <a:pt x="3411110" y="2703144"/>
                </a:cubicBezTo>
                <a:lnTo>
                  <a:pt x="3411110" y="2701321"/>
                </a:lnTo>
                <a:cubicBezTo>
                  <a:pt x="3412932" y="2699498"/>
                  <a:pt x="3414754" y="2699498"/>
                  <a:pt x="3414754" y="2697676"/>
                </a:cubicBezTo>
                <a:cubicBezTo>
                  <a:pt x="3416576" y="2694032"/>
                  <a:pt x="3411110" y="2692211"/>
                  <a:pt x="3409288" y="2694032"/>
                </a:cubicBezTo>
                <a:lnTo>
                  <a:pt x="3407465" y="2688566"/>
                </a:lnTo>
                <a:cubicBezTo>
                  <a:pt x="3409288" y="2683099"/>
                  <a:pt x="3409288" y="2681277"/>
                  <a:pt x="3411110" y="2679455"/>
                </a:cubicBezTo>
                <a:cubicBezTo>
                  <a:pt x="3414754" y="2677631"/>
                  <a:pt x="3418398" y="2677631"/>
                  <a:pt x="3422043" y="2675811"/>
                </a:cubicBezTo>
                <a:close/>
                <a:moveTo>
                  <a:pt x="1086015" y="2670366"/>
                </a:moveTo>
                <a:cubicBezTo>
                  <a:pt x="1089660" y="2670366"/>
                  <a:pt x="1089660" y="2670366"/>
                  <a:pt x="1091482" y="2670366"/>
                </a:cubicBezTo>
                <a:cubicBezTo>
                  <a:pt x="1091482" y="2672190"/>
                  <a:pt x="1089660" y="2672190"/>
                  <a:pt x="1087837" y="2674013"/>
                </a:cubicBezTo>
                <a:cubicBezTo>
                  <a:pt x="1086015" y="2672190"/>
                  <a:pt x="1086015" y="2672190"/>
                  <a:pt x="1086015" y="2670366"/>
                </a:cubicBezTo>
                <a:close/>
                <a:moveTo>
                  <a:pt x="1062327" y="2657608"/>
                </a:moveTo>
                <a:cubicBezTo>
                  <a:pt x="1067794" y="2659430"/>
                  <a:pt x="1075083" y="2659430"/>
                  <a:pt x="1080549" y="2657608"/>
                </a:cubicBezTo>
                <a:lnTo>
                  <a:pt x="1082373" y="2659430"/>
                </a:lnTo>
                <a:cubicBezTo>
                  <a:pt x="1080549" y="2663077"/>
                  <a:pt x="1078727" y="2668544"/>
                  <a:pt x="1078727" y="2672189"/>
                </a:cubicBezTo>
                <a:cubicBezTo>
                  <a:pt x="1073260" y="2677658"/>
                  <a:pt x="1067794" y="2681303"/>
                  <a:pt x="1060505" y="2684948"/>
                </a:cubicBezTo>
                <a:cubicBezTo>
                  <a:pt x="1062327" y="2681303"/>
                  <a:pt x="1064151" y="2675834"/>
                  <a:pt x="1065972" y="2672189"/>
                </a:cubicBezTo>
                <a:cubicBezTo>
                  <a:pt x="1056861" y="2672189"/>
                  <a:pt x="1058683" y="2692236"/>
                  <a:pt x="1049572" y="2686771"/>
                </a:cubicBezTo>
                <a:cubicBezTo>
                  <a:pt x="1049572" y="2688592"/>
                  <a:pt x="1049572" y="2690414"/>
                  <a:pt x="1049572" y="2690414"/>
                </a:cubicBezTo>
                <a:cubicBezTo>
                  <a:pt x="1049572" y="2690414"/>
                  <a:pt x="1047750" y="2690414"/>
                  <a:pt x="1047750" y="2690414"/>
                </a:cubicBezTo>
                <a:lnTo>
                  <a:pt x="1040479" y="2681323"/>
                </a:lnTo>
                <a:lnTo>
                  <a:pt x="1040462" y="2681356"/>
                </a:lnTo>
                <a:lnTo>
                  <a:pt x="1024062" y="2666767"/>
                </a:lnTo>
                <a:lnTo>
                  <a:pt x="1047750" y="2666767"/>
                </a:lnTo>
                <a:lnTo>
                  <a:pt x="1040490" y="2681303"/>
                </a:lnTo>
                <a:lnTo>
                  <a:pt x="1053216" y="2681303"/>
                </a:lnTo>
                <a:close/>
                <a:moveTo>
                  <a:pt x="1111526" y="2657603"/>
                </a:moveTo>
                <a:cubicBezTo>
                  <a:pt x="1111526" y="2659426"/>
                  <a:pt x="1109704" y="2661248"/>
                  <a:pt x="1107882" y="2663072"/>
                </a:cubicBezTo>
                <a:cubicBezTo>
                  <a:pt x="1106060" y="2661248"/>
                  <a:pt x="1107882" y="2661248"/>
                  <a:pt x="1107882" y="2659426"/>
                </a:cubicBezTo>
                <a:cubicBezTo>
                  <a:pt x="1107882" y="2659426"/>
                  <a:pt x="1109704" y="2657603"/>
                  <a:pt x="1111526" y="2657603"/>
                </a:cubicBezTo>
                <a:close/>
                <a:moveTo>
                  <a:pt x="1095126" y="2653958"/>
                </a:moveTo>
                <a:lnTo>
                  <a:pt x="1100593" y="2653958"/>
                </a:lnTo>
                <a:cubicBezTo>
                  <a:pt x="1100593" y="2655780"/>
                  <a:pt x="1100593" y="2655780"/>
                  <a:pt x="1100593" y="2657603"/>
                </a:cubicBezTo>
                <a:cubicBezTo>
                  <a:pt x="1098771" y="2657603"/>
                  <a:pt x="1096949" y="2657603"/>
                  <a:pt x="1096949" y="2659424"/>
                </a:cubicBezTo>
                <a:cubicBezTo>
                  <a:pt x="1095126" y="2659424"/>
                  <a:pt x="1093304" y="2659424"/>
                  <a:pt x="1093304" y="2657603"/>
                </a:cubicBezTo>
                <a:cubicBezTo>
                  <a:pt x="1095126" y="2657603"/>
                  <a:pt x="1095126" y="2655780"/>
                  <a:pt x="1095126" y="2653958"/>
                </a:cubicBezTo>
                <a:close/>
                <a:moveTo>
                  <a:pt x="3387421" y="2648475"/>
                </a:moveTo>
                <a:lnTo>
                  <a:pt x="3372844" y="2663052"/>
                </a:lnTo>
                <a:lnTo>
                  <a:pt x="3376488" y="2663052"/>
                </a:lnTo>
                <a:cubicBezTo>
                  <a:pt x="3369199" y="2666697"/>
                  <a:pt x="3363733" y="2670341"/>
                  <a:pt x="3356444" y="2675808"/>
                </a:cubicBezTo>
                <a:cubicBezTo>
                  <a:pt x="3352800" y="2679452"/>
                  <a:pt x="3360088" y="2683098"/>
                  <a:pt x="3363733" y="2681274"/>
                </a:cubicBezTo>
                <a:cubicBezTo>
                  <a:pt x="3389243" y="2663052"/>
                  <a:pt x="3418398" y="2655763"/>
                  <a:pt x="3447553" y="2653942"/>
                </a:cubicBezTo>
                <a:lnTo>
                  <a:pt x="3451197" y="2664873"/>
                </a:lnTo>
                <a:lnTo>
                  <a:pt x="3438442" y="2657586"/>
                </a:lnTo>
                <a:lnTo>
                  <a:pt x="3422042" y="2670341"/>
                </a:lnTo>
                <a:cubicBezTo>
                  <a:pt x="3420220" y="2672163"/>
                  <a:pt x="3416576" y="2672163"/>
                  <a:pt x="3412932" y="2673985"/>
                </a:cubicBezTo>
                <a:cubicBezTo>
                  <a:pt x="3411109" y="2672163"/>
                  <a:pt x="3409287" y="2670341"/>
                  <a:pt x="3405643" y="2661229"/>
                </a:cubicBezTo>
                <a:lnTo>
                  <a:pt x="3385599" y="2684920"/>
                </a:lnTo>
                <a:lnTo>
                  <a:pt x="3407465" y="2701318"/>
                </a:lnTo>
                <a:cubicBezTo>
                  <a:pt x="3374666" y="2725007"/>
                  <a:pt x="3349156" y="2759630"/>
                  <a:pt x="3314534" y="2779672"/>
                </a:cubicBezTo>
                <a:cubicBezTo>
                  <a:pt x="3310890" y="2783318"/>
                  <a:pt x="3310890" y="2790608"/>
                  <a:pt x="3316356" y="2792429"/>
                </a:cubicBezTo>
                <a:cubicBezTo>
                  <a:pt x="3343689" y="2801539"/>
                  <a:pt x="3369199" y="2814293"/>
                  <a:pt x="3396532" y="2825227"/>
                </a:cubicBezTo>
                <a:cubicBezTo>
                  <a:pt x="3396532" y="2827049"/>
                  <a:pt x="3394710" y="2830695"/>
                  <a:pt x="3392888" y="2837983"/>
                </a:cubicBezTo>
                <a:cubicBezTo>
                  <a:pt x="3371022" y="2832515"/>
                  <a:pt x="3378310" y="2841627"/>
                  <a:pt x="3385599" y="2821583"/>
                </a:cubicBezTo>
                <a:lnTo>
                  <a:pt x="3354622" y="2832515"/>
                </a:lnTo>
                <a:lnTo>
                  <a:pt x="3332756" y="2827049"/>
                </a:lnTo>
                <a:lnTo>
                  <a:pt x="3310890" y="2832515"/>
                </a:lnTo>
                <a:lnTo>
                  <a:pt x="3298135" y="2843448"/>
                </a:lnTo>
                <a:cubicBezTo>
                  <a:pt x="3296312" y="2841627"/>
                  <a:pt x="3296312" y="2841627"/>
                  <a:pt x="3294490" y="2839807"/>
                </a:cubicBezTo>
                <a:lnTo>
                  <a:pt x="3294490" y="2832515"/>
                </a:lnTo>
                <a:lnTo>
                  <a:pt x="3287201" y="2832515"/>
                </a:lnTo>
                <a:cubicBezTo>
                  <a:pt x="3279913" y="2823405"/>
                  <a:pt x="3272624" y="2816115"/>
                  <a:pt x="3267158" y="2807005"/>
                </a:cubicBezTo>
                <a:cubicBezTo>
                  <a:pt x="3252580" y="2785140"/>
                  <a:pt x="3228892" y="2766918"/>
                  <a:pt x="3201559" y="2748697"/>
                </a:cubicBezTo>
                <a:cubicBezTo>
                  <a:pt x="3219781" y="2741407"/>
                  <a:pt x="3239825" y="2728653"/>
                  <a:pt x="3256225" y="2717719"/>
                </a:cubicBezTo>
                <a:cubicBezTo>
                  <a:pt x="3272624" y="2706787"/>
                  <a:pt x="3289024" y="2697674"/>
                  <a:pt x="3305423" y="2684920"/>
                </a:cubicBezTo>
                <a:cubicBezTo>
                  <a:pt x="3301779" y="2688562"/>
                  <a:pt x="3296312" y="2692208"/>
                  <a:pt x="3292668" y="2695853"/>
                </a:cubicBezTo>
                <a:cubicBezTo>
                  <a:pt x="3290846" y="2697674"/>
                  <a:pt x="3294490" y="2706787"/>
                  <a:pt x="3296312" y="2704963"/>
                </a:cubicBezTo>
                <a:cubicBezTo>
                  <a:pt x="3309068" y="2697674"/>
                  <a:pt x="3320001" y="2688562"/>
                  <a:pt x="3332756" y="2679452"/>
                </a:cubicBezTo>
                <a:lnTo>
                  <a:pt x="3341867" y="2688562"/>
                </a:lnTo>
                <a:lnTo>
                  <a:pt x="3343689" y="2672163"/>
                </a:lnTo>
                <a:cubicBezTo>
                  <a:pt x="3356444" y="2664873"/>
                  <a:pt x="3371022" y="2655763"/>
                  <a:pt x="3383777" y="2650295"/>
                </a:cubicBezTo>
                <a:cubicBezTo>
                  <a:pt x="3385599" y="2648475"/>
                  <a:pt x="3385599" y="2648475"/>
                  <a:pt x="3387421" y="2648475"/>
                </a:cubicBezTo>
                <a:close/>
                <a:moveTo>
                  <a:pt x="3414754" y="2643011"/>
                </a:moveTo>
                <a:cubicBezTo>
                  <a:pt x="3425687" y="2643011"/>
                  <a:pt x="3436621" y="2643011"/>
                  <a:pt x="3447554" y="2643011"/>
                </a:cubicBezTo>
                <a:lnTo>
                  <a:pt x="3447554" y="2644832"/>
                </a:lnTo>
                <a:cubicBezTo>
                  <a:pt x="3429332" y="2646655"/>
                  <a:pt x="3409288" y="2650300"/>
                  <a:pt x="3392887" y="2657589"/>
                </a:cubicBezTo>
                <a:lnTo>
                  <a:pt x="3392887" y="2648476"/>
                </a:lnTo>
                <a:cubicBezTo>
                  <a:pt x="3400177" y="2646655"/>
                  <a:pt x="3407466" y="2644832"/>
                  <a:pt x="3414754" y="2643011"/>
                </a:cubicBezTo>
                <a:close/>
                <a:moveTo>
                  <a:pt x="3150540" y="2639359"/>
                </a:moveTo>
                <a:cubicBezTo>
                  <a:pt x="3152362" y="2639359"/>
                  <a:pt x="3152362" y="2639359"/>
                  <a:pt x="3152362" y="2639359"/>
                </a:cubicBezTo>
                <a:cubicBezTo>
                  <a:pt x="3154185" y="2639359"/>
                  <a:pt x="3157829" y="2639359"/>
                  <a:pt x="3159651" y="2639359"/>
                </a:cubicBezTo>
                <a:cubicBezTo>
                  <a:pt x="3130496" y="2648471"/>
                  <a:pt x="3103164" y="2659404"/>
                  <a:pt x="3074009" y="2672159"/>
                </a:cubicBezTo>
                <a:cubicBezTo>
                  <a:pt x="3068542" y="2673982"/>
                  <a:pt x="3074009" y="2679448"/>
                  <a:pt x="3077653" y="2679448"/>
                </a:cubicBezTo>
                <a:cubicBezTo>
                  <a:pt x="3123207" y="2672159"/>
                  <a:pt x="3165118" y="2655761"/>
                  <a:pt x="3212494" y="2650293"/>
                </a:cubicBezTo>
                <a:cubicBezTo>
                  <a:pt x="3236182" y="2648471"/>
                  <a:pt x="3259871" y="2646649"/>
                  <a:pt x="3283559" y="2644827"/>
                </a:cubicBezTo>
                <a:cubicBezTo>
                  <a:pt x="3267159" y="2648471"/>
                  <a:pt x="3250760" y="2652116"/>
                  <a:pt x="3234360" y="2655761"/>
                </a:cubicBezTo>
                <a:cubicBezTo>
                  <a:pt x="3192450" y="2664871"/>
                  <a:pt x="3146896" y="2666693"/>
                  <a:pt x="3108630" y="2688560"/>
                </a:cubicBezTo>
                <a:cubicBezTo>
                  <a:pt x="3106808" y="2688560"/>
                  <a:pt x="3110452" y="2697671"/>
                  <a:pt x="3110452" y="2697671"/>
                </a:cubicBezTo>
                <a:cubicBezTo>
                  <a:pt x="3148718" y="2683093"/>
                  <a:pt x="3190628" y="2681271"/>
                  <a:pt x="3230716" y="2673982"/>
                </a:cubicBezTo>
                <a:cubicBezTo>
                  <a:pt x="3252582" y="2670338"/>
                  <a:pt x="3272626" y="2666693"/>
                  <a:pt x="3292670" y="2663048"/>
                </a:cubicBezTo>
                <a:cubicBezTo>
                  <a:pt x="3287203" y="2664871"/>
                  <a:pt x="3281737" y="2666693"/>
                  <a:pt x="3276270" y="2668515"/>
                </a:cubicBezTo>
                <a:cubicBezTo>
                  <a:pt x="3258048" y="2672159"/>
                  <a:pt x="3239827" y="2677627"/>
                  <a:pt x="3221605" y="2679448"/>
                </a:cubicBezTo>
                <a:cubicBezTo>
                  <a:pt x="3190628" y="2683093"/>
                  <a:pt x="3159651" y="2684916"/>
                  <a:pt x="3130496" y="2699492"/>
                </a:cubicBezTo>
                <a:cubicBezTo>
                  <a:pt x="3125030" y="2701315"/>
                  <a:pt x="3130496" y="2708604"/>
                  <a:pt x="3134141" y="2708604"/>
                </a:cubicBezTo>
                <a:cubicBezTo>
                  <a:pt x="3137785" y="2708604"/>
                  <a:pt x="3141429" y="2708604"/>
                  <a:pt x="3145074" y="2708604"/>
                </a:cubicBezTo>
                <a:cubicBezTo>
                  <a:pt x="3137785" y="2708604"/>
                  <a:pt x="3132318" y="2710426"/>
                  <a:pt x="3126852" y="2712249"/>
                </a:cubicBezTo>
                <a:cubicBezTo>
                  <a:pt x="3125030" y="2712249"/>
                  <a:pt x="3132318" y="2717715"/>
                  <a:pt x="3134141" y="2717715"/>
                </a:cubicBezTo>
                <a:cubicBezTo>
                  <a:pt x="3152362" y="2715893"/>
                  <a:pt x="3168762" y="2715893"/>
                  <a:pt x="3186984" y="2712249"/>
                </a:cubicBezTo>
                <a:cubicBezTo>
                  <a:pt x="3203383" y="2710426"/>
                  <a:pt x="3217961" y="2706782"/>
                  <a:pt x="3234360" y="2703136"/>
                </a:cubicBezTo>
                <a:cubicBezTo>
                  <a:pt x="3238004" y="2701315"/>
                  <a:pt x="3243471" y="2701315"/>
                  <a:pt x="3248938" y="2699492"/>
                </a:cubicBezTo>
                <a:cubicBezTo>
                  <a:pt x="3241649" y="2704959"/>
                  <a:pt x="3236182" y="2708604"/>
                  <a:pt x="3228894" y="2712249"/>
                </a:cubicBezTo>
                <a:cubicBezTo>
                  <a:pt x="3216138" y="2714070"/>
                  <a:pt x="3201561" y="2717715"/>
                  <a:pt x="3186984" y="2719537"/>
                </a:cubicBezTo>
                <a:cubicBezTo>
                  <a:pt x="3170584" y="2721359"/>
                  <a:pt x="3152362" y="2728648"/>
                  <a:pt x="3135963" y="2725003"/>
                </a:cubicBezTo>
                <a:cubicBezTo>
                  <a:pt x="3130496" y="2725003"/>
                  <a:pt x="3132318" y="2732292"/>
                  <a:pt x="3135963" y="2734115"/>
                </a:cubicBezTo>
                <a:cubicBezTo>
                  <a:pt x="3152362" y="2739582"/>
                  <a:pt x="3165118" y="2735937"/>
                  <a:pt x="3181517" y="2734115"/>
                </a:cubicBezTo>
                <a:cubicBezTo>
                  <a:pt x="3183339" y="2734115"/>
                  <a:pt x="3185162" y="2734115"/>
                  <a:pt x="3186984" y="2734115"/>
                </a:cubicBezTo>
                <a:cubicBezTo>
                  <a:pt x="3185162" y="2734115"/>
                  <a:pt x="3185162" y="2735937"/>
                  <a:pt x="3183339" y="2735937"/>
                </a:cubicBezTo>
                <a:cubicBezTo>
                  <a:pt x="3181517" y="2735937"/>
                  <a:pt x="3181517" y="2735937"/>
                  <a:pt x="3181517" y="2735937"/>
                </a:cubicBezTo>
                <a:cubicBezTo>
                  <a:pt x="3177873" y="2735937"/>
                  <a:pt x="3176051" y="2735937"/>
                  <a:pt x="3174228" y="2737761"/>
                </a:cubicBezTo>
                <a:cubicBezTo>
                  <a:pt x="3174228" y="2735937"/>
                  <a:pt x="3172406" y="2735937"/>
                  <a:pt x="3172406" y="2735937"/>
                </a:cubicBezTo>
                <a:cubicBezTo>
                  <a:pt x="3170584" y="2735937"/>
                  <a:pt x="3170584" y="2735937"/>
                  <a:pt x="3170584" y="2735937"/>
                </a:cubicBezTo>
                <a:cubicBezTo>
                  <a:pt x="3166940" y="2735937"/>
                  <a:pt x="3165118" y="2741405"/>
                  <a:pt x="3168762" y="2743226"/>
                </a:cubicBezTo>
                <a:cubicBezTo>
                  <a:pt x="3170584" y="2743226"/>
                  <a:pt x="3170584" y="2743226"/>
                  <a:pt x="3170584" y="2743226"/>
                </a:cubicBezTo>
                <a:cubicBezTo>
                  <a:pt x="3172406" y="2743226"/>
                  <a:pt x="3172406" y="2743226"/>
                  <a:pt x="3172406" y="2743226"/>
                </a:cubicBezTo>
                <a:cubicBezTo>
                  <a:pt x="3165118" y="2745047"/>
                  <a:pt x="3156007" y="2745047"/>
                  <a:pt x="3148718" y="2745047"/>
                </a:cubicBezTo>
                <a:cubicBezTo>
                  <a:pt x="3148718" y="2743226"/>
                  <a:pt x="3146896" y="2741405"/>
                  <a:pt x="3145074" y="2741405"/>
                </a:cubicBezTo>
                <a:cubicBezTo>
                  <a:pt x="3143251" y="2741405"/>
                  <a:pt x="3141429" y="2741405"/>
                  <a:pt x="3141429" y="2743226"/>
                </a:cubicBezTo>
                <a:cubicBezTo>
                  <a:pt x="3141429" y="2743226"/>
                  <a:pt x="3141429" y="2745047"/>
                  <a:pt x="3141429" y="2745047"/>
                </a:cubicBezTo>
                <a:cubicBezTo>
                  <a:pt x="3137785" y="2745047"/>
                  <a:pt x="3134141" y="2745047"/>
                  <a:pt x="3130496" y="2745047"/>
                </a:cubicBezTo>
                <a:cubicBezTo>
                  <a:pt x="3130496" y="2745047"/>
                  <a:pt x="3128674" y="2745047"/>
                  <a:pt x="3128674" y="2745047"/>
                </a:cubicBezTo>
                <a:cubicBezTo>
                  <a:pt x="3128674" y="2743226"/>
                  <a:pt x="3128674" y="2741405"/>
                  <a:pt x="3126852" y="2741405"/>
                </a:cubicBezTo>
                <a:cubicBezTo>
                  <a:pt x="3125030" y="2741405"/>
                  <a:pt x="3125030" y="2741405"/>
                  <a:pt x="3125030" y="2741405"/>
                </a:cubicBezTo>
                <a:cubicBezTo>
                  <a:pt x="3123207" y="2739582"/>
                  <a:pt x="3121385" y="2741405"/>
                  <a:pt x="3121385" y="2743226"/>
                </a:cubicBezTo>
                <a:cubicBezTo>
                  <a:pt x="3119563" y="2743226"/>
                  <a:pt x="3117741" y="2741405"/>
                  <a:pt x="3115919" y="2741405"/>
                </a:cubicBezTo>
                <a:cubicBezTo>
                  <a:pt x="3115919" y="2739582"/>
                  <a:pt x="3115919" y="2735937"/>
                  <a:pt x="3114097" y="2735937"/>
                </a:cubicBezTo>
                <a:cubicBezTo>
                  <a:pt x="3114097" y="2735937"/>
                  <a:pt x="3112275" y="2735937"/>
                  <a:pt x="3112275" y="2735937"/>
                </a:cubicBezTo>
                <a:cubicBezTo>
                  <a:pt x="3108630" y="2735937"/>
                  <a:pt x="3106808" y="2739582"/>
                  <a:pt x="3108630" y="2741405"/>
                </a:cubicBezTo>
                <a:cubicBezTo>
                  <a:pt x="3104986" y="2743226"/>
                  <a:pt x="3104986" y="2745047"/>
                  <a:pt x="3106808" y="2748693"/>
                </a:cubicBezTo>
                <a:cubicBezTo>
                  <a:pt x="3110452" y="2752336"/>
                  <a:pt x="3112275" y="2755981"/>
                  <a:pt x="3115919" y="2757804"/>
                </a:cubicBezTo>
                <a:lnTo>
                  <a:pt x="3042461" y="2740041"/>
                </a:lnTo>
                <a:lnTo>
                  <a:pt x="3032097" y="2741524"/>
                </a:lnTo>
                <a:lnTo>
                  <a:pt x="3032097" y="2736065"/>
                </a:lnTo>
                <a:lnTo>
                  <a:pt x="3033305" y="2736065"/>
                </a:lnTo>
                <a:lnTo>
                  <a:pt x="2970144" y="2703136"/>
                </a:lnTo>
                <a:cubicBezTo>
                  <a:pt x="2953744" y="2694026"/>
                  <a:pt x="2935523" y="2679448"/>
                  <a:pt x="2920945" y="2664871"/>
                </a:cubicBezTo>
                <a:cubicBezTo>
                  <a:pt x="2924590" y="2666693"/>
                  <a:pt x="2930056" y="2668515"/>
                  <a:pt x="2933700" y="2668515"/>
                </a:cubicBezTo>
                <a:cubicBezTo>
                  <a:pt x="2992010" y="2679448"/>
                  <a:pt x="3048498" y="2655761"/>
                  <a:pt x="3104986" y="2644827"/>
                </a:cubicBezTo>
                <a:cubicBezTo>
                  <a:pt x="3112275" y="2643005"/>
                  <a:pt x="3121385" y="2643005"/>
                  <a:pt x="3128674" y="2641183"/>
                </a:cubicBezTo>
                <a:cubicBezTo>
                  <a:pt x="3135963" y="2641183"/>
                  <a:pt x="3143251" y="2641183"/>
                  <a:pt x="3150540" y="2639359"/>
                </a:cubicBezTo>
                <a:close/>
                <a:moveTo>
                  <a:pt x="1109704" y="2637556"/>
                </a:moveTo>
                <a:cubicBezTo>
                  <a:pt x="1109704" y="2641202"/>
                  <a:pt x="1109704" y="2643025"/>
                  <a:pt x="1107882" y="2646668"/>
                </a:cubicBezTo>
                <a:cubicBezTo>
                  <a:pt x="1106060" y="2644845"/>
                  <a:pt x="1104237" y="2646668"/>
                  <a:pt x="1102415" y="2644845"/>
                </a:cubicBezTo>
                <a:cubicBezTo>
                  <a:pt x="1106060" y="2643025"/>
                  <a:pt x="1106060" y="2639379"/>
                  <a:pt x="1109704" y="2637556"/>
                </a:cubicBezTo>
                <a:close/>
                <a:moveTo>
                  <a:pt x="2875390" y="2632072"/>
                </a:moveTo>
                <a:cubicBezTo>
                  <a:pt x="2871746" y="2630250"/>
                  <a:pt x="2869924" y="2637537"/>
                  <a:pt x="2873568" y="2639359"/>
                </a:cubicBezTo>
                <a:cubicBezTo>
                  <a:pt x="2873568" y="2639359"/>
                  <a:pt x="2875390" y="2639359"/>
                  <a:pt x="2875390" y="2639359"/>
                </a:cubicBezTo>
                <a:cubicBezTo>
                  <a:pt x="2879035" y="2641182"/>
                  <a:pt x="2880857" y="2633894"/>
                  <a:pt x="2875390" y="2632072"/>
                </a:cubicBezTo>
                <a:close/>
                <a:moveTo>
                  <a:pt x="987618" y="2630333"/>
                </a:moveTo>
                <a:lnTo>
                  <a:pt x="1002196" y="2637631"/>
                </a:lnTo>
                <a:cubicBezTo>
                  <a:pt x="987618" y="2657668"/>
                  <a:pt x="998552" y="2652196"/>
                  <a:pt x="971219" y="2659490"/>
                </a:cubicBezTo>
                <a:close/>
                <a:moveTo>
                  <a:pt x="1014951" y="2628445"/>
                </a:moveTo>
                <a:cubicBezTo>
                  <a:pt x="1015862" y="2631180"/>
                  <a:pt x="1016774" y="2632547"/>
                  <a:pt x="1017913" y="2635053"/>
                </a:cubicBezTo>
                <a:lnTo>
                  <a:pt x="1018303" y="2636265"/>
                </a:lnTo>
                <a:close/>
                <a:moveTo>
                  <a:pt x="1091484" y="2624798"/>
                </a:moveTo>
                <a:cubicBezTo>
                  <a:pt x="1093305" y="2630266"/>
                  <a:pt x="1093305" y="2635734"/>
                  <a:pt x="1096949" y="2639379"/>
                </a:cubicBezTo>
                <a:cubicBezTo>
                  <a:pt x="1095127" y="2643022"/>
                  <a:pt x="1089660" y="2646668"/>
                  <a:pt x="1089660" y="2650312"/>
                </a:cubicBezTo>
                <a:cubicBezTo>
                  <a:pt x="1087838" y="2644845"/>
                  <a:pt x="1091484" y="2637556"/>
                  <a:pt x="1087838" y="2630266"/>
                </a:cubicBezTo>
                <a:cubicBezTo>
                  <a:pt x="1089660" y="2630266"/>
                  <a:pt x="1091484" y="2628449"/>
                  <a:pt x="1091484" y="2628449"/>
                </a:cubicBezTo>
                <a:cubicBezTo>
                  <a:pt x="1091484" y="2628449"/>
                  <a:pt x="1089660" y="2626627"/>
                  <a:pt x="1091484" y="2624798"/>
                </a:cubicBezTo>
                <a:close/>
                <a:moveTo>
                  <a:pt x="2862635" y="2624783"/>
                </a:moveTo>
                <a:cubicBezTo>
                  <a:pt x="2860813" y="2624783"/>
                  <a:pt x="2858991" y="2630250"/>
                  <a:pt x="2862635" y="2632072"/>
                </a:cubicBezTo>
                <a:cubicBezTo>
                  <a:pt x="2864457" y="2632072"/>
                  <a:pt x="2868101" y="2630250"/>
                  <a:pt x="2868101" y="2628427"/>
                </a:cubicBezTo>
                <a:cubicBezTo>
                  <a:pt x="2868101" y="2624783"/>
                  <a:pt x="2864457" y="2622961"/>
                  <a:pt x="2862635" y="2624783"/>
                </a:cubicBezTo>
                <a:close/>
                <a:moveTo>
                  <a:pt x="3784656" y="2621247"/>
                </a:moveTo>
                <a:lnTo>
                  <a:pt x="3822921" y="2621247"/>
                </a:lnTo>
                <a:cubicBezTo>
                  <a:pt x="3841143" y="2621247"/>
                  <a:pt x="3844787" y="2633987"/>
                  <a:pt x="3859365" y="2644914"/>
                </a:cubicBezTo>
                <a:lnTo>
                  <a:pt x="3864832" y="2674099"/>
                </a:lnTo>
                <a:lnTo>
                  <a:pt x="3859365" y="2695996"/>
                </a:lnTo>
                <a:lnTo>
                  <a:pt x="3844787" y="2710582"/>
                </a:lnTo>
                <a:lnTo>
                  <a:pt x="3815633" y="2719703"/>
                </a:lnTo>
                <a:cubicBezTo>
                  <a:pt x="3781011" y="2688695"/>
                  <a:pt x="3799233" y="2717874"/>
                  <a:pt x="3770077" y="2674099"/>
                </a:cubicBezTo>
                <a:cubicBezTo>
                  <a:pt x="3770077" y="2674099"/>
                  <a:pt x="3777366" y="2661327"/>
                  <a:pt x="3777366" y="2659501"/>
                </a:cubicBezTo>
                <a:cubicBezTo>
                  <a:pt x="3777366" y="2630345"/>
                  <a:pt x="3781011" y="2655854"/>
                  <a:pt x="3770077" y="2635822"/>
                </a:cubicBezTo>
                <a:lnTo>
                  <a:pt x="3784656" y="2635822"/>
                </a:lnTo>
                <a:close/>
                <a:moveTo>
                  <a:pt x="1069616" y="2619335"/>
                </a:moveTo>
                <a:cubicBezTo>
                  <a:pt x="1069616" y="2626627"/>
                  <a:pt x="1073262" y="2635734"/>
                  <a:pt x="1076905" y="2643022"/>
                </a:cubicBezTo>
                <a:lnTo>
                  <a:pt x="1075083" y="2643022"/>
                </a:lnTo>
                <a:cubicBezTo>
                  <a:pt x="1065972" y="2633914"/>
                  <a:pt x="1056861" y="2628445"/>
                  <a:pt x="1045929" y="2624798"/>
                </a:cubicBezTo>
                <a:cubicBezTo>
                  <a:pt x="1049572" y="2635734"/>
                  <a:pt x="1058683" y="2639379"/>
                  <a:pt x="1067794" y="2643022"/>
                </a:cubicBezTo>
                <a:lnTo>
                  <a:pt x="1065972" y="2643022"/>
                </a:lnTo>
                <a:lnTo>
                  <a:pt x="1071439" y="2648491"/>
                </a:lnTo>
                <a:cubicBezTo>
                  <a:pt x="1064151" y="2646668"/>
                  <a:pt x="1056861" y="2643022"/>
                  <a:pt x="1047750" y="2644845"/>
                </a:cubicBezTo>
                <a:cubicBezTo>
                  <a:pt x="1049572" y="2648491"/>
                  <a:pt x="1053217" y="2652135"/>
                  <a:pt x="1056861" y="2653958"/>
                </a:cubicBezTo>
                <a:lnTo>
                  <a:pt x="1022240" y="2648491"/>
                </a:lnTo>
                <a:lnTo>
                  <a:pt x="1018303" y="2636265"/>
                </a:lnTo>
                <a:lnTo>
                  <a:pt x="1020418" y="2641200"/>
                </a:lnTo>
                <a:cubicBezTo>
                  <a:pt x="1025884" y="2641200"/>
                  <a:pt x="1024062" y="2633914"/>
                  <a:pt x="1020418" y="2632087"/>
                </a:cubicBezTo>
                <a:cubicBezTo>
                  <a:pt x="1025884" y="2628445"/>
                  <a:pt x="1025884" y="2637556"/>
                  <a:pt x="1027707" y="2641200"/>
                </a:cubicBezTo>
                <a:cubicBezTo>
                  <a:pt x="1033173" y="2639379"/>
                  <a:pt x="1027707" y="2637556"/>
                  <a:pt x="1027707" y="2633914"/>
                </a:cubicBezTo>
                <a:cubicBezTo>
                  <a:pt x="1031351" y="2635734"/>
                  <a:pt x="1031351" y="2641200"/>
                  <a:pt x="1034995" y="2641200"/>
                </a:cubicBezTo>
                <a:cubicBezTo>
                  <a:pt x="1036818" y="2639379"/>
                  <a:pt x="1034995" y="2637556"/>
                  <a:pt x="1033173" y="2635734"/>
                </a:cubicBezTo>
                <a:cubicBezTo>
                  <a:pt x="1034995" y="2635734"/>
                  <a:pt x="1034995" y="2637556"/>
                  <a:pt x="1036818" y="2637556"/>
                </a:cubicBezTo>
                <a:cubicBezTo>
                  <a:pt x="1038639" y="2635734"/>
                  <a:pt x="1038639" y="2632087"/>
                  <a:pt x="1036818" y="2632087"/>
                </a:cubicBezTo>
                <a:cubicBezTo>
                  <a:pt x="1038639" y="2632087"/>
                  <a:pt x="1040462" y="2630266"/>
                  <a:pt x="1040462" y="2628445"/>
                </a:cubicBezTo>
                <a:cubicBezTo>
                  <a:pt x="1034995" y="2624798"/>
                  <a:pt x="1025884" y="2630266"/>
                  <a:pt x="1020418" y="2626627"/>
                </a:cubicBezTo>
                <a:cubicBezTo>
                  <a:pt x="1020418" y="2624798"/>
                  <a:pt x="1022240" y="2624798"/>
                  <a:pt x="1022240" y="2624798"/>
                </a:cubicBezTo>
                <a:cubicBezTo>
                  <a:pt x="1020418" y="2622977"/>
                  <a:pt x="1018596" y="2624798"/>
                  <a:pt x="1016774" y="2622977"/>
                </a:cubicBezTo>
                <a:cubicBezTo>
                  <a:pt x="1031351" y="2619335"/>
                  <a:pt x="1042284" y="2621158"/>
                  <a:pt x="1055040" y="2621158"/>
                </a:cubicBezTo>
                <a:cubicBezTo>
                  <a:pt x="1056861" y="2622977"/>
                  <a:pt x="1058683" y="2624798"/>
                  <a:pt x="1060506" y="2624798"/>
                </a:cubicBezTo>
                <a:cubicBezTo>
                  <a:pt x="1062328" y="2624798"/>
                  <a:pt x="1060506" y="2622977"/>
                  <a:pt x="1058683" y="2621158"/>
                </a:cubicBezTo>
                <a:cubicBezTo>
                  <a:pt x="1062328" y="2619335"/>
                  <a:pt x="1065972" y="2619335"/>
                  <a:pt x="1069616" y="2619335"/>
                </a:cubicBezTo>
                <a:close/>
                <a:moveTo>
                  <a:pt x="1142503" y="2619333"/>
                </a:moveTo>
                <a:cubicBezTo>
                  <a:pt x="1142503" y="2619333"/>
                  <a:pt x="1144325" y="2619333"/>
                  <a:pt x="1144325" y="2619333"/>
                </a:cubicBezTo>
                <a:lnTo>
                  <a:pt x="1142505" y="2621153"/>
                </a:lnTo>
                <a:lnTo>
                  <a:pt x="1153436" y="2626622"/>
                </a:lnTo>
                <a:cubicBezTo>
                  <a:pt x="1147970" y="2630264"/>
                  <a:pt x="1142503" y="2632084"/>
                  <a:pt x="1140681" y="2635729"/>
                </a:cubicBezTo>
                <a:cubicBezTo>
                  <a:pt x="1140681" y="2632084"/>
                  <a:pt x="1142503" y="2626622"/>
                  <a:pt x="1142503" y="2621153"/>
                </a:cubicBezTo>
                <a:close/>
                <a:moveTo>
                  <a:pt x="1162547" y="2615685"/>
                </a:moveTo>
                <a:cubicBezTo>
                  <a:pt x="1164370" y="2617512"/>
                  <a:pt x="1162547" y="2619335"/>
                  <a:pt x="1160724" y="2619335"/>
                </a:cubicBezTo>
                <a:cubicBezTo>
                  <a:pt x="1160724" y="2619335"/>
                  <a:pt x="1158902" y="2619335"/>
                  <a:pt x="1158902" y="2617512"/>
                </a:cubicBezTo>
                <a:cubicBezTo>
                  <a:pt x="1160724" y="2615685"/>
                  <a:pt x="1160724" y="2615685"/>
                  <a:pt x="1162547" y="2615685"/>
                </a:cubicBezTo>
                <a:close/>
                <a:moveTo>
                  <a:pt x="1130432" y="2614554"/>
                </a:moveTo>
                <a:cubicBezTo>
                  <a:pt x="1133848" y="2613870"/>
                  <a:pt x="1137037" y="2613870"/>
                  <a:pt x="1138860" y="2615691"/>
                </a:cubicBezTo>
                <a:cubicBezTo>
                  <a:pt x="1137039" y="2624798"/>
                  <a:pt x="1131571" y="2632087"/>
                  <a:pt x="1131571" y="2641200"/>
                </a:cubicBezTo>
                <a:cubicBezTo>
                  <a:pt x="1129749" y="2641200"/>
                  <a:pt x="1127926" y="2639377"/>
                  <a:pt x="1124281" y="2641200"/>
                </a:cubicBezTo>
                <a:cubicBezTo>
                  <a:pt x="1122459" y="2641200"/>
                  <a:pt x="1122459" y="2643022"/>
                  <a:pt x="1122459" y="2643022"/>
                </a:cubicBezTo>
                <a:cubicBezTo>
                  <a:pt x="1122459" y="2644844"/>
                  <a:pt x="1124281" y="2646668"/>
                  <a:pt x="1126104" y="2646668"/>
                </a:cubicBezTo>
                <a:cubicBezTo>
                  <a:pt x="1126104" y="2648491"/>
                  <a:pt x="1126104" y="2648491"/>
                  <a:pt x="1126104" y="2650312"/>
                </a:cubicBezTo>
                <a:cubicBezTo>
                  <a:pt x="1122459" y="2650312"/>
                  <a:pt x="1126104" y="2648491"/>
                  <a:pt x="1124281" y="2646668"/>
                </a:cubicBezTo>
                <a:cubicBezTo>
                  <a:pt x="1120637" y="2648491"/>
                  <a:pt x="1120637" y="2650312"/>
                  <a:pt x="1120637" y="2653958"/>
                </a:cubicBezTo>
                <a:cubicBezTo>
                  <a:pt x="1118815" y="2653958"/>
                  <a:pt x="1118815" y="2653958"/>
                  <a:pt x="1116993" y="2653958"/>
                </a:cubicBezTo>
                <a:cubicBezTo>
                  <a:pt x="1118815" y="2650312"/>
                  <a:pt x="1120637" y="2646668"/>
                  <a:pt x="1120637" y="2641200"/>
                </a:cubicBezTo>
                <a:cubicBezTo>
                  <a:pt x="1120637" y="2639377"/>
                  <a:pt x="1116993" y="2639377"/>
                  <a:pt x="1115171" y="2641200"/>
                </a:cubicBezTo>
                <a:cubicBezTo>
                  <a:pt x="1113348" y="2639377"/>
                  <a:pt x="1115171" y="2637556"/>
                  <a:pt x="1115171" y="2635734"/>
                </a:cubicBezTo>
                <a:cubicBezTo>
                  <a:pt x="1113348" y="2635734"/>
                  <a:pt x="1113348" y="2637556"/>
                  <a:pt x="1111526" y="2637556"/>
                </a:cubicBezTo>
                <a:cubicBezTo>
                  <a:pt x="1109704" y="2635734"/>
                  <a:pt x="1111526" y="2633910"/>
                  <a:pt x="1111526" y="2632087"/>
                </a:cubicBezTo>
                <a:cubicBezTo>
                  <a:pt x="1107882" y="2630266"/>
                  <a:pt x="1104238" y="2635734"/>
                  <a:pt x="1100593" y="2637556"/>
                </a:cubicBezTo>
                <a:cubicBezTo>
                  <a:pt x="1100593" y="2633910"/>
                  <a:pt x="1102415" y="2630266"/>
                  <a:pt x="1102415" y="2621158"/>
                </a:cubicBezTo>
                <a:cubicBezTo>
                  <a:pt x="1104238" y="2621158"/>
                  <a:pt x="1106060" y="2624798"/>
                  <a:pt x="1109704" y="2624798"/>
                </a:cubicBezTo>
                <a:cubicBezTo>
                  <a:pt x="1109704" y="2621158"/>
                  <a:pt x="1106060" y="2619335"/>
                  <a:pt x="1104238" y="2617521"/>
                </a:cubicBezTo>
                <a:cubicBezTo>
                  <a:pt x="1109704" y="2615691"/>
                  <a:pt x="1113348" y="2617521"/>
                  <a:pt x="1118815" y="2617521"/>
                </a:cubicBezTo>
                <a:cubicBezTo>
                  <a:pt x="1118815" y="2621158"/>
                  <a:pt x="1118815" y="2622977"/>
                  <a:pt x="1120637" y="2624798"/>
                </a:cubicBezTo>
                <a:cubicBezTo>
                  <a:pt x="1122459" y="2624798"/>
                  <a:pt x="1120637" y="2622977"/>
                  <a:pt x="1122459" y="2622977"/>
                </a:cubicBezTo>
                <a:cubicBezTo>
                  <a:pt x="1122459" y="2621158"/>
                  <a:pt x="1120637" y="2619335"/>
                  <a:pt x="1120637" y="2617521"/>
                </a:cubicBezTo>
                <a:cubicBezTo>
                  <a:pt x="1123371" y="2616600"/>
                  <a:pt x="1127015" y="2615236"/>
                  <a:pt x="1130432" y="2614554"/>
                </a:cubicBezTo>
                <a:close/>
                <a:moveTo>
                  <a:pt x="1301032" y="2613868"/>
                </a:moveTo>
                <a:cubicBezTo>
                  <a:pt x="1301032" y="2615691"/>
                  <a:pt x="1302855" y="2613868"/>
                  <a:pt x="1304677" y="2613868"/>
                </a:cubicBezTo>
                <a:cubicBezTo>
                  <a:pt x="1306499" y="2613868"/>
                  <a:pt x="1301032" y="2617517"/>
                  <a:pt x="1301032" y="2617517"/>
                </a:cubicBezTo>
                <a:cubicBezTo>
                  <a:pt x="1301032" y="2615691"/>
                  <a:pt x="1301032" y="2615691"/>
                  <a:pt x="1301032" y="2613868"/>
                </a:cubicBezTo>
                <a:close/>
                <a:moveTo>
                  <a:pt x="1155259" y="2612047"/>
                </a:moveTo>
                <a:cubicBezTo>
                  <a:pt x="1155259" y="2615691"/>
                  <a:pt x="1158902" y="2615691"/>
                  <a:pt x="1157080" y="2619335"/>
                </a:cubicBezTo>
                <a:cubicBezTo>
                  <a:pt x="1155259" y="2619335"/>
                  <a:pt x="1153436" y="2617517"/>
                  <a:pt x="1151614" y="2617517"/>
                </a:cubicBezTo>
                <a:cubicBezTo>
                  <a:pt x="1149791" y="2615691"/>
                  <a:pt x="1153436" y="2617517"/>
                  <a:pt x="1151614" y="2613868"/>
                </a:cubicBezTo>
                <a:cubicBezTo>
                  <a:pt x="1149791" y="2613868"/>
                  <a:pt x="1147969" y="2615691"/>
                  <a:pt x="1147969" y="2613868"/>
                </a:cubicBezTo>
                <a:cubicBezTo>
                  <a:pt x="1151614" y="2612047"/>
                  <a:pt x="1153436" y="2613868"/>
                  <a:pt x="1155259" y="2612047"/>
                </a:cubicBezTo>
                <a:close/>
                <a:moveTo>
                  <a:pt x="3589683" y="2606677"/>
                </a:moveTo>
                <a:cubicBezTo>
                  <a:pt x="3607905" y="2617608"/>
                  <a:pt x="3598794" y="2615772"/>
                  <a:pt x="3620660" y="2621238"/>
                </a:cubicBezTo>
                <a:cubicBezTo>
                  <a:pt x="3615194" y="2643090"/>
                  <a:pt x="3620660" y="2632166"/>
                  <a:pt x="3604261" y="2644906"/>
                </a:cubicBezTo>
                <a:cubicBezTo>
                  <a:pt x="3589683" y="2604856"/>
                  <a:pt x="3598794" y="2655846"/>
                  <a:pt x="3589683" y="2606677"/>
                </a:cubicBezTo>
                <a:close/>
                <a:moveTo>
                  <a:pt x="3536839" y="2606634"/>
                </a:moveTo>
                <a:lnTo>
                  <a:pt x="3553239" y="2608461"/>
                </a:lnTo>
                <a:lnTo>
                  <a:pt x="3538661" y="2623023"/>
                </a:lnTo>
                <a:close/>
                <a:moveTo>
                  <a:pt x="2848286" y="2603373"/>
                </a:moveTo>
                <a:cubicBezTo>
                  <a:pt x="2846691" y="2602917"/>
                  <a:pt x="2844413" y="2603828"/>
                  <a:pt x="2842591" y="2606561"/>
                </a:cubicBezTo>
                <a:cubicBezTo>
                  <a:pt x="2842591" y="2610206"/>
                  <a:pt x="2848058" y="2612028"/>
                  <a:pt x="2849880" y="2608382"/>
                </a:cubicBezTo>
                <a:cubicBezTo>
                  <a:pt x="2850791" y="2605650"/>
                  <a:pt x="2849880" y="2603828"/>
                  <a:pt x="2848286" y="2603373"/>
                </a:cubicBezTo>
                <a:close/>
                <a:moveTo>
                  <a:pt x="951175" y="2599381"/>
                </a:moveTo>
                <a:lnTo>
                  <a:pt x="940242" y="2628516"/>
                </a:lnTo>
                <a:lnTo>
                  <a:pt x="925664" y="2619406"/>
                </a:lnTo>
                <a:close/>
                <a:moveTo>
                  <a:pt x="3329113" y="2599273"/>
                </a:moveTo>
                <a:cubicBezTo>
                  <a:pt x="3327291" y="2599273"/>
                  <a:pt x="3325468" y="2599273"/>
                  <a:pt x="3325468" y="2601096"/>
                </a:cubicBezTo>
                <a:cubicBezTo>
                  <a:pt x="3325468" y="2601096"/>
                  <a:pt x="3325468" y="2602919"/>
                  <a:pt x="3325468" y="2604739"/>
                </a:cubicBezTo>
                <a:cubicBezTo>
                  <a:pt x="3325468" y="2606563"/>
                  <a:pt x="3327291" y="2606563"/>
                  <a:pt x="3329113" y="2606563"/>
                </a:cubicBezTo>
                <a:cubicBezTo>
                  <a:pt x="3329113" y="2606563"/>
                  <a:pt x="3330935" y="2606563"/>
                  <a:pt x="3330935" y="2606563"/>
                </a:cubicBezTo>
                <a:cubicBezTo>
                  <a:pt x="3334579" y="2604739"/>
                  <a:pt x="3332757" y="2599273"/>
                  <a:pt x="3329113" y="2599273"/>
                </a:cubicBezTo>
                <a:close/>
                <a:moveTo>
                  <a:pt x="3312713" y="2599273"/>
                </a:moveTo>
                <a:cubicBezTo>
                  <a:pt x="3309069" y="2597453"/>
                  <a:pt x="3307247" y="2604739"/>
                  <a:pt x="3310891" y="2606563"/>
                </a:cubicBezTo>
                <a:cubicBezTo>
                  <a:pt x="3314535" y="2606563"/>
                  <a:pt x="3316357" y="2601096"/>
                  <a:pt x="3312713" y="2599273"/>
                </a:cubicBezTo>
                <a:close/>
                <a:moveTo>
                  <a:pt x="3409288" y="2597455"/>
                </a:moveTo>
                <a:cubicBezTo>
                  <a:pt x="3409288" y="2597455"/>
                  <a:pt x="3411110" y="2599278"/>
                  <a:pt x="3411110" y="2599278"/>
                </a:cubicBezTo>
                <a:cubicBezTo>
                  <a:pt x="3412932" y="2599278"/>
                  <a:pt x="3412932" y="2601100"/>
                  <a:pt x="3414754" y="2601100"/>
                </a:cubicBezTo>
                <a:cubicBezTo>
                  <a:pt x="3411110" y="2601100"/>
                  <a:pt x="3409288" y="2599278"/>
                  <a:pt x="3405643" y="2599278"/>
                </a:cubicBezTo>
                <a:close/>
                <a:moveTo>
                  <a:pt x="3367378" y="2597453"/>
                </a:moveTo>
                <a:cubicBezTo>
                  <a:pt x="3361912" y="2597453"/>
                  <a:pt x="3360089" y="2602919"/>
                  <a:pt x="3363734" y="2604739"/>
                </a:cubicBezTo>
                <a:cubicBezTo>
                  <a:pt x="3365556" y="2604739"/>
                  <a:pt x="3365556" y="2604739"/>
                  <a:pt x="3365556" y="2604739"/>
                </a:cubicBezTo>
                <a:cubicBezTo>
                  <a:pt x="3371023" y="2604739"/>
                  <a:pt x="3372845" y="2599273"/>
                  <a:pt x="3367378" y="2597453"/>
                </a:cubicBezTo>
                <a:close/>
                <a:moveTo>
                  <a:pt x="3266931" y="2597224"/>
                </a:moveTo>
                <a:cubicBezTo>
                  <a:pt x="3265792" y="2596996"/>
                  <a:pt x="3264425" y="2597451"/>
                  <a:pt x="3263514" y="2599273"/>
                </a:cubicBezTo>
                <a:cubicBezTo>
                  <a:pt x="3263514" y="2601096"/>
                  <a:pt x="3265336" y="2604739"/>
                  <a:pt x="3267159" y="2604739"/>
                </a:cubicBezTo>
                <a:cubicBezTo>
                  <a:pt x="3270803" y="2604739"/>
                  <a:pt x="3272625" y="2601096"/>
                  <a:pt x="3268981" y="2599273"/>
                </a:cubicBezTo>
                <a:cubicBezTo>
                  <a:pt x="3268981" y="2598363"/>
                  <a:pt x="3268070" y="2597452"/>
                  <a:pt x="3266931" y="2597224"/>
                </a:cubicBezTo>
                <a:close/>
                <a:moveTo>
                  <a:pt x="1379385" y="2595648"/>
                </a:moveTo>
                <a:cubicBezTo>
                  <a:pt x="1383030" y="2595648"/>
                  <a:pt x="1383030" y="2599293"/>
                  <a:pt x="1386674" y="2599293"/>
                </a:cubicBezTo>
                <a:cubicBezTo>
                  <a:pt x="1388496" y="2601117"/>
                  <a:pt x="1390319" y="2602934"/>
                  <a:pt x="1390319" y="2604758"/>
                </a:cubicBezTo>
                <a:cubicBezTo>
                  <a:pt x="1386674" y="2601117"/>
                  <a:pt x="1381208" y="2602934"/>
                  <a:pt x="1377563" y="2599293"/>
                </a:cubicBezTo>
                <a:cubicBezTo>
                  <a:pt x="1377563" y="2599293"/>
                  <a:pt x="1381208" y="2597469"/>
                  <a:pt x="1379385" y="2595648"/>
                </a:cubicBezTo>
                <a:close/>
                <a:moveTo>
                  <a:pt x="3298136" y="2593809"/>
                </a:moveTo>
                <a:cubicBezTo>
                  <a:pt x="3292669" y="2591986"/>
                  <a:pt x="3290847" y="2599273"/>
                  <a:pt x="3294491" y="2601096"/>
                </a:cubicBezTo>
                <a:cubicBezTo>
                  <a:pt x="3296313" y="2601096"/>
                  <a:pt x="3296313" y="2601096"/>
                  <a:pt x="3296313" y="2601096"/>
                </a:cubicBezTo>
                <a:cubicBezTo>
                  <a:pt x="3299958" y="2601096"/>
                  <a:pt x="3301780" y="2595629"/>
                  <a:pt x="3298136" y="2593809"/>
                </a:cubicBezTo>
                <a:close/>
                <a:moveTo>
                  <a:pt x="3254404" y="2591986"/>
                </a:moveTo>
                <a:cubicBezTo>
                  <a:pt x="3248937" y="2591986"/>
                  <a:pt x="3247115" y="2597453"/>
                  <a:pt x="3252581" y="2599273"/>
                </a:cubicBezTo>
                <a:cubicBezTo>
                  <a:pt x="3256226" y="2601096"/>
                  <a:pt x="3258048" y="2593809"/>
                  <a:pt x="3256226" y="2591986"/>
                </a:cubicBezTo>
                <a:cubicBezTo>
                  <a:pt x="3254404" y="2591986"/>
                  <a:pt x="3254404" y="2591986"/>
                  <a:pt x="3254404" y="2591986"/>
                </a:cubicBezTo>
                <a:close/>
                <a:moveTo>
                  <a:pt x="3429332" y="2590168"/>
                </a:moveTo>
                <a:lnTo>
                  <a:pt x="3429332" y="2591990"/>
                </a:lnTo>
                <a:cubicBezTo>
                  <a:pt x="3427510" y="2591990"/>
                  <a:pt x="3425688" y="2591990"/>
                  <a:pt x="3423865" y="2591990"/>
                </a:cubicBezTo>
                <a:close/>
                <a:moveTo>
                  <a:pt x="3283330" y="2588114"/>
                </a:moveTo>
                <a:cubicBezTo>
                  <a:pt x="3282192" y="2587886"/>
                  <a:pt x="3280825" y="2588342"/>
                  <a:pt x="3279914" y="2590165"/>
                </a:cubicBezTo>
                <a:cubicBezTo>
                  <a:pt x="3279914" y="2591986"/>
                  <a:pt x="3281736" y="2595629"/>
                  <a:pt x="3283558" y="2595629"/>
                </a:cubicBezTo>
                <a:cubicBezTo>
                  <a:pt x="3287202" y="2597453"/>
                  <a:pt x="3289025" y="2593809"/>
                  <a:pt x="3285380" y="2590165"/>
                </a:cubicBezTo>
                <a:cubicBezTo>
                  <a:pt x="3285380" y="2589254"/>
                  <a:pt x="3284469" y="2588342"/>
                  <a:pt x="3283330" y="2588114"/>
                </a:cubicBezTo>
                <a:close/>
                <a:moveTo>
                  <a:pt x="3270803" y="2586519"/>
                </a:moveTo>
                <a:cubicBezTo>
                  <a:pt x="3265336" y="2586519"/>
                  <a:pt x="3263514" y="2591986"/>
                  <a:pt x="3268981" y="2593809"/>
                </a:cubicBezTo>
                <a:cubicBezTo>
                  <a:pt x="3272625" y="2593809"/>
                  <a:pt x="3274447" y="2588342"/>
                  <a:pt x="3272625" y="2586519"/>
                </a:cubicBezTo>
                <a:cubicBezTo>
                  <a:pt x="3270803" y="2586519"/>
                  <a:pt x="3270803" y="2586519"/>
                  <a:pt x="3270803" y="2586519"/>
                </a:cubicBezTo>
                <a:close/>
                <a:moveTo>
                  <a:pt x="3241420" y="2586292"/>
                </a:moveTo>
                <a:cubicBezTo>
                  <a:pt x="3240282" y="2586064"/>
                  <a:pt x="3238915" y="2586520"/>
                  <a:pt x="3238004" y="2588342"/>
                </a:cubicBezTo>
                <a:cubicBezTo>
                  <a:pt x="3238004" y="2590165"/>
                  <a:pt x="3239826" y="2593809"/>
                  <a:pt x="3241648" y="2593809"/>
                </a:cubicBezTo>
                <a:cubicBezTo>
                  <a:pt x="3245293" y="2595629"/>
                  <a:pt x="3247115" y="2590165"/>
                  <a:pt x="3243470" y="2588342"/>
                </a:cubicBezTo>
                <a:cubicBezTo>
                  <a:pt x="3243470" y="2587431"/>
                  <a:pt x="3242559" y="2586520"/>
                  <a:pt x="3241420" y="2586292"/>
                </a:cubicBezTo>
                <a:close/>
                <a:moveTo>
                  <a:pt x="1007663" y="2581144"/>
                </a:moveTo>
                <a:lnTo>
                  <a:pt x="1016774" y="2599366"/>
                </a:lnTo>
                <a:lnTo>
                  <a:pt x="993085" y="2597541"/>
                </a:lnTo>
                <a:close/>
                <a:moveTo>
                  <a:pt x="1304676" y="2581069"/>
                </a:moveTo>
                <a:cubicBezTo>
                  <a:pt x="1304676" y="2586538"/>
                  <a:pt x="1306498" y="2592004"/>
                  <a:pt x="1304676" y="2595650"/>
                </a:cubicBezTo>
                <a:cubicBezTo>
                  <a:pt x="1302855" y="2590180"/>
                  <a:pt x="1297388" y="2590180"/>
                  <a:pt x="1293744" y="2590180"/>
                </a:cubicBezTo>
                <a:cubicBezTo>
                  <a:pt x="1293744" y="2586538"/>
                  <a:pt x="1297388" y="2584715"/>
                  <a:pt x="1299210" y="2582893"/>
                </a:cubicBezTo>
                <a:cubicBezTo>
                  <a:pt x="1301032" y="2584715"/>
                  <a:pt x="1301032" y="2586538"/>
                  <a:pt x="1301032" y="2584715"/>
                </a:cubicBezTo>
                <a:cubicBezTo>
                  <a:pt x="1302855" y="2582893"/>
                  <a:pt x="1302855" y="2582893"/>
                  <a:pt x="1304676" y="2581069"/>
                </a:cubicBezTo>
                <a:close/>
                <a:moveTo>
                  <a:pt x="3493107" y="2581055"/>
                </a:moveTo>
                <a:cubicBezTo>
                  <a:pt x="3494930" y="2584699"/>
                  <a:pt x="3498574" y="2588344"/>
                  <a:pt x="3502218" y="2590165"/>
                </a:cubicBezTo>
                <a:lnTo>
                  <a:pt x="3496752" y="2590165"/>
                </a:lnTo>
                <a:cubicBezTo>
                  <a:pt x="3496752" y="2588344"/>
                  <a:pt x="3494930" y="2584699"/>
                  <a:pt x="3493107" y="2581055"/>
                </a:cubicBezTo>
                <a:close/>
                <a:moveTo>
                  <a:pt x="2957389" y="2579376"/>
                </a:moveTo>
                <a:lnTo>
                  <a:pt x="2962856" y="2579376"/>
                </a:lnTo>
                <a:lnTo>
                  <a:pt x="2962856" y="2584844"/>
                </a:lnTo>
                <a:close/>
                <a:moveTo>
                  <a:pt x="3254404" y="2579230"/>
                </a:moveTo>
                <a:cubicBezTo>
                  <a:pt x="3248937" y="2579230"/>
                  <a:pt x="3247115" y="2584698"/>
                  <a:pt x="3252581" y="2586519"/>
                </a:cubicBezTo>
                <a:cubicBezTo>
                  <a:pt x="3258048" y="2588342"/>
                  <a:pt x="3259870" y="2581052"/>
                  <a:pt x="3256226" y="2579230"/>
                </a:cubicBezTo>
                <a:cubicBezTo>
                  <a:pt x="3254404" y="2579230"/>
                  <a:pt x="3254404" y="2579230"/>
                  <a:pt x="3254404" y="2579230"/>
                </a:cubicBezTo>
                <a:close/>
                <a:moveTo>
                  <a:pt x="3395522" y="2575959"/>
                </a:moveTo>
                <a:lnTo>
                  <a:pt x="3414754" y="2584702"/>
                </a:lnTo>
                <a:lnTo>
                  <a:pt x="3403821" y="2597458"/>
                </a:lnTo>
                <a:cubicBezTo>
                  <a:pt x="3396532" y="2595635"/>
                  <a:pt x="3391066" y="2591990"/>
                  <a:pt x="3389243" y="2588346"/>
                </a:cubicBezTo>
                <a:lnTo>
                  <a:pt x="3398354" y="2581058"/>
                </a:lnTo>
                <a:close/>
                <a:moveTo>
                  <a:pt x="783535" y="2575691"/>
                </a:moveTo>
                <a:lnTo>
                  <a:pt x="805401" y="2599376"/>
                </a:lnTo>
                <a:lnTo>
                  <a:pt x="783535" y="2599376"/>
                </a:lnTo>
                <a:close/>
                <a:moveTo>
                  <a:pt x="1290099" y="2573783"/>
                </a:moveTo>
                <a:cubicBezTo>
                  <a:pt x="1291921" y="2573783"/>
                  <a:pt x="1293744" y="2577425"/>
                  <a:pt x="1297388" y="2575603"/>
                </a:cubicBezTo>
                <a:cubicBezTo>
                  <a:pt x="1297388" y="2579248"/>
                  <a:pt x="1297388" y="2581069"/>
                  <a:pt x="1295566" y="2582893"/>
                </a:cubicBezTo>
                <a:cubicBezTo>
                  <a:pt x="1293744" y="2581069"/>
                  <a:pt x="1295566" y="2579248"/>
                  <a:pt x="1293744" y="2579248"/>
                </a:cubicBezTo>
                <a:cubicBezTo>
                  <a:pt x="1291921" y="2579248"/>
                  <a:pt x="1291921" y="2581069"/>
                  <a:pt x="1291921" y="2581069"/>
                </a:cubicBezTo>
                <a:cubicBezTo>
                  <a:pt x="1290099" y="2579248"/>
                  <a:pt x="1291921" y="2577425"/>
                  <a:pt x="1290099" y="2573783"/>
                </a:cubicBezTo>
                <a:close/>
                <a:moveTo>
                  <a:pt x="3214316" y="2573764"/>
                </a:moveTo>
                <a:cubicBezTo>
                  <a:pt x="3208849" y="2573764"/>
                  <a:pt x="3207027" y="2579230"/>
                  <a:pt x="3212494" y="2581052"/>
                </a:cubicBezTo>
                <a:cubicBezTo>
                  <a:pt x="3216138" y="2582875"/>
                  <a:pt x="3217960" y="2577408"/>
                  <a:pt x="3216138" y="2573764"/>
                </a:cubicBezTo>
                <a:cubicBezTo>
                  <a:pt x="3214316" y="2573764"/>
                  <a:pt x="3214316" y="2573764"/>
                  <a:pt x="3214316" y="2573764"/>
                </a:cubicBezTo>
                <a:close/>
                <a:moveTo>
                  <a:pt x="3890341" y="2570254"/>
                </a:moveTo>
                <a:cubicBezTo>
                  <a:pt x="3908563" y="2570254"/>
                  <a:pt x="3899452" y="2572086"/>
                  <a:pt x="3919496" y="2577539"/>
                </a:cubicBezTo>
                <a:lnTo>
                  <a:pt x="3928607" y="2615784"/>
                </a:lnTo>
                <a:cubicBezTo>
                  <a:pt x="3923140" y="2619426"/>
                  <a:pt x="3910385" y="2630343"/>
                  <a:pt x="3906741" y="2630343"/>
                </a:cubicBezTo>
                <a:cubicBezTo>
                  <a:pt x="3888519" y="2630343"/>
                  <a:pt x="3890341" y="2623067"/>
                  <a:pt x="3877586" y="2613966"/>
                </a:cubicBezTo>
                <a:lnTo>
                  <a:pt x="3870297" y="2583012"/>
                </a:lnTo>
                <a:cubicBezTo>
                  <a:pt x="3873942" y="2579376"/>
                  <a:pt x="3886697" y="2568442"/>
                  <a:pt x="3890341" y="2570254"/>
                </a:cubicBezTo>
                <a:close/>
                <a:moveTo>
                  <a:pt x="3392305" y="2570169"/>
                </a:moveTo>
                <a:lnTo>
                  <a:pt x="3395522" y="2575959"/>
                </a:lnTo>
                <a:lnTo>
                  <a:pt x="3394710" y="2575590"/>
                </a:lnTo>
                <a:cubicBezTo>
                  <a:pt x="3393799" y="2575590"/>
                  <a:pt x="3392433" y="2573768"/>
                  <a:pt x="3391749" y="2571946"/>
                </a:cubicBezTo>
                <a:close/>
                <a:moveTo>
                  <a:pt x="971219" y="2561150"/>
                </a:moveTo>
                <a:lnTo>
                  <a:pt x="971219" y="2599389"/>
                </a:lnTo>
                <a:cubicBezTo>
                  <a:pt x="952997" y="2584821"/>
                  <a:pt x="954819" y="2597568"/>
                  <a:pt x="962108" y="2577520"/>
                </a:cubicBezTo>
                <a:lnTo>
                  <a:pt x="956641" y="2568423"/>
                </a:lnTo>
                <a:close/>
                <a:moveTo>
                  <a:pt x="934775" y="2559273"/>
                </a:moveTo>
                <a:lnTo>
                  <a:pt x="956641" y="2568388"/>
                </a:lnTo>
                <a:lnTo>
                  <a:pt x="942064" y="2575669"/>
                </a:lnTo>
                <a:close/>
                <a:moveTo>
                  <a:pt x="3480624" y="2558950"/>
                </a:moveTo>
                <a:lnTo>
                  <a:pt x="3480775" y="2559222"/>
                </a:lnTo>
                <a:lnTo>
                  <a:pt x="3480353" y="2559191"/>
                </a:lnTo>
                <a:close/>
                <a:moveTo>
                  <a:pt x="3418398" y="2551900"/>
                </a:moveTo>
                <a:cubicBezTo>
                  <a:pt x="3425686" y="2551900"/>
                  <a:pt x="3432975" y="2553720"/>
                  <a:pt x="3440264" y="2557365"/>
                </a:cubicBezTo>
                <a:cubicBezTo>
                  <a:pt x="3440264" y="2557365"/>
                  <a:pt x="3440264" y="2557365"/>
                  <a:pt x="3442086" y="2561010"/>
                </a:cubicBezTo>
                <a:cubicBezTo>
                  <a:pt x="3432975" y="2559189"/>
                  <a:pt x="3423864" y="2557365"/>
                  <a:pt x="3414753" y="2555544"/>
                </a:cubicBezTo>
                <a:cubicBezTo>
                  <a:pt x="3416576" y="2555544"/>
                  <a:pt x="3416576" y="2553720"/>
                  <a:pt x="3418398" y="2551900"/>
                </a:cubicBezTo>
                <a:close/>
                <a:moveTo>
                  <a:pt x="3228893" y="2550076"/>
                </a:moveTo>
                <a:cubicBezTo>
                  <a:pt x="3223426" y="2550076"/>
                  <a:pt x="3221604" y="2555542"/>
                  <a:pt x="3227071" y="2557364"/>
                </a:cubicBezTo>
                <a:cubicBezTo>
                  <a:pt x="3230715" y="2559186"/>
                  <a:pt x="3232537" y="2553720"/>
                  <a:pt x="3230715" y="2550076"/>
                </a:cubicBezTo>
                <a:cubicBezTo>
                  <a:pt x="3228893" y="2550076"/>
                  <a:pt x="3228893" y="2550076"/>
                  <a:pt x="3228893" y="2550076"/>
                </a:cubicBezTo>
                <a:close/>
                <a:moveTo>
                  <a:pt x="3287202" y="2544609"/>
                </a:moveTo>
                <a:lnTo>
                  <a:pt x="3270803" y="2559186"/>
                </a:lnTo>
                <a:lnTo>
                  <a:pt x="3296313" y="2561008"/>
                </a:lnTo>
                <a:close/>
                <a:moveTo>
                  <a:pt x="2949980" y="2537717"/>
                </a:moveTo>
                <a:lnTo>
                  <a:pt x="2949656" y="2538364"/>
                </a:lnTo>
                <a:lnTo>
                  <a:pt x="2950100" y="2538003"/>
                </a:lnTo>
                <a:close/>
                <a:moveTo>
                  <a:pt x="3538663" y="2537438"/>
                </a:moveTo>
                <a:lnTo>
                  <a:pt x="3551418" y="2553840"/>
                </a:lnTo>
                <a:lnTo>
                  <a:pt x="3529552" y="2562947"/>
                </a:lnTo>
                <a:close/>
                <a:moveTo>
                  <a:pt x="3312713" y="2533820"/>
                </a:moveTo>
                <a:lnTo>
                  <a:pt x="3318179" y="2537477"/>
                </a:lnTo>
                <a:lnTo>
                  <a:pt x="3314535" y="2542943"/>
                </a:lnTo>
                <a:lnTo>
                  <a:pt x="3309068" y="2537477"/>
                </a:lnTo>
                <a:close/>
                <a:moveTo>
                  <a:pt x="2915478" y="2530188"/>
                </a:moveTo>
                <a:lnTo>
                  <a:pt x="2919122" y="2532005"/>
                </a:lnTo>
                <a:lnTo>
                  <a:pt x="2915947" y="2535183"/>
                </a:lnTo>
                <a:lnTo>
                  <a:pt x="2920945" y="2535496"/>
                </a:lnTo>
                <a:cubicBezTo>
                  <a:pt x="2920945" y="2535496"/>
                  <a:pt x="2922767" y="2535496"/>
                  <a:pt x="2922767" y="2535496"/>
                </a:cubicBezTo>
                <a:cubicBezTo>
                  <a:pt x="2928233" y="2540963"/>
                  <a:pt x="2935522" y="2544607"/>
                  <a:pt x="2940988" y="2550074"/>
                </a:cubicBezTo>
                <a:cubicBezTo>
                  <a:pt x="2940988" y="2550074"/>
                  <a:pt x="2939166" y="2550074"/>
                  <a:pt x="2937344" y="2550074"/>
                </a:cubicBezTo>
                <a:cubicBezTo>
                  <a:pt x="2927322" y="2548251"/>
                  <a:pt x="2915023" y="2545974"/>
                  <a:pt x="2902951" y="2545518"/>
                </a:cubicBezTo>
                <a:lnTo>
                  <a:pt x="2876641" y="2550598"/>
                </a:lnTo>
                <a:lnTo>
                  <a:pt x="2877212" y="2553886"/>
                </a:lnTo>
                <a:cubicBezTo>
                  <a:pt x="2875390" y="2553886"/>
                  <a:pt x="2873113" y="2553886"/>
                  <a:pt x="2871290" y="2553202"/>
                </a:cubicBezTo>
                <a:lnTo>
                  <a:pt x="2870366" y="2551810"/>
                </a:lnTo>
                <a:lnTo>
                  <a:pt x="2869924" y="2551896"/>
                </a:lnTo>
                <a:cubicBezTo>
                  <a:pt x="2864457" y="2555540"/>
                  <a:pt x="2869924" y="2559185"/>
                  <a:pt x="2873568" y="2559185"/>
                </a:cubicBezTo>
                <a:lnTo>
                  <a:pt x="2909720" y="2559184"/>
                </a:lnTo>
                <a:lnTo>
                  <a:pt x="2910012" y="2557530"/>
                </a:lnTo>
                <a:lnTo>
                  <a:pt x="2912221" y="2559184"/>
                </a:lnTo>
                <a:lnTo>
                  <a:pt x="2915934" y="2559184"/>
                </a:lnTo>
                <a:lnTo>
                  <a:pt x="2928814" y="2562738"/>
                </a:lnTo>
                <a:lnTo>
                  <a:pt x="2930056" y="2555700"/>
                </a:lnTo>
                <a:lnTo>
                  <a:pt x="2937344" y="2561172"/>
                </a:lnTo>
                <a:lnTo>
                  <a:pt x="2936349" y="2564816"/>
                </a:lnTo>
                <a:lnTo>
                  <a:pt x="2955566" y="2570118"/>
                </a:lnTo>
                <a:lnTo>
                  <a:pt x="2936035" y="2566267"/>
                </a:lnTo>
                <a:lnTo>
                  <a:pt x="2937344" y="2568442"/>
                </a:lnTo>
                <a:lnTo>
                  <a:pt x="2928234" y="2570259"/>
                </a:lnTo>
                <a:lnTo>
                  <a:pt x="2924589" y="2568442"/>
                </a:lnTo>
                <a:lnTo>
                  <a:pt x="2927718" y="2564626"/>
                </a:lnTo>
                <a:lnTo>
                  <a:pt x="2923223" y="2563740"/>
                </a:lnTo>
                <a:lnTo>
                  <a:pt x="2917217" y="2564663"/>
                </a:lnTo>
                <a:lnTo>
                  <a:pt x="2917073" y="2567537"/>
                </a:lnTo>
                <a:cubicBezTo>
                  <a:pt x="2917756" y="2567083"/>
                  <a:pt x="2918212" y="2566629"/>
                  <a:pt x="2915478" y="2572086"/>
                </a:cubicBezTo>
                <a:lnTo>
                  <a:pt x="2904545" y="2570254"/>
                </a:lnTo>
                <a:lnTo>
                  <a:pt x="2907966" y="2566086"/>
                </a:lnTo>
                <a:lnTo>
                  <a:pt x="2893612" y="2568295"/>
                </a:lnTo>
                <a:cubicBezTo>
                  <a:pt x="2891790" y="2568295"/>
                  <a:pt x="2897256" y="2577406"/>
                  <a:pt x="2899079" y="2577406"/>
                </a:cubicBezTo>
                <a:lnTo>
                  <a:pt x="2921323" y="2579054"/>
                </a:lnTo>
                <a:lnTo>
                  <a:pt x="2920945" y="2577539"/>
                </a:lnTo>
                <a:cubicBezTo>
                  <a:pt x="2925501" y="2577539"/>
                  <a:pt x="2927779" y="2577539"/>
                  <a:pt x="2928917" y="2578677"/>
                </a:cubicBezTo>
                <a:lnTo>
                  <a:pt x="2929053" y="2579626"/>
                </a:lnTo>
                <a:lnTo>
                  <a:pt x="2948277" y="2581050"/>
                </a:lnTo>
                <a:cubicBezTo>
                  <a:pt x="2962855" y="2584695"/>
                  <a:pt x="2975610" y="2591984"/>
                  <a:pt x="2990187" y="2595628"/>
                </a:cubicBezTo>
                <a:cubicBezTo>
                  <a:pt x="2990187" y="2597449"/>
                  <a:pt x="2992009" y="2597449"/>
                  <a:pt x="2992009" y="2599271"/>
                </a:cubicBezTo>
                <a:cubicBezTo>
                  <a:pt x="2971966" y="2595628"/>
                  <a:pt x="2951922" y="2591984"/>
                  <a:pt x="2931878" y="2591984"/>
                </a:cubicBezTo>
                <a:cubicBezTo>
                  <a:pt x="2930056" y="2591984"/>
                  <a:pt x="2937344" y="2599271"/>
                  <a:pt x="2939166" y="2599271"/>
                </a:cubicBezTo>
                <a:cubicBezTo>
                  <a:pt x="2957388" y="2601095"/>
                  <a:pt x="2977432" y="2604739"/>
                  <a:pt x="2995654" y="2608382"/>
                </a:cubicBezTo>
                <a:cubicBezTo>
                  <a:pt x="2995654" y="2610206"/>
                  <a:pt x="2995654" y="2612028"/>
                  <a:pt x="2995654" y="2615672"/>
                </a:cubicBezTo>
                <a:cubicBezTo>
                  <a:pt x="2975610" y="2615672"/>
                  <a:pt x="2953744" y="2613850"/>
                  <a:pt x="2935522" y="2608382"/>
                </a:cubicBezTo>
                <a:cubicBezTo>
                  <a:pt x="2928233" y="2606561"/>
                  <a:pt x="2933700" y="2613850"/>
                  <a:pt x="2937344" y="2615672"/>
                </a:cubicBezTo>
                <a:lnTo>
                  <a:pt x="2958483" y="2620444"/>
                </a:lnTo>
                <a:lnTo>
                  <a:pt x="2961032" y="2619426"/>
                </a:lnTo>
                <a:lnTo>
                  <a:pt x="2961607" y="2621150"/>
                </a:lnTo>
                <a:lnTo>
                  <a:pt x="2982314" y="2625826"/>
                </a:lnTo>
                <a:lnTo>
                  <a:pt x="2981076" y="2621247"/>
                </a:lnTo>
                <a:lnTo>
                  <a:pt x="2992009" y="2621247"/>
                </a:lnTo>
                <a:lnTo>
                  <a:pt x="2987312" y="2624513"/>
                </a:lnTo>
                <a:lnTo>
                  <a:pt x="2987397" y="2624061"/>
                </a:lnTo>
                <a:cubicBezTo>
                  <a:pt x="2987055" y="2623098"/>
                  <a:pt x="2985575" y="2625201"/>
                  <a:pt x="2987055" y="2624687"/>
                </a:cubicBezTo>
                <a:lnTo>
                  <a:pt x="2987312" y="2624513"/>
                </a:lnTo>
                <a:lnTo>
                  <a:pt x="2986864" y="2626853"/>
                </a:lnTo>
                <a:lnTo>
                  <a:pt x="2993832" y="2628427"/>
                </a:lnTo>
                <a:cubicBezTo>
                  <a:pt x="2993832" y="2633894"/>
                  <a:pt x="2993832" y="2637537"/>
                  <a:pt x="2992009" y="2639359"/>
                </a:cubicBezTo>
                <a:lnTo>
                  <a:pt x="2942325" y="2633515"/>
                </a:lnTo>
                <a:lnTo>
                  <a:pt x="2948277" y="2639467"/>
                </a:lnTo>
                <a:lnTo>
                  <a:pt x="2937344" y="2635825"/>
                </a:lnTo>
                <a:lnTo>
                  <a:pt x="2939935" y="2633234"/>
                </a:lnTo>
                <a:lnTo>
                  <a:pt x="2930056" y="2632072"/>
                </a:lnTo>
                <a:cubicBezTo>
                  <a:pt x="2928233" y="2632072"/>
                  <a:pt x="2935522" y="2637537"/>
                  <a:pt x="2937344" y="2637537"/>
                </a:cubicBezTo>
                <a:cubicBezTo>
                  <a:pt x="2942811" y="2639359"/>
                  <a:pt x="2948277" y="2639359"/>
                  <a:pt x="2953744" y="2641182"/>
                </a:cubicBezTo>
                <a:cubicBezTo>
                  <a:pt x="2944633" y="2639359"/>
                  <a:pt x="2935522" y="2639359"/>
                  <a:pt x="2926411" y="2641182"/>
                </a:cubicBezTo>
                <a:cubicBezTo>
                  <a:pt x="2924589" y="2641182"/>
                  <a:pt x="2924589" y="2641182"/>
                  <a:pt x="2922767" y="2641182"/>
                </a:cubicBezTo>
                <a:cubicBezTo>
                  <a:pt x="2919122" y="2641182"/>
                  <a:pt x="2913656" y="2644826"/>
                  <a:pt x="2917300" y="2648470"/>
                </a:cubicBezTo>
                <a:cubicBezTo>
                  <a:pt x="2920945" y="2650293"/>
                  <a:pt x="2922767" y="2652116"/>
                  <a:pt x="2926411" y="2653938"/>
                </a:cubicBezTo>
                <a:cubicBezTo>
                  <a:pt x="2915478" y="2652116"/>
                  <a:pt x="2904545" y="2646649"/>
                  <a:pt x="2897256" y="2639359"/>
                </a:cubicBezTo>
                <a:cubicBezTo>
                  <a:pt x="2891790" y="2633894"/>
                  <a:pt x="2882679" y="2639359"/>
                  <a:pt x="2886323" y="2646649"/>
                </a:cubicBezTo>
                <a:cubicBezTo>
                  <a:pt x="2888146" y="2648470"/>
                  <a:pt x="2888146" y="2648470"/>
                  <a:pt x="2888146" y="2648470"/>
                </a:cubicBezTo>
                <a:cubicBezTo>
                  <a:pt x="2888146" y="2650293"/>
                  <a:pt x="2888146" y="2652116"/>
                  <a:pt x="2889968" y="2652116"/>
                </a:cubicBezTo>
                <a:cubicBezTo>
                  <a:pt x="2908190" y="2675803"/>
                  <a:pt x="2931878" y="2697670"/>
                  <a:pt x="2957388" y="2714069"/>
                </a:cubicBezTo>
                <a:cubicBezTo>
                  <a:pt x="2873568" y="2703138"/>
                  <a:pt x="2795215" y="2639359"/>
                  <a:pt x="2740549" y="2577406"/>
                </a:cubicBezTo>
                <a:cubicBezTo>
                  <a:pt x="2763327" y="2568295"/>
                  <a:pt x="2787015" y="2558729"/>
                  <a:pt x="2812070" y="2550757"/>
                </a:cubicBezTo>
                <a:lnTo>
                  <a:pt x="2869120" y="2538532"/>
                </a:lnTo>
                <a:lnTo>
                  <a:pt x="2869924" y="2535665"/>
                </a:lnTo>
                <a:lnTo>
                  <a:pt x="2874856" y="2537303"/>
                </a:lnTo>
                <a:lnTo>
                  <a:pt x="2891790" y="2533674"/>
                </a:lnTo>
                <a:lnTo>
                  <a:pt x="2911963" y="2534934"/>
                </a:lnTo>
                <a:lnTo>
                  <a:pt x="2910011" y="2532005"/>
                </a:lnTo>
                <a:close/>
                <a:moveTo>
                  <a:pt x="4019716" y="2530118"/>
                </a:moveTo>
                <a:lnTo>
                  <a:pt x="4036116" y="2531938"/>
                </a:lnTo>
                <a:lnTo>
                  <a:pt x="4021538" y="2546518"/>
                </a:lnTo>
                <a:close/>
                <a:moveTo>
                  <a:pt x="2935523" y="2526386"/>
                </a:moveTo>
                <a:lnTo>
                  <a:pt x="2935073" y="2526552"/>
                </a:lnTo>
                <a:lnTo>
                  <a:pt x="2937345" y="2526552"/>
                </a:lnTo>
                <a:lnTo>
                  <a:pt x="2937289" y="2526386"/>
                </a:lnTo>
                <a:close/>
                <a:moveTo>
                  <a:pt x="2931374" y="2518762"/>
                </a:moveTo>
                <a:lnTo>
                  <a:pt x="2930739" y="2519515"/>
                </a:lnTo>
                <a:lnTo>
                  <a:pt x="2930341" y="2523615"/>
                </a:lnTo>
                <a:lnTo>
                  <a:pt x="2930512" y="2523653"/>
                </a:lnTo>
                <a:cubicBezTo>
                  <a:pt x="2931878" y="2522742"/>
                  <a:pt x="2932790" y="2520920"/>
                  <a:pt x="2931879" y="2519097"/>
                </a:cubicBezTo>
                <a:close/>
                <a:moveTo>
                  <a:pt x="942064" y="2515564"/>
                </a:moveTo>
                <a:lnTo>
                  <a:pt x="958464" y="2517380"/>
                </a:lnTo>
                <a:lnTo>
                  <a:pt x="943886" y="2531938"/>
                </a:lnTo>
                <a:close/>
                <a:moveTo>
                  <a:pt x="3478531" y="2515458"/>
                </a:moveTo>
                <a:cubicBezTo>
                  <a:pt x="3487642" y="2544614"/>
                  <a:pt x="3480353" y="2526391"/>
                  <a:pt x="3507686" y="2539148"/>
                </a:cubicBezTo>
                <a:cubicBezTo>
                  <a:pt x="3535018" y="2551904"/>
                  <a:pt x="3511330" y="2540971"/>
                  <a:pt x="3522263" y="2568304"/>
                </a:cubicBezTo>
                <a:lnTo>
                  <a:pt x="3507686" y="2568304"/>
                </a:lnTo>
                <a:lnTo>
                  <a:pt x="3514974" y="2591993"/>
                </a:lnTo>
                <a:lnTo>
                  <a:pt x="3507686" y="2591993"/>
                </a:lnTo>
                <a:cubicBezTo>
                  <a:pt x="3502219" y="2586527"/>
                  <a:pt x="3498575" y="2581058"/>
                  <a:pt x="3493108" y="2575594"/>
                </a:cubicBezTo>
                <a:lnTo>
                  <a:pt x="3493108" y="2568304"/>
                </a:lnTo>
                <a:lnTo>
                  <a:pt x="3485820" y="2568304"/>
                </a:lnTo>
                <a:lnTo>
                  <a:pt x="3480775" y="2559222"/>
                </a:lnTo>
                <a:lnTo>
                  <a:pt x="3505864" y="2561014"/>
                </a:lnTo>
                <a:lnTo>
                  <a:pt x="3496753" y="2544614"/>
                </a:lnTo>
                <a:lnTo>
                  <a:pt x="3480624" y="2558950"/>
                </a:lnTo>
                <a:lnTo>
                  <a:pt x="3476709" y="2551904"/>
                </a:lnTo>
                <a:cubicBezTo>
                  <a:pt x="3469420" y="2540971"/>
                  <a:pt x="3460308" y="2530038"/>
                  <a:pt x="3451197" y="2520925"/>
                </a:cubicBezTo>
                <a:close/>
                <a:moveTo>
                  <a:pt x="2926412" y="2515453"/>
                </a:moveTo>
                <a:cubicBezTo>
                  <a:pt x="2920946" y="2513631"/>
                  <a:pt x="2919123" y="2520920"/>
                  <a:pt x="2924590" y="2522742"/>
                </a:cubicBezTo>
                <a:cubicBezTo>
                  <a:pt x="2926412" y="2522742"/>
                  <a:pt x="2926412" y="2522742"/>
                  <a:pt x="2926412" y="2522742"/>
                </a:cubicBezTo>
                <a:lnTo>
                  <a:pt x="2927467" y="2522977"/>
                </a:lnTo>
                <a:lnTo>
                  <a:pt x="2926411" y="2521106"/>
                </a:lnTo>
                <a:cubicBezTo>
                  <a:pt x="2927322" y="2519288"/>
                  <a:pt x="2927778" y="2520196"/>
                  <a:pt x="2928006" y="2520422"/>
                </a:cubicBezTo>
                <a:lnTo>
                  <a:pt x="2928186" y="2516636"/>
                </a:lnTo>
                <a:close/>
                <a:moveTo>
                  <a:pt x="2888147" y="2501084"/>
                </a:moveTo>
                <a:lnTo>
                  <a:pt x="2888147" y="2513836"/>
                </a:lnTo>
                <a:cubicBezTo>
                  <a:pt x="2880858" y="2508324"/>
                  <a:pt x="2882680" y="2506532"/>
                  <a:pt x="2888147" y="2501084"/>
                </a:cubicBezTo>
                <a:close/>
                <a:moveTo>
                  <a:pt x="2919123" y="2500876"/>
                </a:moveTo>
                <a:cubicBezTo>
                  <a:pt x="2915479" y="2500876"/>
                  <a:pt x="2913657" y="2500876"/>
                  <a:pt x="2911835" y="2502697"/>
                </a:cubicBezTo>
                <a:cubicBezTo>
                  <a:pt x="2910013" y="2506342"/>
                  <a:pt x="2913657" y="2508164"/>
                  <a:pt x="2917301" y="2508164"/>
                </a:cubicBezTo>
                <a:cubicBezTo>
                  <a:pt x="2920946" y="2508164"/>
                  <a:pt x="2922768" y="2502697"/>
                  <a:pt x="2919123" y="2500876"/>
                </a:cubicBezTo>
                <a:close/>
                <a:moveTo>
                  <a:pt x="1064151" y="2500875"/>
                </a:moveTo>
                <a:lnTo>
                  <a:pt x="1055040" y="2515452"/>
                </a:lnTo>
                <a:lnTo>
                  <a:pt x="1080549" y="2513631"/>
                </a:lnTo>
                <a:close/>
                <a:moveTo>
                  <a:pt x="4509882" y="2493741"/>
                </a:moveTo>
                <a:lnTo>
                  <a:pt x="4515348" y="2506486"/>
                </a:lnTo>
                <a:lnTo>
                  <a:pt x="4508059" y="2517421"/>
                </a:lnTo>
                <a:lnTo>
                  <a:pt x="4493481" y="2502836"/>
                </a:lnTo>
                <a:close/>
                <a:moveTo>
                  <a:pt x="3272626" y="2484663"/>
                </a:moveTo>
                <a:lnTo>
                  <a:pt x="3276270" y="2490144"/>
                </a:lnTo>
                <a:lnTo>
                  <a:pt x="3272626" y="2491968"/>
                </a:lnTo>
                <a:lnTo>
                  <a:pt x="3268981" y="2490144"/>
                </a:lnTo>
                <a:close/>
                <a:moveTo>
                  <a:pt x="2852342" y="2480205"/>
                </a:moveTo>
                <a:lnTo>
                  <a:pt x="2857168" y="2485179"/>
                </a:lnTo>
                <a:lnTo>
                  <a:pt x="2857168" y="2481005"/>
                </a:lnTo>
                <a:close/>
                <a:moveTo>
                  <a:pt x="3988739" y="2479131"/>
                </a:moveTo>
                <a:lnTo>
                  <a:pt x="4012428" y="2479131"/>
                </a:lnTo>
                <a:lnTo>
                  <a:pt x="4003317" y="2493728"/>
                </a:lnTo>
                <a:close/>
                <a:moveTo>
                  <a:pt x="599922" y="2477221"/>
                </a:moveTo>
                <a:cubicBezTo>
                  <a:pt x="605987" y="2477132"/>
                  <a:pt x="595396" y="2477822"/>
                  <a:pt x="610429" y="2484663"/>
                </a:cubicBezTo>
                <a:lnTo>
                  <a:pt x="603140" y="2506523"/>
                </a:lnTo>
                <a:lnTo>
                  <a:pt x="581273" y="2506523"/>
                </a:lnTo>
                <a:lnTo>
                  <a:pt x="572162" y="2484663"/>
                </a:lnTo>
                <a:cubicBezTo>
                  <a:pt x="572162" y="2484663"/>
                  <a:pt x="584917" y="2477361"/>
                  <a:pt x="586741" y="2477361"/>
                </a:cubicBezTo>
                <a:cubicBezTo>
                  <a:pt x="594030" y="2477361"/>
                  <a:pt x="597901" y="2477243"/>
                  <a:pt x="599922" y="2477221"/>
                </a:cubicBezTo>
                <a:close/>
                <a:moveTo>
                  <a:pt x="978508" y="2475459"/>
                </a:moveTo>
                <a:lnTo>
                  <a:pt x="980330" y="2493694"/>
                </a:lnTo>
                <a:lnTo>
                  <a:pt x="963930" y="2491874"/>
                </a:lnTo>
                <a:close/>
                <a:moveTo>
                  <a:pt x="1038639" y="2469898"/>
                </a:moveTo>
                <a:lnTo>
                  <a:pt x="1024062" y="2484476"/>
                </a:lnTo>
                <a:lnTo>
                  <a:pt x="1040462" y="2486297"/>
                </a:lnTo>
                <a:close/>
                <a:moveTo>
                  <a:pt x="3620659" y="2455446"/>
                </a:moveTo>
                <a:lnTo>
                  <a:pt x="3635237" y="2455446"/>
                </a:lnTo>
                <a:lnTo>
                  <a:pt x="3635237" y="2477331"/>
                </a:lnTo>
                <a:lnTo>
                  <a:pt x="3620659" y="2477331"/>
                </a:lnTo>
                <a:close/>
                <a:moveTo>
                  <a:pt x="974864" y="2455446"/>
                </a:moveTo>
                <a:lnTo>
                  <a:pt x="943886" y="2486460"/>
                </a:lnTo>
                <a:cubicBezTo>
                  <a:pt x="943886" y="2457268"/>
                  <a:pt x="943886" y="2457268"/>
                  <a:pt x="974864" y="2455446"/>
                </a:cubicBezTo>
                <a:close/>
                <a:moveTo>
                  <a:pt x="3416576" y="2449861"/>
                </a:moveTo>
                <a:lnTo>
                  <a:pt x="3423864" y="2451685"/>
                </a:lnTo>
                <a:cubicBezTo>
                  <a:pt x="3420220" y="2453507"/>
                  <a:pt x="3414754" y="2455329"/>
                  <a:pt x="3411109" y="2457151"/>
                </a:cubicBezTo>
                <a:close/>
                <a:moveTo>
                  <a:pt x="3709948" y="2440843"/>
                </a:moveTo>
                <a:lnTo>
                  <a:pt x="3717236" y="2462719"/>
                </a:lnTo>
                <a:lnTo>
                  <a:pt x="3695370" y="2462719"/>
                </a:lnTo>
                <a:cubicBezTo>
                  <a:pt x="3699015" y="2455431"/>
                  <a:pt x="3700837" y="2449955"/>
                  <a:pt x="3700837" y="2446308"/>
                </a:cubicBezTo>
                <a:cubicBezTo>
                  <a:pt x="3702659" y="2444485"/>
                  <a:pt x="3706303" y="2442662"/>
                  <a:pt x="3709948" y="2440843"/>
                </a:cubicBezTo>
                <a:close/>
                <a:moveTo>
                  <a:pt x="3700324" y="2438364"/>
                </a:moveTo>
                <a:cubicBezTo>
                  <a:pt x="3701633" y="2438677"/>
                  <a:pt x="3702203" y="2440838"/>
                  <a:pt x="3700836" y="2446308"/>
                </a:cubicBezTo>
                <a:cubicBezTo>
                  <a:pt x="3685803" y="2453144"/>
                  <a:pt x="3696394" y="2437426"/>
                  <a:pt x="3700324" y="2438364"/>
                </a:cubicBezTo>
                <a:close/>
                <a:moveTo>
                  <a:pt x="3403821" y="2427993"/>
                </a:moveTo>
                <a:lnTo>
                  <a:pt x="3401998" y="2435282"/>
                </a:lnTo>
                <a:cubicBezTo>
                  <a:pt x="3394710" y="2438925"/>
                  <a:pt x="3385599" y="2442570"/>
                  <a:pt x="3378310" y="2448037"/>
                </a:cubicBezTo>
                <a:cubicBezTo>
                  <a:pt x="3374666" y="2449859"/>
                  <a:pt x="3381955" y="2458970"/>
                  <a:pt x="3385599" y="2458970"/>
                </a:cubicBezTo>
                <a:cubicBezTo>
                  <a:pt x="3389243" y="2458970"/>
                  <a:pt x="3391066" y="2457148"/>
                  <a:pt x="3394710" y="2457148"/>
                </a:cubicBezTo>
                <a:lnTo>
                  <a:pt x="3392888" y="2460793"/>
                </a:lnTo>
                <a:lnTo>
                  <a:pt x="3400176" y="2471725"/>
                </a:lnTo>
                <a:cubicBezTo>
                  <a:pt x="3401998" y="2471725"/>
                  <a:pt x="3401998" y="2471725"/>
                  <a:pt x="3401998" y="2471725"/>
                </a:cubicBezTo>
                <a:lnTo>
                  <a:pt x="3428029" y="2464785"/>
                </a:lnTo>
                <a:lnTo>
                  <a:pt x="3427509" y="2464438"/>
                </a:lnTo>
                <a:cubicBezTo>
                  <a:pt x="3434798" y="2462617"/>
                  <a:pt x="3443909" y="2460794"/>
                  <a:pt x="3453020" y="2458971"/>
                </a:cubicBezTo>
                <a:lnTo>
                  <a:pt x="3438442" y="2471726"/>
                </a:lnTo>
                <a:lnTo>
                  <a:pt x="3429331" y="2465653"/>
                </a:lnTo>
                <a:lnTo>
                  <a:pt x="3429331" y="2480836"/>
                </a:lnTo>
                <a:lnTo>
                  <a:pt x="3398354" y="2480836"/>
                </a:lnTo>
                <a:lnTo>
                  <a:pt x="3398354" y="2502704"/>
                </a:lnTo>
                <a:lnTo>
                  <a:pt x="3412932" y="2502704"/>
                </a:lnTo>
                <a:lnTo>
                  <a:pt x="3412932" y="2488126"/>
                </a:lnTo>
                <a:cubicBezTo>
                  <a:pt x="3414754" y="2489947"/>
                  <a:pt x="3414754" y="2489947"/>
                  <a:pt x="3416576" y="2489947"/>
                </a:cubicBezTo>
                <a:cubicBezTo>
                  <a:pt x="3414754" y="2489947"/>
                  <a:pt x="3414754" y="2489947"/>
                  <a:pt x="3414754" y="2489947"/>
                </a:cubicBezTo>
                <a:cubicBezTo>
                  <a:pt x="3412932" y="2491770"/>
                  <a:pt x="3420220" y="2497236"/>
                  <a:pt x="3422043" y="2497236"/>
                </a:cubicBezTo>
                <a:cubicBezTo>
                  <a:pt x="3423865" y="2495413"/>
                  <a:pt x="3427509" y="2495413"/>
                  <a:pt x="3431153" y="2493592"/>
                </a:cubicBezTo>
                <a:cubicBezTo>
                  <a:pt x="3432975" y="2493592"/>
                  <a:pt x="3432975" y="2495413"/>
                  <a:pt x="3434798" y="2495413"/>
                </a:cubicBezTo>
                <a:cubicBezTo>
                  <a:pt x="3434798" y="2497236"/>
                  <a:pt x="3436620" y="2499059"/>
                  <a:pt x="3436620" y="2499059"/>
                </a:cubicBezTo>
                <a:cubicBezTo>
                  <a:pt x="3427509" y="2500881"/>
                  <a:pt x="3420220" y="2506349"/>
                  <a:pt x="3414754" y="2511814"/>
                </a:cubicBezTo>
                <a:cubicBezTo>
                  <a:pt x="3411109" y="2515458"/>
                  <a:pt x="3418398" y="2519103"/>
                  <a:pt x="3422043" y="2517281"/>
                </a:cubicBezTo>
                <a:cubicBezTo>
                  <a:pt x="3425687" y="2515458"/>
                  <a:pt x="3429331" y="2513635"/>
                  <a:pt x="3432975" y="2511814"/>
                </a:cubicBezTo>
                <a:cubicBezTo>
                  <a:pt x="3429331" y="2513635"/>
                  <a:pt x="3427509" y="2517281"/>
                  <a:pt x="3431153" y="2520924"/>
                </a:cubicBezTo>
                <a:cubicBezTo>
                  <a:pt x="3432975" y="2524571"/>
                  <a:pt x="3434798" y="2526391"/>
                  <a:pt x="3436620" y="2528215"/>
                </a:cubicBezTo>
                <a:cubicBezTo>
                  <a:pt x="3427509" y="2528215"/>
                  <a:pt x="3418398" y="2530035"/>
                  <a:pt x="3411109" y="2531859"/>
                </a:cubicBezTo>
                <a:cubicBezTo>
                  <a:pt x="3409287" y="2531859"/>
                  <a:pt x="3414754" y="2539148"/>
                  <a:pt x="3416576" y="2539148"/>
                </a:cubicBezTo>
                <a:cubicBezTo>
                  <a:pt x="3422043" y="2539148"/>
                  <a:pt x="3427509" y="2539148"/>
                  <a:pt x="3432975" y="2539148"/>
                </a:cubicBezTo>
                <a:cubicBezTo>
                  <a:pt x="3436620" y="2539148"/>
                  <a:pt x="3442086" y="2540969"/>
                  <a:pt x="3447553" y="2540969"/>
                </a:cubicBezTo>
                <a:cubicBezTo>
                  <a:pt x="3449375" y="2544614"/>
                  <a:pt x="3453019" y="2546437"/>
                  <a:pt x="3454842" y="2550081"/>
                </a:cubicBezTo>
                <a:cubicBezTo>
                  <a:pt x="3453019" y="2550081"/>
                  <a:pt x="3451197" y="2550081"/>
                  <a:pt x="3449375" y="2550081"/>
                </a:cubicBezTo>
                <a:lnTo>
                  <a:pt x="3447553" y="2548259"/>
                </a:lnTo>
                <a:cubicBezTo>
                  <a:pt x="3447553" y="2550081"/>
                  <a:pt x="3447553" y="2550081"/>
                  <a:pt x="3447553" y="2550081"/>
                </a:cubicBezTo>
                <a:cubicBezTo>
                  <a:pt x="3443909" y="2550081"/>
                  <a:pt x="3442086" y="2548259"/>
                  <a:pt x="3438442" y="2548259"/>
                </a:cubicBezTo>
                <a:cubicBezTo>
                  <a:pt x="3431153" y="2544614"/>
                  <a:pt x="3423865" y="2542791"/>
                  <a:pt x="3416576" y="2544614"/>
                </a:cubicBezTo>
                <a:cubicBezTo>
                  <a:pt x="3416576" y="2544614"/>
                  <a:pt x="3418398" y="2546437"/>
                  <a:pt x="3418398" y="2548259"/>
                </a:cubicBezTo>
                <a:lnTo>
                  <a:pt x="3398354" y="2553725"/>
                </a:lnTo>
                <a:cubicBezTo>
                  <a:pt x="3396532" y="2553725"/>
                  <a:pt x="3396532" y="2553725"/>
                  <a:pt x="3394710" y="2553725"/>
                </a:cubicBezTo>
                <a:lnTo>
                  <a:pt x="3394710" y="2539148"/>
                </a:lnTo>
                <a:lnTo>
                  <a:pt x="3380132" y="2548259"/>
                </a:lnTo>
                <a:lnTo>
                  <a:pt x="3372844" y="2548259"/>
                </a:lnTo>
                <a:cubicBezTo>
                  <a:pt x="3361911" y="2531859"/>
                  <a:pt x="3372844" y="2539148"/>
                  <a:pt x="3350978" y="2533680"/>
                </a:cubicBezTo>
                <a:lnTo>
                  <a:pt x="3350978" y="2548259"/>
                </a:lnTo>
                <a:lnTo>
                  <a:pt x="3372844" y="2548259"/>
                </a:lnTo>
                <a:lnTo>
                  <a:pt x="3365555" y="2562835"/>
                </a:lnTo>
                <a:lnTo>
                  <a:pt x="3380132" y="2562835"/>
                </a:lnTo>
                <a:lnTo>
                  <a:pt x="3380132" y="2548259"/>
                </a:lnTo>
                <a:lnTo>
                  <a:pt x="3392888" y="2553725"/>
                </a:lnTo>
                <a:cubicBezTo>
                  <a:pt x="3392888" y="2553725"/>
                  <a:pt x="3392888" y="2555546"/>
                  <a:pt x="3394710" y="2555546"/>
                </a:cubicBezTo>
                <a:cubicBezTo>
                  <a:pt x="3394710" y="2568302"/>
                  <a:pt x="3401998" y="2566478"/>
                  <a:pt x="3409287" y="2561014"/>
                </a:cubicBezTo>
                <a:cubicBezTo>
                  <a:pt x="3418398" y="2564656"/>
                  <a:pt x="3429331" y="2568302"/>
                  <a:pt x="3438442" y="2570125"/>
                </a:cubicBezTo>
                <a:lnTo>
                  <a:pt x="3425687" y="2570125"/>
                </a:lnTo>
                <a:lnTo>
                  <a:pt x="3422043" y="2573768"/>
                </a:lnTo>
                <a:cubicBezTo>
                  <a:pt x="3412932" y="2571946"/>
                  <a:pt x="3403821" y="2568302"/>
                  <a:pt x="3392888" y="2568302"/>
                </a:cubicBezTo>
                <a:lnTo>
                  <a:pt x="3392305" y="2570169"/>
                </a:lnTo>
                <a:lnTo>
                  <a:pt x="3389243" y="2564656"/>
                </a:lnTo>
                <a:lnTo>
                  <a:pt x="3374666" y="2579236"/>
                </a:lnTo>
                <a:cubicBezTo>
                  <a:pt x="3361911" y="2571946"/>
                  <a:pt x="3349156" y="2561014"/>
                  <a:pt x="3340045" y="2550081"/>
                </a:cubicBezTo>
                <a:lnTo>
                  <a:pt x="3333025" y="2540969"/>
                </a:lnTo>
                <a:lnTo>
                  <a:pt x="3332757" y="2541118"/>
                </a:lnTo>
                <a:lnTo>
                  <a:pt x="3332757" y="2540621"/>
                </a:lnTo>
                <a:lnTo>
                  <a:pt x="3318634" y="2522291"/>
                </a:lnTo>
                <a:lnTo>
                  <a:pt x="3316463" y="2520039"/>
                </a:lnTo>
                <a:lnTo>
                  <a:pt x="3314535" y="2522923"/>
                </a:lnTo>
                <a:lnTo>
                  <a:pt x="3309068" y="2517470"/>
                </a:lnTo>
                <a:lnTo>
                  <a:pt x="3312795" y="2516231"/>
                </a:lnTo>
                <a:lnTo>
                  <a:pt x="3294490" y="2497236"/>
                </a:lnTo>
                <a:cubicBezTo>
                  <a:pt x="3289024" y="2491770"/>
                  <a:pt x="3279913" y="2486304"/>
                  <a:pt x="3272624" y="2482660"/>
                </a:cubicBezTo>
                <a:cubicBezTo>
                  <a:pt x="3301779" y="2468081"/>
                  <a:pt x="3332756" y="2453504"/>
                  <a:pt x="3361911" y="2442570"/>
                </a:cubicBezTo>
                <a:lnTo>
                  <a:pt x="3352800" y="2451682"/>
                </a:lnTo>
                <a:lnTo>
                  <a:pt x="3369199" y="2460793"/>
                </a:lnTo>
                <a:lnTo>
                  <a:pt x="3367377" y="2440748"/>
                </a:lnTo>
                <a:cubicBezTo>
                  <a:pt x="3378310" y="2437104"/>
                  <a:pt x="3391066" y="2431638"/>
                  <a:pt x="3403821" y="2427993"/>
                </a:cubicBezTo>
                <a:close/>
                <a:moveTo>
                  <a:pt x="3467597" y="2424435"/>
                </a:moveTo>
                <a:lnTo>
                  <a:pt x="3483997" y="2424435"/>
                </a:lnTo>
                <a:lnTo>
                  <a:pt x="3482175" y="2448122"/>
                </a:lnTo>
                <a:close/>
                <a:moveTo>
                  <a:pt x="1024062" y="2417055"/>
                </a:moveTo>
                <a:lnTo>
                  <a:pt x="1033173" y="2431632"/>
                </a:lnTo>
                <a:lnTo>
                  <a:pt x="1007663" y="2433454"/>
                </a:lnTo>
                <a:lnTo>
                  <a:pt x="1033173" y="2455321"/>
                </a:lnTo>
                <a:lnTo>
                  <a:pt x="1047750" y="2417055"/>
                </a:lnTo>
                <a:close/>
                <a:moveTo>
                  <a:pt x="3454841" y="2415238"/>
                </a:moveTo>
                <a:cubicBezTo>
                  <a:pt x="3456663" y="2417060"/>
                  <a:pt x="3456663" y="2415238"/>
                  <a:pt x="3458486" y="2415238"/>
                </a:cubicBezTo>
                <a:cubicBezTo>
                  <a:pt x="3458486" y="2417060"/>
                  <a:pt x="3460308" y="2417060"/>
                  <a:pt x="3460308" y="2417060"/>
                </a:cubicBezTo>
                <a:cubicBezTo>
                  <a:pt x="3458486" y="2417060"/>
                  <a:pt x="3456663" y="2417060"/>
                  <a:pt x="3454841" y="2417060"/>
                </a:cubicBezTo>
                <a:cubicBezTo>
                  <a:pt x="3453019" y="2418883"/>
                  <a:pt x="3451197" y="2420705"/>
                  <a:pt x="3451197" y="2422527"/>
                </a:cubicBezTo>
                <a:cubicBezTo>
                  <a:pt x="3442086" y="2424349"/>
                  <a:pt x="3434797" y="2426171"/>
                  <a:pt x="3427509" y="2426171"/>
                </a:cubicBezTo>
                <a:cubicBezTo>
                  <a:pt x="3425687" y="2427993"/>
                  <a:pt x="3425687" y="2427993"/>
                  <a:pt x="3423864" y="2427993"/>
                </a:cubicBezTo>
                <a:lnTo>
                  <a:pt x="3423864" y="2420705"/>
                </a:lnTo>
                <a:cubicBezTo>
                  <a:pt x="3434797" y="2417060"/>
                  <a:pt x="3445731" y="2415238"/>
                  <a:pt x="3454841" y="2415238"/>
                </a:cubicBezTo>
                <a:close/>
                <a:moveTo>
                  <a:pt x="973043" y="2409914"/>
                </a:moveTo>
                <a:lnTo>
                  <a:pt x="973043" y="2446336"/>
                </a:lnTo>
                <a:cubicBezTo>
                  <a:pt x="954819" y="2435404"/>
                  <a:pt x="963930" y="2437224"/>
                  <a:pt x="942064" y="2431761"/>
                </a:cubicBezTo>
                <a:cubicBezTo>
                  <a:pt x="947531" y="2415376"/>
                  <a:pt x="931131" y="2411735"/>
                  <a:pt x="958464" y="2424480"/>
                </a:cubicBezTo>
                <a:close/>
                <a:moveTo>
                  <a:pt x="3378310" y="2409773"/>
                </a:moveTo>
                <a:lnTo>
                  <a:pt x="3394710" y="2409773"/>
                </a:lnTo>
                <a:cubicBezTo>
                  <a:pt x="3389243" y="2411595"/>
                  <a:pt x="3383777" y="2413418"/>
                  <a:pt x="3378310" y="2415239"/>
                </a:cubicBezTo>
                <a:close/>
                <a:moveTo>
                  <a:pt x="3398354" y="2400661"/>
                </a:moveTo>
                <a:cubicBezTo>
                  <a:pt x="3401999" y="2400661"/>
                  <a:pt x="3405643" y="2402484"/>
                  <a:pt x="3407465" y="2406130"/>
                </a:cubicBezTo>
                <a:cubicBezTo>
                  <a:pt x="3405643" y="2406130"/>
                  <a:pt x="3401999" y="2407952"/>
                  <a:pt x="3400177" y="2407952"/>
                </a:cubicBezTo>
                <a:cubicBezTo>
                  <a:pt x="3400177" y="2406130"/>
                  <a:pt x="3398354" y="2402484"/>
                  <a:pt x="3398354" y="2400661"/>
                </a:cubicBezTo>
                <a:close/>
                <a:moveTo>
                  <a:pt x="4610101" y="2397152"/>
                </a:moveTo>
                <a:lnTo>
                  <a:pt x="4586412" y="2419001"/>
                </a:lnTo>
                <a:lnTo>
                  <a:pt x="4577301" y="2400794"/>
                </a:lnTo>
                <a:close/>
                <a:moveTo>
                  <a:pt x="3802877" y="2393469"/>
                </a:moveTo>
                <a:lnTo>
                  <a:pt x="3815632" y="2409862"/>
                </a:lnTo>
                <a:lnTo>
                  <a:pt x="3801055" y="2418968"/>
                </a:lnTo>
                <a:close/>
                <a:moveTo>
                  <a:pt x="3469419" y="2393369"/>
                </a:moveTo>
                <a:lnTo>
                  <a:pt x="3483996" y="2402481"/>
                </a:lnTo>
                <a:cubicBezTo>
                  <a:pt x="3480352" y="2407946"/>
                  <a:pt x="3478529" y="2411591"/>
                  <a:pt x="3476707" y="2413414"/>
                </a:cubicBezTo>
                <a:cubicBezTo>
                  <a:pt x="3473063" y="2409770"/>
                  <a:pt x="3467597" y="2406125"/>
                  <a:pt x="3463952" y="2402481"/>
                </a:cubicBezTo>
                <a:close/>
                <a:moveTo>
                  <a:pt x="3163294" y="2389901"/>
                </a:moveTo>
                <a:cubicBezTo>
                  <a:pt x="3168760" y="2393545"/>
                  <a:pt x="3172404" y="2393545"/>
                  <a:pt x="3172404" y="2404465"/>
                </a:cubicBezTo>
                <a:cubicBezTo>
                  <a:pt x="3161471" y="2404465"/>
                  <a:pt x="3168760" y="2404465"/>
                  <a:pt x="3161471" y="2399004"/>
                </a:cubicBezTo>
                <a:cubicBezTo>
                  <a:pt x="3161471" y="2399004"/>
                  <a:pt x="3163294" y="2389901"/>
                  <a:pt x="3163294" y="2389901"/>
                </a:cubicBezTo>
                <a:close/>
                <a:moveTo>
                  <a:pt x="3553240" y="2386260"/>
                </a:moveTo>
                <a:lnTo>
                  <a:pt x="3565995" y="2402644"/>
                </a:lnTo>
                <a:lnTo>
                  <a:pt x="3544129" y="2402644"/>
                </a:lnTo>
                <a:cubicBezTo>
                  <a:pt x="3555062" y="2428131"/>
                  <a:pt x="3545951" y="2424490"/>
                  <a:pt x="3513152" y="2426311"/>
                </a:cubicBezTo>
                <a:cubicBezTo>
                  <a:pt x="3522263" y="2402644"/>
                  <a:pt x="3531374" y="2397183"/>
                  <a:pt x="3553240" y="2386260"/>
                </a:cubicBezTo>
                <a:close/>
                <a:moveTo>
                  <a:pt x="3493108" y="2386190"/>
                </a:moveTo>
                <a:lnTo>
                  <a:pt x="3505863" y="2402580"/>
                </a:lnTo>
                <a:lnTo>
                  <a:pt x="3483997" y="2402580"/>
                </a:lnTo>
                <a:close/>
                <a:moveTo>
                  <a:pt x="2993832" y="2373324"/>
                </a:moveTo>
                <a:cubicBezTo>
                  <a:pt x="2990188" y="2371502"/>
                  <a:pt x="2986543" y="2378791"/>
                  <a:pt x="2992010" y="2380613"/>
                </a:cubicBezTo>
                <a:cubicBezTo>
                  <a:pt x="2997477" y="2380613"/>
                  <a:pt x="2999299" y="2375147"/>
                  <a:pt x="2993832" y="2373324"/>
                </a:cubicBezTo>
                <a:close/>
                <a:moveTo>
                  <a:pt x="3005449" y="2367859"/>
                </a:moveTo>
                <a:cubicBezTo>
                  <a:pt x="3003854" y="2367403"/>
                  <a:pt x="3002032" y="2367859"/>
                  <a:pt x="3001121" y="2369681"/>
                </a:cubicBezTo>
                <a:cubicBezTo>
                  <a:pt x="2999299" y="2375147"/>
                  <a:pt x="3004765" y="2376969"/>
                  <a:pt x="3008410" y="2371502"/>
                </a:cubicBezTo>
                <a:cubicBezTo>
                  <a:pt x="3008410" y="2369679"/>
                  <a:pt x="3007044" y="2368313"/>
                  <a:pt x="3005449" y="2367859"/>
                </a:cubicBezTo>
                <a:close/>
                <a:moveTo>
                  <a:pt x="3844788" y="2364404"/>
                </a:moveTo>
                <a:cubicBezTo>
                  <a:pt x="3883054" y="2366219"/>
                  <a:pt x="3855721" y="2369872"/>
                  <a:pt x="3890343" y="2378978"/>
                </a:cubicBezTo>
                <a:cubicBezTo>
                  <a:pt x="3890343" y="2409928"/>
                  <a:pt x="3886698" y="2408106"/>
                  <a:pt x="3875765" y="2424492"/>
                </a:cubicBezTo>
                <a:cubicBezTo>
                  <a:pt x="3855721" y="2415389"/>
                  <a:pt x="3872121" y="2428132"/>
                  <a:pt x="3853899" y="2417208"/>
                </a:cubicBezTo>
                <a:cubicBezTo>
                  <a:pt x="3852077" y="2413569"/>
                  <a:pt x="3850255" y="2411748"/>
                  <a:pt x="3848433" y="2411748"/>
                </a:cubicBezTo>
                <a:cubicBezTo>
                  <a:pt x="3850255" y="2409928"/>
                  <a:pt x="3852077" y="2408106"/>
                  <a:pt x="3853899" y="2402644"/>
                </a:cubicBezTo>
                <a:cubicBezTo>
                  <a:pt x="3844788" y="2402644"/>
                  <a:pt x="3846611" y="2406285"/>
                  <a:pt x="3846611" y="2395365"/>
                </a:cubicBezTo>
                <a:cubicBezTo>
                  <a:pt x="3846611" y="2364404"/>
                  <a:pt x="3844788" y="2391723"/>
                  <a:pt x="3853899" y="2378978"/>
                </a:cubicBezTo>
                <a:close/>
                <a:moveTo>
                  <a:pt x="3620659" y="2364349"/>
                </a:moveTo>
                <a:lnTo>
                  <a:pt x="3635237" y="2364349"/>
                </a:lnTo>
                <a:cubicBezTo>
                  <a:pt x="3627948" y="2395318"/>
                  <a:pt x="3620659" y="2386211"/>
                  <a:pt x="3620659" y="2386211"/>
                </a:cubicBezTo>
                <a:close/>
                <a:moveTo>
                  <a:pt x="918376" y="2364313"/>
                </a:moveTo>
                <a:lnTo>
                  <a:pt x="918376" y="2380712"/>
                </a:lnTo>
                <a:lnTo>
                  <a:pt x="901976" y="2366133"/>
                </a:lnTo>
                <a:close/>
                <a:moveTo>
                  <a:pt x="3793766" y="2364306"/>
                </a:moveTo>
                <a:lnTo>
                  <a:pt x="3810166" y="2366124"/>
                </a:lnTo>
                <a:lnTo>
                  <a:pt x="3795589" y="2380703"/>
                </a:lnTo>
                <a:close/>
                <a:moveTo>
                  <a:pt x="976687" y="2364220"/>
                </a:moveTo>
                <a:cubicBezTo>
                  <a:pt x="978509" y="2367865"/>
                  <a:pt x="978509" y="2371509"/>
                  <a:pt x="978509" y="2371509"/>
                </a:cubicBezTo>
                <a:lnTo>
                  <a:pt x="971219" y="2369687"/>
                </a:lnTo>
                <a:cubicBezTo>
                  <a:pt x="963930" y="2395197"/>
                  <a:pt x="960286" y="2395197"/>
                  <a:pt x="942064" y="2406131"/>
                </a:cubicBezTo>
                <a:lnTo>
                  <a:pt x="931131" y="2398841"/>
                </a:lnTo>
                <a:lnTo>
                  <a:pt x="938420" y="2391553"/>
                </a:lnTo>
                <a:cubicBezTo>
                  <a:pt x="940242" y="2391553"/>
                  <a:pt x="940242" y="2391553"/>
                  <a:pt x="942064" y="2391553"/>
                </a:cubicBezTo>
                <a:cubicBezTo>
                  <a:pt x="943886" y="2389732"/>
                  <a:pt x="942064" y="2389732"/>
                  <a:pt x="942064" y="2387909"/>
                </a:cubicBezTo>
                <a:lnTo>
                  <a:pt x="951175" y="2378798"/>
                </a:lnTo>
                <a:lnTo>
                  <a:pt x="960286" y="2369687"/>
                </a:lnTo>
                <a:cubicBezTo>
                  <a:pt x="965753" y="2367865"/>
                  <a:pt x="971219" y="2366042"/>
                  <a:pt x="976687" y="2364220"/>
                </a:cubicBezTo>
                <a:close/>
                <a:moveTo>
                  <a:pt x="3015698" y="2364213"/>
                </a:moveTo>
                <a:cubicBezTo>
                  <a:pt x="3010232" y="2362391"/>
                  <a:pt x="3008410" y="2367859"/>
                  <a:pt x="3013876" y="2371502"/>
                </a:cubicBezTo>
                <a:cubicBezTo>
                  <a:pt x="3019343" y="2371502"/>
                  <a:pt x="3021165" y="2366036"/>
                  <a:pt x="3015698" y="2364213"/>
                </a:cubicBezTo>
                <a:close/>
                <a:moveTo>
                  <a:pt x="974863" y="2360586"/>
                </a:moveTo>
                <a:cubicBezTo>
                  <a:pt x="973041" y="2360586"/>
                  <a:pt x="973041" y="2362408"/>
                  <a:pt x="971219" y="2362408"/>
                </a:cubicBezTo>
                <a:lnTo>
                  <a:pt x="971194" y="2362332"/>
                </a:lnTo>
                <a:close/>
                <a:moveTo>
                  <a:pt x="3021165" y="2360569"/>
                </a:moveTo>
                <a:cubicBezTo>
                  <a:pt x="3017521" y="2362391"/>
                  <a:pt x="3021165" y="2369681"/>
                  <a:pt x="3022987" y="2366036"/>
                </a:cubicBezTo>
                <a:cubicBezTo>
                  <a:pt x="3024809" y="2366036"/>
                  <a:pt x="3024809" y="2366036"/>
                  <a:pt x="3024809" y="2366036"/>
                </a:cubicBezTo>
                <a:cubicBezTo>
                  <a:pt x="3028453" y="2364213"/>
                  <a:pt x="3026631" y="2358747"/>
                  <a:pt x="3021165" y="2360569"/>
                </a:cubicBezTo>
                <a:close/>
                <a:moveTo>
                  <a:pt x="3354623" y="2360568"/>
                </a:moveTo>
                <a:cubicBezTo>
                  <a:pt x="3345512" y="2362389"/>
                  <a:pt x="3336401" y="2364212"/>
                  <a:pt x="3327291" y="2366035"/>
                </a:cubicBezTo>
                <a:cubicBezTo>
                  <a:pt x="3296313" y="2373323"/>
                  <a:pt x="3259870" y="2382435"/>
                  <a:pt x="3236182" y="2402478"/>
                </a:cubicBezTo>
                <a:cubicBezTo>
                  <a:pt x="3232537" y="2406122"/>
                  <a:pt x="3239826" y="2409767"/>
                  <a:pt x="3243470" y="2407945"/>
                </a:cubicBezTo>
                <a:cubicBezTo>
                  <a:pt x="3270803" y="2395190"/>
                  <a:pt x="3298136" y="2386079"/>
                  <a:pt x="3327291" y="2380612"/>
                </a:cubicBezTo>
                <a:cubicBezTo>
                  <a:pt x="3349157" y="2375146"/>
                  <a:pt x="3378311" y="2371501"/>
                  <a:pt x="3402000" y="2373323"/>
                </a:cubicBezTo>
                <a:cubicBezTo>
                  <a:pt x="3400177" y="2375146"/>
                  <a:pt x="3398355" y="2375146"/>
                  <a:pt x="3396533" y="2375146"/>
                </a:cubicBezTo>
                <a:lnTo>
                  <a:pt x="3372845" y="2375146"/>
                </a:lnTo>
                <a:lnTo>
                  <a:pt x="3374667" y="2378791"/>
                </a:lnTo>
                <a:cubicBezTo>
                  <a:pt x="3365556" y="2380612"/>
                  <a:pt x="3354623" y="2384257"/>
                  <a:pt x="3345512" y="2386079"/>
                </a:cubicBezTo>
                <a:lnTo>
                  <a:pt x="3341868" y="2380612"/>
                </a:lnTo>
                <a:lnTo>
                  <a:pt x="3332757" y="2389723"/>
                </a:lnTo>
                <a:cubicBezTo>
                  <a:pt x="3318180" y="2393367"/>
                  <a:pt x="3305424" y="2397013"/>
                  <a:pt x="3290847" y="2402478"/>
                </a:cubicBezTo>
                <a:cubicBezTo>
                  <a:pt x="3285380" y="2404300"/>
                  <a:pt x="3290847" y="2409767"/>
                  <a:pt x="3294491" y="2407945"/>
                </a:cubicBezTo>
                <a:cubicBezTo>
                  <a:pt x="3312713" y="2402478"/>
                  <a:pt x="3329113" y="2398835"/>
                  <a:pt x="3347334" y="2395190"/>
                </a:cubicBezTo>
                <a:lnTo>
                  <a:pt x="3352801" y="2395190"/>
                </a:lnTo>
                <a:lnTo>
                  <a:pt x="3352801" y="2393367"/>
                </a:lnTo>
                <a:cubicBezTo>
                  <a:pt x="3358267" y="2391545"/>
                  <a:pt x="3363734" y="2391545"/>
                  <a:pt x="3369200" y="2389723"/>
                </a:cubicBezTo>
                <a:cubicBezTo>
                  <a:pt x="3372845" y="2387901"/>
                  <a:pt x="3376489" y="2387901"/>
                  <a:pt x="3380133" y="2387901"/>
                </a:cubicBezTo>
                <a:lnTo>
                  <a:pt x="3371023" y="2393367"/>
                </a:lnTo>
                <a:cubicBezTo>
                  <a:pt x="3350979" y="2400655"/>
                  <a:pt x="3330935" y="2406122"/>
                  <a:pt x="3312713" y="2417056"/>
                </a:cubicBezTo>
                <a:cubicBezTo>
                  <a:pt x="3310891" y="2418879"/>
                  <a:pt x="3316357" y="2426166"/>
                  <a:pt x="3318180" y="2426166"/>
                </a:cubicBezTo>
                <a:cubicBezTo>
                  <a:pt x="3332757" y="2420701"/>
                  <a:pt x="3347334" y="2415235"/>
                  <a:pt x="3361912" y="2409767"/>
                </a:cubicBezTo>
                <a:lnTo>
                  <a:pt x="3363734" y="2417056"/>
                </a:lnTo>
                <a:cubicBezTo>
                  <a:pt x="3350979" y="2420701"/>
                  <a:pt x="3340046" y="2424344"/>
                  <a:pt x="3329113" y="2431634"/>
                </a:cubicBezTo>
                <a:cubicBezTo>
                  <a:pt x="3327291" y="2433456"/>
                  <a:pt x="3330935" y="2435278"/>
                  <a:pt x="3332757" y="2437101"/>
                </a:cubicBezTo>
                <a:cubicBezTo>
                  <a:pt x="3303602" y="2448033"/>
                  <a:pt x="3274447" y="2462611"/>
                  <a:pt x="3245293" y="2477188"/>
                </a:cubicBezTo>
                <a:cubicBezTo>
                  <a:pt x="3239826" y="2480832"/>
                  <a:pt x="3241648" y="2488121"/>
                  <a:pt x="3247115" y="2489943"/>
                </a:cubicBezTo>
                <a:cubicBezTo>
                  <a:pt x="3263514" y="2495410"/>
                  <a:pt x="3279914" y="2506343"/>
                  <a:pt x="3292669" y="2519098"/>
                </a:cubicBezTo>
                <a:lnTo>
                  <a:pt x="3292829" y="2519284"/>
                </a:lnTo>
                <a:lnTo>
                  <a:pt x="3294491" y="2519284"/>
                </a:lnTo>
                <a:lnTo>
                  <a:pt x="3294491" y="2521207"/>
                </a:lnTo>
                <a:lnTo>
                  <a:pt x="3317269" y="2547569"/>
                </a:lnTo>
                <a:lnTo>
                  <a:pt x="3326428" y="2558679"/>
                </a:lnTo>
                <a:lnTo>
                  <a:pt x="3327290" y="2557530"/>
                </a:lnTo>
                <a:cubicBezTo>
                  <a:pt x="3332756" y="2557530"/>
                  <a:pt x="3334578" y="2559353"/>
                  <a:pt x="3334578" y="2566624"/>
                </a:cubicBezTo>
                <a:lnTo>
                  <a:pt x="3334578" y="2568442"/>
                </a:lnTo>
                <a:lnTo>
                  <a:pt x="3334569" y="2568554"/>
                </a:lnTo>
                <a:lnTo>
                  <a:pt x="3341868" y="2577408"/>
                </a:lnTo>
                <a:cubicBezTo>
                  <a:pt x="3352801" y="2586519"/>
                  <a:pt x="3363734" y="2593809"/>
                  <a:pt x="3374667" y="2599273"/>
                </a:cubicBezTo>
                <a:cubicBezTo>
                  <a:pt x="3374667" y="2601096"/>
                  <a:pt x="3374667" y="2602919"/>
                  <a:pt x="3376489" y="2602919"/>
                </a:cubicBezTo>
                <a:cubicBezTo>
                  <a:pt x="3376489" y="2602919"/>
                  <a:pt x="3378311" y="2602919"/>
                  <a:pt x="3378311" y="2602919"/>
                </a:cubicBezTo>
                <a:cubicBezTo>
                  <a:pt x="3380133" y="2604739"/>
                  <a:pt x="3381956" y="2602919"/>
                  <a:pt x="3381956" y="2602919"/>
                </a:cubicBezTo>
                <a:cubicBezTo>
                  <a:pt x="3371023" y="2606563"/>
                  <a:pt x="3358267" y="2608386"/>
                  <a:pt x="3347334" y="2608386"/>
                </a:cubicBezTo>
                <a:lnTo>
                  <a:pt x="3343690" y="2602919"/>
                </a:lnTo>
                <a:cubicBezTo>
                  <a:pt x="3345512" y="2601096"/>
                  <a:pt x="3345512" y="2601096"/>
                  <a:pt x="3343690" y="2599273"/>
                </a:cubicBezTo>
                <a:cubicBezTo>
                  <a:pt x="3343690" y="2597453"/>
                  <a:pt x="3340046" y="2595629"/>
                  <a:pt x="3338223" y="2599273"/>
                </a:cubicBezTo>
                <a:cubicBezTo>
                  <a:pt x="3338223" y="2601096"/>
                  <a:pt x="3340046" y="2604739"/>
                  <a:pt x="3341868" y="2604739"/>
                </a:cubicBezTo>
                <a:cubicBezTo>
                  <a:pt x="3341868" y="2604739"/>
                  <a:pt x="3343690" y="2604739"/>
                  <a:pt x="3343690" y="2604739"/>
                </a:cubicBezTo>
                <a:lnTo>
                  <a:pt x="3338223" y="2610207"/>
                </a:lnTo>
                <a:cubicBezTo>
                  <a:pt x="3330935" y="2610207"/>
                  <a:pt x="3323646" y="2610207"/>
                  <a:pt x="3316357" y="2610207"/>
                </a:cubicBezTo>
                <a:cubicBezTo>
                  <a:pt x="3309069" y="2610207"/>
                  <a:pt x="3299958" y="2610207"/>
                  <a:pt x="3290847" y="2608386"/>
                </a:cubicBezTo>
                <a:cubicBezTo>
                  <a:pt x="3292669" y="2604739"/>
                  <a:pt x="3285380" y="2602919"/>
                  <a:pt x="3279914" y="2613850"/>
                </a:cubicBezTo>
                <a:cubicBezTo>
                  <a:pt x="3279914" y="2615674"/>
                  <a:pt x="3279914" y="2615674"/>
                  <a:pt x="3279914" y="2615674"/>
                </a:cubicBezTo>
                <a:cubicBezTo>
                  <a:pt x="3259870" y="2612030"/>
                  <a:pt x="3239826" y="2606563"/>
                  <a:pt x="3221604" y="2599273"/>
                </a:cubicBezTo>
                <a:cubicBezTo>
                  <a:pt x="3225249" y="2599273"/>
                  <a:pt x="3225249" y="2591986"/>
                  <a:pt x="3221604" y="2591986"/>
                </a:cubicBezTo>
                <a:cubicBezTo>
                  <a:pt x="3221604" y="2591986"/>
                  <a:pt x="3219782" y="2591986"/>
                  <a:pt x="3219782" y="2591986"/>
                </a:cubicBezTo>
                <a:cubicBezTo>
                  <a:pt x="3217960" y="2591986"/>
                  <a:pt x="3216138" y="2595629"/>
                  <a:pt x="3217960" y="2597453"/>
                </a:cubicBezTo>
                <a:cubicBezTo>
                  <a:pt x="3197916" y="2588342"/>
                  <a:pt x="3179694" y="2575587"/>
                  <a:pt x="3163295" y="2559186"/>
                </a:cubicBezTo>
                <a:lnTo>
                  <a:pt x="3126454" y="2513829"/>
                </a:lnTo>
                <a:lnTo>
                  <a:pt x="3101845" y="2474077"/>
                </a:lnTo>
                <a:lnTo>
                  <a:pt x="3086762" y="2448033"/>
                </a:lnTo>
                <a:cubicBezTo>
                  <a:pt x="3088585" y="2449856"/>
                  <a:pt x="3090407" y="2451678"/>
                  <a:pt x="3092229" y="2453500"/>
                </a:cubicBezTo>
                <a:cubicBezTo>
                  <a:pt x="3110451" y="2473544"/>
                  <a:pt x="3132317" y="2486299"/>
                  <a:pt x="3156006" y="2497231"/>
                </a:cubicBezTo>
                <a:cubicBezTo>
                  <a:pt x="3157828" y="2497231"/>
                  <a:pt x="3161473" y="2497231"/>
                  <a:pt x="3161473" y="2497231"/>
                </a:cubicBezTo>
                <a:cubicBezTo>
                  <a:pt x="3141428" y="2486299"/>
                  <a:pt x="3125028" y="2477188"/>
                  <a:pt x="3108629" y="2462611"/>
                </a:cubicBezTo>
                <a:cubicBezTo>
                  <a:pt x="3099518" y="2453500"/>
                  <a:pt x="3092229" y="2444388"/>
                  <a:pt x="3086762" y="2435278"/>
                </a:cubicBezTo>
                <a:cubicBezTo>
                  <a:pt x="3097695" y="2446210"/>
                  <a:pt x="3110451" y="2457145"/>
                  <a:pt x="3125028" y="2464432"/>
                </a:cubicBezTo>
                <a:cubicBezTo>
                  <a:pt x="3128672" y="2464432"/>
                  <a:pt x="3128672" y="2460788"/>
                  <a:pt x="3126850" y="2458967"/>
                </a:cubicBezTo>
                <a:cubicBezTo>
                  <a:pt x="3112273" y="2449856"/>
                  <a:pt x="3099518" y="2440745"/>
                  <a:pt x="3088585" y="2427989"/>
                </a:cubicBezTo>
                <a:cubicBezTo>
                  <a:pt x="3079474" y="2418879"/>
                  <a:pt x="3074007" y="2409767"/>
                  <a:pt x="3066719" y="2398835"/>
                </a:cubicBezTo>
                <a:cubicBezTo>
                  <a:pt x="3064896" y="2397013"/>
                  <a:pt x="3064896" y="2395190"/>
                  <a:pt x="3063074" y="2393367"/>
                </a:cubicBezTo>
                <a:lnTo>
                  <a:pt x="3074521" y="2397183"/>
                </a:lnTo>
                <a:lnTo>
                  <a:pt x="3077653" y="2397183"/>
                </a:lnTo>
                <a:lnTo>
                  <a:pt x="3076870" y="2397966"/>
                </a:lnTo>
                <a:lnTo>
                  <a:pt x="3112273" y="2409767"/>
                </a:lnTo>
                <a:cubicBezTo>
                  <a:pt x="3156006" y="2417056"/>
                  <a:pt x="3194272" y="2398835"/>
                  <a:pt x="3232537" y="2380612"/>
                </a:cubicBezTo>
                <a:cubicBezTo>
                  <a:pt x="3232537" y="2384257"/>
                  <a:pt x="3238004" y="2386079"/>
                  <a:pt x="3239826" y="2386079"/>
                </a:cubicBezTo>
                <a:cubicBezTo>
                  <a:pt x="3268981" y="2376968"/>
                  <a:pt x="3298136" y="2367857"/>
                  <a:pt x="3329113" y="2362389"/>
                </a:cubicBezTo>
                <a:cubicBezTo>
                  <a:pt x="3338223" y="2360568"/>
                  <a:pt x="3345512" y="2360568"/>
                  <a:pt x="3354623" y="2360568"/>
                </a:cubicBezTo>
                <a:close/>
                <a:moveTo>
                  <a:pt x="4074382" y="2357021"/>
                </a:moveTo>
                <a:lnTo>
                  <a:pt x="4078026" y="2389868"/>
                </a:lnTo>
                <a:lnTo>
                  <a:pt x="4056160" y="2366177"/>
                </a:lnTo>
                <a:close/>
                <a:moveTo>
                  <a:pt x="969397" y="2356940"/>
                </a:moveTo>
                <a:lnTo>
                  <a:pt x="971194" y="2362332"/>
                </a:lnTo>
                <a:lnTo>
                  <a:pt x="970080" y="2362862"/>
                </a:lnTo>
                <a:cubicBezTo>
                  <a:pt x="967574" y="2363318"/>
                  <a:pt x="964841" y="2363318"/>
                  <a:pt x="963930" y="2362408"/>
                </a:cubicBezTo>
                <a:cubicBezTo>
                  <a:pt x="963930" y="2362408"/>
                  <a:pt x="963930" y="2360586"/>
                  <a:pt x="963930" y="2360586"/>
                </a:cubicBezTo>
                <a:cubicBezTo>
                  <a:pt x="967575" y="2360586"/>
                  <a:pt x="969397" y="2360586"/>
                  <a:pt x="969397" y="2356940"/>
                </a:cubicBezTo>
                <a:close/>
                <a:moveTo>
                  <a:pt x="3035742" y="2356925"/>
                </a:moveTo>
                <a:cubicBezTo>
                  <a:pt x="3032098" y="2355103"/>
                  <a:pt x="3030276" y="2362391"/>
                  <a:pt x="3033920" y="2364213"/>
                </a:cubicBezTo>
                <a:cubicBezTo>
                  <a:pt x="3039387" y="2364213"/>
                  <a:pt x="3041209" y="2358747"/>
                  <a:pt x="3035742" y="2356925"/>
                </a:cubicBezTo>
                <a:close/>
                <a:moveTo>
                  <a:pt x="3041209" y="2355103"/>
                </a:moveTo>
                <a:cubicBezTo>
                  <a:pt x="3037564" y="2356925"/>
                  <a:pt x="3041209" y="2364213"/>
                  <a:pt x="3043031" y="2360569"/>
                </a:cubicBezTo>
                <a:cubicBezTo>
                  <a:pt x="3044853" y="2360569"/>
                  <a:pt x="3044853" y="2360569"/>
                  <a:pt x="3044853" y="2360569"/>
                </a:cubicBezTo>
                <a:cubicBezTo>
                  <a:pt x="3048497" y="2358747"/>
                  <a:pt x="3046675" y="2353279"/>
                  <a:pt x="3041209" y="2355103"/>
                </a:cubicBezTo>
                <a:close/>
                <a:moveTo>
                  <a:pt x="962108" y="2353284"/>
                </a:moveTo>
                <a:lnTo>
                  <a:pt x="965753" y="2353284"/>
                </a:lnTo>
                <a:cubicBezTo>
                  <a:pt x="965753" y="2355107"/>
                  <a:pt x="965753" y="2353284"/>
                  <a:pt x="965753" y="2355107"/>
                </a:cubicBezTo>
                <a:cubicBezTo>
                  <a:pt x="963930" y="2355107"/>
                  <a:pt x="965753" y="2356929"/>
                  <a:pt x="963930" y="2356929"/>
                </a:cubicBezTo>
                <a:close/>
                <a:moveTo>
                  <a:pt x="952086" y="2350557"/>
                </a:moveTo>
                <a:cubicBezTo>
                  <a:pt x="957097" y="2349646"/>
                  <a:pt x="961197" y="2350557"/>
                  <a:pt x="962108" y="2356936"/>
                </a:cubicBezTo>
                <a:cubicBezTo>
                  <a:pt x="960285" y="2358757"/>
                  <a:pt x="958463" y="2358757"/>
                  <a:pt x="956641" y="2360581"/>
                </a:cubicBezTo>
                <a:lnTo>
                  <a:pt x="949352" y="2356936"/>
                </a:lnTo>
                <a:lnTo>
                  <a:pt x="949352" y="2364225"/>
                </a:lnTo>
                <a:cubicBezTo>
                  <a:pt x="947530" y="2364225"/>
                  <a:pt x="947530" y="2366047"/>
                  <a:pt x="945708" y="2366047"/>
                </a:cubicBezTo>
                <a:cubicBezTo>
                  <a:pt x="943886" y="2364225"/>
                  <a:pt x="942064" y="2362402"/>
                  <a:pt x="940242" y="2360581"/>
                </a:cubicBezTo>
                <a:cubicBezTo>
                  <a:pt x="940242" y="2360581"/>
                  <a:pt x="938419" y="2358757"/>
                  <a:pt x="936597" y="2355113"/>
                </a:cubicBezTo>
                <a:cubicBezTo>
                  <a:pt x="941153" y="2354203"/>
                  <a:pt x="947075" y="2351468"/>
                  <a:pt x="952086" y="2350557"/>
                </a:cubicBezTo>
                <a:close/>
                <a:moveTo>
                  <a:pt x="3733634" y="2344323"/>
                </a:moveTo>
                <a:cubicBezTo>
                  <a:pt x="3753678" y="2353432"/>
                  <a:pt x="3737279" y="2340650"/>
                  <a:pt x="3755500" y="2351624"/>
                </a:cubicBezTo>
                <a:cubicBezTo>
                  <a:pt x="3757322" y="2355251"/>
                  <a:pt x="3759145" y="2357050"/>
                  <a:pt x="3760967" y="2357050"/>
                </a:cubicBezTo>
                <a:cubicBezTo>
                  <a:pt x="3759145" y="2358924"/>
                  <a:pt x="3757322" y="2360728"/>
                  <a:pt x="3755500" y="2366219"/>
                </a:cubicBezTo>
                <a:lnTo>
                  <a:pt x="3770077" y="2380795"/>
                </a:lnTo>
                <a:cubicBezTo>
                  <a:pt x="3744567" y="2397183"/>
                  <a:pt x="3759145" y="2399004"/>
                  <a:pt x="3724523" y="2402644"/>
                </a:cubicBezTo>
                <a:cubicBezTo>
                  <a:pt x="3717235" y="2382615"/>
                  <a:pt x="3713590" y="2386260"/>
                  <a:pt x="3693546" y="2371692"/>
                </a:cubicBezTo>
                <a:lnTo>
                  <a:pt x="3711768" y="2353432"/>
                </a:lnTo>
                <a:close/>
                <a:moveTo>
                  <a:pt x="3507686" y="2342448"/>
                </a:moveTo>
                <a:lnTo>
                  <a:pt x="3529552" y="2366167"/>
                </a:lnTo>
                <a:lnTo>
                  <a:pt x="3498575" y="2357021"/>
                </a:lnTo>
                <a:close/>
                <a:moveTo>
                  <a:pt x="978508" y="2338717"/>
                </a:moveTo>
                <a:lnTo>
                  <a:pt x="978508" y="2344184"/>
                </a:lnTo>
                <a:cubicBezTo>
                  <a:pt x="974863" y="2347829"/>
                  <a:pt x="971219" y="2349651"/>
                  <a:pt x="967575" y="2351472"/>
                </a:cubicBezTo>
                <a:cubicBezTo>
                  <a:pt x="967575" y="2349651"/>
                  <a:pt x="965752" y="2349651"/>
                  <a:pt x="963930" y="2349651"/>
                </a:cubicBezTo>
                <a:cubicBezTo>
                  <a:pt x="967575" y="2346006"/>
                  <a:pt x="973041" y="2342362"/>
                  <a:pt x="978508" y="2338717"/>
                </a:cubicBezTo>
                <a:close/>
                <a:moveTo>
                  <a:pt x="3134139" y="2337014"/>
                </a:moveTo>
                <a:cubicBezTo>
                  <a:pt x="3140517" y="2337924"/>
                  <a:pt x="3144617" y="2339292"/>
                  <a:pt x="3146895" y="2342029"/>
                </a:cubicBezTo>
                <a:lnTo>
                  <a:pt x="3147063" y="2343251"/>
                </a:lnTo>
                <a:lnTo>
                  <a:pt x="3217960" y="2340525"/>
                </a:lnTo>
                <a:cubicBezTo>
                  <a:pt x="3199738" y="2341436"/>
                  <a:pt x="3181516" y="2344169"/>
                  <a:pt x="3163750" y="2348269"/>
                </a:cubicBezTo>
                <a:lnTo>
                  <a:pt x="3148410" y="2353020"/>
                </a:lnTo>
                <a:lnTo>
                  <a:pt x="3148717" y="2355251"/>
                </a:lnTo>
                <a:lnTo>
                  <a:pt x="3146537" y="2353600"/>
                </a:lnTo>
                <a:lnTo>
                  <a:pt x="3112274" y="2364213"/>
                </a:lnTo>
                <a:cubicBezTo>
                  <a:pt x="3106807" y="2366036"/>
                  <a:pt x="3115918" y="2367859"/>
                  <a:pt x="3117740" y="2367859"/>
                </a:cubicBezTo>
                <a:lnTo>
                  <a:pt x="3127662" y="2365922"/>
                </a:lnTo>
                <a:lnTo>
                  <a:pt x="3128674" y="2364404"/>
                </a:lnTo>
                <a:lnTo>
                  <a:pt x="3128989" y="2365664"/>
                </a:lnTo>
                <a:lnTo>
                  <a:pt x="3192449" y="2353279"/>
                </a:lnTo>
                <a:cubicBezTo>
                  <a:pt x="3197916" y="2351458"/>
                  <a:pt x="3205204" y="2351458"/>
                  <a:pt x="3210671" y="2351458"/>
                </a:cubicBezTo>
                <a:cubicBezTo>
                  <a:pt x="3179694" y="2356925"/>
                  <a:pt x="3148717" y="2366036"/>
                  <a:pt x="3119562" y="2376969"/>
                </a:cubicBezTo>
                <a:cubicBezTo>
                  <a:pt x="3112274" y="2380613"/>
                  <a:pt x="3121384" y="2382435"/>
                  <a:pt x="3125029" y="2380613"/>
                </a:cubicBezTo>
                <a:cubicBezTo>
                  <a:pt x="3159650" y="2371502"/>
                  <a:pt x="3194271" y="2360569"/>
                  <a:pt x="3230715" y="2355103"/>
                </a:cubicBezTo>
                <a:cubicBezTo>
                  <a:pt x="3228893" y="2356925"/>
                  <a:pt x="3225248" y="2356925"/>
                  <a:pt x="3223426" y="2358747"/>
                </a:cubicBezTo>
                <a:cubicBezTo>
                  <a:pt x="3201560" y="2366036"/>
                  <a:pt x="3179694" y="2371502"/>
                  <a:pt x="3159650" y="2380613"/>
                </a:cubicBezTo>
                <a:cubicBezTo>
                  <a:pt x="3154184" y="2382435"/>
                  <a:pt x="3161472" y="2387903"/>
                  <a:pt x="3165117" y="2386080"/>
                </a:cubicBezTo>
                <a:lnTo>
                  <a:pt x="3194271" y="2378791"/>
                </a:lnTo>
                <a:lnTo>
                  <a:pt x="3194271" y="2377147"/>
                </a:lnTo>
                <a:lnTo>
                  <a:pt x="3200852" y="2377147"/>
                </a:lnTo>
                <a:lnTo>
                  <a:pt x="3201508" y="2376981"/>
                </a:lnTo>
                <a:lnTo>
                  <a:pt x="3200194" y="2372828"/>
                </a:lnTo>
                <a:cubicBezTo>
                  <a:pt x="3200194" y="2372601"/>
                  <a:pt x="3200649" y="2372601"/>
                  <a:pt x="3201560" y="2369872"/>
                </a:cubicBezTo>
                <a:lnTo>
                  <a:pt x="3197916" y="2369872"/>
                </a:lnTo>
                <a:lnTo>
                  <a:pt x="3205204" y="2368032"/>
                </a:lnTo>
                <a:lnTo>
                  <a:pt x="3205204" y="2376058"/>
                </a:lnTo>
                <a:lnTo>
                  <a:pt x="3208849" y="2375147"/>
                </a:lnTo>
                <a:lnTo>
                  <a:pt x="3205204" y="2376559"/>
                </a:lnTo>
                <a:lnTo>
                  <a:pt x="3205204" y="2391723"/>
                </a:lnTo>
                <a:lnTo>
                  <a:pt x="3194271" y="2389901"/>
                </a:lnTo>
                <a:lnTo>
                  <a:pt x="3194271" y="2380794"/>
                </a:lnTo>
                <a:lnTo>
                  <a:pt x="3176506" y="2387674"/>
                </a:lnTo>
                <a:lnTo>
                  <a:pt x="3142922" y="2393125"/>
                </a:lnTo>
                <a:lnTo>
                  <a:pt x="3141428" y="2395365"/>
                </a:lnTo>
                <a:lnTo>
                  <a:pt x="3139062" y="2393001"/>
                </a:lnTo>
                <a:lnTo>
                  <a:pt x="3097468" y="2386535"/>
                </a:lnTo>
                <a:cubicBezTo>
                  <a:pt x="3083575" y="2381525"/>
                  <a:pt x="3070364" y="2374235"/>
                  <a:pt x="3057608" y="2366036"/>
                </a:cubicBezTo>
                <a:cubicBezTo>
                  <a:pt x="3052142" y="2362391"/>
                  <a:pt x="3046675" y="2369681"/>
                  <a:pt x="3048497" y="2375147"/>
                </a:cubicBezTo>
                <a:cubicBezTo>
                  <a:pt x="3053964" y="2387903"/>
                  <a:pt x="3059430" y="2402479"/>
                  <a:pt x="3064897" y="2415235"/>
                </a:cubicBezTo>
                <a:lnTo>
                  <a:pt x="2997776" y="2415235"/>
                </a:lnTo>
                <a:lnTo>
                  <a:pt x="2998615" y="2416753"/>
                </a:lnTo>
                <a:cubicBezTo>
                  <a:pt x="3000210" y="2418574"/>
                  <a:pt x="3002032" y="2419938"/>
                  <a:pt x="3004765" y="2422669"/>
                </a:cubicBezTo>
                <a:lnTo>
                  <a:pt x="3003298" y="2427066"/>
                </a:lnTo>
                <a:lnTo>
                  <a:pt x="3068542" y="2427989"/>
                </a:lnTo>
                <a:cubicBezTo>
                  <a:pt x="3070364" y="2427989"/>
                  <a:pt x="3070364" y="2427989"/>
                  <a:pt x="3072186" y="2426165"/>
                </a:cubicBezTo>
                <a:lnTo>
                  <a:pt x="3101845" y="2474077"/>
                </a:lnTo>
                <a:lnTo>
                  <a:pt x="3120928" y="2507026"/>
                </a:lnTo>
                <a:lnTo>
                  <a:pt x="3126454" y="2513829"/>
                </a:lnTo>
                <a:lnTo>
                  <a:pt x="3143251" y="2540963"/>
                </a:lnTo>
                <a:cubicBezTo>
                  <a:pt x="3123207" y="2530031"/>
                  <a:pt x="3103163" y="2513631"/>
                  <a:pt x="3086763" y="2499053"/>
                </a:cubicBezTo>
                <a:cubicBezTo>
                  <a:pt x="3084941" y="2495409"/>
                  <a:pt x="3077653" y="2495409"/>
                  <a:pt x="3083119" y="2500876"/>
                </a:cubicBezTo>
                <a:cubicBezTo>
                  <a:pt x="3104985" y="2520920"/>
                  <a:pt x="3130496" y="2544608"/>
                  <a:pt x="3157828" y="2557363"/>
                </a:cubicBezTo>
                <a:cubicBezTo>
                  <a:pt x="3121385" y="2550074"/>
                  <a:pt x="3090408" y="2530031"/>
                  <a:pt x="3057609" y="2509987"/>
                </a:cubicBezTo>
                <a:cubicBezTo>
                  <a:pt x="3053964" y="2508164"/>
                  <a:pt x="3048498" y="2511809"/>
                  <a:pt x="3052142" y="2515453"/>
                </a:cubicBezTo>
                <a:cubicBezTo>
                  <a:pt x="3075831" y="2531853"/>
                  <a:pt x="3101341" y="2550074"/>
                  <a:pt x="3128673" y="2561006"/>
                </a:cubicBezTo>
                <a:cubicBezTo>
                  <a:pt x="3125029" y="2559186"/>
                  <a:pt x="3121385" y="2559186"/>
                  <a:pt x="3117741" y="2557363"/>
                </a:cubicBezTo>
                <a:cubicBezTo>
                  <a:pt x="3092230" y="2548253"/>
                  <a:pt x="3066720" y="2535497"/>
                  <a:pt x="3039387" y="2526386"/>
                </a:cubicBezTo>
                <a:cubicBezTo>
                  <a:pt x="3035743" y="2524564"/>
                  <a:pt x="3028454" y="2530031"/>
                  <a:pt x="3033920" y="2533676"/>
                </a:cubicBezTo>
                <a:cubicBezTo>
                  <a:pt x="3055786" y="2548253"/>
                  <a:pt x="3084941" y="2559186"/>
                  <a:pt x="3110452" y="2570118"/>
                </a:cubicBezTo>
                <a:cubicBezTo>
                  <a:pt x="3125029" y="2577407"/>
                  <a:pt x="3141429" y="2581052"/>
                  <a:pt x="3156006" y="2586518"/>
                </a:cubicBezTo>
                <a:cubicBezTo>
                  <a:pt x="3156006" y="2586518"/>
                  <a:pt x="3157828" y="2588341"/>
                  <a:pt x="3159650" y="2588341"/>
                </a:cubicBezTo>
                <a:cubicBezTo>
                  <a:pt x="3159650" y="2588341"/>
                  <a:pt x="3159650" y="2590163"/>
                  <a:pt x="3159650" y="2590163"/>
                </a:cubicBezTo>
                <a:cubicBezTo>
                  <a:pt x="3146895" y="2590163"/>
                  <a:pt x="3134140" y="2584697"/>
                  <a:pt x="3121385" y="2581052"/>
                </a:cubicBezTo>
                <a:cubicBezTo>
                  <a:pt x="3094052" y="2573763"/>
                  <a:pt x="3068542" y="2564652"/>
                  <a:pt x="3043031" y="2557363"/>
                </a:cubicBezTo>
                <a:cubicBezTo>
                  <a:pt x="3037565" y="2555542"/>
                  <a:pt x="3032098" y="2561006"/>
                  <a:pt x="3039387" y="2562830"/>
                </a:cubicBezTo>
                <a:cubicBezTo>
                  <a:pt x="3066720" y="2573763"/>
                  <a:pt x="3095874" y="2586518"/>
                  <a:pt x="3125029" y="2593808"/>
                </a:cubicBezTo>
                <a:cubicBezTo>
                  <a:pt x="3097697" y="2588341"/>
                  <a:pt x="3070364" y="2582874"/>
                  <a:pt x="3043031" y="2573763"/>
                </a:cubicBezTo>
                <a:cubicBezTo>
                  <a:pt x="3037565" y="2571940"/>
                  <a:pt x="3039387" y="2581052"/>
                  <a:pt x="3043031" y="2582874"/>
                </a:cubicBezTo>
                <a:cubicBezTo>
                  <a:pt x="3055786" y="2588341"/>
                  <a:pt x="3068542" y="2593808"/>
                  <a:pt x="3081297" y="2597452"/>
                </a:cubicBezTo>
                <a:cubicBezTo>
                  <a:pt x="3072186" y="2593808"/>
                  <a:pt x="3061253" y="2593808"/>
                  <a:pt x="3053964" y="2595629"/>
                </a:cubicBezTo>
                <a:cubicBezTo>
                  <a:pt x="3050320" y="2597452"/>
                  <a:pt x="3048498" y="2602917"/>
                  <a:pt x="3053964" y="2602917"/>
                </a:cubicBezTo>
                <a:cubicBezTo>
                  <a:pt x="3075831" y="2606563"/>
                  <a:pt x="3097697" y="2613850"/>
                  <a:pt x="3119563" y="2619317"/>
                </a:cubicBezTo>
                <a:cubicBezTo>
                  <a:pt x="3108630" y="2619317"/>
                  <a:pt x="3095874" y="2619317"/>
                  <a:pt x="3084941" y="2617495"/>
                </a:cubicBezTo>
                <a:cubicBezTo>
                  <a:pt x="3050320" y="2606563"/>
                  <a:pt x="3015699" y="2590163"/>
                  <a:pt x="2982900" y="2570118"/>
                </a:cubicBezTo>
                <a:cubicBezTo>
                  <a:pt x="2982900" y="2570118"/>
                  <a:pt x="2982900" y="2568296"/>
                  <a:pt x="2982900" y="2566475"/>
                </a:cubicBezTo>
                <a:lnTo>
                  <a:pt x="2982900" y="2564809"/>
                </a:lnTo>
                <a:lnTo>
                  <a:pt x="2978970" y="2564809"/>
                </a:lnTo>
                <a:lnTo>
                  <a:pt x="2977433" y="2566475"/>
                </a:lnTo>
                <a:lnTo>
                  <a:pt x="2956786" y="2552180"/>
                </a:lnTo>
                <a:lnTo>
                  <a:pt x="2955567" y="2552060"/>
                </a:lnTo>
                <a:lnTo>
                  <a:pt x="2956610" y="2552060"/>
                </a:lnTo>
                <a:lnTo>
                  <a:pt x="2955834" y="2551522"/>
                </a:lnTo>
                <a:lnTo>
                  <a:pt x="2955567" y="2552060"/>
                </a:lnTo>
                <a:lnTo>
                  <a:pt x="2950100" y="2548405"/>
                </a:lnTo>
                <a:lnTo>
                  <a:pt x="2950539" y="2547856"/>
                </a:lnTo>
                <a:lnTo>
                  <a:pt x="2945726" y="2544523"/>
                </a:lnTo>
                <a:lnTo>
                  <a:pt x="2942128" y="2543395"/>
                </a:lnTo>
                <a:cubicBezTo>
                  <a:pt x="2941900" y="2543395"/>
                  <a:pt x="2941900" y="2543848"/>
                  <a:pt x="2939167" y="2544752"/>
                </a:cubicBezTo>
                <a:lnTo>
                  <a:pt x="2933700" y="2539295"/>
                </a:lnTo>
                <a:lnTo>
                  <a:pt x="2934854" y="2536997"/>
                </a:lnTo>
                <a:lnTo>
                  <a:pt x="2930057" y="2533676"/>
                </a:lnTo>
                <a:cubicBezTo>
                  <a:pt x="2930057" y="2531853"/>
                  <a:pt x="2930057" y="2531853"/>
                  <a:pt x="2928234" y="2530031"/>
                </a:cubicBezTo>
                <a:cubicBezTo>
                  <a:pt x="2926412" y="2526386"/>
                  <a:pt x="2924590" y="2526386"/>
                  <a:pt x="2920946" y="2524564"/>
                </a:cubicBezTo>
                <a:lnTo>
                  <a:pt x="2911652" y="2515730"/>
                </a:lnTo>
                <a:lnTo>
                  <a:pt x="2908191" y="2521106"/>
                </a:lnTo>
                <a:cubicBezTo>
                  <a:pt x="2908191" y="2521106"/>
                  <a:pt x="2906369" y="2517470"/>
                  <a:pt x="2906369" y="2515653"/>
                </a:cubicBezTo>
                <a:cubicBezTo>
                  <a:pt x="2906369" y="2511093"/>
                  <a:pt x="2905914" y="2511093"/>
                  <a:pt x="2905914" y="2511317"/>
                </a:cubicBezTo>
                <a:lnTo>
                  <a:pt x="2906374" y="2510713"/>
                </a:lnTo>
                <a:lnTo>
                  <a:pt x="2861041" y="2467621"/>
                </a:lnTo>
                <a:lnTo>
                  <a:pt x="2853483" y="2457279"/>
                </a:lnTo>
                <a:lnTo>
                  <a:pt x="2842591" y="2457279"/>
                </a:lnTo>
                <a:cubicBezTo>
                  <a:pt x="2844414" y="2452722"/>
                  <a:pt x="2843958" y="2450444"/>
                  <a:pt x="2843958" y="2448621"/>
                </a:cubicBezTo>
                <a:lnTo>
                  <a:pt x="2845514" y="2446373"/>
                </a:lnTo>
                <a:lnTo>
                  <a:pt x="2813436" y="2402477"/>
                </a:lnTo>
                <a:lnTo>
                  <a:pt x="2841498" y="2407746"/>
                </a:lnTo>
                <a:lnTo>
                  <a:pt x="2842593" y="2404465"/>
                </a:lnTo>
                <a:lnTo>
                  <a:pt x="2846888" y="2408757"/>
                </a:lnTo>
                <a:lnTo>
                  <a:pt x="2939623" y="2426166"/>
                </a:lnTo>
                <a:lnTo>
                  <a:pt x="3001998" y="2427049"/>
                </a:lnTo>
                <a:lnTo>
                  <a:pt x="3001121" y="2426311"/>
                </a:lnTo>
                <a:lnTo>
                  <a:pt x="3002943" y="2422669"/>
                </a:lnTo>
                <a:lnTo>
                  <a:pt x="2997477" y="2417208"/>
                </a:lnTo>
                <a:lnTo>
                  <a:pt x="2988366" y="2415389"/>
                </a:lnTo>
                <a:lnTo>
                  <a:pt x="2981076" y="2422669"/>
                </a:lnTo>
                <a:lnTo>
                  <a:pt x="2981076" y="2415389"/>
                </a:lnTo>
                <a:lnTo>
                  <a:pt x="2982119" y="2410924"/>
                </a:lnTo>
                <a:lnTo>
                  <a:pt x="2920945" y="2384257"/>
                </a:lnTo>
                <a:cubicBezTo>
                  <a:pt x="2950100" y="2380613"/>
                  <a:pt x="2981077" y="2371502"/>
                  <a:pt x="3008410" y="2360569"/>
                </a:cubicBezTo>
                <a:cubicBezTo>
                  <a:pt x="3010232" y="2358747"/>
                  <a:pt x="3012054" y="2356925"/>
                  <a:pt x="3012054" y="2355103"/>
                </a:cubicBezTo>
                <a:lnTo>
                  <a:pt x="3030276" y="2353133"/>
                </a:lnTo>
                <a:lnTo>
                  <a:pt x="3030276" y="2347967"/>
                </a:lnTo>
                <a:lnTo>
                  <a:pt x="3034941" y="2352628"/>
                </a:lnTo>
                <a:lnTo>
                  <a:pt x="3079474" y="2347813"/>
                </a:lnTo>
                <a:cubicBezTo>
                  <a:pt x="3079474" y="2349635"/>
                  <a:pt x="3079474" y="2349635"/>
                  <a:pt x="3079474" y="2349635"/>
                </a:cubicBezTo>
                <a:cubicBezTo>
                  <a:pt x="3077652" y="2353279"/>
                  <a:pt x="3083119" y="2356925"/>
                  <a:pt x="3084941" y="2353279"/>
                </a:cubicBezTo>
                <a:cubicBezTo>
                  <a:pt x="3086763" y="2353279"/>
                  <a:pt x="3086763" y="2351458"/>
                  <a:pt x="3086763" y="2351458"/>
                </a:cubicBezTo>
                <a:cubicBezTo>
                  <a:pt x="3088585" y="2349635"/>
                  <a:pt x="3086763" y="2349635"/>
                  <a:pt x="3086763" y="2347813"/>
                </a:cubicBezTo>
                <a:cubicBezTo>
                  <a:pt x="3099518" y="2347813"/>
                  <a:pt x="3110451" y="2345992"/>
                  <a:pt x="3123206" y="2344168"/>
                </a:cubicBezTo>
                <a:lnTo>
                  <a:pt x="3137242" y="2343629"/>
                </a:lnTo>
                <a:close/>
                <a:moveTo>
                  <a:pt x="3493108" y="2337004"/>
                </a:moveTo>
                <a:lnTo>
                  <a:pt x="3453020" y="2371678"/>
                </a:lnTo>
                <a:lnTo>
                  <a:pt x="3453020" y="2349782"/>
                </a:lnTo>
                <a:cubicBezTo>
                  <a:pt x="3478531" y="2333373"/>
                  <a:pt x="3458487" y="2338823"/>
                  <a:pt x="3493108" y="2337004"/>
                </a:cubicBezTo>
                <a:close/>
                <a:moveTo>
                  <a:pt x="1023534" y="2336535"/>
                </a:moveTo>
                <a:lnTo>
                  <a:pt x="1024062" y="2336886"/>
                </a:lnTo>
                <a:lnTo>
                  <a:pt x="1022688" y="2336748"/>
                </a:lnTo>
                <a:close/>
                <a:moveTo>
                  <a:pt x="4478903" y="2335172"/>
                </a:moveTo>
                <a:lnTo>
                  <a:pt x="4504415" y="2336987"/>
                </a:lnTo>
                <a:lnTo>
                  <a:pt x="4480725" y="2358888"/>
                </a:lnTo>
                <a:close/>
                <a:moveTo>
                  <a:pt x="2838948" y="2335060"/>
                </a:moveTo>
                <a:cubicBezTo>
                  <a:pt x="2833481" y="2333237"/>
                  <a:pt x="2831659" y="2340525"/>
                  <a:pt x="2837126" y="2342348"/>
                </a:cubicBezTo>
                <a:cubicBezTo>
                  <a:pt x="2842592" y="2342348"/>
                  <a:pt x="2844415" y="2336881"/>
                  <a:pt x="2838948" y="2335060"/>
                </a:cubicBezTo>
                <a:close/>
                <a:moveTo>
                  <a:pt x="1034490" y="2333063"/>
                </a:moveTo>
                <a:lnTo>
                  <a:pt x="1032034" y="2334381"/>
                </a:lnTo>
                <a:lnTo>
                  <a:pt x="1023534" y="2336535"/>
                </a:lnTo>
                <a:lnTo>
                  <a:pt x="1023145" y="2336275"/>
                </a:lnTo>
                <a:lnTo>
                  <a:pt x="1022468" y="2336726"/>
                </a:lnTo>
                <a:lnTo>
                  <a:pt x="1022688" y="2336748"/>
                </a:lnTo>
                <a:lnTo>
                  <a:pt x="1022280" y="2336852"/>
                </a:lnTo>
                <a:lnTo>
                  <a:pt x="1022240" y="2336878"/>
                </a:lnTo>
                <a:lnTo>
                  <a:pt x="1022227" y="2336865"/>
                </a:lnTo>
                <a:lnTo>
                  <a:pt x="1014951" y="2338708"/>
                </a:lnTo>
                <a:cubicBezTo>
                  <a:pt x="1014951" y="2340531"/>
                  <a:pt x="1014951" y="2342353"/>
                  <a:pt x="1013129" y="2342353"/>
                </a:cubicBezTo>
                <a:lnTo>
                  <a:pt x="1012986" y="2342425"/>
                </a:lnTo>
                <a:lnTo>
                  <a:pt x="1014040" y="2342801"/>
                </a:lnTo>
                <a:cubicBezTo>
                  <a:pt x="1016318" y="2343712"/>
                  <a:pt x="1018596" y="2344168"/>
                  <a:pt x="1020418" y="2342345"/>
                </a:cubicBezTo>
                <a:cubicBezTo>
                  <a:pt x="1018596" y="2340523"/>
                  <a:pt x="1016774" y="2340523"/>
                  <a:pt x="1014951" y="2340523"/>
                </a:cubicBezTo>
                <a:cubicBezTo>
                  <a:pt x="1014951" y="2340523"/>
                  <a:pt x="1018596" y="2340523"/>
                  <a:pt x="1020418" y="2338701"/>
                </a:cubicBezTo>
                <a:cubicBezTo>
                  <a:pt x="1031351" y="2356923"/>
                  <a:pt x="1027707" y="2358745"/>
                  <a:pt x="1056861" y="2360567"/>
                </a:cubicBezTo>
                <a:cubicBezTo>
                  <a:pt x="1040461" y="2338701"/>
                  <a:pt x="1041486" y="2349635"/>
                  <a:pt x="1038412" y="2343400"/>
                </a:cubicBezTo>
                <a:close/>
                <a:moveTo>
                  <a:pt x="1005840" y="2331427"/>
                </a:moveTo>
                <a:cubicBezTo>
                  <a:pt x="1004017" y="2335073"/>
                  <a:pt x="998552" y="2336894"/>
                  <a:pt x="993084" y="2338718"/>
                </a:cubicBezTo>
                <a:lnTo>
                  <a:pt x="991263" y="2336894"/>
                </a:lnTo>
                <a:cubicBezTo>
                  <a:pt x="994907" y="2333250"/>
                  <a:pt x="1000374" y="2333250"/>
                  <a:pt x="1005840" y="2331427"/>
                </a:cubicBezTo>
                <a:close/>
                <a:moveTo>
                  <a:pt x="3514973" y="2318747"/>
                </a:moveTo>
                <a:lnTo>
                  <a:pt x="3531373" y="2333306"/>
                </a:lnTo>
                <a:lnTo>
                  <a:pt x="3514973" y="2335126"/>
                </a:lnTo>
                <a:close/>
                <a:moveTo>
                  <a:pt x="1053317" y="2317135"/>
                </a:moveTo>
                <a:lnTo>
                  <a:pt x="1052534" y="2317305"/>
                </a:lnTo>
                <a:lnTo>
                  <a:pt x="1051664" y="2317373"/>
                </a:lnTo>
                <a:lnTo>
                  <a:pt x="1056861" y="2327768"/>
                </a:lnTo>
                <a:close/>
                <a:moveTo>
                  <a:pt x="3978035" y="2313857"/>
                </a:moveTo>
                <a:cubicBezTo>
                  <a:pt x="3983274" y="2315677"/>
                  <a:pt x="3986918" y="2323398"/>
                  <a:pt x="3988740" y="2342482"/>
                </a:cubicBezTo>
                <a:lnTo>
                  <a:pt x="3957763" y="2349787"/>
                </a:lnTo>
                <a:cubicBezTo>
                  <a:pt x="3948652" y="2331568"/>
                  <a:pt x="3950474" y="2333385"/>
                  <a:pt x="3957763" y="2320669"/>
                </a:cubicBezTo>
                <a:cubicBezTo>
                  <a:pt x="3965963" y="2316130"/>
                  <a:pt x="3972796" y="2312041"/>
                  <a:pt x="3978035" y="2313857"/>
                </a:cubicBezTo>
                <a:close/>
                <a:moveTo>
                  <a:pt x="1115918" y="2310952"/>
                </a:moveTo>
                <a:lnTo>
                  <a:pt x="1115171" y="2311076"/>
                </a:lnTo>
                <a:lnTo>
                  <a:pt x="1115171" y="2313191"/>
                </a:lnTo>
                <a:close/>
                <a:moveTo>
                  <a:pt x="4282109" y="2309661"/>
                </a:moveTo>
                <a:lnTo>
                  <a:pt x="4283931" y="2327857"/>
                </a:lnTo>
                <a:lnTo>
                  <a:pt x="4267531" y="2326039"/>
                </a:lnTo>
                <a:close/>
                <a:moveTo>
                  <a:pt x="1135864" y="2306316"/>
                </a:moveTo>
                <a:lnTo>
                  <a:pt x="1126103" y="2307737"/>
                </a:lnTo>
                <a:cubicBezTo>
                  <a:pt x="1124281" y="2307737"/>
                  <a:pt x="1126103" y="2309557"/>
                  <a:pt x="1124281" y="2309557"/>
                </a:cubicBezTo>
                <a:lnTo>
                  <a:pt x="1122590" y="2309840"/>
                </a:lnTo>
                <a:lnTo>
                  <a:pt x="1125420" y="2316152"/>
                </a:lnTo>
                <a:cubicBezTo>
                  <a:pt x="1126559" y="2318201"/>
                  <a:pt x="1127926" y="2319568"/>
                  <a:pt x="1129748" y="2318656"/>
                </a:cubicBezTo>
                <a:cubicBezTo>
                  <a:pt x="1131570" y="2320480"/>
                  <a:pt x="1135215" y="2324124"/>
                  <a:pt x="1138859" y="2324124"/>
                </a:cubicBezTo>
                <a:cubicBezTo>
                  <a:pt x="1140681" y="2318656"/>
                  <a:pt x="1133393" y="2316834"/>
                  <a:pt x="1133393" y="2311368"/>
                </a:cubicBezTo>
                <a:cubicBezTo>
                  <a:pt x="1135215" y="2309547"/>
                  <a:pt x="1140681" y="2311368"/>
                  <a:pt x="1142503" y="2309547"/>
                </a:cubicBezTo>
                <a:close/>
                <a:moveTo>
                  <a:pt x="3620660" y="2304308"/>
                </a:moveTo>
                <a:lnTo>
                  <a:pt x="3635238" y="2304308"/>
                </a:lnTo>
                <a:lnTo>
                  <a:pt x="3649815" y="2304308"/>
                </a:lnTo>
                <a:lnTo>
                  <a:pt x="3664393" y="2311567"/>
                </a:lnTo>
                <a:lnTo>
                  <a:pt x="3664393" y="2311574"/>
                </a:lnTo>
                <a:lnTo>
                  <a:pt x="3664393" y="2326122"/>
                </a:lnTo>
                <a:lnTo>
                  <a:pt x="3649815" y="2326122"/>
                </a:lnTo>
                <a:cubicBezTo>
                  <a:pt x="3651637" y="2329754"/>
                  <a:pt x="3653459" y="2333385"/>
                  <a:pt x="3655282" y="2335202"/>
                </a:cubicBezTo>
                <a:cubicBezTo>
                  <a:pt x="3653459" y="2335202"/>
                  <a:pt x="3651637" y="2337014"/>
                  <a:pt x="3649815" y="2340652"/>
                </a:cubicBezTo>
                <a:lnTo>
                  <a:pt x="3627949" y="2344323"/>
                </a:lnTo>
                <a:cubicBezTo>
                  <a:pt x="3624305" y="2335202"/>
                  <a:pt x="3615193" y="2347967"/>
                  <a:pt x="3627949" y="2326122"/>
                </a:cubicBezTo>
                <a:close/>
                <a:moveTo>
                  <a:pt x="3431153" y="2302260"/>
                </a:moveTo>
                <a:cubicBezTo>
                  <a:pt x="3436620" y="2304082"/>
                  <a:pt x="3442086" y="2304082"/>
                  <a:pt x="3447553" y="2305906"/>
                </a:cubicBezTo>
                <a:lnTo>
                  <a:pt x="3440264" y="2309550"/>
                </a:lnTo>
                <a:close/>
                <a:moveTo>
                  <a:pt x="1002196" y="2294980"/>
                </a:moveTo>
                <a:lnTo>
                  <a:pt x="987619" y="2304091"/>
                </a:lnTo>
                <a:lnTo>
                  <a:pt x="1002196" y="2318669"/>
                </a:lnTo>
                <a:close/>
                <a:moveTo>
                  <a:pt x="1146148" y="2291335"/>
                </a:moveTo>
                <a:lnTo>
                  <a:pt x="1145721" y="2293359"/>
                </a:lnTo>
                <a:lnTo>
                  <a:pt x="1149769" y="2291335"/>
                </a:lnTo>
                <a:close/>
                <a:moveTo>
                  <a:pt x="951175" y="2289652"/>
                </a:moveTo>
                <a:lnTo>
                  <a:pt x="965752" y="2302422"/>
                </a:lnTo>
                <a:lnTo>
                  <a:pt x="942064" y="2311509"/>
                </a:lnTo>
                <a:close/>
                <a:moveTo>
                  <a:pt x="2875391" y="2287682"/>
                </a:moveTo>
                <a:lnTo>
                  <a:pt x="2876512" y="2288804"/>
                </a:lnTo>
                <a:lnTo>
                  <a:pt x="2875391" y="2289504"/>
                </a:lnTo>
                <a:lnTo>
                  <a:pt x="2874410" y="2288172"/>
                </a:lnTo>
                <a:close/>
                <a:moveTo>
                  <a:pt x="2857170" y="2287682"/>
                </a:moveTo>
                <a:cubicBezTo>
                  <a:pt x="2853525" y="2289504"/>
                  <a:pt x="2857170" y="2294971"/>
                  <a:pt x="2858992" y="2293148"/>
                </a:cubicBezTo>
                <a:cubicBezTo>
                  <a:pt x="2860814" y="2293148"/>
                  <a:pt x="2860814" y="2293148"/>
                  <a:pt x="2860814" y="2293148"/>
                </a:cubicBezTo>
                <a:cubicBezTo>
                  <a:pt x="2864458" y="2291327"/>
                  <a:pt x="2862636" y="2285861"/>
                  <a:pt x="2857170" y="2287682"/>
                </a:cubicBezTo>
                <a:close/>
                <a:moveTo>
                  <a:pt x="3476708" y="2285860"/>
                </a:moveTo>
                <a:cubicBezTo>
                  <a:pt x="3478530" y="2285860"/>
                  <a:pt x="3480352" y="2285860"/>
                  <a:pt x="3482174" y="2287683"/>
                </a:cubicBezTo>
                <a:cubicBezTo>
                  <a:pt x="3478530" y="2287683"/>
                  <a:pt x="3474885" y="2287683"/>
                  <a:pt x="3473063" y="2287683"/>
                </a:cubicBezTo>
                <a:cubicBezTo>
                  <a:pt x="3474885" y="2287683"/>
                  <a:pt x="3474885" y="2285860"/>
                  <a:pt x="3476708" y="2285860"/>
                </a:cubicBezTo>
                <a:close/>
                <a:moveTo>
                  <a:pt x="3620660" y="2282340"/>
                </a:moveTo>
                <a:lnTo>
                  <a:pt x="3620660" y="2304202"/>
                </a:lnTo>
                <a:lnTo>
                  <a:pt x="3604260" y="2296882"/>
                </a:lnTo>
                <a:close/>
                <a:moveTo>
                  <a:pt x="2842592" y="2282215"/>
                </a:moveTo>
                <a:cubicBezTo>
                  <a:pt x="2838948" y="2280393"/>
                  <a:pt x="2837126" y="2285861"/>
                  <a:pt x="2840770" y="2289504"/>
                </a:cubicBezTo>
                <a:cubicBezTo>
                  <a:pt x="2846237" y="2289504"/>
                  <a:pt x="2848059" y="2284038"/>
                  <a:pt x="2842592" y="2282215"/>
                </a:cubicBezTo>
                <a:close/>
                <a:moveTo>
                  <a:pt x="3708124" y="2280500"/>
                </a:moveTo>
                <a:lnTo>
                  <a:pt x="3709946" y="2296882"/>
                </a:lnTo>
                <a:lnTo>
                  <a:pt x="3693546" y="2295052"/>
                </a:lnTo>
                <a:close/>
                <a:moveTo>
                  <a:pt x="1153436" y="2278579"/>
                </a:moveTo>
                <a:cubicBezTo>
                  <a:pt x="1153436" y="2280402"/>
                  <a:pt x="1149791" y="2278579"/>
                  <a:pt x="1149791" y="2280402"/>
                </a:cubicBezTo>
                <a:lnTo>
                  <a:pt x="1149791" y="2291325"/>
                </a:lnTo>
                <a:lnTo>
                  <a:pt x="1149792" y="2291324"/>
                </a:lnTo>
                <a:cubicBezTo>
                  <a:pt x="1149792" y="2293146"/>
                  <a:pt x="1151614" y="2294968"/>
                  <a:pt x="1153436" y="2294968"/>
                </a:cubicBezTo>
                <a:cubicBezTo>
                  <a:pt x="1157081" y="2293146"/>
                  <a:pt x="1157081" y="2289502"/>
                  <a:pt x="1157081" y="2287680"/>
                </a:cubicBezTo>
                <a:lnTo>
                  <a:pt x="1158902" y="2286840"/>
                </a:lnTo>
                <a:lnTo>
                  <a:pt x="1158902" y="2285868"/>
                </a:lnTo>
                <a:cubicBezTo>
                  <a:pt x="1157080" y="2285868"/>
                  <a:pt x="1157080" y="2284046"/>
                  <a:pt x="1155259" y="2285868"/>
                </a:cubicBezTo>
                <a:cubicBezTo>
                  <a:pt x="1155259" y="2282224"/>
                  <a:pt x="1155259" y="2280402"/>
                  <a:pt x="1153436" y="2278579"/>
                </a:cubicBezTo>
                <a:close/>
                <a:moveTo>
                  <a:pt x="1185480" y="2276955"/>
                </a:moveTo>
                <a:lnTo>
                  <a:pt x="1182136" y="2277212"/>
                </a:lnTo>
                <a:lnTo>
                  <a:pt x="1181098" y="2278250"/>
                </a:lnTo>
                <a:lnTo>
                  <a:pt x="1181452" y="2278796"/>
                </a:lnTo>
                <a:cubicBezTo>
                  <a:pt x="1181680" y="2280846"/>
                  <a:pt x="1181680" y="2283124"/>
                  <a:pt x="1182592" y="2284035"/>
                </a:cubicBezTo>
                <a:cubicBezTo>
                  <a:pt x="1184414" y="2282213"/>
                  <a:pt x="1186236" y="2280391"/>
                  <a:pt x="1188058" y="2280391"/>
                </a:cubicBezTo>
                <a:close/>
                <a:moveTo>
                  <a:pt x="3544128" y="2275060"/>
                </a:moveTo>
                <a:lnTo>
                  <a:pt x="3560528" y="2287815"/>
                </a:lnTo>
                <a:lnTo>
                  <a:pt x="3544128" y="2296882"/>
                </a:lnTo>
                <a:close/>
                <a:moveTo>
                  <a:pt x="3799232" y="2275043"/>
                </a:moveTo>
                <a:lnTo>
                  <a:pt x="3815632" y="2275043"/>
                </a:lnTo>
                <a:lnTo>
                  <a:pt x="3813810" y="2291431"/>
                </a:lnTo>
                <a:close/>
                <a:moveTo>
                  <a:pt x="4411483" y="2275025"/>
                </a:moveTo>
                <a:lnTo>
                  <a:pt x="4426060" y="2275025"/>
                </a:lnTo>
                <a:lnTo>
                  <a:pt x="4411483" y="2289596"/>
                </a:lnTo>
                <a:close/>
                <a:moveTo>
                  <a:pt x="3649815" y="2273325"/>
                </a:moveTo>
                <a:cubicBezTo>
                  <a:pt x="3671681" y="2276972"/>
                  <a:pt x="3680792" y="2273325"/>
                  <a:pt x="3678970" y="2296959"/>
                </a:cubicBezTo>
                <a:cubicBezTo>
                  <a:pt x="3678970" y="2301564"/>
                  <a:pt x="3677148" y="2304299"/>
                  <a:pt x="3674414" y="2306341"/>
                </a:cubicBezTo>
                <a:lnTo>
                  <a:pt x="3664393" y="2311567"/>
                </a:lnTo>
                <a:close/>
                <a:moveTo>
                  <a:pt x="925664" y="2273286"/>
                </a:moveTo>
                <a:lnTo>
                  <a:pt x="934777" y="2289675"/>
                </a:lnTo>
                <a:lnTo>
                  <a:pt x="901976" y="2295092"/>
                </a:lnTo>
                <a:close/>
                <a:moveTo>
                  <a:pt x="952997" y="2273108"/>
                </a:moveTo>
                <a:cubicBezTo>
                  <a:pt x="952997" y="2274931"/>
                  <a:pt x="951175" y="2274931"/>
                  <a:pt x="951175" y="2274931"/>
                </a:cubicBezTo>
                <a:cubicBezTo>
                  <a:pt x="949353" y="2274931"/>
                  <a:pt x="947530" y="2274931"/>
                  <a:pt x="945708" y="2274931"/>
                </a:cubicBezTo>
                <a:cubicBezTo>
                  <a:pt x="947530" y="2273108"/>
                  <a:pt x="951175" y="2273108"/>
                  <a:pt x="952997" y="2273108"/>
                </a:cubicBezTo>
                <a:close/>
                <a:moveTo>
                  <a:pt x="1177124" y="2271290"/>
                </a:moveTo>
                <a:cubicBezTo>
                  <a:pt x="1175302" y="2273113"/>
                  <a:pt x="1175302" y="2274935"/>
                  <a:pt x="1175302" y="2278579"/>
                </a:cubicBezTo>
                <a:cubicBezTo>
                  <a:pt x="1171658" y="2278579"/>
                  <a:pt x="1169835" y="2278579"/>
                  <a:pt x="1166191" y="2280402"/>
                </a:cubicBezTo>
                <a:lnTo>
                  <a:pt x="1164684" y="2284171"/>
                </a:lnTo>
                <a:lnTo>
                  <a:pt x="1165964" y="2283580"/>
                </a:lnTo>
                <a:cubicBezTo>
                  <a:pt x="1168925" y="2282213"/>
                  <a:pt x="1171658" y="2281302"/>
                  <a:pt x="1173481" y="2282213"/>
                </a:cubicBezTo>
                <a:cubicBezTo>
                  <a:pt x="1171658" y="2284035"/>
                  <a:pt x="1173481" y="2285857"/>
                  <a:pt x="1173481" y="2287680"/>
                </a:cubicBezTo>
                <a:cubicBezTo>
                  <a:pt x="1173481" y="2289502"/>
                  <a:pt x="1175303" y="2287680"/>
                  <a:pt x="1175303" y="2289502"/>
                </a:cubicBezTo>
                <a:lnTo>
                  <a:pt x="1178385" y="2277173"/>
                </a:lnTo>
                <a:lnTo>
                  <a:pt x="1178035" y="2275163"/>
                </a:lnTo>
                <a:cubicBezTo>
                  <a:pt x="1178035" y="2273113"/>
                  <a:pt x="1178035" y="2271290"/>
                  <a:pt x="1177124" y="2271290"/>
                </a:cubicBezTo>
                <a:close/>
                <a:moveTo>
                  <a:pt x="1062328" y="2267646"/>
                </a:moveTo>
                <a:lnTo>
                  <a:pt x="1038639" y="2269468"/>
                </a:lnTo>
                <a:lnTo>
                  <a:pt x="1060506" y="2291335"/>
                </a:lnTo>
                <a:close/>
                <a:moveTo>
                  <a:pt x="3633414" y="2265913"/>
                </a:moveTo>
                <a:lnTo>
                  <a:pt x="3635237" y="2282317"/>
                </a:lnTo>
                <a:lnTo>
                  <a:pt x="3620659" y="2282317"/>
                </a:lnTo>
                <a:close/>
                <a:moveTo>
                  <a:pt x="934775" y="2265819"/>
                </a:moveTo>
                <a:cubicBezTo>
                  <a:pt x="936597" y="2267641"/>
                  <a:pt x="938420" y="2265819"/>
                  <a:pt x="940242" y="2265819"/>
                </a:cubicBezTo>
                <a:cubicBezTo>
                  <a:pt x="940242" y="2267641"/>
                  <a:pt x="940242" y="2269464"/>
                  <a:pt x="940242" y="2269464"/>
                </a:cubicBezTo>
                <a:cubicBezTo>
                  <a:pt x="940242" y="2269464"/>
                  <a:pt x="938420" y="2267641"/>
                  <a:pt x="934775" y="2265819"/>
                </a:cubicBezTo>
                <a:close/>
                <a:moveTo>
                  <a:pt x="943886" y="2254886"/>
                </a:moveTo>
                <a:cubicBezTo>
                  <a:pt x="943886" y="2256708"/>
                  <a:pt x="943886" y="2256708"/>
                  <a:pt x="943886" y="2258531"/>
                </a:cubicBezTo>
                <a:cubicBezTo>
                  <a:pt x="942063" y="2258531"/>
                  <a:pt x="942063" y="2258531"/>
                  <a:pt x="940241" y="2258531"/>
                </a:cubicBezTo>
                <a:cubicBezTo>
                  <a:pt x="942063" y="2256708"/>
                  <a:pt x="942063" y="2256708"/>
                  <a:pt x="943886" y="2254886"/>
                </a:cubicBezTo>
                <a:close/>
                <a:moveTo>
                  <a:pt x="3447553" y="2254882"/>
                </a:moveTo>
                <a:cubicBezTo>
                  <a:pt x="3454842" y="2256704"/>
                  <a:pt x="3463953" y="2256704"/>
                  <a:pt x="3471242" y="2258527"/>
                </a:cubicBezTo>
                <a:lnTo>
                  <a:pt x="3469419" y="2262171"/>
                </a:lnTo>
                <a:cubicBezTo>
                  <a:pt x="3465775" y="2263993"/>
                  <a:pt x="3460308" y="2263993"/>
                  <a:pt x="3454842" y="2263993"/>
                </a:cubicBezTo>
                <a:close/>
                <a:moveTo>
                  <a:pt x="2880402" y="2253288"/>
                </a:moveTo>
                <a:cubicBezTo>
                  <a:pt x="2879035" y="2253972"/>
                  <a:pt x="2878124" y="2255793"/>
                  <a:pt x="2879036" y="2258527"/>
                </a:cubicBezTo>
                <a:cubicBezTo>
                  <a:pt x="2879036" y="2258527"/>
                  <a:pt x="2879036" y="2260349"/>
                  <a:pt x="2880858" y="2260349"/>
                </a:cubicBezTo>
                <a:cubicBezTo>
                  <a:pt x="2884502" y="2262172"/>
                  <a:pt x="2888147" y="2256705"/>
                  <a:pt x="2884502" y="2254883"/>
                </a:cubicBezTo>
                <a:cubicBezTo>
                  <a:pt x="2883591" y="2253061"/>
                  <a:pt x="2881769" y="2252605"/>
                  <a:pt x="2880402" y="2253288"/>
                </a:cubicBezTo>
                <a:close/>
                <a:moveTo>
                  <a:pt x="962108" y="2251246"/>
                </a:moveTo>
                <a:cubicBezTo>
                  <a:pt x="965752" y="2253069"/>
                  <a:pt x="967574" y="2256713"/>
                  <a:pt x="973041" y="2258536"/>
                </a:cubicBezTo>
                <a:cubicBezTo>
                  <a:pt x="973041" y="2258536"/>
                  <a:pt x="971219" y="2260358"/>
                  <a:pt x="971219" y="2262180"/>
                </a:cubicBezTo>
                <a:cubicBezTo>
                  <a:pt x="965752" y="2265825"/>
                  <a:pt x="960286" y="2267647"/>
                  <a:pt x="954819" y="2271291"/>
                </a:cubicBezTo>
                <a:cubicBezTo>
                  <a:pt x="954819" y="2271291"/>
                  <a:pt x="952997" y="2271291"/>
                  <a:pt x="952997" y="2269469"/>
                </a:cubicBezTo>
                <a:cubicBezTo>
                  <a:pt x="949353" y="2271291"/>
                  <a:pt x="947530" y="2269469"/>
                  <a:pt x="945708" y="2271291"/>
                </a:cubicBezTo>
                <a:cubicBezTo>
                  <a:pt x="945708" y="2267647"/>
                  <a:pt x="947530" y="2260358"/>
                  <a:pt x="951175" y="2256713"/>
                </a:cubicBezTo>
                <a:cubicBezTo>
                  <a:pt x="954819" y="2256713"/>
                  <a:pt x="960286" y="2258536"/>
                  <a:pt x="963930" y="2256713"/>
                </a:cubicBezTo>
                <a:cubicBezTo>
                  <a:pt x="962108" y="2253069"/>
                  <a:pt x="960286" y="2254891"/>
                  <a:pt x="958463" y="2253069"/>
                </a:cubicBezTo>
                <a:cubicBezTo>
                  <a:pt x="962108" y="2253069"/>
                  <a:pt x="962108" y="2253069"/>
                  <a:pt x="962108" y="2251246"/>
                </a:cubicBezTo>
                <a:close/>
                <a:moveTo>
                  <a:pt x="993085" y="2251241"/>
                </a:moveTo>
                <a:cubicBezTo>
                  <a:pt x="994907" y="2253063"/>
                  <a:pt x="994907" y="2253063"/>
                  <a:pt x="996729" y="2254886"/>
                </a:cubicBezTo>
                <a:lnTo>
                  <a:pt x="985796" y="2256708"/>
                </a:lnTo>
                <a:cubicBezTo>
                  <a:pt x="987618" y="2254886"/>
                  <a:pt x="991263" y="2253063"/>
                  <a:pt x="993085" y="2251241"/>
                </a:cubicBezTo>
                <a:close/>
                <a:moveTo>
                  <a:pt x="3361910" y="2251238"/>
                </a:moveTo>
                <a:lnTo>
                  <a:pt x="3349155" y="2274927"/>
                </a:lnTo>
                <a:lnTo>
                  <a:pt x="3363733" y="2274927"/>
                </a:lnTo>
                <a:lnTo>
                  <a:pt x="3365555" y="2291327"/>
                </a:lnTo>
                <a:lnTo>
                  <a:pt x="3378310" y="2274927"/>
                </a:lnTo>
                <a:lnTo>
                  <a:pt x="3363733" y="2274927"/>
                </a:lnTo>
                <a:close/>
                <a:moveTo>
                  <a:pt x="949352" y="2249418"/>
                </a:moveTo>
                <a:cubicBezTo>
                  <a:pt x="951174" y="2249418"/>
                  <a:pt x="951174" y="2249418"/>
                  <a:pt x="952997" y="2249418"/>
                </a:cubicBezTo>
                <a:cubicBezTo>
                  <a:pt x="952997" y="2251241"/>
                  <a:pt x="951174" y="2251241"/>
                  <a:pt x="951174" y="2253063"/>
                </a:cubicBezTo>
                <a:cubicBezTo>
                  <a:pt x="951174" y="2253063"/>
                  <a:pt x="951174" y="2251241"/>
                  <a:pt x="949352" y="2249418"/>
                </a:cubicBezTo>
                <a:close/>
                <a:moveTo>
                  <a:pt x="2879036" y="2245772"/>
                </a:moveTo>
                <a:cubicBezTo>
                  <a:pt x="2871747" y="2243950"/>
                  <a:pt x="2869925" y="2249415"/>
                  <a:pt x="2875391" y="2253061"/>
                </a:cubicBezTo>
                <a:cubicBezTo>
                  <a:pt x="2875391" y="2253061"/>
                  <a:pt x="2877213" y="2253061"/>
                  <a:pt x="2877213" y="2253061"/>
                </a:cubicBezTo>
                <a:cubicBezTo>
                  <a:pt x="2880858" y="2253061"/>
                  <a:pt x="2882680" y="2247594"/>
                  <a:pt x="2879036" y="2245772"/>
                </a:cubicBezTo>
                <a:close/>
                <a:moveTo>
                  <a:pt x="1005840" y="2243957"/>
                </a:moveTo>
                <a:cubicBezTo>
                  <a:pt x="1005840" y="2247602"/>
                  <a:pt x="1000374" y="2251246"/>
                  <a:pt x="996729" y="2247602"/>
                </a:cubicBezTo>
                <a:cubicBezTo>
                  <a:pt x="1000374" y="2247602"/>
                  <a:pt x="1002196" y="2245779"/>
                  <a:pt x="1005840" y="2243957"/>
                </a:cubicBezTo>
                <a:close/>
                <a:moveTo>
                  <a:pt x="3442087" y="2243951"/>
                </a:moveTo>
                <a:cubicBezTo>
                  <a:pt x="3449375" y="2243951"/>
                  <a:pt x="3454842" y="2243951"/>
                  <a:pt x="3460308" y="2245772"/>
                </a:cubicBezTo>
                <a:cubicBezTo>
                  <a:pt x="3465775" y="2247596"/>
                  <a:pt x="3469419" y="2247596"/>
                  <a:pt x="3474886" y="2249418"/>
                </a:cubicBezTo>
                <a:cubicBezTo>
                  <a:pt x="3471241" y="2249418"/>
                  <a:pt x="3469419" y="2247596"/>
                  <a:pt x="3465775" y="2249418"/>
                </a:cubicBezTo>
                <a:cubicBezTo>
                  <a:pt x="3456664" y="2247596"/>
                  <a:pt x="3449375" y="2247596"/>
                  <a:pt x="3440265" y="2247596"/>
                </a:cubicBezTo>
                <a:lnTo>
                  <a:pt x="3438442" y="2245772"/>
                </a:lnTo>
                <a:close/>
                <a:moveTo>
                  <a:pt x="4334952" y="2242277"/>
                </a:moveTo>
                <a:lnTo>
                  <a:pt x="4336775" y="2265987"/>
                </a:lnTo>
                <a:lnTo>
                  <a:pt x="4313086" y="2265987"/>
                </a:lnTo>
                <a:close/>
                <a:moveTo>
                  <a:pt x="982152" y="2242130"/>
                </a:moveTo>
                <a:cubicBezTo>
                  <a:pt x="983974" y="2245775"/>
                  <a:pt x="989441" y="2243953"/>
                  <a:pt x="993085" y="2249420"/>
                </a:cubicBezTo>
                <a:cubicBezTo>
                  <a:pt x="989441" y="2253064"/>
                  <a:pt x="983974" y="2254886"/>
                  <a:pt x="980330" y="2258531"/>
                </a:cubicBezTo>
                <a:lnTo>
                  <a:pt x="974863" y="2260354"/>
                </a:lnTo>
                <a:cubicBezTo>
                  <a:pt x="973041" y="2256709"/>
                  <a:pt x="969396" y="2251242"/>
                  <a:pt x="967574" y="2247598"/>
                </a:cubicBezTo>
                <a:cubicBezTo>
                  <a:pt x="969396" y="2245775"/>
                  <a:pt x="971219" y="2245775"/>
                  <a:pt x="974863" y="2243953"/>
                </a:cubicBezTo>
                <a:cubicBezTo>
                  <a:pt x="976685" y="2243953"/>
                  <a:pt x="980330" y="2243953"/>
                  <a:pt x="982152" y="2242130"/>
                </a:cubicBezTo>
                <a:close/>
                <a:moveTo>
                  <a:pt x="1157081" y="2240312"/>
                </a:moveTo>
                <a:cubicBezTo>
                  <a:pt x="1155259" y="2238489"/>
                  <a:pt x="1157081" y="2243956"/>
                  <a:pt x="1153436" y="2242134"/>
                </a:cubicBezTo>
                <a:cubicBezTo>
                  <a:pt x="1153436" y="2247601"/>
                  <a:pt x="1151614" y="2251245"/>
                  <a:pt x="1151614" y="2254890"/>
                </a:cubicBezTo>
                <a:cubicBezTo>
                  <a:pt x="1144326" y="2258535"/>
                  <a:pt x="1142503" y="2260358"/>
                  <a:pt x="1138859" y="2265823"/>
                </a:cubicBezTo>
                <a:cubicBezTo>
                  <a:pt x="1129748" y="2269468"/>
                  <a:pt x="1124282" y="2274935"/>
                  <a:pt x="1115171" y="2278579"/>
                </a:cubicBezTo>
                <a:lnTo>
                  <a:pt x="1111526" y="2282225"/>
                </a:lnTo>
                <a:cubicBezTo>
                  <a:pt x="1111526" y="2284047"/>
                  <a:pt x="1113348" y="2287691"/>
                  <a:pt x="1113348" y="2287691"/>
                </a:cubicBezTo>
                <a:cubicBezTo>
                  <a:pt x="1113348" y="2287691"/>
                  <a:pt x="1109704" y="2284047"/>
                  <a:pt x="1107881" y="2285870"/>
                </a:cubicBezTo>
                <a:cubicBezTo>
                  <a:pt x="1109704" y="2287691"/>
                  <a:pt x="1107881" y="2291336"/>
                  <a:pt x="1107881" y="2294981"/>
                </a:cubicBezTo>
                <a:lnTo>
                  <a:pt x="1085213" y="2307575"/>
                </a:lnTo>
                <a:lnTo>
                  <a:pt x="1094166" y="2307662"/>
                </a:lnTo>
                <a:lnTo>
                  <a:pt x="1100593" y="2304091"/>
                </a:lnTo>
                <a:cubicBezTo>
                  <a:pt x="1104237" y="2302270"/>
                  <a:pt x="1107881" y="2296802"/>
                  <a:pt x="1113348" y="2298624"/>
                </a:cubicBezTo>
                <a:cubicBezTo>
                  <a:pt x="1115170" y="2296802"/>
                  <a:pt x="1113348" y="2294980"/>
                  <a:pt x="1116992" y="2294980"/>
                </a:cubicBezTo>
                <a:cubicBezTo>
                  <a:pt x="1118815" y="2296802"/>
                  <a:pt x="1122459" y="2300446"/>
                  <a:pt x="1126103" y="2298624"/>
                </a:cubicBezTo>
                <a:cubicBezTo>
                  <a:pt x="1127926" y="2298624"/>
                  <a:pt x="1124281" y="2294980"/>
                  <a:pt x="1124281" y="2293157"/>
                </a:cubicBezTo>
                <a:cubicBezTo>
                  <a:pt x="1126103" y="2293157"/>
                  <a:pt x="1127926" y="2291335"/>
                  <a:pt x="1129748" y="2289513"/>
                </a:cubicBezTo>
                <a:cubicBezTo>
                  <a:pt x="1129748" y="2287691"/>
                  <a:pt x="1129748" y="2287691"/>
                  <a:pt x="1127926" y="2287691"/>
                </a:cubicBezTo>
                <a:cubicBezTo>
                  <a:pt x="1133392" y="2280402"/>
                  <a:pt x="1142503" y="2276757"/>
                  <a:pt x="1151614" y="2269468"/>
                </a:cubicBezTo>
                <a:lnTo>
                  <a:pt x="1157080" y="2264783"/>
                </a:lnTo>
                <a:lnTo>
                  <a:pt x="1135215" y="2280402"/>
                </a:lnTo>
                <a:cubicBezTo>
                  <a:pt x="1131570" y="2285868"/>
                  <a:pt x="1124282" y="2291335"/>
                  <a:pt x="1116993" y="2289513"/>
                </a:cubicBezTo>
                <a:cubicBezTo>
                  <a:pt x="1118815" y="2287691"/>
                  <a:pt x="1118815" y="2284046"/>
                  <a:pt x="1120637" y="2282224"/>
                </a:cubicBezTo>
                <a:cubicBezTo>
                  <a:pt x="1122459" y="2280402"/>
                  <a:pt x="1126104" y="2280402"/>
                  <a:pt x="1124282" y="2276757"/>
                </a:cubicBezTo>
                <a:cubicBezTo>
                  <a:pt x="1129748" y="2273113"/>
                  <a:pt x="1138859" y="2271290"/>
                  <a:pt x="1142503" y="2267646"/>
                </a:cubicBezTo>
                <a:cubicBezTo>
                  <a:pt x="1144326" y="2265823"/>
                  <a:pt x="1147970" y="2265823"/>
                  <a:pt x="1147970" y="2264001"/>
                </a:cubicBezTo>
                <a:cubicBezTo>
                  <a:pt x="1147970" y="2262179"/>
                  <a:pt x="1146148" y="2264001"/>
                  <a:pt x="1146148" y="2264001"/>
                </a:cubicBezTo>
                <a:cubicBezTo>
                  <a:pt x="1146148" y="2262179"/>
                  <a:pt x="1149792" y="2260358"/>
                  <a:pt x="1151614" y="2258535"/>
                </a:cubicBezTo>
                <a:cubicBezTo>
                  <a:pt x="1151614" y="2258535"/>
                  <a:pt x="1151614" y="2262179"/>
                  <a:pt x="1153436" y="2262179"/>
                </a:cubicBezTo>
                <a:cubicBezTo>
                  <a:pt x="1157081" y="2260358"/>
                  <a:pt x="1151614" y="2258535"/>
                  <a:pt x="1151614" y="2256712"/>
                </a:cubicBezTo>
                <a:cubicBezTo>
                  <a:pt x="1153436" y="2254890"/>
                  <a:pt x="1155259" y="2260358"/>
                  <a:pt x="1158903" y="2258535"/>
                </a:cubicBezTo>
                <a:cubicBezTo>
                  <a:pt x="1158903" y="2256712"/>
                  <a:pt x="1155259" y="2256712"/>
                  <a:pt x="1157081" y="2254890"/>
                </a:cubicBezTo>
                <a:cubicBezTo>
                  <a:pt x="1158903" y="2254890"/>
                  <a:pt x="1160725" y="2254890"/>
                  <a:pt x="1162547" y="2253067"/>
                </a:cubicBezTo>
                <a:cubicBezTo>
                  <a:pt x="1162547" y="2251245"/>
                  <a:pt x="1158903" y="2253067"/>
                  <a:pt x="1158903" y="2251245"/>
                </a:cubicBezTo>
                <a:cubicBezTo>
                  <a:pt x="1158903" y="2249423"/>
                  <a:pt x="1162547" y="2247601"/>
                  <a:pt x="1162547" y="2243956"/>
                </a:cubicBezTo>
                <a:cubicBezTo>
                  <a:pt x="1160725" y="2242134"/>
                  <a:pt x="1158903" y="2243956"/>
                  <a:pt x="1158903" y="2245778"/>
                </a:cubicBezTo>
                <a:cubicBezTo>
                  <a:pt x="1157081" y="2245778"/>
                  <a:pt x="1157081" y="2242134"/>
                  <a:pt x="1157081" y="2240312"/>
                </a:cubicBezTo>
                <a:close/>
                <a:moveTo>
                  <a:pt x="2869925" y="2236661"/>
                </a:moveTo>
                <a:cubicBezTo>
                  <a:pt x="2866281" y="2234838"/>
                  <a:pt x="2862636" y="2242128"/>
                  <a:pt x="2868103" y="2243950"/>
                </a:cubicBezTo>
                <a:cubicBezTo>
                  <a:pt x="2868103" y="2243950"/>
                  <a:pt x="2869925" y="2243950"/>
                  <a:pt x="2869925" y="2243950"/>
                </a:cubicBezTo>
                <a:cubicBezTo>
                  <a:pt x="2873569" y="2243950"/>
                  <a:pt x="2875391" y="2238483"/>
                  <a:pt x="2871747" y="2236661"/>
                </a:cubicBezTo>
                <a:cubicBezTo>
                  <a:pt x="2871747" y="2236661"/>
                  <a:pt x="2869925" y="2236661"/>
                  <a:pt x="2869925" y="2236661"/>
                </a:cubicBezTo>
                <a:close/>
                <a:moveTo>
                  <a:pt x="3363734" y="2233017"/>
                </a:moveTo>
                <a:cubicBezTo>
                  <a:pt x="3365556" y="2233017"/>
                  <a:pt x="3367379" y="2233017"/>
                  <a:pt x="3369201" y="2233017"/>
                </a:cubicBezTo>
                <a:cubicBezTo>
                  <a:pt x="3363734" y="2240307"/>
                  <a:pt x="3363734" y="2236662"/>
                  <a:pt x="3363734" y="2233017"/>
                </a:cubicBezTo>
                <a:close/>
                <a:moveTo>
                  <a:pt x="3387421" y="2231194"/>
                </a:moveTo>
                <a:lnTo>
                  <a:pt x="3416576" y="2231194"/>
                </a:lnTo>
                <a:cubicBezTo>
                  <a:pt x="3414753" y="2233017"/>
                  <a:pt x="3411109" y="2233017"/>
                  <a:pt x="3403820" y="2236661"/>
                </a:cubicBezTo>
                <a:lnTo>
                  <a:pt x="3409287" y="2249416"/>
                </a:lnTo>
                <a:cubicBezTo>
                  <a:pt x="3407465" y="2249416"/>
                  <a:pt x="3403820" y="2251238"/>
                  <a:pt x="3400176" y="2251238"/>
                </a:cubicBezTo>
                <a:cubicBezTo>
                  <a:pt x="3394710" y="2253061"/>
                  <a:pt x="3398354" y="2260350"/>
                  <a:pt x="3401998" y="2260350"/>
                </a:cubicBezTo>
                <a:cubicBezTo>
                  <a:pt x="3405642" y="2258527"/>
                  <a:pt x="3409287" y="2258527"/>
                  <a:pt x="3412931" y="2258527"/>
                </a:cubicBezTo>
                <a:lnTo>
                  <a:pt x="3420220" y="2276750"/>
                </a:lnTo>
                <a:lnTo>
                  <a:pt x="3422042" y="2276750"/>
                </a:lnTo>
                <a:cubicBezTo>
                  <a:pt x="3422042" y="2276750"/>
                  <a:pt x="3422042" y="2278572"/>
                  <a:pt x="3423864" y="2278572"/>
                </a:cubicBezTo>
                <a:cubicBezTo>
                  <a:pt x="3432975" y="2282216"/>
                  <a:pt x="3442086" y="2280394"/>
                  <a:pt x="3451197" y="2282216"/>
                </a:cubicBezTo>
                <a:cubicBezTo>
                  <a:pt x="3454841" y="2282216"/>
                  <a:pt x="3456663" y="2284038"/>
                  <a:pt x="3460308" y="2284038"/>
                </a:cubicBezTo>
                <a:lnTo>
                  <a:pt x="3463952" y="2287683"/>
                </a:lnTo>
                <a:cubicBezTo>
                  <a:pt x="3442086" y="2285861"/>
                  <a:pt x="3418398" y="2284038"/>
                  <a:pt x="3396532" y="2282216"/>
                </a:cubicBezTo>
                <a:cubicBezTo>
                  <a:pt x="3391065" y="2282216"/>
                  <a:pt x="3392887" y="2289505"/>
                  <a:pt x="3396532" y="2291327"/>
                </a:cubicBezTo>
                <a:cubicBezTo>
                  <a:pt x="3403820" y="2294971"/>
                  <a:pt x="3412931" y="2298616"/>
                  <a:pt x="3422042" y="2302260"/>
                </a:cubicBezTo>
                <a:lnTo>
                  <a:pt x="3420220" y="2309550"/>
                </a:lnTo>
                <a:cubicBezTo>
                  <a:pt x="3416576" y="2309550"/>
                  <a:pt x="3411109" y="2309550"/>
                  <a:pt x="3407465" y="2309550"/>
                </a:cubicBezTo>
                <a:cubicBezTo>
                  <a:pt x="3403820" y="2309550"/>
                  <a:pt x="3405642" y="2313193"/>
                  <a:pt x="3407465" y="2315015"/>
                </a:cubicBezTo>
                <a:cubicBezTo>
                  <a:pt x="3411109" y="2316838"/>
                  <a:pt x="3414753" y="2318660"/>
                  <a:pt x="3418398" y="2320482"/>
                </a:cubicBezTo>
                <a:lnTo>
                  <a:pt x="3416576" y="2324126"/>
                </a:lnTo>
                <a:cubicBezTo>
                  <a:pt x="3414753" y="2324126"/>
                  <a:pt x="3412931" y="2324126"/>
                  <a:pt x="3411109" y="2324126"/>
                </a:cubicBezTo>
                <a:cubicBezTo>
                  <a:pt x="3407465" y="2324126"/>
                  <a:pt x="3401998" y="2327772"/>
                  <a:pt x="3403820" y="2331416"/>
                </a:cubicBezTo>
                <a:cubicBezTo>
                  <a:pt x="3403820" y="2331416"/>
                  <a:pt x="3403820" y="2331416"/>
                  <a:pt x="3403820" y="2333238"/>
                </a:cubicBezTo>
                <a:cubicBezTo>
                  <a:pt x="3405642" y="2336881"/>
                  <a:pt x="3407465" y="2340526"/>
                  <a:pt x="3411109" y="2340526"/>
                </a:cubicBezTo>
                <a:cubicBezTo>
                  <a:pt x="3401998" y="2338705"/>
                  <a:pt x="3394710" y="2335060"/>
                  <a:pt x="3387421" y="2331416"/>
                </a:cubicBezTo>
                <a:lnTo>
                  <a:pt x="3392887" y="2309550"/>
                </a:lnTo>
                <a:lnTo>
                  <a:pt x="3371021" y="2318660"/>
                </a:lnTo>
                <a:lnTo>
                  <a:pt x="3378310" y="2331416"/>
                </a:lnTo>
                <a:cubicBezTo>
                  <a:pt x="3338222" y="2311372"/>
                  <a:pt x="3301779" y="2284038"/>
                  <a:pt x="3278090" y="2247594"/>
                </a:cubicBezTo>
                <a:cubicBezTo>
                  <a:pt x="3301779" y="2242127"/>
                  <a:pt x="3325467" y="2238484"/>
                  <a:pt x="3350977" y="2234839"/>
                </a:cubicBezTo>
                <a:cubicBezTo>
                  <a:pt x="3349155" y="2236661"/>
                  <a:pt x="3347333" y="2240306"/>
                  <a:pt x="3343689" y="2243950"/>
                </a:cubicBezTo>
                <a:lnTo>
                  <a:pt x="3365555" y="2243950"/>
                </a:lnTo>
                <a:cubicBezTo>
                  <a:pt x="3378310" y="2243950"/>
                  <a:pt x="3385599" y="2240306"/>
                  <a:pt x="3387421" y="2231194"/>
                </a:cubicBezTo>
                <a:close/>
                <a:moveTo>
                  <a:pt x="1208102" y="2227556"/>
                </a:moveTo>
                <a:cubicBezTo>
                  <a:pt x="1208102" y="2229378"/>
                  <a:pt x="1208102" y="2233024"/>
                  <a:pt x="1209925" y="2236668"/>
                </a:cubicBezTo>
                <a:cubicBezTo>
                  <a:pt x="1209925" y="2236668"/>
                  <a:pt x="1208102" y="2233024"/>
                  <a:pt x="1206279" y="2233024"/>
                </a:cubicBezTo>
                <a:cubicBezTo>
                  <a:pt x="1208102" y="2236668"/>
                  <a:pt x="1206279" y="2240312"/>
                  <a:pt x="1208102" y="2243957"/>
                </a:cubicBezTo>
                <a:lnTo>
                  <a:pt x="1204457" y="2245780"/>
                </a:lnTo>
                <a:cubicBezTo>
                  <a:pt x="1202636" y="2240312"/>
                  <a:pt x="1206279" y="2236668"/>
                  <a:pt x="1204457" y="2229378"/>
                </a:cubicBezTo>
                <a:cubicBezTo>
                  <a:pt x="1206279" y="2229378"/>
                  <a:pt x="1206279" y="2227556"/>
                  <a:pt x="1208102" y="2227556"/>
                </a:cubicBezTo>
                <a:close/>
                <a:moveTo>
                  <a:pt x="1009485" y="2227556"/>
                </a:moveTo>
                <a:lnTo>
                  <a:pt x="1009485" y="2238489"/>
                </a:lnTo>
                <a:cubicBezTo>
                  <a:pt x="1004018" y="2242135"/>
                  <a:pt x="998552" y="2243957"/>
                  <a:pt x="994907" y="2247601"/>
                </a:cubicBezTo>
                <a:cubicBezTo>
                  <a:pt x="991263" y="2245779"/>
                  <a:pt x="989441" y="2238489"/>
                  <a:pt x="985796" y="2236668"/>
                </a:cubicBezTo>
                <a:cubicBezTo>
                  <a:pt x="987618" y="2236668"/>
                  <a:pt x="987618" y="2234845"/>
                  <a:pt x="989441" y="2234845"/>
                </a:cubicBezTo>
                <a:lnTo>
                  <a:pt x="993085" y="2238489"/>
                </a:lnTo>
                <a:lnTo>
                  <a:pt x="996729" y="2233024"/>
                </a:lnTo>
                <a:cubicBezTo>
                  <a:pt x="1000374" y="2231201"/>
                  <a:pt x="1005840" y="2229378"/>
                  <a:pt x="1009485" y="2227556"/>
                </a:cubicBezTo>
                <a:close/>
                <a:moveTo>
                  <a:pt x="1023378" y="2227326"/>
                </a:moveTo>
                <a:cubicBezTo>
                  <a:pt x="1024973" y="2227097"/>
                  <a:pt x="1026795" y="2227552"/>
                  <a:pt x="1027707" y="2227552"/>
                </a:cubicBezTo>
                <a:cubicBezTo>
                  <a:pt x="1025884" y="2229375"/>
                  <a:pt x="1022239" y="2229375"/>
                  <a:pt x="1020417" y="2231196"/>
                </a:cubicBezTo>
                <a:cubicBezTo>
                  <a:pt x="1020417" y="2228464"/>
                  <a:pt x="1021784" y="2227552"/>
                  <a:pt x="1023378" y="2227326"/>
                </a:cubicBezTo>
                <a:close/>
                <a:moveTo>
                  <a:pt x="2993832" y="2220260"/>
                </a:moveTo>
                <a:cubicBezTo>
                  <a:pt x="2992921" y="2220260"/>
                  <a:pt x="2993377" y="2220260"/>
                  <a:pt x="2994288" y="2220260"/>
                </a:cubicBezTo>
                <a:lnTo>
                  <a:pt x="2996565" y="2220260"/>
                </a:lnTo>
                <a:lnTo>
                  <a:pt x="2995447" y="2221006"/>
                </a:lnTo>
                <a:close/>
                <a:moveTo>
                  <a:pt x="1058684" y="2216618"/>
                </a:moveTo>
                <a:cubicBezTo>
                  <a:pt x="1049572" y="2220264"/>
                  <a:pt x="1038639" y="2222085"/>
                  <a:pt x="1031351" y="2225729"/>
                </a:cubicBezTo>
                <a:cubicBezTo>
                  <a:pt x="1031351" y="2223908"/>
                  <a:pt x="1027707" y="2223908"/>
                  <a:pt x="1027707" y="2222085"/>
                </a:cubicBezTo>
                <a:cubicBezTo>
                  <a:pt x="1038639" y="2220264"/>
                  <a:pt x="1047750" y="2218440"/>
                  <a:pt x="1058684" y="2216618"/>
                </a:cubicBezTo>
                <a:close/>
                <a:moveTo>
                  <a:pt x="2603887" y="2214952"/>
                </a:moveTo>
                <a:lnTo>
                  <a:pt x="2612997" y="2216779"/>
                </a:lnTo>
                <a:lnTo>
                  <a:pt x="2612997" y="2222253"/>
                </a:lnTo>
                <a:lnTo>
                  <a:pt x="2605709" y="2224075"/>
                </a:lnTo>
                <a:lnTo>
                  <a:pt x="2600242" y="2218603"/>
                </a:lnTo>
                <a:close/>
                <a:moveTo>
                  <a:pt x="4433349" y="2214920"/>
                </a:moveTo>
                <a:lnTo>
                  <a:pt x="4458861" y="2234983"/>
                </a:lnTo>
                <a:lnTo>
                  <a:pt x="4440638" y="2244105"/>
                </a:lnTo>
                <a:close/>
                <a:moveTo>
                  <a:pt x="1217214" y="2214800"/>
                </a:moveTo>
                <a:cubicBezTo>
                  <a:pt x="1213569" y="2216623"/>
                  <a:pt x="1215391" y="2218444"/>
                  <a:pt x="1215391" y="2222089"/>
                </a:cubicBezTo>
                <a:lnTo>
                  <a:pt x="1213239" y="2224076"/>
                </a:lnTo>
                <a:lnTo>
                  <a:pt x="1213568" y="2223911"/>
                </a:lnTo>
                <a:cubicBezTo>
                  <a:pt x="1215390" y="2229378"/>
                  <a:pt x="1215390" y="2233022"/>
                  <a:pt x="1213568" y="2234844"/>
                </a:cubicBezTo>
                <a:cubicBezTo>
                  <a:pt x="1212656" y="2234844"/>
                  <a:pt x="1212201" y="2233022"/>
                  <a:pt x="1211745" y="2230973"/>
                </a:cubicBezTo>
                <a:lnTo>
                  <a:pt x="1210115" y="2226285"/>
                </a:lnTo>
                <a:lnTo>
                  <a:pt x="1208103" y="2227556"/>
                </a:lnTo>
                <a:cubicBezTo>
                  <a:pt x="1208103" y="2227556"/>
                  <a:pt x="1206280" y="2225734"/>
                  <a:pt x="1206280" y="2225734"/>
                </a:cubicBezTo>
                <a:cubicBezTo>
                  <a:pt x="1206280" y="2227556"/>
                  <a:pt x="1206280" y="2229378"/>
                  <a:pt x="1202636" y="2231200"/>
                </a:cubicBezTo>
                <a:cubicBezTo>
                  <a:pt x="1200814" y="2229378"/>
                  <a:pt x="1200814" y="2223910"/>
                  <a:pt x="1197170" y="2222089"/>
                </a:cubicBezTo>
                <a:cubicBezTo>
                  <a:pt x="1193525" y="2225734"/>
                  <a:pt x="1195347" y="2229378"/>
                  <a:pt x="1195347" y="2234844"/>
                </a:cubicBezTo>
                <a:cubicBezTo>
                  <a:pt x="1188059" y="2242134"/>
                  <a:pt x="1178947" y="2249423"/>
                  <a:pt x="1169836" y="2254890"/>
                </a:cubicBezTo>
                <a:cubicBezTo>
                  <a:pt x="1169836" y="2254890"/>
                  <a:pt x="1168014" y="2256712"/>
                  <a:pt x="1166192" y="2256712"/>
                </a:cubicBezTo>
                <a:lnTo>
                  <a:pt x="1164370" y="2258534"/>
                </a:lnTo>
                <a:lnTo>
                  <a:pt x="1171658" y="2256712"/>
                </a:lnTo>
                <a:cubicBezTo>
                  <a:pt x="1173481" y="2254890"/>
                  <a:pt x="1173481" y="2253067"/>
                  <a:pt x="1175302" y="2251245"/>
                </a:cubicBezTo>
                <a:cubicBezTo>
                  <a:pt x="1180770" y="2247600"/>
                  <a:pt x="1188058" y="2242134"/>
                  <a:pt x="1193525" y="2242134"/>
                </a:cubicBezTo>
                <a:cubicBezTo>
                  <a:pt x="1195347" y="2242134"/>
                  <a:pt x="1193525" y="2240312"/>
                  <a:pt x="1191703" y="2240312"/>
                </a:cubicBezTo>
                <a:cubicBezTo>
                  <a:pt x="1193525" y="2238489"/>
                  <a:pt x="1195347" y="2236667"/>
                  <a:pt x="1198991" y="2234844"/>
                </a:cubicBezTo>
                <a:cubicBezTo>
                  <a:pt x="1204458" y="2240312"/>
                  <a:pt x="1204458" y="2247600"/>
                  <a:pt x="1204458" y="2253067"/>
                </a:cubicBezTo>
                <a:cubicBezTo>
                  <a:pt x="1202636" y="2253067"/>
                  <a:pt x="1200814" y="2249423"/>
                  <a:pt x="1198991" y="2249423"/>
                </a:cubicBezTo>
                <a:cubicBezTo>
                  <a:pt x="1195347" y="2249423"/>
                  <a:pt x="1186236" y="2247600"/>
                  <a:pt x="1182592" y="2253067"/>
                </a:cubicBezTo>
                <a:cubicBezTo>
                  <a:pt x="1186236" y="2258534"/>
                  <a:pt x="1195347" y="2258534"/>
                  <a:pt x="1200814" y="2253067"/>
                </a:cubicBezTo>
                <a:cubicBezTo>
                  <a:pt x="1200814" y="2254890"/>
                  <a:pt x="1198991" y="2254890"/>
                  <a:pt x="1198991" y="2256712"/>
                </a:cubicBezTo>
                <a:cubicBezTo>
                  <a:pt x="1200814" y="2256712"/>
                  <a:pt x="1198991" y="2258534"/>
                  <a:pt x="1200814" y="2258534"/>
                </a:cubicBezTo>
                <a:lnTo>
                  <a:pt x="1198229" y="2262225"/>
                </a:lnTo>
                <a:lnTo>
                  <a:pt x="1208102" y="2256703"/>
                </a:lnTo>
                <a:lnTo>
                  <a:pt x="1208951" y="2258402"/>
                </a:lnTo>
                <a:lnTo>
                  <a:pt x="1213568" y="2256713"/>
                </a:lnTo>
                <a:cubicBezTo>
                  <a:pt x="1213568" y="2258536"/>
                  <a:pt x="1213568" y="2258536"/>
                  <a:pt x="1213568" y="2258536"/>
                </a:cubicBezTo>
                <a:lnTo>
                  <a:pt x="1210101" y="2260702"/>
                </a:lnTo>
                <a:lnTo>
                  <a:pt x="1211747" y="2263991"/>
                </a:lnTo>
                <a:cubicBezTo>
                  <a:pt x="1206279" y="2263991"/>
                  <a:pt x="1197169" y="2265813"/>
                  <a:pt x="1197169" y="2273102"/>
                </a:cubicBezTo>
                <a:cubicBezTo>
                  <a:pt x="1204457" y="2278569"/>
                  <a:pt x="1215390" y="2269459"/>
                  <a:pt x="1215390" y="2263991"/>
                </a:cubicBezTo>
                <a:cubicBezTo>
                  <a:pt x="1219036" y="2263991"/>
                  <a:pt x="1217213" y="2267636"/>
                  <a:pt x="1219036" y="2269459"/>
                </a:cubicBezTo>
                <a:cubicBezTo>
                  <a:pt x="1215390" y="2273102"/>
                  <a:pt x="1211747" y="2274925"/>
                  <a:pt x="1211747" y="2280391"/>
                </a:cubicBezTo>
                <a:cubicBezTo>
                  <a:pt x="1215390" y="2282213"/>
                  <a:pt x="1220858" y="2276746"/>
                  <a:pt x="1219036" y="2271280"/>
                </a:cubicBezTo>
                <a:cubicBezTo>
                  <a:pt x="1220858" y="2273102"/>
                  <a:pt x="1219036" y="2276746"/>
                  <a:pt x="1219036" y="2280391"/>
                </a:cubicBezTo>
                <a:lnTo>
                  <a:pt x="1220856" y="2282212"/>
                </a:lnTo>
                <a:lnTo>
                  <a:pt x="1220856" y="2278573"/>
                </a:lnTo>
                <a:cubicBezTo>
                  <a:pt x="1222678" y="2276752"/>
                  <a:pt x="1222678" y="2282218"/>
                  <a:pt x="1224501" y="2282218"/>
                </a:cubicBezTo>
                <a:lnTo>
                  <a:pt x="1220862" y="2282218"/>
                </a:lnTo>
                <a:lnTo>
                  <a:pt x="1228146" y="2289502"/>
                </a:lnTo>
                <a:cubicBezTo>
                  <a:pt x="1231790" y="2285857"/>
                  <a:pt x="1229969" y="2282213"/>
                  <a:pt x="1228146" y="2276746"/>
                </a:cubicBezTo>
                <a:cubicBezTo>
                  <a:pt x="1229969" y="2278569"/>
                  <a:pt x="1233612" y="2280391"/>
                  <a:pt x="1235434" y="2280391"/>
                </a:cubicBezTo>
                <a:cubicBezTo>
                  <a:pt x="1237256" y="2276746"/>
                  <a:pt x="1239080" y="2278569"/>
                  <a:pt x="1240901" y="2276746"/>
                </a:cubicBezTo>
                <a:cubicBezTo>
                  <a:pt x="1240901" y="2271280"/>
                  <a:pt x="1235434" y="2267636"/>
                  <a:pt x="1231790" y="2265813"/>
                </a:cubicBezTo>
                <a:cubicBezTo>
                  <a:pt x="1233612" y="2263991"/>
                  <a:pt x="1235434" y="2263991"/>
                  <a:pt x="1235434" y="2262169"/>
                </a:cubicBezTo>
                <a:cubicBezTo>
                  <a:pt x="1231790" y="2258525"/>
                  <a:pt x="1226323" y="2262169"/>
                  <a:pt x="1224501" y="2263991"/>
                </a:cubicBezTo>
                <a:cubicBezTo>
                  <a:pt x="1224501" y="2262169"/>
                  <a:pt x="1222679" y="2263991"/>
                  <a:pt x="1224501" y="2262169"/>
                </a:cubicBezTo>
                <a:cubicBezTo>
                  <a:pt x="1224501" y="2262169"/>
                  <a:pt x="1220858" y="2263991"/>
                  <a:pt x="1220858" y="2262169"/>
                </a:cubicBezTo>
                <a:cubicBezTo>
                  <a:pt x="1220858" y="2260347"/>
                  <a:pt x="1220858" y="2260347"/>
                  <a:pt x="1220858" y="2258525"/>
                </a:cubicBezTo>
                <a:lnTo>
                  <a:pt x="1224623" y="2255857"/>
                </a:lnTo>
                <a:lnTo>
                  <a:pt x="1220630" y="2254890"/>
                </a:lnTo>
                <a:lnTo>
                  <a:pt x="1212201" y="2253161"/>
                </a:lnTo>
                <a:lnTo>
                  <a:pt x="1206279" y="2256713"/>
                </a:lnTo>
                <a:cubicBezTo>
                  <a:pt x="1206279" y="2253069"/>
                  <a:pt x="1209925" y="2251247"/>
                  <a:pt x="1211747" y="2249424"/>
                </a:cubicBezTo>
                <a:lnTo>
                  <a:pt x="1212037" y="2249570"/>
                </a:lnTo>
                <a:lnTo>
                  <a:pt x="1213569" y="2247601"/>
                </a:lnTo>
                <a:cubicBezTo>
                  <a:pt x="1220858" y="2245778"/>
                  <a:pt x="1226324" y="2251245"/>
                  <a:pt x="1231791" y="2247601"/>
                </a:cubicBezTo>
                <a:cubicBezTo>
                  <a:pt x="1228147" y="2243956"/>
                  <a:pt x="1224502" y="2243956"/>
                  <a:pt x="1220858" y="2243956"/>
                </a:cubicBezTo>
                <a:cubicBezTo>
                  <a:pt x="1220858" y="2242134"/>
                  <a:pt x="1220858" y="2242134"/>
                  <a:pt x="1222680" y="2242134"/>
                </a:cubicBezTo>
                <a:cubicBezTo>
                  <a:pt x="1220858" y="2240312"/>
                  <a:pt x="1219036" y="2242134"/>
                  <a:pt x="1219036" y="2240312"/>
                </a:cubicBezTo>
                <a:cubicBezTo>
                  <a:pt x="1222680" y="2238489"/>
                  <a:pt x="1224502" y="2233022"/>
                  <a:pt x="1226324" y="2229378"/>
                </a:cubicBezTo>
                <a:cubicBezTo>
                  <a:pt x="1226324" y="2227556"/>
                  <a:pt x="1229969" y="2231200"/>
                  <a:pt x="1231791" y="2229378"/>
                </a:cubicBezTo>
                <a:cubicBezTo>
                  <a:pt x="1231791" y="2223910"/>
                  <a:pt x="1226324" y="2223910"/>
                  <a:pt x="1224502" y="2223910"/>
                </a:cubicBezTo>
                <a:cubicBezTo>
                  <a:pt x="1222680" y="2222089"/>
                  <a:pt x="1228147" y="2222089"/>
                  <a:pt x="1226324" y="2220267"/>
                </a:cubicBezTo>
                <a:cubicBezTo>
                  <a:pt x="1224502" y="2220267"/>
                  <a:pt x="1219036" y="2222089"/>
                  <a:pt x="1217214" y="2223910"/>
                </a:cubicBezTo>
                <a:cubicBezTo>
                  <a:pt x="1217214" y="2220267"/>
                  <a:pt x="1219036" y="2218444"/>
                  <a:pt x="1217214" y="2214800"/>
                </a:cubicBezTo>
                <a:close/>
                <a:moveTo>
                  <a:pt x="3317953" y="2213653"/>
                </a:moveTo>
                <a:cubicBezTo>
                  <a:pt x="3316814" y="2212970"/>
                  <a:pt x="3315447" y="2212970"/>
                  <a:pt x="3314536" y="2214792"/>
                </a:cubicBezTo>
                <a:cubicBezTo>
                  <a:pt x="3310891" y="2214792"/>
                  <a:pt x="3310891" y="2218437"/>
                  <a:pt x="3314536" y="2218437"/>
                </a:cubicBezTo>
                <a:cubicBezTo>
                  <a:pt x="3316358" y="2220259"/>
                  <a:pt x="3320002" y="2218437"/>
                  <a:pt x="3320002" y="2216614"/>
                </a:cubicBezTo>
                <a:cubicBezTo>
                  <a:pt x="3320002" y="2215703"/>
                  <a:pt x="3319091" y="2214336"/>
                  <a:pt x="3317953" y="2213653"/>
                </a:cubicBezTo>
                <a:close/>
                <a:moveTo>
                  <a:pt x="993903" y="2213487"/>
                </a:moveTo>
                <a:lnTo>
                  <a:pt x="993084" y="2214798"/>
                </a:lnTo>
                <a:lnTo>
                  <a:pt x="1013129" y="2214798"/>
                </a:lnTo>
                <a:cubicBezTo>
                  <a:pt x="1013129" y="2218443"/>
                  <a:pt x="1007663" y="2218443"/>
                  <a:pt x="1005840" y="2220265"/>
                </a:cubicBezTo>
                <a:cubicBezTo>
                  <a:pt x="1004017" y="2220265"/>
                  <a:pt x="1004017" y="2222087"/>
                  <a:pt x="1004017" y="2222087"/>
                </a:cubicBezTo>
                <a:cubicBezTo>
                  <a:pt x="1002195" y="2223910"/>
                  <a:pt x="1002195" y="2223910"/>
                  <a:pt x="1000374" y="2223910"/>
                </a:cubicBezTo>
                <a:lnTo>
                  <a:pt x="1000374" y="2222087"/>
                </a:lnTo>
                <a:lnTo>
                  <a:pt x="976685" y="2223910"/>
                </a:lnTo>
                <a:lnTo>
                  <a:pt x="983974" y="2231200"/>
                </a:lnTo>
                <a:cubicBezTo>
                  <a:pt x="980330" y="2231200"/>
                  <a:pt x="974863" y="2233020"/>
                  <a:pt x="971219" y="2234843"/>
                </a:cubicBezTo>
                <a:lnTo>
                  <a:pt x="969396" y="2231200"/>
                </a:lnTo>
                <a:cubicBezTo>
                  <a:pt x="971219" y="2229376"/>
                  <a:pt x="971219" y="2223910"/>
                  <a:pt x="969396" y="2223910"/>
                </a:cubicBezTo>
                <a:cubicBezTo>
                  <a:pt x="972131" y="2221176"/>
                  <a:pt x="977596" y="2220266"/>
                  <a:pt x="982835" y="2219126"/>
                </a:cubicBezTo>
                <a:close/>
                <a:moveTo>
                  <a:pt x="994223" y="2212975"/>
                </a:moveTo>
                <a:lnTo>
                  <a:pt x="994907" y="2212975"/>
                </a:lnTo>
                <a:lnTo>
                  <a:pt x="993903" y="2213487"/>
                </a:lnTo>
                <a:close/>
                <a:moveTo>
                  <a:pt x="3272626" y="2212970"/>
                </a:moveTo>
                <a:cubicBezTo>
                  <a:pt x="3270804" y="2211148"/>
                  <a:pt x="3268981" y="2212970"/>
                  <a:pt x="3268981" y="2214792"/>
                </a:cubicBezTo>
                <a:cubicBezTo>
                  <a:pt x="3268981" y="2216614"/>
                  <a:pt x="3270804" y="2218437"/>
                  <a:pt x="3272626" y="2216614"/>
                </a:cubicBezTo>
                <a:cubicBezTo>
                  <a:pt x="3274448" y="2214792"/>
                  <a:pt x="3276270" y="2212970"/>
                  <a:pt x="3272626" y="2212970"/>
                </a:cubicBezTo>
                <a:close/>
                <a:moveTo>
                  <a:pt x="2984721" y="2211149"/>
                </a:moveTo>
                <a:cubicBezTo>
                  <a:pt x="2981077" y="2209327"/>
                  <a:pt x="2979255" y="2216616"/>
                  <a:pt x="2982899" y="2218438"/>
                </a:cubicBezTo>
                <a:cubicBezTo>
                  <a:pt x="2984721" y="2218438"/>
                  <a:pt x="2986543" y="2218438"/>
                  <a:pt x="2988366" y="2218438"/>
                </a:cubicBezTo>
                <a:cubicBezTo>
                  <a:pt x="2990188" y="2216616"/>
                  <a:pt x="2990188" y="2214792"/>
                  <a:pt x="2990188" y="2212972"/>
                </a:cubicBezTo>
                <a:cubicBezTo>
                  <a:pt x="2988366" y="2211149"/>
                  <a:pt x="2986543" y="2211149"/>
                  <a:pt x="2984721" y="2211149"/>
                </a:cubicBezTo>
                <a:close/>
                <a:moveTo>
                  <a:pt x="3392887" y="2209329"/>
                </a:moveTo>
                <a:cubicBezTo>
                  <a:pt x="3398355" y="2209329"/>
                  <a:pt x="3403821" y="2209329"/>
                  <a:pt x="3409288" y="2209329"/>
                </a:cubicBezTo>
                <a:cubicBezTo>
                  <a:pt x="3409288" y="2211151"/>
                  <a:pt x="3407466" y="2211151"/>
                  <a:pt x="3407466" y="2212974"/>
                </a:cubicBezTo>
                <a:lnTo>
                  <a:pt x="3429332" y="2212974"/>
                </a:lnTo>
                <a:cubicBezTo>
                  <a:pt x="3436621" y="2214796"/>
                  <a:pt x="3443909" y="2216618"/>
                  <a:pt x="3451198" y="2218440"/>
                </a:cubicBezTo>
                <a:cubicBezTo>
                  <a:pt x="3432976" y="2216618"/>
                  <a:pt x="3412932" y="2216618"/>
                  <a:pt x="3392887" y="2216618"/>
                </a:cubicBezTo>
                <a:lnTo>
                  <a:pt x="3392887" y="2212974"/>
                </a:lnTo>
                <a:cubicBezTo>
                  <a:pt x="3392887" y="2211151"/>
                  <a:pt x="3392887" y="2211151"/>
                  <a:pt x="3392887" y="2209329"/>
                </a:cubicBezTo>
                <a:close/>
                <a:moveTo>
                  <a:pt x="3334580" y="2207504"/>
                </a:moveTo>
                <a:cubicBezTo>
                  <a:pt x="3332757" y="2207504"/>
                  <a:pt x="3330935" y="2207504"/>
                  <a:pt x="3329113" y="2209326"/>
                </a:cubicBezTo>
                <a:cubicBezTo>
                  <a:pt x="3325469" y="2211148"/>
                  <a:pt x="3329113" y="2214792"/>
                  <a:pt x="3330935" y="2212970"/>
                </a:cubicBezTo>
                <a:cubicBezTo>
                  <a:pt x="3332757" y="2211148"/>
                  <a:pt x="3334580" y="2211148"/>
                  <a:pt x="3336402" y="2211148"/>
                </a:cubicBezTo>
                <a:cubicBezTo>
                  <a:pt x="3338224" y="2211148"/>
                  <a:pt x="3338224" y="2207504"/>
                  <a:pt x="3334580" y="2207504"/>
                </a:cubicBezTo>
                <a:close/>
                <a:moveTo>
                  <a:pt x="2971966" y="2205683"/>
                </a:moveTo>
                <a:cubicBezTo>
                  <a:pt x="2968322" y="2203859"/>
                  <a:pt x="2966500" y="2211149"/>
                  <a:pt x="2970144" y="2212972"/>
                </a:cubicBezTo>
                <a:cubicBezTo>
                  <a:pt x="2975610" y="2212972"/>
                  <a:pt x="2977432" y="2207505"/>
                  <a:pt x="2971966" y="2205683"/>
                </a:cubicBezTo>
                <a:close/>
                <a:moveTo>
                  <a:pt x="3292670" y="2203859"/>
                </a:moveTo>
                <a:cubicBezTo>
                  <a:pt x="3289025" y="2203859"/>
                  <a:pt x="3285381" y="2205681"/>
                  <a:pt x="3281737" y="2207504"/>
                </a:cubicBezTo>
                <a:cubicBezTo>
                  <a:pt x="3281737" y="2207504"/>
                  <a:pt x="3281737" y="2209326"/>
                  <a:pt x="3279915" y="2207504"/>
                </a:cubicBezTo>
                <a:cubicBezTo>
                  <a:pt x="3281737" y="2209326"/>
                  <a:pt x="3281737" y="2209326"/>
                  <a:pt x="3283559" y="2209326"/>
                </a:cubicBezTo>
                <a:cubicBezTo>
                  <a:pt x="3283559" y="2209326"/>
                  <a:pt x="3285381" y="2209326"/>
                  <a:pt x="3285381" y="2209326"/>
                </a:cubicBezTo>
                <a:cubicBezTo>
                  <a:pt x="3287203" y="2209326"/>
                  <a:pt x="3289025" y="2207504"/>
                  <a:pt x="3292670" y="2207504"/>
                </a:cubicBezTo>
                <a:cubicBezTo>
                  <a:pt x="3294492" y="2209326"/>
                  <a:pt x="3296314" y="2203859"/>
                  <a:pt x="3292670" y="2203859"/>
                </a:cubicBezTo>
                <a:close/>
                <a:moveTo>
                  <a:pt x="3234360" y="2203859"/>
                </a:moveTo>
                <a:cubicBezTo>
                  <a:pt x="3232538" y="2203859"/>
                  <a:pt x="3230716" y="2207504"/>
                  <a:pt x="3234360" y="2209326"/>
                </a:cubicBezTo>
                <a:cubicBezTo>
                  <a:pt x="3238004" y="2209326"/>
                  <a:pt x="3239827" y="2205681"/>
                  <a:pt x="3236182" y="2203859"/>
                </a:cubicBezTo>
                <a:cubicBezTo>
                  <a:pt x="3234360" y="2203859"/>
                  <a:pt x="3234360" y="2203859"/>
                  <a:pt x="3234360" y="2203859"/>
                </a:cubicBezTo>
                <a:close/>
                <a:moveTo>
                  <a:pt x="3305211" y="2198715"/>
                </a:moveTo>
                <a:lnTo>
                  <a:pt x="3305425" y="2200215"/>
                </a:lnTo>
                <a:lnTo>
                  <a:pt x="3301326" y="2202947"/>
                </a:lnTo>
                <a:lnTo>
                  <a:pt x="3299959" y="2200215"/>
                </a:lnTo>
                <a:close/>
                <a:moveTo>
                  <a:pt x="4012428" y="2198487"/>
                </a:moveTo>
                <a:lnTo>
                  <a:pt x="4034294" y="2198487"/>
                </a:lnTo>
                <a:cubicBezTo>
                  <a:pt x="4023361" y="2214900"/>
                  <a:pt x="4034294" y="2209430"/>
                  <a:pt x="4012428" y="2213080"/>
                </a:cubicBezTo>
                <a:close/>
                <a:moveTo>
                  <a:pt x="1044105" y="2194751"/>
                </a:moveTo>
                <a:lnTo>
                  <a:pt x="1056860" y="2207507"/>
                </a:lnTo>
                <a:cubicBezTo>
                  <a:pt x="1049572" y="2209330"/>
                  <a:pt x="1040461" y="2211151"/>
                  <a:pt x="1033172" y="2211151"/>
                </a:cubicBezTo>
                <a:cubicBezTo>
                  <a:pt x="1031350" y="2211151"/>
                  <a:pt x="1031350" y="2209330"/>
                  <a:pt x="1031350" y="2209330"/>
                </a:cubicBezTo>
                <a:cubicBezTo>
                  <a:pt x="1031350" y="2209330"/>
                  <a:pt x="1033172" y="2207507"/>
                  <a:pt x="1033172" y="2207507"/>
                </a:cubicBezTo>
                <a:cubicBezTo>
                  <a:pt x="1033172" y="2205684"/>
                  <a:pt x="1031350" y="2205684"/>
                  <a:pt x="1029528" y="2205684"/>
                </a:cubicBezTo>
                <a:cubicBezTo>
                  <a:pt x="1027707" y="2205684"/>
                  <a:pt x="1031350" y="2203863"/>
                  <a:pt x="1033172" y="2203863"/>
                </a:cubicBezTo>
                <a:cubicBezTo>
                  <a:pt x="1034994" y="2202040"/>
                  <a:pt x="1033172" y="2203863"/>
                  <a:pt x="1033172" y="2198396"/>
                </a:cubicBezTo>
                <a:cubicBezTo>
                  <a:pt x="1036818" y="2196574"/>
                  <a:pt x="1040461" y="2194751"/>
                  <a:pt x="1044105" y="2194751"/>
                </a:cubicBezTo>
                <a:close/>
                <a:moveTo>
                  <a:pt x="3247115" y="2194748"/>
                </a:moveTo>
                <a:cubicBezTo>
                  <a:pt x="3245293" y="2194748"/>
                  <a:pt x="3243471" y="2198393"/>
                  <a:pt x="3247115" y="2200215"/>
                </a:cubicBezTo>
                <a:cubicBezTo>
                  <a:pt x="3250760" y="2202037"/>
                  <a:pt x="3252582" y="2198393"/>
                  <a:pt x="3247115" y="2194748"/>
                </a:cubicBezTo>
                <a:close/>
                <a:moveTo>
                  <a:pt x="3203383" y="2194748"/>
                </a:moveTo>
                <a:cubicBezTo>
                  <a:pt x="3201561" y="2194748"/>
                  <a:pt x="3201561" y="2198393"/>
                  <a:pt x="3203383" y="2198393"/>
                </a:cubicBezTo>
                <a:cubicBezTo>
                  <a:pt x="3205205" y="2200215"/>
                  <a:pt x="3207028" y="2198393"/>
                  <a:pt x="3207028" y="2196571"/>
                </a:cubicBezTo>
                <a:cubicBezTo>
                  <a:pt x="3207028" y="2194748"/>
                  <a:pt x="3205205" y="2192926"/>
                  <a:pt x="3203383" y="2194748"/>
                </a:cubicBezTo>
                <a:close/>
                <a:moveTo>
                  <a:pt x="927487" y="2193014"/>
                </a:moveTo>
                <a:lnTo>
                  <a:pt x="943886" y="2203956"/>
                </a:lnTo>
                <a:lnTo>
                  <a:pt x="932953" y="2213074"/>
                </a:lnTo>
                <a:lnTo>
                  <a:pt x="920198" y="2200309"/>
                </a:lnTo>
                <a:close/>
                <a:moveTo>
                  <a:pt x="993084" y="2192930"/>
                </a:moveTo>
                <a:lnTo>
                  <a:pt x="1002195" y="2200220"/>
                </a:lnTo>
                <a:lnTo>
                  <a:pt x="994223" y="2212975"/>
                </a:lnTo>
                <a:lnTo>
                  <a:pt x="985796" y="2212975"/>
                </a:lnTo>
                <a:cubicBezTo>
                  <a:pt x="987618" y="2209331"/>
                  <a:pt x="993084" y="2207510"/>
                  <a:pt x="991263" y="2202042"/>
                </a:cubicBezTo>
                <a:cubicBezTo>
                  <a:pt x="991263" y="2200220"/>
                  <a:pt x="987618" y="2200220"/>
                  <a:pt x="985796" y="2200220"/>
                </a:cubicBezTo>
                <a:close/>
                <a:moveTo>
                  <a:pt x="3258048" y="2191104"/>
                </a:moveTo>
                <a:cubicBezTo>
                  <a:pt x="3256226" y="2191104"/>
                  <a:pt x="3256226" y="2194748"/>
                  <a:pt x="3258048" y="2194748"/>
                </a:cubicBezTo>
                <a:cubicBezTo>
                  <a:pt x="3259871" y="2194748"/>
                  <a:pt x="3259871" y="2194748"/>
                  <a:pt x="3261693" y="2192926"/>
                </a:cubicBezTo>
                <a:cubicBezTo>
                  <a:pt x="3261693" y="2191104"/>
                  <a:pt x="3259871" y="2189282"/>
                  <a:pt x="3258048" y="2191104"/>
                </a:cubicBezTo>
                <a:close/>
                <a:moveTo>
                  <a:pt x="3498574" y="2185763"/>
                </a:moveTo>
                <a:lnTo>
                  <a:pt x="3513151" y="2185763"/>
                </a:lnTo>
                <a:lnTo>
                  <a:pt x="3513151" y="2200359"/>
                </a:lnTo>
                <a:lnTo>
                  <a:pt x="3527729" y="2193061"/>
                </a:lnTo>
                <a:lnTo>
                  <a:pt x="3535017" y="2207656"/>
                </a:lnTo>
                <a:lnTo>
                  <a:pt x="3556883" y="2191239"/>
                </a:lnTo>
                <a:lnTo>
                  <a:pt x="3558705" y="2214954"/>
                </a:lnTo>
                <a:lnTo>
                  <a:pt x="3573283" y="2207656"/>
                </a:lnTo>
                <a:lnTo>
                  <a:pt x="3573283" y="2229548"/>
                </a:lnTo>
                <a:cubicBezTo>
                  <a:pt x="3555061" y="2222256"/>
                  <a:pt x="3571461" y="2220428"/>
                  <a:pt x="3551417" y="2229548"/>
                </a:cubicBezTo>
                <a:cubicBezTo>
                  <a:pt x="3540484" y="2220428"/>
                  <a:pt x="3567816" y="2222256"/>
                  <a:pt x="3536839" y="2222256"/>
                </a:cubicBezTo>
                <a:lnTo>
                  <a:pt x="3529551" y="2222256"/>
                </a:lnTo>
                <a:cubicBezTo>
                  <a:pt x="3518618" y="2222256"/>
                  <a:pt x="3512696" y="2224992"/>
                  <a:pt x="3508596" y="2229096"/>
                </a:cubicBezTo>
                <a:lnTo>
                  <a:pt x="3498601" y="2244106"/>
                </a:lnTo>
                <a:lnTo>
                  <a:pt x="3514975" y="2244106"/>
                </a:lnTo>
                <a:lnTo>
                  <a:pt x="3520441" y="2267820"/>
                </a:lnTo>
                <a:lnTo>
                  <a:pt x="3498575" y="2265995"/>
                </a:lnTo>
                <a:lnTo>
                  <a:pt x="3507686" y="2251403"/>
                </a:lnTo>
                <a:lnTo>
                  <a:pt x="3498592" y="2244120"/>
                </a:lnTo>
                <a:lnTo>
                  <a:pt x="3498574" y="2244146"/>
                </a:lnTo>
                <a:lnTo>
                  <a:pt x="3483996" y="2238672"/>
                </a:lnTo>
                <a:lnTo>
                  <a:pt x="3496751" y="2222256"/>
                </a:lnTo>
                <a:lnTo>
                  <a:pt x="3482174" y="2202181"/>
                </a:lnTo>
                <a:lnTo>
                  <a:pt x="3498574" y="2200359"/>
                </a:lnTo>
                <a:close/>
                <a:moveTo>
                  <a:pt x="3414754" y="2185640"/>
                </a:moveTo>
                <a:cubicBezTo>
                  <a:pt x="3409288" y="2185640"/>
                  <a:pt x="3403821" y="2187462"/>
                  <a:pt x="3396532" y="2189285"/>
                </a:cubicBezTo>
                <a:lnTo>
                  <a:pt x="3385599" y="2187462"/>
                </a:lnTo>
                <a:cubicBezTo>
                  <a:pt x="3396532" y="2185640"/>
                  <a:pt x="3405643" y="2185640"/>
                  <a:pt x="3414754" y="2185640"/>
                </a:cubicBezTo>
                <a:close/>
                <a:moveTo>
                  <a:pt x="3277664" y="2182207"/>
                </a:moveTo>
                <a:lnTo>
                  <a:pt x="3279231" y="2182448"/>
                </a:lnTo>
                <a:cubicBezTo>
                  <a:pt x="3279915" y="2183359"/>
                  <a:pt x="3279915" y="2184726"/>
                  <a:pt x="3278092" y="2185637"/>
                </a:cubicBezTo>
                <a:lnTo>
                  <a:pt x="3275378" y="2187266"/>
                </a:lnTo>
                <a:lnTo>
                  <a:pt x="3273765" y="2186548"/>
                </a:lnTo>
                <a:cubicBezTo>
                  <a:pt x="3272170" y="2185182"/>
                  <a:pt x="3271714" y="2183814"/>
                  <a:pt x="3274448" y="2183814"/>
                </a:cubicBezTo>
                <a:close/>
                <a:moveTo>
                  <a:pt x="3228894" y="2176527"/>
                </a:moveTo>
                <a:cubicBezTo>
                  <a:pt x="3227072" y="2176527"/>
                  <a:pt x="3225249" y="2180171"/>
                  <a:pt x="3228894" y="2181993"/>
                </a:cubicBezTo>
                <a:cubicBezTo>
                  <a:pt x="3232538" y="2183814"/>
                  <a:pt x="3232538" y="2178349"/>
                  <a:pt x="3230716" y="2176527"/>
                </a:cubicBezTo>
                <a:cubicBezTo>
                  <a:pt x="3228894" y="2176527"/>
                  <a:pt x="3228894" y="2176527"/>
                  <a:pt x="3228894" y="2176527"/>
                </a:cubicBezTo>
                <a:close/>
                <a:moveTo>
                  <a:pt x="3241649" y="2171060"/>
                </a:moveTo>
                <a:cubicBezTo>
                  <a:pt x="3239827" y="2172881"/>
                  <a:pt x="3238004" y="2172881"/>
                  <a:pt x="3238004" y="2174704"/>
                </a:cubicBezTo>
                <a:cubicBezTo>
                  <a:pt x="3236182" y="2176527"/>
                  <a:pt x="3239827" y="2178349"/>
                  <a:pt x="3241649" y="2176527"/>
                </a:cubicBezTo>
                <a:cubicBezTo>
                  <a:pt x="3241649" y="2174704"/>
                  <a:pt x="3243471" y="2174704"/>
                  <a:pt x="3243471" y="2174704"/>
                </a:cubicBezTo>
                <a:cubicBezTo>
                  <a:pt x="3245293" y="2172881"/>
                  <a:pt x="3243471" y="2169238"/>
                  <a:pt x="3241649" y="2171060"/>
                </a:cubicBezTo>
                <a:close/>
                <a:moveTo>
                  <a:pt x="4238376" y="2169283"/>
                </a:moveTo>
                <a:lnTo>
                  <a:pt x="4254776" y="2182044"/>
                </a:lnTo>
                <a:lnTo>
                  <a:pt x="4238376" y="2183869"/>
                </a:lnTo>
                <a:close/>
                <a:moveTo>
                  <a:pt x="3640704" y="2167510"/>
                </a:moveTo>
                <a:lnTo>
                  <a:pt x="3658926" y="2191227"/>
                </a:lnTo>
                <a:lnTo>
                  <a:pt x="3626127" y="2196699"/>
                </a:lnTo>
                <a:lnTo>
                  <a:pt x="3620660" y="2183930"/>
                </a:lnTo>
                <a:close/>
                <a:moveTo>
                  <a:pt x="3536840" y="2167468"/>
                </a:moveTo>
                <a:lnTo>
                  <a:pt x="3529551" y="2191172"/>
                </a:lnTo>
                <a:lnTo>
                  <a:pt x="3520440" y="2176586"/>
                </a:lnTo>
                <a:close/>
                <a:moveTo>
                  <a:pt x="2931878" y="2167416"/>
                </a:moveTo>
                <a:cubicBezTo>
                  <a:pt x="2926412" y="2165595"/>
                  <a:pt x="2924589" y="2172883"/>
                  <a:pt x="2930056" y="2174705"/>
                </a:cubicBezTo>
                <a:cubicBezTo>
                  <a:pt x="2930056" y="2174705"/>
                  <a:pt x="2931878" y="2174705"/>
                  <a:pt x="2931878" y="2174705"/>
                </a:cubicBezTo>
                <a:cubicBezTo>
                  <a:pt x="2935523" y="2176528"/>
                  <a:pt x="2937345" y="2169238"/>
                  <a:pt x="2931878" y="2167416"/>
                </a:cubicBezTo>
                <a:close/>
                <a:moveTo>
                  <a:pt x="3252582" y="2165594"/>
                </a:moveTo>
                <a:cubicBezTo>
                  <a:pt x="3250760" y="2163771"/>
                  <a:pt x="3248938" y="2165594"/>
                  <a:pt x="3248938" y="2167416"/>
                </a:cubicBezTo>
                <a:cubicBezTo>
                  <a:pt x="3248938" y="2169238"/>
                  <a:pt x="3250760" y="2171060"/>
                  <a:pt x="3252582" y="2169238"/>
                </a:cubicBezTo>
                <a:cubicBezTo>
                  <a:pt x="3254404" y="2169238"/>
                  <a:pt x="3256226" y="2165594"/>
                  <a:pt x="3252582" y="2165594"/>
                </a:cubicBezTo>
                <a:close/>
                <a:moveTo>
                  <a:pt x="3381955" y="2160129"/>
                </a:moveTo>
                <a:cubicBezTo>
                  <a:pt x="3383777" y="2160129"/>
                  <a:pt x="3387421" y="2160129"/>
                  <a:pt x="3389244" y="2160129"/>
                </a:cubicBezTo>
                <a:cubicBezTo>
                  <a:pt x="3383777" y="2161951"/>
                  <a:pt x="3378311" y="2163775"/>
                  <a:pt x="3372844" y="2165596"/>
                </a:cubicBezTo>
                <a:cubicBezTo>
                  <a:pt x="3372844" y="2165596"/>
                  <a:pt x="3371022" y="2163775"/>
                  <a:pt x="3372844" y="2161951"/>
                </a:cubicBezTo>
                <a:cubicBezTo>
                  <a:pt x="3374666" y="2161951"/>
                  <a:pt x="3378311" y="2160129"/>
                  <a:pt x="3381955" y="2160129"/>
                </a:cubicBezTo>
                <a:close/>
                <a:moveTo>
                  <a:pt x="752558" y="2152894"/>
                </a:moveTo>
                <a:lnTo>
                  <a:pt x="767136" y="2152894"/>
                </a:lnTo>
                <a:cubicBezTo>
                  <a:pt x="761670" y="2172955"/>
                  <a:pt x="768959" y="2163836"/>
                  <a:pt x="752558" y="2174779"/>
                </a:cubicBezTo>
                <a:close/>
                <a:moveTo>
                  <a:pt x="3611549" y="2151099"/>
                </a:moveTo>
                <a:lnTo>
                  <a:pt x="3604260" y="2167520"/>
                </a:lnTo>
                <a:lnTo>
                  <a:pt x="3620659" y="2169342"/>
                </a:lnTo>
                <a:lnTo>
                  <a:pt x="3620659" y="2183938"/>
                </a:lnTo>
                <a:lnTo>
                  <a:pt x="3589683" y="2193061"/>
                </a:lnTo>
                <a:lnTo>
                  <a:pt x="3575105" y="2205831"/>
                </a:lnTo>
                <a:lnTo>
                  <a:pt x="3580572" y="2176641"/>
                </a:lnTo>
                <a:lnTo>
                  <a:pt x="3544128" y="2176641"/>
                </a:lnTo>
                <a:lnTo>
                  <a:pt x="3558706" y="2152924"/>
                </a:lnTo>
                <a:lnTo>
                  <a:pt x="3573283" y="2162047"/>
                </a:lnTo>
                <a:close/>
                <a:moveTo>
                  <a:pt x="2982823" y="2147257"/>
                </a:moveTo>
                <a:lnTo>
                  <a:pt x="2984721" y="2147372"/>
                </a:lnTo>
                <a:cubicBezTo>
                  <a:pt x="2984721" y="2147372"/>
                  <a:pt x="2984721" y="2147372"/>
                  <a:pt x="2982899" y="2147372"/>
                </a:cubicBezTo>
                <a:close/>
                <a:moveTo>
                  <a:pt x="3392888" y="2145551"/>
                </a:moveTo>
                <a:cubicBezTo>
                  <a:pt x="3396532" y="2143729"/>
                  <a:pt x="3401999" y="2145551"/>
                  <a:pt x="3407465" y="2145551"/>
                </a:cubicBezTo>
                <a:cubicBezTo>
                  <a:pt x="3401999" y="2145551"/>
                  <a:pt x="3394710" y="2147374"/>
                  <a:pt x="3387421" y="2149196"/>
                </a:cubicBezTo>
                <a:close/>
                <a:moveTo>
                  <a:pt x="736159" y="2143771"/>
                </a:moveTo>
                <a:lnTo>
                  <a:pt x="737981" y="2169301"/>
                </a:lnTo>
                <a:lnTo>
                  <a:pt x="721581" y="2160182"/>
                </a:lnTo>
                <a:close/>
                <a:moveTo>
                  <a:pt x="2560154" y="2143728"/>
                </a:moveTo>
                <a:cubicBezTo>
                  <a:pt x="2591131" y="2154662"/>
                  <a:pt x="2629397" y="2156483"/>
                  <a:pt x="2660374" y="2154662"/>
                </a:cubicBezTo>
                <a:cubicBezTo>
                  <a:pt x="2716862" y="2152839"/>
                  <a:pt x="2767883" y="2143728"/>
                  <a:pt x="2817082" y="2160129"/>
                </a:cubicBezTo>
                <a:cubicBezTo>
                  <a:pt x="2853525" y="2171062"/>
                  <a:pt x="2886324" y="2192928"/>
                  <a:pt x="2917302" y="2214794"/>
                </a:cubicBezTo>
                <a:cubicBezTo>
                  <a:pt x="2922768" y="2220261"/>
                  <a:pt x="2928234" y="2225727"/>
                  <a:pt x="2933701" y="2229371"/>
                </a:cubicBezTo>
                <a:cubicBezTo>
                  <a:pt x="2953745" y="2243950"/>
                  <a:pt x="2975611" y="2256705"/>
                  <a:pt x="2997477" y="2267637"/>
                </a:cubicBezTo>
                <a:cubicBezTo>
                  <a:pt x="2999299" y="2269460"/>
                  <a:pt x="3001121" y="2269460"/>
                  <a:pt x="3002944" y="2271282"/>
                </a:cubicBezTo>
                <a:cubicBezTo>
                  <a:pt x="2964678" y="2267637"/>
                  <a:pt x="2924590" y="2271282"/>
                  <a:pt x="2888147" y="2258527"/>
                </a:cubicBezTo>
                <a:cubicBezTo>
                  <a:pt x="2882680" y="2254883"/>
                  <a:pt x="2886324" y="2263995"/>
                  <a:pt x="2888147" y="2265816"/>
                </a:cubicBezTo>
                <a:cubicBezTo>
                  <a:pt x="2910013" y="2284038"/>
                  <a:pt x="2939168" y="2284038"/>
                  <a:pt x="2966500" y="2285861"/>
                </a:cubicBezTo>
                <a:cubicBezTo>
                  <a:pt x="2970144" y="2285861"/>
                  <a:pt x="2975611" y="2287682"/>
                  <a:pt x="2979255" y="2287682"/>
                </a:cubicBezTo>
                <a:cubicBezTo>
                  <a:pt x="2946456" y="2287682"/>
                  <a:pt x="2911835" y="2289504"/>
                  <a:pt x="2879036" y="2287682"/>
                </a:cubicBezTo>
                <a:cubicBezTo>
                  <a:pt x="2879036" y="2287682"/>
                  <a:pt x="2877213" y="2287682"/>
                  <a:pt x="2877213" y="2289504"/>
                </a:cubicBezTo>
                <a:lnTo>
                  <a:pt x="2876512" y="2288804"/>
                </a:lnTo>
                <a:lnTo>
                  <a:pt x="2879035" y="2287227"/>
                </a:lnTo>
                <a:cubicBezTo>
                  <a:pt x="2879491" y="2285405"/>
                  <a:pt x="2879035" y="2283127"/>
                  <a:pt x="2877213" y="2282215"/>
                </a:cubicBezTo>
                <a:cubicBezTo>
                  <a:pt x="2874480" y="2282215"/>
                  <a:pt x="2872658" y="2283581"/>
                  <a:pt x="2872202" y="2285176"/>
                </a:cubicBezTo>
                <a:lnTo>
                  <a:pt x="2874410" y="2288172"/>
                </a:lnTo>
                <a:lnTo>
                  <a:pt x="2871747" y="2289504"/>
                </a:lnTo>
                <a:cubicBezTo>
                  <a:pt x="2871747" y="2289504"/>
                  <a:pt x="2871747" y="2287682"/>
                  <a:pt x="2869925" y="2287682"/>
                </a:cubicBezTo>
                <a:cubicBezTo>
                  <a:pt x="2869925" y="2287682"/>
                  <a:pt x="2868103" y="2287682"/>
                  <a:pt x="2868103" y="2287682"/>
                </a:cubicBezTo>
                <a:cubicBezTo>
                  <a:pt x="2864458" y="2287682"/>
                  <a:pt x="2862636" y="2293148"/>
                  <a:pt x="2866281" y="2294971"/>
                </a:cubicBezTo>
                <a:cubicBezTo>
                  <a:pt x="2866281" y="2294971"/>
                  <a:pt x="2868103" y="2294971"/>
                  <a:pt x="2868103" y="2294971"/>
                </a:cubicBezTo>
                <a:cubicBezTo>
                  <a:pt x="2869925" y="2294971"/>
                  <a:pt x="2871747" y="2294971"/>
                  <a:pt x="2871747" y="2293148"/>
                </a:cubicBezTo>
                <a:cubicBezTo>
                  <a:pt x="2871747" y="2293148"/>
                  <a:pt x="2871747" y="2294971"/>
                  <a:pt x="2873569" y="2294971"/>
                </a:cubicBezTo>
                <a:cubicBezTo>
                  <a:pt x="2875391" y="2294971"/>
                  <a:pt x="2877213" y="2294971"/>
                  <a:pt x="2877213" y="2293148"/>
                </a:cubicBezTo>
                <a:cubicBezTo>
                  <a:pt x="2877213" y="2294971"/>
                  <a:pt x="2879036" y="2298615"/>
                  <a:pt x="2880858" y="2298615"/>
                </a:cubicBezTo>
                <a:lnTo>
                  <a:pt x="2954769" y="2308064"/>
                </a:lnTo>
                <a:lnTo>
                  <a:pt x="2955566" y="2302497"/>
                </a:lnTo>
                <a:lnTo>
                  <a:pt x="2961969" y="2308873"/>
                </a:lnTo>
                <a:lnTo>
                  <a:pt x="3041209" y="2309549"/>
                </a:lnTo>
                <a:cubicBezTo>
                  <a:pt x="3057609" y="2309549"/>
                  <a:pt x="3074008" y="2311370"/>
                  <a:pt x="3090408" y="2313192"/>
                </a:cubicBezTo>
                <a:cubicBezTo>
                  <a:pt x="3077653" y="2315015"/>
                  <a:pt x="3063075" y="2315015"/>
                  <a:pt x="3050320" y="2316838"/>
                </a:cubicBezTo>
                <a:cubicBezTo>
                  <a:pt x="3019343" y="2320482"/>
                  <a:pt x="2988366" y="2320482"/>
                  <a:pt x="2955567" y="2318660"/>
                </a:cubicBezTo>
                <a:cubicBezTo>
                  <a:pt x="2928234" y="2316838"/>
                  <a:pt x="2899080" y="2316838"/>
                  <a:pt x="2871747" y="2322304"/>
                </a:cubicBezTo>
                <a:cubicBezTo>
                  <a:pt x="2866281" y="2322304"/>
                  <a:pt x="2868103" y="2327771"/>
                  <a:pt x="2873569" y="2327771"/>
                </a:cubicBezTo>
                <a:lnTo>
                  <a:pt x="2912821" y="2327876"/>
                </a:lnTo>
                <a:lnTo>
                  <a:pt x="2911834" y="2326119"/>
                </a:lnTo>
                <a:lnTo>
                  <a:pt x="2913656" y="2324304"/>
                </a:lnTo>
                <a:lnTo>
                  <a:pt x="2918314" y="2327891"/>
                </a:lnTo>
                <a:lnTo>
                  <a:pt x="2958300" y="2327998"/>
                </a:lnTo>
                <a:cubicBezTo>
                  <a:pt x="2986544" y="2329592"/>
                  <a:pt x="3014788" y="2331415"/>
                  <a:pt x="3043031" y="2329593"/>
                </a:cubicBezTo>
                <a:lnTo>
                  <a:pt x="3099518" y="2326768"/>
                </a:lnTo>
                <a:lnTo>
                  <a:pt x="3099518" y="2322489"/>
                </a:lnTo>
                <a:cubicBezTo>
                  <a:pt x="3104985" y="2324307"/>
                  <a:pt x="3105896" y="2322944"/>
                  <a:pt x="3106352" y="2322489"/>
                </a:cubicBezTo>
                <a:lnTo>
                  <a:pt x="3109208" y="2326285"/>
                </a:lnTo>
                <a:lnTo>
                  <a:pt x="3115918" y="2325948"/>
                </a:lnTo>
                <a:lnTo>
                  <a:pt x="3109554" y="2326745"/>
                </a:lnTo>
                <a:lnTo>
                  <a:pt x="3110451" y="2327937"/>
                </a:lnTo>
                <a:lnTo>
                  <a:pt x="3099518" y="2329754"/>
                </a:lnTo>
                <a:lnTo>
                  <a:pt x="3099518" y="2327999"/>
                </a:lnTo>
                <a:lnTo>
                  <a:pt x="3043031" y="2335060"/>
                </a:lnTo>
                <a:cubicBezTo>
                  <a:pt x="3019343" y="2335971"/>
                  <a:pt x="2995655" y="2335515"/>
                  <a:pt x="2971967" y="2335515"/>
                </a:cubicBezTo>
                <a:lnTo>
                  <a:pt x="2959755" y="2336063"/>
                </a:lnTo>
                <a:lnTo>
                  <a:pt x="2962855" y="2337014"/>
                </a:lnTo>
                <a:lnTo>
                  <a:pt x="2962855" y="2340650"/>
                </a:lnTo>
                <a:cubicBezTo>
                  <a:pt x="2959211" y="2338834"/>
                  <a:pt x="2955566" y="2338834"/>
                  <a:pt x="2953744" y="2340650"/>
                </a:cubicBezTo>
                <a:lnTo>
                  <a:pt x="2953744" y="2336333"/>
                </a:lnTo>
                <a:lnTo>
                  <a:pt x="2900902" y="2338704"/>
                </a:lnTo>
                <a:cubicBezTo>
                  <a:pt x="2900902" y="2338704"/>
                  <a:pt x="2908191" y="2344170"/>
                  <a:pt x="2910013" y="2344170"/>
                </a:cubicBezTo>
                <a:lnTo>
                  <a:pt x="2946456" y="2344170"/>
                </a:lnTo>
                <a:lnTo>
                  <a:pt x="2946456" y="2342482"/>
                </a:lnTo>
                <a:lnTo>
                  <a:pt x="2948145" y="2344170"/>
                </a:lnTo>
                <a:lnTo>
                  <a:pt x="2984722" y="2344170"/>
                </a:lnTo>
                <a:lnTo>
                  <a:pt x="2949341" y="2346892"/>
                </a:lnTo>
                <a:lnTo>
                  <a:pt x="2946456" y="2349797"/>
                </a:lnTo>
                <a:lnTo>
                  <a:pt x="2946456" y="2347114"/>
                </a:lnTo>
                <a:lnTo>
                  <a:pt x="2913657" y="2349637"/>
                </a:lnTo>
                <a:cubicBezTo>
                  <a:pt x="2888146" y="2350548"/>
                  <a:pt x="2863547" y="2350548"/>
                  <a:pt x="2839175" y="2348270"/>
                </a:cubicBezTo>
                <a:lnTo>
                  <a:pt x="2816979" y="2343707"/>
                </a:lnTo>
                <a:lnTo>
                  <a:pt x="2815259" y="2347967"/>
                </a:lnTo>
                <a:lnTo>
                  <a:pt x="2813842" y="2343061"/>
                </a:lnTo>
                <a:lnTo>
                  <a:pt x="2766061" y="2333237"/>
                </a:lnTo>
                <a:cubicBezTo>
                  <a:pt x="2725973" y="2320482"/>
                  <a:pt x="2691351" y="2294971"/>
                  <a:pt x="2660374" y="2265816"/>
                </a:cubicBezTo>
                <a:cubicBezTo>
                  <a:pt x="2622108" y="2231194"/>
                  <a:pt x="2591131" y="2185638"/>
                  <a:pt x="2560154" y="2143728"/>
                </a:cubicBezTo>
                <a:close/>
                <a:moveTo>
                  <a:pt x="3294492" y="2140082"/>
                </a:moveTo>
                <a:cubicBezTo>
                  <a:pt x="3298136" y="2140082"/>
                  <a:pt x="3301781" y="2138260"/>
                  <a:pt x="3294492" y="2147371"/>
                </a:cubicBezTo>
                <a:cubicBezTo>
                  <a:pt x="3303603" y="2145550"/>
                  <a:pt x="3316358" y="2145550"/>
                  <a:pt x="3327291" y="2143727"/>
                </a:cubicBezTo>
                <a:cubicBezTo>
                  <a:pt x="3303603" y="2149194"/>
                  <a:pt x="3281737" y="2156483"/>
                  <a:pt x="3259871" y="2167416"/>
                </a:cubicBezTo>
                <a:cubicBezTo>
                  <a:pt x="3256226" y="2169238"/>
                  <a:pt x="3259871" y="2178349"/>
                  <a:pt x="3263515" y="2176527"/>
                </a:cubicBezTo>
                <a:cubicBezTo>
                  <a:pt x="3292670" y="2167416"/>
                  <a:pt x="3323647" y="2160127"/>
                  <a:pt x="3354624" y="2154660"/>
                </a:cubicBezTo>
                <a:cubicBezTo>
                  <a:pt x="3356446" y="2154660"/>
                  <a:pt x="3358268" y="2154660"/>
                  <a:pt x="3360090" y="2154660"/>
                </a:cubicBezTo>
                <a:lnTo>
                  <a:pt x="3363735" y="2158304"/>
                </a:lnTo>
                <a:cubicBezTo>
                  <a:pt x="3336402" y="2163771"/>
                  <a:pt x="3310891" y="2171060"/>
                  <a:pt x="3283559" y="2180171"/>
                </a:cubicBezTo>
                <a:cubicBezTo>
                  <a:pt x="3283559" y="2180171"/>
                  <a:pt x="3281737" y="2180171"/>
                  <a:pt x="3281737" y="2180171"/>
                </a:cubicBezTo>
                <a:lnTo>
                  <a:pt x="3277664" y="2182207"/>
                </a:lnTo>
                <a:lnTo>
                  <a:pt x="3276270" y="2181993"/>
                </a:lnTo>
                <a:cubicBezTo>
                  <a:pt x="3272626" y="2183814"/>
                  <a:pt x="3268981" y="2183814"/>
                  <a:pt x="3265337" y="2187460"/>
                </a:cubicBezTo>
                <a:cubicBezTo>
                  <a:pt x="3263515" y="2189282"/>
                  <a:pt x="3267159" y="2192926"/>
                  <a:pt x="3268981" y="2191104"/>
                </a:cubicBezTo>
                <a:lnTo>
                  <a:pt x="3275378" y="2187266"/>
                </a:lnTo>
                <a:lnTo>
                  <a:pt x="3279915" y="2189282"/>
                </a:lnTo>
                <a:cubicBezTo>
                  <a:pt x="3305425" y="2181993"/>
                  <a:pt x="3329113" y="2174704"/>
                  <a:pt x="3354624" y="2171060"/>
                </a:cubicBezTo>
                <a:lnTo>
                  <a:pt x="3345513" y="2180171"/>
                </a:lnTo>
                <a:cubicBezTo>
                  <a:pt x="3343691" y="2180171"/>
                  <a:pt x="3343691" y="2181993"/>
                  <a:pt x="3341868" y="2181993"/>
                </a:cubicBezTo>
                <a:cubicBezTo>
                  <a:pt x="3330935" y="2183814"/>
                  <a:pt x="3321825" y="2189282"/>
                  <a:pt x="3312714" y="2192926"/>
                </a:cubicBezTo>
                <a:cubicBezTo>
                  <a:pt x="3310891" y="2192926"/>
                  <a:pt x="3312714" y="2194748"/>
                  <a:pt x="3312714" y="2196571"/>
                </a:cubicBezTo>
                <a:lnTo>
                  <a:pt x="3305211" y="2198715"/>
                </a:lnTo>
                <a:lnTo>
                  <a:pt x="3304970" y="2197026"/>
                </a:lnTo>
                <a:cubicBezTo>
                  <a:pt x="3304059" y="2196115"/>
                  <a:pt x="3302692" y="2195659"/>
                  <a:pt x="3301781" y="2196571"/>
                </a:cubicBezTo>
                <a:cubicBezTo>
                  <a:pt x="3301781" y="2198393"/>
                  <a:pt x="3299959" y="2200215"/>
                  <a:pt x="3298136" y="2200215"/>
                </a:cubicBezTo>
                <a:cubicBezTo>
                  <a:pt x="3296314" y="2202037"/>
                  <a:pt x="3298136" y="2205681"/>
                  <a:pt x="3299959" y="2203859"/>
                </a:cubicBezTo>
                <a:lnTo>
                  <a:pt x="3301326" y="2202947"/>
                </a:lnTo>
                <a:lnTo>
                  <a:pt x="3301781" y="2203859"/>
                </a:lnTo>
                <a:cubicBezTo>
                  <a:pt x="3307247" y="2203859"/>
                  <a:pt x="3310891" y="2202037"/>
                  <a:pt x="3316358" y="2200215"/>
                </a:cubicBezTo>
                <a:cubicBezTo>
                  <a:pt x="3316358" y="2202037"/>
                  <a:pt x="3318180" y="2202037"/>
                  <a:pt x="3318180" y="2202037"/>
                </a:cubicBezTo>
                <a:cubicBezTo>
                  <a:pt x="3330935" y="2198393"/>
                  <a:pt x="3345513" y="2196571"/>
                  <a:pt x="3360090" y="2194748"/>
                </a:cubicBezTo>
                <a:lnTo>
                  <a:pt x="3369201" y="2196571"/>
                </a:lnTo>
                <a:cubicBezTo>
                  <a:pt x="3365557" y="2202037"/>
                  <a:pt x="3365557" y="2205681"/>
                  <a:pt x="3363735" y="2207504"/>
                </a:cubicBezTo>
                <a:cubicBezTo>
                  <a:pt x="3360090" y="2207504"/>
                  <a:pt x="3356446" y="2207504"/>
                  <a:pt x="3352801" y="2207504"/>
                </a:cubicBezTo>
                <a:cubicBezTo>
                  <a:pt x="3350979" y="2205681"/>
                  <a:pt x="3349157" y="2211148"/>
                  <a:pt x="3352801" y="2211148"/>
                </a:cubicBezTo>
                <a:lnTo>
                  <a:pt x="3345513" y="2211148"/>
                </a:lnTo>
                <a:cubicBezTo>
                  <a:pt x="3345513" y="2211148"/>
                  <a:pt x="3345513" y="2209326"/>
                  <a:pt x="3343691" y="2209326"/>
                </a:cubicBezTo>
                <a:cubicBezTo>
                  <a:pt x="3341868" y="2207504"/>
                  <a:pt x="3340046" y="2209326"/>
                  <a:pt x="3340046" y="2211148"/>
                </a:cubicBezTo>
                <a:cubicBezTo>
                  <a:pt x="3340046" y="2211148"/>
                  <a:pt x="3340046" y="2212970"/>
                  <a:pt x="3341868" y="2212970"/>
                </a:cubicBezTo>
                <a:lnTo>
                  <a:pt x="3341868" y="2216614"/>
                </a:lnTo>
                <a:lnTo>
                  <a:pt x="3365557" y="2223903"/>
                </a:lnTo>
                <a:cubicBezTo>
                  <a:pt x="3330935" y="2225725"/>
                  <a:pt x="3296314" y="2233014"/>
                  <a:pt x="3263515" y="2240303"/>
                </a:cubicBezTo>
                <a:cubicBezTo>
                  <a:pt x="3259871" y="2240303"/>
                  <a:pt x="3258048" y="2245769"/>
                  <a:pt x="3259871" y="2249413"/>
                </a:cubicBezTo>
                <a:cubicBezTo>
                  <a:pt x="3276270" y="2276746"/>
                  <a:pt x="3299959" y="2300434"/>
                  <a:pt x="3325469" y="2318656"/>
                </a:cubicBezTo>
                <a:cubicBezTo>
                  <a:pt x="3303603" y="2307723"/>
                  <a:pt x="3281737" y="2293146"/>
                  <a:pt x="3259871" y="2276746"/>
                </a:cubicBezTo>
                <a:cubicBezTo>
                  <a:pt x="3259871" y="2276746"/>
                  <a:pt x="3259871" y="2284035"/>
                  <a:pt x="3261693" y="2285857"/>
                </a:cubicBezTo>
                <a:cubicBezTo>
                  <a:pt x="3276270" y="2296790"/>
                  <a:pt x="3290848" y="2309546"/>
                  <a:pt x="3305425" y="2320479"/>
                </a:cubicBezTo>
                <a:cubicBezTo>
                  <a:pt x="3292670" y="2315012"/>
                  <a:pt x="3281737" y="2305902"/>
                  <a:pt x="3268981" y="2300434"/>
                </a:cubicBezTo>
                <a:cubicBezTo>
                  <a:pt x="3267159" y="2298612"/>
                  <a:pt x="3258048" y="2302258"/>
                  <a:pt x="3261693" y="2305902"/>
                </a:cubicBezTo>
                <a:cubicBezTo>
                  <a:pt x="3274448" y="2320479"/>
                  <a:pt x="3287203" y="2329589"/>
                  <a:pt x="3303603" y="2336879"/>
                </a:cubicBezTo>
                <a:cubicBezTo>
                  <a:pt x="3309069" y="2338701"/>
                  <a:pt x="3314536" y="2342345"/>
                  <a:pt x="3320002" y="2344167"/>
                </a:cubicBezTo>
                <a:cubicBezTo>
                  <a:pt x="3316358" y="2344167"/>
                  <a:pt x="3314536" y="2345990"/>
                  <a:pt x="3312714" y="2345990"/>
                </a:cubicBezTo>
                <a:cubicBezTo>
                  <a:pt x="3305425" y="2344167"/>
                  <a:pt x="3299959" y="2342345"/>
                  <a:pt x="3294492" y="2338701"/>
                </a:cubicBezTo>
                <a:cubicBezTo>
                  <a:pt x="3283559" y="2333235"/>
                  <a:pt x="3274448" y="2324124"/>
                  <a:pt x="3265337" y="2316835"/>
                </a:cubicBezTo>
                <a:cubicBezTo>
                  <a:pt x="3263515" y="2315012"/>
                  <a:pt x="3254404" y="2313191"/>
                  <a:pt x="3256226" y="2316835"/>
                </a:cubicBezTo>
                <a:cubicBezTo>
                  <a:pt x="3258048" y="2325946"/>
                  <a:pt x="3265337" y="2333235"/>
                  <a:pt x="3272626" y="2338701"/>
                </a:cubicBezTo>
                <a:cubicBezTo>
                  <a:pt x="3239827" y="2325946"/>
                  <a:pt x="3208850" y="2309546"/>
                  <a:pt x="3181517" y="2287679"/>
                </a:cubicBezTo>
                <a:cubicBezTo>
                  <a:pt x="3161473" y="2269457"/>
                  <a:pt x="3143251" y="2249413"/>
                  <a:pt x="3121385" y="2233014"/>
                </a:cubicBezTo>
                <a:cubicBezTo>
                  <a:pt x="3121385" y="2231192"/>
                  <a:pt x="3121385" y="2229370"/>
                  <a:pt x="3119563" y="2229370"/>
                </a:cubicBezTo>
                <a:cubicBezTo>
                  <a:pt x="3115919" y="2225725"/>
                  <a:pt x="3110452" y="2223903"/>
                  <a:pt x="3106808" y="2220259"/>
                </a:cubicBezTo>
                <a:cubicBezTo>
                  <a:pt x="3077652" y="2196571"/>
                  <a:pt x="3046675" y="2174704"/>
                  <a:pt x="3015698" y="2154660"/>
                </a:cubicBezTo>
                <a:cubicBezTo>
                  <a:pt x="3084941" y="2167416"/>
                  <a:pt x="3152362" y="2172881"/>
                  <a:pt x="3221605" y="2158304"/>
                </a:cubicBezTo>
                <a:cubicBezTo>
                  <a:pt x="3247115" y="2152837"/>
                  <a:pt x="3268981" y="2145550"/>
                  <a:pt x="3294492" y="2140082"/>
                </a:cubicBezTo>
                <a:close/>
                <a:moveTo>
                  <a:pt x="858244" y="2138326"/>
                </a:moveTo>
                <a:lnTo>
                  <a:pt x="891044" y="2167520"/>
                </a:lnTo>
                <a:lnTo>
                  <a:pt x="880111" y="2191239"/>
                </a:lnTo>
                <a:lnTo>
                  <a:pt x="836378" y="2176641"/>
                </a:lnTo>
                <a:cubicBezTo>
                  <a:pt x="843667" y="2149273"/>
                  <a:pt x="843667" y="2160219"/>
                  <a:pt x="858244" y="2138326"/>
                </a:cubicBezTo>
                <a:close/>
                <a:moveTo>
                  <a:pt x="3558706" y="2129179"/>
                </a:moveTo>
                <a:lnTo>
                  <a:pt x="3558706" y="2152884"/>
                </a:lnTo>
                <a:lnTo>
                  <a:pt x="3544128" y="2145587"/>
                </a:lnTo>
                <a:close/>
                <a:moveTo>
                  <a:pt x="2879035" y="2117534"/>
                </a:moveTo>
                <a:cubicBezTo>
                  <a:pt x="2899079" y="2116394"/>
                  <a:pt x="2919123" y="2116394"/>
                  <a:pt x="2939167" y="2118217"/>
                </a:cubicBezTo>
                <a:cubicBezTo>
                  <a:pt x="2931878" y="2118217"/>
                  <a:pt x="2926412" y="2118217"/>
                  <a:pt x="2919123" y="2120039"/>
                </a:cubicBezTo>
                <a:cubicBezTo>
                  <a:pt x="2913656" y="2120039"/>
                  <a:pt x="2919123" y="2125506"/>
                  <a:pt x="2922767" y="2125506"/>
                </a:cubicBezTo>
                <a:cubicBezTo>
                  <a:pt x="2953744" y="2123684"/>
                  <a:pt x="2982899" y="2129150"/>
                  <a:pt x="3012054" y="2136438"/>
                </a:cubicBezTo>
                <a:cubicBezTo>
                  <a:pt x="2977432" y="2129150"/>
                  <a:pt x="2937345" y="2125506"/>
                  <a:pt x="2902723" y="2132795"/>
                </a:cubicBezTo>
                <a:cubicBezTo>
                  <a:pt x="2895435" y="2134618"/>
                  <a:pt x="2902723" y="2140082"/>
                  <a:pt x="2906368" y="2140082"/>
                </a:cubicBezTo>
                <a:cubicBezTo>
                  <a:pt x="2926412" y="2138261"/>
                  <a:pt x="2946455" y="2138261"/>
                  <a:pt x="2966500" y="2140082"/>
                </a:cubicBezTo>
                <a:cubicBezTo>
                  <a:pt x="2970144" y="2140082"/>
                  <a:pt x="2975610" y="2141906"/>
                  <a:pt x="2979255" y="2141906"/>
                </a:cubicBezTo>
                <a:lnTo>
                  <a:pt x="2982823" y="2147257"/>
                </a:lnTo>
                <a:lnTo>
                  <a:pt x="2924589" y="2143728"/>
                </a:lnTo>
                <a:cubicBezTo>
                  <a:pt x="2919123" y="2145550"/>
                  <a:pt x="2922767" y="2152839"/>
                  <a:pt x="2926412" y="2152839"/>
                </a:cubicBezTo>
                <a:cubicBezTo>
                  <a:pt x="2962855" y="2152839"/>
                  <a:pt x="3002943" y="2161949"/>
                  <a:pt x="3032098" y="2183816"/>
                </a:cubicBezTo>
                <a:cubicBezTo>
                  <a:pt x="3037564" y="2189283"/>
                  <a:pt x="3044853" y="2192927"/>
                  <a:pt x="3052142" y="2198394"/>
                </a:cubicBezTo>
                <a:cubicBezTo>
                  <a:pt x="3046675" y="2196571"/>
                  <a:pt x="3039386" y="2194748"/>
                  <a:pt x="3033920" y="2191105"/>
                </a:cubicBezTo>
                <a:cubicBezTo>
                  <a:pt x="3012054" y="2180172"/>
                  <a:pt x="2988366" y="2172883"/>
                  <a:pt x="2964677" y="2172883"/>
                </a:cubicBezTo>
                <a:cubicBezTo>
                  <a:pt x="2964677" y="2172883"/>
                  <a:pt x="2964677" y="2174705"/>
                  <a:pt x="2966500" y="2176528"/>
                </a:cubicBezTo>
                <a:cubicBezTo>
                  <a:pt x="2966500" y="2176528"/>
                  <a:pt x="2964677" y="2176528"/>
                  <a:pt x="2964677" y="2176528"/>
                </a:cubicBezTo>
                <a:cubicBezTo>
                  <a:pt x="2964677" y="2174705"/>
                  <a:pt x="2962855" y="2174705"/>
                  <a:pt x="2962855" y="2174705"/>
                </a:cubicBezTo>
                <a:cubicBezTo>
                  <a:pt x="2959211" y="2172883"/>
                  <a:pt x="2957389" y="2172883"/>
                  <a:pt x="2955566" y="2172883"/>
                </a:cubicBezTo>
                <a:cubicBezTo>
                  <a:pt x="2955566" y="2172883"/>
                  <a:pt x="2953744" y="2172883"/>
                  <a:pt x="2953744" y="2172883"/>
                </a:cubicBezTo>
                <a:cubicBezTo>
                  <a:pt x="2953744" y="2172883"/>
                  <a:pt x="2953744" y="2171061"/>
                  <a:pt x="2951922" y="2171061"/>
                </a:cubicBezTo>
                <a:cubicBezTo>
                  <a:pt x="2948278" y="2171061"/>
                  <a:pt x="2946455" y="2176528"/>
                  <a:pt x="2950100" y="2178349"/>
                </a:cubicBezTo>
                <a:cubicBezTo>
                  <a:pt x="2951922" y="2178349"/>
                  <a:pt x="2953744" y="2178349"/>
                  <a:pt x="2953744" y="2176528"/>
                </a:cubicBezTo>
                <a:cubicBezTo>
                  <a:pt x="2953744" y="2178349"/>
                  <a:pt x="2957389" y="2178349"/>
                  <a:pt x="2959211" y="2178349"/>
                </a:cubicBezTo>
                <a:cubicBezTo>
                  <a:pt x="2961033" y="2178349"/>
                  <a:pt x="2961033" y="2178349"/>
                  <a:pt x="2962855" y="2178349"/>
                </a:cubicBezTo>
                <a:cubicBezTo>
                  <a:pt x="2964677" y="2180172"/>
                  <a:pt x="2966500" y="2178349"/>
                  <a:pt x="2966500" y="2178349"/>
                </a:cubicBezTo>
                <a:cubicBezTo>
                  <a:pt x="2966500" y="2180172"/>
                  <a:pt x="2968322" y="2180172"/>
                  <a:pt x="2968322" y="2180172"/>
                </a:cubicBezTo>
                <a:cubicBezTo>
                  <a:pt x="2970144" y="2181993"/>
                  <a:pt x="2971966" y="2180172"/>
                  <a:pt x="2971966" y="2178349"/>
                </a:cubicBezTo>
                <a:cubicBezTo>
                  <a:pt x="3001121" y="2180172"/>
                  <a:pt x="3024809" y="2189283"/>
                  <a:pt x="3050319" y="2202038"/>
                </a:cubicBezTo>
                <a:cubicBezTo>
                  <a:pt x="3061252" y="2209327"/>
                  <a:pt x="3074008" y="2212972"/>
                  <a:pt x="3086763" y="2218438"/>
                </a:cubicBezTo>
                <a:cubicBezTo>
                  <a:pt x="3094052" y="2223904"/>
                  <a:pt x="3099518" y="2227549"/>
                  <a:pt x="3104985" y="2231193"/>
                </a:cubicBezTo>
                <a:cubicBezTo>
                  <a:pt x="3090407" y="2225727"/>
                  <a:pt x="3075830" y="2220260"/>
                  <a:pt x="3063075" y="2214792"/>
                </a:cubicBezTo>
                <a:cubicBezTo>
                  <a:pt x="3043031" y="2205683"/>
                  <a:pt x="3022987" y="2200215"/>
                  <a:pt x="3001121" y="2196571"/>
                </a:cubicBezTo>
                <a:cubicBezTo>
                  <a:pt x="2999299" y="2196571"/>
                  <a:pt x="3001121" y="2207505"/>
                  <a:pt x="3002943" y="2207505"/>
                </a:cubicBezTo>
                <a:cubicBezTo>
                  <a:pt x="3026631" y="2214792"/>
                  <a:pt x="3050319" y="2223904"/>
                  <a:pt x="3072186" y="2234837"/>
                </a:cubicBezTo>
                <a:cubicBezTo>
                  <a:pt x="3075830" y="2236661"/>
                  <a:pt x="3079474" y="2238482"/>
                  <a:pt x="3083119" y="2240304"/>
                </a:cubicBezTo>
                <a:cubicBezTo>
                  <a:pt x="3066719" y="2234837"/>
                  <a:pt x="3052142" y="2229371"/>
                  <a:pt x="3035742" y="2223904"/>
                </a:cubicBezTo>
                <a:cubicBezTo>
                  <a:pt x="3032098" y="2222081"/>
                  <a:pt x="3022987" y="2225727"/>
                  <a:pt x="3028453" y="2229371"/>
                </a:cubicBezTo>
                <a:cubicBezTo>
                  <a:pt x="3035742" y="2233015"/>
                  <a:pt x="3043031" y="2236661"/>
                  <a:pt x="3050319" y="2240304"/>
                </a:cubicBezTo>
                <a:cubicBezTo>
                  <a:pt x="3033920" y="2234837"/>
                  <a:pt x="3019342" y="2227549"/>
                  <a:pt x="3004765" y="2222081"/>
                </a:cubicBezTo>
                <a:cubicBezTo>
                  <a:pt x="3006587" y="2220260"/>
                  <a:pt x="3006587" y="2216616"/>
                  <a:pt x="3002943" y="2216616"/>
                </a:cubicBezTo>
                <a:cubicBezTo>
                  <a:pt x="2999299" y="2216616"/>
                  <a:pt x="2997476" y="2218438"/>
                  <a:pt x="2997476" y="2220260"/>
                </a:cubicBezTo>
                <a:lnTo>
                  <a:pt x="2996565" y="2220260"/>
                </a:lnTo>
                <a:lnTo>
                  <a:pt x="2997249" y="2219805"/>
                </a:lnTo>
                <a:cubicBezTo>
                  <a:pt x="2997477" y="2217982"/>
                  <a:pt x="2996566" y="2215704"/>
                  <a:pt x="2993832" y="2214792"/>
                </a:cubicBezTo>
                <a:cubicBezTo>
                  <a:pt x="2990188" y="2212972"/>
                  <a:pt x="2986543" y="2220260"/>
                  <a:pt x="2992010" y="2222081"/>
                </a:cubicBezTo>
                <a:cubicBezTo>
                  <a:pt x="2992010" y="2222081"/>
                  <a:pt x="2993832" y="2222081"/>
                  <a:pt x="2993832" y="2222081"/>
                </a:cubicBezTo>
                <a:lnTo>
                  <a:pt x="2995447" y="2221006"/>
                </a:lnTo>
                <a:lnTo>
                  <a:pt x="3064897" y="2253059"/>
                </a:lnTo>
                <a:cubicBezTo>
                  <a:pt x="3044853" y="2247594"/>
                  <a:pt x="3024809" y="2240304"/>
                  <a:pt x="3002943" y="2236661"/>
                </a:cubicBezTo>
                <a:cubicBezTo>
                  <a:pt x="3001121" y="2234837"/>
                  <a:pt x="2990188" y="2238482"/>
                  <a:pt x="2993832" y="2240304"/>
                </a:cubicBezTo>
                <a:cubicBezTo>
                  <a:pt x="3017520" y="2254881"/>
                  <a:pt x="3044853" y="2262170"/>
                  <a:pt x="3072186" y="2271282"/>
                </a:cubicBezTo>
                <a:cubicBezTo>
                  <a:pt x="3097696" y="2280393"/>
                  <a:pt x="3128673" y="2282214"/>
                  <a:pt x="3154183" y="2294970"/>
                </a:cubicBezTo>
                <a:cubicBezTo>
                  <a:pt x="3101340" y="2289504"/>
                  <a:pt x="3050319" y="2276747"/>
                  <a:pt x="3002943" y="2253059"/>
                </a:cubicBezTo>
                <a:cubicBezTo>
                  <a:pt x="3001121" y="2251237"/>
                  <a:pt x="2997476" y="2249415"/>
                  <a:pt x="2995654" y="2247594"/>
                </a:cubicBezTo>
                <a:cubicBezTo>
                  <a:pt x="2973788" y="2236661"/>
                  <a:pt x="2953744" y="2222081"/>
                  <a:pt x="2933700" y="2207505"/>
                </a:cubicBezTo>
                <a:cubicBezTo>
                  <a:pt x="2917301" y="2192927"/>
                  <a:pt x="2902723" y="2174705"/>
                  <a:pt x="2884502" y="2160128"/>
                </a:cubicBezTo>
                <a:cubicBezTo>
                  <a:pt x="2864458" y="2145550"/>
                  <a:pt x="2842592" y="2132795"/>
                  <a:pt x="2818903" y="2123684"/>
                </a:cubicBezTo>
                <a:cubicBezTo>
                  <a:pt x="2838947" y="2120950"/>
                  <a:pt x="2858991" y="2118673"/>
                  <a:pt x="2879035" y="2117534"/>
                </a:cubicBezTo>
                <a:close/>
                <a:moveTo>
                  <a:pt x="4200111" y="2116411"/>
                </a:moveTo>
                <a:lnTo>
                  <a:pt x="4216511" y="2129173"/>
                </a:lnTo>
                <a:lnTo>
                  <a:pt x="4200111" y="2130995"/>
                </a:lnTo>
                <a:close/>
                <a:moveTo>
                  <a:pt x="3008410" y="2103640"/>
                </a:moveTo>
                <a:cubicBezTo>
                  <a:pt x="3004766" y="2103640"/>
                  <a:pt x="3002944" y="2109107"/>
                  <a:pt x="3006588" y="2110929"/>
                </a:cubicBezTo>
                <a:cubicBezTo>
                  <a:pt x="3012055" y="2110929"/>
                  <a:pt x="3013877" y="2105463"/>
                  <a:pt x="3008410" y="2103640"/>
                </a:cubicBezTo>
                <a:close/>
                <a:moveTo>
                  <a:pt x="2993833" y="2098173"/>
                </a:moveTo>
                <a:cubicBezTo>
                  <a:pt x="2992011" y="2098173"/>
                  <a:pt x="2990189" y="2099995"/>
                  <a:pt x="2990189" y="2101817"/>
                </a:cubicBezTo>
                <a:cubicBezTo>
                  <a:pt x="2988366" y="2105463"/>
                  <a:pt x="2992011" y="2107284"/>
                  <a:pt x="2993833" y="2105463"/>
                </a:cubicBezTo>
                <a:cubicBezTo>
                  <a:pt x="2997477" y="2105463"/>
                  <a:pt x="2997477" y="2098173"/>
                  <a:pt x="2993833" y="2098173"/>
                </a:cubicBezTo>
                <a:close/>
                <a:moveTo>
                  <a:pt x="3409288" y="2092716"/>
                </a:moveTo>
                <a:lnTo>
                  <a:pt x="3423865" y="2092716"/>
                </a:lnTo>
                <a:lnTo>
                  <a:pt x="3447553" y="2114607"/>
                </a:lnTo>
                <a:lnTo>
                  <a:pt x="3467597" y="2107312"/>
                </a:lnTo>
                <a:lnTo>
                  <a:pt x="3476708" y="2131030"/>
                </a:lnTo>
                <a:lnTo>
                  <a:pt x="3445731" y="2136502"/>
                </a:lnTo>
                <a:lnTo>
                  <a:pt x="3445731" y="2176641"/>
                </a:lnTo>
                <a:lnTo>
                  <a:pt x="3416577" y="2176641"/>
                </a:lnTo>
                <a:lnTo>
                  <a:pt x="3416577" y="2131030"/>
                </a:lnTo>
                <a:lnTo>
                  <a:pt x="3392888" y="2131030"/>
                </a:lnTo>
                <a:lnTo>
                  <a:pt x="3392888" y="2123729"/>
                </a:lnTo>
                <a:lnTo>
                  <a:pt x="3418399" y="2123729"/>
                </a:lnTo>
                <a:close/>
                <a:moveTo>
                  <a:pt x="3330934" y="2083598"/>
                </a:moveTo>
                <a:cubicBezTo>
                  <a:pt x="3336401" y="2089064"/>
                  <a:pt x="3340045" y="2094530"/>
                  <a:pt x="3345512" y="2099996"/>
                </a:cubicBezTo>
                <a:cubicBezTo>
                  <a:pt x="3341867" y="2096352"/>
                  <a:pt x="3336401" y="2090885"/>
                  <a:pt x="3330934" y="2087241"/>
                </a:cubicBezTo>
                <a:close/>
                <a:moveTo>
                  <a:pt x="3364243" y="2080023"/>
                </a:moveTo>
                <a:lnTo>
                  <a:pt x="3366181" y="2081704"/>
                </a:lnTo>
                <a:lnTo>
                  <a:pt x="3365555" y="2081774"/>
                </a:lnTo>
                <a:close/>
                <a:moveTo>
                  <a:pt x="3381955" y="2079951"/>
                </a:moveTo>
                <a:cubicBezTo>
                  <a:pt x="3387421" y="2083595"/>
                  <a:pt x="3391066" y="2089062"/>
                  <a:pt x="3396532" y="2094528"/>
                </a:cubicBezTo>
                <a:lnTo>
                  <a:pt x="3387421" y="2098173"/>
                </a:lnTo>
                <a:cubicBezTo>
                  <a:pt x="3383777" y="2094528"/>
                  <a:pt x="3378311" y="2092706"/>
                  <a:pt x="3374666" y="2089062"/>
                </a:cubicBezTo>
                <a:lnTo>
                  <a:pt x="3366181" y="2081704"/>
                </a:lnTo>
                <a:close/>
                <a:moveTo>
                  <a:pt x="3405643" y="2078130"/>
                </a:moveTo>
                <a:cubicBezTo>
                  <a:pt x="3407465" y="2081774"/>
                  <a:pt x="3411110" y="2085418"/>
                  <a:pt x="3412932" y="2089062"/>
                </a:cubicBezTo>
                <a:lnTo>
                  <a:pt x="3409288" y="2092707"/>
                </a:lnTo>
                <a:cubicBezTo>
                  <a:pt x="3405643" y="2089062"/>
                  <a:pt x="3400177" y="2085418"/>
                  <a:pt x="3396532" y="2079950"/>
                </a:cubicBezTo>
                <a:close/>
                <a:moveTo>
                  <a:pt x="776246" y="2070892"/>
                </a:moveTo>
                <a:cubicBezTo>
                  <a:pt x="785356" y="2070892"/>
                  <a:pt x="787179" y="2078170"/>
                  <a:pt x="792646" y="2085434"/>
                </a:cubicBezTo>
                <a:lnTo>
                  <a:pt x="761668" y="2092712"/>
                </a:lnTo>
                <a:cubicBezTo>
                  <a:pt x="761668" y="2081807"/>
                  <a:pt x="765313" y="2070892"/>
                  <a:pt x="776246" y="2070892"/>
                </a:cubicBezTo>
                <a:close/>
                <a:moveTo>
                  <a:pt x="3516795" y="2067262"/>
                </a:moveTo>
                <a:lnTo>
                  <a:pt x="3522262" y="2076361"/>
                </a:lnTo>
                <a:lnTo>
                  <a:pt x="3507685" y="2105484"/>
                </a:lnTo>
                <a:lnTo>
                  <a:pt x="3514973" y="2129205"/>
                </a:lnTo>
                <a:lnTo>
                  <a:pt x="3500396" y="2129205"/>
                </a:lnTo>
                <a:cubicBezTo>
                  <a:pt x="3518618" y="2151099"/>
                  <a:pt x="3496751" y="2140151"/>
                  <a:pt x="3531373" y="2143802"/>
                </a:cubicBezTo>
                <a:cubicBezTo>
                  <a:pt x="3522262" y="2158398"/>
                  <a:pt x="3514973" y="2174816"/>
                  <a:pt x="3493107" y="2174816"/>
                </a:cubicBezTo>
                <a:cubicBezTo>
                  <a:pt x="3474885" y="2174816"/>
                  <a:pt x="3491285" y="2163870"/>
                  <a:pt x="3462130" y="2152924"/>
                </a:cubicBezTo>
                <a:cubicBezTo>
                  <a:pt x="3480352" y="2127380"/>
                  <a:pt x="3507685" y="2156573"/>
                  <a:pt x="3487641" y="2103662"/>
                </a:cubicBezTo>
                <a:lnTo>
                  <a:pt x="3509507" y="2089068"/>
                </a:lnTo>
                <a:cubicBezTo>
                  <a:pt x="3498574" y="2069083"/>
                  <a:pt x="3498574" y="2079994"/>
                  <a:pt x="3516795" y="2067262"/>
                </a:cubicBezTo>
                <a:close/>
                <a:moveTo>
                  <a:pt x="3587860" y="2063589"/>
                </a:moveTo>
                <a:lnTo>
                  <a:pt x="3604260" y="2063589"/>
                </a:lnTo>
                <a:lnTo>
                  <a:pt x="3602438" y="2079974"/>
                </a:lnTo>
                <a:close/>
                <a:moveTo>
                  <a:pt x="3412932" y="2061730"/>
                </a:moveTo>
                <a:cubicBezTo>
                  <a:pt x="3416576" y="2065376"/>
                  <a:pt x="3420220" y="2070841"/>
                  <a:pt x="3423864" y="2076309"/>
                </a:cubicBezTo>
                <a:lnTo>
                  <a:pt x="3418398" y="2081774"/>
                </a:lnTo>
                <a:cubicBezTo>
                  <a:pt x="3414754" y="2078131"/>
                  <a:pt x="3412932" y="2076309"/>
                  <a:pt x="3409287" y="2072663"/>
                </a:cubicBezTo>
                <a:cubicBezTo>
                  <a:pt x="3411109" y="2067197"/>
                  <a:pt x="3412932" y="2063553"/>
                  <a:pt x="3412932" y="2061730"/>
                </a:cubicBezTo>
                <a:close/>
                <a:moveTo>
                  <a:pt x="3330934" y="2061729"/>
                </a:moveTo>
                <a:lnTo>
                  <a:pt x="3338224" y="2061729"/>
                </a:lnTo>
                <a:cubicBezTo>
                  <a:pt x="3349157" y="2078130"/>
                  <a:pt x="3363734" y="2092707"/>
                  <a:pt x="3380134" y="2105462"/>
                </a:cubicBezTo>
                <a:lnTo>
                  <a:pt x="3376490" y="2107285"/>
                </a:lnTo>
                <a:cubicBezTo>
                  <a:pt x="3371023" y="2103640"/>
                  <a:pt x="3365556" y="2099996"/>
                  <a:pt x="3360090" y="2096352"/>
                </a:cubicBezTo>
                <a:cubicBezTo>
                  <a:pt x="3345513" y="2087241"/>
                  <a:pt x="3336402" y="2074485"/>
                  <a:pt x="3330934" y="2061729"/>
                </a:cubicBezTo>
                <a:close/>
                <a:moveTo>
                  <a:pt x="3431153" y="2048975"/>
                </a:moveTo>
                <a:lnTo>
                  <a:pt x="3440264" y="2058086"/>
                </a:lnTo>
                <a:lnTo>
                  <a:pt x="3429331" y="2069019"/>
                </a:lnTo>
                <a:cubicBezTo>
                  <a:pt x="3425687" y="2065373"/>
                  <a:pt x="3422043" y="2059908"/>
                  <a:pt x="3418398" y="2056264"/>
                </a:cubicBezTo>
                <a:cubicBezTo>
                  <a:pt x="3420220" y="2054442"/>
                  <a:pt x="3423865" y="2054442"/>
                  <a:pt x="3431153" y="2048975"/>
                </a:cubicBezTo>
                <a:close/>
                <a:moveTo>
                  <a:pt x="3575105" y="2032621"/>
                </a:moveTo>
                <a:lnTo>
                  <a:pt x="3573283" y="2049032"/>
                </a:lnTo>
                <a:lnTo>
                  <a:pt x="3558705" y="2034445"/>
                </a:lnTo>
                <a:close/>
                <a:moveTo>
                  <a:pt x="3363733" y="2030754"/>
                </a:moveTo>
                <a:lnTo>
                  <a:pt x="3383777" y="2052620"/>
                </a:lnTo>
                <a:lnTo>
                  <a:pt x="3378310" y="2059910"/>
                </a:lnTo>
                <a:cubicBezTo>
                  <a:pt x="3372844" y="2054444"/>
                  <a:pt x="3369200" y="2050799"/>
                  <a:pt x="3365555" y="2045333"/>
                </a:cubicBezTo>
                <a:cubicBezTo>
                  <a:pt x="3365555" y="2043511"/>
                  <a:pt x="3363733" y="2043511"/>
                  <a:pt x="3363733" y="2043511"/>
                </a:cubicBezTo>
                <a:close/>
                <a:moveTo>
                  <a:pt x="1002195" y="2029023"/>
                </a:moveTo>
                <a:cubicBezTo>
                  <a:pt x="1013128" y="2032670"/>
                  <a:pt x="1011306" y="2032670"/>
                  <a:pt x="1009485" y="2032670"/>
                </a:cubicBezTo>
                <a:cubicBezTo>
                  <a:pt x="1009485" y="2032670"/>
                  <a:pt x="1013128" y="2032670"/>
                  <a:pt x="1024062" y="2032670"/>
                </a:cubicBezTo>
                <a:lnTo>
                  <a:pt x="1045929" y="2032670"/>
                </a:lnTo>
                <a:lnTo>
                  <a:pt x="1045929" y="2039962"/>
                </a:lnTo>
                <a:cubicBezTo>
                  <a:pt x="1013128" y="2039962"/>
                  <a:pt x="1029528" y="2034494"/>
                  <a:pt x="1014951" y="2054536"/>
                </a:cubicBezTo>
                <a:cubicBezTo>
                  <a:pt x="996729" y="2047261"/>
                  <a:pt x="1013128" y="2045429"/>
                  <a:pt x="993085" y="2054536"/>
                </a:cubicBezTo>
                <a:lnTo>
                  <a:pt x="978507" y="2032670"/>
                </a:lnTo>
                <a:close/>
                <a:moveTo>
                  <a:pt x="949352" y="2018058"/>
                </a:moveTo>
                <a:lnTo>
                  <a:pt x="973041" y="2038116"/>
                </a:lnTo>
                <a:lnTo>
                  <a:pt x="949352" y="2039939"/>
                </a:lnTo>
                <a:close/>
                <a:moveTo>
                  <a:pt x="2780752" y="2015635"/>
                </a:moveTo>
                <a:cubicBezTo>
                  <a:pt x="2847375" y="2017770"/>
                  <a:pt x="2915024" y="2037586"/>
                  <a:pt x="2968322" y="2063553"/>
                </a:cubicBezTo>
                <a:cubicBezTo>
                  <a:pt x="2968322" y="2063553"/>
                  <a:pt x="2970145" y="2063553"/>
                  <a:pt x="2970145" y="2063553"/>
                </a:cubicBezTo>
                <a:cubicBezTo>
                  <a:pt x="2984722" y="2076307"/>
                  <a:pt x="3001122" y="2089062"/>
                  <a:pt x="3017521" y="2099995"/>
                </a:cubicBezTo>
                <a:cubicBezTo>
                  <a:pt x="3053965" y="2123685"/>
                  <a:pt x="3094053" y="2138262"/>
                  <a:pt x="3135963" y="2147373"/>
                </a:cubicBezTo>
                <a:cubicBezTo>
                  <a:pt x="3126852" y="2147373"/>
                  <a:pt x="3115919" y="2147373"/>
                  <a:pt x="3106808" y="2147373"/>
                </a:cubicBezTo>
                <a:cubicBezTo>
                  <a:pt x="3108630" y="2147373"/>
                  <a:pt x="3110452" y="2143728"/>
                  <a:pt x="3106808" y="2141906"/>
                </a:cubicBezTo>
                <a:cubicBezTo>
                  <a:pt x="3104985" y="2141906"/>
                  <a:pt x="3101341" y="2143728"/>
                  <a:pt x="3101341" y="2145551"/>
                </a:cubicBezTo>
                <a:cubicBezTo>
                  <a:pt x="3101341" y="2147373"/>
                  <a:pt x="3101341" y="2149195"/>
                  <a:pt x="3103163" y="2149195"/>
                </a:cubicBezTo>
                <a:cubicBezTo>
                  <a:pt x="3099519" y="2149195"/>
                  <a:pt x="3095875" y="2149195"/>
                  <a:pt x="3092230" y="2149195"/>
                </a:cubicBezTo>
                <a:cubicBezTo>
                  <a:pt x="3092230" y="2147373"/>
                  <a:pt x="3092230" y="2143728"/>
                  <a:pt x="3090408" y="2143728"/>
                </a:cubicBezTo>
                <a:cubicBezTo>
                  <a:pt x="3086764" y="2143728"/>
                  <a:pt x="3084942" y="2147373"/>
                  <a:pt x="3086764" y="2149195"/>
                </a:cubicBezTo>
                <a:cubicBezTo>
                  <a:pt x="3084942" y="2149195"/>
                  <a:pt x="3083119" y="2149195"/>
                  <a:pt x="3081297" y="2149195"/>
                </a:cubicBezTo>
                <a:cubicBezTo>
                  <a:pt x="3081297" y="2147373"/>
                  <a:pt x="3083119" y="2145551"/>
                  <a:pt x="3079475" y="2143728"/>
                </a:cubicBezTo>
                <a:cubicBezTo>
                  <a:pt x="3075831" y="2141906"/>
                  <a:pt x="3074009" y="2147373"/>
                  <a:pt x="3075831" y="2149195"/>
                </a:cubicBezTo>
                <a:cubicBezTo>
                  <a:pt x="3072187" y="2145551"/>
                  <a:pt x="3068542" y="2143728"/>
                  <a:pt x="3063076" y="2140084"/>
                </a:cubicBezTo>
                <a:cubicBezTo>
                  <a:pt x="3064898" y="2140084"/>
                  <a:pt x="3066720" y="2138262"/>
                  <a:pt x="3064898" y="2136440"/>
                </a:cubicBezTo>
                <a:cubicBezTo>
                  <a:pt x="3063076" y="2134618"/>
                  <a:pt x="3063076" y="2132795"/>
                  <a:pt x="3061253" y="2132795"/>
                </a:cubicBezTo>
                <a:cubicBezTo>
                  <a:pt x="3059431" y="2130973"/>
                  <a:pt x="3057609" y="2134618"/>
                  <a:pt x="3057609" y="2136440"/>
                </a:cubicBezTo>
                <a:cubicBezTo>
                  <a:pt x="3048498" y="2130973"/>
                  <a:pt x="3039387" y="2127329"/>
                  <a:pt x="3030276" y="2123685"/>
                </a:cubicBezTo>
                <a:cubicBezTo>
                  <a:pt x="3032098" y="2123685"/>
                  <a:pt x="3033921" y="2123685"/>
                  <a:pt x="3033921" y="2121862"/>
                </a:cubicBezTo>
                <a:cubicBezTo>
                  <a:pt x="3033921" y="2120040"/>
                  <a:pt x="3032098" y="2116395"/>
                  <a:pt x="3030276" y="2116395"/>
                </a:cubicBezTo>
                <a:cubicBezTo>
                  <a:pt x="3026632" y="2116395"/>
                  <a:pt x="3024810" y="2120040"/>
                  <a:pt x="3026632" y="2121862"/>
                </a:cubicBezTo>
                <a:cubicBezTo>
                  <a:pt x="3026632" y="2123685"/>
                  <a:pt x="3026632" y="2123685"/>
                  <a:pt x="3026632" y="2123685"/>
                </a:cubicBezTo>
                <a:cubicBezTo>
                  <a:pt x="3021166" y="2121862"/>
                  <a:pt x="3015699" y="2120040"/>
                  <a:pt x="3010232" y="2118217"/>
                </a:cubicBezTo>
                <a:cubicBezTo>
                  <a:pt x="2955567" y="2099995"/>
                  <a:pt x="2897258" y="2099995"/>
                  <a:pt x="2838948" y="2107284"/>
                </a:cubicBezTo>
                <a:cubicBezTo>
                  <a:pt x="2798859" y="2090884"/>
                  <a:pt x="2735083" y="2059908"/>
                  <a:pt x="2715039" y="2019821"/>
                </a:cubicBezTo>
                <a:cubicBezTo>
                  <a:pt x="2736450" y="2016176"/>
                  <a:pt x="2758544" y="2014924"/>
                  <a:pt x="2780752" y="2015635"/>
                </a:cubicBezTo>
                <a:close/>
                <a:moveTo>
                  <a:pt x="3453019" y="2010742"/>
                </a:moveTo>
                <a:lnTo>
                  <a:pt x="3469419" y="2010742"/>
                </a:lnTo>
                <a:lnTo>
                  <a:pt x="3453019" y="2025327"/>
                </a:lnTo>
                <a:close/>
                <a:moveTo>
                  <a:pt x="3371023" y="1996184"/>
                </a:moveTo>
                <a:lnTo>
                  <a:pt x="3392889" y="2003478"/>
                </a:lnTo>
                <a:lnTo>
                  <a:pt x="3400178" y="2025368"/>
                </a:lnTo>
                <a:lnTo>
                  <a:pt x="3378311" y="2025368"/>
                </a:lnTo>
                <a:lnTo>
                  <a:pt x="3387422" y="2010778"/>
                </a:lnTo>
                <a:lnTo>
                  <a:pt x="3363734" y="2010778"/>
                </a:lnTo>
                <a:close/>
                <a:moveTo>
                  <a:pt x="3431154" y="1994361"/>
                </a:moveTo>
                <a:lnTo>
                  <a:pt x="3445731" y="2003467"/>
                </a:lnTo>
                <a:lnTo>
                  <a:pt x="3432976" y="2019880"/>
                </a:lnTo>
                <a:lnTo>
                  <a:pt x="3425687" y="2008937"/>
                </a:lnTo>
                <a:close/>
                <a:moveTo>
                  <a:pt x="980330" y="1987062"/>
                </a:moveTo>
                <a:lnTo>
                  <a:pt x="980330" y="2000561"/>
                </a:lnTo>
                <a:lnTo>
                  <a:pt x="987618" y="1996186"/>
                </a:lnTo>
                <a:lnTo>
                  <a:pt x="1002195" y="2003478"/>
                </a:lnTo>
                <a:lnTo>
                  <a:pt x="1016774" y="1987095"/>
                </a:lnTo>
                <a:lnTo>
                  <a:pt x="1024063" y="2001655"/>
                </a:lnTo>
                <a:cubicBezTo>
                  <a:pt x="1004018" y="2010778"/>
                  <a:pt x="1029529" y="2008949"/>
                  <a:pt x="1000374" y="2008949"/>
                </a:cubicBezTo>
                <a:cubicBezTo>
                  <a:pt x="992174" y="2008949"/>
                  <a:pt x="986707" y="2010318"/>
                  <a:pt x="983291" y="2010092"/>
                </a:cubicBezTo>
                <a:lnTo>
                  <a:pt x="978710" y="2002012"/>
                </a:lnTo>
                <a:lnTo>
                  <a:pt x="963930" y="1988882"/>
                </a:lnTo>
                <a:close/>
                <a:moveTo>
                  <a:pt x="1084194" y="1987022"/>
                </a:moveTo>
                <a:lnTo>
                  <a:pt x="1069616" y="2001598"/>
                </a:lnTo>
                <a:lnTo>
                  <a:pt x="1084194" y="2008887"/>
                </a:lnTo>
                <a:lnTo>
                  <a:pt x="1093305" y="2003420"/>
                </a:lnTo>
                <a:close/>
                <a:moveTo>
                  <a:pt x="1115171" y="1979733"/>
                </a:moveTo>
                <a:lnTo>
                  <a:pt x="1098771" y="1981554"/>
                </a:lnTo>
                <a:lnTo>
                  <a:pt x="1113349" y="1996132"/>
                </a:lnTo>
                <a:close/>
                <a:moveTo>
                  <a:pt x="3422043" y="1977967"/>
                </a:moveTo>
                <a:lnTo>
                  <a:pt x="3431154" y="1994352"/>
                </a:lnTo>
                <a:lnTo>
                  <a:pt x="3409288" y="1994352"/>
                </a:lnTo>
                <a:close/>
                <a:moveTo>
                  <a:pt x="3363734" y="1957951"/>
                </a:moveTo>
                <a:lnTo>
                  <a:pt x="3380134" y="1970690"/>
                </a:lnTo>
                <a:lnTo>
                  <a:pt x="3354623" y="1979811"/>
                </a:lnTo>
                <a:close/>
                <a:moveTo>
                  <a:pt x="1078727" y="1957866"/>
                </a:moveTo>
                <a:lnTo>
                  <a:pt x="1069616" y="1979733"/>
                </a:lnTo>
                <a:lnTo>
                  <a:pt x="1095127" y="1972444"/>
                </a:lnTo>
                <a:close/>
                <a:moveTo>
                  <a:pt x="2817081" y="1956045"/>
                </a:moveTo>
                <a:cubicBezTo>
                  <a:pt x="2838947" y="1959690"/>
                  <a:pt x="2860813" y="1961512"/>
                  <a:pt x="2880857" y="1963334"/>
                </a:cubicBezTo>
                <a:cubicBezTo>
                  <a:pt x="2942812" y="1970623"/>
                  <a:pt x="3004766" y="1972445"/>
                  <a:pt x="3072187" y="1981557"/>
                </a:cubicBezTo>
                <a:cubicBezTo>
                  <a:pt x="3145074" y="1996133"/>
                  <a:pt x="3223427" y="2019821"/>
                  <a:pt x="3289025" y="2059908"/>
                </a:cubicBezTo>
                <a:cubicBezTo>
                  <a:pt x="3289025" y="2059908"/>
                  <a:pt x="3290848" y="2061729"/>
                  <a:pt x="3290848" y="2061729"/>
                </a:cubicBezTo>
                <a:cubicBezTo>
                  <a:pt x="3221605" y="2034398"/>
                  <a:pt x="3143251" y="2023466"/>
                  <a:pt x="3068542" y="2019821"/>
                </a:cubicBezTo>
                <a:cubicBezTo>
                  <a:pt x="3068542" y="2019821"/>
                  <a:pt x="3072187" y="2027109"/>
                  <a:pt x="3074009" y="2027109"/>
                </a:cubicBezTo>
                <a:cubicBezTo>
                  <a:pt x="3094053" y="2030753"/>
                  <a:pt x="3112274" y="2030753"/>
                  <a:pt x="3132318" y="2032577"/>
                </a:cubicBezTo>
                <a:cubicBezTo>
                  <a:pt x="3154184" y="2036220"/>
                  <a:pt x="3177873" y="2043510"/>
                  <a:pt x="3199739" y="2048975"/>
                </a:cubicBezTo>
                <a:cubicBezTo>
                  <a:pt x="3228893" y="2056264"/>
                  <a:pt x="3259870" y="2065374"/>
                  <a:pt x="3289025" y="2076308"/>
                </a:cubicBezTo>
                <a:cubicBezTo>
                  <a:pt x="3267159" y="2074486"/>
                  <a:pt x="3243471" y="2074486"/>
                  <a:pt x="3221605" y="2070841"/>
                </a:cubicBezTo>
                <a:cubicBezTo>
                  <a:pt x="3179695" y="2065374"/>
                  <a:pt x="3139607" y="2048975"/>
                  <a:pt x="3099519" y="2039865"/>
                </a:cubicBezTo>
                <a:cubicBezTo>
                  <a:pt x="3097697" y="2039865"/>
                  <a:pt x="3088586" y="2041687"/>
                  <a:pt x="3094053" y="2043510"/>
                </a:cubicBezTo>
                <a:cubicBezTo>
                  <a:pt x="3130496" y="2052620"/>
                  <a:pt x="3163295" y="2067197"/>
                  <a:pt x="3199739" y="2076308"/>
                </a:cubicBezTo>
                <a:cubicBezTo>
                  <a:pt x="3236182" y="2085418"/>
                  <a:pt x="3274448" y="2081774"/>
                  <a:pt x="3310891" y="2089064"/>
                </a:cubicBezTo>
                <a:cubicBezTo>
                  <a:pt x="3285381" y="2096352"/>
                  <a:pt x="3254404" y="2101817"/>
                  <a:pt x="3228893" y="2098175"/>
                </a:cubicBezTo>
                <a:cubicBezTo>
                  <a:pt x="3197917" y="2094529"/>
                  <a:pt x="3165117" y="2081774"/>
                  <a:pt x="3137785" y="2070841"/>
                </a:cubicBezTo>
                <a:cubicBezTo>
                  <a:pt x="3134140" y="2070841"/>
                  <a:pt x="3125030" y="2072663"/>
                  <a:pt x="3130496" y="2074486"/>
                </a:cubicBezTo>
                <a:cubicBezTo>
                  <a:pt x="3181517" y="2103640"/>
                  <a:pt x="3243471" y="2114572"/>
                  <a:pt x="3299958" y="2105463"/>
                </a:cubicBezTo>
                <a:cubicBezTo>
                  <a:pt x="3287203" y="2109107"/>
                  <a:pt x="3272626" y="2112752"/>
                  <a:pt x="3259870" y="2114572"/>
                </a:cubicBezTo>
                <a:cubicBezTo>
                  <a:pt x="3254404" y="2114572"/>
                  <a:pt x="3250759" y="2114572"/>
                  <a:pt x="3247115" y="2114572"/>
                </a:cubicBezTo>
                <a:cubicBezTo>
                  <a:pt x="3212494" y="2112752"/>
                  <a:pt x="3177873" y="2098175"/>
                  <a:pt x="3145074" y="2101817"/>
                </a:cubicBezTo>
                <a:cubicBezTo>
                  <a:pt x="3139607" y="2101817"/>
                  <a:pt x="3139607" y="2109107"/>
                  <a:pt x="3143251" y="2110929"/>
                </a:cubicBezTo>
                <a:cubicBezTo>
                  <a:pt x="3166940" y="2123684"/>
                  <a:pt x="3194272" y="2130973"/>
                  <a:pt x="3221605" y="2134618"/>
                </a:cubicBezTo>
                <a:cubicBezTo>
                  <a:pt x="3207027" y="2138262"/>
                  <a:pt x="3194272" y="2136440"/>
                  <a:pt x="3179695" y="2134618"/>
                </a:cubicBezTo>
                <a:cubicBezTo>
                  <a:pt x="3146896" y="2129151"/>
                  <a:pt x="3115919" y="2112752"/>
                  <a:pt x="3083120" y="2103640"/>
                </a:cubicBezTo>
                <a:cubicBezTo>
                  <a:pt x="3081298" y="2103640"/>
                  <a:pt x="3084942" y="2112752"/>
                  <a:pt x="3086764" y="2112752"/>
                </a:cubicBezTo>
                <a:cubicBezTo>
                  <a:pt x="3110452" y="2120040"/>
                  <a:pt x="3132318" y="2132795"/>
                  <a:pt x="3156007" y="2141906"/>
                </a:cubicBezTo>
                <a:cubicBezTo>
                  <a:pt x="3106808" y="2132795"/>
                  <a:pt x="3061254" y="2116396"/>
                  <a:pt x="3019343" y="2089064"/>
                </a:cubicBezTo>
                <a:cubicBezTo>
                  <a:pt x="3006588" y="2079951"/>
                  <a:pt x="2993833" y="2070841"/>
                  <a:pt x="2982900" y="2059908"/>
                </a:cubicBezTo>
                <a:cubicBezTo>
                  <a:pt x="2982900" y="2059908"/>
                  <a:pt x="2982900" y="2058087"/>
                  <a:pt x="2981078" y="2058087"/>
                </a:cubicBezTo>
                <a:cubicBezTo>
                  <a:pt x="2966501" y="2045331"/>
                  <a:pt x="2951923" y="2032577"/>
                  <a:pt x="2935524" y="2021644"/>
                </a:cubicBezTo>
                <a:cubicBezTo>
                  <a:pt x="2899079" y="1996133"/>
                  <a:pt x="2857169" y="1976089"/>
                  <a:pt x="2817081" y="1956045"/>
                </a:cubicBezTo>
                <a:close/>
                <a:moveTo>
                  <a:pt x="3385599" y="1941539"/>
                </a:moveTo>
                <a:cubicBezTo>
                  <a:pt x="3401999" y="1954292"/>
                  <a:pt x="3396532" y="1943361"/>
                  <a:pt x="3400177" y="1963392"/>
                </a:cubicBezTo>
                <a:cubicBezTo>
                  <a:pt x="3381955" y="1952474"/>
                  <a:pt x="3391066" y="1961570"/>
                  <a:pt x="3385599" y="1941539"/>
                </a:cubicBezTo>
                <a:close/>
                <a:moveTo>
                  <a:pt x="1053217" y="1941468"/>
                </a:moveTo>
                <a:lnTo>
                  <a:pt x="1040462" y="1957866"/>
                </a:lnTo>
                <a:lnTo>
                  <a:pt x="1055040" y="1957866"/>
                </a:lnTo>
                <a:lnTo>
                  <a:pt x="1055040" y="1972444"/>
                </a:lnTo>
                <a:lnTo>
                  <a:pt x="1038639" y="1981554"/>
                </a:lnTo>
                <a:lnTo>
                  <a:pt x="1055040" y="1994309"/>
                </a:lnTo>
                <a:lnTo>
                  <a:pt x="1055040" y="1972444"/>
                </a:lnTo>
                <a:cubicBezTo>
                  <a:pt x="1073262" y="1972444"/>
                  <a:pt x="1056861" y="1946934"/>
                  <a:pt x="1053217" y="1941468"/>
                </a:cubicBezTo>
                <a:close/>
                <a:moveTo>
                  <a:pt x="3693548" y="1932443"/>
                </a:moveTo>
                <a:lnTo>
                  <a:pt x="3702659" y="1948841"/>
                </a:lnTo>
                <a:lnTo>
                  <a:pt x="3678970" y="1948841"/>
                </a:lnTo>
                <a:close/>
                <a:moveTo>
                  <a:pt x="969397" y="1927075"/>
                </a:moveTo>
                <a:lnTo>
                  <a:pt x="969397" y="1934298"/>
                </a:lnTo>
                <a:cubicBezTo>
                  <a:pt x="940241" y="1934298"/>
                  <a:pt x="951175" y="1936117"/>
                  <a:pt x="932953" y="1948871"/>
                </a:cubicBezTo>
                <a:lnTo>
                  <a:pt x="916553" y="1928838"/>
                </a:lnTo>
                <a:close/>
                <a:moveTo>
                  <a:pt x="969397" y="1927014"/>
                </a:moveTo>
                <a:lnTo>
                  <a:pt x="971219" y="1927014"/>
                </a:lnTo>
                <a:lnTo>
                  <a:pt x="969397" y="1927075"/>
                </a:lnTo>
                <a:close/>
                <a:moveTo>
                  <a:pt x="1007663" y="1903276"/>
                </a:moveTo>
                <a:lnTo>
                  <a:pt x="1018596" y="1919682"/>
                </a:lnTo>
                <a:lnTo>
                  <a:pt x="993085" y="1917864"/>
                </a:lnTo>
                <a:close/>
                <a:moveTo>
                  <a:pt x="3309068" y="1903200"/>
                </a:moveTo>
                <a:cubicBezTo>
                  <a:pt x="3305424" y="1901378"/>
                  <a:pt x="3301779" y="1906844"/>
                  <a:pt x="3307246" y="1910489"/>
                </a:cubicBezTo>
                <a:cubicBezTo>
                  <a:pt x="3310890" y="1910489"/>
                  <a:pt x="3314534" y="1905022"/>
                  <a:pt x="3309068" y="1903200"/>
                </a:cubicBezTo>
                <a:close/>
                <a:moveTo>
                  <a:pt x="3305424" y="1887293"/>
                </a:moveTo>
                <a:lnTo>
                  <a:pt x="3305424" y="1888727"/>
                </a:lnTo>
                <a:lnTo>
                  <a:pt x="3303602" y="1888727"/>
                </a:lnTo>
                <a:close/>
                <a:moveTo>
                  <a:pt x="3064896" y="1877690"/>
                </a:moveTo>
                <a:cubicBezTo>
                  <a:pt x="3132318" y="1894090"/>
                  <a:pt x="3197916" y="1923245"/>
                  <a:pt x="3258048" y="1957866"/>
                </a:cubicBezTo>
                <a:cubicBezTo>
                  <a:pt x="3267159" y="1974265"/>
                  <a:pt x="3276270" y="1992487"/>
                  <a:pt x="3281736" y="2010709"/>
                </a:cubicBezTo>
                <a:cubicBezTo>
                  <a:pt x="3281736" y="2014353"/>
                  <a:pt x="3283558" y="2019821"/>
                  <a:pt x="3285380" y="2023465"/>
                </a:cubicBezTo>
                <a:cubicBezTo>
                  <a:pt x="3281736" y="2016176"/>
                  <a:pt x="3278092" y="2008888"/>
                  <a:pt x="3274447" y="2003420"/>
                </a:cubicBezTo>
                <a:cubicBezTo>
                  <a:pt x="3267159" y="1990665"/>
                  <a:pt x="3261692" y="1976089"/>
                  <a:pt x="3250759" y="1963332"/>
                </a:cubicBezTo>
                <a:cubicBezTo>
                  <a:pt x="3248937" y="1961510"/>
                  <a:pt x="3248937" y="1968799"/>
                  <a:pt x="3250759" y="1970621"/>
                </a:cubicBezTo>
                <a:cubicBezTo>
                  <a:pt x="3261692" y="1983376"/>
                  <a:pt x="3268981" y="2001598"/>
                  <a:pt x="3276270" y="2016176"/>
                </a:cubicBezTo>
                <a:cubicBezTo>
                  <a:pt x="3278092" y="2017998"/>
                  <a:pt x="3278092" y="2021642"/>
                  <a:pt x="3279914" y="2023465"/>
                </a:cubicBezTo>
                <a:cubicBezTo>
                  <a:pt x="3276270" y="2021642"/>
                  <a:pt x="3274447" y="2017998"/>
                  <a:pt x="3272625" y="2016176"/>
                </a:cubicBezTo>
                <a:cubicBezTo>
                  <a:pt x="3258048" y="1999777"/>
                  <a:pt x="3247115" y="1979733"/>
                  <a:pt x="3228893" y="1965155"/>
                </a:cubicBezTo>
                <a:cubicBezTo>
                  <a:pt x="3225249" y="1963332"/>
                  <a:pt x="3217960" y="1965155"/>
                  <a:pt x="3221604" y="1968799"/>
                </a:cubicBezTo>
                <a:cubicBezTo>
                  <a:pt x="3236182" y="1983376"/>
                  <a:pt x="3248937" y="2001598"/>
                  <a:pt x="3259870" y="2019821"/>
                </a:cubicBezTo>
                <a:cubicBezTo>
                  <a:pt x="3254404" y="2014353"/>
                  <a:pt x="3250759" y="2008888"/>
                  <a:pt x="3245293" y="2003420"/>
                </a:cubicBezTo>
                <a:cubicBezTo>
                  <a:pt x="3228893" y="1985198"/>
                  <a:pt x="3210671" y="1970621"/>
                  <a:pt x="3190627" y="1956044"/>
                </a:cubicBezTo>
                <a:cubicBezTo>
                  <a:pt x="3185161" y="1952399"/>
                  <a:pt x="3181517" y="1959688"/>
                  <a:pt x="3185161" y="1963332"/>
                </a:cubicBezTo>
                <a:cubicBezTo>
                  <a:pt x="3196094" y="1974265"/>
                  <a:pt x="3207027" y="1983376"/>
                  <a:pt x="3216138" y="1994309"/>
                </a:cubicBezTo>
                <a:cubicBezTo>
                  <a:pt x="3212494" y="1992487"/>
                  <a:pt x="3210671" y="1990665"/>
                  <a:pt x="3208849" y="1988843"/>
                </a:cubicBezTo>
                <a:cubicBezTo>
                  <a:pt x="3188805" y="1974265"/>
                  <a:pt x="3166939" y="1963332"/>
                  <a:pt x="3146895" y="1948755"/>
                </a:cubicBezTo>
                <a:cubicBezTo>
                  <a:pt x="3143251" y="1946933"/>
                  <a:pt x="3137784" y="1950577"/>
                  <a:pt x="3141429" y="1954222"/>
                </a:cubicBezTo>
                <a:cubicBezTo>
                  <a:pt x="3161473" y="1970621"/>
                  <a:pt x="3181517" y="1981554"/>
                  <a:pt x="3199738" y="1997954"/>
                </a:cubicBezTo>
                <a:cubicBezTo>
                  <a:pt x="3203383" y="2003420"/>
                  <a:pt x="3207027" y="2007066"/>
                  <a:pt x="3212494" y="2012532"/>
                </a:cubicBezTo>
                <a:cubicBezTo>
                  <a:pt x="3196094" y="2005242"/>
                  <a:pt x="3177872" y="1997954"/>
                  <a:pt x="3159650" y="1992487"/>
                </a:cubicBezTo>
                <a:cubicBezTo>
                  <a:pt x="3121385" y="1966977"/>
                  <a:pt x="3081296" y="1926889"/>
                  <a:pt x="3064896" y="1877690"/>
                </a:cubicBezTo>
                <a:close/>
                <a:moveTo>
                  <a:pt x="645051" y="1870439"/>
                </a:moveTo>
                <a:cubicBezTo>
                  <a:pt x="645051" y="1881372"/>
                  <a:pt x="641407" y="1894126"/>
                  <a:pt x="637761" y="1903240"/>
                </a:cubicBezTo>
                <a:cubicBezTo>
                  <a:pt x="637761" y="1899596"/>
                  <a:pt x="639583" y="1894126"/>
                  <a:pt x="635939" y="1894126"/>
                </a:cubicBezTo>
                <a:cubicBezTo>
                  <a:pt x="621362" y="1895948"/>
                  <a:pt x="628650" y="1908708"/>
                  <a:pt x="615895" y="1903240"/>
                </a:cubicBezTo>
                <a:cubicBezTo>
                  <a:pt x="630473" y="1895948"/>
                  <a:pt x="641407" y="1885017"/>
                  <a:pt x="645051" y="1870439"/>
                </a:cubicBezTo>
                <a:close/>
                <a:moveTo>
                  <a:pt x="3651638" y="1866874"/>
                </a:moveTo>
                <a:lnTo>
                  <a:pt x="3682615" y="1896020"/>
                </a:lnTo>
                <a:lnTo>
                  <a:pt x="3671682" y="1919725"/>
                </a:lnTo>
                <a:lnTo>
                  <a:pt x="3642527" y="1919725"/>
                </a:lnTo>
                <a:cubicBezTo>
                  <a:pt x="3637061" y="1897843"/>
                  <a:pt x="3635238" y="1905138"/>
                  <a:pt x="3635238" y="1888739"/>
                </a:cubicBezTo>
                <a:cubicBezTo>
                  <a:pt x="3635238" y="1885097"/>
                  <a:pt x="3646171" y="1872343"/>
                  <a:pt x="3651638" y="1866874"/>
                </a:cubicBezTo>
                <a:close/>
                <a:moveTo>
                  <a:pt x="1033173" y="1866825"/>
                </a:moveTo>
                <a:lnTo>
                  <a:pt x="1024062" y="1881403"/>
                </a:lnTo>
                <a:lnTo>
                  <a:pt x="1007663" y="1868648"/>
                </a:lnTo>
                <a:close/>
                <a:moveTo>
                  <a:pt x="1093305" y="1866758"/>
                </a:moveTo>
                <a:lnTo>
                  <a:pt x="1084194" y="1881336"/>
                </a:lnTo>
                <a:lnTo>
                  <a:pt x="1100593" y="1881336"/>
                </a:lnTo>
                <a:lnTo>
                  <a:pt x="1100593" y="1897735"/>
                </a:lnTo>
                <a:lnTo>
                  <a:pt x="1116993" y="1886802"/>
                </a:lnTo>
                <a:close/>
                <a:moveTo>
                  <a:pt x="3228892" y="1864934"/>
                </a:moveTo>
                <a:cubicBezTo>
                  <a:pt x="3245292" y="1875867"/>
                  <a:pt x="3265336" y="1881334"/>
                  <a:pt x="3278091" y="1883156"/>
                </a:cubicBezTo>
                <a:cubicBezTo>
                  <a:pt x="3278091" y="1884978"/>
                  <a:pt x="3276269" y="1886800"/>
                  <a:pt x="3276269" y="1888623"/>
                </a:cubicBezTo>
                <a:cubicBezTo>
                  <a:pt x="3278091" y="1892267"/>
                  <a:pt x="3281736" y="1890445"/>
                  <a:pt x="3283558" y="1890445"/>
                </a:cubicBezTo>
                <a:cubicBezTo>
                  <a:pt x="3283558" y="1888623"/>
                  <a:pt x="3283558" y="1886800"/>
                  <a:pt x="3283558" y="1884978"/>
                </a:cubicBezTo>
                <a:cubicBezTo>
                  <a:pt x="3283558" y="1886800"/>
                  <a:pt x="3285380" y="1886800"/>
                  <a:pt x="3287202" y="1886800"/>
                </a:cubicBezTo>
                <a:cubicBezTo>
                  <a:pt x="3287202" y="1890445"/>
                  <a:pt x="3281736" y="1895911"/>
                  <a:pt x="3274447" y="1892267"/>
                </a:cubicBezTo>
                <a:cubicBezTo>
                  <a:pt x="3274447" y="1890445"/>
                  <a:pt x="3272625" y="1890445"/>
                  <a:pt x="3272625" y="1890445"/>
                </a:cubicBezTo>
                <a:lnTo>
                  <a:pt x="3268980" y="1895911"/>
                </a:lnTo>
                <a:lnTo>
                  <a:pt x="3290846" y="1895911"/>
                </a:lnTo>
                <a:lnTo>
                  <a:pt x="3305424" y="1895911"/>
                </a:lnTo>
                <a:lnTo>
                  <a:pt x="3321823" y="1917777"/>
                </a:lnTo>
                <a:cubicBezTo>
                  <a:pt x="3321823" y="1917777"/>
                  <a:pt x="3320001" y="1917777"/>
                  <a:pt x="3320001" y="1917777"/>
                </a:cubicBezTo>
                <a:cubicBezTo>
                  <a:pt x="3294491" y="1919600"/>
                  <a:pt x="3299957" y="1914133"/>
                  <a:pt x="3292668" y="1939643"/>
                </a:cubicBezTo>
                <a:lnTo>
                  <a:pt x="3309068" y="1939643"/>
                </a:lnTo>
                <a:lnTo>
                  <a:pt x="3301779" y="1954221"/>
                </a:lnTo>
                <a:lnTo>
                  <a:pt x="3323645" y="1954221"/>
                </a:lnTo>
                <a:cubicBezTo>
                  <a:pt x="3314534" y="1934177"/>
                  <a:pt x="3310890" y="1946932"/>
                  <a:pt x="3330934" y="1932355"/>
                </a:cubicBezTo>
                <a:lnTo>
                  <a:pt x="3330934" y="1946932"/>
                </a:lnTo>
                <a:lnTo>
                  <a:pt x="3345512" y="1946932"/>
                </a:lnTo>
                <a:cubicBezTo>
                  <a:pt x="3329112" y="1972443"/>
                  <a:pt x="3332756" y="1952399"/>
                  <a:pt x="3330934" y="1985198"/>
                </a:cubicBezTo>
                <a:cubicBezTo>
                  <a:pt x="3350978" y="1972443"/>
                  <a:pt x="3338223" y="1981553"/>
                  <a:pt x="3345512" y="1985198"/>
                </a:cubicBezTo>
                <a:cubicBezTo>
                  <a:pt x="3347334" y="1988842"/>
                  <a:pt x="3349156" y="1990664"/>
                  <a:pt x="3350978" y="1990664"/>
                </a:cubicBezTo>
                <a:cubicBezTo>
                  <a:pt x="3349156" y="1992486"/>
                  <a:pt x="3347334" y="1996131"/>
                  <a:pt x="3345512" y="1999775"/>
                </a:cubicBezTo>
                <a:lnTo>
                  <a:pt x="3360089" y="2007064"/>
                </a:lnTo>
                <a:lnTo>
                  <a:pt x="3367378" y="2021641"/>
                </a:lnTo>
                <a:lnTo>
                  <a:pt x="3345512" y="2021641"/>
                </a:lnTo>
                <a:lnTo>
                  <a:pt x="3350978" y="2052619"/>
                </a:lnTo>
                <a:lnTo>
                  <a:pt x="3358267" y="2052619"/>
                </a:lnTo>
                <a:lnTo>
                  <a:pt x="3358267" y="2048975"/>
                </a:lnTo>
                <a:cubicBezTo>
                  <a:pt x="3361911" y="2054440"/>
                  <a:pt x="3365555" y="2058085"/>
                  <a:pt x="3369200" y="2063551"/>
                </a:cubicBezTo>
                <a:lnTo>
                  <a:pt x="3360089" y="2074484"/>
                </a:lnTo>
                <a:lnTo>
                  <a:pt x="3364243" y="2080023"/>
                </a:lnTo>
                <a:lnTo>
                  <a:pt x="3345511" y="2063779"/>
                </a:lnTo>
                <a:cubicBezTo>
                  <a:pt x="3336400" y="2054440"/>
                  <a:pt x="3328201" y="2044419"/>
                  <a:pt x="3321823" y="2034397"/>
                </a:cubicBezTo>
                <a:lnTo>
                  <a:pt x="3336401" y="2030752"/>
                </a:lnTo>
                <a:lnTo>
                  <a:pt x="3336401" y="2023463"/>
                </a:lnTo>
                <a:lnTo>
                  <a:pt x="3312712" y="2023463"/>
                </a:lnTo>
                <a:lnTo>
                  <a:pt x="3321823" y="2008886"/>
                </a:lnTo>
                <a:lnTo>
                  <a:pt x="3299957" y="2008886"/>
                </a:lnTo>
                <a:cubicBezTo>
                  <a:pt x="3312712" y="2041685"/>
                  <a:pt x="3294491" y="2008886"/>
                  <a:pt x="3307246" y="2039863"/>
                </a:cubicBezTo>
                <a:lnTo>
                  <a:pt x="3321823" y="2036219"/>
                </a:lnTo>
                <a:cubicBezTo>
                  <a:pt x="3321823" y="2039863"/>
                  <a:pt x="3321823" y="2041685"/>
                  <a:pt x="3321823" y="2043507"/>
                </a:cubicBezTo>
                <a:cubicBezTo>
                  <a:pt x="3323645" y="2045331"/>
                  <a:pt x="3323645" y="2047152"/>
                  <a:pt x="3325468" y="2048975"/>
                </a:cubicBezTo>
                <a:lnTo>
                  <a:pt x="3321823" y="2052619"/>
                </a:lnTo>
                <a:cubicBezTo>
                  <a:pt x="3318179" y="2048975"/>
                  <a:pt x="3316357" y="2045331"/>
                  <a:pt x="3314534" y="2041685"/>
                </a:cubicBezTo>
                <a:cubicBezTo>
                  <a:pt x="3312712" y="2039863"/>
                  <a:pt x="3305424" y="2038041"/>
                  <a:pt x="3307246" y="2043507"/>
                </a:cubicBezTo>
                <a:cubicBezTo>
                  <a:pt x="3309068" y="2048975"/>
                  <a:pt x="3310890" y="2054440"/>
                  <a:pt x="3314534" y="2059907"/>
                </a:cubicBezTo>
                <a:lnTo>
                  <a:pt x="3316357" y="2059907"/>
                </a:lnTo>
                <a:cubicBezTo>
                  <a:pt x="3320001" y="2067196"/>
                  <a:pt x="3323645" y="2072662"/>
                  <a:pt x="3327290" y="2078129"/>
                </a:cubicBezTo>
                <a:lnTo>
                  <a:pt x="3325468" y="2079951"/>
                </a:lnTo>
                <a:cubicBezTo>
                  <a:pt x="3321823" y="2076306"/>
                  <a:pt x="3318179" y="2070840"/>
                  <a:pt x="3314534" y="2065373"/>
                </a:cubicBezTo>
                <a:cubicBezTo>
                  <a:pt x="3301779" y="2043507"/>
                  <a:pt x="3296313" y="2017997"/>
                  <a:pt x="3287202" y="1994309"/>
                </a:cubicBezTo>
                <a:cubicBezTo>
                  <a:pt x="3283558" y="1981553"/>
                  <a:pt x="3276269" y="1966977"/>
                  <a:pt x="3268980" y="1954221"/>
                </a:cubicBezTo>
                <a:cubicBezTo>
                  <a:pt x="3268980" y="1952399"/>
                  <a:pt x="3268980" y="1952399"/>
                  <a:pt x="3267158" y="1950577"/>
                </a:cubicBezTo>
                <a:cubicBezTo>
                  <a:pt x="3258047" y="1935999"/>
                  <a:pt x="3250758" y="1921422"/>
                  <a:pt x="3243470" y="1905022"/>
                </a:cubicBezTo>
                <a:cubicBezTo>
                  <a:pt x="3238003" y="1892267"/>
                  <a:pt x="3232537" y="1877690"/>
                  <a:pt x="3228892" y="1864934"/>
                </a:cubicBezTo>
                <a:close/>
                <a:moveTo>
                  <a:pt x="3327291" y="1859576"/>
                </a:moveTo>
                <a:lnTo>
                  <a:pt x="3343690" y="1872331"/>
                </a:lnTo>
                <a:cubicBezTo>
                  <a:pt x="3317724" y="1875066"/>
                  <a:pt x="3321482" y="1873697"/>
                  <a:pt x="3314991" y="1879761"/>
                </a:cubicBezTo>
                <a:lnTo>
                  <a:pt x="3305424" y="1887293"/>
                </a:lnTo>
                <a:lnTo>
                  <a:pt x="3305424" y="1866865"/>
                </a:lnTo>
                <a:close/>
                <a:moveTo>
                  <a:pt x="3748211" y="1857741"/>
                </a:moveTo>
                <a:cubicBezTo>
                  <a:pt x="3770077" y="1875964"/>
                  <a:pt x="3759144" y="1854098"/>
                  <a:pt x="3762789" y="1888714"/>
                </a:cubicBezTo>
                <a:cubicBezTo>
                  <a:pt x="3739100" y="1874142"/>
                  <a:pt x="3750033" y="1892359"/>
                  <a:pt x="3748211" y="1857741"/>
                </a:cubicBezTo>
                <a:close/>
                <a:moveTo>
                  <a:pt x="4404194" y="1852254"/>
                </a:moveTo>
                <a:lnTo>
                  <a:pt x="4420594" y="1865009"/>
                </a:lnTo>
                <a:lnTo>
                  <a:pt x="4404194" y="1874122"/>
                </a:lnTo>
                <a:close/>
                <a:moveTo>
                  <a:pt x="3283558" y="1837604"/>
                </a:moveTo>
                <a:lnTo>
                  <a:pt x="3284718" y="1838432"/>
                </a:lnTo>
                <a:lnTo>
                  <a:pt x="3283987" y="1838675"/>
                </a:lnTo>
                <a:close/>
                <a:moveTo>
                  <a:pt x="1098771" y="1835781"/>
                </a:moveTo>
                <a:lnTo>
                  <a:pt x="1084194" y="1852181"/>
                </a:lnTo>
                <a:lnTo>
                  <a:pt x="1098771" y="1859470"/>
                </a:lnTo>
                <a:lnTo>
                  <a:pt x="1107882" y="1852181"/>
                </a:lnTo>
                <a:close/>
                <a:moveTo>
                  <a:pt x="1129748" y="1830315"/>
                </a:moveTo>
                <a:lnTo>
                  <a:pt x="1113349" y="1832137"/>
                </a:lnTo>
                <a:lnTo>
                  <a:pt x="1129748" y="1844892"/>
                </a:lnTo>
                <a:lnTo>
                  <a:pt x="1138859" y="1861292"/>
                </a:lnTo>
                <a:lnTo>
                  <a:pt x="1151614" y="1844892"/>
                </a:lnTo>
                <a:lnTo>
                  <a:pt x="1129748" y="1844892"/>
                </a:lnTo>
                <a:close/>
                <a:moveTo>
                  <a:pt x="3294491" y="1823143"/>
                </a:moveTo>
                <a:cubicBezTo>
                  <a:pt x="3320002" y="1828607"/>
                  <a:pt x="3316357" y="1823143"/>
                  <a:pt x="3332757" y="1830430"/>
                </a:cubicBezTo>
                <a:lnTo>
                  <a:pt x="3325468" y="1845007"/>
                </a:lnTo>
                <a:lnTo>
                  <a:pt x="3325468" y="1859583"/>
                </a:lnTo>
                <a:cubicBezTo>
                  <a:pt x="3307246" y="1846829"/>
                  <a:pt x="3301780" y="1846829"/>
                  <a:pt x="3294491" y="1823143"/>
                </a:cubicBezTo>
                <a:close/>
                <a:moveTo>
                  <a:pt x="1025884" y="1804912"/>
                </a:moveTo>
                <a:lnTo>
                  <a:pt x="1049573" y="1826775"/>
                </a:lnTo>
                <a:lnTo>
                  <a:pt x="1018596" y="1835885"/>
                </a:lnTo>
                <a:cubicBezTo>
                  <a:pt x="1031350" y="1803090"/>
                  <a:pt x="1013129" y="1835885"/>
                  <a:pt x="1025884" y="1804912"/>
                </a:cubicBezTo>
                <a:close/>
                <a:moveTo>
                  <a:pt x="3239826" y="1804805"/>
                </a:moveTo>
                <a:lnTo>
                  <a:pt x="3225248" y="1819382"/>
                </a:lnTo>
                <a:lnTo>
                  <a:pt x="3250759" y="1821204"/>
                </a:lnTo>
                <a:close/>
                <a:moveTo>
                  <a:pt x="3281737" y="1791915"/>
                </a:moveTo>
                <a:lnTo>
                  <a:pt x="3281737" y="1792168"/>
                </a:lnTo>
                <a:lnTo>
                  <a:pt x="3279914" y="1792168"/>
                </a:lnTo>
                <a:close/>
                <a:moveTo>
                  <a:pt x="3168761" y="1786583"/>
                </a:moveTo>
                <a:cubicBezTo>
                  <a:pt x="3166939" y="1788405"/>
                  <a:pt x="3163294" y="1786583"/>
                  <a:pt x="3181516" y="1799338"/>
                </a:cubicBezTo>
                <a:lnTo>
                  <a:pt x="3183338" y="1795694"/>
                </a:lnTo>
                <a:cubicBezTo>
                  <a:pt x="3177872" y="1792049"/>
                  <a:pt x="3172405" y="1790227"/>
                  <a:pt x="3168761" y="1786583"/>
                </a:cubicBezTo>
                <a:close/>
                <a:moveTo>
                  <a:pt x="3210671" y="1784761"/>
                </a:moveTo>
                <a:lnTo>
                  <a:pt x="3219782" y="1799338"/>
                </a:lnTo>
                <a:lnTo>
                  <a:pt x="3230715" y="1788405"/>
                </a:lnTo>
                <a:cubicBezTo>
                  <a:pt x="3230715" y="1788405"/>
                  <a:pt x="3230715" y="1786583"/>
                  <a:pt x="3230715" y="1784761"/>
                </a:cubicBezTo>
                <a:close/>
                <a:moveTo>
                  <a:pt x="603140" y="1784761"/>
                </a:moveTo>
                <a:cubicBezTo>
                  <a:pt x="586741" y="1801160"/>
                  <a:pt x="579452" y="1819382"/>
                  <a:pt x="575808" y="1839426"/>
                </a:cubicBezTo>
                <a:cubicBezTo>
                  <a:pt x="595852" y="1824848"/>
                  <a:pt x="612251" y="1804805"/>
                  <a:pt x="603140" y="1784761"/>
                </a:cubicBezTo>
                <a:close/>
                <a:moveTo>
                  <a:pt x="554983" y="1784592"/>
                </a:moveTo>
                <a:lnTo>
                  <a:pt x="539592" y="1796832"/>
                </a:lnTo>
                <a:cubicBezTo>
                  <a:pt x="531165" y="1805716"/>
                  <a:pt x="523875" y="1815738"/>
                  <a:pt x="517498" y="1826671"/>
                </a:cubicBezTo>
                <a:cubicBezTo>
                  <a:pt x="517498" y="1826671"/>
                  <a:pt x="517498" y="1824848"/>
                  <a:pt x="517498" y="1823026"/>
                </a:cubicBezTo>
                <a:cubicBezTo>
                  <a:pt x="515676" y="1823026"/>
                  <a:pt x="513853" y="1824848"/>
                  <a:pt x="513853" y="1824848"/>
                </a:cubicBezTo>
                <a:cubicBezTo>
                  <a:pt x="519320" y="1815738"/>
                  <a:pt x="530253" y="1810271"/>
                  <a:pt x="532075" y="1801160"/>
                </a:cubicBezTo>
                <a:cubicBezTo>
                  <a:pt x="515676" y="1801160"/>
                  <a:pt x="504743" y="1810271"/>
                  <a:pt x="493809" y="1819382"/>
                </a:cubicBezTo>
                <a:cubicBezTo>
                  <a:pt x="502920" y="1799338"/>
                  <a:pt x="528431" y="1804805"/>
                  <a:pt x="543008" y="1790227"/>
                </a:cubicBezTo>
                <a:cubicBezTo>
                  <a:pt x="541186" y="1790227"/>
                  <a:pt x="537542" y="1788405"/>
                  <a:pt x="535719" y="1788405"/>
                </a:cubicBezTo>
                <a:close/>
                <a:moveTo>
                  <a:pt x="559180" y="1781255"/>
                </a:moveTo>
                <a:lnTo>
                  <a:pt x="557586" y="1784077"/>
                </a:lnTo>
                <a:lnTo>
                  <a:pt x="554983" y="1784592"/>
                </a:lnTo>
                <a:close/>
                <a:moveTo>
                  <a:pt x="594030" y="1772005"/>
                </a:moveTo>
                <a:lnTo>
                  <a:pt x="590385" y="1775042"/>
                </a:lnTo>
                <a:lnTo>
                  <a:pt x="590385" y="1773827"/>
                </a:lnTo>
                <a:cubicBezTo>
                  <a:pt x="586741" y="1773827"/>
                  <a:pt x="586741" y="1779294"/>
                  <a:pt x="583096" y="1781116"/>
                </a:cubicBezTo>
                <a:lnTo>
                  <a:pt x="590385" y="1775042"/>
                </a:lnTo>
                <a:lnTo>
                  <a:pt x="590385" y="1777472"/>
                </a:lnTo>
                <a:cubicBezTo>
                  <a:pt x="592207" y="1775650"/>
                  <a:pt x="592207" y="1773827"/>
                  <a:pt x="594030" y="1772005"/>
                </a:cubicBezTo>
                <a:close/>
                <a:moveTo>
                  <a:pt x="1151614" y="1770183"/>
                </a:moveTo>
                <a:lnTo>
                  <a:pt x="1151614" y="1784761"/>
                </a:lnTo>
                <a:lnTo>
                  <a:pt x="1129748" y="1784761"/>
                </a:lnTo>
                <a:lnTo>
                  <a:pt x="1129748" y="1792049"/>
                </a:lnTo>
                <a:lnTo>
                  <a:pt x="1153436" y="1792049"/>
                </a:lnTo>
                <a:cubicBezTo>
                  <a:pt x="1182592" y="1792049"/>
                  <a:pt x="1155259" y="1793871"/>
                  <a:pt x="1173481" y="1784761"/>
                </a:cubicBezTo>
                <a:cubicBezTo>
                  <a:pt x="1162547" y="1768361"/>
                  <a:pt x="1173481" y="1775650"/>
                  <a:pt x="1151614" y="1770183"/>
                </a:cubicBezTo>
                <a:close/>
                <a:moveTo>
                  <a:pt x="3170583" y="1768361"/>
                </a:moveTo>
                <a:cubicBezTo>
                  <a:pt x="3170583" y="1773827"/>
                  <a:pt x="3176050" y="1773827"/>
                  <a:pt x="3177872" y="1775650"/>
                </a:cubicBezTo>
                <a:cubicBezTo>
                  <a:pt x="3179694" y="1772005"/>
                  <a:pt x="3181516" y="1772005"/>
                  <a:pt x="3183338" y="1768361"/>
                </a:cubicBezTo>
                <a:close/>
                <a:moveTo>
                  <a:pt x="3305425" y="1763015"/>
                </a:moveTo>
                <a:lnTo>
                  <a:pt x="3325469" y="1770302"/>
                </a:lnTo>
                <a:cubicBezTo>
                  <a:pt x="3313169" y="1779864"/>
                  <a:pt x="3310094" y="1786360"/>
                  <a:pt x="3297025" y="1789775"/>
                </a:cubicBezTo>
                <a:lnTo>
                  <a:pt x="3281737" y="1791915"/>
                </a:lnTo>
                <a:lnTo>
                  <a:pt x="3281737" y="1775763"/>
                </a:lnTo>
                <a:lnTo>
                  <a:pt x="3296314" y="1768481"/>
                </a:lnTo>
                <a:close/>
                <a:moveTo>
                  <a:pt x="3363735" y="1761180"/>
                </a:moveTo>
                <a:lnTo>
                  <a:pt x="3371023" y="1784865"/>
                </a:lnTo>
                <a:lnTo>
                  <a:pt x="3361912" y="1790333"/>
                </a:lnTo>
                <a:lnTo>
                  <a:pt x="3341868" y="1770289"/>
                </a:lnTo>
                <a:close/>
                <a:moveTo>
                  <a:pt x="610429" y="1755606"/>
                </a:moveTo>
                <a:cubicBezTo>
                  <a:pt x="606784" y="1757428"/>
                  <a:pt x="601318" y="1764717"/>
                  <a:pt x="599496" y="1770183"/>
                </a:cubicBezTo>
                <a:cubicBezTo>
                  <a:pt x="604963" y="1768361"/>
                  <a:pt x="608606" y="1759250"/>
                  <a:pt x="610429" y="1755606"/>
                </a:cubicBezTo>
                <a:close/>
                <a:moveTo>
                  <a:pt x="3296314" y="1746591"/>
                </a:moveTo>
                <a:lnTo>
                  <a:pt x="3296314" y="1768456"/>
                </a:lnTo>
                <a:lnTo>
                  <a:pt x="3270803" y="1748413"/>
                </a:lnTo>
                <a:close/>
                <a:moveTo>
                  <a:pt x="1175303" y="1739206"/>
                </a:moveTo>
                <a:lnTo>
                  <a:pt x="1175303" y="1761072"/>
                </a:lnTo>
                <a:lnTo>
                  <a:pt x="1197169" y="1739206"/>
                </a:lnTo>
                <a:close/>
                <a:moveTo>
                  <a:pt x="626828" y="1737417"/>
                </a:moveTo>
                <a:cubicBezTo>
                  <a:pt x="626828" y="1739238"/>
                  <a:pt x="626828" y="1739238"/>
                  <a:pt x="626828" y="1739238"/>
                </a:cubicBezTo>
                <a:cubicBezTo>
                  <a:pt x="625005" y="1741061"/>
                  <a:pt x="625005" y="1741061"/>
                  <a:pt x="623183" y="1742883"/>
                </a:cubicBezTo>
                <a:cubicBezTo>
                  <a:pt x="623183" y="1742883"/>
                  <a:pt x="625005" y="1741061"/>
                  <a:pt x="626828" y="1737417"/>
                </a:cubicBezTo>
                <a:close/>
                <a:moveTo>
                  <a:pt x="3241648" y="1722807"/>
                </a:moveTo>
                <a:cubicBezTo>
                  <a:pt x="3239826" y="1724629"/>
                  <a:pt x="3239826" y="1728273"/>
                  <a:pt x="3241648" y="1731918"/>
                </a:cubicBezTo>
                <a:lnTo>
                  <a:pt x="3245292" y="1731918"/>
                </a:lnTo>
                <a:cubicBezTo>
                  <a:pt x="3245292" y="1728273"/>
                  <a:pt x="3245292" y="1726451"/>
                  <a:pt x="3241648" y="1722807"/>
                </a:cubicBezTo>
                <a:close/>
                <a:moveTo>
                  <a:pt x="1169836" y="1719162"/>
                </a:moveTo>
                <a:lnTo>
                  <a:pt x="1169836" y="1722807"/>
                </a:lnTo>
                <a:lnTo>
                  <a:pt x="1175303" y="1720984"/>
                </a:lnTo>
                <a:cubicBezTo>
                  <a:pt x="1171658" y="1720984"/>
                  <a:pt x="1169836" y="1720984"/>
                  <a:pt x="1169836" y="1719162"/>
                </a:cubicBezTo>
                <a:close/>
                <a:moveTo>
                  <a:pt x="899857" y="1714248"/>
                </a:moveTo>
                <a:lnTo>
                  <a:pt x="895371" y="1717568"/>
                </a:lnTo>
                <a:cubicBezTo>
                  <a:pt x="889221" y="1720984"/>
                  <a:pt x="882844" y="1723718"/>
                  <a:pt x="876466" y="1726451"/>
                </a:cubicBezTo>
                <a:close/>
                <a:moveTo>
                  <a:pt x="3225248" y="1713696"/>
                </a:moveTo>
                <a:cubicBezTo>
                  <a:pt x="3227071" y="1719162"/>
                  <a:pt x="3230715" y="1719162"/>
                  <a:pt x="3232537" y="1722807"/>
                </a:cubicBezTo>
                <a:cubicBezTo>
                  <a:pt x="3230715" y="1722807"/>
                  <a:pt x="3228893" y="1720984"/>
                  <a:pt x="3227071" y="1720984"/>
                </a:cubicBezTo>
                <a:cubicBezTo>
                  <a:pt x="3228893" y="1726451"/>
                  <a:pt x="3228893" y="1730095"/>
                  <a:pt x="3230715" y="1733740"/>
                </a:cubicBezTo>
                <a:lnTo>
                  <a:pt x="3234359" y="1733740"/>
                </a:lnTo>
                <a:cubicBezTo>
                  <a:pt x="3232537" y="1730095"/>
                  <a:pt x="3230715" y="1726451"/>
                  <a:pt x="3234359" y="1724629"/>
                </a:cubicBezTo>
                <a:cubicBezTo>
                  <a:pt x="3234359" y="1717340"/>
                  <a:pt x="3232537" y="1713696"/>
                  <a:pt x="3225248" y="1713696"/>
                </a:cubicBezTo>
                <a:close/>
                <a:moveTo>
                  <a:pt x="1166192" y="1713696"/>
                </a:moveTo>
                <a:lnTo>
                  <a:pt x="1166192" y="1715518"/>
                </a:lnTo>
                <a:cubicBezTo>
                  <a:pt x="1168014" y="1715518"/>
                  <a:pt x="1169836" y="1717340"/>
                  <a:pt x="1171658" y="1717340"/>
                </a:cubicBezTo>
                <a:cubicBezTo>
                  <a:pt x="1169836" y="1717340"/>
                  <a:pt x="1168014" y="1715518"/>
                  <a:pt x="1166192" y="1713696"/>
                </a:cubicBezTo>
                <a:close/>
                <a:moveTo>
                  <a:pt x="3238003" y="1710051"/>
                </a:moveTo>
                <a:cubicBezTo>
                  <a:pt x="3239826" y="1711874"/>
                  <a:pt x="3243470" y="1711874"/>
                  <a:pt x="3243470" y="1715518"/>
                </a:cubicBezTo>
                <a:lnTo>
                  <a:pt x="3239691" y="1714573"/>
                </a:lnTo>
                <a:lnTo>
                  <a:pt x="3237761" y="1710536"/>
                </a:lnTo>
                <a:close/>
                <a:moveTo>
                  <a:pt x="1019618" y="1709184"/>
                </a:moveTo>
                <a:lnTo>
                  <a:pt x="1014951" y="1712101"/>
                </a:lnTo>
                <a:cubicBezTo>
                  <a:pt x="1011762" y="1713696"/>
                  <a:pt x="1008573" y="1714607"/>
                  <a:pt x="1005840" y="1713696"/>
                </a:cubicBezTo>
                <a:close/>
                <a:moveTo>
                  <a:pt x="772603" y="1708264"/>
                </a:moveTo>
                <a:cubicBezTo>
                  <a:pt x="761670" y="1711910"/>
                  <a:pt x="748914" y="1717377"/>
                  <a:pt x="737981" y="1722843"/>
                </a:cubicBezTo>
                <a:cubicBezTo>
                  <a:pt x="739803" y="1721020"/>
                  <a:pt x="739803" y="1717377"/>
                  <a:pt x="734336" y="1717377"/>
                </a:cubicBezTo>
                <a:cubicBezTo>
                  <a:pt x="747091" y="1715554"/>
                  <a:pt x="759848" y="1711910"/>
                  <a:pt x="772603" y="1708264"/>
                </a:cubicBezTo>
                <a:close/>
                <a:moveTo>
                  <a:pt x="464655" y="1708229"/>
                </a:moveTo>
                <a:cubicBezTo>
                  <a:pt x="462832" y="1710051"/>
                  <a:pt x="461010" y="1713696"/>
                  <a:pt x="459188" y="1710051"/>
                </a:cubicBezTo>
                <a:cubicBezTo>
                  <a:pt x="461010" y="1710051"/>
                  <a:pt x="461010" y="1706407"/>
                  <a:pt x="464655" y="1708229"/>
                </a:cubicBezTo>
                <a:close/>
                <a:moveTo>
                  <a:pt x="464914" y="1706719"/>
                </a:moveTo>
                <a:lnTo>
                  <a:pt x="455544" y="1710051"/>
                </a:lnTo>
                <a:lnTo>
                  <a:pt x="456923" y="1708317"/>
                </a:lnTo>
                <a:close/>
                <a:moveTo>
                  <a:pt x="465861" y="1706306"/>
                </a:moveTo>
                <a:lnTo>
                  <a:pt x="466478" y="1706407"/>
                </a:lnTo>
                <a:lnTo>
                  <a:pt x="464914" y="1706719"/>
                </a:lnTo>
                <a:lnTo>
                  <a:pt x="465794" y="1706407"/>
                </a:lnTo>
                <a:close/>
                <a:moveTo>
                  <a:pt x="461751" y="1705638"/>
                </a:moveTo>
                <a:lnTo>
                  <a:pt x="462804" y="1705809"/>
                </a:lnTo>
                <a:lnTo>
                  <a:pt x="461010" y="1706407"/>
                </a:lnTo>
                <a:close/>
                <a:moveTo>
                  <a:pt x="1138859" y="1705496"/>
                </a:moveTo>
                <a:lnTo>
                  <a:pt x="1141045" y="1707955"/>
                </a:lnTo>
                <a:lnTo>
                  <a:pt x="1140681" y="1708229"/>
                </a:lnTo>
                <a:cubicBezTo>
                  <a:pt x="1140681" y="1708229"/>
                  <a:pt x="1138859" y="1708229"/>
                  <a:pt x="1138859" y="1708229"/>
                </a:cubicBezTo>
                <a:close/>
                <a:moveTo>
                  <a:pt x="452986" y="1704966"/>
                </a:moveTo>
                <a:lnTo>
                  <a:pt x="450077" y="1708229"/>
                </a:lnTo>
                <a:lnTo>
                  <a:pt x="449775" y="1707730"/>
                </a:lnTo>
                <a:close/>
                <a:moveTo>
                  <a:pt x="456683" y="1704813"/>
                </a:moveTo>
                <a:lnTo>
                  <a:pt x="459364" y="1705249"/>
                </a:lnTo>
                <a:lnTo>
                  <a:pt x="456923" y="1708317"/>
                </a:lnTo>
                <a:lnTo>
                  <a:pt x="448256" y="1710051"/>
                </a:lnTo>
                <a:cubicBezTo>
                  <a:pt x="450988" y="1706407"/>
                  <a:pt x="453722" y="1705040"/>
                  <a:pt x="456683" y="1704813"/>
                </a:cubicBezTo>
                <a:close/>
                <a:moveTo>
                  <a:pt x="830912" y="1704619"/>
                </a:moveTo>
                <a:cubicBezTo>
                  <a:pt x="827267" y="1706442"/>
                  <a:pt x="825445" y="1708265"/>
                  <a:pt x="823623" y="1710087"/>
                </a:cubicBezTo>
                <a:cubicBezTo>
                  <a:pt x="821800" y="1710087"/>
                  <a:pt x="821800" y="1710087"/>
                  <a:pt x="819978" y="1710087"/>
                </a:cubicBezTo>
                <a:lnTo>
                  <a:pt x="819978" y="1713732"/>
                </a:lnTo>
                <a:cubicBezTo>
                  <a:pt x="809045" y="1713732"/>
                  <a:pt x="798112" y="1719198"/>
                  <a:pt x="787179" y="1719198"/>
                </a:cubicBezTo>
                <a:cubicBezTo>
                  <a:pt x="792646" y="1717377"/>
                  <a:pt x="798112" y="1715554"/>
                  <a:pt x="801757" y="1713732"/>
                </a:cubicBezTo>
                <a:cubicBezTo>
                  <a:pt x="810867" y="1711910"/>
                  <a:pt x="819978" y="1710087"/>
                  <a:pt x="830912" y="1704619"/>
                </a:cubicBezTo>
                <a:close/>
                <a:moveTo>
                  <a:pt x="1116651" y="1704471"/>
                </a:moveTo>
                <a:lnTo>
                  <a:pt x="1118815" y="1704585"/>
                </a:lnTo>
                <a:cubicBezTo>
                  <a:pt x="1118815" y="1704585"/>
                  <a:pt x="1118815" y="1704585"/>
                  <a:pt x="1116993" y="1704585"/>
                </a:cubicBezTo>
                <a:close/>
                <a:moveTo>
                  <a:pt x="467182" y="1704350"/>
                </a:moveTo>
                <a:lnTo>
                  <a:pt x="465861" y="1706306"/>
                </a:lnTo>
                <a:lnTo>
                  <a:pt x="462804" y="1705809"/>
                </a:lnTo>
                <a:close/>
                <a:moveTo>
                  <a:pt x="1111526" y="1702763"/>
                </a:moveTo>
                <a:lnTo>
                  <a:pt x="1116651" y="1704471"/>
                </a:lnTo>
                <a:lnTo>
                  <a:pt x="1114487" y="1704357"/>
                </a:lnTo>
                <a:cubicBezTo>
                  <a:pt x="1112893" y="1704129"/>
                  <a:pt x="1111526" y="1703674"/>
                  <a:pt x="1111526" y="1702763"/>
                </a:cubicBezTo>
                <a:close/>
                <a:moveTo>
                  <a:pt x="455162" y="1702524"/>
                </a:moveTo>
                <a:lnTo>
                  <a:pt x="455544" y="1702763"/>
                </a:lnTo>
                <a:lnTo>
                  <a:pt x="452986" y="1704966"/>
                </a:lnTo>
                <a:close/>
                <a:moveTo>
                  <a:pt x="1089266" y="1702319"/>
                </a:moveTo>
                <a:lnTo>
                  <a:pt x="1091484" y="1702763"/>
                </a:lnTo>
                <a:lnTo>
                  <a:pt x="1088893" y="1703626"/>
                </a:lnTo>
                <a:close/>
                <a:moveTo>
                  <a:pt x="469536" y="1701949"/>
                </a:moveTo>
                <a:lnTo>
                  <a:pt x="468526" y="1703901"/>
                </a:lnTo>
                <a:lnTo>
                  <a:pt x="467182" y="1704350"/>
                </a:lnTo>
                <a:lnTo>
                  <a:pt x="468709" y="1702087"/>
                </a:lnTo>
                <a:close/>
                <a:moveTo>
                  <a:pt x="445768" y="1701106"/>
                </a:moveTo>
                <a:lnTo>
                  <a:pt x="449775" y="1707730"/>
                </a:lnTo>
                <a:lnTo>
                  <a:pt x="447344" y="1709824"/>
                </a:lnTo>
                <a:cubicBezTo>
                  <a:pt x="444155" y="1711874"/>
                  <a:pt x="440966" y="1713696"/>
                  <a:pt x="439145" y="1715518"/>
                </a:cubicBezTo>
                <a:lnTo>
                  <a:pt x="440551" y="1707075"/>
                </a:lnTo>
                <a:lnTo>
                  <a:pt x="442788" y="1702990"/>
                </a:lnTo>
                <a:lnTo>
                  <a:pt x="443551" y="1702130"/>
                </a:lnTo>
                <a:close/>
                <a:moveTo>
                  <a:pt x="3272626" y="1701035"/>
                </a:moveTo>
                <a:lnTo>
                  <a:pt x="3279914" y="1722904"/>
                </a:lnTo>
                <a:lnTo>
                  <a:pt x="3258048" y="1722904"/>
                </a:lnTo>
                <a:cubicBezTo>
                  <a:pt x="3267159" y="1708324"/>
                  <a:pt x="3261693" y="1704678"/>
                  <a:pt x="3259870" y="1704678"/>
                </a:cubicBezTo>
                <a:cubicBezTo>
                  <a:pt x="3259870" y="1704678"/>
                  <a:pt x="3265337" y="1702856"/>
                  <a:pt x="3272626" y="1701035"/>
                </a:cubicBezTo>
                <a:close/>
                <a:moveTo>
                  <a:pt x="1089660" y="1700941"/>
                </a:moveTo>
                <a:cubicBezTo>
                  <a:pt x="1091484" y="1702763"/>
                  <a:pt x="1091484" y="1702763"/>
                  <a:pt x="1093305" y="1702763"/>
                </a:cubicBezTo>
                <a:lnTo>
                  <a:pt x="1089329" y="1702100"/>
                </a:lnTo>
                <a:close/>
                <a:moveTo>
                  <a:pt x="1082373" y="1700941"/>
                </a:moveTo>
                <a:lnTo>
                  <a:pt x="1089329" y="1702100"/>
                </a:lnTo>
                <a:lnTo>
                  <a:pt x="1089266" y="1702319"/>
                </a:lnTo>
                <a:close/>
                <a:moveTo>
                  <a:pt x="470541" y="1700006"/>
                </a:moveTo>
                <a:lnTo>
                  <a:pt x="475589" y="1700941"/>
                </a:lnTo>
                <a:lnTo>
                  <a:pt x="469536" y="1701949"/>
                </a:lnTo>
                <a:close/>
                <a:moveTo>
                  <a:pt x="1093305" y="1699899"/>
                </a:moveTo>
                <a:lnTo>
                  <a:pt x="1093305" y="1700941"/>
                </a:lnTo>
                <a:cubicBezTo>
                  <a:pt x="1091484" y="1700941"/>
                  <a:pt x="1091484" y="1700941"/>
                  <a:pt x="1089660" y="1700941"/>
                </a:cubicBezTo>
                <a:close/>
                <a:moveTo>
                  <a:pt x="469438" y="1699802"/>
                </a:moveTo>
                <a:lnTo>
                  <a:pt x="470162" y="1699936"/>
                </a:lnTo>
                <a:lnTo>
                  <a:pt x="468709" y="1702087"/>
                </a:lnTo>
                <a:lnTo>
                  <a:pt x="464655" y="1702763"/>
                </a:lnTo>
                <a:cubicBezTo>
                  <a:pt x="465566" y="1700029"/>
                  <a:pt x="467388" y="1699574"/>
                  <a:pt x="469438" y="1699802"/>
                </a:cubicBezTo>
                <a:close/>
                <a:moveTo>
                  <a:pt x="3194271" y="1699118"/>
                </a:moveTo>
                <a:lnTo>
                  <a:pt x="3183338" y="1713696"/>
                </a:lnTo>
                <a:lnTo>
                  <a:pt x="3188805" y="1720984"/>
                </a:lnTo>
                <a:lnTo>
                  <a:pt x="3190627" y="1720984"/>
                </a:lnTo>
                <a:lnTo>
                  <a:pt x="3203382" y="1735562"/>
                </a:lnTo>
                <a:cubicBezTo>
                  <a:pt x="3203382" y="1730095"/>
                  <a:pt x="3197916" y="1722807"/>
                  <a:pt x="3190627" y="1720984"/>
                </a:cubicBezTo>
                <a:lnTo>
                  <a:pt x="3197916" y="1720984"/>
                </a:lnTo>
                <a:cubicBezTo>
                  <a:pt x="3196093" y="1713696"/>
                  <a:pt x="3194271" y="1706407"/>
                  <a:pt x="3194271" y="1699118"/>
                </a:cubicBezTo>
                <a:close/>
                <a:moveTo>
                  <a:pt x="1164370" y="1699118"/>
                </a:moveTo>
                <a:cubicBezTo>
                  <a:pt x="1164370" y="1700941"/>
                  <a:pt x="1169836" y="1702763"/>
                  <a:pt x="1171658" y="1704585"/>
                </a:cubicBezTo>
                <a:cubicBezTo>
                  <a:pt x="1171658" y="1702763"/>
                  <a:pt x="1169836" y="1702763"/>
                  <a:pt x="1171658" y="1700941"/>
                </a:cubicBezTo>
                <a:cubicBezTo>
                  <a:pt x="1171658" y="1706407"/>
                  <a:pt x="1175303" y="1708229"/>
                  <a:pt x="1178947" y="1708229"/>
                </a:cubicBezTo>
                <a:lnTo>
                  <a:pt x="1180769" y="1700941"/>
                </a:lnTo>
                <a:cubicBezTo>
                  <a:pt x="1175303" y="1699118"/>
                  <a:pt x="1168014" y="1700941"/>
                  <a:pt x="1164370" y="1699118"/>
                </a:cubicBezTo>
                <a:close/>
                <a:moveTo>
                  <a:pt x="1120637" y="1699118"/>
                </a:moveTo>
                <a:cubicBezTo>
                  <a:pt x="1124282" y="1699118"/>
                  <a:pt x="1126104" y="1699118"/>
                  <a:pt x="1129748" y="1700941"/>
                </a:cubicBezTo>
                <a:lnTo>
                  <a:pt x="1122459" y="1700941"/>
                </a:lnTo>
                <a:cubicBezTo>
                  <a:pt x="1122459" y="1700941"/>
                  <a:pt x="1122459" y="1699118"/>
                  <a:pt x="1120637" y="1699118"/>
                </a:cubicBezTo>
                <a:close/>
                <a:moveTo>
                  <a:pt x="1048598" y="1699118"/>
                </a:moveTo>
                <a:lnTo>
                  <a:pt x="1055040" y="1699118"/>
                </a:lnTo>
                <a:cubicBezTo>
                  <a:pt x="1054128" y="1700029"/>
                  <a:pt x="1051850" y="1700485"/>
                  <a:pt x="1049572" y="1700485"/>
                </a:cubicBezTo>
                <a:lnTo>
                  <a:pt x="1046761" y="1699782"/>
                </a:lnTo>
                <a:close/>
                <a:moveTo>
                  <a:pt x="471681" y="1697686"/>
                </a:moveTo>
                <a:lnTo>
                  <a:pt x="471734" y="1697699"/>
                </a:lnTo>
                <a:lnTo>
                  <a:pt x="470541" y="1700006"/>
                </a:lnTo>
                <a:lnTo>
                  <a:pt x="470162" y="1699936"/>
                </a:lnTo>
                <a:close/>
                <a:moveTo>
                  <a:pt x="1114314" y="1697510"/>
                </a:moveTo>
                <a:lnTo>
                  <a:pt x="1115692" y="1697816"/>
                </a:lnTo>
                <a:lnTo>
                  <a:pt x="1120637" y="1702763"/>
                </a:lnTo>
                <a:lnTo>
                  <a:pt x="1115171" y="1700941"/>
                </a:lnTo>
                <a:lnTo>
                  <a:pt x="1107882" y="1699118"/>
                </a:lnTo>
                <a:close/>
                <a:moveTo>
                  <a:pt x="1138859" y="1697296"/>
                </a:moveTo>
                <a:lnTo>
                  <a:pt x="1138859" y="1699118"/>
                </a:lnTo>
                <a:cubicBezTo>
                  <a:pt x="1140681" y="1699118"/>
                  <a:pt x="1140681" y="1699118"/>
                  <a:pt x="1142503" y="1699118"/>
                </a:cubicBezTo>
                <a:cubicBezTo>
                  <a:pt x="1140681" y="1699118"/>
                  <a:pt x="1140681" y="1699118"/>
                  <a:pt x="1138859" y="1697296"/>
                </a:cubicBezTo>
                <a:close/>
                <a:moveTo>
                  <a:pt x="1129748" y="1697296"/>
                </a:moveTo>
                <a:lnTo>
                  <a:pt x="1130659" y="1697296"/>
                </a:lnTo>
                <a:lnTo>
                  <a:pt x="1129748" y="1699118"/>
                </a:lnTo>
                <a:close/>
                <a:moveTo>
                  <a:pt x="1119162" y="1696094"/>
                </a:moveTo>
                <a:lnTo>
                  <a:pt x="1129748" y="1699118"/>
                </a:lnTo>
                <a:lnTo>
                  <a:pt x="1129748" y="1700941"/>
                </a:lnTo>
                <a:lnTo>
                  <a:pt x="1115692" y="1697816"/>
                </a:lnTo>
                <a:lnTo>
                  <a:pt x="1115171" y="1697296"/>
                </a:lnTo>
                <a:lnTo>
                  <a:pt x="1114314" y="1697510"/>
                </a:lnTo>
                <a:lnTo>
                  <a:pt x="1113349" y="1697296"/>
                </a:lnTo>
                <a:close/>
                <a:moveTo>
                  <a:pt x="1116993" y="1695474"/>
                </a:moveTo>
                <a:lnTo>
                  <a:pt x="1123370" y="1695474"/>
                </a:lnTo>
                <a:lnTo>
                  <a:pt x="1127926" y="1697296"/>
                </a:lnTo>
                <a:cubicBezTo>
                  <a:pt x="1125192" y="1699118"/>
                  <a:pt x="1122459" y="1697296"/>
                  <a:pt x="1119955" y="1695930"/>
                </a:cubicBezTo>
                <a:lnTo>
                  <a:pt x="1119162" y="1696094"/>
                </a:lnTo>
                <a:close/>
                <a:moveTo>
                  <a:pt x="3214487" y="1695347"/>
                </a:moveTo>
                <a:lnTo>
                  <a:pt x="3215454" y="1695474"/>
                </a:lnTo>
                <a:lnTo>
                  <a:pt x="3216542" y="1696284"/>
                </a:lnTo>
                <a:lnTo>
                  <a:pt x="3214543" y="1695474"/>
                </a:lnTo>
                <a:close/>
                <a:moveTo>
                  <a:pt x="680005" y="1693940"/>
                </a:moveTo>
                <a:lnTo>
                  <a:pt x="681038" y="1709368"/>
                </a:lnTo>
                <a:cubicBezTo>
                  <a:pt x="682860" y="1721895"/>
                  <a:pt x="686050" y="1734650"/>
                  <a:pt x="686960" y="1748317"/>
                </a:cubicBezTo>
                <a:cubicBezTo>
                  <a:pt x="683316" y="1737384"/>
                  <a:pt x="685138" y="1715518"/>
                  <a:pt x="668738" y="1713696"/>
                </a:cubicBezTo>
                <a:cubicBezTo>
                  <a:pt x="673293" y="1710962"/>
                  <a:pt x="676140" y="1707660"/>
                  <a:pt x="677877" y="1704015"/>
                </a:cubicBezTo>
                <a:close/>
                <a:moveTo>
                  <a:pt x="3152361" y="1693652"/>
                </a:moveTo>
                <a:lnTo>
                  <a:pt x="3152361" y="1715518"/>
                </a:lnTo>
                <a:cubicBezTo>
                  <a:pt x="3119562" y="1717340"/>
                  <a:pt x="3137784" y="1708229"/>
                  <a:pt x="3125029" y="1728273"/>
                </a:cubicBezTo>
                <a:cubicBezTo>
                  <a:pt x="3125029" y="1730095"/>
                  <a:pt x="3126851" y="1730095"/>
                  <a:pt x="3126851" y="1730095"/>
                </a:cubicBezTo>
                <a:lnTo>
                  <a:pt x="3145073" y="1722807"/>
                </a:lnTo>
                <a:lnTo>
                  <a:pt x="3159650" y="1731918"/>
                </a:lnTo>
                <a:cubicBezTo>
                  <a:pt x="3176050" y="1706407"/>
                  <a:pt x="3172405" y="1726451"/>
                  <a:pt x="3174227" y="1693652"/>
                </a:cubicBezTo>
                <a:close/>
                <a:moveTo>
                  <a:pt x="3106807" y="1693652"/>
                </a:moveTo>
                <a:lnTo>
                  <a:pt x="3106807" y="1708229"/>
                </a:lnTo>
                <a:lnTo>
                  <a:pt x="3123206" y="1706407"/>
                </a:lnTo>
                <a:close/>
                <a:moveTo>
                  <a:pt x="1080549" y="1693652"/>
                </a:moveTo>
                <a:lnTo>
                  <a:pt x="1084194" y="1695474"/>
                </a:lnTo>
                <a:cubicBezTo>
                  <a:pt x="1086016" y="1695474"/>
                  <a:pt x="1089660" y="1693652"/>
                  <a:pt x="1091484" y="1693652"/>
                </a:cubicBezTo>
                <a:cubicBezTo>
                  <a:pt x="1087838" y="1690008"/>
                  <a:pt x="1084194" y="1690008"/>
                  <a:pt x="1080549" y="1693652"/>
                </a:cubicBezTo>
                <a:close/>
                <a:moveTo>
                  <a:pt x="502920" y="1691865"/>
                </a:moveTo>
                <a:cubicBezTo>
                  <a:pt x="504743" y="1691865"/>
                  <a:pt x="504743" y="1693687"/>
                  <a:pt x="506565" y="1691865"/>
                </a:cubicBezTo>
                <a:cubicBezTo>
                  <a:pt x="501098" y="1697332"/>
                  <a:pt x="510209" y="1702797"/>
                  <a:pt x="508387" y="1706442"/>
                </a:cubicBezTo>
                <a:cubicBezTo>
                  <a:pt x="504743" y="1710087"/>
                  <a:pt x="502920" y="1704619"/>
                  <a:pt x="502920" y="1700975"/>
                </a:cubicBezTo>
                <a:cubicBezTo>
                  <a:pt x="497454" y="1708264"/>
                  <a:pt x="491987" y="1711908"/>
                  <a:pt x="491987" y="1719198"/>
                </a:cubicBezTo>
                <a:cubicBezTo>
                  <a:pt x="490165" y="1708264"/>
                  <a:pt x="502920" y="1702797"/>
                  <a:pt x="502920" y="1691865"/>
                </a:cubicBezTo>
                <a:close/>
                <a:moveTo>
                  <a:pt x="657805" y="1691830"/>
                </a:moveTo>
                <a:lnTo>
                  <a:pt x="657611" y="1693268"/>
                </a:lnTo>
                <a:lnTo>
                  <a:pt x="655755" y="1695474"/>
                </a:lnTo>
                <a:lnTo>
                  <a:pt x="650425" y="1700467"/>
                </a:lnTo>
                <a:close/>
                <a:moveTo>
                  <a:pt x="1046256" y="1691083"/>
                </a:moveTo>
                <a:lnTo>
                  <a:pt x="1047750" y="1691830"/>
                </a:lnTo>
                <a:cubicBezTo>
                  <a:pt x="1034995" y="1693652"/>
                  <a:pt x="1024062" y="1700941"/>
                  <a:pt x="1011307" y="1697296"/>
                </a:cubicBezTo>
                <a:cubicBezTo>
                  <a:pt x="1019506" y="1697296"/>
                  <a:pt x="1027251" y="1695018"/>
                  <a:pt x="1034767" y="1692740"/>
                </a:cubicBezTo>
                <a:lnTo>
                  <a:pt x="1042253" y="1691197"/>
                </a:lnTo>
                <a:lnTo>
                  <a:pt x="1043878" y="1691374"/>
                </a:lnTo>
                <a:close/>
                <a:moveTo>
                  <a:pt x="1104237" y="1690918"/>
                </a:moveTo>
                <a:lnTo>
                  <a:pt x="1105521" y="1691303"/>
                </a:lnTo>
                <a:lnTo>
                  <a:pt x="1106060" y="1691830"/>
                </a:lnTo>
                <a:lnTo>
                  <a:pt x="1102268" y="1691509"/>
                </a:lnTo>
                <a:close/>
                <a:moveTo>
                  <a:pt x="1091484" y="1690008"/>
                </a:moveTo>
                <a:lnTo>
                  <a:pt x="1093853" y="1690798"/>
                </a:lnTo>
                <a:lnTo>
                  <a:pt x="1092271" y="1690664"/>
                </a:lnTo>
                <a:close/>
                <a:moveTo>
                  <a:pt x="478730" y="1689189"/>
                </a:moveTo>
                <a:lnTo>
                  <a:pt x="475589" y="1695474"/>
                </a:lnTo>
                <a:lnTo>
                  <a:pt x="479232" y="1695474"/>
                </a:lnTo>
                <a:cubicBezTo>
                  <a:pt x="477410" y="1696385"/>
                  <a:pt x="476043" y="1697752"/>
                  <a:pt x="474677" y="1698435"/>
                </a:cubicBezTo>
                <a:lnTo>
                  <a:pt x="471734" y="1697699"/>
                </a:lnTo>
                <a:lnTo>
                  <a:pt x="471943" y="1697296"/>
                </a:lnTo>
                <a:lnTo>
                  <a:pt x="471681" y="1697686"/>
                </a:lnTo>
                <a:lnTo>
                  <a:pt x="470121" y="1697296"/>
                </a:lnTo>
                <a:cubicBezTo>
                  <a:pt x="470121" y="1693652"/>
                  <a:pt x="475589" y="1695474"/>
                  <a:pt x="475589" y="1691830"/>
                </a:cubicBezTo>
                <a:lnTo>
                  <a:pt x="475564" y="1691818"/>
                </a:lnTo>
                <a:close/>
                <a:moveTo>
                  <a:pt x="981688" y="1689007"/>
                </a:moveTo>
                <a:lnTo>
                  <a:pt x="981688" y="1689007"/>
                </a:lnTo>
                <a:lnTo>
                  <a:pt x="976686" y="1690008"/>
                </a:lnTo>
                <a:close/>
                <a:moveTo>
                  <a:pt x="982440" y="1688857"/>
                </a:moveTo>
                <a:lnTo>
                  <a:pt x="980330" y="1690008"/>
                </a:lnTo>
                <a:lnTo>
                  <a:pt x="981688" y="1689007"/>
                </a:lnTo>
                <a:close/>
                <a:moveTo>
                  <a:pt x="680240" y="1688233"/>
                </a:moveTo>
                <a:lnTo>
                  <a:pt x="680354" y="1692285"/>
                </a:lnTo>
                <a:lnTo>
                  <a:pt x="680005" y="1693940"/>
                </a:lnTo>
                <a:lnTo>
                  <a:pt x="679785" y="1690662"/>
                </a:lnTo>
                <a:close/>
                <a:moveTo>
                  <a:pt x="985796" y="1688185"/>
                </a:moveTo>
                <a:lnTo>
                  <a:pt x="982440" y="1688857"/>
                </a:lnTo>
                <a:lnTo>
                  <a:pt x="982441" y="1688856"/>
                </a:lnTo>
                <a:close/>
                <a:moveTo>
                  <a:pt x="485245" y="1687824"/>
                </a:moveTo>
                <a:lnTo>
                  <a:pt x="484986" y="1689720"/>
                </a:lnTo>
                <a:lnTo>
                  <a:pt x="484700" y="1690008"/>
                </a:lnTo>
                <a:close/>
                <a:moveTo>
                  <a:pt x="485511" y="1686757"/>
                </a:moveTo>
                <a:lnTo>
                  <a:pt x="485245" y="1687824"/>
                </a:lnTo>
                <a:lnTo>
                  <a:pt x="485382" y="1686818"/>
                </a:lnTo>
                <a:close/>
                <a:moveTo>
                  <a:pt x="1138859" y="1686363"/>
                </a:moveTo>
                <a:lnTo>
                  <a:pt x="1138859" y="1688185"/>
                </a:lnTo>
                <a:cubicBezTo>
                  <a:pt x="1138859" y="1690008"/>
                  <a:pt x="1140681" y="1690008"/>
                  <a:pt x="1142503" y="1688185"/>
                </a:cubicBezTo>
                <a:cubicBezTo>
                  <a:pt x="1140681" y="1688185"/>
                  <a:pt x="1140681" y="1688185"/>
                  <a:pt x="1138859" y="1686363"/>
                </a:cubicBezTo>
                <a:close/>
                <a:moveTo>
                  <a:pt x="1126104" y="1686363"/>
                </a:moveTo>
                <a:cubicBezTo>
                  <a:pt x="1126104" y="1690008"/>
                  <a:pt x="1118815" y="1690008"/>
                  <a:pt x="1113349" y="1688185"/>
                </a:cubicBezTo>
                <a:cubicBezTo>
                  <a:pt x="1116993" y="1693652"/>
                  <a:pt x="1126104" y="1690008"/>
                  <a:pt x="1127926" y="1688185"/>
                </a:cubicBezTo>
                <a:cubicBezTo>
                  <a:pt x="1129748" y="1686363"/>
                  <a:pt x="1126104" y="1688185"/>
                  <a:pt x="1126104" y="1686363"/>
                </a:cubicBezTo>
                <a:close/>
                <a:moveTo>
                  <a:pt x="991263" y="1686363"/>
                </a:moveTo>
                <a:cubicBezTo>
                  <a:pt x="991263" y="1690008"/>
                  <a:pt x="989441" y="1690008"/>
                  <a:pt x="985796" y="1691830"/>
                </a:cubicBezTo>
                <a:cubicBezTo>
                  <a:pt x="982152" y="1688185"/>
                  <a:pt x="989441" y="1686363"/>
                  <a:pt x="991263" y="1686363"/>
                </a:cubicBezTo>
                <a:close/>
                <a:moveTo>
                  <a:pt x="1075570" y="1685465"/>
                </a:moveTo>
                <a:lnTo>
                  <a:pt x="1082373" y="1688185"/>
                </a:lnTo>
                <a:lnTo>
                  <a:pt x="1081749" y="1688209"/>
                </a:lnTo>
                <a:lnTo>
                  <a:pt x="1075083" y="1686363"/>
                </a:lnTo>
                <a:close/>
                <a:moveTo>
                  <a:pt x="973375" y="1685314"/>
                </a:moveTo>
                <a:lnTo>
                  <a:pt x="951630" y="1692058"/>
                </a:lnTo>
                <a:cubicBezTo>
                  <a:pt x="939786" y="1695474"/>
                  <a:pt x="928398" y="1699118"/>
                  <a:pt x="918376" y="1704585"/>
                </a:cubicBezTo>
                <a:lnTo>
                  <a:pt x="899857" y="1714248"/>
                </a:lnTo>
                <a:lnTo>
                  <a:pt x="912909" y="1704585"/>
                </a:lnTo>
                <a:cubicBezTo>
                  <a:pt x="896510" y="1704585"/>
                  <a:pt x="881933" y="1708229"/>
                  <a:pt x="865533" y="1710051"/>
                </a:cubicBezTo>
                <a:cubicBezTo>
                  <a:pt x="869177" y="1704585"/>
                  <a:pt x="878288" y="1710051"/>
                  <a:pt x="881933" y="1704585"/>
                </a:cubicBezTo>
                <a:cubicBezTo>
                  <a:pt x="880111" y="1706407"/>
                  <a:pt x="876466" y="1704585"/>
                  <a:pt x="872822" y="1704585"/>
                </a:cubicBezTo>
                <a:lnTo>
                  <a:pt x="874644" y="1702763"/>
                </a:lnTo>
                <a:lnTo>
                  <a:pt x="885577" y="1702763"/>
                </a:lnTo>
                <a:cubicBezTo>
                  <a:pt x="892866" y="1706407"/>
                  <a:pt x="903799" y="1700941"/>
                  <a:pt x="912909" y="1700941"/>
                </a:cubicBezTo>
                <a:cubicBezTo>
                  <a:pt x="907444" y="1693652"/>
                  <a:pt x="896510" y="1691830"/>
                  <a:pt x="889222" y="1688185"/>
                </a:cubicBezTo>
                <a:cubicBezTo>
                  <a:pt x="896510" y="1691830"/>
                  <a:pt x="905621" y="1690008"/>
                  <a:pt x="912909" y="1693652"/>
                </a:cubicBezTo>
                <a:cubicBezTo>
                  <a:pt x="909265" y="1691830"/>
                  <a:pt x="907444" y="1691830"/>
                  <a:pt x="905621" y="1693652"/>
                </a:cubicBezTo>
                <a:cubicBezTo>
                  <a:pt x="909265" y="1699118"/>
                  <a:pt x="912909" y="1699118"/>
                  <a:pt x="916555" y="1695474"/>
                </a:cubicBezTo>
                <a:cubicBezTo>
                  <a:pt x="916555" y="1697296"/>
                  <a:pt x="914732" y="1697296"/>
                  <a:pt x="912909" y="1699118"/>
                </a:cubicBezTo>
                <a:cubicBezTo>
                  <a:pt x="922020" y="1700941"/>
                  <a:pt x="929309" y="1699118"/>
                  <a:pt x="938420" y="1693652"/>
                </a:cubicBezTo>
                <a:cubicBezTo>
                  <a:pt x="931131" y="1693652"/>
                  <a:pt x="923843" y="1695474"/>
                  <a:pt x="916555" y="1695474"/>
                </a:cubicBezTo>
                <a:cubicBezTo>
                  <a:pt x="918376" y="1695474"/>
                  <a:pt x="918376" y="1695474"/>
                  <a:pt x="920198" y="1693652"/>
                </a:cubicBezTo>
                <a:cubicBezTo>
                  <a:pt x="918376" y="1693652"/>
                  <a:pt x="918376" y="1693652"/>
                  <a:pt x="914732" y="1693652"/>
                </a:cubicBezTo>
                <a:cubicBezTo>
                  <a:pt x="924754" y="1691830"/>
                  <a:pt x="935231" y="1691830"/>
                  <a:pt x="945482" y="1690691"/>
                </a:cubicBezTo>
                <a:lnTo>
                  <a:pt x="958315" y="1686413"/>
                </a:lnTo>
                <a:close/>
                <a:moveTo>
                  <a:pt x="1043188" y="1684957"/>
                </a:moveTo>
                <a:lnTo>
                  <a:pt x="1055087" y="1687766"/>
                </a:lnTo>
                <a:lnTo>
                  <a:pt x="1053130" y="1688954"/>
                </a:lnTo>
                <a:lnTo>
                  <a:pt x="1048021" y="1690008"/>
                </a:lnTo>
                <a:lnTo>
                  <a:pt x="1044106" y="1690008"/>
                </a:lnTo>
                <a:lnTo>
                  <a:pt x="1045249" y="1690579"/>
                </a:lnTo>
                <a:lnTo>
                  <a:pt x="1042253" y="1691197"/>
                </a:lnTo>
                <a:lnTo>
                  <a:pt x="1031351" y="1690008"/>
                </a:lnTo>
                <a:close/>
                <a:moveTo>
                  <a:pt x="1073885" y="1684791"/>
                </a:moveTo>
                <a:lnTo>
                  <a:pt x="1074273" y="1684946"/>
                </a:lnTo>
                <a:lnTo>
                  <a:pt x="1073792" y="1685186"/>
                </a:lnTo>
                <a:lnTo>
                  <a:pt x="1073528" y="1684865"/>
                </a:lnTo>
                <a:close/>
                <a:moveTo>
                  <a:pt x="490165" y="1684541"/>
                </a:moveTo>
                <a:cubicBezTo>
                  <a:pt x="488343" y="1688185"/>
                  <a:pt x="488343" y="1693652"/>
                  <a:pt x="484700" y="1691830"/>
                </a:cubicBezTo>
                <a:lnTo>
                  <a:pt x="484986" y="1689720"/>
                </a:lnTo>
                <a:close/>
                <a:moveTo>
                  <a:pt x="479051" y="1684085"/>
                </a:moveTo>
                <a:lnTo>
                  <a:pt x="475589" y="1688185"/>
                </a:lnTo>
                <a:lnTo>
                  <a:pt x="475879" y="1686727"/>
                </a:lnTo>
                <a:close/>
                <a:moveTo>
                  <a:pt x="3208849" y="1682719"/>
                </a:moveTo>
                <a:lnTo>
                  <a:pt x="3209305" y="1683175"/>
                </a:lnTo>
                <a:lnTo>
                  <a:pt x="3209262" y="1683644"/>
                </a:lnTo>
                <a:close/>
                <a:moveTo>
                  <a:pt x="984944" y="1681726"/>
                </a:moveTo>
                <a:lnTo>
                  <a:pt x="984885" y="1682035"/>
                </a:lnTo>
                <a:cubicBezTo>
                  <a:pt x="984429" y="1682263"/>
                  <a:pt x="983974" y="1681808"/>
                  <a:pt x="983974" y="1682719"/>
                </a:cubicBezTo>
                <a:cubicBezTo>
                  <a:pt x="983974" y="1682719"/>
                  <a:pt x="983974" y="1684541"/>
                  <a:pt x="983974" y="1684541"/>
                </a:cubicBezTo>
                <a:lnTo>
                  <a:pt x="973375" y="1685314"/>
                </a:lnTo>
                <a:close/>
                <a:moveTo>
                  <a:pt x="1168014" y="1680897"/>
                </a:moveTo>
                <a:cubicBezTo>
                  <a:pt x="1162547" y="1682719"/>
                  <a:pt x="1155259" y="1684541"/>
                  <a:pt x="1149792" y="1686363"/>
                </a:cubicBezTo>
                <a:cubicBezTo>
                  <a:pt x="1151614" y="1690008"/>
                  <a:pt x="1157081" y="1691830"/>
                  <a:pt x="1158903" y="1695474"/>
                </a:cubicBezTo>
                <a:lnTo>
                  <a:pt x="1162547" y="1693652"/>
                </a:lnTo>
                <a:lnTo>
                  <a:pt x="1162547" y="1697296"/>
                </a:lnTo>
                <a:cubicBezTo>
                  <a:pt x="1168014" y="1697296"/>
                  <a:pt x="1175303" y="1697296"/>
                  <a:pt x="1180769" y="1699118"/>
                </a:cubicBezTo>
                <a:lnTo>
                  <a:pt x="1180769" y="1695474"/>
                </a:lnTo>
                <a:close/>
                <a:moveTo>
                  <a:pt x="904254" y="1680213"/>
                </a:moveTo>
                <a:cubicBezTo>
                  <a:pt x="922020" y="1681352"/>
                  <a:pt x="940242" y="1684541"/>
                  <a:pt x="958464" y="1686363"/>
                </a:cubicBezTo>
                <a:cubicBezTo>
                  <a:pt x="963930" y="1686363"/>
                  <a:pt x="967575" y="1679075"/>
                  <a:pt x="974863" y="1680897"/>
                </a:cubicBezTo>
                <a:lnTo>
                  <a:pt x="958315" y="1686413"/>
                </a:lnTo>
                <a:lnTo>
                  <a:pt x="930903" y="1688413"/>
                </a:lnTo>
                <a:lnTo>
                  <a:pt x="880099" y="1683099"/>
                </a:lnTo>
                <a:close/>
                <a:moveTo>
                  <a:pt x="1135215" y="1679075"/>
                </a:moveTo>
                <a:cubicBezTo>
                  <a:pt x="1133393" y="1679075"/>
                  <a:pt x="1133393" y="1682719"/>
                  <a:pt x="1135215" y="1682719"/>
                </a:cubicBezTo>
                <a:cubicBezTo>
                  <a:pt x="1137037" y="1682719"/>
                  <a:pt x="1137037" y="1684541"/>
                  <a:pt x="1138859" y="1684541"/>
                </a:cubicBezTo>
                <a:cubicBezTo>
                  <a:pt x="1140681" y="1680897"/>
                  <a:pt x="1135215" y="1682719"/>
                  <a:pt x="1135215" y="1679075"/>
                </a:cubicBezTo>
                <a:close/>
                <a:moveTo>
                  <a:pt x="492837" y="1679075"/>
                </a:moveTo>
                <a:lnTo>
                  <a:pt x="495479" y="1679075"/>
                </a:lnTo>
                <a:lnTo>
                  <a:pt x="491987" y="1680897"/>
                </a:lnTo>
                <a:close/>
                <a:moveTo>
                  <a:pt x="1073262" y="1677936"/>
                </a:moveTo>
                <a:cubicBezTo>
                  <a:pt x="1071894" y="1678619"/>
                  <a:pt x="1070527" y="1679986"/>
                  <a:pt x="1069616" y="1680897"/>
                </a:cubicBezTo>
                <a:cubicBezTo>
                  <a:pt x="1075083" y="1686363"/>
                  <a:pt x="1075083" y="1680897"/>
                  <a:pt x="1076905" y="1679075"/>
                </a:cubicBezTo>
                <a:cubicBezTo>
                  <a:pt x="1075994" y="1677252"/>
                  <a:pt x="1074627" y="1677252"/>
                  <a:pt x="1073262" y="1677936"/>
                </a:cubicBezTo>
                <a:close/>
                <a:moveTo>
                  <a:pt x="493583" y="1677479"/>
                </a:moveTo>
                <a:lnTo>
                  <a:pt x="492837" y="1679075"/>
                </a:lnTo>
                <a:lnTo>
                  <a:pt x="491987" y="1679075"/>
                </a:lnTo>
                <a:close/>
                <a:moveTo>
                  <a:pt x="493809" y="1677252"/>
                </a:moveTo>
                <a:lnTo>
                  <a:pt x="493583" y="1677479"/>
                </a:lnTo>
                <a:lnTo>
                  <a:pt x="493678" y="1677274"/>
                </a:lnTo>
                <a:close/>
                <a:moveTo>
                  <a:pt x="499456" y="1676590"/>
                </a:moveTo>
                <a:lnTo>
                  <a:pt x="497771" y="1679289"/>
                </a:lnTo>
                <a:lnTo>
                  <a:pt x="496761" y="1680461"/>
                </a:lnTo>
                <a:lnTo>
                  <a:pt x="497454" y="1679075"/>
                </a:lnTo>
                <a:lnTo>
                  <a:pt x="495479" y="1679075"/>
                </a:lnTo>
                <a:lnTo>
                  <a:pt x="497226" y="1678163"/>
                </a:lnTo>
                <a:close/>
                <a:moveTo>
                  <a:pt x="1011898" y="1675370"/>
                </a:moveTo>
                <a:lnTo>
                  <a:pt x="1013129" y="1675430"/>
                </a:lnTo>
                <a:lnTo>
                  <a:pt x="994907" y="1682056"/>
                </a:lnTo>
                <a:lnTo>
                  <a:pt x="997868" y="1680441"/>
                </a:lnTo>
                <a:close/>
                <a:moveTo>
                  <a:pt x="698517" y="1674223"/>
                </a:moveTo>
                <a:lnTo>
                  <a:pt x="706172" y="1675325"/>
                </a:lnTo>
                <a:lnTo>
                  <a:pt x="710648" y="1679075"/>
                </a:lnTo>
                <a:close/>
                <a:moveTo>
                  <a:pt x="3799233" y="1673717"/>
                </a:moveTo>
                <a:cubicBezTo>
                  <a:pt x="3832032" y="1673717"/>
                  <a:pt x="3826566" y="1673717"/>
                  <a:pt x="3839321" y="1693763"/>
                </a:cubicBezTo>
                <a:lnTo>
                  <a:pt x="3830210" y="1704686"/>
                </a:lnTo>
                <a:close/>
                <a:moveTo>
                  <a:pt x="3186982" y="1673608"/>
                </a:moveTo>
                <a:lnTo>
                  <a:pt x="3181516" y="1686363"/>
                </a:lnTo>
                <a:lnTo>
                  <a:pt x="3192449" y="1691830"/>
                </a:lnTo>
                <a:cubicBezTo>
                  <a:pt x="3192449" y="1684541"/>
                  <a:pt x="3190627" y="1679075"/>
                  <a:pt x="3186982" y="1673608"/>
                </a:cubicBezTo>
                <a:close/>
                <a:moveTo>
                  <a:pt x="553941" y="1673608"/>
                </a:moveTo>
                <a:cubicBezTo>
                  <a:pt x="553941" y="1682719"/>
                  <a:pt x="552119" y="1690008"/>
                  <a:pt x="546653" y="1697296"/>
                </a:cubicBezTo>
                <a:cubicBezTo>
                  <a:pt x="546653" y="1695474"/>
                  <a:pt x="546653" y="1695474"/>
                  <a:pt x="544830" y="1693652"/>
                </a:cubicBezTo>
                <a:cubicBezTo>
                  <a:pt x="541186" y="1699118"/>
                  <a:pt x="544830" y="1706407"/>
                  <a:pt x="539364" y="1711874"/>
                </a:cubicBezTo>
                <a:lnTo>
                  <a:pt x="539364" y="1708229"/>
                </a:lnTo>
                <a:cubicBezTo>
                  <a:pt x="535719" y="1710051"/>
                  <a:pt x="533897" y="1713696"/>
                  <a:pt x="530253" y="1715518"/>
                </a:cubicBezTo>
                <a:cubicBezTo>
                  <a:pt x="532075" y="1715518"/>
                  <a:pt x="532075" y="1715518"/>
                  <a:pt x="532075" y="1715518"/>
                </a:cubicBezTo>
                <a:cubicBezTo>
                  <a:pt x="530253" y="1715518"/>
                  <a:pt x="524786" y="1720984"/>
                  <a:pt x="524786" y="1711874"/>
                </a:cubicBezTo>
                <a:cubicBezTo>
                  <a:pt x="526609" y="1713696"/>
                  <a:pt x="530253" y="1715518"/>
                  <a:pt x="532075" y="1713696"/>
                </a:cubicBezTo>
                <a:cubicBezTo>
                  <a:pt x="541186" y="1709140"/>
                  <a:pt x="543464" y="1702307"/>
                  <a:pt x="543919" y="1695018"/>
                </a:cubicBezTo>
                <a:lnTo>
                  <a:pt x="544210" y="1688206"/>
                </a:lnTo>
                <a:close/>
                <a:moveTo>
                  <a:pt x="544830" y="1673608"/>
                </a:moveTo>
                <a:lnTo>
                  <a:pt x="544210" y="1688206"/>
                </a:lnTo>
                <a:lnTo>
                  <a:pt x="543008" y="1690008"/>
                </a:lnTo>
                <a:lnTo>
                  <a:pt x="542639" y="1676708"/>
                </a:lnTo>
                <a:close/>
                <a:moveTo>
                  <a:pt x="1100367" y="1672697"/>
                </a:moveTo>
                <a:lnTo>
                  <a:pt x="1100894" y="1672950"/>
                </a:lnTo>
                <a:lnTo>
                  <a:pt x="1098816" y="1673297"/>
                </a:lnTo>
                <a:close/>
                <a:moveTo>
                  <a:pt x="1042739" y="1672241"/>
                </a:moveTo>
                <a:cubicBezTo>
                  <a:pt x="1044106" y="1672241"/>
                  <a:pt x="1045017" y="1672697"/>
                  <a:pt x="1044106" y="1673608"/>
                </a:cubicBezTo>
                <a:cubicBezTo>
                  <a:pt x="1042284" y="1671786"/>
                  <a:pt x="1040462" y="1673608"/>
                  <a:pt x="1038639" y="1673608"/>
                </a:cubicBezTo>
                <a:cubicBezTo>
                  <a:pt x="1039550" y="1672697"/>
                  <a:pt x="1041373" y="1672241"/>
                  <a:pt x="1042739" y="1672241"/>
                </a:cubicBezTo>
                <a:close/>
                <a:moveTo>
                  <a:pt x="1082373" y="1671786"/>
                </a:moveTo>
                <a:cubicBezTo>
                  <a:pt x="1080549" y="1672697"/>
                  <a:pt x="1080094" y="1675430"/>
                  <a:pt x="1079410" y="1678391"/>
                </a:cubicBezTo>
                <a:lnTo>
                  <a:pt x="1075570" y="1685465"/>
                </a:lnTo>
                <a:lnTo>
                  <a:pt x="1074273" y="1684946"/>
                </a:lnTo>
                <a:lnTo>
                  <a:pt x="1075083" y="1684541"/>
                </a:lnTo>
                <a:lnTo>
                  <a:pt x="1073885" y="1684791"/>
                </a:lnTo>
                <a:lnTo>
                  <a:pt x="1073262" y="1684541"/>
                </a:lnTo>
                <a:lnTo>
                  <a:pt x="1073528" y="1684865"/>
                </a:lnTo>
                <a:lnTo>
                  <a:pt x="1064150" y="1686819"/>
                </a:lnTo>
                <a:cubicBezTo>
                  <a:pt x="1062784" y="1689097"/>
                  <a:pt x="1062328" y="1691830"/>
                  <a:pt x="1058683" y="1691830"/>
                </a:cubicBezTo>
                <a:cubicBezTo>
                  <a:pt x="1062328" y="1691830"/>
                  <a:pt x="1062328" y="1690008"/>
                  <a:pt x="1065972" y="1691830"/>
                </a:cubicBezTo>
                <a:cubicBezTo>
                  <a:pt x="1065972" y="1690008"/>
                  <a:pt x="1067794" y="1690008"/>
                  <a:pt x="1069616" y="1688185"/>
                </a:cubicBezTo>
                <a:cubicBezTo>
                  <a:pt x="1067794" y="1688185"/>
                  <a:pt x="1067794" y="1688185"/>
                  <a:pt x="1064151" y="1688185"/>
                </a:cubicBezTo>
                <a:cubicBezTo>
                  <a:pt x="1065972" y="1688185"/>
                  <a:pt x="1069616" y="1688185"/>
                  <a:pt x="1071439" y="1686363"/>
                </a:cubicBezTo>
                <a:lnTo>
                  <a:pt x="1073792" y="1685186"/>
                </a:lnTo>
                <a:lnTo>
                  <a:pt x="1076449" y="1688413"/>
                </a:lnTo>
                <a:lnTo>
                  <a:pt x="1081749" y="1688209"/>
                </a:lnTo>
                <a:lnTo>
                  <a:pt x="1089888" y="1690463"/>
                </a:lnTo>
                <a:lnTo>
                  <a:pt x="1092271" y="1690664"/>
                </a:lnTo>
                <a:lnTo>
                  <a:pt x="1094216" y="1692285"/>
                </a:lnTo>
                <a:cubicBezTo>
                  <a:pt x="1095582" y="1692285"/>
                  <a:pt x="1096949" y="1691830"/>
                  <a:pt x="1096949" y="1691830"/>
                </a:cubicBezTo>
                <a:lnTo>
                  <a:pt x="1093853" y="1690798"/>
                </a:lnTo>
                <a:lnTo>
                  <a:pt x="1102268" y="1691509"/>
                </a:lnTo>
                <a:lnTo>
                  <a:pt x="1095127" y="1693652"/>
                </a:lnTo>
                <a:lnTo>
                  <a:pt x="1104238" y="1697296"/>
                </a:lnTo>
                <a:cubicBezTo>
                  <a:pt x="1107882" y="1695474"/>
                  <a:pt x="1111526" y="1695474"/>
                  <a:pt x="1113349" y="1693652"/>
                </a:cubicBezTo>
                <a:lnTo>
                  <a:pt x="1105521" y="1691303"/>
                </a:lnTo>
                <a:lnTo>
                  <a:pt x="1096494" y="1682491"/>
                </a:lnTo>
                <a:cubicBezTo>
                  <a:pt x="1092394" y="1679530"/>
                  <a:pt x="1087838" y="1677252"/>
                  <a:pt x="1084194" y="1677252"/>
                </a:cubicBezTo>
                <a:cubicBezTo>
                  <a:pt x="1082373" y="1673608"/>
                  <a:pt x="1087838" y="1675430"/>
                  <a:pt x="1084194" y="1671786"/>
                </a:cubicBezTo>
                <a:cubicBezTo>
                  <a:pt x="1084194" y="1671786"/>
                  <a:pt x="1084194" y="1671786"/>
                  <a:pt x="1082373" y="1671786"/>
                </a:cubicBezTo>
                <a:close/>
                <a:moveTo>
                  <a:pt x="403612" y="1670419"/>
                </a:moveTo>
                <a:cubicBezTo>
                  <a:pt x="402245" y="1669964"/>
                  <a:pt x="400878" y="1669964"/>
                  <a:pt x="399056" y="1671786"/>
                </a:cubicBezTo>
                <a:cubicBezTo>
                  <a:pt x="400879" y="1675430"/>
                  <a:pt x="404523" y="1675430"/>
                  <a:pt x="408167" y="1671786"/>
                </a:cubicBezTo>
                <a:cubicBezTo>
                  <a:pt x="406345" y="1671786"/>
                  <a:pt x="404978" y="1670875"/>
                  <a:pt x="403612" y="1670419"/>
                </a:cubicBezTo>
                <a:close/>
                <a:moveTo>
                  <a:pt x="3217960" y="1669964"/>
                </a:moveTo>
                <a:cubicBezTo>
                  <a:pt x="3220693" y="1669964"/>
                  <a:pt x="3222060" y="1671786"/>
                  <a:pt x="3222287" y="1673608"/>
                </a:cubicBezTo>
                <a:lnTo>
                  <a:pt x="3221225" y="1675153"/>
                </a:lnTo>
                <a:lnTo>
                  <a:pt x="3219782" y="1671786"/>
                </a:lnTo>
                <a:lnTo>
                  <a:pt x="3218416" y="1671786"/>
                </a:lnTo>
                <a:close/>
                <a:moveTo>
                  <a:pt x="3201560" y="1669964"/>
                </a:moveTo>
                <a:cubicBezTo>
                  <a:pt x="3199738" y="1675430"/>
                  <a:pt x="3205204" y="1675430"/>
                  <a:pt x="3205204" y="1679075"/>
                </a:cubicBezTo>
                <a:cubicBezTo>
                  <a:pt x="3208849" y="1679075"/>
                  <a:pt x="3207027" y="1671786"/>
                  <a:pt x="3207027" y="1669964"/>
                </a:cubicBezTo>
                <a:cubicBezTo>
                  <a:pt x="3203382" y="1671786"/>
                  <a:pt x="3205204" y="1669964"/>
                  <a:pt x="3201560" y="1669964"/>
                </a:cubicBezTo>
                <a:close/>
                <a:moveTo>
                  <a:pt x="440966" y="1669964"/>
                </a:moveTo>
                <a:cubicBezTo>
                  <a:pt x="426389" y="1680897"/>
                  <a:pt x="406345" y="1699118"/>
                  <a:pt x="393590" y="1690008"/>
                </a:cubicBezTo>
                <a:cubicBezTo>
                  <a:pt x="409989" y="1680897"/>
                  <a:pt x="426389" y="1679075"/>
                  <a:pt x="440966" y="1669964"/>
                </a:cubicBezTo>
                <a:close/>
                <a:moveTo>
                  <a:pt x="433678" y="1669964"/>
                </a:moveTo>
                <a:cubicBezTo>
                  <a:pt x="422745" y="1675430"/>
                  <a:pt x="415456" y="1680897"/>
                  <a:pt x="406345" y="1679075"/>
                </a:cubicBezTo>
                <a:cubicBezTo>
                  <a:pt x="413634" y="1673608"/>
                  <a:pt x="424567" y="1671786"/>
                  <a:pt x="433678" y="1669964"/>
                </a:cubicBezTo>
                <a:close/>
                <a:moveTo>
                  <a:pt x="1059512" y="1669301"/>
                </a:moveTo>
                <a:lnTo>
                  <a:pt x="1060506" y="1669964"/>
                </a:lnTo>
                <a:lnTo>
                  <a:pt x="1055278" y="1672001"/>
                </a:lnTo>
                <a:lnTo>
                  <a:pt x="1055040" y="1671786"/>
                </a:lnTo>
                <a:close/>
                <a:moveTo>
                  <a:pt x="1052078" y="1668597"/>
                </a:moveTo>
                <a:cubicBezTo>
                  <a:pt x="1053672" y="1668597"/>
                  <a:pt x="1055040" y="1669053"/>
                  <a:pt x="1055040" y="1669964"/>
                </a:cubicBezTo>
                <a:cubicBezTo>
                  <a:pt x="1051395" y="1669964"/>
                  <a:pt x="1049573" y="1673608"/>
                  <a:pt x="1047750" y="1669964"/>
                </a:cubicBezTo>
                <a:cubicBezTo>
                  <a:pt x="1048661" y="1669053"/>
                  <a:pt x="1050484" y="1668597"/>
                  <a:pt x="1052078" y="1668597"/>
                </a:cubicBezTo>
                <a:close/>
                <a:moveTo>
                  <a:pt x="1062067" y="1667881"/>
                </a:moveTo>
                <a:lnTo>
                  <a:pt x="1062328" y="1668142"/>
                </a:lnTo>
                <a:lnTo>
                  <a:pt x="1061825" y="1668016"/>
                </a:lnTo>
                <a:close/>
                <a:moveTo>
                  <a:pt x="1055040" y="1666319"/>
                </a:moveTo>
                <a:lnTo>
                  <a:pt x="1061825" y="1668016"/>
                </a:lnTo>
                <a:lnTo>
                  <a:pt x="1059512" y="1669301"/>
                </a:lnTo>
                <a:close/>
                <a:moveTo>
                  <a:pt x="431856" y="1666319"/>
                </a:moveTo>
                <a:lnTo>
                  <a:pt x="421464" y="1668480"/>
                </a:lnTo>
                <a:lnTo>
                  <a:pt x="422289" y="1667913"/>
                </a:lnTo>
                <a:lnTo>
                  <a:pt x="423862" y="1666623"/>
                </a:lnTo>
                <a:close/>
                <a:moveTo>
                  <a:pt x="1095127" y="1664497"/>
                </a:moveTo>
                <a:cubicBezTo>
                  <a:pt x="1091484" y="1666319"/>
                  <a:pt x="1089660" y="1668142"/>
                  <a:pt x="1086016" y="1669964"/>
                </a:cubicBezTo>
                <a:cubicBezTo>
                  <a:pt x="1089660" y="1673608"/>
                  <a:pt x="1093305" y="1674063"/>
                  <a:pt x="1096949" y="1673608"/>
                </a:cubicBezTo>
                <a:lnTo>
                  <a:pt x="1098816" y="1673297"/>
                </a:lnTo>
                <a:lnTo>
                  <a:pt x="1093305" y="1675430"/>
                </a:lnTo>
                <a:cubicBezTo>
                  <a:pt x="1098771" y="1679075"/>
                  <a:pt x="1104238" y="1682719"/>
                  <a:pt x="1109704" y="1688185"/>
                </a:cubicBezTo>
                <a:cubicBezTo>
                  <a:pt x="1115171" y="1686363"/>
                  <a:pt x="1118815" y="1688185"/>
                  <a:pt x="1124282" y="1684541"/>
                </a:cubicBezTo>
                <a:cubicBezTo>
                  <a:pt x="1118815" y="1680897"/>
                  <a:pt x="1113349" y="1671786"/>
                  <a:pt x="1106060" y="1675430"/>
                </a:cubicBezTo>
                <a:lnTo>
                  <a:pt x="1100894" y="1672950"/>
                </a:lnTo>
                <a:lnTo>
                  <a:pt x="1107882" y="1671786"/>
                </a:lnTo>
                <a:cubicBezTo>
                  <a:pt x="1104238" y="1669964"/>
                  <a:pt x="1102416" y="1668142"/>
                  <a:pt x="1098771" y="1669964"/>
                </a:cubicBezTo>
                <a:cubicBezTo>
                  <a:pt x="1095127" y="1668142"/>
                  <a:pt x="1096949" y="1666319"/>
                  <a:pt x="1095127" y="1664497"/>
                </a:cubicBezTo>
                <a:close/>
                <a:moveTo>
                  <a:pt x="688782" y="1664497"/>
                </a:moveTo>
                <a:cubicBezTo>
                  <a:pt x="688782" y="1668142"/>
                  <a:pt x="692426" y="1671786"/>
                  <a:pt x="694249" y="1668142"/>
                </a:cubicBezTo>
                <a:cubicBezTo>
                  <a:pt x="692426" y="1666319"/>
                  <a:pt x="690604" y="1666319"/>
                  <a:pt x="688782" y="1664497"/>
                </a:cubicBezTo>
                <a:close/>
                <a:moveTo>
                  <a:pt x="794200" y="1664470"/>
                </a:moveTo>
                <a:lnTo>
                  <a:pt x="794468" y="1664497"/>
                </a:lnTo>
                <a:cubicBezTo>
                  <a:pt x="772602" y="1668597"/>
                  <a:pt x="745611" y="1681922"/>
                  <a:pt x="723488" y="1679103"/>
                </a:cubicBezTo>
                <a:lnTo>
                  <a:pt x="719344" y="1677222"/>
                </a:lnTo>
                <a:lnTo>
                  <a:pt x="722720" y="1677708"/>
                </a:lnTo>
                <a:cubicBezTo>
                  <a:pt x="732515" y="1677252"/>
                  <a:pt x="742536" y="1675430"/>
                  <a:pt x="752558" y="1673608"/>
                </a:cubicBezTo>
                <a:close/>
                <a:moveTo>
                  <a:pt x="602679" y="1663598"/>
                </a:moveTo>
                <a:lnTo>
                  <a:pt x="597773" y="1667644"/>
                </a:lnTo>
                <a:lnTo>
                  <a:pt x="619539" y="1664535"/>
                </a:lnTo>
                <a:cubicBezTo>
                  <a:pt x="617717" y="1666355"/>
                  <a:pt x="614072" y="1671823"/>
                  <a:pt x="610428" y="1670002"/>
                </a:cubicBezTo>
                <a:cubicBezTo>
                  <a:pt x="612250" y="1670002"/>
                  <a:pt x="612250" y="1670002"/>
                  <a:pt x="614072" y="1668179"/>
                </a:cubicBezTo>
                <a:cubicBezTo>
                  <a:pt x="608606" y="1668179"/>
                  <a:pt x="603139" y="1668179"/>
                  <a:pt x="597673" y="1670002"/>
                </a:cubicBezTo>
                <a:lnTo>
                  <a:pt x="597672" y="1670001"/>
                </a:lnTo>
                <a:lnTo>
                  <a:pt x="596283" y="1669307"/>
                </a:lnTo>
                <a:lnTo>
                  <a:pt x="584919" y="1690008"/>
                </a:lnTo>
                <a:cubicBezTo>
                  <a:pt x="581274" y="1688185"/>
                  <a:pt x="577630" y="1693652"/>
                  <a:pt x="573985" y="1691830"/>
                </a:cubicBezTo>
                <a:cubicBezTo>
                  <a:pt x="577630" y="1688185"/>
                  <a:pt x="586741" y="1690008"/>
                  <a:pt x="586741" y="1680897"/>
                </a:cubicBezTo>
                <a:cubicBezTo>
                  <a:pt x="584919" y="1680897"/>
                  <a:pt x="584919" y="1679075"/>
                  <a:pt x="583096" y="1677252"/>
                </a:cubicBezTo>
                <a:lnTo>
                  <a:pt x="595730" y="1669030"/>
                </a:lnTo>
                <a:lnTo>
                  <a:pt x="594753" y="1668542"/>
                </a:lnTo>
                <a:lnTo>
                  <a:pt x="594028" y="1668179"/>
                </a:lnTo>
                <a:lnTo>
                  <a:pt x="597147" y="1667733"/>
                </a:lnTo>
                <a:lnTo>
                  <a:pt x="597673" y="1666775"/>
                </a:lnTo>
                <a:close/>
                <a:moveTo>
                  <a:pt x="552639" y="1663456"/>
                </a:moveTo>
                <a:lnTo>
                  <a:pt x="553240" y="1664357"/>
                </a:lnTo>
                <a:lnTo>
                  <a:pt x="552802" y="1666547"/>
                </a:lnTo>
                <a:cubicBezTo>
                  <a:pt x="552574" y="1668142"/>
                  <a:pt x="552119" y="1669053"/>
                  <a:pt x="550297" y="1668142"/>
                </a:cubicBezTo>
                <a:close/>
                <a:moveTo>
                  <a:pt x="3208849" y="1662675"/>
                </a:moveTo>
                <a:cubicBezTo>
                  <a:pt x="3203382" y="1660853"/>
                  <a:pt x="3207027" y="1666319"/>
                  <a:pt x="3203382" y="1666319"/>
                </a:cubicBezTo>
                <a:cubicBezTo>
                  <a:pt x="3205204" y="1669964"/>
                  <a:pt x="3207027" y="1668142"/>
                  <a:pt x="3210671" y="1668142"/>
                </a:cubicBezTo>
                <a:cubicBezTo>
                  <a:pt x="3210671" y="1666319"/>
                  <a:pt x="3208849" y="1664497"/>
                  <a:pt x="3208849" y="1662675"/>
                </a:cubicBezTo>
                <a:close/>
                <a:moveTo>
                  <a:pt x="1104238" y="1662675"/>
                </a:moveTo>
                <a:cubicBezTo>
                  <a:pt x="1111526" y="1668142"/>
                  <a:pt x="1118815" y="1673608"/>
                  <a:pt x="1126104" y="1675430"/>
                </a:cubicBezTo>
                <a:cubicBezTo>
                  <a:pt x="1126104" y="1677252"/>
                  <a:pt x="1124282" y="1677252"/>
                  <a:pt x="1126104" y="1679075"/>
                </a:cubicBezTo>
                <a:cubicBezTo>
                  <a:pt x="1127926" y="1679075"/>
                  <a:pt x="1129748" y="1682719"/>
                  <a:pt x="1131570" y="1680897"/>
                </a:cubicBezTo>
                <a:cubicBezTo>
                  <a:pt x="1135215" y="1679075"/>
                  <a:pt x="1129748" y="1679075"/>
                  <a:pt x="1127926" y="1677252"/>
                </a:cubicBezTo>
                <a:cubicBezTo>
                  <a:pt x="1127926" y="1677252"/>
                  <a:pt x="1126104" y="1675430"/>
                  <a:pt x="1126104" y="1675430"/>
                </a:cubicBezTo>
                <a:cubicBezTo>
                  <a:pt x="1120637" y="1669964"/>
                  <a:pt x="1111526" y="1659031"/>
                  <a:pt x="1104238" y="1662675"/>
                </a:cubicBezTo>
                <a:close/>
                <a:moveTo>
                  <a:pt x="1056861" y="1662675"/>
                </a:moveTo>
                <a:lnTo>
                  <a:pt x="1057497" y="1663311"/>
                </a:lnTo>
                <a:lnTo>
                  <a:pt x="1050256" y="1666320"/>
                </a:lnTo>
                <a:lnTo>
                  <a:pt x="1043278" y="1666992"/>
                </a:lnTo>
                <a:close/>
                <a:moveTo>
                  <a:pt x="1147970" y="1660853"/>
                </a:moveTo>
                <a:cubicBezTo>
                  <a:pt x="1147970" y="1662675"/>
                  <a:pt x="1149792" y="1664497"/>
                  <a:pt x="1153436" y="1664497"/>
                </a:cubicBezTo>
                <a:lnTo>
                  <a:pt x="1149792" y="1660853"/>
                </a:lnTo>
                <a:cubicBezTo>
                  <a:pt x="1149792" y="1660853"/>
                  <a:pt x="1147970" y="1660853"/>
                  <a:pt x="1147970" y="1660853"/>
                </a:cubicBezTo>
                <a:close/>
                <a:moveTo>
                  <a:pt x="1135215" y="1659031"/>
                </a:moveTo>
                <a:cubicBezTo>
                  <a:pt x="1133393" y="1664497"/>
                  <a:pt x="1137037" y="1669964"/>
                  <a:pt x="1135215" y="1675430"/>
                </a:cubicBezTo>
                <a:cubicBezTo>
                  <a:pt x="1140681" y="1680897"/>
                  <a:pt x="1149792" y="1686363"/>
                  <a:pt x="1151614" y="1680897"/>
                </a:cubicBezTo>
                <a:cubicBezTo>
                  <a:pt x="1155259" y="1680897"/>
                  <a:pt x="1158903" y="1679075"/>
                  <a:pt x="1162547" y="1677252"/>
                </a:cubicBezTo>
                <a:lnTo>
                  <a:pt x="1153436" y="1666319"/>
                </a:lnTo>
                <a:cubicBezTo>
                  <a:pt x="1151614" y="1666319"/>
                  <a:pt x="1147970" y="1666319"/>
                  <a:pt x="1146148" y="1666319"/>
                </a:cubicBezTo>
                <a:cubicBezTo>
                  <a:pt x="1149792" y="1659031"/>
                  <a:pt x="1138859" y="1660853"/>
                  <a:pt x="1135215" y="1659031"/>
                </a:cubicBezTo>
                <a:close/>
                <a:moveTo>
                  <a:pt x="1129748" y="1659031"/>
                </a:moveTo>
                <a:lnTo>
                  <a:pt x="1129748" y="1666319"/>
                </a:lnTo>
                <a:cubicBezTo>
                  <a:pt x="1131570" y="1668142"/>
                  <a:pt x="1131570" y="1671786"/>
                  <a:pt x="1133393" y="1673608"/>
                </a:cubicBezTo>
                <a:cubicBezTo>
                  <a:pt x="1133393" y="1668142"/>
                  <a:pt x="1133393" y="1662675"/>
                  <a:pt x="1131570" y="1659031"/>
                </a:cubicBezTo>
                <a:cubicBezTo>
                  <a:pt x="1131570" y="1659031"/>
                  <a:pt x="1129748" y="1659031"/>
                  <a:pt x="1129748" y="1659031"/>
                </a:cubicBezTo>
                <a:close/>
                <a:moveTo>
                  <a:pt x="1084194" y="1659031"/>
                </a:moveTo>
                <a:lnTo>
                  <a:pt x="1084194" y="1668142"/>
                </a:lnTo>
                <a:cubicBezTo>
                  <a:pt x="1087838" y="1666319"/>
                  <a:pt x="1091484" y="1664497"/>
                  <a:pt x="1095127" y="1662675"/>
                </a:cubicBezTo>
                <a:cubicBezTo>
                  <a:pt x="1091484" y="1660853"/>
                  <a:pt x="1087838" y="1659031"/>
                  <a:pt x="1084194" y="1659031"/>
                </a:cubicBezTo>
                <a:close/>
                <a:moveTo>
                  <a:pt x="787179" y="1659031"/>
                </a:moveTo>
                <a:cubicBezTo>
                  <a:pt x="790824" y="1662675"/>
                  <a:pt x="799935" y="1664497"/>
                  <a:pt x="807223" y="1659031"/>
                </a:cubicBezTo>
                <a:cubicBezTo>
                  <a:pt x="799935" y="1659031"/>
                  <a:pt x="794468" y="1659031"/>
                  <a:pt x="787179" y="1659031"/>
                </a:cubicBezTo>
                <a:close/>
                <a:moveTo>
                  <a:pt x="643228" y="1659031"/>
                </a:moveTo>
                <a:cubicBezTo>
                  <a:pt x="641407" y="1660853"/>
                  <a:pt x="639583" y="1660853"/>
                  <a:pt x="639583" y="1662675"/>
                </a:cubicBezTo>
                <a:cubicBezTo>
                  <a:pt x="641407" y="1664497"/>
                  <a:pt x="645050" y="1660853"/>
                  <a:pt x="643228" y="1659031"/>
                </a:cubicBezTo>
                <a:close/>
                <a:moveTo>
                  <a:pt x="494957" y="1658422"/>
                </a:moveTo>
                <a:lnTo>
                  <a:pt x="492899" y="1667686"/>
                </a:lnTo>
                <a:lnTo>
                  <a:pt x="490036" y="1671075"/>
                </a:lnTo>
                <a:close/>
                <a:moveTo>
                  <a:pt x="832270" y="1656898"/>
                </a:moveTo>
                <a:lnTo>
                  <a:pt x="832734" y="1657208"/>
                </a:lnTo>
                <a:lnTo>
                  <a:pt x="829416" y="1657208"/>
                </a:lnTo>
                <a:close/>
                <a:moveTo>
                  <a:pt x="768959" y="1655386"/>
                </a:moveTo>
                <a:cubicBezTo>
                  <a:pt x="765313" y="1657208"/>
                  <a:pt x="765313" y="1659031"/>
                  <a:pt x="763491" y="1659031"/>
                </a:cubicBezTo>
                <a:cubicBezTo>
                  <a:pt x="765313" y="1660853"/>
                  <a:pt x="770781" y="1659031"/>
                  <a:pt x="774424" y="1659031"/>
                </a:cubicBezTo>
                <a:cubicBezTo>
                  <a:pt x="774424" y="1655386"/>
                  <a:pt x="770781" y="1657208"/>
                  <a:pt x="768959" y="1655386"/>
                </a:cubicBezTo>
                <a:close/>
                <a:moveTo>
                  <a:pt x="559408" y="1655386"/>
                </a:moveTo>
                <a:cubicBezTo>
                  <a:pt x="555763" y="1662675"/>
                  <a:pt x="563052" y="1673608"/>
                  <a:pt x="553941" y="1679075"/>
                </a:cubicBezTo>
                <a:cubicBezTo>
                  <a:pt x="553941" y="1675430"/>
                  <a:pt x="553941" y="1670875"/>
                  <a:pt x="554624" y="1666547"/>
                </a:cubicBezTo>
                <a:lnTo>
                  <a:pt x="554654" y="1666478"/>
                </a:lnTo>
                <a:lnTo>
                  <a:pt x="555763" y="1668142"/>
                </a:lnTo>
                <a:lnTo>
                  <a:pt x="556004" y="1663329"/>
                </a:lnTo>
                <a:close/>
                <a:moveTo>
                  <a:pt x="419100" y="1655386"/>
                </a:moveTo>
                <a:cubicBezTo>
                  <a:pt x="420923" y="1659030"/>
                  <a:pt x="424567" y="1661308"/>
                  <a:pt x="428439" y="1661763"/>
                </a:cubicBezTo>
                <a:lnTo>
                  <a:pt x="431228" y="1660577"/>
                </a:lnTo>
                <a:lnTo>
                  <a:pt x="423862" y="1666623"/>
                </a:lnTo>
                <a:lnTo>
                  <a:pt x="413861" y="1667002"/>
                </a:lnTo>
                <a:cubicBezTo>
                  <a:pt x="408167" y="1666775"/>
                  <a:pt x="402701" y="1665408"/>
                  <a:pt x="397234" y="1660853"/>
                </a:cubicBezTo>
                <a:cubicBezTo>
                  <a:pt x="408167" y="1662675"/>
                  <a:pt x="415456" y="1668142"/>
                  <a:pt x="422745" y="1662675"/>
                </a:cubicBezTo>
                <a:cubicBezTo>
                  <a:pt x="424567" y="1662675"/>
                  <a:pt x="420923" y="1659031"/>
                  <a:pt x="419100" y="1655386"/>
                </a:cubicBezTo>
                <a:close/>
                <a:moveTo>
                  <a:pt x="1177125" y="1653564"/>
                </a:moveTo>
                <a:lnTo>
                  <a:pt x="1180769" y="1657208"/>
                </a:lnTo>
                <a:cubicBezTo>
                  <a:pt x="1180769" y="1657208"/>
                  <a:pt x="1180769" y="1655386"/>
                  <a:pt x="1180769" y="1655386"/>
                </a:cubicBezTo>
                <a:cubicBezTo>
                  <a:pt x="1178947" y="1655386"/>
                  <a:pt x="1177125" y="1655386"/>
                  <a:pt x="1177125" y="1653564"/>
                </a:cubicBezTo>
                <a:close/>
                <a:moveTo>
                  <a:pt x="875578" y="1652194"/>
                </a:moveTo>
                <a:lnTo>
                  <a:pt x="856422" y="1655386"/>
                </a:lnTo>
                <a:lnTo>
                  <a:pt x="850630" y="1654904"/>
                </a:lnTo>
                <a:close/>
                <a:moveTo>
                  <a:pt x="3188155" y="1651742"/>
                </a:moveTo>
                <a:lnTo>
                  <a:pt x="3188805" y="1651742"/>
                </a:lnTo>
                <a:lnTo>
                  <a:pt x="3189518" y="1652329"/>
                </a:lnTo>
                <a:close/>
                <a:moveTo>
                  <a:pt x="1162547" y="1651742"/>
                </a:moveTo>
                <a:cubicBezTo>
                  <a:pt x="1164370" y="1651742"/>
                  <a:pt x="1166192" y="1653564"/>
                  <a:pt x="1168014" y="1657208"/>
                </a:cubicBezTo>
                <a:lnTo>
                  <a:pt x="1168014" y="1653564"/>
                </a:lnTo>
                <a:cubicBezTo>
                  <a:pt x="1166192" y="1651742"/>
                  <a:pt x="1164370" y="1651742"/>
                  <a:pt x="1162547" y="1651742"/>
                </a:cubicBezTo>
                <a:close/>
                <a:moveTo>
                  <a:pt x="1118815" y="1651742"/>
                </a:moveTo>
                <a:cubicBezTo>
                  <a:pt x="1120637" y="1655386"/>
                  <a:pt x="1127926" y="1651742"/>
                  <a:pt x="1129748" y="1655386"/>
                </a:cubicBezTo>
                <a:cubicBezTo>
                  <a:pt x="1129748" y="1651742"/>
                  <a:pt x="1122459" y="1651742"/>
                  <a:pt x="1118815" y="1651742"/>
                </a:cubicBezTo>
                <a:close/>
                <a:moveTo>
                  <a:pt x="654161" y="1651742"/>
                </a:moveTo>
                <a:cubicBezTo>
                  <a:pt x="650516" y="1655386"/>
                  <a:pt x="646872" y="1662675"/>
                  <a:pt x="650516" y="1664497"/>
                </a:cubicBezTo>
                <a:cubicBezTo>
                  <a:pt x="652339" y="1664497"/>
                  <a:pt x="655983" y="1662675"/>
                  <a:pt x="655983" y="1660853"/>
                </a:cubicBezTo>
                <a:cubicBezTo>
                  <a:pt x="654161" y="1659031"/>
                  <a:pt x="652339" y="1660853"/>
                  <a:pt x="652339" y="1660853"/>
                </a:cubicBezTo>
                <a:cubicBezTo>
                  <a:pt x="654161" y="1657208"/>
                  <a:pt x="655983" y="1655386"/>
                  <a:pt x="654161" y="1651742"/>
                </a:cubicBezTo>
                <a:close/>
                <a:moveTo>
                  <a:pt x="443244" y="1651514"/>
                </a:moveTo>
                <a:cubicBezTo>
                  <a:pt x="445066" y="1652197"/>
                  <a:pt x="446433" y="1653564"/>
                  <a:pt x="446433" y="1655386"/>
                </a:cubicBezTo>
                <a:cubicBezTo>
                  <a:pt x="448256" y="1653564"/>
                  <a:pt x="451899" y="1653564"/>
                  <a:pt x="451899" y="1655386"/>
                </a:cubicBezTo>
                <a:cubicBezTo>
                  <a:pt x="446433" y="1653564"/>
                  <a:pt x="442789" y="1660853"/>
                  <a:pt x="437322" y="1660853"/>
                </a:cubicBezTo>
                <a:cubicBezTo>
                  <a:pt x="439145" y="1659031"/>
                  <a:pt x="440966" y="1659031"/>
                  <a:pt x="439145" y="1657208"/>
                </a:cubicBezTo>
                <a:lnTo>
                  <a:pt x="431228" y="1660577"/>
                </a:lnTo>
                <a:lnTo>
                  <a:pt x="442221" y="1651554"/>
                </a:lnTo>
                <a:close/>
                <a:moveTo>
                  <a:pt x="528666" y="1651271"/>
                </a:moveTo>
                <a:lnTo>
                  <a:pt x="528203" y="1652197"/>
                </a:lnTo>
                <a:lnTo>
                  <a:pt x="526539" y="1652863"/>
                </a:lnTo>
                <a:lnTo>
                  <a:pt x="527146" y="1652170"/>
                </a:lnTo>
                <a:close/>
                <a:moveTo>
                  <a:pt x="532075" y="1650648"/>
                </a:moveTo>
                <a:lnTo>
                  <a:pt x="532075" y="1651969"/>
                </a:lnTo>
                <a:cubicBezTo>
                  <a:pt x="531165" y="1654475"/>
                  <a:pt x="529342" y="1656297"/>
                  <a:pt x="526609" y="1655386"/>
                </a:cubicBezTo>
                <a:lnTo>
                  <a:pt x="528203" y="1652197"/>
                </a:lnTo>
                <a:close/>
                <a:moveTo>
                  <a:pt x="1144435" y="1649985"/>
                </a:moveTo>
                <a:lnTo>
                  <a:pt x="1146027" y="1650941"/>
                </a:lnTo>
                <a:lnTo>
                  <a:pt x="1145009" y="1650831"/>
                </a:lnTo>
                <a:close/>
                <a:moveTo>
                  <a:pt x="3077652" y="1649920"/>
                </a:moveTo>
                <a:cubicBezTo>
                  <a:pt x="3074008" y="1649920"/>
                  <a:pt x="3072186" y="1649920"/>
                  <a:pt x="3068541" y="1651742"/>
                </a:cubicBezTo>
                <a:lnTo>
                  <a:pt x="3066719" y="1659031"/>
                </a:lnTo>
                <a:lnTo>
                  <a:pt x="3063075" y="1669964"/>
                </a:lnTo>
                <a:lnTo>
                  <a:pt x="3075830" y="1677252"/>
                </a:lnTo>
                <a:lnTo>
                  <a:pt x="3084941" y="1671786"/>
                </a:lnTo>
                <a:close/>
                <a:moveTo>
                  <a:pt x="444863" y="1649385"/>
                </a:moveTo>
                <a:lnTo>
                  <a:pt x="442221" y="1651554"/>
                </a:lnTo>
                <a:lnTo>
                  <a:pt x="437322" y="1651742"/>
                </a:lnTo>
                <a:close/>
                <a:moveTo>
                  <a:pt x="895926" y="1648752"/>
                </a:moveTo>
                <a:lnTo>
                  <a:pt x="896510" y="1649920"/>
                </a:lnTo>
                <a:lnTo>
                  <a:pt x="875578" y="1652194"/>
                </a:lnTo>
                <a:lnTo>
                  <a:pt x="878288" y="1651742"/>
                </a:lnTo>
                <a:close/>
                <a:moveTo>
                  <a:pt x="1091484" y="1648097"/>
                </a:moveTo>
                <a:cubicBezTo>
                  <a:pt x="1089660" y="1651742"/>
                  <a:pt x="1095127" y="1649920"/>
                  <a:pt x="1095127" y="1651742"/>
                </a:cubicBezTo>
                <a:cubicBezTo>
                  <a:pt x="1096949" y="1648097"/>
                  <a:pt x="1093305" y="1649920"/>
                  <a:pt x="1091484" y="1648097"/>
                </a:cubicBezTo>
                <a:close/>
                <a:moveTo>
                  <a:pt x="449583" y="1647827"/>
                </a:moveTo>
                <a:lnTo>
                  <a:pt x="448256" y="1648325"/>
                </a:lnTo>
                <a:lnTo>
                  <a:pt x="444863" y="1649385"/>
                </a:lnTo>
                <a:lnTo>
                  <a:pt x="446433" y="1648097"/>
                </a:lnTo>
                <a:close/>
                <a:moveTo>
                  <a:pt x="532075" y="1646535"/>
                </a:moveTo>
                <a:lnTo>
                  <a:pt x="532075" y="1649257"/>
                </a:lnTo>
                <a:lnTo>
                  <a:pt x="528666" y="1651271"/>
                </a:lnTo>
                <a:lnTo>
                  <a:pt x="529342" y="1649919"/>
                </a:lnTo>
                <a:lnTo>
                  <a:pt x="529646" y="1649312"/>
                </a:lnTo>
                <a:close/>
                <a:moveTo>
                  <a:pt x="1131570" y="1646275"/>
                </a:moveTo>
                <a:cubicBezTo>
                  <a:pt x="1129748" y="1651742"/>
                  <a:pt x="1140681" y="1653564"/>
                  <a:pt x="1140681" y="1649920"/>
                </a:cubicBezTo>
                <a:cubicBezTo>
                  <a:pt x="1138859" y="1648097"/>
                  <a:pt x="1135215" y="1648097"/>
                  <a:pt x="1131570" y="1646275"/>
                </a:cubicBezTo>
                <a:close/>
                <a:moveTo>
                  <a:pt x="524995" y="1645598"/>
                </a:moveTo>
                <a:lnTo>
                  <a:pt x="520914" y="1651286"/>
                </a:lnTo>
                <a:lnTo>
                  <a:pt x="519829" y="1655483"/>
                </a:lnTo>
                <a:lnTo>
                  <a:pt x="510209" y="1660853"/>
                </a:lnTo>
                <a:cubicBezTo>
                  <a:pt x="513853" y="1660853"/>
                  <a:pt x="513853" y="1659031"/>
                  <a:pt x="515676" y="1660853"/>
                </a:cubicBezTo>
                <a:cubicBezTo>
                  <a:pt x="517498" y="1664497"/>
                  <a:pt x="510209" y="1662675"/>
                  <a:pt x="513853" y="1668142"/>
                </a:cubicBezTo>
                <a:cubicBezTo>
                  <a:pt x="514764" y="1666319"/>
                  <a:pt x="515220" y="1664497"/>
                  <a:pt x="516131" y="1663358"/>
                </a:cubicBezTo>
                <a:lnTo>
                  <a:pt x="517853" y="1663123"/>
                </a:lnTo>
                <a:lnTo>
                  <a:pt x="517498" y="1664497"/>
                </a:lnTo>
                <a:lnTo>
                  <a:pt x="518687" y="1663010"/>
                </a:lnTo>
                <a:lnTo>
                  <a:pt x="521142" y="1662675"/>
                </a:lnTo>
                <a:cubicBezTo>
                  <a:pt x="513853" y="1673608"/>
                  <a:pt x="506565" y="1688185"/>
                  <a:pt x="493809" y="1684541"/>
                </a:cubicBezTo>
                <a:cubicBezTo>
                  <a:pt x="491076" y="1684541"/>
                  <a:pt x="492899" y="1683630"/>
                  <a:pt x="495404" y="1682035"/>
                </a:cubicBezTo>
                <a:lnTo>
                  <a:pt x="496761" y="1680461"/>
                </a:lnTo>
                <a:lnTo>
                  <a:pt x="495632" y="1682719"/>
                </a:lnTo>
                <a:lnTo>
                  <a:pt x="497771" y="1679289"/>
                </a:lnTo>
                <a:lnTo>
                  <a:pt x="501098" y="1675430"/>
                </a:lnTo>
                <a:lnTo>
                  <a:pt x="499456" y="1676590"/>
                </a:lnTo>
                <a:lnTo>
                  <a:pt x="506604" y="1665128"/>
                </a:lnTo>
                <a:lnTo>
                  <a:pt x="504743" y="1673608"/>
                </a:lnTo>
                <a:cubicBezTo>
                  <a:pt x="507020" y="1670875"/>
                  <a:pt x="508045" y="1668028"/>
                  <a:pt x="508415" y="1665152"/>
                </a:cubicBezTo>
                <a:lnTo>
                  <a:pt x="508333" y="1662358"/>
                </a:lnTo>
                <a:lnTo>
                  <a:pt x="509981" y="1659714"/>
                </a:lnTo>
                <a:lnTo>
                  <a:pt x="523160" y="1646209"/>
                </a:lnTo>
                <a:close/>
                <a:moveTo>
                  <a:pt x="801528" y="1645395"/>
                </a:moveTo>
                <a:cubicBezTo>
                  <a:pt x="804945" y="1645851"/>
                  <a:pt x="808134" y="1647217"/>
                  <a:pt x="810867" y="1648128"/>
                </a:cubicBezTo>
                <a:cubicBezTo>
                  <a:pt x="805401" y="1646306"/>
                  <a:pt x="798112" y="1646306"/>
                  <a:pt x="790823" y="1648128"/>
                </a:cubicBezTo>
                <a:cubicBezTo>
                  <a:pt x="794467" y="1645395"/>
                  <a:pt x="798112" y="1644939"/>
                  <a:pt x="801528" y="1645395"/>
                </a:cubicBezTo>
                <a:close/>
                <a:moveTo>
                  <a:pt x="452507" y="1645060"/>
                </a:moveTo>
                <a:lnTo>
                  <a:pt x="453441" y="1645994"/>
                </a:lnTo>
                <a:lnTo>
                  <a:pt x="452642" y="1646680"/>
                </a:lnTo>
                <a:lnTo>
                  <a:pt x="452396" y="1646772"/>
                </a:lnTo>
                <a:lnTo>
                  <a:pt x="446433" y="1648097"/>
                </a:lnTo>
                <a:close/>
                <a:moveTo>
                  <a:pt x="515675" y="1644485"/>
                </a:moveTo>
                <a:cubicBezTo>
                  <a:pt x="513853" y="1648129"/>
                  <a:pt x="517498" y="1655418"/>
                  <a:pt x="512031" y="1651773"/>
                </a:cubicBezTo>
                <a:cubicBezTo>
                  <a:pt x="510209" y="1651773"/>
                  <a:pt x="512031" y="1648129"/>
                  <a:pt x="515675" y="1644485"/>
                </a:cubicBezTo>
                <a:close/>
                <a:moveTo>
                  <a:pt x="1140681" y="1644453"/>
                </a:moveTo>
                <a:lnTo>
                  <a:pt x="1144435" y="1649985"/>
                </a:lnTo>
                <a:lnTo>
                  <a:pt x="1144326" y="1649920"/>
                </a:lnTo>
                <a:cubicBezTo>
                  <a:pt x="1142503" y="1655386"/>
                  <a:pt x="1149792" y="1653564"/>
                  <a:pt x="1153436" y="1655386"/>
                </a:cubicBezTo>
                <a:lnTo>
                  <a:pt x="1146027" y="1650941"/>
                </a:lnTo>
                <a:lnTo>
                  <a:pt x="1153436" y="1651742"/>
                </a:lnTo>
                <a:cubicBezTo>
                  <a:pt x="1157081" y="1653564"/>
                  <a:pt x="1158903" y="1653564"/>
                  <a:pt x="1160725" y="1655386"/>
                </a:cubicBezTo>
                <a:lnTo>
                  <a:pt x="1164370" y="1655386"/>
                </a:lnTo>
                <a:cubicBezTo>
                  <a:pt x="1160725" y="1653564"/>
                  <a:pt x="1155259" y="1653564"/>
                  <a:pt x="1153436" y="1648097"/>
                </a:cubicBezTo>
                <a:cubicBezTo>
                  <a:pt x="1151614" y="1648097"/>
                  <a:pt x="1151614" y="1649920"/>
                  <a:pt x="1151614" y="1649920"/>
                </a:cubicBezTo>
                <a:cubicBezTo>
                  <a:pt x="1147970" y="1646275"/>
                  <a:pt x="1144326" y="1646275"/>
                  <a:pt x="1140681" y="1644453"/>
                </a:cubicBezTo>
                <a:close/>
                <a:moveTo>
                  <a:pt x="1098771" y="1644453"/>
                </a:moveTo>
                <a:cubicBezTo>
                  <a:pt x="1100593" y="1651742"/>
                  <a:pt x="1113349" y="1655386"/>
                  <a:pt x="1118815" y="1649920"/>
                </a:cubicBezTo>
                <a:cubicBezTo>
                  <a:pt x="1111526" y="1649920"/>
                  <a:pt x="1106060" y="1646275"/>
                  <a:pt x="1098771" y="1644453"/>
                </a:cubicBezTo>
                <a:close/>
                <a:moveTo>
                  <a:pt x="482193" y="1642631"/>
                </a:moveTo>
                <a:cubicBezTo>
                  <a:pt x="480599" y="1643086"/>
                  <a:pt x="479232" y="1644453"/>
                  <a:pt x="479232" y="1646275"/>
                </a:cubicBezTo>
                <a:cubicBezTo>
                  <a:pt x="482876" y="1648097"/>
                  <a:pt x="484700" y="1646275"/>
                  <a:pt x="486521" y="1644453"/>
                </a:cubicBezTo>
                <a:cubicBezTo>
                  <a:pt x="485610" y="1642631"/>
                  <a:pt x="483788" y="1642175"/>
                  <a:pt x="482193" y="1642631"/>
                </a:cubicBezTo>
                <a:close/>
                <a:moveTo>
                  <a:pt x="521662" y="1642371"/>
                </a:moveTo>
                <a:lnTo>
                  <a:pt x="522054" y="1643542"/>
                </a:lnTo>
                <a:lnTo>
                  <a:pt x="521142" y="1642631"/>
                </a:lnTo>
                <a:close/>
                <a:moveTo>
                  <a:pt x="1096949" y="1640809"/>
                </a:moveTo>
                <a:cubicBezTo>
                  <a:pt x="1107882" y="1644453"/>
                  <a:pt x="1118815" y="1646275"/>
                  <a:pt x="1131570" y="1648097"/>
                </a:cubicBezTo>
                <a:cubicBezTo>
                  <a:pt x="1122459" y="1642631"/>
                  <a:pt x="1107882" y="1637164"/>
                  <a:pt x="1096949" y="1640809"/>
                </a:cubicBezTo>
                <a:close/>
                <a:moveTo>
                  <a:pt x="871000" y="1640809"/>
                </a:moveTo>
                <a:cubicBezTo>
                  <a:pt x="863711" y="1638987"/>
                  <a:pt x="849133" y="1644453"/>
                  <a:pt x="838200" y="1649920"/>
                </a:cubicBezTo>
                <a:cubicBezTo>
                  <a:pt x="836378" y="1651742"/>
                  <a:pt x="838200" y="1651742"/>
                  <a:pt x="838200" y="1651742"/>
                </a:cubicBezTo>
                <a:cubicBezTo>
                  <a:pt x="849133" y="1646275"/>
                  <a:pt x="860066" y="1644453"/>
                  <a:pt x="871000" y="1640809"/>
                </a:cubicBezTo>
                <a:close/>
                <a:moveTo>
                  <a:pt x="650516" y="1640809"/>
                </a:moveTo>
                <a:cubicBezTo>
                  <a:pt x="645050" y="1648097"/>
                  <a:pt x="641407" y="1655386"/>
                  <a:pt x="634117" y="1659031"/>
                </a:cubicBezTo>
                <a:cubicBezTo>
                  <a:pt x="645050" y="1660853"/>
                  <a:pt x="646872" y="1648097"/>
                  <a:pt x="652339" y="1640809"/>
                </a:cubicBezTo>
                <a:cubicBezTo>
                  <a:pt x="652339" y="1640809"/>
                  <a:pt x="650516" y="1642631"/>
                  <a:pt x="650516" y="1640809"/>
                </a:cubicBezTo>
                <a:close/>
                <a:moveTo>
                  <a:pt x="559408" y="1640809"/>
                </a:moveTo>
                <a:cubicBezTo>
                  <a:pt x="561230" y="1640809"/>
                  <a:pt x="561230" y="1649920"/>
                  <a:pt x="557586" y="1649920"/>
                </a:cubicBezTo>
                <a:cubicBezTo>
                  <a:pt x="557586" y="1646275"/>
                  <a:pt x="557586" y="1644453"/>
                  <a:pt x="559408" y="1640809"/>
                </a:cubicBezTo>
                <a:close/>
                <a:moveTo>
                  <a:pt x="528431" y="1640809"/>
                </a:moveTo>
                <a:lnTo>
                  <a:pt x="526761" y="1643136"/>
                </a:lnTo>
                <a:lnTo>
                  <a:pt x="525040" y="1644283"/>
                </a:lnTo>
                <a:close/>
                <a:moveTo>
                  <a:pt x="471943" y="1638987"/>
                </a:moveTo>
                <a:cubicBezTo>
                  <a:pt x="470121" y="1638987"/>
                  <a:pt x="470121" y="1640809"/>
                  <a:pt x="466478" y="1642631"/>
                </a:cubicBezTo>
                <a:cubicBezTo>
                  <a:pt x="466478" y="1642631"/>
                  <a:pt x="473766" y="1640809"/>
                  <a:pt x="471943" y="1638987"/>
                </a:cubicBezTo>
                <a:close/>
                <a:moveTo>
                  <a:pt x="3133229" y="1638075"/>
                </a:moveTo>
                <a:cubicBezTo>
                  <a:pt x="3121840" y="1638531"/>
                  <a:pt x="3110451" y="1640808"/>
                  <a:pt x="3099518" y="1644453"/>
                </a:cubicBezTo>
                <a:lnTo>
                  <a:pt x="3099518" y="1648097"/>
                </a:lnTo>
                <a:lnTo>
                  <a:pt x="3121384" y="1640809"/>
                </a:lnTo>
                <a:cubicBezTo>
                  <a:pt x="3152361" y="1653564"/>
                  <a:pt x="3141428" y="1637164"/>
                  <a:pt x="3159650" y="1662675"/>
                </a:cubicBezTo>
                <a:lnTo>
                  <a:pt x="3137784" y="1662675"/>
                </a:lnTo>
                <a:cubicBezTo>
                  <a:pt x="3143250" y="1668142"/>
                  <a:pt x="3146895" y="1669964"/>
                  <a:pt x="3148717" y="1671786"/>
                </a:cubicBezTo>
                <a:cubicBezTo>
                  <a:pt x="3148717" y="1675430"/>
                  <a:pt x="3148717" y="1679075"/>
                  <a:pt x="3152361" y="1686363"/>
                </a:cubicBezTo>
                <a:lnTo>
                  <a:pt x="3166939" y="1677252"/>
                </a:lnTo>
                <a:lnTo>
                  <a:pt x="3159650" y="1662675"/>
                </a:lnTo>
                <a:lnTo>
                  <a:pt x="3166939" y="1642631"/>
                </a:lnTo>
                <a:cubicBezTo>
                  <a:pt x="3156006" y="1638986"/>
                  <a:pt x="3144618" y="1637620"/>
                  <a:pt x="3133229" y="1638075"/>
                </a:cubicBezTo>
                <a:close/>
                <a:moveTo>
                  <a:pt x="1115170" y="1637221"/>
                </a:moveTo>
                <a:cubicBezTo>
                  <a:pt x="1120637" y="1637221"/>
                  <a:pt x="1127926" y="1637221"/>
                  <a:pt x="1133392" y="1639043"/>
                </a:cubicBezTo>
                <a:cubicBezTo>
                  <a:pt x="1129748" y="1642688"/>
                  <a:pt x="1120637" y="1639043"/>
                  <a:pt x="1115170" y="1637221"/>
                </a:cubicBezTo>
                <a:close/>
                <a:moveTo>
                  <a:pt x="3081297" y="1637164"/>
                </a:moveTo>
                <a:cubicBezTo>
                  <a:pt x="3081297" y="1638987"/>
                  <a:pt x="3079474" y="1638987"/>
                  <a:pt x="3079474" y="1642631"/>
                </a:cubicBezTo>
                <a:lnTo>
                  <a:pt x="3086763" y="1637164"/>
                </a:lnTo>
                <a:cubicBezTo>
                  <a:pt x="3084941" y="1637164"/>
                  <a:pt x="3083119" y="1637164"/>
                  <a:pt x="3081297" y="1637164"/>
                </a:cubicBezTo>
                <a:close/>
                <a:moveTo>
                  <a:pt x="1087838" y="1637164"/>
                </a:moveTo>
                <a:cubicBezTo>
                  <a:pt x="1087838" y="1640809"/>
                  <a:pt x="1093305" y="1640809"/>
                  <a:pt x="1095127" y="1638987"/>
                </a:cubicBezTo>
                <a:cubicBezTo>
                  <a:pt x="1093305" y="1635342"/>
                  <a:pt x="1089660" y="1638987"/>
                  <a:pt x="1087838" y="1637164"/>
                </a:cubicBezTo>
                <a:close/>
                <a:moveTo>
                  <a:pt x="1036818" y="1637164"/>
                </a:moveTo>
                <a:cubicBezTo>
                  <a:pt x="1036818" y="1642631"/>
                  <a:pt x="1045929" y="1642631"/>
                  <a:pt x="1051395" y="1642631"/>
                </a:cubicBezTo>
                <a:cubicBezTo>
                  <a:pt x="1049573" y="1646275"/>
                  <a:pt x="1047750" y="1642631"/>
                  <a:pt x="1045929" y="1644453"/>
                </a:cubicBezTo>
                <a:cubicBezTo>
                  <a:pt x="1056861" y="1648097"/>
                  <a:pt x="1067794" y="1657208"/>
                  <a:pt x="1080549" y="1653564"/>
                </a:cubicBezTo>
                <a:cubicBezTo>
                  <a:pt x="1071439" y="1646275"/>
                  <a:pt x="1062328" y="1646275"/>
                  <a:pt x="1053217" y="1644453"/>
                </a:cubicBezTo>
                <a:cubicBezTo>
                  <a:pt x="1053217" y="1644453"/>
                  <a:pt x="1055040" y="1642631"/>
                  <a:pt x="1055040" y="1642631"/>
                </a:cubicBezTo>
                <a:cubicBezTo>
                  <a:pt x="1047750" y="1640809"/>
                  <a:pt x="1044106" y="1640809"/>
                  <a:pt x="1036818" y="1637164"/>
                </a:cubicBezTo>
                <a:close/>
                <a:moveTo>
                  <a:pt x="692426" y="1637164"/>
                </a:moveTo>
                <a:cubicBezTo>
                  <a:pt x="690604" y="1637164"/>
                  <a:pt x="690604" y="1642631"/>
                  <a:pt x="688782" y="1642631"/>
                </a:cubicBezTo>
                <a:cubicBezTo>
                  <a:pt x="692426" y="1642631"/>
                  <a:pt x="690604" y="1638987"/>
                  <a:pt x="692426" y="1637164"/>
                </a:cubicBezTo>
                <a:close/>
                <a:moveTo>
                  <a:pt x="502920" y="1637164"/>
                </a:moveTo>
                <a:cubicBezTo>
                  <a:pt x="501098" y="1638987"/>
                  <a:pt x="497454" y="1640809"/>
                  <a:pt x="502920" y="1640809"/>
                </a:cubicBezTo>
                <a:cubicBezTo>
                  <a:pt x="504743" y="1640809"/>
                  <a:pt x="504743" y="1638987"/>
                  <a:pt x="502920" y="1637164"/>
                </a:cubicBezTo>
                <a:close/>
                <a:moveTo>
                  <a:pt x="402701" y="1637164"/>
                </a:moveTo>
                <a:cubicBezTo>
                  <a:pt x="400879" y="1642631"/>
                  <a:pt x="399056" y="1646275"/>
                  <a:pt x="408167" y="1644453"/>
                </a:cubicBezTo>
                <a:cubicBezTo>
                  <a:pt x="404523" y="1640809"/>
                  <a:pt x="402701" y="1642631"/>
                  <a:pt x="402701" y="1637164"/>
                </a:cubicBezTo>
                <a:close/>
                <a:moveTo>
                  <a:pt x="524786" y="1635342"/>
                </a:moveTo>
                <a:cubicBezTo>
                  <a:pt x="522964" y="1633520"/>
                  <a:pt x="519320" y="1637164"/>
                  <a:pt x="521142" y="1638987"/>
                </a:cubicBezTo>
                <a:cubicBezTo>
                  <a:pt x="524786" y="1637164"/>
                  <a:pt x="522964" y="1635342"/>
                  <a:pt x="524786" y="1635342"/>
                </a:cubicBezTo>
                <a:close/>
                <a:moveTo>
                  <a:pt x="520651" y="1632188"/>
                </a:moveTo>
                <a:lnTo>
                  <a:pt x="520458" y="1632837"/>
                </a:lnTo>
                <a:lnTo>
                  <a:pt x="519443" y="1633502"/>
                </a:lnTo>
                <a:lnTo>
                  <a:pt x="519320" y="1633520"/>
                </a:lnTo>
                <a:close/>
                <a:moveTo>
                  <a:pt x="1014951" y="1631698"/>
                </a:moveTo>
                <a:cubicBezTo>
                  <a:pt x="1020418" y="1640809"/>
                  <a:pt x="1029529" y="1638987"/>
                  <a:pt x="1036818" y="1640809"/>
                </a:cubicBezTo>
                <a:cubicBezTo>
                  <a:pt x="1033173" y="1629876"/>
                  <a:pt x="1022240" y="1633520"/>
                  <a:pt x="1014951" y="1631698"/>
                </a:cubicBezTo>
                <a:close/>
                <a:moveTo>
                  <a:pt x="546653" y="1631698"/>
                </a:moveTo>
                <a:lnTo>
                  <a:pt x="546841" y="1632223"/>
                </a:lnTo>
                <a:lnTo>
                  <a:pt x="544968" y="1635066"/>
                </a:lnTo>
                <a:close/>
                <a:moveTo>
                  <a:pt x="435500" y="1631698"/>
                </a:moveTo>
                <a:cubicBezTo>
                  <a:pt x="433678" y="1637164"/>
                  <a:pt x="430034" y="1633520"/>
                  <a:pt x="430034" y="1637164"/>
                </a:cubicBezTo>
                <a:cubicBezTo>
                  <a:pt x="431856" y="1635342"/>
                  <a:pt x="430034" y="1633520"/>
                  <a:pt x="431856" y="1633520"/>
                </a:cubicBezTo>
                <a:cubicBezTo>
                  <a:pt x="428211" y="1633520"/>
                  <a:pt x="426389" y="1633520"/>
                  <a:pt x="422745" y="1635342"/>
                </a:cubicBezTo>
                <a:cubicBezTo>
                  <a:pt x="422745" y="1637164"/>
                  <a:pt x="422745" y="1638987"/>
                  <a:pt x="424567" y="1640809"/>
                </a:cubicBezTo>
                <a:cubicBezTo>
                  <a:pt x="430034" y="1640809"/>
                  <a:pt x="435500" y="1638987"/>
                  <a:pt x="440966" y="1637164"/>
                </a:cubicBezTo>
                <a:cubicBezTo>
                  <a:pt x="439145" y="1635342"/>
                  <a:pt x="437322" y="1633520"/>
                  <a:pt x="435500" y="1631698"/>
                </a:cubicBezTo>
                <a:close/>
                <a:moveTo>
                  <a:pt x="1042284" y="1629876"/>
                </a:moveTo>
                <a:cubicBezTo>
                  <a:pt x="1038639" y="1631698"/>
                  <a:pt x="1044106" y="1633520"/>
                  <a:pt x="1045929" y="1633520"/>
                </a:cubicBezTo>
                <a:cubicBezTo>
                  <a:pt x="1045929" y="1631698"/>
                  <a:pt x="1044106" y="1629876"/>
                  <a:pt x="1042284" y="1629876"/>
                </a:cubicBezTo>
                <a:close/>
                <a:moveTo>
                  <a:pt x="451899" y="1629876"/>
                </a:moveTo>
                <a:cubicBezTo>
                  <a:pt x="450077" y="1631698"/>
                  <a:pt x="446433" y="1631698"/>
                  <a:pt x="446433" y="1633520"/>
                </a:cubicBezTo>
                <a:cubicBezTo>
                  <a:pt x="446433" y="1635342"/>
                  <a:pt x="453722" y="1631698"/>
                  <a:pt x="451899" y="1629876"/>
                </a:cubicBezTo>
                <a:close/>
                <a:moveTo>
                  <a:pt x="442789" y="1629876"/>
                </a:moveTo>
                <a:cubicBezTo>
                  <a:pt x="440966" y="1633520"/>
                  <a:pt x="439145" y="1629876"/>
                  <a:pt x="437322" y="1631698"/>
                </a:cubicBezTo>
                <a:cubicBezTo>
                  <a:pt x="439145" y="1633520"/>
                  <a:pt x="440966" y="1638987"/>
                  <a:pt x="446433" y="1637164"/>
                </a:cubicBezTo>
                <a:cubicBezTo>
                  <a:pt x="446433" y="1633520"/>
                  <a:pt x="444611" y="1631698"/>
                  <a:pt x="442789" y="1629876"/>
                </a:cubicBezTo>
                <a:close/>
                <a:moveTo>
                  <a:pt x="503148" y="1629648"/>
                </a:moveTo>
                <a:cubicBezTo>
                  <a:pt x="502009" y="1630787"/>
                  <a:pt x="501098" y="1632609"/>
                  <a:pt x="501098" y="1633520"/>
                </a:cubicBezTo>
                <a:cubicBezTo>
                  <a:pt x="501098" y="1635342"/>
                  <a:pt x="502920" y="1637164"/>
                  <a:pt x="504743" y="1637164"/>
                </a:cubicBezTo>
                <a:cubicBezTo>
                  <a:pt x="506565" y="1635342"/>
                  <a:pt x="506565" y="1633520"/>
                  <a:pt x="506565" y="1629876"/>
                </a:cubicBezTo>
                <a:cubicBezTo>
                  <a:pt x="505654" y="1628053"/>
                  <a:pt x="504288" y="1628509"/>
                  <a:pt x="503148" y="1629648"/>
                </a:cubicBezTo>
                <a:close/>
                <a:moveTo>
                  <a:pt x="976714" y="1628840"/>
                </a:moveTo>
                <a:lnTo>
                  <a:pt x="966679" y="1633238"/>
                </a:lnTo>
                <a:lnTo>
                  <a:pt x="932042" y="1642631"/>
                </a:lnTo>
                <a:lnTo>
                  <a:pt x="895926" y="1648752"/>
                </a:lnTo>
                <a:lnTo>
                  <a:pt x="894688" y="1646275"/>
                </a:lnTo>
                <a:cubicBezTo>
                  <a:pt x="900154" y="1644453"/>
                  <a:pt x="907444" y="1646275"/>
                  <a:pt x="911087" y="1644453"/>
                </a:cubicBezTo>
                <a:lnTo>
                  <a:pt x="974481" y="1629033"/>
                </a:lnTo>
                <a:close/>
                <a:moveTo>
                  <a:pt x="572163" y="1626231"/>
                </a:moveTo>
                <a:cubicBezTo>
                  <a:pt x="572163" y="1628054"/>
                  <a:pt x="572163" y="1629876"/>
                  <a:pt x="573985" y="1633520"/>
                </a:cubicBezTo>
                <a:cubicBezTo>
                  <a:pt x="561230" y="1640809"/>
                  <a:pt x="577630" y="1660853"/>
                  <a:pt x="561230" y="1668142"/>
                </a:cubicBezTo>
                <a:cubicBezTo>
                  <a:pt x="559408" y="1651742"/>
                  <a:pt x="561230" y="1637164"/>
                  <a:pt x="572163" y="1626231"/>
                </a:cubicBezTo>
                <a:close/>
                <a:moveTo>
                  <a:pt x="517498" y="1626231"/>
                </a:moveTo>
                <a:cubicBezTo>
                  <a:pt x="515676" y="1624409"/>
                  <a:pt x="508387" y="1628054"/>
                  <a:pt x="508387" y="1633520"/>
                </a:cubicBezTo>
                <a:cubicBezTo>
                  <a:pt x="510209" y="1633520"/>
                  <a:pt x="513853" y="1628054"/>
                  <a:pt x="517498" y="1626231"/>
                </a:cubicBezTo>
                <a:close/>
                <a:moveTo>
                  <a:pt x="1158903" y="1624409"/>
                </a:moveTo>
                <a:cubicBezTo>
                  <a:pt x="1162547" y="1626231"/>
                  <a:pt x="1164370" y="1628054"/>
                  <a:pt x="1168014" y="1628054"/>
                </a:cubicBezTo>
                <a:lnTo>
                  <a:pt x="1168014" y="1626231"/>
                </a:lnTo>
                <a:cubicBezTo>
                  <a:pt x="1164370" y="1624409"/>
                  <a:pt x="1162547" y="1624409"/>
                  <a:pt x="1158903" y="1624409"/>
                </a:cubicBezTo>
                <a:close/>
                <a:moveTo>
                  <a:pt x="1009485" y="1624409"/>
                </a:moveTo>
                <a:cubicBezTo>
                  <a:pt x="1007663" y="1629876"/>
                  <a:pt x="1016774" y="1628054"/>
                  <a:pt x="1018596" y="1629876"/>
                </a:cubicBezTo>
                <a:cubicBezTo>
                  <a:pt x="1018596" y="1626231"/>
                  <a:pt x="1013129" y="1624409"/>
                  <a:pt x="1009485" y="1624409"/>
                </a:cubicBezTo>
                <a:close/>
                <a:moveTo>
                  <a:pt x="699715" y="1624409"/>
                </a:moveTo>
                <a:cubicBezTo>
                  <a:pt x="696071" y="1624409"/>
                  <a:pt x="690604" y="1631698"/>
                  <a:pt x="692426" y="1635342"/>
                </a:cubicBezTo>
                <a:cubicBezTo>
                  <a:pt x="696071" y="1635342"/>
                  <a:pt x="697893" y="1629876"/>
                  <a:pt x="699715" y="1624409"/>
                </a:cubicBezTo>
                <a:close/>
                <a:moveTo>
                  <a:pt x="1018596" y="1622587"/>
                </a:moveTo>
                <a:cubicBezTo>
                  <a:pt x="1020418" y="1629876"/>
                  <a:pt x="1033173" y="1633520"/>
                  <a:pt x="1040462" y="1631698"/>
                </a:cubicBezTo>
                <a:cubicBezTo>
                  <a:pt x="1036818" y="1624409"/>
                  <a:pt x="1027707" y="1618943"/>
                  <a:pt x="1018596" y="1622587"/>
                </a:cubicBezTo>
                <a:close/>
                <a:moveTo>
                  <a:pt x="488343" y="1622587"/>
                </a:moveTo>
                <a:cubicBezTo>
                  <a:pt x="486521" y="1624409"/>
                  <a:pt x="488343" y="1624409"/>
                  <a:pt x="486521" y="1626231"/>
                </a:cubicBezTo>
                <a:cubicBezTo>
                  <a:pt x="488343" y="1628054"/>
                  <a:pt x="490165" y="1628054"/>
                  <a:pt x="491987" y="1626231"/>
                </a:cubicBezTo>
                <a:cubicBezTo>
                  <a:pt x="491987" y="1624409"/>
                  <a:pt x="490165" y="1624409"/>
                  <a:pt x="488343" y="1622587"/>
                </a:cubicBezTo>
                <a:close/>
                <a:moveTo>
                  <a:pt x="461010" y="1622587"/>
                </a:moveTo>
                <a:cubicBezTo>
                  <a:pt x="459188" y="1622587"/>
                  <a:pt x="451899" y="1626231"/>
                  <a:pt x="453722" y="1629876"/>
                </a:cubicBezTo>
                <a:cubicBezTo>
                  <a:pt x="455544" y="1628054"/>
                  <a:pt x="462832" y="1624409"/>
                  <a:pt x="461010" y="1622587"/>
                </a:cubicBezTo>
                <a:close/>
                <a:moveTo>
                  <a:pt x="661449" y="1620765"/>
                </a:moveTo>
                <a:cubicBezTo>
                  <a:pt x="654161" y="1626231"/>
                  <a:pt x="657805" y="1633520"/>
                  <a:pt x="655983" y="1638987"/>
                </a:cubicBezTo>
                <a:cubicBezTo>
                  <a:pt x="655983" y="1633520"/>
                  <a:pt x="668738" y="1622587"/>
                  <a:pt x="661449" y="1620765"/>
                </a:cubicBezTo>
                <a:close/>
                <a:moveTo>
                  <a:pt x="535719" y="1620765"/>
                </a:moveTo>
                <a:cubicBezTo>
                  <a:pt x="533897" y="1620765"/>
                  <a:pt x="530253" y="1626231"/>
                  <a:pt x="532075" y="1628054"/>
                </a:cubicBezTo>
                <a:cubicBezTo>
                  <a:pt x="533897" y="1626231"/>
                  <a:pt x="535719" y="1622587"/>
                  <a:pt x="535719" y="1620765"/>
                </a:cubicBezTo>
                <a:close/>
                <a:moveTo>
                  <a:pt x="481054" y="1620765"/>
                </a:moveTo>
                <a:cubicBezTo>
                  <a:pt x="481054" y="1620765"/>
                  <a:pt x="479232" y="1620765"/>
                  <a:pt x="477410" y="1622587"/>
                </a:cubicBezTo>
                <a:cubicBezTo>
                  <a:pt x="477410" y="1628054"/>
                  <a:pt x="482876" y="1622587"/>
                  <a:pt x="481054" y="1620765"/>
                </a:cubicBezTo>
                <a:close/>
                <a:moveTo>
                  <a:pt x="566697" y="1618944"/>
                </a:moveTo>
                <a:lnTo>
                  <a:pt x="567607" y="1627142"/>
                </a:lnTo>
                <a:lnTo>
                  <a:pt x="563621" y="1634317"/>
                </a:lnTo>
                <a:close/>
                <a:moveTo>
                  <a:pt x="3084941" y="1618943"/>
                </a:moveTo>
                <a:cubicBezTo>
                  <a:pt x="3081297" y="1618943"/>
                  <a:pt x="3083119" y="1628054"/>
                  <a:pt x="3088585" y="1626231"/>
                </a:cubicBezTo>
                <a:cubicBezTo>
                  <a:pt x="3088585" y="1622587"/>
                  <a:pt x="3084941" y="1622587"/>
                  <a:pt x="3084941" y="1618943"/>
                </a:cubicBezTo>
                <a:close/>
                <a:moveTo>
                  <a:pt x="557586" y="1618943"/>
                </a:moveTo>
                <a:cubicBezTo>
                  <a:pt x="548475" y="1620765"/>
                  <a:pt x="550297" y="1628054"/>
                  <a:pt x="550297" y="1631698"/>
                </a:cubicBezTo>
                <a:cubicBezTo>
                  <a:pt x="553941" y="1628054"/>
                  <a:pt x="555763" y="1624409"/>
                  <a:pt x="557586" y="1618943"/>
                </a:cubicBezTo>
                <a:close/>
                <a:moveTo>
                  <a:pt x="994907" y="1617121"/>
                </a:moveTo>
                <a:cubicBezTo>
                  <a:pt x="989441" y="1618943"/>
                  <a:pt x="983974" y="1622587"/>
                  <a:pt x="980330" y="1620765"/>
                </a:cubicBezTo>
                <a:cubicBezTo>
                  <a:pt x="982152" y="1626231"/>
                  <a:pt x="993085" y="1626231"/>
                  <a:pt x="1000374" y="1622587"/>
                </a:cubicBezTo>
                <a:cubicBezTo>
                  <a:pt x="1000374" y="1620765"/>
                  <a:pt x="996729" y="1618943"/>
                  <a:pt x="994907" y="1617121"/>
                </a:cubicBezTo>
                <a:close/>
                <a:moveTo>
                  <a:pt x="563052" y="1617121"/>
                </a:moveTo>
                <a:cubicBezTo>
                  <a:pt x="561230" y="1618943"/>
                  <a:pt x="563052" y="1620765"/>
                  <a:pt x="561230" y="1622587"/>
                </a:cubicBezTo>
                <a:cubicBezTo>
                  <a:pt x="563052" y="1624409"/>
                  <a:pt x="566697" y="1617121"/>
                  <a:pt x="563052" y="1617121"/>
                </a:cubicBezTo>
                <a:close/>
                <a:moveTo>
                  <a:pt x="446433" y="1617121"/>
                </a:moveTo>
                <a:cubicBezTo>
                  <a:pt x="450077" y="1622587"/>
                  <a:pt x="433678" y="1624409"/>
                  <a:pt x="440966" y="1628054"/>
                </a:cubicBezTo>
                <a:cubicBezTo>
                  <a:pt x="442789" y="1628054"/>
                  <a:pt x="444611" y="1628054"/>
                  <a:pt x="446433" y="1626231"/>
                </a:cubicBezTo>
                <a:lnTo>
                  <a:pt x="448566" y="1625816"/>
                </a:lnTo>
                <a:lnTo>
                  <a:pt x="448256" y="1626231"/>
                </a:lnTo>
                <a:lnTo>
                  <a:pt x="448841" y="1625763"/>
                </a:lnTo>
                <a:lnTo>
                  <a:pt x="454632" y="1624637"/>
                </a:lnTo>
                <a:cubicBezTo>
                  <a:pt x="457367" y="1623043"/>
                  <a:pt x="459188" y="1620765"/>
                  <a:pt x="457367" y="1618943"/>
                </a:cubicBezTo>
                <a:lnTo>
                  <a:pt x="448841" y="1625763"/>
                </a:lnTo>
                <a:lnTo>
                  <a:pt x="448566" y="1625816"/>
                </a:lnTo>
                <a:lnTo>
                  <a:pt x="453722" y="1618943"/>
                </a:lnTo>
                <a:cubicBezTo>
                  <a:pt x="451899" y="1615298"/>
                  <a:pt x="450077" y="1615298"/>
                  <a:pt x="446433" y="1617121"/>
                </a:cubicBezTo>
                <a:close/>
                <a:moveTo>
                  <a:pt x="1007663" y="1615298"/>
                </a:moveTo>
                <a:cubicBezTo>
                  <a:pt x="1009485" y="1626231"/>
                  <a:pt x="1014951" y="1620765"/>
                  <a:pt x="1018596" y="1617121"/>
                </a:cubicBezTo>
                <a:cubicBezTo>
                  <a:pt x="1014951" y="1617121"/>
                  <a:pt x="1011307" y="1615298"/>
                  <a:pt x="1007663" y="1615298"/>
                </a:cubicBezTo>
                <a:close/>
                <a:moveTo>
                  <a:pt x="513853" y="1615298"/>
                </a:moveTo>
                <a:cubicBezTo>
                  <a:pt x="510209" y="1617121"/>
                  <a:pt x="512031" y="1618943"/>
                  <a:pt x="512031" y="1620765"/>
                </a:cubicBezTo>
                <a:cubicBezTo>
                  <a:pt x="513853" y="1622587"/>
                  <a:pt x="513853" y="1617121"/>
                  <a:pt x="517498" y="1617121"/>
                </a:cubicBezTo>
                <a:cubicBezTo>
                  <a:pt x="515676" y="1615298"/>
                  <a:pt x="515676" y="1617121"/>
                  <a:pt x="513853" y="1615298"/>
                </a:cubicBezTo>
                <a:close/>
                <a:moveTo>
                  <a:pt x="508387" y="1613476"/>
                </a:moveTo>
                <a:cubicBezTo>
                  <a:pt x="504743" y="1615298"/>
                  <a:pt x="502920" y="1620765"/>
                  <a:pt x="501098" y="1624409"/>
                </a:cubicBezTo>
                <a:cubicBezTo>
                  <a:pt x="508387" y="1626231"/>
                  <a:pt x="512031" y="1617121"/>
                  <a:pt x="508387" y="1613476"/>
                </a:cubicBezTo>
                <a:close/>
                <a:moveTo>
                  <a:pt x="940242" y="1611654"/>
                </a:moveTo>
                <a:cubicBezTo>
                  <a:pt x="942975" y="1610743"/>
                  <a:pt x="947075" y="1611198"/>
                  <a:pt x="951403" y="1612565"/>
                </a:cubicBezTo>
                <a:lnTo>
                  <a:pt x="963039" y="1618489"/>
                </a:lnTo>
                <a:lnTo>
                  <a:pt x="958692" y="1618715"/>
                </a:lnTo>
                <a:lnTo>
                  <a:pt x="939756" y="1611816"/>
                </a:lnTo>
                <a:close/>
                <a:moveTo>
                  <a:pt x="522964" y="1611654"/>
                </a:moveTo>
                <a:cubicBezTo>
                  <a:pt x="521142" y="1612565"/>
                  <a:pt x="519320" y="1614387"/>
                  <a:pt x="519320" y="1615298"/>
                </a:cubicBezTo>
                <a:cubicBezTo>
                  <a:pt x="524786" y="1618943"/>
                  <a:pt x="524786" y="1611654"/>
                  <a:pt x="526609" y="1613476"/>
                </a:cubicBezTo>
                <a:cubicBezTo>
                  <a:pt x="526609" y="1610743"/>
                  <a:pt x="524787" y="1610743"/>
                  <a:pt x="522964" y="1611654"/>
                </a:cubicBezTo>
                <a:close/>
                <a:moveTo>
                  <a:pt x="502920" y="1611654"/>
                </a:moveTo>
                <a:cubicBezTo>
                  <a:pt x="502920" y="1613476"/>
                  <a:pt x="501098" y="1613476"/>
                  <a:pt x="499276" y="1613476"/>
                </a:cubicBezTo>
                <a:cubicBezTo>
                  <a:pt x="499276" y="1615298"/>
                  <a:pt x="499276" y="1618943"/>
                  <a:pt x="501098" y="1618943"/>
                </a:cubicBezTo>
                <a:cubicBezTo>
                  <a:pt x="501098" y="1617121"/>
                  <a:pt x="502920" y="1615298"/>
                  <a:pt x="502920" y="1611654"/>
                </a:cubicBezTo>
                <a:close/>
                <a:moveTo>
                  <a:pt x="471943" y="1611654"/>
                </a:moveTo>
                <a:cubicBezTo>
                  <a:pt x="470121" y="1615298"/>
                  <a:pt x="466478" y="1618943"/>
                  <a:pt x="468299" y="1624409"/>
                </a:cubicBezTo>
                <a:cubicBezTo>
                  <a:pt x="466478" y="1624409"/>
                  <a:pt x="464655" y="1622587"/>
                  <a:pt x="464655" y="1622587"/>
                </a:cubicBezTo>
                <a:cubicBezTo>
                  <a:pt x="461010" y="1628054"/>
                  <a:pt x="446433" y="1635342"/>
                  <a:pt x="453722" y="1638987"/>
                </a:cubicBezTo>
                <a:cubicBezTo>
                  <a:pt x="464655" y="1635342"/>
                  <a:pt x="473766" y="1635342"/>
                  <a:pt x="475589" y="1626231"/>
                </a:cubicBezTo>
                <a:cubicBezTo>
                  <a:pt x="475589" y="1624409"/>
                  <a:pt x="471943" y="1624409"/>
                  <a:pt x="468299" y="1624409"/>
                </a:cubicBezTo>
                <a:cubicBezTo>
                  <a:pt x="470121" y="1622587"/>
                  <a:pt x="471943" y="1622587"/>
                  <a:pt x="473766" y="1620765"/>
                </a:cubicBezTo>
                <a:cubicBezTo>
                  <a:pt x="473766" y="1618943"/>
                  <a:pt x="473766" y="1620765"/>
                  <a:pt x="471943" y="1618943"/>
                </a:cubicBezTo>
                <a:cubicBezTo>
                  <a:pt x="475589" y="1622587"/>
                  <a:pt x="479232" y="1620765"/>
                  <a:pt x="482876" y="1618943"/>
                </a:cubicBezTo>
                <a:cubicBezTo>
                  <a:pt x="479232" y="1617121"/>
                  <a:pt x="475589" y="1613476"/>
                  <a:pt x="471943" y="1611654"/>
                </a:cubicBezTo>
                <a:close/>
                <a:moveTo>
                  <a:pt x="462832" y="1611654"/>
                </a:moveTo>
                <a:cubicBezTo>
                  <a:pt x="461010" y="1609832"/>
                  <a:pt x="457367" y="1615298"/>
                  <a:pt x="459188" y="1617121"/>
                </a:cubicBezTo>
                <a:cubicBezTo>
                  <a:pt x="461010" y="1615298"/>
                  <a:pt x="461010" y="1613476"/>
                  <a:pt x="462832" y="1611654"/>
                </a:cubicBezTo>
                <a:close/>
                <a:moveTo>
                  <a:pt x="1012901" y="1610743"/>
                </a:moveTo>
                <a:cubicBezTo>
                  <a:pt x="1010851" y="1609832"/>
                  <a:pt x="1008573" y="1609832"/>
                  <a:pt x="1005840" y="1611654"/>
                </a:cubicBezTo>
                <a:cubicBezTo>
                  <a:pt x="1005840" y="1617121"/>
                  <a:pt x="1013129" y="1615298"/>
                  <a:pt x="1018596" y="1615298"/>
                </a:cubicBezTo>
                <a:cubicBezTo>
                  <a:pt x="1016774" y="1613476"/>
                  <a:pt x="1014951" y="1611654"/>
                  <a:pt x="1012901" y="1610743"/>
                </a:cubicBezTo>
                <a:close/>
                <a:moveTo>
                  <a:pt x="935850" y="1610393"/>
                </a:moveTo>
                <a:lnTo>
                  <a:pt x="939756" y="1611816"/>
                </a:lnTo>
                <a:lnTo>
                  <a:pt x="929309" y="1615298"/>
                </a:lnTo>
                <a:close/>
                <a:moveTo>
                  <a:pt x="3088585" y="1609832"/>
                </a:moveTo>
                <a:cubicBezTo>
                  <a:pt x="3083119" y="1609832"/>
                  <a:pt x="3086763" y="1622587"/>
                  <a:pt x="3092230" y="1622587"/>
                </a:cubicBezTo>
                <a:cubicBezTo>
                  <a:pt x="3095874" y="1618943"/>
                  <a:pt x="3094052" y="1611654"/>
                  <a:pt x="3088585" y="1609832"/>
                </a:cubicBezTo>
                <a:close/>
                <a:moveTo>
                  <a:pt x="3075830" y="1609832"/>
                </a:moveTo>
                <a:cubicBezTo>
                  <a:pt x="3075830" y="1617121"/>
                  <a:pt x="3077652" y="1617121"/>
                  <a:pt x="3077652" y="1631698"/>
                </a:cubicBezTo>
                <a:cubicBezTo>
                  <a:pt x="3074008" y="1631698"/>
                  <a:pt x="3075830" y="1626231"/>
                  <a:pt x="3070363" y="1628054"/>
                </a:cubicBezTo>
                <a:cubicBezTo>
                  <a:pt x="3070363" y="1631698"/>
                  <a:pt x="3070363" y="1633520"/>
                  <a:pt x="3070363" y="1637164"/>
                </a:cubicBezTo>
                <a:cubicBezTo>
                  <a:pt x="3066719" y="1635342"/>
                  <a:pt x="3059430" y="1637164"/>
                  <a:pt x="3055786" y="1633520"/>
                </a:cubicBezTo>
                <a:lnTo>
                  <a:pt x="3053964" y="1648097"/>
                </a:lnTo>
                <a:lnTo>
                  <a:pt x="3068541" y="1640809"/>
                </a:lnTo>
                <a:cubicBezTo>
                  <a:pt x="3068541" y="1638987"/>
                  <a:pt x="3070363" y="1638987"/>
                  <a:pt x="3070363" y="1637164"/>
                </a:cubicBezTo>
                <a:cubicBezTo>
                  <a:pt x="3077652" y="1637164"/>
                  <a:pt x="3077652" y="1629876"/>
                  <a:pt x="3083119" y="1628054"/>
                </a:cubicBezTo>
                <a:cubicBezTo>
                  <a:pt x="3081297" y="1620765"/>
                  <a:pt x="3081297" y="1611654"/>
                  <a:pt x="3075830" y="1609832"/>
                </a:cubicBezTo>
                <a:close/>
                <a:moveTo>
                  <a:pt x="1004018" y="1609832"/>
                </a:moveTo>
                <a:cubicBezTo>
                  <a:pt x="1002196" y="1611654"/>
                  <a:pt x="1002196" y="1611654"/>
                  <a:pt x="1000374" y="1613476"/>
                </a:cubicBezTo>
                <a:cubicBezTo>
                  <a:pt x="1002196" y="1615298"/>
                  <a:pt x="1007663" y="1613476"/>
                  <a:pt x="1004018" y="1609832"/>
                </a:cubicBezTo>
                <a:close/>
                <a:moveTo>
                  <a:pt x="705182" y="1609832"/>
                </a:moveTo>
                <a:cubicBezTo>
                  <a:pt x="703359" y="1608010"/>
                  <a:pt x="701537" y="1611654"/>
                  <a:pt x="703359" y="1613476"/>
                </a:cubicBezTo>
                <a:cubicBezTo>
                  <a:pt x="707004" y="1611654"/>
                  <a:pt x="705182" y="1609832"/>
                  <a:pt x="705182" y="1609832"/>
                </a:cubicBezTo>
                <a:close/>
                <a:moveTo>
                  <a:pt x="468299" y="1609832"/>
                </a:moveTo>
                <a:cubicBezTo>
                  <a:pt x="462832" y="1609832"/>
                  <a:pt x="462832" y="1615298"/>
                  <a:pt x="461010" y="1618943"/>
                </a:cubicBezTo>
                <a:cubicBezTo>
                  <a:pt x="466478" y="1620765"/>
                  <a:pt x="470121" y="1613476"/>
                  <a:pt x="468299" y="1609832"/>
                </a:cubicBezTo>
                <a:close/>
                <a:moveTo>
                  <a:pt x="388123" y="1608693"/>
                </a:moveTo>
                <a:lnTo>
                  <a:pt x="391207" y="1610427"/>
                </a:lnTo>
                <a:lnTo>
                  <a:pt x="388998" y="1610980"/>
                </a:lnTo>
                <a:lnTo>
                  <a:pt x="386301" y="1609832"/>
                </a:lnTo>
                <a:lnTo>
                  <a:pt x="387759" y="1611290"/>
                </a:lnTo>
                <a:lnTo>
                  <a:pt x="380107" y="1613202"/>
                </a:lnTo>
                <a:close/>
                <a:moveTo>
                  <a:pt x="3063075" y="1608010"/>
                </a:moveTo>
                <a:cubicBezTo>
                  <a:pt x="3059430" y="1611654"/>
                  <a:pt x="3066719" y="1617121"/>
                  <a:pt x="3068541" y="1620765"/>
                </a:cubicBezTo>
                <a:cubicBezTo>
                  <a:pt x="3072186" y="1618943"/>
                  <a:pt x="3064897" y="1613476"/>
                  <a:pt x="3063075" y="1608010"/>
                </a:cubicBezTo>
                <a:close/>
                <a:moveTo>
                  <a:pt x="493809" y="1608010"/>
                </a:moveTo>
                <a:cubicBezTo>
                  <a:pt x="493809" y="1608010"/>
                  <a:pt x="482876" y="1615298"/>
                  <a:pt x="495632" y="1613476"/>
                </a:cubicBezTo>
                <a:cubicBezTo>
                  <a:pt x="493809" y="1615298"/>
                  <a:pt x="491987" y="1615298"/>
                  <a:pt x="490165" y="1617121"/>
                </a:cubicBezTo>
                <a:cubicBezTo>
                  <a:pt x="490165" y="1620765"/>
                  <a:pt x="493809" y="1624409"/>
                  <a:pt x="495632" y="1620765"/>
                </a:cubicBezTo>
                <a:cubicBezTo>
                  <a:pt x="497454" y="1618943"/>
                  <a:pt x="497454" y="1617121"/>
                  <a:pt x="495632" y="1613476"/>
                </a:cubicBezTo>
                <a:cubicBezTo>
                  <a:pt x="493809" y="1611654"/>
                  <a:pt x="495632" y="1609832"/>
                  <a:pt x="493809" y="1608010"/>
                </a:cubicBezTo>
                <a:close/>
                <a:moveTo>
                  <a:pt x="404523" y="1608010"/>
                </a:moveTo>
                <a:cubicBezTo>
                  <a:pt x="402701" y="1608010"/>
                  <a:pt x="400879" y="1608010"/>
                  <a:pt x="400879" y="1609832"/>
                </a:cubicBezTo>
                <a:cubicBezTo>
                  <a:pt x="402701" y="1609832"/>
                  <a:pt x="404523" y="1613476"/>
                  <a:pt x="408167" y="1611654"/>
                </a:cubicBezTo>
                <a:cubicBezTo>
                  <a:pt x="406345" y="1611654"/>
                  <a:pt x="406345" y="1609832"/>
                  <a:pt x="404523" y="1608010"/>
                </a:cubicBezTo>
                <a:close/>
                <a:moveTo>
                  <a:pt x="710902" y="1607558"/>
                </a:moveTo>
                <a:lnTo>
                  <a:pt x="710648" y="1608010"/>
                </a:lnTo>
                <a:lnTo>
                  <a:pt x="710819" y="1607649"/>
                </a:lnTo>
                <a:close/>
                <a:moveTo>
                  <a:pt x="930254" y="1606592"/>
                </a:moveTo>
                <a:lnTo>
                  <a:pt x="936598" y="1609832"/>
                </a:lnTo>
                <a:lnTo>
                  <a:pt x="935850" y="1610393"/>
                </a:lnTo>
                <a:lnTo>
                  <a:pt x="929309" y="1608010"/>
                </a:lnTo>
                <a:close/>
                <a:moveTo>
                  <a:pt x="579452" y="1606188"/>
                </a:moveTo>
                <a:cubicBezTo>
                  <a:pt x="575808" y="1611654"/>
                  <a:pt x="573985" y="1618943"/>
                  <a:pt x="568519" y="1622587"/>
                </a:cubicBezTo>
                <a:lnTo>
                  <a:pt x="567101" y="1616919"/>
                </a:lnTo>
                <a:lnTo>
                  <a:pt x="567381" y="1615526"/>
                </a:lnTo>
                <a:lnTo>
                  <a:pt x="573076" y="1607216"/>
                </a:lnTo>
                <a:close/>
                <a:moveTo>
                  <a:pt x="3340045" y="1605692"/>
                </a:moveTo>
                <a:lnTo>
                  <a:pt x="3340045" y="1610289"/>
                </a:lnTo>
                <a:lnTo>
                  <a:pt x="3338222" y="1609833"/>
                </a:lnTo>
                <a:cubicBezTo>
                  <a:pt x="3339134" y="1609833"/>
                  <a:pt x="3339134" y="1608467"/>
                  <a:pt x="3339362" y="1606873"/>
                </a:cubicBezTo>
                <a:close/>
                <a:moveTo>
                  <a:pt x="592170" y="1604436"/>
                </a:moveTo>
                <a:lnTo>
                  <a:pt x="592197" y="1604552"/>
                </a:lnTo>
                <a:lnTo>
                  <a:pt x="591979" y="1608693"/>
                </a:lnTo>
                <a:cubicBezTo>
                  <a:pt x="592207" y="1609832"/>
                  <a:pt x="592207" y="1610743"/>
                  <a:pt x="590385" y="1611654"/>
                </a:cubicBezTo>
                <a:cubicBezTo>
                  <a:pt x="589473" y="1610743"/>
                  <a:pt x="589929" y="1608921"/>
                  <a:pt x="590612" y="1607326"/>
                </a:cubicBezTo>
                <a:close/>
                <a:moveTo>
                  <a:pt x="3044853" y="1604365"/>
                </a:moveTo>
                <a:lnTo>
                  <a:pt x="3048497" y="1608010"/>
                </a:lnTo>
                <a:cubicBezTo>
                  <a:pt x="3050319" y="1606188"/>
                  <a:pt x="3050319" y="1604365"/>
                  <a:pt x="3052142" y="1604365"/>
                </a:cubicBezTo>
                <a:close/>
                <a:moveTo>
                  <a:pt x="931795" y="1604279"/>
                </a:moveTo>
                <a:lnTo>
                  <a:pt x="930254" y="1606592"/>
                </a:lnTo>
                <a:lnTo>
                  <a:pt x="927317" y="1605093"/>
                </a:lnTo>
                <a:lnTo>
                  <a:pt x="929030" y="1604318"/>
                </a:lnTo>
                <a:close/>
                <a:moveTo>
                  <a:pt x="584479" y="1603099"/>
                </a:moveTo>
                <a:lnTo>
                  <a:pt x="584919" y="1611654"/>
                </a:lnTo>
                <a:lnTo>
                  <a:pt x="585393" y="1610387"/>
                </a:lnTo>
                <a:lnTo>
                  <a:pt x="584919" y="1615298"/>
                </a:lnTo>
                <a:cubicBezTo>
                  <a:pt x="581274" y="1620765"/>
                  <a:pt x="577630" y="1624409"/>
                  <a:pt x="573985" y="1629876"/>
                </a:cubicBezTo>
                <a:cubicBezTo>
                  <a:pt x="571252" y="1624409"/>
                  <a:pt x="572163" y="1619854"/>
                  <a:pt x="574668" y="1615526"/>
                </a:cubicBezTo>
                <a:close/>
                <a:moveTo>
                  <a:pt x="454860" y="1602771"/>
                </a:moveTo>
                <a:cubicBezTo>
                  <a:pt x="453266" y="1604366"/>
                  <a:pt x="451899" y="1607099"/>
                  <a:pt x="450077" y="1608010"/>
                </a:cubicBezTo>
                <a:cubicBezTo>
                  <a:pt x="453722" y="1611654"/>
                  <a:pt x="459188" y="1608010"/>
                  <a:pt x="461010" y="1604365"/>
                </a:cubicBezTo>
                <a:cubicBezTo>
                  <a:pt x="458277" y="1600721"/>
                  <a:pt x="456455" y="1601177"/>
                  <a:pt x="454860" y="1602771"/>
                </a:cubicBezTo>
                <a:close/>
                <a:moveTo>
                  <a:pt x="524786" y="1602543"/>
                </a:moveTo>
                <a:cubicBezTo>
                  <a:pt x="521142" y="1602543"/>
                  <a:pt x="519320" y="1604365"/>
                  <a:pt x="515676" y="1606188"/>
                </a:cubicBezTo>
                <a:cubicBezTo>
                  <a:pt x="521142" y="1608010"/>
                  <a:pt x="519320" y="1611654"/>
                  <a:pt x="517498" y="1613476"/>
                </a:cubicBezTo>
                <a:cubicBezTo>
                  <a:pt x="517498" y="1609832"/>
                  <a:pt x="526609" y="1608010"/>
                  <a:pt x="524786" y="1602543"/>
                </a:cubicBezTo>
                <a:close/>
                <a:moveTo>
                  <a:pt x="437322" y="1602543"/>
                </a:moveTo>
                <a:cubicBezTo>
                  <a:pt x="440966" y="1606188"/>
                  <a:pt x="446433" y="1608010"/>
                  <a:pt x="448256" y="1602543"/>
                </a:cubicBezTo>
                <a:cubicBezTo>
                  <a:pt x="444611" y="1602543"/>
                  <a:pt x="440966" y="1602543"/>
                  <a:pt x="437322" y="1602543"/>
                </a:cubicBezTo>
                <a:close/>
                <a:moveTo>
                  <a:pt x="419100" y="1602543"/>
                </a:moveTo>
                <a:cubicBezTo>
                  <a:pt x="413634" y="1602543"/>
                  <a:pt x="404523" y="1602543"/>
                  <a:pt x="406345" y="1606188"/>
                </a:cubicBezTo>
                <a:cubicBezTo>
                  <a:pt x="408167" y="1617121"/>
                  <a:pt x="413634" y="1608010"/>
                  <a:pt x="417278" y="1618943"/>
                </a:cubicBezTo>
                <a:lnTo>
                  <a:pt x="427804" y="1625522"/>
                </a:lnTo>
                <a:lnTo>
                  <a:pt x="424567" y="1624409"/>
                </a:lnTo>
                <a:cubicBezTo>
                  <a:pt x="426389" y="1626231"/>
                  <a:pt x="431856" y="1626231"/>
                  <a:pt x="431856" y="1628054"/>
                </a:cubicBezTo>
                <a:lnTo>
                  <a:pt x="427804" y="1625522"/>
                </a:lnTo>
                <a:lnTo>
                  <a:pt x="431855" y="1626914"/>
                </a:lnTo>
                <a:cubicBezTo>
                  <a:pt x="434133" y="1627142"/>
                  <a:pt x="436411" y="1626231"/>
                  <a:pt x="439145" y="1622587"/>
                </a:cubicBezTo>
                <a:cubicBezTo>
                  <a:pt x="439145" y="1620765"/>
                  <a:pt x="437322" y="1622587"/>
                  <a:pt x="435500" y="1620765"/>
                </a:cubicBezTo>
                <a:cubicBezTo>
                  <a:pt x="439145" y="1617121"/>
                  <a:pt x="442789" y="1618943"/>
                  <a:pt x="444611" y="1615298"/>
                </a:cubicBezTo>
                <a:cubicBezTo>
                  <a:pt x="440966" y="1615298"/>
                  <a:pt x="439145" y="1617121"/>
                  <a:pt x="435500" y="1617121"/>
                </a:cubicBezTo>
                <a:cubicBezTo>
                  <a:pt x="431856" y="1609832"/>
                  <a:pt x="442789" y="1613476"/>
                  <a:pt x="440966" y="1609832"/>
                </a:cubicBezTo>
                <a:cubicBezTo>
                  <a:pt x="437322" y="1604365"/>
                  <a:pt x="435500" y="1606188"/>
                  <a:pt x="431856" y="1608010"/>
                </a:cubicBezTo>
                <a:cubicBezTo>
                  <a:pt x="428211" y="1606188"/>
                  <a:pt x="426389" y="1606188"/>
                  <a:pt x="424567" y="1608010"/>
                </a:cubicBezTo>
                <a:lnTo>
                  <a:pt x="426389" y="1606188"/>
                </a:lnTo>
                <a:cubicBezTo>
                  <a:pt x="422745" y="1600721"/>
                  <a:pt x="417278" y="1606188"/>
                  <a:pt x="411812" y="1606188"/>
                </a:cubicBezTo>
                <a:cubicBezTo>
                  <a:pt x="413634" y="1604365"/>
                  <a:pt x="415456" y="1602543"/>
                  <a:pt x="419100" y="1602543"/>
                </a:cubicBezTo>
                <a:close/>
                <a:moveTo>
                  <a:pt x="583734" y="1601054"/>
                </a:moveTo>
                <a:lnTo>
                  <a:pt x="583926" y="1601506"/>
                </a:lnTo>
                <a:lnTo>
                  <a:pt x="583096" y="1602543"/>
                </a:lnTo>
                <a:close/>
                <a:moveTo>
                  <a:pt x="3150538" y="1600787"/>
                </a:moveTo>
                <a:lnTo>
                  <a:pt x="3152361" y="1617184"/>
                </a:lnTo>
                <a:lnTo>
                  <a:pt x="3135961" y="1617184"/>
                </a:lnTo>
                <a:close/>
                <a:moveTo>
                  <a:pt x="962108" y="1600721"/>
                </a:moveTo>
                <a:cubicBezTo>
                  <a:pt x="974863" y="1606188"/>
                  <a:pt x="991263" y="1617121"/>
                  <a:pt x="1004018" y="1608010"/>
                </a:cubicBezTo>
                <a:cubicBezTo>
                  <a:pt x="989441" y="1604365"/>
                  <a:pt x="976686" y="1595255"/>
                  <a:pt x="962108" y="1600721"/>
                </a:cubicBezTo>
                <a:close/>
                <a:moveTo>
                  <a:pt x="470121" y="1600721"/>
                </a:moveTo>
                <a:cubicBezTo>
                  <a:pt x="468299" y="1602543"/>
                  <a:pt x="468299" y="1604365"/>
                  <a:pt x="466478" y="1606188"/>
                </a:cubicBezTo>
                <a:cubicBezTo>
                  <a:pt x="466478" y="1608010"/>
                  <a:pt x="471943" y="1604365"/>
                  <a:pt x="470121" y="1600721"/>
                </a:cubicBezTo>
                <a:close/>
                <a:moveTo>
                  <a:pt x="429578" y="1600493"/>
                </a:moveTo>
                <a:cubicBezTo>
                  <a:pt x="428668" y="1600265"/>
                  <a:pt x="427300" y="1600721"/>
                  <a:pt x="426389" y="1602543"/>
                </a:cubicBezTo>
                <a:cubicBezTo>
                  <a:pt x="426389" y="1604365"/>
                  <a:pt x="428211" y="1600721"/>
                  <a:pt x="430034" y="1602543"/>
                </a:cubicBezTo>
                <a:cubicBezTo>
                  <a:pt x="430944" y="1601632"/>
                  <a:pt x="430490" y="1600721"/>
                  <a:pt x="429578" y="1600493"/>
                </a:cubicBezTo>
                <a:close/>
                <a:moveTo>
                  <a:pt x="669906" y="1600209"/>
                </a:moveTo>
                <a:cubicBezTo>
                  <a:pt x="665550" y="1602771"/>
                  <a:pt x="665550" y="1613021"/>
                  <a:pt x="661449" y="1617121"/>
                </a:cubicBezTo>
                <a:cubicBezTo>
                  <a:pt x="663272" y="1618943"/>
                  <a:pt x="665094" y="1617121"/>
                  <a:pt x="665094" y="1617121"/>
                </a:cubicBezTo>
                <a:cubicBezTo>
                  <a:pt x="668738" y="1608010"/>
                  <a:pt x="672383" y="1609832"/>
                  <a:pt x="676027" y="1600721"/>
                </a:cubicBezTo>
                <a:cubicBezTo>
                  <a:pt x="673294" y="1599355"/>
                  <a:pt x="671358" y="1599355"/>
                  <a:pt x="669906" y="1600209"/>
                </a:cubicBezTo>
                <a:close/>
                <a:moveTo>
                  <a:pt x="917617" y="1600140"/>
                </a:moveTo>
                <a:lnTo>
                  <a:pt x="925763" y="1604299"/>
                </a:lnTo>
                <a:lnTo>
                  <a:pt x="925666" y="1604365"/>
                </a:lnTo>
                <a:lnTo>
                  <a:pt x="925886" y="1604362"/>
                </a:lnTo>
                <a:lnTo>
                  <a:pt x="927317" y="1605093"/>
                </a:lnTo>
                <a:lnTo>
                  <a:pt x="923387" y="1606871"/>
                </a:lnTo>
                <a:close/>
                <a:moveTo>
                  <a:pt x="581274" y="1598899"/>
                </a:moveTo>
                <a:cubicBezTo>
                  <a:pt x="583096" y="1600721"/>
                  <a:pt x="577630" y="1604365"/>
                  <a:pt x="577630" y="1602543"/>
                </a:cubicBezTo>
                <a:cubicBezTo>
                  <a:pt x="579452" y="1600721"/>
                  <a:pt x="579452" y="1600721"/>
                  <a:pt x="581274" y="1598899"/>
                </a:cubicBezTo>
                <a:close/>
                <a:moveTo>
                  <a:pt x="488343" y="1598899"/>
                </a:moveTo>
                <a:cubicBezTo>
                  <a:pt x="486521" y="1602543"/>
                  <a:pt x="484700" y="1604365"/>
                  <a:pt x="481054" y="1600721"/>
                </a:cubicBezTo>
                <a:cubicBezTo>
                  <a:pt x="475589" y="1600721"/>
                  <a:pt x="473766" y="1606188"/>
                  <a:pt x="471943" y="1609832"/>
                </a:cubicBezTo>
                <a:cubicBezTo>
                  <a:pt x="477410" y="1611654"/>
                  <a:pt x="481054" y="1613476"/>
                  <a:pt x="484700" y="1617121"/>
                </a:cubicBezTo>
                <a:cubicBezTo>
                  <a:pt x="488343" y="1611654"/>
                  <a:pt x="488343" y="1604365"/>
                  <a:pt x="488343" y="1598899"/>
                </a:cubicBezTo>
                <a:close/>
                <a:moveTo>
                  <a:pt x="355324" y="1598899"/>
                </a:moveTo>
                <a:cubicBezTo>
                  <a:pt x="357146" y="1611654"/>
                  <a:pt x="366257" y="1606188"/>
                  <a:pt x="369902" y="1604365"/>
                </a:cubicBezTo>
                <a:cubicBezTo>
                  <a:pt x="364435" y="1604365"/>
                  <a:pt x="360791" y="1598899"/>
                  <a:pt x="355324" y="1598899"/>
                </a:cubicBezTo>
                <a:close/>
                <a:moveTo>
                  <a:pt x="590697" y="1598366"/>
                </a:moveTo>
                <a:lnTo>
                  <a:pt x="594030" y="1608010"/>
                </a:lnTo>
                <a:cubicBezTo>
                  <a:pt x="592207" y="1605276"/>
                  <a:pt x="592207" y="1605276"/>
                  <a:pt x="592207" y="1604593"/>
                </a:cubicBezTo>
                <a:lnTo>
                  <a:pt x="592197" y="1604552"/>
                </a:lnTo>
                <a:lnTo>
                  <a:pt x="592207" y="1604365"/>
                </a:lnTo>
                <a:lnTo>
                  <a:pt x="592170" y="1604436"/>
                </a:lnTo>
                <a:close/>
                <a:moveTo>
                  <a:pt x="3106807" y="1597077"/>
                </a:moveTo>
                <a:cubicBezTo>
                  <a:pt x="3106807" y="1600721"/>
                  <a:pt x="3104985" y="1602543"/>
                  <a:pt x="3104985" y="1611654"/>
                </a:cubicBezTo>
                <a:cubicBezTo>
                  <a:pt x="3110451" y="1613476"/>
                  <a:pt x="3110451" y="1609832"/>
                  <a:pt x="3114096" y="1608010"/>
                </a:cubicBezTo>
                <a:lnTo>
                  <a:pt x="3117740" y="1606188"/>
                </a:lnTo>
                <a:cubicBezTo>
                  <a:pt x="3117740" y="1598899"/>
                  <a:pt x="3112274" y="1597077"/>
                  <a:pt x="3106807" y="1597077"/>
                </a:cubicBezTo>
                <a:close/>
                <a:moveTo>
                  <a:pt x="590385" y="1597077"/>
                </a:moveTo>
                <a:lnTo>
                  <a:pt x="590697" y="1598366"/>
                </a:lnTo>
                <a:lnTo>
                  <a:pt x="590316" y="1597261"/>
                </a:lnTo>
                <a:close/>
                <a:moveTo>
                  <a:pt x="351680" y="1595255"/>
                </a:moveTo>
                <a:cubicBezTo>
                  <a:pt x="351680" y="1600721"/>
                  <a:pt x="362613" y="1597077"/>
                  <a:pt x="368079" y="1598899"/>
                </a:cubicBezTo>
                <a:cubicBezTo>
                  <a:pt x="364435" y="1595255"/>
                  <a:pt x="357146" y="1597077"/>
                  <a:pt x="351680" y="1595255"/>
                </a:cubicBezTo>
                <a:close/>
                <a:moveTo>
                  <a:pt x="450077" y="1595255"/>
                </a:moveTo>
                <a:cubicBezTo>
                  <a:pt x="449166" y="1595710"/>
                  <a:pt x="448256" y="1596166"/>
                  <a:pt x="448256" y="1595255"/>
                </a:cubicBezTo>
                <a:cubicBezTo>
                  <a:pt x="457367" y="1604365"/>
                  <a:pt x="450077" y="1595255"/>
                  <a:pt x="451899" y="1595255"/>
                </a:cubicBezTo>
                <a:cubicBezTo>
                  <a:pt x="451899" y="1594344"/>
                  <a:pt x="450988" y="1594799"/>
                  <a:pt x="450077" y="1595255"/>
                </a:cubicBezTo>
                <a:close/>
                <a:moveTo>
                  <a:pt x="497226" y="1594799"/>
                </a:moveTo>
                <a:cubicBezTo>
                  <a:pt x="494721" y="1596166"/>
                  <a:pt x="492899" y="1598899"/>
                  <a:pt x="493809" y="1602543"/>
                </a:cubicBezTo>
                <a:cubicBezTo>
                  <a:pt x="504743" y="1600721"/>
                  <a:pt x="491987" y="1613476"/>
                  <a:pt x="497454" y="1611654"/>
                </a:cubicBezTo>
                <a:cubicBezTo>
                  <a:pt x="504743" y="1611654"/>
                  <a:pt x="512031" y="1606188"/>
                  <a:pt x="510209" y="1602543"/>
                </a:cubicBezTo>
                <a:cubicBezTo>
                  <a:pt x="510209" y="1597077"/>
                  <a:pt x="504743" y="1597077"/>
                  <a:pt x="501098" y="1602543"/>
                </a:cubicBezTo>
                <a:cubicBezTo>
                  <a:pt x="501098" y="1598899"/>
                  <a:pt x="502920" y="1597077"/>
                  <a:pt x="504743" y="1595255"/>
                </a:cubicBezTo>
                <a:cubicBezTo>
                  <a:pt x="502920" y="1593433"/>
                  <a:pt x="499731" y="1593433"/>
                  <a:pt x="497226" y="1594799"/>
                </a:cubicBezTo>
                <a:close/>
                <a:moveTo>
                  <a:pt x="588562" y="1594713"/>
                </a:moveTo>
                <a:lnTo>
                  <a:pt x="589701" y="1595482"/>
                </a:lnTo>
                <a:lnTo>
                  <a:pt x="590316" y="1597261"/>
                </a:lnTo>
                <a:lnTo>
                  <a:pt x="587651" y="1604365"/>
                </a:lnTo>
                <a:lnTo>
                  <a:pt x="585393" y="1610387"/>
                </a:lnTo>
                <a:lnTo>
                  <a:pt x="585601" y="1608238"/>
                </a:lnTo>
                <a:cubicBezTo>
                  <a:pt x="586285" y="1606188"/>
                  <a:pt x="586741" y="1604365"/>
                  <a:pt x="584919" y="1602543"/>
                </a:cubicBezTo>
                <a:lnTo>
                  <a:pt x="584479" y="1603099"/>
                </a:lnTo>
                <a:lnTo>
                  <a:pt x="584462" y="1602771"/>
                </a:lnTo>
                <a:lnTo>
                  <a:pt x="583926" y="1601506"/>
                </a:lnTo>
                <a:lnTo>
                  <a:pt x="585829" y="1599127"/>
                </a:lnTo>
                <a:cubicBezTo>
                  <a:pt x="586285" y="1597988"/>
                  <a:pt x="586741" y="1597077"/>
                  <a:pt x="588562" y="1597077"/>
                </a:cubicBezTo>
                <a:close/>
                <a:moveTo>
                  <a:pt x="462832" y="1594344"/>
                </a:moveTo>
                <a:cubicBezTo>
                  <a:pt x="461466" y="1595255"/>
                  <a:pt x="461010" y="1597077"/>
                  <a:pt x="462832" y="1598899"/>
                </a:cubicBezTo>
                <a:cubicBezTo>
                  <a:pt x="464655" y="1597077"/>
                  <a:pt x="468299" y="1595255"/>
                  <a:pt x="468299" y="1595255"/>
                </a:cubicBezTo>
                <a:cubicBezTo>
                  <a:pt x="466478" y="1593433"/>
                  <a:pt x="464199" y="1593433"/>
                  <a:pt x="462832" y="1594344"/>
                </a:cubicBezTo>
                <a:close/>
                <a:moveTo>
                  <a:pt x="871000" y="1593463"/>
                </a:moveTo>
                <a:cubicBezTo>
                  <a:pt x="871000" y="1593463"/>
                  <a:pt x="872821" y="1593463"/>
                  <a:pt x="872821" y="1593463"/>
                </a:cubicBezTo>
                <a:cubicBezTo>
                  <a:pt x="869177" y="1593463"/>
                  <a:pt x="865533" y="1595286"/>
                  <a:pt x="860066" y="1597109"/>
                </a:cubicBezTo>
                <a:cubicBezTo>
                  <a:pt x="863711" y="1595286"/>
                  <a:pt x="867355" y="1593463"/>
                  <a:pt x="871000" y="1593463"/>
                </a:cubicBezTo>
                <a:close/>
                <a:moveTo>
                  <a:pt x="721581" y="1593432"/>
                </a:moveTo>
                <a:cubicBezTo>
                  <a:pt x="718848" y="1593432"/>
                  <a:pt x="716570" y="1596165"/>
                  <a:pt x="714749" y="1599354"/>
                </a:cubicBezTo>
                <a:lnTo>
                  <a:pt x="710819" y="1607649"/>
                </a:lnTo>
                <a:lnTo>
                  <a:pt x="708826" y="1609832"/>
                </a:lnTo>
                <a:cubicBezTo>
                  <a:pt x="712470" y="1606188"/>
                  <a:pt x="721581" y="1609832"/>
                  <a:pt x="719759" y="1600721"/>
                </a:cubicBezTo>
                <a:cubicBezTo>
                  <a:pt x="717026" y="1600721"/>
                  <a:pt x="715205" y="1602543"/>
                  <a:pt x="713609" y="1604593"/>
                </a:cubicBezTo>
                <a:lnTo>
                  <a:pt x="710902" y="1607558"/>
                </a:lnTo>
                <a:lnTo>
                  <a:pt x="714749" y="1600721"/>
                </a:lnTo>
                <a:cubicBezTo>
                  <a:pt x="717026" y="1598443"/>
                  <a:pt x="719759" y="1596165"/>
                  <a:pt x="721581" y="1593432"/>
                </a:cubicBezTo>
                <a:close/>
                <a:moveTo>
                  <a:pt x="524786" y="1593432"/>
                </a:moveTo>
                <a:cubicBezTo>
                  <a:pt x="524786" y="1593432"/>
                  <a:pt x="522964" y="1595255"/>
                  <a:pt x="521142" y="1597077"/>
                </a:cubicBezTo>
                <a:cubicBezTo>
                  <a:pt x="512031" y="1608010"/>
                  <a:pt x="513853" y="1608010"/>
                  <a:pt x="528431" y="1595255"/>
                </a:cubicBezTo>
                <a:cubicBezTo>
                  <a:pt x="526609" y="1593432"/>
                  <a:pt x="524786" y="1595255"/>
                  <a:pt x="524786" y="1593432"/>
                </a:cubicBezTo>
                <a:close/>
                <a:moveTo>
                  <a:pt x="513853" y="1593432"/>
                </a:moveTo>
                <a:cubicBezTo>
                  <a:pt x="512031" y="1591610"/>
                  <a:pt x="510209" y="1595255"/>
                  <a:pt x="506565" y="1595255"/>
                </a:cubicBezTo>
                <a:cubicBezTo>
                  <a:pt x="508387" y="1598899"/>
                  <a:pt x="513853" y="1595255"/>
                  <a:pt x="513853" y="1593432"/>
                </a:cubicBezTo>
                <a:close/>
                <a:moveTo>
                  <a:pt x="455544" y="1593432"/>
                </a:moveTo>
                <a:cubicBezTo>
                  <a:pt x="455544" y="1595255"/>
                  <a:pt x="455544" y="1595255"/>
                  <a:pt x="453722" y="1597077"/>
                </a:cubicBezTo>
                <a:cubicBezTo>
                  <a:pt x="455544" y="1597077"/>
                  <a:pt x="457367" y="1598899"/>
                  <a:pt x="459188" y="1597077"/>
                </a:cubicBezTo>
                <a:cubicBezTo>
                  <a:pt x="457367" y="1593432"/>
                  <a:pt x="455544" y="1595255"/>
                  <a:pt x="455544" y="1593432"/>
                </a:cubicBezTo>
                <a:close/>
                <a:moveTo>
                  <a:pt x="379468" y="1592293"/>
                </a:moveTo>
                <a:cubicBezTo>
                  <a:pt x="376279" y="1592521"/>
                  <a:pt x="372635" y="1593432"/>
                  <a:pt x="369902" y="1593432"/>
                </a:cubicBezTo>
                <a:cubicBezTo>
                  <a:pt x="375368" y="1598899"/>
                  <a:pt x="380835" y="1595255"/>
                  <a:pt x="386301" y="1595255"/>
                </a:cubicBezTo>
                <a:cubicBezTo>
                  <a:pt x="385390" y="1592521"/>
                  <a:pt x="382657" y="1592066"/>
                  <a:pt x="379468" y="1592293"/>
                </a:cubicBezTo>
                <a:close/>
                <a:moveTo>
                  <a:pt x="3345511" y="1591612"/>
                </a:moveTo>
                <a:cubicBezTo>
                  <a:pt x="3340045" y="1591612"/>
                  <a:pt x="3341867" y="1600723"/>
                  <a:pt x="3345511" y="1602545"/>
                </a:cubicBezTo>
                <a:cubicBezTo>
                  <a:pt x="3349155" y="1598900"/>
                  <a:pt x="3345511" y="1597078"/>
                  <a:pt x="3345511" y="1591612"/>
                </a:cubicBezTo>
                <a:close/>
                <a:moveTo>
                  <a:pt x="681493" y="1591610"/>
                </a:moveTo>
                <a:cubicBezTo>
                  <a:pt x="677849" y="1589788"/>
                  <a:pt x="672383" y="1593432"/>
                  <a:pt x="668738" y="1597077"/>
                </a:cubicBezTo>
                <a:cubicBezTo>
                  <a:pt x="670560" y="1598899"/>
                  <a:pt x="677849" y="1597077"/>
                  <a:pt x="681493" y="1591610"/>
                </a:cubicBezTo>
                <a:close/>
                <a:moveTo>
                  <a:pt x="411812" y="1591610"/>
                </a:moveTo>
                <a:cubicBezTo>
                  <a:pt x="409989" y="1593432"/>
                  <a:pt x="411812" y="1593432"/>
                  <a:pt x="409989" y="1593432"/>
                </a:cubicBezTo>
                <a:cubicBezTo>
                  <a:pt x="413634" y="1597077"/>
                  <a:pt x="415456" y="1597077"/>
                  <a:pt x="419100" y="1595255"/>
                </a:cubicBezTo>
                <a:cubicBezTo>
                  <a:pt x="415456" y="1593432"/>
                  <a:pt x="413634" y="1593432"/>
                  <a:pt x="411812" y="1591610"/>
                </a:cubicBezTo>
                <a:close/>
                <a:moveTo>
                  <a:pt x="358969" y="1591610"/>
                </a:moveTo>
                <a:cubicBezTo>
                  <a:pt x="358969" y="1595255"/>
                  <a:pt x="366257" y="1597077"/>
                  <a:pt x="368079" y="1593432"/>
                </a:cubicBezTo>
                <a:cubicBezTo>
                  <a:pt x="364435" y="1591610"/>
                  <a:pt x="360791" y="1593432"/>
                  <a:pt x="358969" y="1591610"/>
                </a:cubicBezTo>
                <a:close/>
                <a:moveTo>
                  <a:pt x="855363" y="1591257"/>
                </a:moveTo>
                <a:lnTo>
                  <a:pt x="852778" y="1592066"/>
                </a:lnTo>
                <a:cubicBezTo>
                  <a:pt x="850044" y="1591610"/>
                  <a:pt x="847311" y="1590699"/>
                  <a:pt x="845489" y="1591610"/>
                </a:cubicBezTo>
                <a:close/>
                <a:moveTo>
                  <a:pt x="949353" y="1589788"/>
                </a:moveTo>
                <a:cubicBezTo>
                  <a:pt x="929309" y="1589788"/>
                  <a:pt x="914732" y="1589788"/>
                  <a:pt x="896510" y="1591610"/>
                </a:cubicBezTo>
                <a:cubicBezTo>
                  <a:pt x="911087" y="1597077"/>
                  <a:pt x="927487" y="1595255"/>
                  <a:pt x="943886" y="1598899"/>
                </a:cubicBezTo>
                <a:cubicBezTo>
                  <a:pt x="951175" y="1602543"/>
                  <a:pt x="962108" y="1602543"/>
                  <a:pt x="967575" y="1597077"/>
                </a:cubicBezTo>
                <a:cubicBezTo>
                  <a:pt x="963930" y="1591610"/>
                  <a:pt x="954819" y="1589788"/>
                  <a:pt x="949353" y="1589788"/>
                </a:cubicBezTo>
                <a:close/>
                <a:moveTo>
                  <a:pt x="588562" y="1589788"/>
                </a:moveTo>
                <a:lnTo>
                  <a:pt x="588562" y="1594713"/>
                </a:lnTo>
                <a:lnTo>
                  <a:pt x="586925" y="1593607"/>
                </a:lnTo>
                <a:close/>
                <a:moveTo>
                  <a:pt x="344391" y="1589788"/>
                </a:moveTo>
                <a:cubicBezTo>
                  <a:pt x="344391" y="1591610"/>
                  <a:pt x="342569" y="1591610"/>
                  <a:pt x="342569" y="1591610"/>
                </a:cubicBezTo>
                <a:cubicBezTo>
                  <a:pt x="344391" y="1595255"/>
                  <a:pt x="348037" y="1591610"/>
                  <a:pt x="351680" y="1593432"/>
                </a:cubicBezTo>
                <a:cubicBezTo>
                  <a:pt x="351680" y="1587966"/>
                  <a:pt x="346213" y="1593432"/>
                  <a:pt x="344391" y="1589788"/>
                </a:cubicBezTo>
                <a:close/>
                <a:moveTo>
                  <a:pt x="443473" y="1589333"/>
                </a:moveTo>
                <a:cubicBezTo>
                  <a:pt x="442789" y="1589333"/>
                  <a:pt x="441878" y="1589788"/>
                  <a:pt x="440966" y="1589788"/>
                </a:cubicBezTo>
                <a:cubicBezTo>
                  <a:pt x="439145" y="1589788"/>
                  <a:pt x="442789" y="1595255"/>
                  <a:pt x="444611" y="1591610"/>
                </a:cubicBezTo>
                <a:cubicBezTo>
                  <a:pt x="444611" y="1589788"/>
                  <a:pt x="444156" y="1589333"/>
                  <a:pt x="443473" y="1589333"/>
                </a:cubicBezTo>
                <a:close/>
                <a:moveTo>
                  <a:pt x="801756" y="1587997"/>
                </a:moveTo>
                <a:cubicBezTo>
                  <a:pt x="819978" y="1589819"/>
                  <a:pt x="840022" y="1589819"/>
                  <a:pt x="858245" y="1589819"/>
                </a:cubicBezTo>
                <a:cubicBezTo>
                  <a:pt x="840022" y="1593465"/>
                  <a:pt x="821800" y="1589819"/>
                  <a:pt x="801756" y="1587997"/>
                </a:cubicBezTo>
                <a:close/>
                <a:moveTo>
                  <a:pt x="437322" y="1587966"/>
                </a:moveTo>
                <a:cubicBezTo>
                  <a:pt x="433678" y="1591610"/>
                  <a:pt x="435500" y="1595255"/>
                  <a:pt x="440966" y="1593432"/>
                </a:cubicBezTo>
                <a:cubicBezTo>
                  <a:pt x="440966" y="1591610"/>
                  <a:pt x="439145" y="1591610"/>
                  <a:pt x="437322" y="1587966"/>
                </a:cubicBezTo>
                <a:close/>
                <a:moveTo>
                  <a:pt x="1123780" y="1587587"/>
                </a:moveTo>
                <a:lnTo>
                  <a:pt x="1125420" y="1588877"/>
                </a:lnTo>
                <a:lnTo>
                  <a:pt x="1127797" y="1591662"/>
                </a:lnTo>
                <a:close/>
                <a:moveTo>
                  <a:pt x="3401998" y="1586145"/>
                </a:moveTo>
                <a:cubicBezTo>
                  <a:pt x="3396532" y="1587967"/>
                  <a:pt x="3401998" y="1606189"/>
                  <a:pt x="3405643" y="1604367"/>
                </a:cubicBezTo>
                <a:cubicBezTo>
                  <a:pt x="3407465" y="1598900"/>
                  <a:pt x="3401998" y="1593435"/>
                  <a:pt x="3401998" y="1586145"/>
                </a:cubicBezTo>
                <a:close/>
                <a:moveTo>
                  <a:pt x="579452" y="1586144"/>
                </a:moveTo>
                <a:cubicBezTo>
                  <a:pt x="575808" y="1586144"/>
                  <a:pt x="572163" y="1591610"/>
                  <a:pt x="572163" y="1591610"/>
                </a:cubicBezTo>
                <a:cubicBezTo>
                  <a:pt x="573985" y="1593432"/>
                  <a:pt x="577630" y="1587966"/>
                  <a:pt x="579452" y="1586144"/>
                </a:cubicBezTo>
                <a:close/>
                <a:moveTo>
                  <a:pt x="422972" y="1585005"/>
                </a:moveTo>
                <a:cubicBezTo>
                  <a:pt x="421379" y="1585233"/>
                  <a:pt x="420011" y="1586144"/>
                  <a:pt x="419100" y="1586144"/>
                </a:cubicBezTo>
                <a:cubicBezTo>
                  <a:pt x="419100" y="1589788"/>
                  <a:pt x="424567" y="1591610"/>
                  <a:pt x="428211" y="1589788"/>
                </a:cubicBezTo>
                <a:cubicBezTo>
                  <a:pt x="426389" y="1587966"/>
                  <a:pt x="426389" y="1587966"/>
                  <a:pt x="428211" y="1587966"/>
                </a:cubicBezTo>
                <a:cubicBezTo>
                  <a:pt x="426389" y="1585232"/>
                  <a:pt x="424567" y="1584777"/>
                  <a:pt x="422972" y="1585005"/>
                </a:cubicBezTo>
                <a:close/>
                <a:moveTo>
                  <a:pt x="3352800" y="1584323"/>
                </a:moveTo>
                <a:cubicBezTo>
                  <a:pt x="3354622" y="1591612"/>
                  <a:pt x="3356444" y="1595256"/>
                  <a:pt x="3360088" y="1595256"/>
                </a:cubicBezTo>
                <a:cubicBezTo>
                  <a:pt x="3361911" y="1593435"/>
                  <a:pt x="3356444" y="1587967"/>
                  <a:pt x="3360088" y="1586145"/>
                </a:cubicBezTo>
                <a:cubicBezTo>
                  <a:pt x="3358266" y="1584323"/>
                  <a:pt x="3354622" y="1586145"/>
                  <a:pt x="3352800" y="1584323"/>
                </a:cubicBezTo>
                <a:close/>
                <a:moveTo>
                  <a:pt x="3099518" y="1584321"/>
                </a:moveTo>
                <a:cubicBezTo>
                  <a:pt x="3097696" y="1587966"/>
                  <a:pt x="3092230" y="1586144"/>
                  <a:pt x="3094052" y="1593432"/>
                </a:cubicBezTo>
                <a:cubicBezTo>
                  <a:pt x="3097696" y="1593432"/>
                  <a:pt x="3095874" y="1589788"/>
                  <a:pt x="3097696" y="1587966"/>
                </a:cubicBezTo>
                <a:cubicBezTo>
                  <a:pt x="3097696" y="1587966"/>
                  <a:pt x="3099518" y="1587966"/>
                  <a:pt x="3099518" y="1587966"/>
                </a:cubicBezTo>
                <a:cubicBezTo>
                  <a:pt x="3103163" y="1597077"/>
                  <a:pt x="3103163" y="1591610"/>
                  <a:pt x="3099518" y="1584321"/>
                </a:cubicBezTo>
                <a:close/>
                <a:moveTo>
                  <a:pt x="994907" y="1584321"/>
                </a:moveTo>
                <a:cubicBezTo>
                  <a:pt x="996729" y="1589788"/>
                  <a:pt x="1004018" y="1597077"/>
                  <a:pt x="1005840" y="1600721"/>
                </a:cubicBezTo>
                <a:cubicBezTo>
                  <a:pt x="1009485" y="1595255"/>
                  <a:pt x="1000374" y="1587966"/>
                  <a:pt x="994907" y="1584321"/>
                </a:cubicBezTo>
                <a:close/>
                <a:moveTo>
                  <a:pt x="362613" y="1584321"/>
                </a:moveTo>
                <a:cubicBezTo>
                  <a:pt x="362613" y="1591610"/>
                  <a:pt x="369902" y="1589788"/>
                  <a:pt x="375368" y="1589788"/>
                </a:cubicBezTo>
                <a:cubicBezTo>
                  <a:pt x="373546" y="1586144"/>
                  <a:pt x="366257" y="1586144"/>
                  <a:pt x="362613" y="1584321"/>
                </a:cubicBezTo>
                <a:close/>
                <a:moveTo>
                  <a:pt x="3301780" y="1582499"/>
                </a:moveTo>
                <a:cubicBezTo>
                  <a:pt x="3296313" y="1586144"/>
                  <a:pt x="3298135" y="1591610"/>
                  <a:pt x="3301780" y="1591610"/>
                </a:cubicBezTo>
                <a:cubicBezTo>
                  <a:pt x="3305424" y="1593432"/>
                  <a:pt x="3309068" y="1589788"/>
                  <a:pt x="3307246" y="1584321"/>
                </a:cubicBezTo>
                <a:cubicBezTo>
                  <a:pt x="3303602" y="1587966"/>
                  <a:pt x="3301780" y="1586144"/>
                  <a:pt x="3301780" y="1582499"/>
                </a:cubicBezTo>
                <a:close/>
                <a:moveTo>
                  <a:pt x="497454" y="1582499"/>
                </a:moveTo>
                <a:cubicBezTo>
                  <a:pt x="495632" y="1584321"/>
                  <a:pt x="499276" y="1586144"/>
                  <a:pt x="495632" y="1587966"/>
                </a:cubicBezTo>
                <a:cubicBezTo>
                  <a:pt x="497454" y="1587966"/>
                  <a:pt x="499276" y="1586144"/>
                  <a:pt x="501098" y="1584321"/>
                </a:cubicBezTo>
                <a:cubicBezTo>
                  <a:pt x="499276" y="1582499"/>
                  <a:pt x="497454" y="1584321"/>
                  <a:pt x="497454" y="1582499"/>
                </a:cubicBezTo>
                <a:close/>
                <a:moveTo>
                  <a:pt x="491987" y="1582499"/>
                </a:moveTo>
                <a:cubicBezTo>
                  <a:pt x="490165" y="1582499"/>
                  <a:pt x="488343" y="1587966"/>
                  <a:pt x="488343" y="1589788"/>
                </a:cubicBezTo>
                <a:cubicBezTo>
                  <a:pt x="491987" y="1589788"/>
                  <a:pt x="490165" y="1584321"/>
                  <a:pt x="491987" y="1582499"/>
                </a:cubicBezTo>
                <a:close/>
                <a:moveTo>
                  <a:pt x="431856" y="1582499"/>
                </a:moveTo>
                <a:cubicBezTo>
                  <a:pt x="430034" y="1582499"/>
                  <a:pt x="426389" y="1582499"/>
                  <a:pt x="426389" y="1584321"/>
                </a:cubicBezTo>
                <a:cubicBezTo>
                  <a:pt x="428211" y="1584321"/>
                  <a:pt x="430034" y="1586144"/>
                  <a:pt x="433678" y="1586144"/>
                </a:cubicBezTo>
                <a:cubicBezTo>
                  <a:pt x="433678" y="1584321"/>
                  <a:pt x="431856" y="1582499"/>
                  <a:pt x="431856" y="1582499"/>
                </a:cubicBezTo>
                <a:close/>
                <a:moveTo>
                  <a:pt x="558498" y="1581360"/>
                </a:moveTo>
                <a:cubicBezTo>
                  <a:pt x="557586" y="1582043"/>
                  <a:pt x="556674" y="1583410"/>
                  <a:pt x="555763" y="1584321"/>
                </a:cubicBezTo>
                <a:cubicBezTo>
                  <a:pt x="557586" y="1586144"/>
                  <a:pt x="559408" y="1584321"/>
                  <a:pt x="561230" y="1582499"/>
                </a:cubicBezTo>
                <a:cubicBezTo>
                  <a:pt x="560319" y="1580677"/>
                  <a:pt x="559408" y="1580677"/>
                  <a:pt x="558498" y="1581360"/>
                </a:cubicBezTo>
                <a:close/>
                <a:moveTo>
                  <a:pt x="3030276" y="1580677"/>
                </a:moveTo>
                <a:cubicBezTo>
                  <a:pt x="3012054" y="1593432"/>
                  <a:pt x="3012054" y="1580677"/>
                  <a:pt x="3022987" y="1602543"/>
                </a:cubicBezTo>
                <a:lnTo>
                  <a:pt x="3008410" y="1602543"/>
                </a:lnTo>
                <a:lnTo>
                  <a:pt x="3008410" y="1617121"/>
                </a:lnTo>
                <a:cubicBezTo>
                  <a:pt x="3022987" y="1617121"/>
                  <a:pt x="3039387" y="1617121"/>
                  <a:pt x="3039387" y="1602543"/>
                </a:cubicBezTo>
                <a:cubicBezTo>
                  <a:pt x="3039387" y="1573388"/>
                  <a:pt x="3041209" y="1600721"/>
                  <a:pt x="3030276" y="1580677"/>
                </a:cubicBezTo>
                <a:close/>
                <a:moveTo>
                  <a:pt x="579452" y="1580677"/>
                </a:moveTo>
                <a:cubicBezTo>
                  <a:pt x="577630" y="1580677"/>
                  <a:pt x="577630" y="1582499"/>
                  <a:pt x="575808" y="1582499"/>
                </a:cubicBezTo>
                <a:cubicBezTo>
                  <a:pt x="577630" y="1582499"/>
                  <a:pt x="583096" y="1582499"/>
                  <a:pt x="579452" y="1580677"/>
                </a:cubicBezTo>
                <a:close/>
                <a:moveTo>
                  <a:pt x="868478" y="1579647"/>
                </a:moveTo>
                <a:lnTo>
                  <a:pt x="881933" y="1584321"/>
                </a:lnTo>
                <a:lnTo>
                  <a:pt x="877384" y="1583563"/>
                </a:lnTo>
                <a:close/>
                <a:moveTo>
                  <a:pt x="991263" y="1578855"/>
                </a:moveTo>
                <a:cubicBezTo>
                  <a:pt x="987619" y="1580677"/>
                  <a:pt x="991263" y="1586144"/>
                  <a:pt x="994907" y="1582499"/>
                </a:cubicBezTo>
                <a:cubicBezTo>
                  <a:pt x="993085" y="1582499"/>
                  <a:pt x="991263" y="1580677"/>
                  <a:pt x="991263" y="1578855"/>
                </a:cubicBezTo>
                <a:close/>
                <a:moveTo>
                  <a:pt x="502920" y="1578855"/>
                </a:moveTo>
                <a:cubicBezTo>
                  <a:pt x="502920" y="1580677"/>
                  <a:pt x="504743" y="1578855"/>
                  <a:pt x="506565" y="1580677"/>
                </a:cubicBezTo>
                <a:lnTo>
                  <a:pt x="505157" y="1581091"/>
                </a:lnTo>
                <a:lnTo>
                  <a:pt x="504743" y="1580677"/>
                </a:lnTo>
                <a:lnTo>
                  <a:pt x="502817" y="1580195"/>
                </a:lnTo>
                <a:close/>
                <a:moveTo>
                  <a:pt x="421151" y="1576349"/>
                </a:moveTo>
                <a:cubicBezTo>
                  <a:pt x="419557" y="1577944"/>
                  <a:pt x="418189" y="1580677"/>
                  <a:pt x="417278" y="1582499"/>
                </a:cubicBezTo>
                <a:cubicBezTo>
                  <a:pt x="419100" y="1580677"/>
                  <a:pt x="422745" y="1578855"/>
                  <a:pt x="426389" y="1577033"/>
                </a:cubicBezTo>
                <a:cubicBezTo>
                  <a:pt x="424567" y="1574299"/>
                  <a:pt x="422745" y="1574755"/>
                  <a:pt x="421151" y="1576349"/>
                </a:cubicBezTo>
                <a:close/>
                <a:moveTo>
                  <a:pt x="471943" y="1575211"/>
                </a:moveTo>
                <a:cubicBezTo>
                  <a:pt x="470121" y="1575211"/>
                  <a:pt x="466478" y="1577033"/>
                  <a:pt x="464655" y="1578855"/>
                </a:cubicBezTo>
                <a:cubicBezTo>
                  <a:pt x="466478" y="1580677"/>
                  <a:pt x="473766" y="1582499"/>
                  <a:pt x="475589" y="1578855"/>
                </a:cubicBezTo>
                <a:cubicBezTo>
                  <a:pt x="473766" y="1575211"/>
                  <a:pt x="471943" y="1578855"/>
                  <a:pt x="468299" y="1578855"/>
                </a:cubicBezTo>
                <a:cubicBezTo>
                  <a:pt x="468299" y="1577033"/>
                  <a:pt x="471943" y="1577033"/>
                  <a:pt x="471943" y="1575211"/>
                </a:cubicBezTo>
                <a:close/>
                <a:moveTo>
                  <a:pt x="453722" y="1575211"/>
                </a:moveTo>
                <a:cubicBezTo>
                  <a:pt x="448256" y="1577033"/>
                  <a:pt x="444611" y="1580677"/>
                  <a:pt x="440966" y="1586144"/>
                </a:cubicBezTo>
                <a:cubicBezTo>
                  <a:pt x="446433" y="1584321"/>
                  <a:pt x="444611" y="1589788"/>
                  <a:pt x="450077" y="1587966"/>
                </a:cubicBezTo>
                <a:cubicBezTo>
                  <a:pt x="450077" y="1586144"/>
                  <a:pt x="448256" y="1586144"/>
                  <a:pt x="446433" y="1584321"/>
                </a:cubicBezTo>
                <a:cubicBezTo>
                  <a:pt x="453722" y="1584321"/>
                  <a:pt x="450077" y="1577033"/>
                  <a:pt x="453722" y="1575211"/>
                </a:cubicBezTo>
                <a:close/>
                <a:moveTo>
                  <a:pt x="3285380" y="1573388"/>
                </a:moveTo>
                <a:cubicBezTo>
                  <a:pt x="3285380" y="1578855"/>
                  <a:pt x="3290847" y="1575211"/>
                  <a:pt x="3292669" y="1578855"/>
                </a:cubicBezTo>
                <a:cubicBezTo>
                  <a:pt x="3296313" y="1577033"/>
                  <a:pt x="3289024" y="1573388"/>
                  <a:pt x="3285380" y="1573388"/>
                </a:cubicBezTo>
                <a:close/>
                <a:moveTo>
                  <a:pt x="697893" y="1573388"/>
                </a:moveTo>
                <a:cubicBezTo>
                  <a:pt x="696071" y="1575211"/>
                  <a:pt x="694249" y="1577033"/>
                  <a:pt x="692426" y="1578855"/>
                </a:cubicBezTo>
                <a:cubicBezTo>
                  <a:pt x="694249" y="1580677"/>
                  <a:pt x="697893" y="1575211"/>
                  <a:pt x="697893" y="1573388"/>
                </a:cubicBezTo>
                <a:close/>
                <a:moveTo>
                  <a:pt x="553941" y="1573388"/>
                </a:moveTo>
                <a:cubicBezTo>
                  <a:pt x="553941" y="1575211"/>
                  <a:pt x="552119" y="1577033"/>
                  <a:pt x="552119" y="1578855"/>
                </a:cubicBezTo>
                <a:cubicBezTo>
                  <a:pt x="557586" y="1578855"/>
                  <a:pt x="555763" y="1573388"/>
                  <a:pt x="553941" y="1573388"/>
                </a:cubicBezTo>
                <a:close/>
                <a:moveTo>
                  <a:pt x="543008" y="1573388"/>
                </a:moveTo>
                <a:cubicBezTo>
                  <a:pt x="541186" y="1571566"/>
                  <a:pt x="539364" y="1577033"/>
                  <a:pt x="541186" y="1578855"/>
                </a:cubicBezTo>
                <a:cubicBezTo>
                  <a:pt x="543008" y="1577033"/>
                  <a:pt x="541186" y="1575211"/>
                  <a:pt x="544830" y="1577033"/>
                </a:cubicBezTo>
                <a:cubicBezTo>
                  <a:pt x="543008" y="1575211"/>
                  <a:pt x="543008" y="1573388"/>
                  <a:pt x="543008" y="1573388"/>
                </a:cubicBezTo>
                <a:close/>
                <a:moveTo>
                  <a:pt x="479232" y="1573388"/>
                </a:moveTo>
                <a:cubicBezTo>
                  <a:pt x="479232" y="1573388"/>
                  <a:pt x="477410" y="1575211"/>
                  <a:pt x="477410" y="1575211"/>
                </a:cubicBezTo>
                <a:cubicBezTo>
                  <a:pt x="477410" y="1577033"/>
                  <a:pt x="477410" y="1578855"/>
                  <a:pt x="479232" y="1580677"/>
                </a:cubicBezTo>
                <a:cubicBezTo>
                  <a:pt x="479232" y="1578855"/>
                  <a:pt x="479232" y="1577033"/>
                  <a:pt x="479232" y="1573388"/>
                </a:cubicBezTo>
                <a:close/>
                <a:moveTo>
                  <a:pt x="466478" y="1573388"/>
                </a:moveTo>
                <a:cubicBezTo>
                  <a:pt x="464655" y="1573388"/>
                  <a:pt x="461010" y="1577033"/>
                  <a:pt x="457367" y="1575211"/>
                </a:cubicBezTo>
                <a:cubicBezTo>
                  <a:pt x="455544" y="1578855"/>
                  <a:pt x="455544" y="1580677"/>
                  <a:pt x="455544" y="1584321"/>
                </a:cubicBezTo>
                <a:cubicBezTo>
                  <a:pt x="459188" y="1577033"/>
                  <a:pt x="466478" y="1587966"/>
                  <a:pt x="466478" y="1582499"/>
                </a:cubicBezTo>
                <a:cubicBezTo>
                  <a:pt x="466478" y="1584321"/>
                  <a:pt x="466478" y="1584321"/>
                  <a:pt x="466478" y="1586144"/>
                </a:cubicBezTo>
                <a:cubicBezTo>
                  <a:pt x="468299" y="1586144"/>
                  <a:pt x="471943" y="1586144"/>
                  <a:pt x="471943" y="1582499"/>
                </a:cubicBezTo>
                <a:cubicBezTo>
                  <a:pt x="470121" y="1582499"/>
                  <a:pt x="468299" y="1584321"/>
                  <a:pt x="466478" y="1582499"/>
                </a:cubicBezTo>
                <a:cubicBezTo>
                  <a:pt x="466478" y="1578855"/>
                  <a:pt x="462832" y="1578855"/>
                  <a:pt x="457367" y="1580677"/>
                </a:cubicBezTo>
                <a:cubicBezTo>
                  <a:pt x="461010" y="1577033"/>
                  <a:pt x="462832" y="1575211"/>
                  <a:pt x="466478" y="1573388"/>
                </a:cubicBezTo>
                <a:close/>
                <a:moveTo>
                  <a:pt x="329814" y="1573388"/>
                </a:moveTo>
                <a:cubicBezTo>
                  <a:pt x="331636" y="1573388"/>
                  <a:pt x="338926" y="1575211"/>
                  <a:pt x="335280" y="1578855"/>
                </a:cubicBezTo>
                <a:cubicBezTo>
                  <a:pt x="333458" y="1575211"/>
                  <a:pt x="329814" y="1575211"/>
                  <a:pt x="329814" y="1573388"/>
                </a:cubicBezTo>
                <a:close/>
                <a:moveTo>
                  <a:pt x="3350977" y="1569746"/>
                </a:moveTo>
                <a:cubicBezTo>
                  <a:pt x="3352800" y="1575212"/>
                  <a:pt x="3349155" y="1575212"/>
                  <a:pt x="3350977" y="1580679"/>
                </a:cubicBezTo>
                <a:cubicBezTo>
                  <a:pt x="3352800" y="1582501"/>
                  <a:pt x="3356444" y="1580679"/>
                  <a:pt x="3358266" y="1580679"/>
                </a:cubicBezTo>
                <a:cubicBezTo>
                  <a:pt x="3358266" y="1571568"/>
                  <a:pt x="3356444" y="1567924"/>
                  <a:pt x="3350977" y="1569746"/>
                </a:cubicBezTo>
                <a:close/>
                <a:moveTo>
                  <a:pt x="512031" y="1569744"/>
                </a:moveTo>
                <a:cubicBezTo>
                  <a:pt x="512031" y="1571566"/>
                  <a:pt x="512031" y="1573388"/>
                  <a:pt x="512031" y="1575211"/>
                </a:cubicBezTo>
                <a:cubicBezTo>
                  <a:pt x="513853" y="1575211"/>
                  <a:pt x="515676" y="1578855"/>
                  <a:pt x="517498" y="1575211"/>
                </a:cubicBezTo>
                <a:cubicBezTo>
                  <a:pt x="515676" y="1573388"/>
                  <a:pt x="513853" y="1571566"/>
                  <a:pt x="512031" y="1569744"/>
                </a:cubicBezTo>
                <a:close/>
                <a:moveTo>
                  <a:pt x="1093027" y="1569645"/>
                </a:moveTo>
                <a:lnTo>
                  <a:pt x="1093305" y="1569744"/>
                </a:lnTo>
                <a:cubicBezTo>
                  <a:pt x="1089660" y="1571566"/>
                  <a:pt x="1084194" y="1571566"/>
                  <a:pt x="1080549" y="1573388"/>
                </a:cubicBezTo>
                <a:close/>
                <a:moveTo>
                  <a:pt x="3245086" y="1568142"/>
                </a:moveTo>
                <a:lnTo>
                  <a:pt x="3238915" y="1574755"/>
                </a:lnTo>
                <a:lnTo>
                  <a:pt x="3236565" y="1572238"/>
                </a:lnTo>
                <a:lnTo>
                  <a:pt x="3244609" y="1568150"/>
                </a:lnTo>
                <a:close/>
                <a:moveTo>
                  <a:pt x="572163" y="1567922"/>
                </a:moveTo>
                <a:cubicBezTo>
                  <a:pt x="570341" y="1571566"/>
                  <a:pt x="568519" y="1571566"/>
                  <a:pt x="568519" y="1571566"/>
                </a:cubicBezTo>
                <a:cubicBezTo>
                  <a:pt x="570341" y="1573388"/>
                  <a:pt x="573985" y="1569744"/>
                  <a:pt x="572163" y="1567922"/>
                </a:cubicBezTo>
                <a:close/>
                <a:moveTo>
                  <a:pt x="557586" y="1567922"/>
                </a:moveTo>
                <a:cubicBezTo>
                  <a:pt x="553941" y="1569744"/>
                  <a:pt x="555763" y="1569744"/>
                  <a:pt x="557586" y="1575211"/>
                </a:cubicBezTo>
                <a:cubicBezTo>
                  <a:pt x="559408" y="1571566"/>
                  <a:pt x="559408" y="1571566"/>
                  <a:pt x="561230" y="1569744"/>
                </a:cubicBezTo>
                <a:cubicBezTo>
                  <a:pt x="561230" y="1569744"/>
                  <a:pt x="557586" y="1571566"/>
                  <a:pt x="557586" y="1567922"/>
                </a:cubicBezTo>
                <a:close/>
                <a:moveTo>
                  <a:pt x="484700" y="1567922"/>
                </a:moveTo>
                <a:cubicBezTo>
                  <a:pt x="484700" y="1567922"/>
                  <a:pt x="482876" y="1567922"/>
                  <a:pt x="481054" y="1569744"/>
                </a:cubicBezTo>
                <a:cubicBezTo>
                  <a:pt x="482876" y="1571566"/>
                  <a:pt x="488343" y="1569744"/>
                  <a:pt x="484700" y="1567922"/>
                </a:cubicBezTo>
                <a:close/>
                <a:moveTo>
                  <a:pt x="440966" y="1567922"/>
                </a:moveTo>
                <a:cubicBezTo>
                  <a:pt x="437322" y="1569744"/>
                  <a:pt x="437322" y="1578855"/>
                  <a:pt x="433678" y="1582499"/>
                </a:cubicBezTo>
                <a:cubicBezTo>
                  <a:pt x="440966" y="1584321"/>
                  <a:pt x="444611" y="1575211"/>
                  <a:pt x="450077" y="1571566"/>
                </a:cubicBezTo>
                <a:cubicBezTo>
                  <a:pt x="448256" y="1567922"/>
                  <a:pt x="446433" y="1569744"/>
                  <a:pt x="442789" y="1569744"/>
                </a:cubicBezTo>
                <a:cubicBezTo>
                  <a:pt x="442789" y="1571566"/>
                  <a:pt x="444611" y="1573388"/>
                  <a:pt x="444611" y="1575211"/>
                </a:cubicBezTo>
                <a:cubicBezTo>
                  <a:pt x="440966" y="1575211"/>
                  <a:pt x="442789" y="1569744"/>
                  <a:pt x="440966" y="1567922"/>
                </a:cubicBezTo>
                <a:close/>
                <a:moveTo>
                  <a:pt x="3181516" y="1566100"/>
                </a:moveTo>
                <a:cubicBezTo>
                  <a:pt x="3176050" y="1567922"/>
                  <a:pt x="3172405" y="1566100"/>
                  <a:pt x="3170583" y="1573388"/>
                </a:cubicBezTo>
                <a:cubicBezTo>
                  <a:pt x="3170583" y="1577033"/>
                  <a:pt x="3163294" y="1567922"/>
                  <a:pt x="3163294" y="1571566"/>
                </a:cubicBezTo>
                <a:cubicBezTo>
                  <a:pt x="3163294" y="1582499"/>
                  <a:pt x="3177872" y="1575211"/>
                  <a:pt x="3190627" y="1571566"/>
                </a:cubicBezTo>
                <a:cubicBezTo>
                  <a:pt x="3188805" y="1569744"/>
                  <a:pt x="3188805" y="1569744"/>
                  <a:pt x="3186982" y="1567922"/>
                </a:cubicBezTo>
                <a:close/>
                <a:moveTo>
                  <a:pt x="1129748" y="1566100"/>
                </a:moveTo>
                <a:cubicBezTo>
                  <a:pt x="1138859" y="1569744"/>
                  <a:pt x="1142503" y="1578855"/>
                  <a:pt x="1149792" y="1586144"/>
                </a:cubicBezTo>
                <a:cubicBezTo>
                  <a:pt x="1146148" y="1582499"/>
                  <a:pt x="1141136" y="1579310"/>
                  <a:pt x="1137037" y="1576122"/>
                </a:cubicBezTo>
                <a:lnTo>
                  <a:pt x="1136228" y="1575008"/>
                </a:lnTo>
                <a:lnTo>
                  <a:pt x="1137037" y="1573388"/>
                </a:lnTo>
                <a:lnTo>
                  <a:pt x="1135750" y="1574353"/>
                </a:lnTo>
                <a:close/>
                <a:moveTo>
                  <a:pt x="707004" y="1566100"/>
                </a:moveTo>
                <a:cubicBezTo>
                  <a:pt x="703359" y="1571566"/>
                  <a:pt x="703359" y="1577033"/>
                  <a:pt x="699715" y="1578855"/>
                </a:cubicBezTo>
                <a:cubicBezTo>
                  <a:pt x="690604" y="1591610"/>
                  <a:pt x="677849" y="1602543"/>
                  <a:pt x="676027" y="1618943"/>
                </a:cubicBezTo>
                <a:cubicBezTo>
                  <a:pt x="677849" y="1618943"/>
                  <a:pt x="679671" y="1618943"/>
                  <a:pt x="681493" y="1618943"/>
                </a:cubicBezTo>
                <a:cubicBezTo>
                  <a:pt x="672383" y="1618943"/>
                  <a:pt x="668738" y="1628054"/>
                  <a:pt x="668738" y="1637164"/>
                </a:cubicBezTo>
                <a:cubicBezTo>
                  <a:pt x="668738" y="1635342"/>
                  <a:pt x="666916" y="1635342"/>
                  <a:pt x="666916" y="1631698"/>
                </a:cubicBezTo>
                <a:cubicBezTo>
                  <a:pt x="659627" y="1635342"/>
                  <a:pt x="663272" y="1642631"/>
                  <a:pt x="670560" y="1644453"/>
                </a:cubicBezTo>
                <a:cubicBezTo>
                  <a:pt x="665094" y="1640809"/>
                  <a:pt x="655983" y="1640809"/>
                  <a:pt x="657805" y="1649920"/>
                </a:cubicBezTo>
                <a:cubicBezTo>
                  <a:pt x="659627" y="1651742"/>
                  <a:pt x="661449" y="1655386"/>
                  <a:pt x="665094" y="1655386"/>
                </a:cubicBezTo>
                <a:cubicBezTo>
                  <a:pt x="652339" y="1653564"/>
                  <a:pt x="661449" y="1664497"/>
                  <a:pt x="657805" y="1666319"/>
                </a:cubicBezTo>
                <a:cubicBezTo>
                  <a:pt x="665094" y="1666319"/>
                  <a:pt x="674205" y="1669964"/>
                  <a:pt x="679671" y="1662675"/>
                </a:cubicBezTo>
                <a:cubicBezTo>
                  <a:pt x="677849" y="1660853"/>
                  <a:pt x="676027" y="1660853"/>
                  <a:pt x="674205" y="1659031"/>
                </a:cubicBezTo>
                <a:cubicBezTo>
                  <a:pt x="688782" y="1649920"/>
                  <a:pt x="685138" y="1629876"/>
                  <a:pt x="696071" y="1620765"/>
                </a:cubicBezTo>
                <a:cubicBezTo>
                  <a:pt x="692426" y="1618943"/>
                  <a:pt x="686960" y="1618943"/>
                  <a:pt x="683316" y="1620765"/>
                </a:cubicBezTo>
                <a:cubicBezTo>
                  <a:pt x="703359" y="1617121"/>
                  <a:pt x="699715" y="1584321"/>
                  <a:pt x="707004" y="1566100"/>
                </a:cubicBezTo>
                <a:close/>
                <a:moveTo>
                  <a:pt x="597673" y="1566100"/>
                </a:moveTo>
                <a:cubicBezTo>
                  <a:pt x="597673" y="1571566"/>
                  <a:pt x="595852" y="1584321"/>
                  <a:pt x="586741" y="1584321"/>
                </a:cubicBezTo>
                <a:cubicBezTo>
                  <a:pt x="583096" y="1577033"/>
                  <a:pt x="590385" y="1569744"/>
                  <a:pt x="597673" y="1566100"/>
                </a:cubicBezTo>
                <a:close/>
                <a:moveTo>
                  <a:pt x="524786" y="1566100"/>
                </a:moveTo>
                <a:cubicBezTo>
                  <a:pt x="519320" y="1571566"/>
                  <a:pt x="524786" y="1577033"/>
                  <a:pt x="526609" y="1578855"/>
                </a:cubicBezTo>
                <a:cubicBezTo>
                  <a:pt x="528431" y="1575211"/>
                  <a:pt x="524786" y="1569744"/>
                  <a:pt x="524786" y="1566100"/>
                </a:cubicBezTo>
                <a:close/>
                <a:moveTo>
                  <a:pt x="502920" y="1566100"/>
                </a:moveTo>
                <a:cubicBezTo>
                  <a:pt x="502920" y="1567922"/>
                  <a:pt x="500642" y="1570655"/>
                  <a:pt x="499275" y="1573388"/>
                </a:cubicBezTo>
                <a:lnTo>
                  <a:pt x="500855" y="1579705"/>
                </a:lnTo>
                <a:lnTo>
                  <a:pt x="500577" y="1579636"/>
                </a:lnTo>
                <a:lnTo>
                  <a:pt x="499959" y="1578399"/>
                </a:lnTo>
                <a:cubicBezTo>
                  <a:pt x="499731" y="1577944"/>
                  <a:pt x="499276" y="1577944"/>
                  <a:pt x="497454" y="1578855"/>
                </a:cubicBezTo>
                <a:lnTo>
                  <a:pt x="500577" y="1579636"/>
                </a:lnTo>
                <a:lnTo>
                  <a:pt x="501098" y="1580677"/>
                </a:lnTo>
                <a:lnTo>
                  <a:pt x="500855" y="1579705"/>
                </a:lnTo>
                <a:lnTo>
                  <a:pt x="502817" y="1580195"/>
                </a:lnTo>
                <a:lnTo>
                  <a:pt x="502694" y="1581816"/>
                </a:lnTo>
                <a:lnTo>
                  <a:pt x="505157" y="1581091"/>
                </a:lnTo>
                <a:lnTo>
                  <a:pt x="506565" y="1582499"/>
                </a:lnTo>
                <a:cubicBezTo>
                  <a:pt x="506565" y="1582499"/>
                  <a:pt x="504743" y="1584321"/>
                  <a:pt x="504743" y="1584321"/>
                </a:cubicBezTo>
                <a:cubicBezTo>
                  <a:pt x="506565" y="1584321"/>
                  <a:pt x="506565" y="1584321"/>
                  <a:pt x="508387" y="1582499"/>
                </a:cubicBezTo>
                <a:cubicBezTo>
                  <a:pt x="508387" y="1580677"/>
                  <a:pt x="508387" y="1580677"/>
                  <a:pt x="506565" y="1578855"/>
                </a:cubicBezTo>
                <a:cubicBezTo>
                  <a:pt x="513853" y="1573388"/>
                  <a:pt x="508387" y="1566100"/>
                  <a:pt x="502920" y="1566100"/>
                </a:cubicBezTo>
                <a:close/>
                <a:moveTo>
                  <a:pt x="3143250" y="1564278"/>
                </a:moveTo>
                <a:cubicBezTo>
                  <a:pt x="3137784" y="1562455"/>
                  <a:pt x="3141428" y="1569744"/>
                  <a:pt x="3141428" y="1571566"/>
                </a:cubicBezTo>
                <a:cubicBezTo>
                  <a:pt x="3145073" y="1569744"/>
                  <a:pt x="3143250" y="1567922"/>
                  <a:pt x="3143250" y="1564278"/>
                </a:cubicBezTo>
                <a:close/>
                <a:moveTo>
                  <a:pt x="3084941" y="1564278"/>
                </a:moveTo>
                <a:lnTo>
                  <a:pt x="3099518" y="1564278"/>
                </a:lnTo>
                <a:lnTo>
                  <a:pt x="3086763" y="1577033"/>
                </a:lnTo>
                <a:lnTo>
                  <a:pt x="3084941" y="1578855"/>
                </a:lnTo>
                <a:close/>
                <a:moveTo>
                  <a:pt x="803383" y="1562092"/>
                </a:moveTo>
                <a:lnTo>
                  <a:pt x="803579" y="1562455"/>
                </a:lnTo>
                <a:lnTo>
                  <a:pt x="787964" y="1562455"/>
                </a:lnTo>
                <a:close/>
                <a:moveTo>
                  <a:pt x="813902" y="1561845"/>
                </a:moveTo>
                <a:lnTo>
                  <a:pt x="814512" y="1562455"/>
                </a:lnTo>
                <a:lnTo>
                  <a:pt x="813231" y="1561861"/>
                </a:lnTo>
                <a:close/>
                <a:moveTo>
                  <a:pt x="841845" y="1560633"/>
                </a:moveTo>
                <a:cubicBezTo>
                  <a:pt x="840022" y="1562455"/>
                  <a:pt x="840022" y="1560633"/>
                  <a:pt x="838200" y="1562455"/>
                </a:cubicBezTo>
                <a:cubicBezTo>
                  <a:pt x="840022" y="1564278"/>
                  <a:pt x="845489" y="1564278"/>
                  <a:pt x="841845" y="1560633"/>
                </a:cubicBezTo>
                <a:close/>
                <a:moveTo>
                  <a:pt x="552119" y="1560633"/>
                </a:moveTo>
                <a:cubicBezTo>
                  <a:pt x="550297" y="1562455"/>
                  <a:pt x="550297" y="1564278"/>
                  <a:pt x="552119" y="1567922"/>
                </a:cubicBezTo>
                <a:cubicBezTo>
                  <a:pt x="555763" y="1567922"/>
                  <a:pt x="557586" y="1564278"/>
                  <a:pt x="557586" y="1566100"/>
                </a:cubicBezTo>
                <a:cubicBezTo>
                  <a:pt x="559408" y="1562455"/>
                  <a:pt x="553941" y="1562455"/>
                  <a:pt x="552119" y="1560633"/>
                </a:cubicBezTo>
                <a:close/>
                <a:moveTo>
                  <a:pt x="349858" y="1560633"/>
                </a:moveTo>
                <a:cubicBezTo>
                  <a:pt x="357146" y="1566100"/>
                  <a:pt x="366257" y="1569744"/>
                  <a:pt x="373546" y="1573388"/>
                </a:cubicBezTo>
                <a:lnTo>
                  <a:pt x="385871" y="1578318"/>
                </a:lnTo>
                <a:lnTo>
                  <a:pt x="360791" y="1570655"/>
                </a:lnTo>
                <a:lnTo>
                  <a:pt x="350970" y="1563126"/>
                </a:lnTo>
                <a:close/>
                <a:moveTo>
                  <a:pt x="771882" y="1560328"/>
                </a:moveTo>
                <a:lnTo>
                  <a:pt x="774424" y="1560633"/>
                </a:lnTo>
                <a:lnTo>
                  <a:pt x="774144" y="1560873"/>
                </a:lnTo>
                <a:close/>
                <a:moveTo>
                  <a:pt x="606700" y="1559836"/>
                </a:moveTo>
                <a:cubicBezTo>
                  <a:pt x="608152" y="1559153"/>
                  <a:pt x="609974" y="1559267"/>
                  <a:pt x="612251" y="1560633"/>
                </a:cubicBezTo>
                <a:cubicBezTo>
                  <a:pt x="610429" y="1566100"/>
                  <a:pt x="606784" y="1571566"/>
                  <a:pt x="601318" y="1575211"/>
                </a:cubicBezTo>
                <a:cubicBezTo>
                  <a:pt x="601318" y="1571111"/>
                  <a:pt x="602343" y="1561886"/>
                  <a:pt x="606700" y="1559836"/>
                </a:cubicBezTo>
                <a:close/>
                <a:moveTo>
                  <a:pt x="1333832" y="1558811"/>
                </a:moveTo>
                <a:lnTo>
                  <a:pt x="1333832" y="1573388"/>
                </a:lnTo>
                <a:lnTo>
                  <a:pt x="1355698" y="1558811"/>
                </a:lnTo>
                <a:close/>
                <a:moveTo>
                  <a:pt x="453722" y="1558811"/>
                </a:moveTo>
                <a:cubicBezTo>
                  <a:pt x="446433" y="1558811"/>
                  <a:pt x="446433" y="1571566"/>
                  <a:pt x="455544" y="1567922"/>
                </a:cubicBezTo>
                <a:cubicBezTo>
                  <a:pt x="453722" y="1564278"/>
                  <a:pt x="455544" y="1562455"/>
                  <a:pt x="453722" y="1558811"/>
                </a:cubicBezTo>
                <a:close/>
                <a:moveTo>
                  <a:pt x="3367377" y="1556990"/>
                </a:moveTo>
                <a:cubicBezTo>
                  <a:pt x="3363733" y="1556990"/>
                  <a:pt x="3363733" y="1560635"/>
                  <a:pt x="3360088" y="1558813"/>
                </a:cubicBezTo>
                <a:cubicBezTo>
                  <a:pt x="3363733" y="1564279"/>
                  <a:pt x="3365555" y="1564279"/>
                  <a:pt x="3371021" y="1567924"/>
                </a:cubicBezTo>
                <a:cubicBezTo>
                  <a:pt x="3369199" y="1564279"/>
                  <a:pt x="3369199" y="1558813"/>
                  <a:pt x="3367377" y="1556990"/>
                </a:cubicBezTo>
                <a:close/>
                <a:moveTo>
                  <a:pt x="1266411" y="1556989"/>
                </a:moveTo>
                <a:lnTo>
                  <a:pt x="1259123" y="1578855"/>
                </a:lnTo>
                <a:lnTo>
                  <a:pt x="1255478" y="1571566"/>
                </a:lnTo>
                <a:cubicBezTo>
                  <a:pt x="1253656" y="1569744"/>
                  <a:pt x="1251834" y="1569744"/>
                  <a:pt x="1250012" y="1569744"/>
                </a:cubicBezTo>
                <a:cubicBezTo>
                  <a:pt x="1250012" y="1569744"/>
                  <a:pt x="1251834" y="1569744"/>
                  <a:pt x="1253656" y="1569744"/>
                </a:cubicBezTo>
                <a:lnTo>
                  <a:pt x="1251154" y="1565991"/>
                </a:lnTo>
                <a:lnTo>
                  <a:pt x="1251606" y="1564505"/>
                </a:lnTo>
                <a:lnTo>
                  <a:pt x="1251663" y="1563544"/>
                </a:lnTo>
                <a:close/>
                <a:moveTo>
                  <a:pt x="758025" y="1556989"/>
                </a:moveTo>
                <a:lnTo>
                  <a:pt x="771882" y="1560328"/>
                </a:lnTo>
                <a:lnTo>
                  <a:pt x="758607" y="1558735"/>
                </a:lnTo>
                <a:close/>
                <a:moveTo>
                  <a:pt x="696071" y="1556989"/>
                </a:moveTo>
                <a:cubicBezTo>
                  <a:pt x="683316" y="1566100"/>
                  <a:pt x="672383" y="1580677"/>
                  <a:pt x="668738" y="1593432"/>
                </a:cubicBezTo>
                <a:cubicBezTo>
                  <a:pt x="681493" y="1587966"/>
                  <a:pt x="697893" y="1575211"/>
                  <a:pt x="696071" y="1556989"/>
                </a:cubicBezTo>
                <a:close/>
                <a:moveTo>
                  <a:pt x="465794" y="1556078"/>
                </a:moveTo>
                <a:cubicBezTo>
                  <a:pt x="461466" y="1557900"/>
                  <a:pt x="459188" y="1562455"/>
                  <a:pt x="461010" y="1567922"/>
                </a:cubicBezTo>
                <a:cubicBezTo>
                  <a:pt x="462832" y="1571566"/>
                  <a:pt x="468299" y="1571566"/>
                  <a:pt x="473766" y="1571566"/>
                </a:cubicBezTo>
                <a:cubicBezTo>
                  <a:pt x="471943" y="1567922"/>
                  <a:pt x="471943" y="1566100"/>
                  <a:pt x="470121" y="1562455"/>
                </a:cubicBezTo>
                <a:cubicBezTo>
                  <a:pt x="471943" y="1566100"/>
                  <a:pt x="473766" y="1569744"/>
                  <a:pt x="477410" y="1569744"/>
                </a:cubicBezTo>
                <a:cubicBezTo>
                  <a:pt x="481054" y="1567922"/>
                  <a:pt x="479232" y="1562455"/>
                  <a:pt x="482876" y="1560633"/>
                </a:cubicBezTo>
                <a:cubicBezTo>
                  <a:pt x="476499" y="1555166"/>
                  <a:pt x="470121" y="1554255"/>
                  <a:pt x="465794" y="1556078"/>
                </a:cubicBezTo>
                <a:close/>
                <a:moveTo>
                  <a:pt x="621830" y="1556051"/>
                </a:moveTo>
                <a:lnTo>
                  <a:pt x="612251" y="1575211"/>
                </a:lnTo>
                <a:cubicBezTo>
                  <a:pt x="613162" y="1568833"/>
                  <a:pt x="615895" y="1563366"/>
                  <a:pt x="618401" y="1557900"/>
                </a:cubicBezTo>
                <a:lnTo>
                  <a:pt x="618778" y="1556533"/>
                </a:lnTo>
                <a:close/>
                <a:moveTo>
                  <a:pt x="1074071" y="1555976"/>
                </a:moveTo>
                <a:lnTo>
                  <a:pt x="1074627" y="1556078"/>
                </a:lnTo>
                <a:lnTo>
                  <a:pt x="1075326" y="1556392"/>
                </a:lnTo>
                <a:close/>
                <a:moveTo>
                  <a:pt x="729729" y="1555270"/>
                </a:moveTo>
                <a:lnTo>
                  <a:pt x="758607" y="1558735"/>
                </a:lnTo>
                <a:lnTo>
                  <a:pt x="759848" y="1562455"/>
                </a:lnTo>
                <a:cubicBezTo>
                  <a:pt x="752558" y="1562455"/>
                  <a:pt x="745269" y="1560633"/>
                  <a:pt x="739803" y="1556989"/>
                </a:cubicBezTo>
                <a:cubicBezTo>
                  <a:pt x="741626" y="1564278"/>
                  <a:pt x="730692" y="1558811"/>
                  <a:pt x="728870" y="1556989"/>
                </a:cubicBezTo>
                <a:close/>
                <a:moveTo>
                  <a:pt x="717025" y="1555252"/>
                </a:moveTo>
                <a:cubicBezTo>
                  <a:pt x="712242" y="1557900"/>
                  <a:pt x="711559" y="1571566"/>
                  <a:pt x="708826" y="1577033"/>
                </a:cubicBezTo>
                <a:cubicBezTo>
                  <a:pt x="707004" y="1580677"/>
                  <a:pt x="708826" y="1587966"/>
                  <a:pt x="710648" y="1591610"/>
                </a:cubicBezTo>
                <a:cubicBezTo>
                  <a:pt x="710648" y="1589788"/>
                  <a:pt x="708826" y="1591610"/>
                  <a:pt x="707004" y="1589788"/>
                </a:cubicBezTo>
                <a:cubicBezTo>
                  <a:pt x="707004" y="1595255"/>
                  <a:pt x="699715" y="1600721"/>
                  <a:pt x="705182" y="1606188"/>
                </a:cubicBezTo>
                <a:cubicBezTo>
                  <a:pt x="712470" y="1595255"/>
                  <a:pt x="721581" y="1584321"/>
                  <a:pt x="721581" y="1569744"/>
                </a:cubicBezTo>
                <a:cubicBezTo>
                  <a:pt x="723404" y="1566100"/>
                  <a:pt x="727048" y="1560633"/>
                  <a:pt x="723404" y="1556989"/>
                </a:cubicBezTo>
                <a:cubicBezTo>
                  <a:pt x="720670" y="1554711"/>
                  <a:pt x="718620" y="1554369"/>
                  <a:pt x="717025" y="1555252"/>
                </a:cubicBezTo>
                <a:close/>
                <a:moveTo>
                  <a:pt x="573985" y="1555167"/>
                </a:moveTo>
                <a:cubicBezTo>
                  <a:pt x="572163" y="1560633"/>
                  <a:pt x="570341" y="1564278"/>
                  <a:pt x="568519" y="1567922"/>
                </a:cubicBezTo>
                <a:cubicBezTo>
                  <a:pt x="575808" y="1566100"/>
                  <a:pt x="573985" y="1560633"/>
                  <a:pt x="577630" y="1556989"/>
                </a:cubicBezTo>
                <a:cubicBezTo>
                  <a:pt x="575808" y="1555167"/>
                  <a:pt x="573985" y="1556989"/>
                  <a:pt x="573985" y="1555167"/>
                </a:cubicBezTo>
                <a:close/>
                <a:moveTo>
                  <a:pt x="532075" y="1555167"/>
                </a:moveTo>
                <a:cubicBezTo>
                  <a:pt x="532075" y="1556989"/>
                  <a:pt x="533897" y="1560633"/>
                  <a:pt x="535719" y="1562455"/>
                </a:cubicBezTo>
                <a:cubicBezTo>
                  <a:pt x="537542" y="1560633"/>
                  <a:pt x="533897" y="1555167"/>
                  <a:pt x="532075" y="1555167"/>
                </a:cubicBezTo>
                <a:close/>
                <a:moveTo>
                  <a:pt x="506565" y="1555167"/>
                </a:moveTo>
                <a:cubicBezTo>
                  <a:pt x="504743" y="1553345"/>
                  <a:pt x="502920" y="1560633"/>
                  <a:pt x="506565" y="1560633"/>
                </a:cubicBezTo>
                <a:cubicBezTo>
                  <a:pt x="510209" y="1558811"/>
                  <a:pt x="506565" y="1556989"/>
                  <a:pt x="506565" y="1555167"/>
                </a:cubicBezTo>
                <a:close/>
                <a:moveTo>
                  <a:pt x="1019371" y="1554195"/>
                </a:moveTo>
                <a:lnTo>
                  <a:pt x="1018596" y="1555167"/>
                </a:lnTo>
                <a:cubicBezTo>
                  <a:pt x="1022240" y="1564278"/>
                  <a:pt x="1024062" y="1571566"/>
                  <a:pt x="1027707" y="1580677"/>
                </a:cubicBezTo>
                <a:cubicBezTo>
                  <a:pt x="1024062" y="1573388"/>
                  <a:pt x="1018596" y="1566100"/>
                  <a:pt x="1014951" y="1556989"/>
                </a:cubicBezTo>
                <a:cubicBezTo>
                  <a:pt x="1013129" y="1556989"/>
                  <a:pt x="1013129" y="1555167"/>
                  <a:pt x="1013129" y="1555167"/>
                </a:cubicBezTo>
                <a:cubicBezTo>
                  <a:pt x="1014040" y="1556989"/>
                  <a:pt x="1015407" y="1556989"/>
                  <a:pt x="1016774" y="1556306"/>
                </a:cubicBezTo>
                <a:close/>
                <a:moveTo>
                  <a:pt x="3154184" y="1553345"/>
                </a:moveTo>
                <a:cubicBezTo>
                  <a:pt x="3150539" y="1555167"/>
                  <a:pt x="3156006" y="1560633"/>
                  <a:pt x="3157828" y="1562455"/>
                </a:cubicBezTo>
                <a:cubicBezTo>
                  <a:pt x="3161472" y="1560633"/>
                  <a:pt x="3154184" y="1556989"/>
                  <a:pt x="3154184" y="1553345"/>
                </a:cubicBezTo>
                <a:close/>
                <a:moveTo>
                  <a:pt x="615895" y="1553345"/>
                </a:moveTo>
                <a:cubicBezTo>
                  <a:pt x="614074" y="1555167"/>
                  <a:pt x="612251" y="1560633"/>
                  <a:pt x="610429" y="1556989"/>
                </a:cubicBezTo>
                <a:cubicBezTo>
                  <a:pt x="612251" y="1556989"/>
                  <a:pt x="614074" y="1553345"/>
                  <a:pt x="615895" y="1553345"/>
                </a:cubicBezTo>
                <a:close/>
                <a:moveTo>
                  <a:pt x="1020063" y="1553328"/>
                </a:moveTo>
                <a:lnTo>
                  <a:pt x="1020418" y="1553345"/>
                </a:lnTo>
                <a:lnTo>
                  <a:pt x="1019371" y="1554195"/>
                </a:lnTo>
                <a:close/>
                <a:moveTo>
                  <a:pt x="597970" y="1551839"/>
                </a:moveTo>
                <a:lnTo>
                  <a:pt x="597673" y="1554028"/>
                </a:lnTo>
                <a:lnTo>
                  <a:pt x="595386" y="1556193"/>
                </a:lnTo>
                <a:lnTo>
                  <a:pt x="596534" y="1552433"/>
                </a:lnTo>
                <a:close/>
                <a:moveTo>
                  <a:pt x="620096" y="1551762"/>
                </a:moveTo>
                <a:lnTo>
                  <a:pt x="618778" y="1556533"/>
                </a:lnTo>
                <a:lnTo>
                  <a:pt x="615895" y="1556989"/>
                </a:lnTo>
                <a:close/>
                <a:moveTo>
                  <a:pt x="579452" y="1551522"/>
                </a:moveTo>
                <a:cubicBezTo>
                  <a:pt x="577630" y="1551522"/>
                  <a:pt x="575808" y="1551522"/>
                  <a:pt x="575808" y="1553345"/>
                </a:cubicBezTo>
                <a:cubicBezTo>
                  <a:pt x="575808" y="1555167"/>
                  <a:pt x="577630" y="1553345"/>
                  <a:pt x="577630" y="1555167"/>
                </a:cubicBezTo>
                <a:cubicBezTo>
                  <a:pt x="577630" y="1553345"/>
                  <a:pt x="579452" y="1551522"/>
                  <a:pt x="579452" y="1551522"/>
                </a:cubicBezTo>
                <a:close/>
                <a:moveTo>
                  <a:pt x="601877" y="1551216"/>
                </a:moveTo>
                <a:lnTo>
                  <a:pt x="601359" y="1554873"/>
                </a:lnTo>
                <a:lnTo>
                  <a:pt x="594030" y="1560633"/>
                </a:lnTo>
                <a:close/>
                <a:moveTo>
                  <a:pt x="725226" y="1549700"/>
                </a:moveTo>
                <a:cubicBezTo>
                  <a:pt x="723404" y="1551522"/>
                  <a:pt x="721581" y="1551522"/>
                  <a:pt x="719759" y="1553345"/>
                </a:cubicBezTo>
                <a:cubicBezTo>
                  <a:pt x="721581" y="1555167"/>
                  <a:pt x="725226" y="1555167"/>
                  <a:pt x="725226" y="1553345"/>
                </a:cubicBezTo>
                <a:cubicBezTo>
                  <a:pt x="725226" y="1551522"/>
                  <a:pt x="727048" y="1551522"/>
                  <a:pt x="725226" y="1549700"/>
                </a:cubicBezTo>
                <a:close/>
                <a:moveTo>
                  <a:pt x="705182" y="1549700"/>
                </a:moveTo>
                <a:cubicBezTo>
                  <a:pt x="705182" y="1547878"/>
                  <a:pt x="703359" y="1549700"/>
                  <a:pt x="701537" y="1551522"/>
                </a:cubicBezTo>
                <a:cubicBezTo>
                  <a:pt x="703359" y="1551522"/>
                  <a:pt x="710648" y="1556989"/>
                  <a:pt x="705182" y="1549700"/>
                </a:cubicBezTo>
                <a:close/>
                <a:moveTo>
                  <a:pt x="625006" y="1549700"/>
                </a:moveTo>
                <a:lnTo>
                  <a:pt x="624686" y="1555508"/>
                </a:lnTo>
                <a:lnTo>
                  <a:pt x="624550" y="1555622"/>
                </a:lnTo>
                <a:lnTo>
                  <a:pt x="621830" y="1556051"/>
                </a:lnTo>
                <a:close/>
                <a:moveTo>
                  <a:pt x="603140" y="1549700"/>
                </a:moveTo>
                <a:lnTo>
                  <a:pt x="601877" y="1551216"/>
                </a:lnTo>
                <a:lnTo>
                  <a:pt x="602026" y="1550161"/>
                </a:lnTo>
                <a:close/>
                <a:moveTo>
                  <a:pt x="526609" y="1549700"/>
                </a:moveTo>
                <a:cubicBezTo>
                  <a:pt x="528431" y="1558811"/>
                  <a:pt x="524786" y="1567922"/>
                  <a:pt x="530253" y="1577033"/>
                </a:cubicBezTo>
                <a:cubicBezTo>
                  <a:pt x="532075" y="1573388"/>
                  <a:pt x="532075" y="1571566"/>
                  <a:pt x="535719" y="1569744"/>
                </a:cubicBezTo>
                <a:cubicBezTo>
                  <a:pt x="533897" y="1564278"/>
                  <a:pt x="530253" y="1556989"/>
                  <a:pt x="526609" y="1549700"/>
                </a:cubicBezTo>
                <a:close/>
                <a:moveTo>
                  <a:pt x="512031" y="1549700"/>
                </a:moveTo>
                <a:cubicBezTo>
                  <a:pt x="512031" y="1551522"/>
                  <a:pt x="506565" y="1553345"/>
                  <a:pt x="510209" y="1556989"/>
                </a:cubicBezTo>
                <a:cubicBezTo>
                  <a:pt x="510209" y="1555167"/>
                  <a:pt x="513853" y="1553345"/>
                  <a:pt x="512031" y="1549700"/>
                </a:cubicBezTo>
                <a:close/>
                <a:moveTo>
                  <a:pt x="468299" y="1549700"/>
                </a:moveTo>
                <a:cubicBezTo>
                  <a:pt x="466478" y="1549700"/>
                  <a:pt x="464655" y="1551522"/>
                  <a:pt x="462832" y="1553345"/>
                </a:cubicBezTo>
                <a:cubicBezTo>
                  <a:pt x="466478" y="1553345"/>
                  <a:pt x="468299" y="1555167"/>
                  <a:pt x="471943" y="1553345"/>
                </a:cubicBezTo>
                <a:cubicBezTo>
                  <a:pt x="470121" y="1551522"/>
                  <a:pt x="468299" y="1551522"/>
                  <a:pt x="468299" y="1549700"/>
                </a:cubicBezTo>
                <a:close/>
                <a:moveTo>
                  <a:pt x="528431" y="1547878"/>
                </a:moveTo>
                <a:cubicBezTo>
                  <a:pt x="532075" y="1549700"/>
                  <a:pt x="533897" y="1556989"/>
                  <a:pt x="537542" y="1556989"/>
                </a:cubicBezTo>
                <a:cubicBezTo>
                  <a:pt x="539364" y="1553345"/>
                  <a:pt x="533897" y="1542412"/>
                  <a:pt x="528431" y="1547878"/>
                </a:cubicBezTo>
                <a:close/>
                <a:moveTo>
                  <a:pt x="517498" y="1547878"/>
                </a:moveTo>
                <a:cubicBezTo>
                  <a:pt x="513853" y="1555167"/>
                  <a:pt x="508387" y="1562455"/>
                  <a:pt x="517498" y="1567922"/>
                </a:cubicBezTo>
                <a:cubicBezTo>
                  <a:pt x="519320" y="1560633"/>
                  <a:pt x="517498" y="1555167"/>
                  <a:pt x="517498" y="1547878"/>
                </a:cubicBezTo>
                <a:close/>
                <a:moveTo>
                  <a:pt x="475589" y="1547878"/>
                </a:moveTo>
                <a:cubicBezTo>
                  <a:pt x="471943" y="1549700"/>
                  <a:pt x="477410" y="1551522"/>
                  <a:pt x="479232" y="1555167"/>
                </a:cubicBezTo>
                <a:cubicBezTo>
                  <a:pt x="479232" y="1553345"/>
                  <a:pt x="481054" y="1547878"/>
                  <a:pt x="475589" y="1547878"/>
                </a:cubicBezTo>
                <a:close/>
                <a:moveTo>
                  <a:pt x="440966" y="1547878"/>
                </a:moveTo>
                <a:cubicBezTo>
                  <a:pt x="439145" y="1547878"/>
                  <a:pt x="437322" y="1549700"/>
                  <a:pt x="437322" y="1551522"/>
                </a:cubicBezTo>
                <a:cubicBezTo>
                  <a:pt x="437322" y="1553345"/>
                  <a:pt x="439145" y="1551522"/>
                  <a:pt x="440966" y="1553345"/>
                </a:cubicBezTo>
                <a:cubicBezTo>
                  <a:pt x="442789" y="1551522"/>
                  <a:pt x="440966" y="1549700"/>
                  <a:pt x="440966" y="1547878"/>
                </a:cubicBezTo>
                <a:close/>
                <a:moveTo>
                  <a:pt x="410218" y="1547650"/>
                </a:moveTo>
                <a:cubicBezTo>
                  <a:pt x="408167" y="1546967"/>
                  <a:pt x="406345" y="1546967"/>
                  <a:pt x="406345" y="1549700"/>
                </a:cubicBezTo>
                <a:lnTo>
                  <a:pt x="413634" y="1555167"/>
                </a:lnTo>
                <a:cubicBezTo>
                  <a:pt x="417278" y="1555167"/>
                  <a:pt x="420923" y="1555167"/>
                  <a:pt x="422745" y="1553345"/>
                </a:cubicBezTo>
                <a:cubicBezTo>
                  <a:pt x="417278" y="1553345"/>
                  <a:pt x="411812" y="1551522"/>
                  <a:pt x="406345" y="1549700"/>
                </a:cubicBezTo>
                <a:cubicBezTo>
                  <a:pt x="409989" y="1547878"/>
                  <a:pt x="411812" y="1549700"/>
                  <a:pt x="415456" y="1549700"/>
                </a:cubicBezTo>
                <a:cubicBezTo>
                  <a:pt x="414545" y="1549700"/>
                  <a:pt x="412268" y="1548333"/>
                  <a:pt x="410218" y="1547650"/>
                </a:cubicBezTo>
                <a:close/>
                <a:moveTo>
                  <a:pt x="696071" y="1546056"/>
                </a:moveTo>
                <a:cubicBezTo>
                  <a:pt x="694249" y="1547878"/>
                  <a:pt x="697893" y="1551522"/>
                  <a:pt x="699715" y="1547878"/>
                </a:cubicBezTo>
                <a:cubicBezTo>
                  <a:pt x="697893" y="1546056"/>
                  <a:pt x="697893" y="1546056"/>
                  <a:pt x="696071" y="1546056"/>
                </a:cubicBezTo>
                <a:close/>
                <a:moveTo>
                  <a:pt x="497454" y="1546056"/>
                </a:moveTo>
                <a:cubicBezTo>
                  <a:pt x="490165" y="1549700"/>
                  <a:pt x="497454" y="1549700"/>
                  <a:pt x="499276" y="1551522"/>
                </a:cubicBezTo>
                <a:cubicBezTo>
                  <a:pt x="501098" y="1549700"/>
                  <a:pt x="499276" y="1546056"/>
                  <a:pt x="497454" y="1546056"/>
                </a:cubicBezTo>
                <a:close/>
                <a:moveTo>
                  <a:pt x="482876" y="1546056"/>
                </a:moveTo>
                <a:cubicBezTo>
                  <a:pt x="481054" y="1547878"/>
                  <a:pt x="484700" y="1555167"/>
                  <a:pt x="490165" y="1555167"/>
                </a:cubicBezTo>
                <a:cubicBezTo>
                  <a:pt x="490165" y="1553345"/>
                  <a:pt x="490165" y="1551522"/>
                  <a:pt x="491987" y="1549700"/>
                </a:cubicBezTo>
                <a:cubicBezTo>
                  <a:pt x="488343" y="1546056"/>
                  <a:pt x="486521" y="1544234"/>
                  <a:pt x="482876" y="1546056"/>
                </a:cubicBezTo>
                <a:close/>
                <a:moveTo>
                  <a:pt x="356539" y="1545448"/>
                </a:moveTo>
                <a:lnTo>
                  <a:pt x="357544" y="1546884"/>
                </a:lnTo>
                <a:lnTo>
                  <a:pt x="356464" y="1546283"/>
                </a:lnTo>
                <a:close/>
                <a:moveTo>
                  <a:pt x="3123206" y="1544234"/>
                </a:moveTo>
                <a:cubicBezTo>
                  <a:pt x="3114096" y="1544234"/>
                  <a:pt x="3119562" y="1558811"/>
                  <a:pt x="3121384" y="1566100"/>
                </a:cubicBezTo>
                <a:cubicBezTo>
                  <a:pt x="3117740" y="1566100"/>
                  <a:pt x="3117740" y="1558811"/>
                  <a:pt x="3115918" y="1560633"/>
                </a:cubicBezTo>
                <a:cubicBezTo>
                  <a:pt x="3115918" y="1562455"/>
                  <a:pt x="3115918" y="1566100"/>
                  <a:pt x="3117740" y="1567922"/>
                </a:cubicBezTo>
                <a:cubicBezTo>
                  <a:pt x="3121384" y="1569744"/>
                  <a:pt x="3125029" y="1564278"/>
                  <a:pt x="3125029" y="1567922"/>
                </a:cubicBezTo>
                <a:cubicBezTo>
                  <a:pt x="3126851" y="1573388"/>
                  <a:pt x="3130495" y="1578855"/>
                  <a:pt x="3137784" y="1580677"/>
                </a:cubicBezTo>
                <a:cubicBezTo>
                  <a:pt x="3132317" y="1587966"/>
                  <a:pt x="3117740" y="1597077"/>
                  <a:pt x="3126851" y="1598899"/>
                </a:cubicBezTo>
                <a:cubicBezTo>
                  <a:pt x="3135962" y="1600721"/>
                  <a:pt x="3148717" y="1589788"/>
                  <a:pt x="3159650" y="1580677"/>
                </a:cubicBezTo>
                <a:cubicBezTo>
                  <a:pt x="3163294" y="1578855"/>
                  <a:pt x="3163294" y="1571566"/>
                  <a:pt x="3156006" y="1573388"/>
                </a:cubicBezTo>
                <a:cubicBezTo>
                  <a:pt x="3156006" y="1575211"/>
                  <a:pt x="3157828" y="1577033"/>
                  <a:pt x="3157828" y="1578855"/>
                </a:cubicBezTo>
                <a:cubicBezTo>
                  <a:pt x="3152361" y="1580677"/>
                  <a:pt x="3154184" y="1573388"/>
                  <a:pt x="3150539" y="1575211"/>
                </a:cubicBezTo>
                <a:cubicBezTo>
                  <a:pt x="3148717" y="1569744"/>
                  <a:pt x="3157828" y="1564278"/>
                  <a:pt x="3150539" y="1564278"/>
                </a:cubicBezTo>
                <a:cubicBezTo>
                  <a:pt x="3148717" y="1564278"/>
                  <a:pt x="3150539" y="1569744"/>
                  <a:pt x="3148717" y="1573388"/>
                </a:cubicBezTo>
                <a:cubicBezTo>
                  <a:pt x="3148717" y="1577033"/>
                  <a:pt x="3139606" y="1575211"/>
                  <a:pt x="3135962" y="1575211"/>
                </a:cubicBezTo>
                <a:cubicBezTo>
                  <a:pt x="3121384" y="1571566"/>
                  <a:pt x="3126851" y="1555167"/>
                  <a:pt x="3123206" y="1544234"/>
                </a:cubicBezTo>
                <a:close/>
                <a:moveTo>
                  <a:pt x="847311" y="1544234"/>
                </a:moveTo>
                <a:cubicBezTo>
                  <a:pt x="849133" y="1549700"/>
                  <a:pt x="845489" y="1555167"/>
                  <a:pt x="849133" y="1558811"/>
                </a:cubicBezTo>
                <a:cubicBezTo>
                  <a:pt x="850956" y="1556989"/>
                  <a:pt x="850956" y="1555167"/>
                  <a:pt x="850956" y="1551522"/>
                </a:cubicBezTo>
                <a:cubicBezTo>
                  <a:pt x="852778" y="1551522"/>
                  <a:pt x="849133" y="1556989"/>
                  <a:pt x="852778" y="1556989"/>
                </a:cubicBezTo>
                <a:cubicBezTo>
                  <a:pt x="847311" y="1558811"/>
                  <a:pt x="847311" y="1560633"/>
                  <a:pt x="843667" y="1562455"/>
                </a:cubicBezTo>
                <a:cubicBezTo>
                  <a:pt x="849133" y="1567922"/>
                  <a:pt x="854600" y="1560633"/>
                  <a:pt x="860066" y="1560633"/>
                </a:cubicBezTo>
                <a:cubicBezTo>
                  <a:pt x="858244" y="1560633"/>
                  <a:pt x="856422" y="1558811"/>
                  <a:pt x="856422" y="1558811"/>
                </a:cubicBezTo>
                <a:cubicBezTo>
                  <a:pt x="860066" y="1560633"/>
                  <a:pt x="861889" y="1560633"/>
                  <a:pt x="863711" y="1558811"/>
                </a:cubicBezTo>
                <a:cubicBezTo>
                  <a:pt x="856422" y="1556989"/>
                  <a:pt x="854600" y="1546056"/>
                  <a:pt x="847311" y="1544234"/>
                </a:cubicBezTo>
                <a:close/>
                <a:moveTo>
                  <a:pt x="430809" y="1542917"/>
                </a:moveTo>
                <a:lnTo>
                  <a:pt x="431856" y="1544234"/>
                </a:lnTo>
                <a:lnTo>
                  <a:pt x="431324" y="1544462"/>
                </a:lnTo>
                <a:close/>
                <a:moveTo>
                  <a:pt x="3039387" y="1542412"/>
                </a:moveTo>
                <a:cubicBezTo>
                  <a:pt x="3032098" y="1542412"/>
                  <a:pt x="3039387" y="1549700"/>
                  <a:pt x="3039387" y="1553345"/>
                </a:cubicBezTo>
                <a:cubicBezTo>
                  <a:pt x="3044853" y="1551522"/>
                  <a:pt x="3039387" y="1547878"/>
                  <a:pt x="3039387" y="1542412"/>
                </a:cubicBezTo>
                <a:close/>
                <a:moveTo>
                  <a:pt x="3001121" y="1542412"/>
                </a:moveTo>
                <a:lnTo>
                  <a:pt x="3001121" y="1566100"/>
                </a:lnTo>
                <a:lnTo>
                  <a:pt x="3021165" y="1560633"/>
                </a:lnTo>
                <a:cubicBezTo>
                  <a:pt x="3019343" y="1558811"/>
                  <a:pt x="3019343" y="1556989"/>
                  <a:pt x="3019343" y="1555167"/>
                </a:cubicBezTo>
                <a:cubicBezTo>
                  <a:pt x="3010232" y="1556989"/>
                  <a:pt x="3012054" y="1560633"/>
                  <a:pt x="3004765" y="1555167"/>
                </a:cubicBezTo>
                <a:cubicBezTo>
                  <a:pt x="3008410" y="1553345"/>
                  <a:pt x="3010232" y="1551522"/>
                  <a:pt x="3012054" y="1547878"/>
                </a:cubicBezTo>
                <a:cubicBezTo>
                  <a:pt x="3012054" y="1549700"/>
                  <a:pt x="3012054" y="1547878"/>
                  <a:pt x="3001121" y="1542412"/>
                </a:cubicBezTo>
                <a:close/>
                <a:moveTo>
                  <a:pt x="789003" y="1542412"/>
                </a:moveTo>
                <a:cubicBezTo>
                  <a:pt x="795379" y="1550611"/>
                  <a:pt x="801301" y="1548789"/>
                  <a:pt x="807451" y="1544461"/>
                </a:cubicBezTo>
                <a:lnTo>
                  <a:pt x="808769" y="1543598"/>
                </a:lnTo>
                <a:lnTo>
                  <a:pt x="799935" y="1549700"/>
                </a:lnTo>
                <a:cubicBezTo>
                  <a:pt x="802668" y="1551522"/>
                  <a:pt x="803579" y="1555167"/>
                  <a:pt x="805173" y="1558128"/>
                </a:cubicBezTo>
                <a:lnTo>
                  <a:pt x="813231" y="1561861"/>
                </a:lnTo>
                <a:lnTo>
                  <a:pt x="803383" y="1562092"/>
                </a:lnTo>
                <a:lnTo>
                  <a:pt x="800618" y="1556989"/>
                </a:lnTo>
                <a:cubicBezTo>
                  <a:pt x="799023" y="1555167"/>
                  <a:pt x="797202" y="1553344"/>
                  <a:pt x="796290" y="1551522"/>
                </a:cubicBezTo>
                <a:cubicBezTo>
                  <a:pt x="790824" y="1555167"/>
                  <a:pt x="787179" y="1558811"/>
                  <a:pt x="781713" y="1562455"/>
                </a:cubicBezTo>
                <a:lnTo>
                  <a:pt x="787964" y="1562455"/>
                </a:lnTo>
                <a:lnTo>
                  <a:pt x="784304" y="1562541"/>
                </a:lnTo>
                <a:cubicBezTo>
                  <a:pt x="773969" y="1565075"/>
                  <a:pt x="764403" y="1570200"/>
                  <a:pt x="756203" y="1578855"/>
                </a:cubicBezTo>
                <a:cubicBezTo>
                  <a:pt x="765313" y="1580677"/>
                  <a:pt x="772602" y="1580677"/>
                  <a:pt x="779892" y="1582499"/>
                </a:cubicBezTo>
                <a:cubicBezTo>
                  <a:pt x="772602" y="1582499"/>
                  <a:pt x="763491" y="1582499"/>
                  <a:pt x="754380" y="1584321"/>
                </a:cubicBezTo>
                <a:cubicBezTo>
                  <a:pt x="750737" y="1584321"/>
                  <a:pt x="745269" y="1586144"/>
                  <a:pt x="741626" y="1587966"/>
                </a:cubicBezTo>
                <a:cubicBezTo>
                  <a:pt x="743447" y="1586144"/>
                  <a:pt x="747092" y="1582499"/>
                  <a:pt x="750737" y="1580677"/>
                </a:cubicBezTo>
                <a:cubicBezTo>
                  <a:pt x="747092" y="1582499"/>
                  <a:pt x="743447" y="1578855"/>
                  <a:pt x="739803" y="1577033"/>
                </a:cubicBezTo>
                <a:cubicBezTo>
                  <a:pt x="747091" y="1579766"/>
                  <a:pt x="753013" y="1577944"/>
                  <a:pt x="758480" y="1574299"/>
                </a:cubicBezTo>
                <a:lnTo>
                  <a:pt x="774144" y="1560873"/>
                </a:lnTo>
                <a:lnTo>
                  <a:pt x="776930" y="1561544"/>
                </a:lnTo>
                <a:cubicBezTo>
                  <a:pt x="783990" y="1560177"/>
                  <a:pt x="790823" y="1556077"/>
                  <a:pt x="794468" y="1549700"/>
                </a:cubicBezTo>
                <a:cubicBezTo>
                  <a:pt x="794468" y="1549700"/>
                  <a:pt x="790824" y="1546056"/>
                  <a:pt x="789003" y="1542412"/>
                </a:cubicBezTo>
                <a:close/>
                <a:moveTo>
                  <a:pt x="728870" y="1542412"/>
                </a:moveTo>
                <a:cubicBezTo>
                  <a:pt x="727048" y="1546056"/>
                  <a:pt x="717937" y="1546056"/>
                  <a:pt x="719759" y="1551522"/>
                </a:cubicBezTo>
                <a:cubicBezTo>
                  <a:pt x="721581" y="1549700"/>
                  <a:pt x="730692" y="1547878"/>
                  <a:pt x="728870" y="1542412"/>
                </a:cubicBezTo>
                <a:close/>
                <a:moveTo>
                  <a:pt x="3377627" y="1541730"/>
                </a:moveTo>
                <a:cubicBezTo>
                  <a:pt x="3374211" y="1541958"/>
                  <a:pt x="3371022" y="1544235"/>
                  <a:pt x="3369199" y="1547880"/>
                </a:cubicBezTo>
                <a:cubicBezTo>
                  <a:pt x="3371021" y="1551524"/>
                  <a:pt x="3380132" y="1555168"/>
                  <a:pt x="3381955" y="1553346"/>
                </a:cubicBezTo>
                <a:cubicBezTo>
                  <a:pt x="3381955" y="1558813"/>
                  <a:pt x="3385599" y="1562457"/>
                  <a:pt x="3383777" y="1566101"/>
                </a:cubicBezTo>
                <a:cubicBezTo>
                  <a:pt x="3380132" y="1567924"/>
                  <a:pt x="3380132" y="1560635"/>
                  <a:pt x="3376488" y="1560635"/>
                </a:cubicBezTo>
                <a:cubicBezTo>
                  <a:pt x="3378310" y="1564279"/>
                  <a:pt x="3381955" y="1567924"/>
                  <a:pt x="3383777" y="1573390"/>
                </a:cubicBezTo>
                <a:cubicBezTo>
                  <a:pt x="3392888" y="1567924"/>
                  <a:pt x="3391066" y="1560635"/>
                  <a:pt x="3385599" y="1553346"/>
                </a:cubicBezTo>
                <a:cubicBezTo>
                  <a:pt x="3385599" y="1551524"/>
                  <a:pt x="3387421" y="1549702"/>
                  <a:pt x="3387421" y="1547880"/>
                </a:cubicBezTo>
                <a:cubicBezTo>
                  <a:pt x="3384688" y="1543325"/>
                  <a:pt x="3381044" y="1541502"/>
                  <a:pt x="3377627" y="1541730"/>
                </a:cubicBezTo>
                <a:close/>
                <a:moveTo>
                  <a:pt x="619539" y="1540589"/>
                </a:moveTo>
                <a:lnTo>
                  <a:pt x="619344" y="1541565"/>
                </a:lnTo>
                <a:lnTo>
                  <a:pt x="616578" y="1545600"/>
                </a:lnTo>
                <a:cubicBezTo>
                  <a:pt x="611795" y="1548789"/>
                  <a:pt x="605873" y="1551522"/>
                  <a:pt x="601318" y="1555167"/>
                </a:cubicBezTo>
                <a:lnTo>
                  <a:pt x="601359" y="1554873"/>
                </a:lnTo>
                <a:lnTo>
                  <a:pt x="617635" y="1542085"/>
                </a:lnTo>
                <a:lnTo>
                  <a:pt x="617717" y="1542412"/>
                </a:lnTo>
                <a:lnTo>
                  <a:pt x="617785" y="1541967"/>
                </a:lnTo>
                <a:close/>
                <a:moveTo>
                  <a:pt x="3046675" y="1538767"/>
                </a:moveTo>
                <a:cubicBezTo>
                  <a:pt x="3046675" y="1544234"/>
                  <a:pt x="3046675" y="1549700"/>
                  <a:pt x="3052142" y="1549700"/>
                </a:cubicBezTo>
                <a:cubicBezTo>
                  <a:pt x="3052142" y="1546056"/>
                  <a:pt x="3052142" y="1544234"/>
                  <a:pt x="3055786" y="1546056"/>
                </a:cubicBezTo>
                <a:cubicBezTo>
                  <a:pt x="3055786" y="1540589"/>
                  <a:pt x="3050319" y="1540589"/>
                  <a:pt x="3046675" y="1538767"/>
                </a:cubicBezTo>
                <a:close/>
                <a:moveTo>
                  <a:pt x="723404" y="1538767"/>
                </a:moveTo>
                <a:cubicBezTo>
                  <a:pt x="721581" y="1542412"/>
                  <a:pt x="721581" y="1542412"/>
                  <a:pt x="719759" y="1546056"/>
                </a:cubicBezTo>
                <a:cubicBezTo>
                  <a:pt x="721581" y="1547878"/>
                  <a:pt x="723404" y="1546056"/>
                  <a:pt x="725226" y="1544234"/>
                </a:cubicBezTo>
                <a:cubicBezTo>
                  <a:pt x="725226" y="1544234"/>
                  <a:pt x="723404" y="1544234"/>
                  <a:pt x="721581" y="1544234"/>
                </a:cubicBezTo>
                <a:cubicBezTo>
                  <a:pt x="723404" y="1544234"/>
                  <a:pt x="725226" y="1544234"/>
                  <a:pt x="727048" y="1542412"/>
                </a:cubicBezTo>
                <a:cubicBezTo>
                  <a:pt x="725226" y="1542412"/>
                  <a:pt x="725226" y="1540589"/>
                  <a:pt x="723404" y="1538767"/>
                </a:cubicBezTo>
                <a:close/>
                <a:moveTo>
                  <a:pt x="539364" y="1538767"/>
                </a:moveTo>
                <a:cubicBezTo>
                  <a:pt x="537542" y="1536945"/>
                  <a:pt x="537542" y="1540589"/>
                  <a:pt x="533897" y="1540589"/>
                </a:cubicBezTo>
                <a:cubicBezTo>
                  <a:pt x="535719" y="1544234"/>
                  <a:pt x="537542" y="1538767"/>
                  <a:pt x="539364" y="1538767"/>
                </a:cubicBezTo>
                <a:close/>
                <a:moveTo>
                  <a:pt x="1218915" y="1538646"/>
                </a:moveTo>
                <a:lnTo>
                  <a:pt x="1218994" y="1538651"/>
                </a:lnTo>
                <a:lnTo>
                  <a:pt x="1219036" y="1538767"/>
                </a:lnTo>
                <a:close/>
                <a:moveTo>
                  <a:pt x="4396906" y="1535216"/>
                </a:moveTo>
                <a:lnTo>
                  <a:pt x="4396906" y="1557081"/>
                </a:lnTo>
                <a:lnTo>
                  <a:pt x="4382328" y="1557081"/>
                </a:lnTo>
                <a:cubicBezTo>
                  <a:pt x="4382328" y="1537038"/>
                  <a:pt x="4384151" y="1544327"/>
                  <a:pt x="4396906" y="1535216"/>
                </a:cubicBezTo>
                <a:close/>
                <a:moveTo>
                  <a:pt x="822903" y="1534337"/>
                </a:moveTo>
                <a:lnTo>
                  <a:pt x="808769" y="1543598"/>
                </a:lnTo>
                <a:lnTo>
                  <a:pt x="822029" y="1534439"/>
                </a:lnTo>
                <a:close/>
                <a:moveTo>
                  <a:pt x="974863" y="1533357"/>
                </a:moveTo>
                <a:cubicBezTo>
                  <a:pt x="982152" y="1531534"/>
                  <a:pt x="987618" y="1537001"/>
                  <a:pt x="993085" y="1535179"/>
                </a:cubicBezTo>
                <a:cubicBezTo>
                  <a:pt x="993085" y="1535179"/>
                  <a:pt x="993085" y="1537001"/>
                  <a:pt x="993085" y="1537001"/>
                </a:cubicBezTo>
                <a:cubicBezTo>
                  <a:pt x="998552" y="1538823"/>
                  <a:pt x="1004019" y="1540645"/>
                  <a:pt x="1007663" y="1542467"/>
                </a:cubicBezTo>
                <a:cubicBezTo>
                  <a:pt x="1009487" y="1544290"/>
                  <a:pt x="1007663" y="1544290"/>
                  <a:pt x="1009487" y="1546112"/>
                </a:cubicBezTo>
                <a:cubicBezTo>
                  <a:pt x="1000374" y="1535179"/>
                  <a:pt x="985796" y="1537001"/>
                  <a:pt x="974863" y="1533357"/>
                </a:cubicBezTo>
                <a:close/>
                <a:moveTo>
                  <a:pt x="3392888" y="1533302"/>
                </a:moveTo>
                <a:cubicBezTo>
                  <a:pt x="3392888" y="1535124"/>
                  <a:pt x="3392888" y="1536946"/>
                  <a:pt x="3392888" y="1538769"/>
                </a:cubicBezTo>
                <a:cubicBezTo>
                  <a:pt x="3394710" y="1536946"/>
                  <a:pt x="3394710" y="1540591"/>
                  <a:pt x="3396532" y="1536946"/>
                </a:cubicBezTo>
                <a:cubicBezTo>
                  <a:pt x="3394710" y="1535124"/>
                  <a:pt x="3394710" y="1533302"/>
                  <a:pt x="3392888" y="1533302"/>
                </a:cubicBezTo>
                <a:close/>
                <a:moveTo>
                  <a:pt x="1213568" y="1533301"/>
                </a:moveTo>
                <a:lnTo>
                  <a:pt x="1218915" y="1538646"/>
                </a:lnTo>
                <a:lnTo>
                  <a:pt x="1217212" y="1538539"/>
                </a:lnTo>
                <a:cubicBezTo>
                  <a:pt x="1215846" y="1537401"/>
                  <a:pt x="1214479" y="1536034"/>
                  <a:pt x="1213568" y="1536945"/>
                </a:cubicBezTo>
                <a:cubicBezTo>
                  <a:pt x="1215390" y="1536945"/>
                  <a:pt x="1211747" y="1535123"/>
                  <a:pt x="1213568" y="1533301"/>
                </a:cubicBezTo>
                <a:close/>
                <a:moveTo>
                  <a:pt x="847311" y="1533301"/>
                </a:moveTo>
                <a:cubicBezTo>
                  <a:pt x="841845" y="1540589"/>
                  <a:pt x="852778" y="1547878"/>
                  <a:pt x="858244" y="1551522"/>
                </a:cubicBezTo>
                <a:cubicBezTo>
                  <a:pt x="860066" y="1546056"/>
                  <a:pt x="850956" y="1538767"/>
                  <a:pt x="847311" y="1533301"/>
                </a:cubicBezTo>
                <a:close/>
                <a:moveTo>
                  <a:pt x="599496" y="1533301"/>
                </a:moveTo>
                <a:cubicBezTo>
                  <a:pt x="594030" y="1536945"/>
                  <a:pt x="592207" y="1547878"/>
                  <a:pt x="586741" y="1553345"/>
                </a:cubicBezTo>
                <a:cubicBezTo>
                  <a:pt x="590385" y="1549700"/>
                  <a:pt x="599496" y="1540589"/>
                  <a:pt x="599496" y="1533301"/>
                </a:cubicBezTo>
                <a:close/>
                <a:moveTo>
                  <a:pt x="471943" y="1533301"/>
                </a:moveTo>
                <a:cubicBezTo>
                  <a:pt x="470121" y="1535123"/>
                  <a:pt x="468299" y="1535123"/>
                  <a:pt x="468299" y="1536945"/>
                </a:cubicBezTo>
                <a:cubicBezTo>
                  <a:pt x="468299" y="1538767"/>
                  <a:pt x="473766" y="1535123"/>
                  <a:pt x="471943" y="1533301"/>
                </a:cubicBezTo>
                <a:close/>
                <a:moveTo>
                  <a:pt x="348037" y="1533301"/>
                </a:moveTo>
                <a:cubicBezTo>
                  <a:pt x="351680" y="1535123"/>
                  <a:pt x="355324" y="1535123"/>
                  <a:pt x="357146" y="1538767"/>
                </a:cubicBezTo>
                <a:lnTo>
                  <a:pt x="356539" y="1545448"/>
                </a:lnTo>
                <a:close/>
                <a:moveTo>
                  <a:pt x="657463" y="1533215"/>
                </a:moveTo>
                <a:cubicBezTo>
                  <a:pt x="654388" y="1533870"/>
                  <a:pt x="651427" y="1535578"/>
                  <a:pt x="648694" y="1538767"/>
                </a:cubicBezTo>
                <a:cubicBezTo>
                  <a:pt x="646872" y="1544234"/>
                  <a:pt x="639583" y="1547878"/>
                  <a:pt x="645050" y="1555167"/>
                </a:cubicBezTo>
                <a:cubicBezTo>
                  <a:pt x="645050" y="1553345"/>
                  <a:pt x="645050" y="1553345"/>
                  <a:pt x="643228" y="1551522"/>
                </a:cubicBezTo>
                <a:cubicBezTo>
                  <a:pt x="641407" y="1571566"/>
                  <a:pt x="652339" y="1584321"/>
                  <a:pt x="659627" y="1602543"/>
                </a:cubicBezTo>
                <a:cubicBezTo>
                  <a:pt x="652339" y="1593432"/>
                  <a:pt x="646872" y="1582499"/>
                  <a:pt x="643228" y="1569744"/>
                </a:cubicBezTo>
                <a:cubicBezTo>
                  <a:pt x="643228" y="1589788"/>
                  <a:pt x="630472" y="1620765"/>
                  <a:pt x="648694" y="1633520"/>
                </a:cubicBezTo>
                <a:cubicBezTo>
                  <a:pt x="654161" y="1624409"/>
                  <a:pt x="657805" y="1613476"/>
                  <a:pt x="663272" y="1606188"/>
                </a:cubicBezTo>
                <a:cubicBezTo>
                  <a:pt x="663272" y="1606188"/>
                  <a:pt x="661449" y="1606188"/>
                  <a:pt x="659627" y="1608010"/>
                </a:cubicBezTo>
                <a:cubicBezTo>
                  <a:pt x="665094" y="1597077"/>
                  <a:pt x="666916" y="1586144"/>
                  <a:pt x="674205" y="1575211"/>
                </a:cubicBezTo>
                <a:cubicBezTo>
                  <a:pt x="665094" y="1569744"/>
                  <a:pt x="661449" y="1586144"/>
                  <a:pt x="650516" y="1578855"/>
                </a:cubicBezTo>
                <a:cubicBezTo>
                  <a:pt x="663272" y="1571566"/>
                  <a:pt x="679671" y="1571566"/>
                  <a:pt x="688782" y="1556989"/>
                </a:cubicBezTo>
                <a:cubicBezTo>
                  <a:pt x="683316" y="1553345"/>
                  <a:pt x="677849" y="1553345"/>
                  <a:pt x="674205" y="1549700"/>
                </a:cubicBezTo>
                <a:cubicBezTo>
                  <a:pt x="681493" y="1549700"/>
                  <a:pt x="688782" y="1560633"/>
                  <a:pt x="694249" y="1551522"/>
                </a:cubicBezTo>
                <a:cubicBezTo>
                  <a:pt x="696071" y="1547878"/>
                  <a:pt x="690604" y="1540589"/>
                  <a:pt x="685138" y="1544234"/>
                </a:cubicBezTo>
                <a:cubicBezTo>
                  <a:pt x="679671" y="1540589"/>
                  <a:pt x="673294" y="1536034"/>
                  <a:pt x="666916" y="1533984"/>
                </a:cubicBezTo>
                <a:cubicBezTo>
                  <a:pt x="663727" y="1532959"/>
                  <a:pt x="660538" y="1532560"/>
                  <a:pt x="657463" y="1533215"/>
                </a:cubicBezTo>
                <a:close/>
                <a:moveTo>
                  <a:pt x="834015" y="1533044"/>
                </a:moveTo>
                <a:lnTo>
                  <a:pt x="838620" y="1536804"/>
                </a:lnTo>
                <a:lnTo>
                  <a:pt x="833662" y="1533085"/>
                </a:lnTo>
                <a:close/>
                <a:moveTo>
                  <a:pt x="422138" y="1532260"/>
                </a:moveTo>
                <a:lnTo>
                  <a:pt x="422563" y="1532754"/>
                </a:lnTo>
                <a:lnTo>
                  <a:pt x="422745" y="1533301"/>
                </a:lnTo>
                <a:close/>
                <a:moveTo>
                  <a:pt x="652339" y="1531478"/>
                </a:moveTo>
                <a:cubicBezTo>
                  <a:pt x="648694" y="1531478"/>
                  <a:pt x="645050" y="1531478"/>
                  <a:pt x="641407" y="1535123"/>
                </a:cubicBezTo>
                <a:cubicBezTo>
                  <a:pt x="643228" y="1536945"/>
                  <a:pt x="641407" y="1538767"/>
                  <a:pt x="643228" y="1540589"/>
                </a:cubicBezTo>
                <a:cubicBezTo>
                  <a:pt x="646872" y="1536945"/>
                  <a:pt x="652339" y="1535123"/>
                  <a:pt x="652339" y="1531478"/>
                </a:cubicBezTo>
                <a:close/>
                <a:moveTo>
                  <a:pt x="566697" y="1531478"/>
                </a:moveTo>
                <a:cubicBezTo>
                  <a:pt x="559408" y="1542412"/>
                  <a:pt x="543008" y="1560633"/>
                  <a:pt x="563052" y="1562455"/>
                </a:cubicBezTo>
                <a:cubicBezTo>
                  <a:pt x="564874" y="1562455"/>
                  <a:pt x="573985" y="1551522"/>
                  <a:pt x="573985" y="1542412"/>
                </a:cubicBezTo>
                <a:cubicBezTo>
                  <a:pt x="570341" y="1540589"/>
                  <a:pt x="564874" y="1542412"/>
                  <a:pt x="561230" y="1540589"/>
                </a:cubicBezTo>
                <a:cubicBezTo>
                  <a:pt x="564874" y="1540589"/>
                  <a:pt x="568519" y="1542412"/>
                  <a:pt x="570341" y="1538767"/>
                </a:cubicBezTo>
                <a:cubicBezTo>
                  <a:pt x="568519" y="1536945"/>
                  <a:pt x="566697" y="1533301"/>
                  <a:pt x="566697" y="1531478"/>
                </a:cubicBezTo>
                <a:close/>
                <a:moveTo>
                  <a:pt x="482876" y="1531478"/>
                </a:moveTo>
                <a:cubicBezTo>
                  <a:pt x="477410" y="1540589"/>
                  <a:pt x="479232" y="1542412"/>
                  <a:pt x="488343" y="1538767"/>
                </a:cubicBezTo>
                <a:cubicBezTo>
                  <a:pt x="486521" y="1536945"/>
                  <a:pt x="484700" y="1533301"/>
                  <a:pt x="482876" y="1531478"/>
                </a:cubicBezTo>
                <a:close/>
                <a:moveTo>
                  <a:pt x="1213568" y="1529656"/>
                </a:moveTo>
                <a:cubicBezTo>
                  <a:pt x="1211747" y="1531478"/>
                  <a:pt x="1211747" y="1531478"/>
                  <a:pt x="1208102" y="1533301"/>
                </a:cubicBezTo>
                <a:cubicBezTo>
                  <a:pt x="1209925" y="1536945"/>
                  <a:pt x="1211747" y="1535123"/>
                  <a:pt x="1213568" y="1536945"/>
                </a:cubicBezTo>
                <a:cubicBezTo>
                  <a:pt x="1215390" y="1540589"/>
                  <a:pt x="1217213" y="1546056"/>
                  <a:pt x="1220858" y="1549700"/>
                </a:cubicBezTo>
                <a:lnTo>
                  <a:pt x="1228146" y="1549700"/>
                </a:lnTo>
                <a:lnTo>
                  <a:pt x="1226323" y="1553345"/>
                </a:lnTo>
                <a:cubicBezTo>
                  <a:pt x="1228146" y="1556989"/>
                  <a:pt x="1229969" y="1560633"/>
                  <a:pt x="1231790" y="1564278"/>
                </a:cubicBezTo>
                <a:lnTo>
                  <a:pt x="1235434" y="1564278"/>
                </a:lnTo>
                <a:lnTo>
                  <a:pt x="1235434" y="1569744"/>
                </a:lnTo>
                <a:cubicBezTo>
                  <a:pt x="1237256" y="1573388"/>
                  <a:pt x="1240901" y="1575211"/>
                  <a:pt x="1242723" y="1577033"/>
                </a:cubicBezTo>
                <a:cubicBezTo>
                  <a:pt x="1244545" y="1575211"/>
                  <a:pt x="1239080" y="1567922"/>
                  <a:pt x="1235434" y="1564278"/>
                </a:cubicBezTo>
                <a:cubicBezTo>
                  <a:pt x="1235434" y="1558811"/>
                  <a:pt x="1231790" y="1555167"/>
                  <a:pt x="1228146" y="1549700"/>
                </a:cubicBezTo>
                <a:cubicBezTo>
                  <a:pt x="1224501" y="1546056"/>
                  <a:pt x="1222679" y="1542412"/>
                  <a:pt x="1220858" y="1538767"/>
                </a:cubicBezTo>
                <a:lnTo>
                  <a:pt x="1218994" y="1538651"/>
                </a:lnTo>
                <a:lnTo>
                  <a:pt x="1217668" y="1534895"/>
                </a:lnTo>
                <a:cubicBezTo>
                  <a:pt x="1216301" y="1532845"/>
                  <a:pt x="1214479" y="1530567"/>
                  <a:pt x="1213568" y="1529656"/>
                </a:cubicBezTo>
                <a:close/>
                <a:moveTo>
                  <a:pt x="490644" y="1529368"/>
                </a:moveTo>
                <a:lnTo>
                  <a:pt x="488343" y="1535123"/>
                </a:lnTo>
                <a:cubicBezTo>
                  <a:pt x="489254" y="1534212"/>
                  <a:pt x="488798" y="1532845"/>
                  <a:pt x="488798" y="1531478"/>
                </a:cubicBezTo>
                <a:close/>
                <a:moveTo>
                  <a:pt x="561230" y="1527834"/>
                </a:moveTo>
                <a:cubicBezTo>
                  <a:pt x="561230" y="1531478"/>
                  <a:pt x="553941" y="1529656"/>
                  <a:pt x="557586" y="1533301"/>
                </a:cubicBezTo>
                <a:cubicBezTo>
                  <a:pt x="553941" y="1535123"/>
                  <a:pt x="552119" y="1533301"/>
                  <a:pt x="548475" y="1535123"/>
                </a:cubicBezTo>
                <a:cubicBezTo>
                  <a:pt x="550297" y="1538767"/>
                  <a:pt x="550297" y="1542412"/>
                  <a:pt x="552119" y="1544234"/>
                </a:cubicBezTo>
                <a:cubicBezTo>
                  <a:pt x="555763" y="1540589"/>
                  <a:pt x="557586" y="1536945"/>
                  <a:pt x="559408" y="1533301"/>
                </a:cubicBezTo>
                <a:cubicBezTo>
                  <a:pt x="559408" y="1535123"/>
                  <a:pt x="559408" y="1535123"/>
                  <a:pt x="561230" y="1536945"/>
                </a:cubicBezTo>
                <a:cubicBezTo>
                  <a:pt x="557586" y="1533301"/>
                  <a:pt x="566697" y="1531478"/>
                  <a:pt x="561230" y="1527834"/>
                </a:cubicBezTo>
                <a:close/>
                <a:moveTo>
                  <a:pt x="530253" y="1527834"/>
                </a:moveTo>
                <a:cubicBezTo>
                  <a:pt x="528431" y="1531478"/>
                  <a:pt x="526609" y="1535123"/>
                  <a:pt x="528431" y="1538767"/>
                </a:cubicBezTo>
                <a:cubicBezTo>
                  <a:pt x="532075" y="1536945"/>
                  <a:pt x="535719" y="1536945"/>
                  <a:pt x="541186" y="1533301"/>
                </a:cubicBezTo>
                <a:cubicBezTo>
                  <a:pt x="537542" y="1531478"/>
                  <a:pt x="535719" y="1535123"/>
                  <a:pt x="532075" y="1535123"/>
                </a:cubicBezTo>
                <a:cubicBezTo>
                  <a:pt x="530253" y="1533301"/>
                  <a:pt x="533897" y="1533301"/>
                  <a:pt x="533897" y="1531478"/>
                </a:cubicBezTo>
                <a:cubicBezTo>
                  <a:pt x="532075" y="1529656"/>
                  <a:pt x="530253" y="1529656"/>
                  <a:pt x="530253" y="1527834"/>
                </a:cubicBezTo>
                <a:close/>
                <a:moveTo>
                  <a:pt x="510209" y="1527834"/>
                </a:moveTo>
                <a:cubicBezTo>
                  <a:pt x="506565" y="1527834"/>
                  <a:pt x="506565" y="1531478"/>
                  <a:pt x="504743" y="1533301"/>
                </a:cubicBezTo>
                <a:cubicBezTo>
                  <a:pt x="508387" y="1536945"/>
                  <a:pt x="508387" y="1529656"/>
                  <a:pt x="510209" y="1527834"/>
                </a:cubicBezTo>
                <a:close/>
                <a:moveTo>
                  <a:pt x="491324" y="1527668"/>
                </a:moveTo>
                <a:lnTo>
                  <a:pt x="491766" y="1527779"/>
                </a:lnTo>
                <a:lnTo>
                  <a:pt x="491721" y="1528138"/>
                </a:lnTo>
                <a:lnTo>
                  <a:pt x="490644" y="1529368"/>
                </a:lnTo>
                <a:close/>
                <a:moveTo>
                  <a:pt x="572391" y="1526695"/>
                </a:moveTo>
                <a:cubicBezTo>
                  <a:pt x="571707" y="1527378"/>
                  <a:pt x="571252" y="1528745"/>
                  <a:pt x="572163" y="1529656"/>
                </a:cubicBezTo>
                <a:cubicBezTo>
                  <a:pt x="573985" y="1527834"/>
                  <a:pt x="573985" y="1527834"/>
                  <a:pt x="573985" y="1527834"/>
                </a:cubicBezTo>
                <a:cubicBezTo>
                  <a:pt x="573985" y="1526012"/>
                  <a:pt x="573074" y="1526012"/>
                  <a:pt x="572391" y="1526695"/>
                </a:cubicBezTo>
                <a:close/>
                <a:moveTo>
                  <a:pt x="1204457" y="1526012"/>
                </a:moveTo>
                <a:cubicBezTo>
                  <a:pt x="1202636" y="1529656"/>
                  <a:pt x="1208102" y="1529656"/>
                  <a:pt x="1208102" y="1531478"/>
                </a:cubicBezTo>
                <a:cubicBezTo>
                  <a:pt x="1208102" y="1531478"/>
                  <a:pt x="1209925" y="1531478"/>
                  <a:pt x="1211747" y="1529656"/>
                </a:cubicBezTo>
                <a:cubicBezTo>
                  <a:pt x="1209925" y="1527834"/>
                  <a:pt x="1206279" y="1527834"/>
                  <a:pt x="1204457" y="1526012"/>
                </a:cubicBezTo>
                <a:close/>
                <a:moveTo>
                  <a:pt x="539364" y="1526012"/>
                </a:moveTo>
                <a:cubicBezTo>
                  <a:pt x="539364" y="1527834"/>
                  <a:pt x="533897" y="1531478"/>
                  <a:pt x="539364" y="1531478"/>
                </a:cubicBezTo>
                <a:cubicBezTo>
                  <a:pt x="541186" y="1529656"/>
                  <a:pt x="539364" y="1527834"/>
                  <a:pt x="539364" y="1526012"/>
                </a:cubicBezTo>
                <a:close/>
                <a:moveTo>
                  <a:pt x="484700" y="1526012"/>
                </a:moveTo>
                <a:cubicBezTo>
                  <a:pt x="482876" y="1533301"/>
                  <a:pt x="488343" y="1535123"/>
                  <a:pt x="490165" y="1540589"/>
                </a:cubicBezTo>
                <a:lnTo>
                  <a:pt x="491721" y="1528138"/>
                </a:lnTo>
                <a:lnTo>
                  <a:pt x="491987" y="1527834"/>
                </a:lnTo>
                <a:lnTo>
                  <a:pt x="491766" y="1527779"/>
                </a:lnTo>
                <a:lnTo>
                  <a:pt x="491987" y="1526012"/>
                </a:lnTo>
                <a:lnTo>
                  <a:pt x="491324" y="1527668"/>
                </a:lnTo>
                <a:close/>
                <a:moveTo>
                  <a:pt x="1087838" y="1524273"/>
                </a:moveTo>
                <a:lnTo>
                  <a:pt x="1087838" y="1526012"/>
                </a:lnTo>
                <a:lnTo>
                  <a:pt x="1085260" y="1524390"/>
                </a:lnTo>
                <a:close/>
                <a:moveTo>
                  <a:pt x="1084265" y="1523764"/>
                </a:moveTo>
                <a:lnTo>
                  <a:pt x="1085260" y="1524390"/>
                </a:lnTo>
                <a:lnTo>
                  <a:pt x="1084649" y="1524417"/>
                </a:lnTo>
                <a:close/>
                <a:moveTo>
                  <a:pt x="1087838" y="1523068"/>
                </a:moveTo>
                <a:lnTo>
                  <a:pt x="1089660" y="1524190"/>
                </a:lnTo>
                <a:lnTo>
                  <a:pt x="1087838" y="1524273"/>
                </a:lnTo>
                <a:close/>
                <a:moveTo>
                  <a:pt x="439145" y="1522368"/>
                </a:moveTo>
                <a:cubicBezTo>
                  <a:pt x="431856" y="1524190"/>
                  <a:pt x="442789" y="1527834"/>
                  <a:pt x="440966" y="1531478"/>
                </a:cubicBezTo>
                <a:cubicBezTo>
                  <a:pt x="444611" y="1529656"/>
                  <a:pt x="442789" y="1524190"/>
                  <a:pt x="439145" y="1522368"/>
                </a:cubicBezTo>
                <a:close/>
                <a:moveTo>
                  <a:pt x="535720" y="1521912"/>
                </a:moveTo>
                <a:cubicBezTo>
                  <a:pt x="534353" y="1521912"/>
                  <a:pt x="532986" y="1522368"/>
                  <a:pt x="532075" y="1524190"/>
                </a:cubicBezTo>
                <a:cubicBezTo>
                  <a:pt x="533897" y="1524190"/>
                  <a:pt x="539364" y="1529656"/>
                  <a:pt x="539364" y="1522368"/>
                </a:cubicBezTo>
                <a:cubicBezTo>
                  <a:pt x="538453" y="1522368"/>
                  <a:pt x="537087" y="1521912"/>
                  <a:pt x="535720" y="1521912"/>
                </a:cubicBezTo>
                <a:close/>
                <a:moveTo>
                  <a:pt x="3323646" y="1521326"/>
                </a:moveTo>
                <a:lnTo>
                  <a:pt x="3323646" y="1522368"/>
                </a:lnTo>
                <a:cubicBezTo>
                  <a:pt x="3323646" y="1524190"/>
                  <a:pt x="3323646" y="1524190"/>
                  <a:pt x="3321824" y="1524190"/>
                </a:cubicBezTo>
                <a:lnTo>
                  <a:pt x="3322407" y="1521857"/>
                </a:lnTo>
                <a:close/>
                <a:moveTo>
                  <a:pt x="641407" y="1520545"/>
                </a:moveTo>
                <a:cubicBezTo>
                  <a:pt x="643228" y="1524190"/>
                  <a:pt x="645050" y="1520545"/>
                  <a:pt x="646872" y="1520545"/>
                </a:cubicBezTo>
                <a:cubicBezTo>
                  <a:pt x="645050" y="1520545"/>
                  <a:pt x="643228" y="1518723"/>
                  <a:pt x="641407" y="1520545"/>
                </a:cubicBezTo>
                <a:close/>
                <a:moveTo>
                  <a:pt x="637761" y="1520545"/>
                </a:moveTo>
                <a:cubicBezTo>
                  <a:pt x="634117" y="1522368"/>
                  <a:pt x="635939" y="1522368"/>
                  <a:pt x="634117" y="1524190"/>
                </a:cubicBezTo>
                <a:cubicBezTo>
                  <a:pt x="634117" y="1526012"/>
                  <a:pt x="635939" y="1522368"/>
                  <a:pt x="639583" y="1524190"/>
                </a:cubicBezTo>
                <a:cubicBezTo>
                  <a:pt x="641407" y="1522368"/>
                  <a:pt x="639583" y="1520545"/>
                  <a:pt x="637761" y="1520545"/>
                </a:cubicBezTo>
                <a:close/>
                <a:moveTo>
                  <a:pt x="3863009" y="1518838"/>
                </a:moveTo>
                <a:cubicBezTo>
                  <a:pt x="3892164" y="1522483"/>
                  <a:pt x="3884875" y="1515194"/>
                  <a:pt x="3892164" y="1542526"/>
                </a:cubicBezTo>
                <a:lnTo>
                  <a:pt x="3870298" y="1549814"/>
                </a:lnTo>
                <a:close/>
                <a:moveTo>
                  <a:pt x="3148717" y="1518723"/>
                </a:moveTo>
                <a:cubicBezTo>
                  <a:pt x="3146895" y="1520545"/>
                  <a:pt x="3146895" y="1526012"/>
                  <a:pt x="3145073" y="1524190"/>
                </a:cubicBezTo>
                <a:cubicBezTo>
                  <a:pt x="3140518" y="1522368"/>
                  <a:pt x="3135962" y="1522368"/>
                  <a:pt x="3131179" y="1523051"/>
                </a:cubicBezTo>
                <a:lnTo>
                  <a:pt x="3120573" y="1525109"/>
                </a:lnTo>
                <a:lnTo>
                  <a:pt x="3119562" y="1524190"/>
                </a:lnTo>
                <a:lnTo>
                  <a:pt x="3119911" y="1525237"/>
                </a:lnTo>
                <a:lnTo>
                  <a:pt x="3115918" y="1526012"/>
                </a:lnTo>
                <a:cubicBezTo>
                  <a:pt x="3112274" y="1526012"/>
                  <a:pt x="3114096" y="1531478"/>
                  <a:pt x="3114096" y="1533301"/>
                </a:cubicBezTo>
                <a:cubicBezTo>
                  <a:pt x="3110451" y="1522368"/>
                  <a:pt x="3103163" y="1533301"/>
                  <a:pt x="3095874" y="1533301"/>
                </a:cubicBezTo>
                <a:cubicBezTo>
                  <a:pt x="3099518" y="1542412"/>
                  <a:pt x="3106807" y="1553345"/>
                  <a:pt x="3097696" y="1553345"/>
                </a:cubicBezTo>
                <a:cubicBezTo>
                  <a:pt x="3090407" y="1555167"/>
                  <a:pt x="3101340" y="1542412"/>
                  <a:pt x="3092230" y="1538767"/>
                </a:cubicBezTo>
                <a:cubicBezTo>
                  <a:pt x="3090407" y="1542412"/>
                  <a:pt x="3086763" y="1546056"/>
                  <a:pt x="3084941" y="1549700"/>
                </a:cubicBezTo>
                <a:cubicBezTo>
                  <a:pt x="3084941" y="1536945"/>
                  <a:pt x="3095874" y="1524190"/>
                  <a:pt x="3079474" y="1529656"/>
                </a:cubicBezTo>
                <a:cubicBezTo>
                  <a:pt x="3074008" y="1529656"/>
                  <a:pt x="3081297" y="1542412"/>
                  <a:pt x="3081297" y="1549700"/>
                </a:cubicBezTo>
                <a:cubicBezTo>
                  <a:pt x="3079474" y="1553345"/>
                  <a:pt x="3075830" y="1549700"/>
                  <a:pt x="3077652" y="1555167"/>
                </a:cubicBezTo>
                <a:cubicBezTo>
                  <a:pt x="3068541" y="1551522"/>
                  <a:pt x="3068541" y="1546056"/>
                  <a:pt x="3061253" y="1540589"/>
                </a:cubicBezTo>
                <a:cubicBezTo>
                  <a:pt x="3061253" y="1544234"/>
                  <a:pt x="3063075" y="1544234"/>
                  <a:pt x="3063075" y="1546056"/>
                </a:cubicBezTo>
                <a:cubicBezTo>
                  <a:pt x="3061253" y="1544234"/>
                  <a:pt x="3059430" y="1542412"/>
                  <a:pt x="3057608" y="1542412"/>
                </a:cubicBezTo>
                <a:cubicBezTo>
                  <a:pt x="3063075" y="1549700"/>
                  <a:pt x="3068541" y="1553345"/>
                  <a:pt x="3061253" y="1556989"/>
                </a:cubicBezTo>
                <a:cubicBezTo>
                  <a:pt x="3053964" y="1560633"/>
                  <a:pt x="3041209" y="1556989"/>
                  <a:pt x="3035742" y="1564278"/>
                </a:cubicBezTo>
                <a:lnTo>
                  <a:pt x="3066719" y="1598899"/>
                </a:lnTo>
                <a:cubicBezTo>
                  <a:pt x="3068541" y="1597077"/>
                  <a:pt x="3068541" y="1595255"/>
                  <a:pt x="3072186" y="1595255"/>
                </a:cubicBezTo>
                <a:cubicBezTo>
                  <a:pt x="3072186" y="1595255"/>
                  <a:pt x="3072186" y="1597077"/>
                  <a:pt x="3074008" y="1598899"/>
                </a:cubicBezTo>
                <a:cubicBezTo>
                  <a:pt x="3074008" y="1598899"/>
                  <a:pt x="3075830" y="1598899"/>
                  <a:pt x="3075830" y="1598899"/>
                </a:cubicBezTo>
                <a:cubicBezTo>
                  <a:pt x="3074008" y="1602543"/>
                  <a:pt x="3079474" y="1602543"/>
                  <a:pt x="3079474" y="1606188"/>
                </a:cubicBezTo>
                <a:cubicBezTo>
                  <a:pt x="3083119" y="1604365"/>
                  <a:pt x="3077652" y="1600721"/>
                  <a:pt x="3079474" y="1597077"/>
                </a:cubicBezTo>
                <a:cubicBezTo>
                  <a:pt x="3077652" y="1598899"/>
                  <a:pt x="3077652" y="1598899"/>
                  <a:pt x="3075830" y="1598899"/>
                </a:cubicBezTo>
                <a:cubicBezTo>
                  <a:pt x="3083119" y="1597077"/>
                  <a:pt x="3083119" y="1586144"/>
                  <a:pt x="3088585" y="1593432"/>
                </a:cubicBezTo>
                <a:cubicBezTo>
                  <a:pt x="3088585" y="1587966"/>
                  <a:pt x="3086763" y="1582499"/>
                  <a:pt x="3086763" y="1577033"/>
                </a:cubicBezTo>
                <a:cubicBezTo>
                  <a:pt x="3090407" y="1582499"/>
                  <a:pt x="3094052" y="1577033"/>
                  <a:pt x="3095874" y="1573388"/>
                </a:cubicBezTo>
                <a:cubicBezTo>
                  <a:pt x="3110451" y="1580677"/>
                  <a:pt x="3112274" y="1560633"/>
                  <a:pt x="3114096" y="1549700"/>
                </a:cubicBezTo>
                <a:cubicBezTo>
                  <a:pt x="3112274" y="1551522"/>
                  <a:pt x="3110451" y="1553345"/>
                  <a:pt x="3110451" y="1551522"/>
                </a:cubicBezTo>
                <a:cubicBezTo>
                  <a:pt x="3110451" y="1549700"/>
                  <a:pt x="3108629" y="1546056"/>
                  <a:pt x="3108629" y="1544234"/>
                </a:cubicBezTo>
                <a:cubicBezTo>
                  <a:pt x="3110451" y="1544234"/>
                  <a:pt x="3112274" y="1546056"/>
                  <a:pt x="3112274" y="1547878"/>
                </a:cubicBezTo>
                <a:cubicBezTo>
                  <a:pt x="3115918" y="1544234"/>
                  <a:pt x="3110451" y="1538767"/>
                  <a:pt x="3112274" y="1535123"/>
                </a:cubicBezTo>
                <a:cubicBezTo>
                  <a:pt x="3114096" y="1536945"/>
                  <a:pt x="3115918" y="1536945"/>
                  <a:pt x="3117740" y="1535123"/>
                </a:cubicBezTo>
                <a:cubicBezTo>
                  <a:pt x="3117740" y="1538767"/>
                  <a:pt x="3114096" y="1544234"/>
                  <a:pt x="3117740" y="1546056"/>
                </a:cubicBezTo>
                <a:cubicBezTo>
                  <a:pt x="3121384" y="1547878"/>
                  <a:pt x="3123206" y="1542412"/>
                  <a:pt x="3125029" y="1540589"/>
                </a:cubicBezTo>
                <a:lnTo>
                  <a:pt x="3119911" y="1525237"/>
                </a:lnTo>
                <a:lnTo>
                  <a:pt x="3120573" y="1525109"/>
                </a:lnTo>
                <a:lnTo>
                  <a:pt x="3139606" y="1542412"/>
                </a:lnTo>
                <a:cubicBezTo>
                  <a:pt x="3134140" y="1546056"/>
                  <a:pt x="3137784" y="1549700"/>
                  <a:pt x="3139606" y="1556989"/>
                </a:cubicBezTo>
                <a:cubicBezTo>
                  <a:pt x="3141428" y="1547878"/>
                  <a:pt x="3141428" y="1540589"/>
                  <a:pt x="3152361" y="1542412"/>
                </a:cubicBezTo>
                <a:cubicBezTo>
                  <a:pt x="3154184" y="1544234"/>
                  <a:pt x="3154184" y="1547878"/>
                  <a:pt x="3154184" y="1549700"/>
                </a:cubicBezTo>
                <a:cubicBezTo>
                  <a:pt x="3156006" y="1551522"/>
                  <a:pt x="3159650" y="1551522"/>
                  <a:pt x="3157828" y="1549700"/>
                </a:cubicBezTo>
                <a:cubicBezTo>
                  <a:pt x="3157828" y="1547878"/>
                  <a:pt x="3157828" y="1544234"/>
                  <a:pt x="3156006" y="1542412"/>
                </a:cubicBezTo>
                <a:cubicBezTo>
                  <a:pt x="3157828" y="1542412"/>
                  <a:pt x="3161472" y="1542412"/>
                  <a:pt x="3163294" y="1544234"/>
                </a:cubicBezTo>
                <a:cubicBezTo>
                  <a:pt x="3165116" y="1547878"/>
                  <a:pt x="3163294" y="1549700"/>
                  <a:pt x="3161472" y="1551522"/>
                </a:cubicBezTo>
                <a:cubicBezTo>
                  <a:pt x="3159650" y="1560633"/>
                  <a:pt x="3166939" y="1564278"/>
                  <a:pt x="3176050" y="1564278"/>
                </a:cubicBezTo>
                <a:lnTo>
                  <a:pt x="3176050" y="1535123"/>
                </a:lnTo>
                <a:lnTo>
                  <a:pt x="3190627" y="1535123"/>
                </a:lnTo>
                <a:cubicBezTo>
                  <a:pt x="3192449" y="1529656"/>
                  <a:pt x="3188805" y="1522368"/>
                  <a:pt x="3181516" y="1524190"/>
                </a:cubicBezTo>
                <a:cubicBezTo>
                  <a:pt x="3179694" y="1524190"/>
                  <a:pt x="3179694" y="1529656"/>
                  <a:pt x="3177872" y="1531478"/>
                </a:cubicBezTo>
                <a:cubicBezTo>
                  <a:pt x="3176050" y="1524190"/>
                  <a:pt x="3177872" y="1516901"/>
                  <a:pt x="3166939" y="1518723"/>
                </a:cubicBezTo>
                <a:cubicBezTo>
                  <a:pt x="3168761" y="1522368"/>
                  <a:pt x="3166939" y="1526012"/>
                  <a:pt x="3165116" y="1529656"/>
                </a:cubicBezTo>
                <a:cubicBezTo>
                  <a:pt x="3165116" y="1516901"/>
                  <a:pt x="3159650" y="1516901"/>
                  <a:pt x="3148717" y="1518723"/>
                </a:cubicBezTo>
                <a:close/>
                <a:moveTo>
                  <a:pt x="3050319" y="1518723"/>
                </a:moveTo>
                <a:cubicBezTo>
                  <a:pt x="3046675" y="1518723"/>
                  <a:pt x="3050319" y="1526012"/>
                  <a:pt x="3052142" y="1526012"/>
                </a:cubicBezTo>
                <a:cubicBezTo>
                  <a:pt x="3052142" y="1522368"/>
                  <a:pt x="3050319" y="1522368"/>
                  <a:pt x="3050319" y="1518723"/>
                </a:cubicBezTo>
                <a:close/>
                <a:moveTo>
                  <a:pt x="852778" y="1518723"/>
                </a:moveTo>
                <a:lnTo>
                  <a:pt x="854599" y="1520544"/>
                </a:lnTo>
                <a:lnTo>
                  <a:pt x="853044" y="1519923"/>
                </a:lnTo>
                <a:close/>
                <a:moveTo>
                  <a:pt x="677849" y="1518723"/>
                </a:moveTo>
                <a:cubicBezTo>
                  <a:pt x="672383" y="1526012"/>
                  <a:pt x="670560" y="1527834"/>
                  <a:pt x="661449" y="1529656"/>
                </a:cubicBezTo>
                <a:cubicBezTo>
                  <a:pt x="670560" y="1535123"/>
                  <a:pt x="679671" y="1536945"/>
                  <a:pt x="688782" y="1540589"/>
                </a:cubicBezTo>
                <a:cubicBezTo>
                  <a:pt x="688782" y="1533301"/>
                  <a:pt x="681493" y="1526012"/>
                  <a:pt x="677849" y="1518723"/>
                </a:cubicBezTo>
                <a:close/>
                <a:moveTo>
                  <a:pt x="590385" y="1518723"/>
                </a:moveTo>
                <a:cubicBezTo>
                  <a:pt x="586741" y="1522368"/>
                  <a:pt x="586741" y="1527834"/>
                  <a:pt x="586741" y="1533301"/>
                </a:cubicBezTo>
                <a:cubicBezTo>
                  <a:pt x="592207" y="1529656"/>
                  <a:pt x="592207" y="1524190"/>
                  <a:pt x="594030" y="1520545"/>
                </a:cubicBezTo>
                <a:cubicBezTo>
                  <a:pt x="592207" y="1518723"/>
                  <a:pt x="590385" y="1520545"/>
                  <a:pt x="590385" y="1518723"/>
                </a:cubicBezTo>
                <a:close/>
                <a:moveTo>
                  <a:pt x="499276" y="1518723"/>
                </a:moveTo>
                <a:cubicBezTo>
                  <a:pt x="497454" y="1526012"/>
                  <a:pt x="493809" y="1531478"/>
                  <a:pt x="497454" y="1538767"/>
                </a:cubicBezTo>
                <a:cubicBezTo>
                  <a:pt x="504743" y="1535123"/>
                  <a:pt x="502920" y="1526012"/>
                  <a:pt x="499276" y="1518723"/>
                </a:cubicBezTo>
                <a:close/>
                <a:moveTo>
                  <a:pt x="431856" y="1518723"/>
                </a:moveTo>
                <a:lnTo>
                  <a:pt x="432003" y="1518903"/>
                </a:lnTo>
                <a:lnTo>
                  <a:pt x="432310" y="1519781"/>
                </a:lnTo>
                <a:close/>
                <a:moveTo>
                  <a:pt x="408167" y="1518723"/>
                </a:moveTo>
                <a:lnTo>
                  <a:pt x="409290" y="1519003"/>
                </a:lnTo>
                <a:lnTo>
                  <a:pt x="408092" y="1518889"/>
                </a:lnTo>
                <a:close/>
                <a:moveTo>
                  <a:pt x="416016" y="1518583"/>
                </a:moveTo>
                <a:lnTo>
                  <a:pt x="416487" y="1519994"/>
                </a:lnTo>
                <a:lnTo>
                  <a:pt x="415456" y="1518723"/>
                </a:lnTo>
                <a:close/>
                <a:moveTo>
                  <a:pt x="1058611" y="1518175"/>
                </a:moveTo>
                <a:lnTo>
                  <a:pt x="1060961" y="1520318"/>
                </a:lnTo>
                <a:cubicBezTo>
                  <a:pt x="1062783" y="1523279"/>
                  <a:pt x="1064151" y="1526012"/>
                  <a:pt x="1065972" y="1526012"/>
                </a:cubicBezTo>
                <a:lnTo>
                  <a:pt x="1073427" y="1529877"/>
                </a:lnTo>
                <a:lnTo>
                  <a:pt x="1064151" y="1526012"/>
                </a:lnTo>
                <a:cubicBezTo>
                  <a:pt x="1065972" y="1527834"/>
                  <a:pt x="1069616" y="1529656"/>
                  <a:pt x="1065972" y="1529656"/>
                </a:cubicBezTo>
                <a:cubicBezTo>
                  <a:pt x="1062328" y="1529656"/>
                  <a:pt x="1062328" y="1527834"/>
                  <a:pt x="1060506" y="1526012"/>
                </a:cubicBezTo>
                <a:cubicBezTo>
                  <a:pt x="1062328" y="1527834"/>
                  <a:pt x="1064151" y="1526012"/>
                  <a:pt x="1064151" y="1524190"/>
                </a:cubicBezTo>
                <a:cubicBezTo>
                  <a:pt x="1063239" y="1523279"/>
                  <a:pt x="1061417" y="1521912"/>
                  <a:pt x="1059822" y="1520318"/>
                </a:cubicBezTo>
                <a:close/>
                <a:moveTo>
                  <a:pt x="414154" y="1518058"/>
                </a:moveTo>
                <a:lnTo>
                  <a:pt x="413406" y="1518723"/>
                </a:lnTo>
                <a:cubicBezTo>
                  <a:pt x="413634" y="1519178"/>
                  <a:pt x="414545" y="1519634"/>
                  <a:pt x="415456" y="1520545"/>
                </a:cubicBezTo>
                <a:lnTo>
                  <a:pt x="409290" y="1519003"/>
                </a:lnTo>
                <a:lnTo>
                  <a:pt x="411128" y="1519179"/>
                </a:lnTo>
                <a:close/>
                <a:moveTo>
                  <a:pt x="916553" y="1516960"/>
                </a:moveTo>
                <a:cubicBezTo>
                  <a:pt x="922020" y="1513316"/>
                  <a:pt x="923842" y="1522427"/>
                  <a:pt x="927486" y="1520605"/>
                </a:cubicBezTo>
                <a:cubicBezTo>
                  <a:pt x="929308" y="1522427"/>
                  <a:pt x="931131" y="1524249"/>
                  <a:pt x="932953" y="1526071"/>
                </a:cubicBezTo>
                <a:cubicBezTo>
                  <a:pt x="927486" y="1522427"/>
                  <a:pt x="922020" y="1518782"/>
                  <a:pt x="916553" y="1516960"/>
                </a:cubicBezTo>
                <a:close/>
                <a:moveTo>
                  <a:pt x="3077652" y="1516901"/>
                </a:moveTo>
                <a:cubicBezTo>
                  <a:pt x="3077652" y="1518723"/>
                  <a:pt x="3077652" y="1520545"/>
                  <a:pt x="3077652" y="1524190"/>
                </a:cubicBezTo>
                <a:cubicBezTo>
                  <a:pt x="3081297" y="1522368"/>
                  <a:pt x="3083119" y="1526012"/>
                  <a:pt x="3084941" y="1524190"/>
                </a:cubicBezTo>
                <a:cubicBezTo>
                  <a:pt x="3083119" y="1520545"/>
                  <a:pt x="3083119" y="1516901"/>
                  <a:pt x="3077652" y="1516901"/>
                </a:cubicBezTo>
                <a:close/>
                <a:moveTo>
                  <a:pt x="1220858" y="1516901"/>
                </a:moveTo>
                <a:cubicBezTo>
                  <a:pt x="1219036" y="1518723"/>
                  <a:pt x="1219036" y="1518723"/>
                  <a:pt x="1217213" y="1522368"/>
                </a:cubicBezTo>
                <a:cubicBezTo>
                  <a:pt x="1217213" y="1524190"/>
                  <a:pt x="1220858" y="1527834"/>
                  <a:pt x="1220858" y="1531478"/>
                </a:cubicBezTo>
                <a:cubicBezTo>
                  <a:pt x="1224501" y="1529656"/>
                  <a:pt x="1220858" y="1520545"/>
                  <a:pt x="1220858" y="1516901"/>
                </a:cubicBezTo>
                <a:close/>
                <a:moveTo>
                  <a:pt x="666916" y="1516901"/>
                </a:moveTo>
                <a:cubicBezTo>
                  <a:pt x="665094" y="1520545"/>
                  <a:pt x="659627" y="1522368"/>
                  <a:pt x="659627" y="1526012"/>
                </a:cubicBezTo>
                <a:cubicBezTo>
                  <a:pt x="663272" y="1524190"/>
                  <a:pt x="670560" y="1520545"/>
                  <a:pt x="666916" y="1516901"/>
                </a:cubicBezTo>
                <a:close/>
                <a:moveTo>
                  <a:pt x="663272" y="1516901"/>
                </a:moveTo>
                <a:cubicBezTo>
                  <a:pt x="659627" y="1515079"/>
                  <a:pt x="654161" y="1522368"/>
                  <a:pt x="650516" y="1526012"/>
                </a:cubicBezTo>
                <a:cubicBezTo>
                  <a:pt x="659627" y="1531478"/>
                  <a:pt x="657805" y="1520545"/>
                  <a:pt x="663272" y="1516901"/>
                </a:cubicBezTo>
                <a:close/>
                <a:moveTo>
                  <a:pt x="559408" y="1516901"/>
                </a:moveTo>
                <a:cubicBezTo>
                  <a:pt x="555763" y="1515079"/>
                  <a:pt x="550297" y="1520545"/>
                  <a:pt x="546653" y="1520545"/>
                </a:cubicBezTo>
                <a:cubicBezTo>
                  <a:pt x="548475" y="1522368"/>
                  <a:pt x="548475" y="1526012"/>
                  <a:pt x="550297" y="1527834"/>
                </a:cubicBezTo>
                <a:cubicBezTo>
                  <a:pt x="555763" y="1524190"/>
                  <a:pt x="557586" y="1520545"/>
                  <a:pt x="559408" y="1516901"/>
                </a:cubicBezTo>
                <a:close/>
                <a:moveTo>
                  <a:pt x="415456" y="1516901"/>
                </a:moveTo>
                <a:lnTo>
                  <a:pt x="415656" y="1517501"/>
                </a:lnTo>
                <a:lnTo>
                  <a:pt x="414154" y="1518058"/>
                </a:lnTo>
                <a:close/>
                <a:moveTo>
                  <a:pt x="798214" y="1516842"/>
                </a:moveTo>
                <a:lnTo>
                  <a:pt x="824600" y="1530134"/>
                </a:lnTo>
                <a:lnTo>
                  <a:pt x="823623" y="1531478"/>
                </a:lnTo>
                <a:close/>
                <a:moveTo>
                  <a:pt x="1070944" y="1516792"/>
                </a:moveTo>
                <a:lnTo>
                  <a:pt x="1073457" y="1517097"/>
                </a:lnTo>
                <a:lnTo>
                  <a:pt x="1075083" y="1518723"/>
                </a:lnTo>
                <a:close/>
                <a:moveTo>
                  <a:pt x="492215" y="1515762"/>
                </a:moveTo>
                <a:cubicBezTo>
                  <a:pt x="491076" y="1516445"/>
                  <a:pt x="490165" y="1517812"/>
                  <a:pt x="490165" y="1518723"/>
                </a:cubicBezTo>
                <a:cubicBezTo>
                  <a:pt x="490165" y="1518723"/>
                  <a:pt x="491987" y="1516901"/>
                  <a:pt x="495632" y="1516901"/>
                </a:cubicBezTo>
                <a:cubicBezTo>
                  <a:pt x="494721" y="1515079"/>
                  <a:pt x="493355" y="1515079"/>
                  <a:pt x="492215" y="1515762"/>
                </a:cubicBezTo>
                <a:close/>
                <a:moveTo>
                  <a:pt x="3107719" y="1515534"/>
                </a:moveTo>
                <a:cubicBezTo>
                  <a:pt x="3105441" y="1515534"/>
                  <a:pt x="3103163" y="1516901"/>
                  <a:pt x="3103163" y="1520545"/>
                </a:cubicBezTo>
                <a:cubicBezTo>
                  <a:pt x="3106807" y="1522368"/>
                  <a:pt x="3106807" y="1516901"/>
                  <a:pt x="3112274" y="1518723"/>
                </a:cubicBezTo>
                <a:cubicBezTo>
                  <a:pt x="3112274" y="1516901"/>
                  <a:pt x="3109996" y="1515534"/>
                  <a:pt x="3107719" y="1515534"/>
                </a:cubicBezTo>
                <a:close/>
                <a:moveTo>
                  <a:pt x="3425687" y="1515079"/>
                </a:moveTo>
                <a:lnTo>
                  <a:pt x="3424386" y="1525491"/>
                </a:lnTo>
                <a:lnTo>
                  <a:pt x="3423865" y="1526012"/>
                </a:lnTo>
                <a:cubicBezTo>
                  <a:pt x="3425687" y="1526012"/>
                  <a:pt x="3425687" y="1529656"/>
                  <a:pt x="3423865" y="1529656"/>
                </a:cubicBezTo>
                <a:lnTo>
                  <a:pt x="3424386" y="1525491"/>
                </a:lnTo>
                <a:lnTo>
                  <a:pt x="3427510" y="1522368"/>
                </a:lnTo>
                <a:cubicBezTo>
                  <a:pt x="3427510" y="1518723"/>
                  <a:pt x="3427510" y="1516901"/>
                  <a:pt x="3425687" y="1515079"/>
                </a:cubicBezTo>
                <a:close/>
                <a:moveTo>
                  <a:pt x="3236181" y="1515079"/>
                </a:moveTo>
                <a:cubicBezTo>
                  <a:pt x="3230715" y="1518723"/>
                  <a:pt x="3239826" y="1522368"/>
                  <a:pt x="3238003" y="1526012"/>
                </a:cubicBezTo>
                <a:cubicBezTo>
                  <a:pt x="3236181" y="1526012"/>
                  <a:pt x="3232537" y="1524190"/>
                  <a:pt x="3232537" y="1522368"/>
                </a:cubicBezTo>
                <a:cubicBezTo>
                  <a:pt x="3228893" y="1524190"/>
                  <a:pt x="3232537" y="1527834"/>
                  <a:pt x="3230715" y="1529656"/>
                </a:cubicBezTo>
                <a:cubicBezTo>
                  <a:pt x="3228893" y="1527834"/>
                  <a:pt x="3225248" y="1527834"/>
                  <a:pt x="3227071" y="1524190"/>
                </a:cubicBezTo>
                <a:cubicBezTo>
                  <a:pt x="3223426" y="1527834"/>
                  <a:pt x="3228893" y="1531478"/>
                  <a:pt x="3228893" y="1533301"/>
                </a:cubicBezTo>
                <a:cubicBezTo>
                  <a:pt x="3223426" y="1538767"/>
                  <a:pt x="3221604" y="1526012"/>
                  <a:pt x="3219782" y="1526012"/>
                </a:cubicBezTo>
                <a:cubicBezTo>
                  <a:pt x="3214315" y="1524190"/>
                  <a:pt x="3214315" y="1529656"/>
                  <a:pt x="3216137" y="1535123"/>
                </a:cubicBezTo>
                <a:cubicBezTo>
                  <a:pt x="3217960" y="1536945"/>
                  <a:pt x="3219782" y="1536945"/>
                  <a:pt x="3227071" y="1542412"/>
                </a:cubicBezTo>
                <a:cubicBezTo>
                  <a:pt x="3219782" y="1558811"/>
                  <a:pt x="3217960" y="1549700"/>
                  <a:pt x="3223426" y="1558811"/>
                </a:cubicBezTo>
                <a:cubicBezTo>
                  <a:pt x="3223426" y="1558811"/>
                  <a:pt x="3225248" y="1556989"/>
                  <a:pt x="3225248" y="1556989"/>
                </a:cubicBezTo>
                <a:cubicBezTo>
                  <a:pt x="3232537" y="1560633"/>
                  <a:pt x="3239826" y="1560633"/>
                  <a:pt x="3248937" y="1558811"/>
                </a:cubicBezTo>
                <a:cubicBezTo>
                  <a:pt x="3252581" y="1556989"/>
                  <a:pt x="3250759" y="1551522"/>
                  <a:pt x="3250759" y="1551522"/>
                </a:cubicBezTo>
                <a:cubicBezTo>
                  <a:pt x="3241648" y="1547878"/>
                  <a:pt x="3243470" y="1538767"/>
                  <a:pt x="3243470" y="1531478"/>
                </a:cubicBezTo>
                <a:cubicBezTo>
                  <a:pt x="3245292" y="1531478"/>
                  <a:pt x="3247114" y="1533301"/>
                  <a:pt x="3248937" y="1533301"/>
                </a:cubicBezTo>
                <a:cubicBezTo>
                  <a:pt x="3250759" y="1533301"/>
                  <a:pt x="3250759" y="1531478"/>
                  <a:pt x="3250759" y="1529656"/>
                </a:cubicBezTo>
                <a:cubicBezTo>
                  <a:pt x="3252581" y="1531478"/>
                  <a:pt x="3252581" y="1533301"/>
                  <a:pt x="3254403" y="1531478"/>
                </a:cubicBezTo>
                <a:cubicBezTo>
                  <a:pt x="3248937" y="1526012"/>
                  <a:pt x="3243470" y="1518723"/>
                  <a:pt x="3236181" y="1515079"/>
                </a:cubicBezTo>
                <a:close/>
                <a:moveTo>
                  <a:pt x="841845" y="1515079"/>
                </a:moveTo>
                <a:cubicBezTo>
                  <a:pt x="838200" y="1518723"/>
                  <a:pt x="838200" y="1520545"/>
                  <a:pt x="836378" y="1522368"/>
                </a:cubicBezTo>
                <a:cubicBezTo>
                  <a:pt x="838200" y="1522368"/>
                  <a:pt x="845489" y="1516901"/>
                  <a:pt x="841845" y="1515079"/>
                </a:cubicBezTo>
                <a:close/>
                <a:moveTo>
                  <a:pt x="677849" y="1515079"/>
                </a:moveTo>
                <a:cubicBezTo>
                  <a:pt x="672383" y="1515079"/>
                  <a:pt x="666916" y="1522368"/>
                  <a:pt x="665094" y="1524190"/>
                </a:cubicBezTo>
                <a:cubicBezTo>
                  <a:pt x="668738" y="1524190"/>
                  <a:pt x="674205" y="1518723"/>
                  <a:pt x="677849" y="1515079"/>
                </a:cubicBezTo>
                <a:close/>
                <a:moveTo>
                  <a:pt x="1204457" y="1513257"/>
                </a:moveTo>
                <a:cubicBezTo>
                  <a:pt x="1202636" y="1515079"/>
                  <a:pt x="1200814" y="1515079"/>
                  <a:pt x="1198991" y="1516901"/>
                </a:cubicBezTo>
                <a:cubicBezTo>
                  <a:pt x="1200814" y="1522368"/>
                  <a:pt x="1204457" y="1527834"/>
                  <a:pt x="1211747" y="1524190"/>
                </a:cubicBezTo>
                <a:cubicBezTo>
                  <a:pt x="1209925" y="1520545"/>
                  <a:pt x="1206279" y="1516901"/>
                  <a:pt x="1204457" y="1513257"/>
                </a:cubicBezTo>
                <a:close/>
                <a:moveTo>
                  <a:pt x="625006" y="1513257"/>
                </a:moveTo>
                <a:cubicBezTo>
                  <a:pt x="619539" y="1516901"/>
                  <a:pt x="625006" y="1522368"/>
                  <a:pt x="626828" y="1529656"/>
                </a:cubicBezTo>
                <a:cubicBezTo>
                  <a:pt x="630472" y="1527834"/>
                  <a:pt x="632296" y="1524190"/>
                  <a:pt x="634117" y="1520545"/>
                </a:cubicBezTo>
                <a:cubicBezTo>
                  <a:pt x="632296" y="1516901"/>
                  <a:pt x="628650" y="1515079"/>
                  <a:pt x="625006" y="1513257"/>
                </a:cubicBezTo>
                <a:close/>
                <a:moveTo>
                  <a:pt x="621362" y="1513257"/>
                </a:moveTo>
                <a:cubicBezTo>
                  <a:pt x="617717" y="1516901"/>
                  <a:pt x="619539" y="1526012"/>
                  <a:pt x="617717" y="1531478"/>
                </a:cubicBezTo>
                <a:cubicBezTo>
                  <a:pt x="619539" y="1533301"/>
                  <a:pt x="621362" y="1529656"/>
                  <a:pt x="623185" y="1529656"/>
                </a:cubicBezTo>
                <a:cubicBezTo>
                  <a:pt x="625006" y="1524190"/>
                  <a:pt x="619539" y="1518723"/>
                  <a:pt x="621362" y="1513257"/>
                </a:cubicBezTo>
                <a:close/>
                <a:moveTo>
                  <a:pt x="563052" y="1513257"/>
                </a:moveTo>
                <a:cubicBezTo>
                  <a:pt x="561230" y="1516901"/>
                  <a:pt x="559408" y="1518723"/>
                  <a:pt x="557586" y="1522368"/>
                </a:cubicBezTo>
                <a:cubicBezTo>
                  <a:pt x="559408" y="1524190"/>
                  <a:pt x="561230" y="1524190"/>
                  <a:pt x="564874" y="1522368"/>
                </a:cubicBezTo>
                <a:cubicBezTo>
                  <a:pt x="563052" y="1518723"/>
                  <a:pt x="564874" y="1516901"/>
                  <a:pt x="563052" y="1513257"/>
                </a:cubicBezTo>
                <a:close/>
                <a:moveTo>
                  <a:pt x="430034" y="1513257"/>
                </a:moveTo>
                <a:cubicBezTo>
                  <a:pt x="428211" y="1515079"/>
                  <a:pt x="426389" y="1515079"/>
                  <a:pt x="424567" y="1516901"/>
                </a:cubicBezTo>
                <a:cubicBezTo>
                  <a:pt x="424567" y="1522368"/>
                  <a:pt x="431856" y="1527834"/>
                  <a:pt x="435500" y="1531478"/>
                </a:cubicBezTo>
                <a:cubicBezTo>
                  <a:pt x="434589" y="1529656"/>
                  <a:pt x="434134" y="1526467"/>
                  <a:pt x="433451" y="1523051"/>
                </a:cubicBezTo>
                <a:lnTo>
                  <a:pt x="432310" y="1519781"/>
                </a:lnTo>
                <a:lnTo>
                  <a:pt x="437322" y="1531478"/>
                </a:lnTo>
                <a:cubicBezTo>
                  <a:pt x="437322" y="1529656"/>
                  <a:pt x="436867" y="1526467"/>
                  <a:pt x="435956" y="1523734"/>
                </a:cubicBezTo>
                <a:lnTo>
                  <a:pt x="432003" y="1518903"/>
                </a:lnTo>
                <a:close/>
                <a:moveTo>
                  <a:pt x="1206279" y="1511434"/>
                </a:moveTo>
                <a:cubicBezTo>
                  <a:pt x="1208102" y="1515079"/>
                  <a:pt x="1213568" y="1518723"/>
                  <a:pt x="1213568" y="1522368"/>
                </a:cubicBezTo>
                <a:cubicBezTo>
                  <a:pt x="1215390" y="1518723"/>
                  <a:pt x="1211747" y="1507790"/>
                  <a:pt x="1206279" y="1511434"/>
                </a:cubicBezTo>
                <a:close/>
                <a:moveTo>
                  <a:pt x="612251" y="1511434"/>
                </a:moveTo>
                <a:cubicBezTo>
                  <a:pt x="604963" y="1513257"/>
                  <a:pt x="597673" y="1526012"/>
                  <a:pt x="601318" y="1535123"/>
                </a:cubicBezTo>
                <a:cubicBezTo>
                  <a:pt x="606784" y="1526012"/>
                  <a:pt x="608606" y="1518723"/>
                  <a:pt x="612251" y="1511434"/>
                </a:cubicBezTo>
                <a:close/>
                <a:moveTo>
                  <a:pt x="592207" y="1511434"/>
                </a:moveTo>
                <a:cubicBezTo>
                  <a:pt x="588562" y="1513257"/>
                  <a:pt x="595852" y="1515079"/>
                  <a:pt x="592207" y="1516901"/>
                </a:cubicBezTo>
                <a:cubicBezTo>
                  <a:pt x="594030" y="1516901"/>
                  <a:pt x="594030" y="1516901"/>
                  <a:pt x="594030" y="1515079"/>
                </a:cubicBezTo>
                <a:cubicBezTo>
                  <a:pt x="592207" y="1515079"/>
                  <a:pt x="594030" y="1513257"/>
                  <a:pt x="592207" y="1511434"/>
                </a:cubicBezTo>
                <a:close/>
                <a:moveTo>
                  <a:pt x="477410" y="1511434"/>
                </a:moveTo>
                <a:cubicBezTo>
                  <a:pt x="475589" y="1513257"/>
                  <a:pt x="475589" y="1515079"/>
                  <a:pt x="473766" y="1516901"/>
                </a:cubicBezTo>
                <a:cubicBezTo>
                  <a:pt x="475589" y="1520545"/>
                  <a:pt x="477410" y="1518723"/>
                  <a:pt x="479232" y="1520545"/>
                </a:cubicBezTo>
                <a:cubicBezTo>
                  <a:pt x="481054" y="1518723"/>
                  <a:pt x="484700" y="1516901"/>
                  <a:pt x="482876" y="1513257"/>
                </a:cubicBezTo>
                <a:cubicBezTo>
                  <a:pt x="479232" y="1518723"/>
                  <a:pt x="481054" y="1509612"/>
                  <a:pt x="477410" y="1511434"/>
                </a:cubicBezTo>
                <a:close/>
                <a:moveTo>
                  <a:pt x="464655" y="1511434"/>
                </a:moveTo>
                <a:cubicBezTo>
                  <a:pt x="462832" y="1513257"/>
                  <a:pt x="462832" y="1513257"/>
                  <a:pt x="464655" y="1515079"/>
                </a:cubicBezTo>
                <a:cubicBezTo>
                  <a:pt x="462832" y="1515079"/>
                  <a:pt x="459188" y="1513257"/>
                  <a:pt x="459188" y="1516901"/>
                </a:cubicBezTo>
                <a:cubicBezTo>
                  <a:pt x="459188" y="1518723"/>
                  <a:pt x="461010" y="1518723"/>
                  <a:pt x="461010" y="1522368"/>
                </a:cubicBezTo>
                <a:cubicBezTo>
                  <a:pt x="448256" y="1516901"/>
                  <a:pt x="442789" y="1527834"/>
                  <a:pt x="440966" y="1535123"/>
                </a:cubicBezTo>
                <a:cubicBezTo>
                  <a:pt x="446433" y="1529656"/>
                  <a:pt x="453722" y="1542412"/>
                  <a:pt x="455544" y="1535123"/>
                </a:cubicBezTo>
                <a:cubicBezTo>
                  <a:pt x="457367" y="1535123"/>
                  <a:pt x="448256" y="1531478"/>
                  <a:pt x="453722" y="1527834"/>
                </a:cubicBezTo>
                <a:cubicBezTo>
                  <a:pt x="453722" y="1527834"/>
                  <a:pt x="455544" y="1527834"/>
                  <a:pt x="455544" y="1531478"/>
                </a:cubicBezTo>
                <a:cubicBezTo>
                  <a:pt x="459188" y="1526012"/>
                  <a:pt x="471943" y="1527834"/>
                  <a:pt x="470121" y="1516901"/>
                </a:cubicBezTo>
                <a:cubicBezTo>
                  <a:pt x="470121" y="1518723"/>
                  <a:pt x="468299" y="1520545"/>
                  <a:pt x="466478" y="1518723"/>
                </a:cubicBezTo>
                <a:cubicBezTo>
                  <a:pt x="471943" y="1516901"/>
                  <a:pt x="466478" y="1515079"/>
                  <a:pt x="464655" y="1511434"/>
                </a:cubicBezTo>
                <a:close/>
                <a:moveTo>
                  <a:pt x="3145528" y="1510295"/>
                </a:moveTo>
                <a:cubicBezTo>
                  <a:pt x="3141884" y="1511434"/>
                  <a:pt x="3138695" y="1514167"/>
                  <a:pt x="3137784" y="1516901"/>
                </a:cubicBezTo>
                <a:cubicBezTo>
                  <a:pt x="3145073" y="1516901"/>
                  <a:pt x="3150539" y="1513257"/>
                  <a:pt x="3156006" y="1513257"/>
                </a:cubicBezTo>
                <a:cubicBezTo>
                  <a:pt x="3153273" y="1509612"/>
                  <a:pt x="3149173" y="1509157"/>
                  <a:pt x="3145528" y="1510295"/>
                </a:cubicBezTo>
                <a:close/>
                <a:moveTo>
                  <a:pt x="289725" y="1509641"/>
                </a:moveTo>
                <a:cubicBezTo>
                  <a:pt x="293370" y="1513286"/>
                  <a:pt x="297014" y="1515108"/>
                  <a:pt x="300658" y="1515108"/>
                </a:cubicBezTo>
                <a:cubicBezTo>
                  <a:pt x="297014" y="1515108"/>
                  <a:pt x="291549" y="1515108"/>
                  <a:pt x="287903" y="1516930"/>
                </a:cubicBezTo>
                <a:cubicBezTo>
                  <a:pt x="291549" y="1513286"/>
                  <a:pt x="289725" y="1513286"/>
                  <a:pt x="289725" y="1509641"/>
                </a:cubicBezTo>
                <a:close/>
                <a:moveTo>
                  <a:pt x="1215390" y="1509612"/>
                </a:moveTo>
                <a:cubicBezTo>
                  <a:pt x="1219036" y="1513257"/>
                  <a:pt x="1213568" y="1515079"/>
                  <a:pt x="1219036" y="1516901"/>
                </a:cubicBezTo>
                <a:cubicBezTo>
                  <a:pt x="1220858" y="1515079"/>
                  <a:pt x="1219036" y="1507790"/>
                  <a:pt x="1215390" y="1509612"/>
                </a:cubicBezTo>
                <a:close/>
                <a:moveTo>
                  <a:pt x="741626" y="1509612"/>
                </a:moveTo>
                <a:cubicBezTo>
                  <a:pt x="736159" y="1513257"/>
                  <a:pt x="734336" y="1522368"/>
                  <a:pt x="728870" y="1527834"/>
                </a:cubicBezTo>
                <a:cubicBezTo>
                  <a:pt x="736159" y="1524190"/>
                  <a:pt x="736159" y="1515079"/>
                  <a:pt x="741626" y="1509612"/>
                </a:cubicBezTo>
                <a:close/>
                <a:moveTo>
                  <a:pt x="654161" y="1509612"/>
                </a:moveTo>
                <a:cubicBezTo>
                  <a:pt x="652339" y="1511434"/>
                  <a:pt x="650516" y="1511434"/>
                  <a:pt x="650516" y="1513257"/>
                </a:cubicBezTo>
                <a:cubicBezTo>
                  <a:pt x="652339" y="1515079"/>
                  <a:pt x="654161" y="1511434"/>
                  <a:pt x="655983" y="1513257"/>
                </a:cubicBezTo>
                <a:cubicBezTo>
                  <a:pt x="655983" y="1511434"/>
                  <a:pt x="654161" y="1511434"/>
                  <a:pt x="654161" y="1509612"/>
                </a:cubicBezTo>
                <a:close/>
                <a:moveTo>
                  <a:pt x="572163" y="1509612"/>
                </a:moveTo>
                <a:cubicBezTo>
                  <a:pt x="570341" y="1511434"/>
                  <a:pt x="568519" y="1511434"/>
                  <a:pt x="568519" y="1513257"/>
                </a:cubicBezTo>
                <a:cubicBezTo>
                  <a:pt x="572163" y="1518723"/>
                  <a:pt x="575808" y="1520545"/>
                  <a:pt x="579452" y="1515079"/>
                </a:cubicBezTo>
                <a:cubicBezTo>
                  <a:pt x="579452" y="1513257"/>
                  <a:pt x="579452" y="1509612"/>
                  <a:pt x="575808" y="1511434"/>
                </a:cubicBezTo>
                <a:cubicBezTo>
                  <a:pt x="575808" y="1511434"/>
                  <a:pt x="577630" y="1509612"/>
                  <a:pt x="577630" y="1509612"/>
                </a:cubicBezTo>
                <a:cubicBezTo>
                  <a:pt x="575808" y="1507790"/>
                  <a:pt x="573985" y="1513257"/>
                  <a:pt x="570341" y="1513257"/>
                </a:cubicBezTo>
                <a:cubicBezTo>
                  <a:pt x="570341" y="1509612"/>
                  <a:pt x="573985" y="1511434"/>
                  <a:pt x="572163" y="1509612"/>
                </a:cubicBezTo>
                <a:close/>
                <a:moveTo>
                  <a:pt x="501098" y="1509612"/>
                </a:moveTo>
                <a:cubicBezTo>
                  <a:pt x="499276" y="1516901"/>
                  <a:pt x="502920" y="1522368"/>
                  <a:pt x="504743" y="1527834"/>
                </a:cubicBezTo>
                <a:cubicBezTo>
                  <a:pt x="510209" y="1522368"/>
                  <a:pt x="510209" y="1516901"/>
                  <a:pt x="504743" y="1509612"/>
                </a:cubicBezTo>
                <a:cubicBezTo>
                  <a:pt x="504743" y="1509612"/>
                  <a:pt x="502920" y="1507790"/>
                  <a:pt x="501098" y="1509612"/>
                </a:cubicBezTo>
                <a:close/>
                <a:moveTo>
                  <a:pt x="491987" y="1509612"/>
                </a:moveTo>
                <a:cubicBezTo>
                  <a:pt x="490165" y="1510068"/>
                  <a:pt x="488343" y="1511434"/>
                  <a:pt x="488343" y="1513257"/>
                </a:cubicBezTo>
                <a:cubicBezTo>
                  <a:pt x="490165" y="1516901"/>
                  <a:pt x="493809" y="1511434"/>
                  <a:pt x="495632" y="1511434"/>
                </a:cubicBezTo>
                <a:cubicBezTo>
                  <a:pt x="495632" y="1509612"/>
                  <a:pt x="493811" y="1509156"/>
                  <a:pt x="491987" y="1509612"/>
                </a:cubicBezTo>
                <a:close/>
                <a:moveTo>
                  <a:pt x="822090" y="1509208"/>
                </a:moveTo>
                <a:lnTo>
                  <a:pt x="821801" y="1509612"/>
                </a:lnTo>
                <a:lnTo>
                  <a:pt x="821658" y="1509546"/>
                </a:lnTo>
                <a:close/>
                <a:moveTo>
                  <a:pt x="3436621" y="1507790"/>
                </a:moveTo>
                <a:cubicBezTo>
                  <a:pt x="3436621" y="1509612"/>
                  <a:pt x="3436621" y="1511434"/>
                  <a:pt x="3436621" y="1511434"/>
                </a:cubicBezTo>
                <a:cubicBezTo>
                  <a:pt x="3435710" y="1511434"/>
                  <a:pt x="3433888" y="1512801"/>
                  <a:pt x="3432293" y="1513484"/>
                </a:cubicBezTo>
                <a:lnTo>
                  <a:pt x="3431313" y="1512806"/>
                </a:lnTo>
                <a:lnTo>
                  <a:pt x="3430935" y="1510632"/>
                </a:lnTo>
                <a:close/>
                <a:moveTo>
                  <a:pt x="676027" y="1507790"/>
                </a:moveTo>
                <a:cubicBezTo>
                  <a:pt x="674205" y="1507790"/>
                  <a:pt x="679671" y="1513257"/>
                  <a:pt x="679671" y="1511434"/>
                </a:cubicBezTo>
                <a:cubicBezTo>
                  <a:pt x="679671" y="1509612"/>
                  <a:pt x="677849" y="1509612"/>
                  <a:pt x="676027" y="1507790"/>
                </a:cubicBezTo>
                <a:close/>
                <a:moveTo>
                  <a:pt x="3361911" y="1505970"/>
                </a:moveTo>
                <a:cubicBezTo>
                  <a:pt x="3363733" y="1515080"/>
                  <a:pt x="3358266" y="1505970"/>
                  <a:pt x="3360088" y="1516903"/>
                </a:cubicBezTo>
                <a:cubicBezTo>
                  <a:pt x="3350977" y="1520547"/>
                  <a:pt x="3349155" y="1527836"/>
                  <a:pt x="3354622" y="1538769"/>
                </a:cubicBezTo>
                <a:cubicBezTo>
                  <a:pt x="3363733" y="1540591"/>
                  <a:pt x="3365555" y="1535124"/>
                  <a:pt x="3372844" y="1536946"/>
                </a:cubicBezTo>
                <a:cubicBezTo>
                  <a:pt x="3372844" y="1531480"/>
                  <a:pt x="3369199" y="1535124"/>
                  <a:pt x="3369199" y="1529658"/>
                </a:cubicBezTo>
                <a:cubicBezTo>
                  <a:pt x="3371021" y="1529658"/>
                  <a:pt x="3371021" y="1536946"/>
                  <a:pt x="3374666" y="1535124"/>
                </a:cubicBezTo>
                <a:cubicBezTo>
                  <a:pt x="3374666" y="1524191"/>
                  <a:pt x="3367377" y="1524191"/>
                  <a:pt x="3371021" y="1513258"/>
                </a:cubicBezTo>
                <a:cubicBezTo>
                  <a:pt x="3369199" y="1515080"/>
                  <a:pt x="3369199" y="1511436"/>
                  <a:pt x="3367377" y="1515080"/>
                </a:cubicBezTo>
                <a:cubicBezTo>
                  <a:pt x="3367377" y="1509614"/>
                  <a:pt x="3367377" y="1502325"/>
                  <a:pt x="3361911" y="1505970"/>
                </a:cubicBezTo>
                <a:close/>
                <a:moveTo>
                  <a:pt x="1020418" y="1505968"/>
                </a:moveTo>
                <a:lnTo>
                  <a:pt x="1034336" y="1512927"/>
                </a:lnTo>
                <a:lnTo>
                  <a:pt x="1032974" y="1513399"/>
                </a:lnTo>
                <a:cubicBezTo>
                  <a:pt x="1028276" y="1512460"/>
                  <a:pt x="1025884" y="1504602"/>
                  <a:pt x="1020418" y="1505968"/>
                </a:cubicBezTo>
                <a:close/>
                <a:moveTo>
                  <a:pt x="810868" y="1505968"/>
                </a:moveTo>
                <a:cubicBezTo>
                  <a:pt x="812690" y="1505057"/>
                  <a:pt x="814512" y="1505968"/>
                  <a:pt x="816334" y="1507107"/>
                </a:cubicBezTo>
                <a:lnTo>
                  <a:pt x="821658" y="1509546"/>
                </a:lnTo>
                <a:lnTo>
                  <a:pt x="821573" y="1509612"/>
                </a:lnTo>
                <a:cubicBezTo>
                  <a:pt x="818612" y="1510523"/>
                  <a:pt x="815424" y="1509612"/>
                  <a:pt x="810868" y="1505968"/>
                </a:cubicBezTo>
                <a:close/>
                <a:moveTo>
                  <a:pt x="732515" y="1505968"/>
                </a:moveTo>
                <a:cubicBezTo>
                  <a:pt x="730692" y="1505968"/>
                  <a:pt x="728870" y="1513257"/>
                  <a:pt x="727048" y="1515079"/>
                </a:cubicBezTo>
                <a:cubicBezTo>
                  <a:pt x="730692" y="1515079"/>
                  <a:pt x="730692" y="1507790"/>
                  <a:pt x="732515" y="1505968"/>
                </a:cubicBezTo>
                <a:close/>
                <a:moveTo>
                  <a:pt x="3320619" y="1505147"/>
                </a:moveTo>
                <a:lnTo>
                  <a:pt x="3321824" y="1505968"/>
                </a:lnTo>
                <a:lnTo>
                  <a:pt x="3320034" y="1510108"/>
                </a:lnTo>
                <a:lnTo>
                  <a:pt x="3318179" y="1507790"/>
                </a:lnTo>
                <a:close/>
                <a:moveTo>
                  <a:pt x="348797" y="1504710"/>
                </a:moveTo>
                <a:lnTo>
                  <a:pt x="357146" y="1505968"/>
                </a:lnTo>
                <a:cubicBezTo>
                  <a:pt x="350768" y="1506879"/>
                  <a:pt x="344391" y="1508701"/>
                  <a:pt x="338470" y="1509612"/>
                </a:cubicBezTo>
                <a:lnTo>
                  <a:pt x="331475" y="1508813"/>
                </a:lnTo>
                <a:lnTo>
                  <a:pt x="335964" y="1506879"/>
                </a:lnTo>
                <a:close/>
                <a:moveTo>
                  <a:pt x="424567" y="1504146"/>
                </a:moveTo>
                <a:cubicBezTo>
                  <a:pt x="420923" y="1505968"/>
                  <a:pt x="411812" y="1513257"/>
                  <a:pt x="406345" y="1518723"/>
                </a:cubicBezTo>
                <a:lnTo>
                  <a:pt x="408092" y="1518889"/>
                </a:lnTo>
                <a:lnTo>
                  <a:pt x="406117" y="1523279"/>
                </a:lnTo>
                <a:cubicBezTo>
                  <a:pt x="405434" y="1524645"/>
                  <a:pt x="405434" y="1526012"/>
                  <a:pt x="408167" y="1527834"/>
                </a:cubicBezTo>
                <a:cubicBezTo>
                  <a:pt x="404523" y="1527834"/>
                  <a:pt x="402701" y="1527834"/>
                  <a:pt x="399056" y="1527834"/>
                </a:cubicBezTo>
                <a:cubicBezTo>
                  <a:pt x="400879" y="1527834"/>
                  <a:pt x="402701" y="1527834"/>
                  <a:pt x="404523" y="1526012"/>
                </a:cubicBezTo>
                <a:cubicBezTo>
                  <a:pt x="400878" y="1525101"/>
                  <a:pt x="398601" y="1526012"/>
                  <a:pt x="396778" y="1527378"/>
                </a:cubicBezTo>
                <a:lnTo>
                  <a:pt x="391771" y="1531475"/>
                </a:lnTo>
                <a:lnTo>
                  <a:pt x="393590" y="1529656"/>
                </a:lnTo>
                <a:cubicBezTo>
                  <a:pt x="391768" y="1527834"/>
                  <a:pt x="388123" y="1529656"/>
                  <a:pt x="386301" y="1529656"/>
                </a:cubicBezTo>
                <a:lnTo>
                  <a:pt x="389946" y="1533301"/>
                </a:lnTo>
                <a:lnTo>
                  <a:pt x="391768" y="1531478"/>
                </a:lnTo>
                <a:lnTo>
                  <a:pt x="406345" y="1540589"/>
                </a:lnTo>
                <a:cubicBezTo>
                  <a:pt x="404523" y="1538767"/>
                  <a:pt x="404523" y="1538767"/>
                  <a:pt x="408167" y="1536945"/>
                </a:cubicBezTo>
                <a:cubicBezTo>
                  <a:pt x="409989" y="1542412"/>
                  <a:pt x="415456" y="1538767"/>
                  <a:pt x="419100" y="1540589"/>
                </a:cubicBezTo>
                <a:cubicBezTo>
                  <a:pt x="415456" y="1540589"/>
                  <a:pt x="413634" y="1542412"/>
                  <a:pt x="409989" y="1542412"/>
                </a:cubicBezTo>
                <a:cubicBezTo>
                  <a:pt x="413634" y="1547878"/>
                  <a:pt x="420923" y="1544234"/>
                  <a:pt x="422745" y="1547878"/>
                </a:cubicBezTo>
                <a:cubicBezTo>
                  <a:pt x="420923" y="1547878"/>
                  <a:pt x="420923" y="1544234"/>
                  <a:pt x="420923" y="1544234"/>
                </a:cubicBezTo>
                <a:cubicBezTo>
                  <a:pt x="422745" y="1543323"/>
                  <a:pt x="425022" y="1545145"/>
                  <a:pt x="427072" y="1546284"/>
                </a:cubicBezTo>
                <a:lnTo>
                  <a:pt x="431324" y="1544462"/>
                </a:lnTo>
                <a:lnTo>
                  <a:pt x="431855" y="1546056"/>
                </a:lnTo>
                <a:cubicBezTo>
                  <a:pt x="433678" y="1547878"/>
                  <a:pt x="436411" y="1548789"/>
                  <a:pt x="439145" y="1546056"/>
                </a:cubicBezTo>
                <a:cubicBezTo>
                  <a:pt x="435500" y="1542412"/>
                  <a:pt x="431856" y="1544234"/>
                  <a:pt x="430034" y="1540589"/>
                </a:cubicBezTo>
                <a:lnTo>
                  <a:pt x="430809" y="1542917"/>
                </a:lnTo>
                <a:lnTo>
                  <a:pt x="427747" y="1539065"/>
                </a:lnTo>
                <a:lnTo>
                  <a:pt x="424795" y="1535351"/>
                </a:lnTo>
                <a:lnTo>
                  <a:pt x="422563" y="1532754"/>
                </a:lnTo>
                <a:lnTo>
                  <a:pt x="420923" y="1527834"/>
                </a:lnTo>
                <a:cubicBezTo>
                  <a:pt x="420011" y="1528745"/>
                  <a:pt x="420467" y="1529656"/>
                  <a:pt x="421151" y="1530567"/>
                </a:cubicBezTo>
                <a:lnTo>
                  <a:pt x="422138" y="1532260"/>
                </a:lnTo>
                <a:lnTo>
                  <a:pt x="413634" y="1522368"/>
                </a:lnTo>
                <a:cubicBezTo>
                  <a:pt x="413634" y="1526012"/>
                  <a:pt x="417278" y="1526012"/>
                  <a:pt x="420923" y="1526012"/>
                </a:cubicBezTo>
                <a:cubicBezTo>
                  <a:pt x="419100" y="1524190"/>
                  <a:pt x="419100" y="1524190"/>
                  <a:pt x="417278" y="1522368"/>
                </a:cubicBezTo>
                <a:lnTo>
                  <a:pt x="416487" y="1519994"/>
                </a:lnTo>
                <a:lnTo>
                  <a:pt x="422289" y="1527151"/>
                </a:lnTo>
                <a:cubicBezTo>
                  <a:pt x="425478" y="1528745"/>
                  <a:pt x="429122" y="1529656"/>
                  <a:pt x="431856" y="1531478"/>
                </a:cubicBezTo>
                <a:cubicBezTo>
                  <a:pt x="431856" y="1526012"/>
                  <a:pt x="422745" y="1522368"/>
                  <a:pt x="422745" y="1516901"/>
                </a:cubicBezTo>
                <a:lnTo>
                  <a:pt x="416016" y="1518583"/>
                </a:lnTo>
                <a:lnTo>
                  <a:pt x="415656" y="1517501"/>
                </a:lnTo>
                <a:lnTo>
                  <a:pt x="417278" y="1516901"/>
                </a:lnTo>
                <a:cubicBezTo>
                  <a:pt x="420923" y="1515079"/>
                  <a:pt x="415456" y="1516901"/>
                  <a:pt x="415456" y="1513257"/>
                </a:cubicBezTo>
                <a:cubicBezTo>
                  <a:pt x="420923" y="1513257"/>
                  <a:pt x="422745" y="1516901"/>
                  <a:pt x="428211" y="1511434"/>
                </a:cubicBezTo>
                <a:cubicBezTo>
                  <a:pt x="426389" y="1509612"/>
                  <a:pt x="424567" y="1505968"/>
                  <a:pt x="424567" y="1504146"/>
                </a:cubicBezTo>
                <a:close/>
                <a:moveTo>
                  <a:pt x="484244" y="1503690"/>
                </a:moveTo>
                <a:cubicBezTo>
                  <a:pt x="483332" y="1503235"/>
                  <a:pt x="481965" y="1503235"/>
                  <a:pt x="481054" y="1504146"/>
                </a:cubicBezTo>
                <a:cubicBezTo>
                  <a:pt x="482876" y="1505968"/>
                  <a:pt x="484700" y="1505968"/>
                  <a:pt x="484700" y="1505968"/>
                </a:cubicBezTo>
                <a:cubicBezTo>
                  <a:pt x="485610" y="1505057"/>
                  <a:pt x="485154" y="1504146"/>
                  <a:pt x="484244" y="1503690"/>
                </a:cubicBezTo>
                <a:close/>
                <a:moveTo>
                  <a:pt x="3406859" y="1503134"/>
                </a:moveTo>
                <a:lnTo>
                  <a:pt x="3407238" y="1503918"/>
                </a:lnTo>
                <a:lnTo>
                  <a:pt x="3408693" y="1507958"/>
                </a:lnTo>
                <a:lnTo>
                  <a:pt x="3408417" y="1508741"/>
                </a:lnTo>
                <a:lnTo>
                  <a:pt x="3405643" y="1505968"/>
                </a:lnTo>
                <a:lnTo>
                  <a:pt x="3403725" y="1508845"/>
                </a:lnTo>
                <a:lnTo>
                  <a:pt x="3401999" y="1509612"/>
                </a:lnTo>
                <a:close/>
                <a:moveTo>
                  <a:pt x="1055863" y="1503083"/>
                </a:moveTo>
                <a:lnTo>
                  <a:pt x="1073262" y="1511434"/>
                </a:lnTo>
                <a:lnTo>
                  <a:pt x="1059463" y="1511434"/>
                </a:lnTo>
                <a:lnTo>
                  <a:pt x="1049153" y="1506622"/>
                </a:lnTo>
                <a:lnTo>
                  <a:pt x="1048471" y="1505712"/>
                </a:lnTo>
                <a:close/>
                <a:moveTo>
                  <a:pt x="3243470" y="1502324"/>
                </a:moveTo>
                <a:cubicBezTo>
                  <a:pt x="3236181" y="1502324"/>
                  <a:pt x="3245292" y="1511434"/>
                  <a:pt x="3243470" y="1511434"/>
                </a:cubicBezTo>
                <a:cubicBezTo>
                  <a:pt x="3243470" y="1515079"/>
                  <a:pt x="3248937" y="1509612"/>
                  <a:pt x="3248937" y="1507790"/>
                </a:cubicBezTo>
                <a:cubicBezTo>
                  <a:pt x="3247114" y="1507790"/>
                  <a:pt x="3247114" y="1507790"/>
                  <a:pt x="3245292" y="1507790"/>
                </a:cubicBezTo>
                <a:cubicBezTo>
                  <a:pt x="3245292" y="1504146"/>
                  <a:pt x="3243470" y="1504146"/>
                  <a:pt x="3243470" y="1502324"/>
                </a:cubicBezTo>
                <a:close/>
                <a:moveTo>
                  <a:pt x="1206279" y="1502324"/>
                </a:moveTo>
                <a:cubicBezTo>
                  <a:pt x="1204457" y="1504146"/>
                  <a:pt x="1202636" y="1507790"/>
                  <a:pt x="1204457" y="1509612"/>
                </a:cubicBezTo>
                <a:cubicBezTo>
                  <a:pt x="1208102" y="1509612"/>
                  <a:pt x="1209925" y="1504146"/>
                  <a:pt x="1206279" y="1502324"/>
                </a:cubicBezTo>
                <a:close/>
                <a:moveTo>
                  <a:pt x="635939" y="1502324"/>
                </a:moveTo>
                <a:cubicBezTo>
                  <a:pt x="630472" y="1507790"/>
                  <a:pt x="626828" y="1507790"/>
                  <a:pt x="621362" y="1509612"/>
                </a:cubicBezTo>
                <a:cubicBezTo>
                  <a:pt x="626828" y="1513257"/>
                  <a:pt x="632296" y="1515079"/>
                  <a:pt x="635939" y="1513257"/>
                </a:cubicBezTo>
                <a:cubicBezTo>
                  <a:pt x="637761" y="1509612"/>
                  <a:pt x="635939" y="1505968"/>
                  <a:pt x="635939" y="1502324"/>
                </a:cubicBezTo>
                <a:close/>
                <a:moveTo>
                  <a:pt x="512031" y="1502324"/>
                </a:moveTo>
                <a:cubicBezTo>
                  <a:pt x="512031" y="1504146"/>
                  <a:pt x="510209" y="1504146"/>
                  <a:pt x="508387" y="1505968"/>
                </a:cubicBezTo>
                <a:cubicBezTo>
                  <a:pt x="510209" y="1511434"/>
                  <a:pt x="515676" y="1513257"/>
                  <a:pt x="517498" y="1507790"/>
                </a:cubicBezTo>
                <a:cubicBezTo>
                  <a:pt x="513853" y="1505968"/>
                  <a:pt x="512031" y="1505968"/>
                  <a:pt x="512031" y="1502324"/>
                </a:cubicBezTo>
                <a:close/>
                <a:moveTo>
                  <a:pt x="661449" y="1500501"/>
                </a:moveTo>
                <a:cubicBezTo>
                  <a:pt x="661449" y="1504146"/>
                  <a:pt x="654161" y="1507790"/>
                  <a:pt x="657805" y="1511434"/>
                </a:cubicBezTo>
                <a:cubicBezTo>
                  <a:pt x="661449" y="1509612"/>
                  <a:pt x="663272" y="1505968"/>
                  <a:pt x="666916" y="1504146"/>
                </a:cubicBezTo>
                <a:cubicBezTo>
                  <a:pt x="665094" y="1502324"/>
                  <a:pt x="663272" y="1500501"/>
                  <a:pt x="661449" y="1500501"/>
                </a:cubicBezTo>
                <a:close/>
                <a:moveTo>
                  <a:pt x="604963" y="1500501"/>
                </a:moveTo>
                <a:cubicBezTo>
                  <a:pt x="603140" y="1498679"/>
                  <a:pt x="599496" y="1504146"/>
                  <a:pt x="601318" y="1505968"/>
                </a:cubicBezTo>
                <a:cubicBezTo>
                  <a:pt x="604963" y="1504146"/>
                  <a:pt x="603140" y="1502324"/>
                  <a:pt x="604963" y="1500501"/>
                </a:cubicBezTo>
                <a:close/>
                <a:moveTo>
                  <a:pt x="550297" y="1500501"/>
                </a:moveTo>
                <a:cubicBezTo>
                  <a:pt x="548475" y="1504146"/>
                  <a:pt x="548475" y="1507790"/>
                  <a:pt x="546653" y="1511434"/>
                </a:cubicBezTo>
                <a:cubicBezTo>
                  <a:pt x="550297" y="1513257"/>
                  <a:pt x="552119" y="1505968"/>
                  <a:pt x="553941" y="1505968"/>
                </a:cubicBezTo>
                <a:cubicBezTo>
                  <a:pt x="552119" y="1504146"/>
                  <a:pt x="552119" y="1502324"/>
                  <a:pt x="550297" y="1500501"/>
                </a:cubicBezTo>
                <a:close/>
                <a:moveTo>
                  <a:pt x="519320" y="1500501"/>
                </a:moveTo>
                <a:cubicBezTo>
                  <a:pt x="515676" y="1500501"/>
                  <a:pt x="515676" y="1504146"/>
                  <a:pt x="515676" y="1504146"/>
                </a:cubicBezTo>
                <a:cubicBezTo>
                  <a:pt x="515676" y="1505968"/>
                  <a:pt x="517498" y="1504146"/>
                  <a:pt x="517498" y="1505968"/>
                </a:cubicBezTo>
                <a:cubicBezTo>
                  <a:pt x="519320" y="1504146"/>
                  <a:pt x="517498" y="1502324"/>
                  <a:pt x="519320" y="1500501"/>
                </a:cubicBezTo>
                <a:close/>
                <a:moveTo>
                  <a:pt x="400879" y="1500501"/>
                </a:moveTo>
                <a:cubicBezTo>
                  <a:pt x="397234" y="1500501"/>
                  <a:pt x="391768" y="1502324"/>
                  <a:pt x="393590" y="1505968"/>
                </a:cubicBezTo>
                <a:cubicBezTo>
                  <a:pt x="395412" y="1502324"/>
                  <a:pt x="400879" y="1505968"/>
                  <a:pt x="400879" y="1500501"/>
                </a:cubicBezTo>
                <a:close/>
                <a:moveTo>
                  <a:pt x="442884" y="1500405"/>
                </a:moveTo>
                <a:lnTo>
                  <a:pt x="435500" y="1507790"/>
                </a:lnTo>
                <a:lnTo>
                  <a:pt x="434468" y="1507127"/>
                </a:lnTo>
                <a:lnTo>
                  <a:pt x="441194" y="1500729"/>
                </a:lnTo>
                <a:close/>
                <a:moveTo>
                  <a:pt x="2897257" y="1498679"/>
                </a:moveTo>
                <a:lnTo>
                  <a:pt x="2895435" y="1504146"/>
                </a:lnTo>
                <a:cubicBezTo>
                  <a:pt x="2897257" y="1505968"/>
                  <a:pt x="2899079" y="1505968"/>
                  <a:pt x="2899079" y="1504146"/>
                </a:cubicBezTo>
                <a:cubicBezTo>
                  <a:pt x="2899079" y="1502324"/>
                  <a:pt x="2897257" y="1500501"/>
                  <a:pt x="2897257" y="1498679"/>
                </a:cubicBezTo>
                <a:close/>
                <a:moveTo>
                  <a:pt x="3294491" y="1496857"/>
                </a:moveTo>
                <a:cubicBezTo>
                  <a:pt x="3290847" y="1504146"/>
                  <a:pt x="3301780" y="1513257"/>
                  <a:pt x="3303602" y="1504146"/>
                </a:cubicBezTo>
                <a:cubicBezTo>
                  <a:pt x="3299957" y="1498679"/>
                  <a:pt x="3299957" y="1495035"/>
                  <a:pt x="3294491" y="1496857"/>
                </a:cubicBezTo>
                <a:close/>
                <a:moveTo>
                  <a:pt x="3254403" y="1496857"/>
                </a:moveTo>
                <a:cubicBezTo>
                  <a:pt x="3252581" y="1500501"/>
                  <a:pt x="3248937" y="1509612"/>
                  <a:pt x="3256225" y="1509612"/>
                </a:cubicBezTo>
                <a:cubicBezTo>
                  <a:pt x="3256225" y="1504146"/>
                  <a:pt x="3254403" y="1498679"/>
                  <a:pt x="3258047" y="1498679"/>
                </a:cubicBezTo>
                <a:cubicBezTo>
                  <a:pt x="3258047" y="1496857"/>
                  <a:pt x="3256225" y="1496857"/>
                  <a:pt x="3254403" y="1496857"/>
                </a:cubicBezTo>
                <a:close/>
                <a:moveTo>
                  <a:pt x="727048" y="1496857"/>
                </a:moveTo>
                <a:cubicBezTo>
                  <a:pt x="716115" y="1500501"/>
                  <a:pt x="703359" y="1500501"/>
                  <a:pt x="694249" y="1509612"/>
                </a:cubicBezTo>
                <a:cubicBezTo>
                  <a:pt x="692426" y="1509612"/>
                  <a:pt x="692426" y="1509612"/>
                  <a:pt x="690604" y="1509612"/>
                </a:cubicBezTo>
                <a:cubicBezTo>
                  <a:pt x="686960" y="1513257"/>
                  <a:pt x="683316" y="1515079"/>
                  <a:pt x="681493" y="1518723"/>
                </a:cubicBezTo>
                <a:cubicBezTo>
                  <a:pt x="685138" y="1526012"/>
                  <a:pt x="690604" y="1546056"/>
                  <a:pt x="707004" y="1535123"/>
                </a:cubicBezTo>
                <a:cubicBezTo>
                  <a:pt x="707004" y="1536945"/>
                  <a:pt x="707004" y="1536945"/>
                  <a:pt x="707004" y="1540589"/>
                </a:cubicBezTo>
                <a:cubicBezTo>
                  <a:pt x="712470" y="1535123"/>
                  <a:pt x="727048" y="1527834"/>
                  <a:pt x="716115" y="1520545"/>
                </a:cubicBezTo>
                <a:cubicBezTo>
                  <a:pt x="719759" y="1520545"/>
                  <a:pt x="719759" y="1522368"/>
                  <a:pt x="721581" y="1524190"/>
                </a:cubicBezTo>
                <a:cubicBezTo>
                  <a:pt x="722492" y="1519634"/>
                  <a:pt x="725681" y="1515534"/>
                  <a:pt x="728186" y="1511207"/>
                </a:cubicBezTo>
                <a:lnTo>
                  <a:pt x="730374" y="1498679"/>
                </a:lnTo>
                <a:lnTo>
                  <a:pt x="730692" y="1496857"/>
                </a:lnTo>
                <a:lnTo>
                  <a:pt x="729367" y="1498679"/>
                </a:lnTo>
                <a:lnTo>
                  <a:pt x="716115" y="1516901"/>
                </a:lnTo>
                <a:cubicBezTo>
                  <a:pt x="717937" y="1511434"/>
                  <a:pt x="723404" y="1509612"/>
                  <a:pt x="723404" y="1504146"/>
                </a:cubicBezTo>
                <a:cubicBezTo>
                  <a:pt x="714293" y="1505968"/>
                  <a:pt x="705182" y="1511434"/>
                  <a:pt x="694249" y="1509612"/>
                </a:cubicBezTo>
                <a:cubicBezTo>
                  <a:pt x="705182" y="1507790"/>
                  <a:pt x="716115" y="1504146"/>
                  <a:pt x="727048" y="1496857"/>
                </a:cubicBezTo>
                <a:close/>
                <a:moveTo>
                  <a:pt x="535719" y="1496857"/>
                </a:moveTo>
                <a:cubicBezTo>
                  <a:pt x="532075" y="1502324"/>
                  <a:pt x="535719" y="1507790"/>
                  <a:pt x="537542" y="1511434"/>
                </a:cubicBezTo>
                <a:cubicBezTo>
                  <a:pt x="539364" y="1505968"/>
                  <a:pt x="537542" y="1498679"/>
                  <a:pt x="535719" y="1496857"/>
                </a:cubicBezTo>
                <a:close/>
                <a:moveTo>
                  <a:pt x="432540" y="1496629"/>
                </a:moveTo>
                <a:cubicBezTo>
                  <a:pt x="431401" y="1496402"/>
                  <a:pt x="430034" y="1496857"/>
                  <a:pt x="428211" y="1498679"/>
                </a:cubicBezTo>
                <a:cubicBezTo>
                  <a:pt x="424567" y="1500501"/>
                  <a:pt x="428211" y="1509612"/>
                  <a:pt x="431856" y="1507790"/>
                </a:cubicBezTo>
                <a:cubicBezTo>
                  <a:pt x="430034" y="1505968"/>
                  <a:pt x="428211" y="1502324"/>
                  <a:pt x="428211" y="1498679"/>
                </a:cubicBezTo>
                <a:cubicBezTo>
                  <a:pt x="428211" y="1502324"/>
                  <a:pt x="433678" y="1502324"/>
                  <a:pt x="435500" y="1498679"/>
                </a:cubicBezTo>
                <a:cubicBezTo>
                  <a:pt x="434589" y="1497768"/>
                  <a:pt x="433678" y="1496857"/>
                  <a:pt x="432540" y="1496629"/>
                </a:cubicBezTo>
                <a:close/>
                <a:moveTo>
                  <a:pt x="452212" y="1495538"/>
                </a:moveTo>
                <a:lnTo>
                  <a:pt x="450077" y="1496857"/>
                </a:lnTo>
                <a:lnTo>
                  <a:pt x="450231" y="1496198"/>
                </a:lnTo>
                <a:close/>
                <a:moveTo>
                  <a:pt x="3466869" y="1495399"/>
                </a:moveTo>
                <a:lnTo>
                  <a:pt x="3469419" y="1500501"/>
                </a:lnTo>
                <a:lnTo>
                  <a:pt x="3461958" y="1496101"/>
                </a:lnTo>
                <a:close/>
                <a:moveTo>
                  <a:pt x="3460536" y="1495263"/>
                </a:moveTo>
                <a:lnTo>
                  <a:pt x="3461958" y="1496101"/>
                </a:lnTo>
                <a:lnTo>
                  <a:pt x="3461448" y="1496174"/>
                </a:lnTo>
                <a:lnTo>
                  <a:pt x="3459775" y="1495424"/>
                </a:lnTo>
                <a:close/>
                <a:moveTo>
                  <a:pt x="1200814" y="1495035"/>
                </a:moveTo>
                <a:cubicBezTo>
                  <a:pt x="1200814" y="1498679"/>
                  <a:pt x="1204457" y="1498679"/>
                  <a:pt x="1206279" y="1500501"/>
                </a:cubicBezTo>
                <a:cubicBezTo>
                  <a:pt x="1208102" y="1498679"/>
                  <a:pt x="1206279" y="1498679"/>
                  <a:pt x="1208102" y="1496857"/>
                </a:cubicBezTo>
                <a:cubicBezTo>
                  <a:pt x="1204457" y="1495035"/>
                  <a:pt x="1202636" y="1495035"/>
                  <a:pt x="1200814" y="1495035"/>
                </a:cubicBezTo>
                <a:close/>
                <a:moveTo>
                  <a:pt x="3068574" y="1494960"/>
                </a:moveTo>
                <a:lnTo>
                  <a:pt x="3068594" y="1494993"/>
                </a:lnTo>
                <a:lnTo>
                  <a:pt x="3068541" y="1495035"/>
                </a:lnTo>
                <a:close/>
                <a:moveTo>
                  <a:pt x="1038369" y="1494686"/>
                </a:moveTo>
                <a:lnTo>
                  <a:pt x="1038950" y="1494783"/>
                </a:lnTo>
                <a:lnTo>
                  <a:pt x="1038809" y="1494897"/>
                </a:lnTo>
                <a:close/>
                <a:moveTo>
                  <a:pt x="1036067" y="1493581"/>
                </a:moveTo>
                <a:lnTo>
                  <a:pt x="1038369" y="1494686"/>
                </a:lnTo>
                <a:lnTo>
                  <a:pt x="1037877" y="1494604"/>
                </a:lnTo>
                <a:close/>
                <a:moveTo>
                  <a:pt x="3352800" y="1493214"/>
                </a:moveTo>
                <a:cubicBezTo>
                  <a:pt x="3363733" y="1500503"/>
                  <a:pt x="3374666" y="1509614"/>
                  <a:pt x="3385599" y="1515080"/>
                </a:cubicBezTo>
                <a:cubicBezTo>
                  <a:pt x="3383777" y="1516903"/>
                  <a:pt x="3383777" y="1524191"/>
                  <a:pt x="3385599" y="1524191"/>
                </a:cubicBezTo>
                <a:cubicBezTo>
                  <a:pt x="3389243" y="1524191"/>
                  <a:pt x="3387421" y="1520547"/>
                  <a:pt x="3387421" y="1516903"/>
                </a:cubicBezTo>
                <a:cubicBezTo>
                  <a:pt x="3396532" y="1524191"/>
                  <a:pt x="3405643" y="1533302"/>
                  <a:pt x="3412932" y="1542413"/>
                </a:cubicBezTo>
                <a:cubicBezTo>
                  <a:pt x="3412932" y="1542413"/>
                  <a:pt x="3411109" y="1544235"/>
                  <a:pt x="3409287" y="1544235"/>
                </a:cubicBezTo>
                <a:cubicBezTo>
                  <a:pt x="3411109" y="1553346"/>
                  <a:pt x="3423864" y="1551524"/>
                  <a:pt x="3422042" y="1558813"/>
                </a:cubicBezTo>
                <a:cubicBezTo>
                  <a:pt x="3418398" y="1566101"/>
                  <a:pt x="3412932" y="1556990"/>
                  <a:pt x="3411109" y="1551524"/>
                </a:cubicBezTo>
                <a:cubicBezTo>
                  <a:pt x="3412932" y="1560635"/>
                  <a:pt x="3412932" y="1569746"/>
                  <a:pt x="3420220" y="1575212"/>
                </a:cubicBezTo>
                <a:cubicBezTo>
                  <a:pt x="3422042" y="1577034"/>
                  <a:pt x="3425687" y="1575212"/>
                  <a:pt x="3427509" y="1571568"/>
                </a:cubicBezTo>
                <a:cubicBezTo>
                  <a:pt x="3432975" y="1582501"/>
                  <a:pt x="3423864" y="1593435"/>
                  <a:pt x="3416576" y="1600723"/>
                </a:cubicBezTo>
                <a:cubicBezTo>
                  <a:pt x="3422042" y="1597078"/>
                  <a:pt x="3420220" y="1587967"/>
                  <a:pt x="3414754" y="1587967"/>
                </a:cubicBezTo>
                <a:cubicBezTo>
                  <a:pt x="3414754" y="1593435"/>
                  <a:pt x="3412932" y="1597078"/>
                  <a:pt x="3416576" y="1600723"/>
                </a:cubicBezTo>
                <a:cubicBezTo>
                  <a:pt x="3418398" y="1602545"/>
                  <a:pt x="3418398" y="1602545"/>
                  <a:pt x="3418398" y="1602545"/>
                </a:cubicBezTo>
                <a:cubicBezTo>
                  <a:pt x="3403821" y="1613478"/>
                  <a:pt x="3383777" y="1608011"/>
                  <a:pt x="3380132" y="1591612"/>
                </a:cubicBezTo>
                <a:cubicBezTo>
                  <a:pt x="3378310" y="1595256"/>
                  <a:pt x="3383777" y="1600723"/>
                  <a:pt x="3380132" y="1606189"/>
                </a:cubicBezTo>
                <a:cubicBezTo>
                  <a:pt x="3378310" y="1606189"/>
                  <a:pt x="3376488" y="1606189"/>
                  <a:pt x="3374666" y="1606189"/>
                </a:cubicBezTo>
                <a:cubicBezTo>
                  <a:pt x="3371021" y="1600723"/>
                  <a:pt x="3369199" y="1593435"/>
                  <a:pt x="3365555" y="1587967"/>
                </a:cubicBezTo>
                <a:cubicBezTo>
                  <a:pt x="3365555" y="1593435"/>
                  <a:pt x="3369199" y="1598900"/>
                  <a:pt x="3367377" y="1600723"/>
                </a:cubicBezTo>
                <a:cubicBezTo>
                  <a:pt x="3358266" y="1604367"/>
                  <a:pt x="3350977" y="1591612"/>
                  <a:pt x="3349155" y="1584323"/>
                </a:cubicBezTo>
                <a:cubicBezTo>
                  <a:pt x="3345511" y="1595256"/>
                  <a:pt x="3358266" y="1602545"/>
                  <a:pt x="3356444" y="1611656"/>
                </a:cubicBezTo>
                <a:cubicBezTo>
                  <a:pt x="3354622" y="1617122"/>
                  <a:pt x="3338222" y="1611656"/>
                  <a:pt x="3345511" y="1622590"/>
                </a:cubicBezTo>
                <a:cubicBezTo>
                  <a:pt x="3343689" y="1622590"/>
                  <a:pt x="3341867" y="1620766"/>
                  <a:pt x="3340045" y="1620766"/>
                </a:cubicBezTo>
                <a:lnTo>
                  <a:pt x="3340045" y="1610289"/>
                </a:lnTo>
                <a:lnTo>
                  <a:pt x="3345511" y="1611656"/>
                </a:lnTo>
                <a:cubicBezTo>
                  <a:pt x="3345511" y="1608011"/>
                  <a:pt x="3343689" y="1606189"/>
                  <a:pt x="3341867" y="1602545"/>
                </a:cubicBezTo>
                <a:lnTo>
                  <a:pt x="3340045" y="1605692"/>
                </a:lnTo>
                <a:lnTo>
                  <a:pt x="3340045" y="1597078"/>
                </a:lnTo>
                <a:cubicBezTo>
                  <a:pt x="3340045" y="1598900"/>
                  <a:pt x="3341867" y="1598900"/>
                  <a:pt x="3341867" y="1600723"/>
                </a:cubicBezTo>
                <a:cubicBezTo>
                  <a:pt x="3341867" y="1598900"/>
                  <a:pt x="3340045" y="1598900"/>
                  <a:pt x="3341867" y="1595256"/>
                </a:cubicBezTo>
                <a:cubicBezTo>
                  <a:pt x="3340045" y="1595256"/>
                  <a:pt x="3338222" y="1595256"/>
                  <a:pt x="3338222" y="1593435"/>
                </a:cubicBezTo>
                <a:cubicBezTo>
                  <a:pt x="3338222" y="1567924"/>
                  <a:pt x="3341867" y="1540591"/>
                  <a:pt x="3347333" y="1516903"/>
                </a:cubicBezTo>
                <a:cubicBezTo>
                  <a:pt x="3347333" y="1516903"/>
                  <a:pt x="3349155" y="1516903"/>
                  <a:pt x="3349155" y="1516903"/>
                </a:cubicBezTo>
                <a:cubicBezTo>
                  <a:pt x="3347333" y="1516903"/>
                  <a:pt x="3347333" y="1515080"/>
                  <a:pt x="3347333" y="1515080"/>
                </a:cubicBezTo>
                <a:cubicBezTo>
                  <a:pt x="3347333" y="1507792"/>
                  <a:pt x="3349155" y="1500503"/>
                  <a:pt x="3352800" y="1493214"/>
                </a:cubicBezTo>
                <a:close/>
                <a:moveTo>
                  <a:pt x="2871747" y="1493213"/>
                </a:moveTo>
                <a:lnTo>
                  <a:pt x="2873569" y="1498679"/>
                </a:lnTo>
                <a:lnTo>
                  <a:pt x="2879035" y="1496857"/>
                </a:lnTo>
                <a:cubicBezTo>
                  <a:pt x="2879035" y="1495035"/>
                  <a:pt x="2877213" y="1495035"/>
                  <a:pt x="2877213" y="1493213"/>
                </a:cubicBezTo>
                <a:cubicBezTo>
                  <a:pt x="2873569" y="1491391"/>
                  <a:pt x="2873569" y="1493213"/>
                  <a:pt x="2871747" y="1493213"/>
                </a:cubicBezTo>
                <a:close/>
                <a:moveTo>
                  <a:pt x="1186236" y="1493213"/>
                </a:moveTo>
                <a:cubicBezTo>
                  <a:pt x="1182592" y="1498679"/>
                  <a:pt x="1191703" y="1504146"/>
                  <a:pt x="1191703" y="1509612"/>
                </a:cubicBezTo>
                <a:cubicBezTo>
                  <a:pt x="1191703" y="1509612"/>
                  <a:pt x="1193525" y="1507790"/>
                  <a:pt x="1193525" y="1507790"/>
                </a:cubicBezTo>
                <a:cubicBezTo>
                  <a:pt x="1193525" y="1509612"/>
                  <a:pt x="1195346" y="1513257"/>
                  <a:pt x="1197169" y="1516901"/>
                </a:cubicBezTo>
                <a:cubicBezTo>
                  <a:pt x="1200814" y="1516901"/>
                  <a:pt x="1202636" y="1511434"/>
                  <a:pt x="1202636" y="1513257"/>
                </a:cubicBezTo>
                <a:cubicBezTo>
                  <a:pt x="1202636" y="1513257"/>
                  <a:pt x="1198991" y="1509612"/>
                  <a:pt x="1197169" y="1505968"/>
                </a:cubicBezTo>
                <a:lnTo>
                  <a:pt x="1197169" y="1504146"/>
                </a:lnTo>
                <a:cubicBezTo>
                  <a:pt x="1191703" y="1502324"/>
                  <a:pt x="1189880" y="1495035"/>
                  <a:pt x="1186236" y="1493213"/>
                </a:cubicBezTo>
                <a:close/>
                <a:moveTo>
                  <a:pt x="1029529" y="1493213"/>
                </a:moveTo>
                <a:lnTo>
                  <a:pt x="1037877" y="1494604"/>
                </a:lnTo>
                <a:lnTo>
                  <a:pt x="1038639" y="1495035"/>
                </a:lnTo>
                <a:lnTo>
                  <a:pt x="1038809" y="1494897"/>
                </a:lnTo>
                <a:lnTo>
                  <a:pt x="1041230" y="1496059"/>
                </a:lnTo>
                <a:lnTo>
                  <a:pt x="1048471" y="1505712"/>
                </a:lnTo>
                <a:lnTo>
                  <a:pt x="1047750" y="1505968"/>
                </a:lnTo>
                <a:lnTo>
                  <a:pt x="1049153" y="1506622"/>
                </a:lnTo>
                <a:lnTo>
                  <a:pt x="1052761" y="1511434"/>
                </a:lnTo>
                <a:lnTo>
                  <a:pt x="1059463" y="1511434"/>
                </a:lnTo>
                <a:lnTo>
                  <a:pt x="1061416" y="1512345"/>
                </a:lnTo>
                <a:lnTo>
                  <a:pt x="1070944" y="1516792"/>
                </a:lnTo>
                <a:lnTo>
                  <a:pt x="1056861" y="1515079"/>
                </a:lnTo>
                <a:lnTo>
                  <a:pt x="1058611" y="1518175"/>
                </a:lnTo>
                <a:lnTo>
                  <a:pt x="1053217" y="1513257"/>
                </a:lnTo>
                <a:cubicBezTo>
                  <a:pt x="1047750" y="1513257"/>
                  <a:pt x="1044106" y="1513257"/>
                  <a:pt x="1038639" y="1513257"/>
                </a:cubicBezTo>
                <a:cubicBezTo>
                  <a:pt x="1040462" y="1515079"/>
                  <a:pt x="1042284" y="1516901"/>
                  <a:pt x="1045929" y="1518723"/>
                </a:cubicBezTo>
                <a:lnTo>
                  <a:pt x="1034336" y="1512927"/>
                </a:lnTo>
                <a:lnTo>
                  <a:pt x="1038639" y="1511434"/>
                </a:lnTo>
                <a:cubicBezTo>
                  <a:pt x="1033173" y="1507790"/>
                  <a:pt x="1027707" y="1509612"/>
                  <a:pt x="1024062" y="1505968"/>
                </a:cubicBezTo>
                <a:cubicBezTo>
                  <a:pt x="1033173" y="1509612"/>
                  <a:pt x="1038639" y="1509612"/>
                  <a:pt x="1047750" y="1509612"/>
                </a:cubicBezTo>
                <a:cubicBezTo>
                  <a:pt x="1044106" y="1504146"/>
                  <a:pt x="1036818" y="1493213"/>
                  <a:pt x="1031351" y="1502324"/>
                </a:cubicBezTo>
                <a:cubicBezTo>
                  <a:pt x="1031351" y="1498679"/>
                  <a:pt x="1033173" y="1498679"/>
                  <a:pt x="1034995" y="1496857"/>
                </a:cubicBezTo>
                <a:cubicBezTo>
                  <a:pt x="1033173" y="1495035"/>
                  <a:pt x="1031351" y="1495035"/>
                  <a:pt x="1029529" y="1493213"/>
                </a:cubicBezTo>
                <a:close/>
                <a:moveTo>
                  <a:pt x="750737" y="1493213"/>
                </a:moveTo>
                <a:cubicBezTo>
                  <a:pt x="747092" y="1498679"/>
                  <a:pt x="747092" y="1504146"/>
                  <a:pt x="745269" y="1507790"/>
                </a:cubicBezTo>
                <a:cubicBezTo>
                  <a:pt x="750737" y="1507790"/>
                  <a:pt x="758025" y="1507790"/>
                  <a:pt x="759848" y="1500501"/>
                </a:cubicBezTo>
                <a:cubicBezTo>
                  <a:pt x="758025" y="1496857"/>
                  <a:pt x="754380" y="1495035"/>
                  <a:pt x="750737" y="1493213"/>
                </a:cubicBezTo>
                <a:close/>
                <a:moveTo>
                  <a:pt x="655983" y="1493213"/>
                </a:moveTo>
                <a:cubicBezTo>
                  <a:pt x="648694" y="1498679"/>
                  <a:pt x="645050" y="1507790"/>
                  <a:pt x="639583" y="1515079"/>
                </a:cubicBezTo>
                <a:cubicBezTo>
                  <a:pt x="650516" y="1515079"/>
                  <a:pt x="654161" y="1504146"/>
                  <a:pt x="661449" y="1498679"/>
                </a:cubicBezTo>
                <a:cubicBezTo>
                  <a:pt x="655983" y="1504146"/>
                  <a:pt x="659627" y="1493213"/>
                  <a:pt x="655983" y="1493213"/>
                </a:cubicBezTo>
                <a:close/>
                <a:moveTo>
                  <a:pt x="573985" y="1493213"/>
                </a:moveTo>
                <a:cubicBezTo>
                  <a:pt x="572163" y="1498679"/>
                  <a:pt x="570341" y="1502324"/>
                  <a:pt x="568519" y="1507790"/>
                </a:cubicBezTo>
                <a:cubicBezTo>
                  <a:pt x="572163" y="1511434"/>
                  <a:pt x="577630" y="1504146"/>
                  <a:pt x="581274" y="1504146"/>
                </a:cubicBezTo>
                <a:cubicBezTo>
                  <a:pt x="583096" y="1496857"/>
                  <a:pt x="579452" y="1493213"/>
                  <a:pt x="573985" y="1493213"/>
                </a:cubicBezTo>
                <a:close/>
                <a:moveTo>
                  <a:pt x="1319255" y="1491513"/>
                </a:moveTo>
                <a:lnTo>
                  <a:pt x="1319255" y="1513378"/>
                </a:lnTo>
                <a:lnTo>
                  <a:pt x="1280989" y="1513378"/>
                </a:lnTo>
                <a:lnTo>
                  <a:pt x="1280989" y="1527955"/>
                </a:lnTo>
                <a:cubicBezTo>
                  <a:pt x="1275522" y="1526133"/>
                  <a:pt x="1271878" y="1524311"/>
                  <a:pt x="1270056" y="1526133"/>
                </a:cubicBezTo>
                <a:lnTo>
                  <a:pt x="1269719" y="1524445"/>
                </a:lnTo>
                <a:lnTo>
                  <a:pt x="1266411" y="1507912"/>
                </a:lnTo>
                <a:close/>
                <a:moveTo>
                  <a:pt x="823623" y="1491391"/>
                </a:moveTo>
                <a:cubicBezTo>
                  <a:pt x="821801" y="1493213"/>
                  <a:pt x="819979" y="1495035"/>
                  <a:pt x="819979" y="1495035"/>
                </a:cubicBezTo>
                <a:cubicBezTo>
                  <a:pt x="818156" y="1495035"/>
                  <a:pt x="814512" y="1496857"/>
                  <a:pt x="812690" y="1498679"/>
                </a:cubicBezTo>
                <a:cubicBezTo>
                  <a:pt x="812690" y="1496857"/>
                  <a:pt x="807223" y="1498679"/>
                  <a:pt x="805401" y="1500501"/>
                </a:cubicBezTo>
                <a:cubicBezTo>
                  <a:pt x="807223" y="1502324"/>
                  <a:pt x="809046" y="1502324"/>
                  <a:pt x="810868" y="1500501"/>
                </a:cubicBezTo>
                <a:cubicBezTo>
                  <a:pt x="809046" y="1502324"/>
                  <a:pt x="807223" y="1504146"/>
                  <a:pt x="803579" y="1504146"/>
                </a:cubicBezTo>
                <a:cubicBezTo>
                  <a:pt x="807223" y="1507790"/>
                  <a:pt x="807223" y="1509612"/>
                  <a:pt x="809046" y="1513257"/>
                </a:cubicBezTo>
                <a:cubicBezTo>
                  <a:pt x="805401" y="1509612"/>
                  <a:pt x="803579" y="1504146"/>
                  <a:pt x="799935" y="1502324"/>
                </a:cubicBezTo>
                <a:cubicBezTo>
                  <a:pt x="785357" y="1502324"/>
                  <a:pt x="776246" y="1500501"/>
                  <a:pt x="765313" y="1498679"/>
                </a:cubicBezTo>
                <a:cubicBezTo>
                  <a:pt x="765313" y="1500501"/>
                  <a:pt x="768959" y="1505968"/>
                  <a:pt x="772602" y="1504146"/>
                </a:cubicBezTo>
                <a:cubicBezTo>
                  <a:pt x="768959" y="1505968"/>
                  <a:pt x="767136" y="1498679"/>
                  <a:pt x="765313" y="1498679"/>
                </a:cubicBezTo>
                <a:cubicBezTo>
                  <a:pt x="774424" y="1508701"/>
                  <a:pt x="784901" y="1511890"/>
                  <a:pt x="795151" y="1515078"/>
                </a:cubicBezTo>
                <a:lnTo>
                  <a:pt x="798214" y="1516842"/>
                </a:lnTo>
                <a:lnTo>
                  <a:pt x="796974" y="1516218"/>
                </a:lnTo>
                <a:cubicBezTo>
                  <a:pt x="785813" y="1513257"/>
                  <a:pt x="774424" y="1510523"/>
                  <a:pt x="765313" y="1502324"/>
                </a:cubicBezTo>
                <a:cubicBezTo>
                  <a:pt x="761670" y="1509612"/>
                  <a:pt x="763491" y="1520545"/>
                  <a:pt x="758025" y="1527834"/>
                </a:cubicBezTo>
                <a:cubicBezTo>
                  <a:pt x="758025" y="1520545"/>
                  <a:pt x="763491" y="1511434"/>
                  <a:pt x="761670" y="1502324"/>
                </a:cubicBezTo>
                <a:cubicBezTo>
                  <a:pt x="759848" y="1509612"/>
                  <a:pt x="754380" y="1509612"/>
                  <a:pt x="748914" y="1511434"/>
                </a:cubicBezTo>
                <a:cubicBezTo>
                  <a:pt x="750737" y="1511434"/>
                  <a:pt x="752558" y="1513257"/>
                  <a:pt x="750737" y="1516901"/>
                </a:cubicBezTo>
                <a:cubicBezTo>
                  <a:pt x="748914" y="1516901"/>
                  <a:pt x="748914" y="1515079"/>
                  <a:pt x="747092" y="1513257"/>
                </a:cubicBezTo>
                <a:cubicBezTo>
                  <a:pt x="741626" y="1513257"/>
                  <a:pt x="748914" y="1516901"/>
                  <a:pt x="747092" y="1520545"/>
                </a:cubicBezTo>
                <a:cubicBezTo>
                  <a:pt x="748914" y="1520545"/>
                  <a:pt x="748914" y="1520545"/>
                  <a:pt x="750737" y="1520545"/>
                </a:cubicBezTo>
                <a:cubicBezTo>
                  <a:pt x="747092" y="1526012"/>
                  <a:pt x="741626" y="1533301"/>
                  <a:pt x="745269" y="1540589"/>
                </a:cubicBezTo>
                <a:cubicBezTo>
                  <a:pt x="743447" y="1538767"/>
                  <a:pt x="741626" y="1536945"/>
                  <a:pt x="741626" y="1533301"/>
                </a:cubicBezTo>
                <a:cubicBezTo>
                  <a:pt x="737981" y="1538767"/>
                  <a:pt x="734336" y="1547878"/>
                  <a:pt x="741626" y="1551522"/>
                </a:cubicBezTo>
                <a:cubicBezTo>
                  <a:pt x="736159" y="1551522"/>
                  <a:pt x="736159" y="1547878"/>
                  <a:pt x="734336" y="1546056"/>
                </a:cubicBezTo>
                <a:lnTo>
                  <a:pt x="729729" y="1555270"/>
                </a:lnTo>
                <a:lnTo>
                  <a:pt x="728870" y="1555167"/>
                </a:lnTo>
                <a:cubicBezTo>
                  <a:pt x="723404" y="1564278"/>
                  <a:pt x="727048" y="1569744"/>
                  <a:pt x="732515" y="1573388"/>
                </a:cubicBezTo>
                <a:cubicBezTo>
                  <a:pt x="730692" y="1573388"/>
                  <a:pt x="727048" y="1571566"/>
                  <a:pt x="725226" y="1571566"/>
                </a:cubicBezTo>
                <a:cubicBezTo>
                  <a:pt x="727048" y="1582499"/>
                  <a:pt x="725226" y="1593432"/>
                  <a:pt x="723404" y="1602543"/>
                </a:cubicBezTo>
                <a:cubicBezTo>
                  <a:pt x="723404" y="1602543"/>
                  <a:pt x="725226" y="1602543"/>
                  <a:pt x="725226" y="1602543"/>
                </a:cubicBezTo>
                <a:cubicBezTo>
                  <a:pt x="719759" y="1606188"/>
                  <a:pt x="716115" y="1611654"/>
                  <a:pt x="712470" y="1615298"/>
                </a:cubicBezTo>
                <a:cubicBezTo>
                  <a:pt x="703359" y="1624409"/>
                  <a:pt x="677849" y="1649920"/>
                  <a:pt x="699715" y="1660853"/>
                </a:cubicBezTo>
                <a:cubicBezTo>
                  <a:pt x="694249" y="1659031"/>
                  <a:pt x="688782" y="1659031"/>
                  <a:pt x="686960" y="1655386"/>
                </a:cubicBezTo>
                <a:cubicBezTo>
                  <a:pt x="685138" y="1664497"/>
                  <a:pt x="697893" y="1671786"/>
                  <a:pt x="707004" y="1662675"/>
                </a:cubicBezTo>
                <a:cubicBezTo>
                  <a:pt x="705182" y="1660853"/>
                  <a:pt x="701537" y="1659031"/>
                  <a:pt x="699715" y="1657208"/>
                </a:cubicBezTo>
                <a:cubicBezTo>
                  <a:pt x="719759" y="1660853"/>
                  <a:pt x="739803" y="1664497"/>
                  <a:pt x="758025" y="1651742"/>
                </a:cubicBezTo>
                <a:cubicBezTo>
                  <a:pt x="756203" y="1651742"/>
                  <a:pt x="758025" y="1653564"/>
                  <a:pt x="756203" y="1655386"/>
                </a:cubicBezTo>
                <a:cubicBezTo>
                  <a:pt x="761670" y="1657208"/>
                  <a:pt x="765313" y="1655386"/>
                  <a:pt x="767136" y="1651742"/>
                </a:cubicBezTo>
                <a:cubicBezTo>
                  <a:pt x="763491" y="1649920"/>
                  <a:pt x="761670" y="1649920"/>
                  <a:pt x="759848" y="1651742"/>
                </a:cubicBezTo>
                <a:cubicBezTo>
                  <a:pt x="767136" y="1642631"/>
                  <a:pt x="772602" y="1653564"/>
                  <a:pt x="781713" y="1653564"/>
                </a:cubicBezTo>
                <a:cubicBezTo>
                  <a:pt x="798112" y="1649920"/>
                  <a:pt x="812690" y="1657208"/>
                  <a:pt x="825445" y="1648097"/>
                </a:cubicBezTo>
                <a:cubicBezTo>
                  <a:pt x="821801" y="1646275"/>
                  <a:pt x="819979" y="1644453"/>
                  <a:pt x="818156" y="1644453"/>
                </a:cubicBezTo>
                <a:cubicBezTo>
                  <a:pt x="819979" y="1644453"/>
                  <a:pt x="823623" y="1644453"/>
                  <a:pt x="825445" y="1644453"/>
                </a:cubicBezTo>
                <a:cubicBezTo>
                  <a:pt x="840022" y="1642631"/>
                  <a:pt x="854600" y="1635342"/>
                  <a:pt x="869177" y="1631698"/>
                </a:cubicBezTo>
                <a:cubicBezTo>
                  <a:pt x="867355" y="1631698"/>
                  <a:pt x="867355" y="1631698"/>
                  <a:pt x="863711" y="1631698"/>
                </a:cubicBezTo>
                <a:cubicBezTo>
                  <a:pt x="896510" y="1628054"/>
                  <a:pt x="931131" y="1624409"/>
                  <a:pt x="963930" y="1618943"/>
                </a:cubicBezTo>
                <a:lnTo>
                  <a:pt x="963039" y="1618489"/>
                </a:lnTo>
                <a:lnTo>
                  <a:pt x="989441" y="1617121"/>
                </a:lnTo>
                <a:cubicBezTo>
                  <a:pt x="980330" y="1610743"/>
                  <a:pt x="969397" y="1606187"/>
                  <a:pt x="958236" y="1603910"/>
                </a:cubicBezTo>
                <a:lnTo>
                  <a:pt x="931795" y="1604279"/>
                </a:lnTo>
                <a:lnTo>
                  <a:pt x="932953" y="1602543"/>
                </a:lnTo>
                <a:lnTo>
                  <a:pt x="929030" y="1604318"/>
                </a:lnTo>
                <a:lnTo>
                  <a:pt x="925886" y="1604362"/>
                </a:lnTo>
                <a:lnTo>
                  <a:pt x="925763" y="1604299"/>
                </a:lnTo>
                <a:lnTo>
                  <a:pt x="931131" y="1600721"/>
                </a:lnTo>
                <a:cubicBezTo>
                  <a:pt x="925666" y="1598899"/>
                  <a:pt x="922020" y="1600721"/>
                  <a:pt x="916555" y="1598899"/>
                </a:cubicBezTo>
                <a:lnTo>
                  <a:pt x="917617" y="1600140"/>
                </a:lnTo>
                <a:lnTo>
                  <a:pt x="904482" y="1593432"/>
                </a:lnTo>
                <a:cubicBezTo>
                  <a:pt x="893777" y="1588877"/>
                  <a:pt x="882843" y="1586143"/>
                  <a:pt x="871000" y="1587966"/>
                </a:cubicBezTo>
                <a:cubicBezTo>
                  <a:pt x="866444" y="1587055"/>
                  <a:pt x="862345" y="1589333"/>
                  <a:pt x="858244" y="1591155"/>
                </a:cubicBezTo>
                <a:lnTo>
                  <a:pt x="855363" y="1591257"/>
                </a:lnTo>
                <a:lnTo>
                  <a:pt x="860066" y="1589788"/>
                </a:lnTo>
                <a:cubicBezTo>
                  <a:pt x="861889" y="1587966"/>
                  <a:pt x="858244" y="1586144"/>
                  <a:pt x="860066" y="1584321"/>
                </a:cubicBezTo>
                <a:cubicBezTo>
                  <a:pt x="863711" y="1586144"/>
                  <a:pt x="869177" y="1586144"/>
                  <a:pt x="872822" y="1584321"/>
                </a:cubicBezTo>
                <a:cubicBezTo>
                  <a:pt x="872822" y="1584321"/>
                  <a:pt x="871000" y="1582499"/>
                  <a:pt x="871000" y="1582499"/>
                </a:cubicBezTo>
                <a:lnTo>
                  <a:pt x="877384" y="1583563"/>
                </a:lnTo>
                <a:lnTo>
                  <a:pt x="887399" y="1587966"/>
                </a:lnTo>
                <a:cubicBezTo>
                  <a:pt x="905621" y="1586144"/>
                  <a:pt x="922020" y="1586144"/>
                  <a:pt x="940242" y="1586144"/>
                </a:cubicBezTo>
                <a:cubicBezTo>
                  <a:pt x="909265" y="1566100"/>
                  <a:pt x="869177" y="1560633"/>
                  <a:pt x="834556" y="1566100"/>
                </a:cubicBezTo>
                <a:cubicBezTo>
                  <a:pt x="842757" y="1570655"/>
                  <a:pt x="851868" y="1573389"/>
                  <a:pt x="860977" y="1576350"/>
                </a:cubicBezTo>
                <a:lnTo>
                  <a:pt x="868478" y="1579647"/>
                </a:lnTo>
                <a:lnTo>
                  <a:pt x="817018" y="1561772"/>
                </a:lnTo>
                <a:lnTo>
                  <a:pt x="813902" y="1561845"/>
                </a:lnTo>
                <a:lnTo>
                  <a:pt x="810868" y="1558811"/>
                </a:lnTo>
                <a:cubicBezTo>
                  <a:pt x="823623" y="1560633"/>
                  <a:pt x="834556" y="1564278"/>
                  <a:pt x="843667" y="1556989"/>
                </a:cubicBezTo>
                <a:cubicBezTo>
                  <a:pt x="847311" y="1553345"/>
                  <a:pt x="847311" y="1547878"/>
                  <a:pt x="845489" y="1542412"/>
                </a:cubicBezTo>
                <a:lnTo>
                  <a:pt x="838620" y="1536804"/>
                </a:lnTo>
                <a:lnTo>
                  <a:pt x="843667" y="1540589"/>
                </a:lnTo>
                <a:cubicBezTo>
                  <a:pt x="845489" y="1533301"/>
                  <a:pt x="847311" y="1526012"/>
                  <a:pt x="843667" y="1518723"/>
                </a:cubicBezTo>
                <a:cubicBezTo>
                  <a:pt x="840022" y="1524190"/>
                  <a:pt x="834556" y="1526012"/>
                  <a:pt x="829089" y="1529656"/>
                </a:cubicBezTo>
                <a:lnTo>
                  <a:pt x="833662" y="1533085"/>
                </a:lnTo>
                <a:lnTo>
                  <a:pt x="822903" y="1534337"/>
                </a:lnTo>
                <a:lnTo>
                  <a:pt x="827267" y="1531478"/>
                </a:lnTo>
                <a:lnTo>
                  <a:pt x="824600" y="1530134"/>
                </a:lnTo>
                <a:lnTo>
                  <a:pt x="832734" y="1518951"/>
                </a:lnTo>
                <a:cubicBezTo>
                  <a:pt x="834100" y="1513712"/>
                  <a:pt x="833646" y="1507790"/>
                  <a:pt x="830912" y="1502324"/>
                </a:cubicBezTo>
                <a:lnTo>
                  <a:pt x="822090" y="1509208"/>
                </a:lnTo>
                <a:lnTo>
                  <a:pt x="828178" y="1500729"/>
                </a:lnTo>
                <a:cubicBezTo>
                  <a:pt x="828634" y="1497313"/>
                  <a:pt x="827267" y="1494124"/>
                  <a:pt x="823623" y="1493213"/>
                </a:cubicBezTo>
                <a:lnTo>
                  <a:pt x="825445" y="1493213"/>
                </a:lnTo>
                <a:cubicBezTo>
                  <a:pt x="825445" y="1493213"/>
                  <a:pt x="823623" y="1491391"/>
                  <a:pt x="823623" y="1491391"/>
                </a:cubicBezTo>
                <a:close/>
                <a:moveTo>
                  <a:pt x="752558" y="1491391"/>
                </a:moveTo>
                <a:cubicBezTo>
                  <a:pt x="752558" y="1495035"/>
                  <a:pt x="758025" y="1498679"/>
                  <a:pt x="761670" y="1498679"/>
                </a:cubicBezTo>
                <a:cubicBezTo>
                  <a:pt x="761670" y="1493213"/>
                  <a:pt x="756203" y="1493213"/>
                  <a:pt x="752558" y="1491391"/>
                </a:cubicBezTo>
                <a:close/>
                <a:moveTo>
                  <a:pt x="504743" y="1491391"/>
                </a:moveTo>
                <a:cubicBezTo>
                  <a:pt x="502920" y="1495035"/>
                  <a:pt x="506565" y="1500501"/>
                  <a:pt x="508387" y="1504146"/>
                </a:cubicBezTo>
                <a:cubicBezTo>
                  <a:pt x="512031" y="1500501"/>
                  <a:pt x="512031" y="1496857"/>
                  <a:pt x="515676" y="1496857"/>
                </a:cubicBezTo>
                <a:cubicBezTo>
                  <a:pt x="512031" y="1498679"/>
                  <a:pt x="508387" y="1491391"/>
                  <a:pt x="504743" y="1491391"/>
                </a:cubicBezTo>
                <a:close/>
                <a:moveTo>
                  <a:pt x="477410" y="1491391"/>
                </a:moveTo>
                <a:cubicBezTo>
                  <a:pt x="475589" y="1493213"/>
                  <a:pt x="475589" y="1495035"/>
                  <a:pt x="473766" y="1496857"/>
                </a:cubicBezTo>
                <a:cubicBezTo>
                  <a:pt x="475589" y="1498679"/>
                  <a:pt x="475589" y="1500501"/>
                  <a:pt x="477410" y="1500501"/>
                </a:cubicBezTo>
                <a:cubicBezTo>
                  <a:pt x="479232" y="1498679"/>
                  <a:pt x="479232" y="1495035"/>
                  <a:pt x="481054" y="1493213"/>
                </a:cubicBezTo>
                <a:cubicBezTo>
                  <a:pt x="481054" y="1491391"/>
                  <a:pt x="475589" y="1495035"/>
                  <a:pt x="477410" y="1496857"/>
                </a:cubicBezTo>
                <a:cubicBezTo>
                  <a:pt x="473766" y="1498679"/>
                  <a:pt x="477410" y="1495035"/>
                  <a:pt x="477410" y="1491391"/>
                </a:cubicBezTo>
                <a:close/>
                <a:moveTo>
                  <a:pt x="451899" y="1491391"/>
                </a:moveTo>
                <a:lnTo>
                  <a:pt x="451244" y="1491871"/>
                </a:lnTo>
                <a:lnTo>
                  <a:pt x="451256" y="1491819"/>
                </a:lnTo>
                <a:close/>
                <a:moveTo>
                  <a:pt x="3464156" y="1489973"/>
                </a:moveTo>
                <a:lnTo>
                  <a:pt x="3469419" y="1495035"/>
                </a:lnTo>
                <a:lnTo>
                  <a:pt x="3466869" y="1495399"/>
                </a:lnTo>
                <a:close/>
                <a:moveTo>
                  <a:pt x="3310890" y="1489568"/>
                </a:moveTo>
                <a:cubicBezTo>
                  <a:pt x="3307246" y="1493213"/>
                  <a:pt x="3312713" y="1496857"/>
                  <a:pt x="3309068" y="1500501"/>
                </a:cubicBezTo>
                <a:cubicBezTo>
                  <a:pt x="3312713" y="1500501"/>
                  <a:pt x="3310890" y="1493213"/>
                  <a:pt x="3310890" y="1489568"/>
                </a:cubicBezTo>
                <a:close/>
                <a:moveTo>
                  <a:pt x="1027707" y="1489568"/>
                </a:moveTo>
                <a:lnTo>
                  <a:pt x="1029529" y="1490443"/>
                </a:lnTo>
                <a:lnTo>
                  <a:pt x="1029529" y="1491391"/>
                </a:lnTo>
                <a:lnTo>
                  <a:pt x="1027707" y="1490495"/>
                </a:lnTo>
                <a:close/>
                <a:moveTo>
                  <a:pt x="590385" y="1489568"/>
                </a:moveTo>
                <a:cubicBezTo>
                  <a:pt x="590385" y="1493213"/>
                  <a:pt x="590385" y="1493213"/>
                  <a:pt x="586741" y="1493213"/>
                </a:cubicBezTo>
                <a:cubicBezTo>
                  <a:pt x="588562" y="1493213"/>
                  <a:pt x="586741" y="1495035"/>
                  <a:pt x="588562" y="1496857"/>
                </a:cubicBezTo>
                <a:cubicBezTo>
                  <a:pt x="588562" y="1493213"/>
                  <a:pt x="597673" y="1495035"/>
                  <a:pt x="590385" y="1489568"/>
                </a:cubicBezTo>
                <a:close/>
                <a:moveTo>
                  <a:pt x="564874" y="1489568"/>
                </a:moveTo>
                <a:cubicBezTo>
                  <a:pt x="563052" y="1496857"/>
                  <a:pt x="552119" y="1489568"/>
                  <a:pt x="552119" y="1498679"/>
                </a:cubicBezTo>
                <a:cubicBezTo>
                  <a:pt x="552119" y="1502324"/>
                  <a:pt x="555763" y="1504146"/>
                  <a:pt x="557586" y="1505968"/>
                </a:cubicBezTo>
                <a:cubicBezTo>
                  <a:pt x="561230" y="1504146"/>
                  <a:pt x="566697" y="1504146"/>
                  <a:pt x="566697" y="1498679"/>
                </a:cubicBezTo>
                <a:cubicBezTo>
                  <a:pt x="564874" y="1498679"/>
                  <a:pt x="563052" y="1498679"/>
                  <a:pt x="561230" y="1498679"/>
                </a:cubicBezTo>
                <a:cubicBezTo>
                  <a:pt x="564874" y="1496857"/>
                  <a:pt x="561230" y="1491391"/>
                  <a:pt x="564874" y="1489568"/>
                </a:cubicBezTo>
                <a:close/>
                <a:moveTo>
                  <a:pt x="552119" y="1489568"/>
                </a:moveTo>
                <a:cubicBezTo>
                  <a:pt x="548475" y="1493213"/>
                  <a:pt x="553941" y="1496857"/>
                  <a:pt x="557586" y="1493213"/>
                </a:cubicBezTo>
                <a:cubicBezTo>
                  <a:pt x="557586" y="1489568"/>
                  <a:pt x="553941" y="1493213"/>
                  <a:pt x="552119" y="1489568"/>
                </a:cubicBezTo>
                <a:close/>
                <a:moveTo>
                  <a:pt x="546653" y="1489568"/>
                </a:moveTo>
                <a:lnTo>
                  <a:pt x="546625" y="1489833"/>
                </a:lnTo>
                <a:lnTo>
                  <a:pt x="546546" y="1489843"/>
                </a:lnTo>
                <a:close/>
                <a:moveTo>
                  <a:pt x="539364" y="1489568"/>
                </a:moveTo>
                <a:cubicBezTo>
                  <a:pt x="539364" y="1493213"/>
                  <a:pt x="539364" y="1496857"/>
                  <a:pt x="543008" y="1491391"/>
                </a:cubicBezTo>
                <a:cubicBezTo>
                  <a:pt x="541186" y="1489568"/>
                  <a:pt x="539364" y="1491391"/>
                  <a:pt x="539364" y="1489568"/>
                </a:cubicBezTo>
                <a:close/>
                <a:moveTo>
                  <a:pt x="1186236" y="1487746"/>
                </a:moveTo>
                <a:cubicBezTo>
                  <a:pt x="1186236" y="1487746"/>
                  <a:pt x="1184414" y="1487746"/>
                  <a:pt x="1184414" y="1489568"/>
                </a:cubicBezTo>
                <a:cubicBezTo>
                  <a:pt x="1186236" y="1491391"/>
                  <a:pt x="1186236" y="1493213"/>
                  <a:pt x="1188058" y="1493213"/>
                </a:cubicBezTo>
                <a:cubicBezTo>
                  <a:pt x="1188058" y="1491391"/>
                  <a:pt x="1186236" y="1489568"/>
                  <a:pt x="1186236" y="1487746"/>
                </a:cubicBezTo>
                <a:close/>
                <a:moveTo>
                  <a:pt x="1029529" y="1487746"/>
                </a:moveTo>
                <a:cubicBezTo>
                  <a:pt x="1029529" y="1490479"/>
                  <a:pt x="1031351" y="1491391"/>
                  <a:pt x="1033401" y="1492074"/>
                </a:cubicBezTo>
                <a:lnTo>
                  <a:pt x="1036067" y="1493581"/>
                </a:lnTo>
                <a:lnTo>
                  <a:pt x="1029529" y="1490443"/>
                </a:lnTo>
                <a:close/>
                <a:moveTo>
                  <a:pt x="840022" y="1487746"/>
                </a:moveTo>
                <a:cubicBezTo>
                  <a:pt x="829089" y="1489568"/>
                  <a:pt x="838200" y="1498679"/>
                  <a:pt x="843667" y="1505968"/>
                </a:cubicBezTo>
                <a:cubicBezTo>
                  <a:pt x="843667" y="1507790"/>
                  <a:pt x="841845" y="1507790"/>
                  <a:pt x="841845" y="1507790"/>
                </a:cubicBezTo>
                <a:cubicBezTo>
                  <a:pt x="841845" y="1513257"/>
                  <a:pt x="850956" y="1509612"/>
                  <a:pt x="852778" y="1505968"/>
                </a:cubicBezTo>
                <a:cubicBezTo>
                  <a:pt x="850956" y="1504146"/>
                  <a:pt x="849133" y="1504146"/>
                  <a:pt x="847311" y="1502324"/>
                </a:cubicBezTo>
                <a:cubicBezTo>
                  <a:pt x="847311" y="1500501"/>
                  <a:pt x="850956" y="1502324"/>
                  <a:pt x="850956" y="1498679"/>
                </a:cubicBezTo>
                <a:cubicBezTo>
                  <a:pt x="847311" y="1493213"/>
                  <a:pt x="843667" y="1491391"/>
                  <a:pt x="840022" y="1487746"/>
                </a:cubicBezTo>
                <a:close/>
                <a:moveTo>
                  <a:pt x="697893" y="1487746"/>
                </a:moveTo>
                <a:cubicBezTo>
                  <a:pt x="694249" y="1489568"/>
                  <a:pt x="686960" y="1498679"/>
                  <a:pt x="677849" y="1505968"/>
                </a:cubicBezTo>
                <a:cubicBezTo>
                  <a:pt x="686960" y="1515079"/>
                  <a:pt x="696071" y="1505968"/>
                  <a:pt x="705182" y="1500501"/>
                </a:cubicBezTo>
                <a:cubicBezTo>
                  <a:pt x="707004" y="1498679"/>
                  <a:pt x="701537" y="1493213"/>
                  <a:pt x="697893" y="1487746"/>
                </a:cubicBezTo>
                <a:close/>
                <a:moveTo>
                  <a:pt x="544830" y="1487746"/>
                </a:moveTo>
                <a:cubicBezTo>
                  <a:pt x="543919" y="1488657"/>
                  <a:pt x="544375" y="1489568"/>
                  <a:pt x="545286" y="1490024"/>
                </a:cubicBezTo>
                <a:lnTo>
                  <a:pt x="546546" y="1489843"/>
                </a:lnTo>
                <a:lnTo>
                  <a:pt x="542780" y="1499590"/>
                </a:lnTo>
                <a:cubicBezTo>
                  <a:pt x="543008" y="1503235"/>
                  <a:pt x="543919" y="1506879"/>
                  <a:pt x="543008" y="1509612"/>
                </a:cubicBezTo>
                <a:cubicBezTo>
                  <a:pt x="543008" y="1506879"/>
                  <a:pt x="544375" y="1503690"/>
                  <a:pt x="545514" y="1500274"/>
                </a:cubicBezTo>
                <a:lnTo>
                  <a:pt x="546625" y="1489833"/>
                </a:lnTo>
                <a:lnTo>
                  <a:pt x="548475" y="1489568"/>
                </a:lnTo>
                <a:cubicBezTo>
                  <a:pt x="546653" y="1487746"/>
                  <a:pt x="546653" y="1487746"/>
                  <a:pt x="544830" y="1487746"/>
                </a:cubicBezTo>
                <a:close/>
                <a:moveTo>
                  <a:pt x="417278" y="1487746"/>
                </a:moveTo>
                <a:cubicBezTo>
                  <a:pt x="417278" y="1491391"/>
                  <a:pt x="419100" y="1495035"/>
                  <a:pt x="417278" y="1496857"/>
                </a:cubicBezTo>
                <a:cubicBezTo>
                  <a:pt x="409989" y="1500501"/>
                  <a:pt x="397234" y="1496857"/>
                  <a:pt x="395412" y="1507790"/>
                </a:cubicBezTo>
                <a:cubicBezTo>
                  <a:pt x="395412" y="1511434"/>
                  <a:pt x="400879" y="1515079"/>
                  <a:pt x="402701" y="1515079"/>
                </a:cubicBezTo>
                <a:cubicBezTo>
                  <a:pt x="409989" y="1505968"/>
                  <a:pt x="430034" y="1502324"/>
                  <a:pt x="419100" y="1489568"/>
                </a:cubicBezTo>
                <a:cubicBezTo>
                  <a:pt x="419100" y="1487746"/>
                  <a:pt x="420923" y="1489568"/>
                  <a:pt x="422745" y="1487746"/>
                </a:cubicBezTo>
                <a:cubicBezTo>
                  <a:pt x="420923" y="1487746"/>
                  <a:pt x="420923" y="1487746"/>
                  <a:pt x="417278" y="1487746"/>
                </a:cubicBezTo>
                <a:close/>
                <a:moveTo>
                  <a:pt x="415456" y="1487746"/>
                </a:moveTo>
                <a:cubicBezTo>
                  <a:pt x="411812" y="1491391"/>
                  <a:pt x="408167" y="1491391"/>
                  <a:pt x="402701" y="1495035"/>
                </a:cubicBezTo>
                <a:cubicBezTo>
                  <a:pt x="406345" y="1498679"/>
                  <a:pt x="411812" y="1495035"/>
                  <a:pt x="415456" y="1495035"/>
                </a:cubicBezTo>
                <a:cubicBezTo>
                  <a:pt x="415456" y="1491391"/>
                  <a:pt x="417278" y="1489568"/>
                  <a:pt x="415456" y="1487746"/>
                </a:cubicBezTo>
                <a:close/>
                <a:moveTo>
                  <a:pt x="832734" y="1485924"/>
                </a:moveTo>
                <a:cubicBezTo>
                  <a:pt x="836378" y="1485924"/>
                  <a:pt x="829089" y="1493213"/>
                  <a:pt x="834556" y="1491391"/>
                </a:cubicBezTo>
                <a:cubicBezTo>
                  <a:pt x="836378" y="1489568"/>
                  <a:pt x="834556" y="1485924"/>
                  <a:pt x="832734" y="1485924"/>
                </a:cubicBezTo>
                <a:close/>
                <a:moveTo>
                  <a:pt x="754380" y="1485924"/>
                </a:moveTo>
                <a:cubicBezTo>
                  <a:pt x="752558" y="1487746"/>
                  <a:pt x="752558" y="1487746"/>
                  <a:pt x="752558" y="1489568"/>
                </a:cubicBezTo>
                <a:cubicBezTo>
                  <a:pt x="754380" y="1491391"/>
                  <a:pt x="756203" y="1493213"/>
                  <a:pt x="759848" y="1491391"/>
                </a:cubicBezTo>
                <a:cubicBezTo>
                  <a:pt x="758025" y="1489568"/>
                  <a:pt x="756203" y="1487746"/>
                  <a:pt x="754380" y="1485924"/>
                </a:cubicBezTo>
                <a:close/>
                <a:moveTo>
                  <a:pt x="741626" y="1485924"/>
                </a:moveTo>
                <a:cubicBezTo>
                  <a:pt x="737981" y="1484102"/>
                  <a:pt x="734336" y="1489568"/>
                  <a:pt x="732515" y="1493213"/>
                </a:cubicBezTo>
                <a:cubicBezTo>
                  <a:pt x="737981" y="1498679"/>
                  <a:pt x="739803" y="1491391"/>
                  <a:pt x="741626" y="1485924"/>
                </a:cubicBezTo>
                <a:close/>
                <a:moveTo>
                  <a:pt x="677849" y="1485924"/>
                </a:moveTo>
                <a:cubicBezTo>
                  <a:pt x="677849" y="1489568"/>
                  <a:pt x="677849" y="1491391"/>
                  <a:pt x="677849" y="1493213"/>
                </a:cubicBezTo>
                <a:cubicBezTo>
                  <a:pt x="681493" y="1491391"/>
                  <a:pt x="683316" y="1489568"/>
                  <a:pt x="683316" y="1487746"/>
                </a:cubicBezTo>
                <a:cubicBezTo>
                  <a:pt x="681493" y="1487746"/>
                  <a:pt x="679671" y="1489568"/>
                  <a:pt x="677849" y="1485924"/>
                </a:cubicBezTo>
                <a:close/>
                <a:moveTo>
                  <a:pt x="665094" y="1485924"/>
                </a:moveTo>
                <a:lnTo>
                  <a:pt x="667119" y="1491324"/>
                </a:lnTo>
                <a:lnTo>
                  <a:pt x="666916" y="1491391"/>
                </a:lnTo>
                <a:lnTo>
                  <a:pt x="667128" y="1491347"/>
                </a:lnTo>
                <a:lnTo>
                  <a:pt x="670560" y="1500501"/>
                </a:lnTo>
                <a:cubicBezTo>
                  <a:pt x="672383" y="1498679"/>
                  <a:pt x="674205" y="1498679"/>
                  <a:pt x="676027" y="1496857"/>
                </a:cubicBezTo>
                <a:cubicBezTo>
                  <a:pt x="676027" y="1492302"/>
                  <a:pt x="675116" y="1490479"/>
                  <a:pt x="673522" y="1490024"/>
                </a:cubicBezTo>
                <a:lnTo>
                  <a:pt x="667128" y="1491347"/>
                </a:lnTo>
                <a:lnTo>
                  <a:pt x="667119" y="1491324"/>
                </a:lnTo>
                <a:lnTo>
                  <a:pt x="672383" y="1489568"/>
                </a:lnTo>
                <a:cubicBezTo>
                  <a:pt x="670560" y="1485924"/>
                  <a:pt x="666916" y="1487746"/>
                  <a:pt x="665094" y="1485924"/>
                </a:cubicBezTo>
                <a:close/>
                <a:moveTo>
                  <a:pt x="604963" y="1485924"/>
                </a:moveTo>
                <a:cubicBezTo>
                  <a:pt x="597673" y="1489568"/>
                  <a:pt x="601318" y="1495035"/>
                  <a:pt x="599496" y="1500501"/>
                </a:cubicBezTo>
                <a:cubicBezTo>
                  <a:pt x="603140" y="1498679"/>
                  <a:pt x="606784" y="1491391"/>
                  <a:pt x="604963" y="1485924"/>
                </a:cubicBezTo>
                <a:close/>
                <a:moveTo>
                  <a:pt x="491987" y="1485924"/>
                </a:moveTo>
                <a:cubicBezTo>
                  <a:pt x="486521" y="1487746"/>
                  <a:pt x="491987" y="1491391"/>
                  <a:pt x="491987" y="1493213"/>
                </a:cubicBezTo>
                <a:cubicBezTo>
                  <a:pt x="491987" y="1493213"/>
                  <a:pt x="491987" y="1491391"/>
                  <a:pt x="493809" y="1489568"/>
                </a:cubicBezTo>
                <a:cubicBezTo>
                  <a:pt x="491987" y="1489568"/>
                  <a:pt x="490165" y="1487746"/>
                  <a:pt x="491987" y="1485924"/>
                </a:cubicBezTo>
                <a:close/>
                <a:moveTo>
                  <a:pt x="444611" y="1485924"/>
                </a:moveTo>
                <a:cubicBezTo>
                  <a:pt x="442789" y="1487746"/>
                  <a:pt x="440966" y="1489568"/>
                  <a:pt x="439145" y="1493213"/>
                </a:cubicBezTo>
                <a:cubicBezTo>
                  <a:pt x="440966" y="1495035"/>
                  <a:pt x="442789" y="1495035"/>
                  <a:pt x="444611" y="1496857"/>
                </a:cubicBezTo>
                <a:cubicBezTo>
                  <a:pt x="442789" y="1493213"/>
                  <a:pt x="448256" y="1491391"/>
                  <a:pt x="448256" y="1485924"/>
                </a:cubicBezTo>
                <a:cubicBezTo>
                  <a:pt x="446433" y="1489568"/>
                  <a:pt x="446433" y="1487746"/>
                  <a:pt x="444611" y="1485924"/>
                </a:cubicBezTo>
                <a:close/>
                <a:moveTo>
                  <a:pt x="1015029" y="1484339"/>
                </a:moveTo>
                <a:lnTo>
                  <a:pt x="1016546" y="1485013"/>
                </a:lnTo>
                <a:lnTo>
                  <a:pt x="1027707" y="1490495"/>
                </a:lnTo>
                <a:lnTo>
                  <a:pt x="1027707" y="1493213"/>
                </a:lnTo>
                <a:close/>
                <a:moveTo>
                  <a:pt x="484700" y="1484102"/>
                </a:moveTo>
                <a:cubicBezTo>
                  <a:pt x="481054" y="1482280"/>
                  <a:pt x="477410" y="1489568"/>
                  <a:pt x="475589" y="1491391"/>
                </a:cubicBezTo>
                <a:cubicBezTo>
                  <a:pt x="481054" y="1493213"/>
                  <a:pt x="482876" y="1485924"/>
                  <a:pt x="484700" y="1484102"/>
                </a:cubicBezTo>
                <a:close/>
                <a:moveTo>
                  <a:pt x="556447" y="1483191"/>
                </a:moveTo>
                <a:cubicBezTo>
                  <a:pt x="554397" y="1483646"/>
                  <a:pt x="553030" y="1485013"/>
                  <a:pt x="553941" y="1487746"/>
                </a:cubicBezTo>
                <a:cubicBezTo>
                  <a:pt x="555763" y="1489568"/>
                  <a:pt x="559408" y="1485924"/>
                  <a:pt x="563052" y="1484102"/>
                </a:cubicBezTo>
                <a:cubicBezTo>
                  <a:pt x="561230" y="1483191"/>
                  <a:pt x="558498" y="1482735"/>
                  <a:pt x="556447" y="1483191"/>
                </a:cubicBezTo>
                <a:close/>
                <a:moveTo>
                  <a:pt x="3245292" y="1482280"/>
                </a:moveTo>
                <a:cubicBezTo>
                  <a:pt x="3239826" y="1480458"/>
                  <a:pt x="3236181" y="1482280"/>
                  <a:pt x="3228893" y="1484102"/>
                </a:cubicBezTo>
                <a:cubicBezTo>
                  <a:pt x="3230715" y="1495035"/>
                  <a:pt x="3236181" y="1489568"/>
                  <a:pt x="3238003" y="1491391"/>
                </a:cubicBezTo>
                <a:cubicBezTo>
                  <a:pt x="3238003" y="1487746"/>
                  <a:pt x="3238003" y="1485924"/>
                  <a:pt x="3238003" y="1484102"/>
                </a:cubicBezTo>
                <a:cubicBezTo>
                  <a:pt x="3239826" y="1485924"/>
                  <a:pt x="3241648" y="1487746"/>
                  <a:pt x="3243470" y="1487746"/>
                </a:cubicBezTo>
                <a:cubicBezTo>
                  <a:pt x="3245292" y="1485924"/>
                  <a:pt x="3245292" y="1484102"/>
                  <a:pt x="3245292" y="1482280"/>
                </a:cubicBezTo>
                <a:close/>
                <a:moveTo>
                  <a:pt x="672383" y="1482280"/>
                </a:moveTo>
                <a:cubicBezTo>
                  <a:pt x="670560" y="1484102"/>
                  <a:pt x="666916" y="1485924"/>
                  <a:pt x="672383" y="1487746"/>
                </a:cubicBezTo>
                <a:cubicBezTo>
                  <a:pt x="672383" y="1485924"/>
                  <a:pt x="672383" y="1484102"/>
                  <a:pt x="672383" y="1482280"/>
                </a:cubicBezTo>
                <a:close/>
                <a:moveTo>
                  <a:pt x="454434" y="1481739"/>
                </a:moveTo>
                <a:cubicBezTo>
                  <a:pt x="453437" y="1482565"/>
                  <a:pt x="452925" y="1484216"/>
                  <a:pt x="452583" y="1486152"/>
                </a:cubicBezTo>
                <a:lnTo>
                  <a:pt x="451256" y="1491819"/>
                </a:lnTo>
                <a:lnTo>
                  <a:pt x="446433" y="1495035"/>
                </a:lnTo>
                <a:cubicBezTo>
                  <a:pt x="447344" y="1495946"/>
                  <a:pt x="447800" y="1495035"/>
                  <a:pt x="448484" y="1493896"/>
                </a:cubicBezTo>
                <a:lnTo>
                  <a:pt x="451244" y="1491871"/>
                </a:lnTo>
                <a:lnTo>
                  <a:pt x="450231" y="1496198"/>
                </a:lnTo>
                <a:lnTo>
                  <a:pt x="448256" y="1496857"/>
                </a:lnTo>
                <a:cubicBezTo>
                  <a:pt x="450077" y="1498679"/>
                  <a:pt x="450077" y="1498679"/>
                  <a:pt x="451899" y="1498679"/>
                </a:cubicBezTo>
                <a:lnTo>
                  <a:pt x="442884" y="1500405"/>
                </a:lnTo>
                <a:lnTo>
                  <a:pt x="444611" y="1498679"/>
                </a:lnTo>
                <a:cubicBezTo>
                  <a:pt x="442789" y="1496857"/>
                  <a:pt x="440966" y="1496857"/>
                  <a:pt x="439145" y="1495035"/>
                </a:cubicBezTo>
                <a:cubicBezTo>
                  <a:pt x="437322" y="1498679"/>
                  <a:pt x="435500" y="1502324"/>
                  <a:pt x="431856" y="1502324"/>
                </a:cubicBezTo>
                <a:cubicBezTo>
                  <a:pt x="430944" y="1503235"/>
                  <a:pt x="431400" y="1504601"/>
                  <a:pt x="432311" y="1505740"/>
                </a:cubicBezTo>
                <a:lnTo>
                  <a:pt x="434468" y="1507127"/>
                </a:lnTo>
                <a:lnTo>
                  <a:pt x="431856" y="1509612"/>
                </a:lnTo>
                <a:cubicBezTo>
                  <a:pt x="431856" y="1513257"/>
                  <a:pt x="433678" y="1516901"/>
                  <a:pt x="435500" y="1520545"/>
                </a:cubicBezTo>
                <a:cubicBezTo>
                  <a:pt x="440966" y="1524190"/>
                  <a:pt x="446433" y="1522368"/>
                  <a:pt x="450077" y="1515079"/>
                </a:cubicBezTo>
                <a:cubicBezTo>
                  <a:pt x="448256" y="1513257"/>
                  <a:pt x="448256" y="1511434"/>
                  <a:pt x="444611" y="1511434"/>
                </a:cubicBezTo>
                <a:cubicBezTo>
                  <a:pt x="450077" y="1513257"/>
                  <a:pt x="459188" y="1511434"/>
                  <a:pt x="457367" y="1507790"/>
                </a:cubicBezTo>
                <a:cubicBezTo>
                  <a:pt x="457367" y="1504146"/>
                  <a:pt x="455544" y="1502324"/>
                  <a:pt x="453722" y="1500501"/>
                </a:cubicBezTo>
                <a:cubicBezTo>
                  <a:pt x="453722" y="1500501"/>
                  <a:pt x="455544" y="1500501"/>
                  <a:pt x="455544" y="1500501"/>
                </a:cubicBezTo>
                <a:cubicBezTo>
                  <a:pt x="457367" y="1498679"/>
                  <a:pt x="453722" y="1496857"/>
                  <a:pt x="453722" y="1495035"/>
                </a:cubicBezTo>
                <a:lnTo>
                  <a:pt x="452212" y="1495538"/>
                </a:lnTo>
                <a:lnTo>
                  <a:pt x="457821" y="1492074"/>
                </a:lnTo>
                <a:cubicBezTo>
                  <a:pt x="459643" y="1489112"/>
                  <a:pt x="460099" y="1485924"/>
                  <a:pt x="457367" y="1485924"/>
                </a:cubicBezTo>
                <a:cubicBezTo>
                  <a:pt x="457367" y="1485924"/>
                  <a:pt x="459188" y="1484102"/>
                  <a:pt x="459188" y="1482280"/>
                </a:cubicBezTo>
                <a:cubicBezTo>
                  <a:pt x="456910" y="1480914"/>
                  <a:pt x="455430" y="1480914"/>
                  <a:pt x="454434" y="1481739"/>
                </a:cubicBezTo>
                <a:close/>
                <a:moveTo>
                  <a:pt x="866946" y="1481406"/>
                </a:moveTo>
                <a:lnTo>
                  <a:pt x="853916" y="1486379"/>
                </a:lnTo>
                <a:lnTo>
                  <a:pt x="846205" y="1485773"/>
                </a:lnTo>
                <a:close/>
                <a:moveTo>
                  <a:pt x="841120" y="1480830"/>
                </a:moveTo>
                <a:lnTo>
                  <a:pt x="841845" y="1482280"/>
                </a:lnTo>
                <a:lnTo>
                  <a:pt x="840598" y="1480854"/>
                </a:lnTo>
                <a:close/>
                <a:moveTo>
                  <a:pt x="3265336" y="1480458"/>
                </a:moveTo>
                <a:cubicBezTo>
                  <a:pt x="3272625" y="1491391"/>
                  <a:pt x="3248937" y="1513257"/>
                  <a:pt x="3268980" y="1509612"/>
                </a:cubicBezTo>
                <a:cubicBezTo>
                  <a:pt x="3272625" y="1507790"/>
                  <a:pt x="3268980" y="1500501"/>
                  <a:pt x="3268980" y="1493213"/>
                </a:cubicBezTo>
                <a:cubicBezTo>
                  <a:pt x="3272625" y="1504146"/>
                  <a:pt x="3272625" y="1516901"/>
                  <a:pt x="3278091" y="1527834"/>
                </a:cubicBezTo>
                <a:cubicBezTo>
                  <a:pt x="3279913" y="1520545"/>
                  <a:pt x="3283558" y="1516901"/>
                  <a:pt x="3281736" y="1509612"/>
                </a:cubicBezTo>
                <a:cubicBezTo>
                  <a:pt x="3287202" y="1511434"/>
                  <a:pt x="3287202" y="1516901"/>
                  <a:pt x="3287202" y="1520545"/>
                </a:cubicBezTo>
                <a:cubicBezTo>
                  <a:pt x="3285380" y="1520545"/>
                  <a:pt x="3285380" y="1518723"/>
                  <a:pt x="3283558" y="1518723"/>
                </a:cubicBezTo>
                <a:cubicBezTo>
                  <a:pt x="3281736" y="1522368"/>
                  <a:pt x="3287202" y="1524190"/>
                  <a:pt x="3285380" y="1526012"/>
                </a:cubicBezTo>
                <a:cubicBezTo>
                  <a:pt x="3289024" y="1524190"/>
                  <a:pt x="3292669" y="1522368"/>
                  <a:pt x="3294491" y="1518723"/>
                </a:cubicBezTo>
                <a:cubicBezTo>
                  <a:pt x="3294491" y="1504146"/>
                  <a:pt x="3289024" y="1502324"/>
                  <a:pt x="3287202" y="1493213"/>
                </a:cubicBezTo>
                <a:cubicBezTo>
                  <a:pt x="3287202" y="1495035"/>
                  <a:pt x="3287202" y="1496857"/>
                  <a:pt x="3287202" y="1498679"/>
                </a:cubicBezTo>
                <a:cubicBezTo>
                  <a:pt x="3281736" y="1487746"/>
                  <a:pt x="3279913" y="1478635"/>
                  <a:pt x="3265336" y="1480458"/>
                </a:cubicBezTo>
                <a:close/>
                <a:moveTo>
                  <a:pt x="3059430" y="1480458"/>
                </a:moveTo>
                <a:cubicBezTo>
                  <a:pt x="3063075" y="1480458"/>
                  <a:pt x="3063075" y="1491391"/>
                  <a:pt x="3070363" y="1487746"/>
                </a:cubicBezTo>
                <a:lnTo>
                  <a:pt x="3072186" y="1482280"/>
                </a:lnTo>
                <a:lnTo>
                  <a:pt x="3072869" y="1485013"/>
                </a:lnTo>
                <a:lnTo>
                  <a:pt x="3068574" y="1494960"/>
                </a:lnTo>
                <a:close/>
                <a:moveTo>
                  <a:pt x="1171658" y="1480458"/>
                </a:moveTo>
                <a:lnTo>
                  <a:pt x="1172499" y="1485504"/>
                </a:lnTo>
                <a:lnTo>
                  <a:pt x="1171658" y="1487746"/>
                </a:lnTo>
                <a:lnTo>
                  <a:pt x="1173036" y="1488731"/>
                </a:lnTo>
                <a:lnTo>
                  <a:pt x="1173481" y="1491391"/>
                </a:lnTo>
                <a:cubicBezTo>
                  <a:pt x="1174391" y="1490479"/>
                  <a:pt x="1173937" y="1489568"/>
                  <a:pt x="1173253" y="1488885"/>
                </a:cubicBezTo>
                <a:lnTo>
                  <a:pt x="1173036" y="1488731"/>
                </a:lnTo>
                <a:lnTo>
                  <a:pt x="1172499" y="1485504"/>
                </a:lnTo>
                <a:lnTo>
                  <a:pt x="1173025" y="1484102"/>
                </a:lnTo>
                <a:cubicBezTo>
                  <a:pt x="1172569" y="1482735"/>
                  <a:pt x="1171658" y="1481369"/>
                  <a:pt x="1171658" y="1480458"/>
                </a:cubicBezTo>
                <a:close/>
                <a:moveTo>
                  <a:pt x="1009485" y="1480458"/>
                </a:moveTo>
                <a:lnTo>
                  <a:pt x="1015029" y="1484339"/>
                </a:lnTo>
                <a:lnTo>
                  <a:pt x="1009485" y="1481875"/>
                </a:lnTo>
                <a:close/>
                <a:moveTo>
                  <a:pt x="572163" y="1480458"/>
                </a:moveTo>
                <a:cubicBezTo>
                  <a:pt x="568519" y="1478635"/>
                  <a:pt x="561230" y="1485924"/>
                  <a:pt x="563052" y="1489568"/>
                </a:cubicBezTo>
                <a:cubicBezTo>
                  <a:pt x="568519" y="1489568"/>
                  <a:pt x="572163" y="1484102"/>
                  <a:pt x="572163" y="1480458"/>
                </a:cubicBezTo>
                <a:close/>
                <a:moveTo>
                  <a:pt x="513853" y="1480458"/>
                </a:moveTo>
                <a:cubicBezTo>
                  <a:pt x="517498" y="1485924"/>
                  <a:pt x="515676" y="1491391"/>
                  <a:pt x="517498" y="1495035"/>
                </a:cubicBezTo>
                <a:cubicBezTo>
                  <a:pt x="521142" y="1489568"/>
                  <a:pt x="515676" y="1484102"/>
                  <a:pt x="515676" y="1480458"/>
                </a:cubicBezTo>
                <a:cubicBezTo>
                  <a:pt x="515676" y="1478635"/>
                  <a:pt x="513853" y="1480458"/>
                  <a:pt x="513853" y="1480458"/>
                </a:cubicBezTo>
                <a:close/>
                <a:moveTo>
                  <a:pt x="504743" y="1480458"/>
                </a:moveTo>
                <a:cubicBezTo>
                  <a:pt x="502920" y="1484102"/>
                  <a:pt x="501098" y="1485924"/>
                  <a:pt x="506565" y="1482280"/>
                </a:cubicBezTo>
                <a:cubicBezTo>
                  <a:pt x="506565" y="1482280"/>
                  <a:pt x="504743" y="1480458"/>
                  <a:pt x="504743" y="1480458"/>
                </a:cubicBezTo>
                <a:close/>
                <a:moveTo>
                  <a:pt x="444611" y="1480458"/>
                </a:moveTo>
                <a:cubicBezTo>
                  <a:pt x="440966" y="1478635"/>
                  <a:pt x="440966" y="1484102"/>
                  <a:pt x="437322" y="1485924"/>
                </a:cubicBezTo>
                <a:cubicBezTo>
                  <a:pt x="439145" y="1487746"/>
                  <a:pt x="442789" y="1484102"/>
                  <a:pt x="444611" y="1484102"/>
                </a:cubicBezTo>
                <a:cubicBezTo>
                  <a:pt x="440966" y="1480458"/>
                  <a:pt x="442789" y="1484102"/>
                  <a:pt x="444611" y="1480458"/>
                </a:cubicBezTo>
                <a:close/>
                <a:moveTo>
                  <a:pt x="431173" y="1480230"/>
                </a:moveTo>
                <a:cubicBezTo>
                  <a:pt x="429123" y="1480002"/>
                  <a:pt x="427300" y="1480458"/>
                  <a:pt x="426389" y="1482280"/>
                </a:cubicBezTo>
                <a:cubicBezTo>
                  <a:pt x="424567" y="1482280"/>
                  <a:pt x="422745" y="1484102"/>
                  <a:pt x="422745" y="1485924"/>
                </a:cubicBezTo>
                <a:cubicBezTo>
                  <a:pt x="428211" y="1489568"/>
                  <a:pt x="431856" y="1482280"/>
                  <a:pt x="437322" y="1482280"/>
                </a:cubicBezTo>
                <a:cubicBezTo>
                  <a:pt x="435500" y="1481369"/>
                  <a:pt x="433223" y="1480458"/>
                  <a:pt x="431173" y="1480230"/>
                </a:cubicBezTo>
                <a:close/>
                <a:moveTo>
                  <a:pt x="873802" y="1478790"/>
                </a:moveTo>
                <a:lnTo>
                  <a:pt x="876986" y="1479293"/>
                </a:lnTo>
                <a:lnTo>
                  <a:pt x="866946" y="1481406"/>
                </a:lnTo>
                <a:close/>
                <a:moveTo>
                  <a:pt x="3301780" y="1478635"/>
                </a:moveTo>
                <a:cubicBezTo>
                  <a:pt x="3296313" y="1480458"/>
                  <a:pt x="3301780" y="1484102"/>
                  <a:pt x="3303602" y="1489568"/>
                </a:cubicBezTo>
                <a:cubicBezTo>
                  <a:pt x="3305424" y="1487746"/>
                  <a:pt x="3303602" y="1480458"/>
                  <a:pt x="3301780" y="1478635"/>
                </a:cubicBezTo>
                <a:close/>
                <a:moveTo>
                  <a:pt x="1211747" y="1478635"/>
                </a:moveTo>
                <a:cubicBezTo>
                  <a:pt x="1208102" y="1482280"/>
                  <a:pt x="1213568" y="1485924"/>
                  <a:pt x="1209925" y="1489568"/>
                </a:cubicBezTo>
                <a:cubicBezTo>
                  <a:pt x="1211747" y="1489568"/>
                  <a:pt x="1215390" y="1484102"/>
                  <a:pt x="1215390" y="1482280"/>
                </a:cubicBezTo>
                <a:cubicBezTo>
                  <a:pt x="1213568" y="1480458"/>
                  <a:pt x="1213568" y="1480458"/>
                  <a:pt x="1211747" y="1478635"/>
                </a:cubicBezTo>
                <a:close/>
                <a:moveTo>
                  <a:pt x="1002196" y="1478635"/>
                </a:moveTo>
                <a:lnTo>
                  <a:pt x="1009485" y="1481875"/>
                </a:lnTo>
                <a:lnTo>
                  <a:pt x="1009485" y="1484102"/>
                </a:lnTo>
                <a:cubicBezTo>
                  <a:pt x="1007663" y="1482280"/>
                  <a:pt x="1005840" y="1478635"/>
                  <a:pt x="1002196" y="1478635"/>
                </a:cubicBezTo>
                <a:close/>
                <a:moveTo>
                  <a:pt x="880111" y="1478635"/>
                </a:moveTo>
                <a:cubicBezTo>
                  <a:pt x="880111" y="1481369"/>
                  <a:pt x="878743" y="1480457"/>
                  <a:pt x="877149" y="1479319"/>
                </a:cubicBezTo>
                <a:lnTo>
                  <a:pt x="876986" y="1479293"/>
                </a:lnTo>
                <a:close/>
                <a:moveTo>
                  <a:pt x="643228" y="1478635"/>
                </a:moveTo>
                <a:cubicBezTo>
                  <a:pt x="639583" y="1485924"/>
                  <a:pt x="641407" y="1493213"/>
                  <a:pt x="639583" y="1502324"/>
                </a:cubicBezTo>
                <a:cubicBezTo>
                  <a:pt x="641407" y="1505968"/>
                  <a:pt x="639583" y="1507790"/>
                  <a:pt x="639583" y="1509612"/>
                </a:cubicBezTo>
                <a:cubicBezTo>
                  <a:pt x="643228" y="1505968"/>
                  <a:pt x="645050" y="1500501"/>
                  <a:pt x="648694" y="1496857"/>
                </a:cubicBezTo>
                <a:cubicBezTo>
                  <a:pt x="646872" y="1496857"/>
                  <a:pt x="643228" y="1500501"/>
                  <a:pt x="639583" y="1502324"/>
                </a:cubicBezTo>
                <a:cubicBezTo>
                  <a:pt x="645050" y="1498679"/>
                  <a:pt x="650516" y="1495035"/>
                  <a:pt x="652339" y="1491391"/>
                </a:cubicBezTo>
                <a:cubicBezTo>
                  <a:pt x="650516" y="1487746"/>
                  <a:pt x="648694" y="1485924"/>
                  <a:pt x="645050" y="1485924"/>
                </a:cubicBezTo>
                <a:cubicBezTo>
                  <a:pt x="645050" y="1482280"/>
                  <a:pt x="645050" y="1480458"/>
                  <a:pt x="643228" y="1478635"/>
                </a:cubicBezTo>
                <a:close/>
                <a:moveTo>
                  <a:pt x="884372" y="1477802"/>
                </a:moveTo>
                <a:lnTo>
                  <a:pt x="872822" y="1484102"/>
                </a:lnTo>
                <a:cubicBezTo>
                  <a:pt x="874644" y="1482280"/>
                  <a:pt x="878288" y="1480458"/>
                  <a:pt x="880111" y="1478635"/>
                </a:cubicBezTo>
                <a:cubicBezTo>
                  <a:pt x="881933" y="1478635"/>
                  <a:pt x="881933" y="1478635"/>
                  <a:pt x="881933" y="1478635"/>
                </a:cubicBezTo>
                <a:close/>
                <a:moveTo>
                  <a:pt x="3309068" y="1476813"/>
                </a:moveTo>
                <a:cubicBezTo>
                  <a:pt x="3314535" y="1484102"/>
                  <a:pt x="3320001" y="1502324"/>
                  <a:pt x="3323646" y="1495035"/>
                </a:cubicBezTo>
                <a:cubicBezTo>
                  <a:pt x="3327290" y="1493213"/>
                  <a:pt x="3325468" y="1485924"/>
                  <a:pt x="3323646" y="1480458"/>
                </a:cubicBezTo>
                <a:cubicBezTo>
                  <a:pt x="3316357" y="1484102"/>
                  <a:pt x="3314535" y="1476813"/>
                  <a:pt x="3309068" y="1476813"/>
                </a:cubicBezTo>
                <a:close/>
                <a:moveTo>
                  <a:pt x="3068541" y="1476813"/>
                </a:moveTo>
                <a:lnTo>
                  <a:pt x="3071144" y="1478114"/>
                </a:lnTo>
                <a:lnTo>
                  <a:pt x="3072186" y="1482280"/>
                </a:lnTo>
                <a:close/>
                <a:moveTo>
                  <a:pt x="821801" y="1476813"/>
                </a:moveTo>
                <a:cubicBezTo>
                  <a:pt x="814512" y="1478635"/>
                  <a:pt x="818156" y="1484102"/>
                  <a:pt x="819979" y="1487746"/>
                </a:cubicBezTo>
                <a:cubicBezTo>
                  <a:pt x="818156" y="1487746"/>
                  <a:pt x="818156" y="1485924"/>
                  <a:pt x="816334" y="1484102"/>
                </a:cubicBezTo>
                <a:cubicBezTo>
                  <a:pt x="810868" y="1484102"/>
                  <a:pt x="814512" y="1491391"/>
                  <a:pt x="810868" y="1493213"/>
                </a:cubicBezTo>
                <a:cubicBezTo>
                  <a:pt x="816334" y="1495035"/>
                  <a:pt x="819979" y="1495035"/>
                  <a:pt x="821801" y="1491391"/>
                </a:cubicBezTo>
                <a:cubicBezTo>
                  <a:pt x="819979" y="1487746"/>
                  <a:pt x="827267" y="1484102"/>
                  <a:pt x="821801" y="1476813"/>
                </a:cubicBezTo>
                <a:close/>
                <a:moveTo>
                  <a:pt x="705182" y="1476813"/>
                </a:moveTo>
                <a:cubicBezTo>
                  <a:pt x="704271" y="1477724"/>
                  <a:pt x="703815" y="1478635"/>
                  <a:pt x="703360" y="1478863"/>
                </a:cubicBezTo>
                <a:lnTo>
                  <a:pt x="702805" y="1478240"/>
                </a:lnTo>
                <a:close/>
                <a:moveTo>
                  <a:pt x="590385" y="1476813"/>
                </a:moveTo>
                <a:cubicBezTo>
                  <a:pt x="590385" y="1480458"/>
                  <a:pt x="588562" y="1484102"/>
                  <a:pt x="588562" y="1489568"/>
                </a:cubicBezTo>
                <a:cubicBezTo>
                  <a:pt x="588562" y="1489568"/>
                  <a:pt x="590385" y="1487746"/>
                  <a:pt x="590385" y="1487746"/>
                </a:cubicBezTo>
                <a:cubicBezTo>
                  <a:pt x="592207" y="1484102"/>
                  <a:pt x="592207" y="1480458"/>
                  <a:pt x="590385" y="1476813"/>
                </a:cubicBezTo>
                <a:close/>
                <a:moveTo>
                  <a:pt x="526381" y="1476358"/>
                </a:moveTo>
                <a:cubicBezTo>
                  <a:pt x="524331" y="1476358"/>
                  <a:pt x="522054" y="1477725"/>
                  <a:pt x="521142" y="1480458"/>
                </a:cubicBezTo>
                <a:cubicBezTo>
                  <a:pt x="521142" y="1480458"/>
                  <a:pt x="519320" y="1480458"/>
                  <a:pt x="517498" y="1478635"/>
                </a:cubicBezTo>
                <a:cubicBezTo>
                  <a:pt x="517498" y="1484102"/>
                  <a:pt x="521142" y="1489568"/>
                  <a:pt x="521142" y="1493213"/>
                </a:cubicBezTo>
                <a:cubicBezTo>
                  <a:pt x="522964" y="1493213"/>
                  <a:pt x="524786" y="1493213"/>
                  <a:pt x="526609" y="1491391"/>
                </a:cubicBezTo>
                <a:cubicBezTo>
                  <a:pt x="524786" y="1491391"/>
                  <a:pt x="526609" y="1487746"/>
                  <a:pt x="524786" y="1484102"/>
                </a:cubicBezTo>
                <a:cubicBezTo>
                  <a:pt x="526609" y="1482280"/>
                  <a:pt x="526609" y="1485924"/>
                  <a:pt x="528431" y="1487746"/>
                </a:cubicBezTo>
                <a:cubicBezTo>
                  <a:pt x="532075" y="1484102"/>
                  <a:pt x="526609" y="1484102"/>
                  <a:pt x="524786" y="1480458"/>
                </a:cubicBezTo>
                <a:cubicBezTo>
                  <a:pt x="526609" y="1476813"/>
                  <a:pt x="528431" y="1482280"/>
                  <a:pt x="530253" y="1480458"/>
                </a:cubicBezTo>
                <a:cubicBezTo>
                  <a:pt x="530253" y="1477725"/>
                  <a:pt x="528431" y="1476358"/>
                  <a:pt x="526381" y="1476358"/>
                </a:cubicBezTo>
                <a:close/>
                <a:moveTo>
                  <a:pt x="379468" y="1475902"/>
                </a:moveTo>
                <a:lnTo>
                  <a:pt x="382667" y="1476251"/>
                </a:lnTo>
                <a:lnTo>
                  <a:pt x="382429" y="1476358"/>
                </a:lnTo>
                <a:lnTo>
                  <a:pt x="370697" y="1478491"/>
                </a:lnTo>
                <a:close/>
                <a:moveTo>
                  <a:pt x="768957" y="1475047"/>
                </a:moveTo>
                <a:cubicBezTo>
                  <a:pt x="768957" y="1478692"/>
                  <a:pt x="772602" y="1480514"/>
                  <a:pt x="776246" y="1482336"/>
                </a:cubicBezTo>
                <a:cubicBezTo>
                  <a:pt x="778068" y="1482336"/>
                  <a:pt x="778068" y="1482336"/>
                  <a:pt x="778068" y="1482336"/>
                </a:cubicBezTo>
                <a:cubicBezTo>
                  <a:pt x="778068" y="1485980"/>
                  <a:pt x="779890" y="1489625"/>
                  <a:pt x="781712" y="1493269"/>
                </a:cubicBezTo>
                <a:cubicBezTo>
                  <a:pt x="779890" y="1491447"/>
                  <a:pt x="778068" y="1491447"/>
                  <a:pt x="776246" y="1489625"/>
                </a:cubicBezTo>
                <a:cubicBezTo>
                  <a:pt x="774424" y="1487803"/>
                  <a:pt x="776246" y="1484158"/>
                  <a:pt x="772602" y="1482336"/>
                </a:cubicBezTo>
                <a:cubicBezTo>
                  <a:pt x="768957" y="1484158"/>
                  <a:pt x="772602" y="1491447"/>
                  <a:pt x="768957" y="1493269"/>
                </a:cubicBezTo>
                <a:cubicBezTo>
                  <a:pt x="768957" y="1487803"/>
                  <a:pt x="770779" y="1480514"/>
                  <a:pt x="768957" y="1475047"/>
                </a:cubicBezTo>
                <a:close/>
                <a:moveTo>
                  <a:pt x="3372844" y="1474991"/>
                </a:moveTo>
                <a:cubicBezTo>
                  <a:pt x="3371022" y="1482280"/>
                  <a:pt x="3372844" y="1491391"/>
                  <a:pt x="3376489" y="1493213"/>
                </a:cubicBezTo>
                <a:cubicBezTo>
                  <a:pt x="3378311" y="1487746"/>
                  <a:pt x="3372844" y="1484102"/>
                  <a:pt x="3372844" y="1474991"/>
                </a:cubicBezTo>
                <a:close/>
                <a:moveTo>
                  <a:pt x="3070363" y="1474991"/>
                </a:moveTo>
                <a:cubicBezTo>
                  <a:pt x="3070363" y="1476813"/>
                  <a:pt x="3070363" y="1476813"/>
                  <a:pt x="3072186" y="1478635"/>
                </a:cubicBezTo>
                <a:lnTo>
                  <a:pt x="3071144" y="1478114"/>
                </a:lnTo>
                <a:close/>
                <a:moveTo>
                  <a:pt x="1193525" y="1474991"/>
                </a:moveTo>
                <a:cubicBezTo>
                  <a:pt x="1195346" y="1476813"/>
                  <a:pt x="1195346" y="1474991"/>
                  <a:pt x="1197169" y="1476813"/>
                </a:cubicBezTo>
                <a:lnTo>
                  <a:pt x="1196837" y="1476813"/>
                </a:lnTo>
                <a:close/>
                <a:moveTo>
                  <a:pt x="883755" y="1474991"/>
                </a:moveTo>
                <a:lnTo>
                  <a:pt x="873802" y="1478790"/>
                </a:lnTo>
                <a:lnTo>
                  <a:pt x="872822" y="1478635"/>
                </a:lnTo>
                <a:cubicBezTo>
                  <a:pt x="878288" y="1474991"/>
                  <a:pt x="880111" y="1474991"/>
                  <a:pt x="883755" y="1474991"/>
                </a:cubicBezTo>
                <a:close/>
                <a:moveTo>
                  <a:pt x="825445" y="1474991"/>
                </a:moveTo>
                <a:cubicBezTo>
                  <a:pt x="825445" y="1480458"/>
                  <a:pt x="829089" y="1484102"/>
                  <a:pt x="829089" y="1487746"/>
                </a:cubicBezTo>
                <a:cubicBezTo>
                  <a:pt x="834556" y="1485924"/>
                  <a:pt x="829089" y="1478635"/>
                  <a:pt x="825445" y="1474991"/>
                </a:cubicBezTo>
                <a:close/>
                <a:moveTo>
                  <a:pt x="677849" y="1474991"/>
                </a:moveTo>
                <a:cubicBezTo>
                  <a:pt x="679671" y="1476813"/>
                  <a:pt x="677849" y="1480002"/>
                  <a:pt x="677166" y="1482507"/>
                </a:cubicBezTo>
                <a:lnTo>
                  <a:pt x="679121" y="1483594"/>
                </a:lnTo>
                <a:lnTo>
                  <a:pt x="677849" y="1484102"/>
                </a:lnTo>
                <a:cubicBezTo>
                  <a:pt x="681493" y="1485924"/>
                  <a:pt x="685138" y="1484102"/>
                  <a:pt x="683316" y="1485924"/>
                </a:cubicBezTo>
                <a:lnTo>
                  <a:pt x="679121" y="1483594"/>
                </a:lnTo>
                <a:lnTo>
                  <a:pt x="686960" y="1480458"/>
                </a:lnTo>
                <a:cubicBezTo>
                  <a:pt x="686960" y="1474991"/>
                  <a:pt x="681493" y="1473169"/>
                  <a:pt x="677849" y="1474991"/>
                </a:cubicBezTo>
                <a:close/>
                <a:moveTo>
                  <a:pt x="572163" y="1474991"/>
                </a:moveTo>
                <a:cubicBezTo>
                  <a:pt x="570341" y="1473169"/>
                  <a:pt x="566697" y="1476813"/>
                  <a:pt x="568519" y="1478635"/>
                </a:cubicBezTo>
                <a:cubicBezTo>
                  <a:pt x="570341" y="1476813"/>
                  <a:pt x="570341" y="1476813"/>
                  <a:pt x="572163" y="1474991"/>
                </a:cubicBezTo>
                <a:close/>
                <a:moveTo>
                  <a:pt x="568519" y="1474991"/>
                </a:moveTo>
                <a:cubicBezTo>
                  <a:pt x="564874" y="1473169"/>
                  <a:pt x="563052" y="1478635"/>
                  <a:pt x="559408" y="1480458"/>
                </a:cubicBezTo>
                <a:cubicBezTo>
                  <a:pt x="561230" y="1482280"/>
                  <a:pt x="564874" y="1478635"/>
                  <a:pt x="568519" y="1474991"/>
                </a:cubicBezTo>
                <a:close/>
                <a:moveTo>
                  <a:pt x="3330376" y="1474578"/>
                </a:moveTo>
                <a:lnTo>
                  <a:pt x="3331162" y="1476586"/>
                </a:lnTo>
                <a:lnTo>
                  <a:pt x="3329637" y="1479467"/>
                </a:lnTo>
                <a:lnTo>
                  <a:pt x="3329340" y="1478408"/>
                </a:lnTo>
                <a:cubicBezTo>
                  <a:pt x="3328999" y="1477383"/>
                  <a:pt x="3328942" y="1476301"/>
                  <a:pt x="3329654" y="1475133"/>
                </a:cubicBezTo>
                <a:close/>
                <a:moveTo>
                  <a:pt x="584919" y="1473169"/>
                </a:moveTo>
                <a:cubicBezTo>
                  <a:pt x="579452" y="1474991"/>
                  <a:pt x="575808" y="1485924"/>
                  <a:pt x="573985" y="1491391"/>
                </a:cubicBezTo>
                <a:cubicBezTo>
                  <a:pt x="575808" y="1496857"/>
                  <a:pt x="579452" y="1489568"/>
                  <a:pt x="581274" y="1493213"/>
                </a:cubicBezTo>
                <a:cubicBezTo>
                  <a:pt x="584919" y="1487746"/>
                  <a:pt x="583096" y="1480458"/>
                  <a:pt x="584919" y="1473169"/>
                </a:cubicBezTo>
                <a:close/>
                <a:moveTo>
                  <a:pt x="491987" y="1473169"/>
                </a:moveTo>
                <a:cubicBezTo>
                  <a:pt x="488343" y="1473169"/>
                  <a:pt x="484700" y="1478635"/>
                  <a:pt x="481054" y="1484102"/>
                </a:cubicBezTo>
                <a:cubicBezTo>
                  <a:pt x="484700" y="1484102"/>
                  <a:pt x="486521" y="1480458"/>
                  <a:pt x="490165" y="1480458"/>
                </a:cubicBezTo>
                <a:cubicBezTo>
                  <a:pt x="491987" y="1478635"/>
                  <a:pt x="490165" y="1474991"/>
                  <a:pt x="491987" y="1473169"/>
                </a:cubicBezTo>
                <a:close/>
                <a:moveTo>
                  <a:pt x="1213568" y="1471347"/>
                </a:moveTo>
                <a:lnTo>
                  <a:pt x="1214769" y="1472947"/>
                </a:lnTo>
                <a:lnTo>
                  <a:pt x="1214707" y="1472941"/>
                </a:lnTo>
                <a:cubicBezTo>
                  <a:pt x="1214023" y="1473169"/>
                  <a:pt x="1213568" y="1473169"/>
                  <a:pt x="1213568" y="1471347"/>
                </a:cubicBezTo>
                <a:close/>
                <a:moveTo>
                  <a:pt x="692426" y="1471347"/>
                </a:moveTo>
                <a:cubicBezTo>
                  <a:pt x="690604" y="1473169"/>
                  <a:pt x="692426" y="1476813"/>
                  <a:pt x="696071" y="1473169"/>
                </a:cubicBezTo>
                <a:cubicBezTo>
                  <a:pt x="694249" y="1471347"/>
                  <a:pt x="694249" y="1473169"/>
                  <a:pt x="692426" y="1471347"/>
                </a:cubicBezTo>
                <a:close/>
                <a:moveTo>
                  <a:pt x="645050" y="1471347"/>
                </a:moveTo>
                <a:cubicBezTo>
                  <a:pt x="641407" y="1476813"/>
                  <a:pt x="650516" y="1484102"/>
                  <a:pt x="652339" y="1487746"/>
                </a:cubicBezTo>
                <a:cubicBezTo>
                  <a:pt x="657805" y="1484102"/>
                  <a:pt x="661449" y="1480458"/>
                  <a:pt x="661449" y="1476813"/>
                </a:cubicBezTo>
                <a:cubicBezTo>
                  <a:pt x="655983" y="1473169"/>
                  <a:pt x="650516" y="1473169"/>
                  <a:pt x="645050" y="1471347"/>
                </a:cubicBezTo>
                <a:close/>
                <a:moveTo>
                  <a:pt x="834556" y="1469525"/>
                </a:moveTo>
                <a:cubicBezTo>
                  <a:pt x="834556" y="1471347"/>
                  <a:pt x="838200" y="1474991"/>
                  <a:pt x="840022" y="1471347"/>
                </a:cubicBezTo>
                <a:cubicBezTo>
                  <a:pt x="838200" y="1469525"/>
                  <a:pt x="836378" y="1469525"/>
                  <a:pt x="834556" y="1469525"/>
                </a:cubicBezTo>
                <a:close/>
                <a:moveTo>
                  <a:pt x="471943" y="1469525"/>
                </a:moveTo>
                <a:cubicBezTo>
                  <a:pt x="459188" y="1474991"/>
                  <a:pt x="464655" y="1487746"/>
                  <a:pt x="459188" y="1495035"/>
                </a:cubicBezTo>
                <a:cubicBezTo>
                  <a:pt x="459188" y="1498679"/>
                  <a:pt x="462832" y="1504146"/>
                  <a:pt x="466478" y="1504146"/>
                </a:cubicBezTo>
                <a:cubicBezTo>
                  <a:pt x="468299" y="1500501"/>
                  <a:pt x="468299" y="1495035"/>
                  <a:pt x="464655" y="1491391"/>
                </a:cubicBezTo>
                <a:cubicBezTo>
                  <a:pt x="464655" y="1491391"/>
                  <a:pt x="466478" y="1493213"/>
                  <a:pt x="466478" y="1493213"/>
                </a:cubicBezTo>
                <a:cubicBezTo>
                  <a:pt x="468299" y="1489568"/>
                  <a:pt x="464655" y="1489568"/>
                  <a:pt x="464655" y="1482280"/>
                </a:cubicBezTo>
                <a:cubicBezTo>
                  <a:pt x="466478" y="1482280"/>
                  <a:pt x="466478" y="1485924"/>
                  <a:pt x="468299" y="1485924"/>
                </a:cubicBezTo>
                <a:cubicBezTo>
                  <a:pt x="470121" y="1480458"/>
                  <a:pt x="473766" y="1474991"/>
                  <a:pt x="471943" y="1469525"/>
                </a:cubicBezTo>
                <a:close/>
                <a:moveTo>
                  <a:pt x="1184414" y="1467702"/>
                </a:moveTo>
                <a:cubicBezTo>
                  <a:pt x="1178947" y="1469525"/>
                  <a:pt x="1182592" y="1478635"/>
                  <a:pt x="1186236" y="1480458"/>
                </a:cubicBezTo>
                <a:cubicBezTo>
                  <a:pt x="1188058" y="1478635"/>
                  <a:pt x="1186236" y="1476813"/>
                  <a:pt x="1188058" y="1474991"/>
                </a:cubicBezTo>
                <a:cubicBezTo>
                  <a:pt x="1184414" y="1473169"/>
                  <a:pt x="1188058" y="1471347"/>
                  <a:pt x="1184414" y="1467702"/>
                </a:cubicBezTo>
                <a:close/>
                <a:moveTo>
                  <a:pt x="747092" y="1467702"/>
                </a:moveTo>
                <a:cubicBezTo>
                  <a:pt x="743447" y="1467702"/>
                  <a:pt x="743447" y="1471347"/>
                  <a:pt x="747092" y="1473169"/>
                </a:cubicBezTo>
                <a:cubicBezTo>
                  <a:pt x="750737" y="1471347"/>
                  <a:pt x="745269" y="1469525"/>
                  <a:pt x="747092" y="1467702"/>
                </a:cubicBezTo>
                <a:close/>
                <a:moveTo>
                  <a:pt x="546653" y="1467702"/>
                </a:moveTo>
                <a:cubicBezTo>
                  <a:pt x="543008" y="1471347"/>
                  <a:pt x="539364" y="1474991"/>
                  <a:pt x="543008" y="1478635"/>
                </a:cubicBezTo>
                <a:cubicBezTo>
                  <a:pt x="546653" y="1476813"/>
                  <a:pt x="553941" y="1467702"/>
                  <a:pt x="546653" y="1467702"/>
                </a:cubicBezTo>
                <a:close/>
                <a:moveTo>
                  <a:pt x="411584" y="1467247"/>
                </a:moveTo>
                <a:cubicBezTo>
                  <a:pt x="409990" y="1467247"/>
                  <a:pt x="408167" y="1467702"/>
                  <a:pt x="406345" y="1467702"/>
                </a:cubicBezTo>
                <a:cubicBezTo>
                  <a:pt x="404523" y="1473169"/>
                  <a:pt x="411812" y="1473169"/>
                  <a:pt x="415456" y="1474991"/>
                </a:cubicBezTo>
                <a:cubicBezTo>
                  <a:pt x="417278" y="1473169"/>
                  <a:pt x="411812" y="1471347"/>
                  <a:pt x="415456" y="1469525"/>
                </a:cubicBezTo>
                <a:cubicBezTo>
                  <a:pt x="414545" y="1467703"/>
                  <a:pt x="413179" y="1467247"/>
                  <a:pt x="411584" y="1467247"/>
                </a:cubicBezTo>
                <a:close/>
                <a:moveTo>
                  <a:pt x="659627" y="1466335"/>
                </a:moveTo>
                <a:cubicBezTo>
                  <a:pt x="658260" y="1465880"/>
                  <a:pt x="656894" y="1465880"/>
                  <a:pt x="655983" y="1467702"/>
                </a:cubicBezTo>
                <a:cubicBezTo>
                  <a:pt x="659627" y="1469525"/>
                  <a:pt x="661449" y="1469525"/>
                  <a:pt x="663272" y="1467702"/>
                </a:cubicBezTo>
                <a:cubicBezTo>
                  <a:pt x="662360" y="1467702"/>
                  <a:pt x="660994" y="1466791"/>
                  <a:pt x="659627" y="1466335"/>
                </a:cubicBezTo>
                <a:close/>
                <a:moveTo>
                  <a:pt x="3399332" y="1466253"/>
                </a:moveTo>
                <a:lnTo>
                  <a:pt x="3400177" y="1467702"/>
                </a:lnTo>
                <a:lnTo>
                  <a:pt x="3398675" y="1467228"/>
                </a:lnTo>
                <a:close/>
                <a:moveTo>
                  <a:pt x="1158903" y="1465880"/>
                </a:moveTo>
                <a:cubicBezTo>
                  <a:pt x="1158903" y="1467702"/>
                  <a:pt x="1160725" y="1469525"/>
                  <a:pt x="1162547" y="1471347"/>
                </a:cubicBezTo>
                <a:cubicBezTo>
                  <a:pt x="1164370" y="1467702"/>
                  <a:pt x="1160725" y="1469525"/>
                  <a:pt x="1158903" y="1465880"/>
                </a:cubicBezTo>
                <a:close/>
                <a:moveTo>
                  <a:pt x="464655" y="1465880"/>
                </a:moveTo>
                <a:cubicBezTo>
                  <a:pt x="459188" y="1465880"/>
                  <a:pt x="461010" y="1469525"/>
                  <a:pt x="457367" y="1471347"/>
                </a:cubicBezTo>
                <a:cubicBezTo>
                  <a:pt x="461010" y="1473169"/>
                  <a:pt x="464655" y="1467702"/>
                  <a:pt x="464655" y="1465880"/>
                </a:cubicBezTo>
                <a:close/>
                <a:moveTo>
                  <a:pt x="420923" y="1465880"/>
                </a:moveTo>
                <a:cubicBezTo>
                  <a:pt x="417278" y="1467702"/>
                  <a:pt x="422745" y="1469525"/>
                  <a:pt x="424567" y="1467702"/>
                </a:cubicBezTo>
                <a:cubicBezTo>
                  <a:pt x="422745" y="1465880"/>
                  <a:pt x="420923" y="1467702"/>
                  <a:pt x="420923" y="1465880"/>
                </a:cubicBezTo>
                <a:close/>
                <a:moveTo>
                  <a:pt x="631754" y="1464571"/>
                </a:moveTo>
                <a:cubicBezTo>
                  <a:pt x="628764" y="1466792"/>
                  <a:pt x="629106" y="1477724"/>
                  <a:pt x="630472" y="1480458"/>
                </a:cubicBezTo>
                <a:cubicBezTo>
                  <a:pt x="628650" y="1480458"/>
                  <a:pt x="626828" y="1480458"/>
                  <a:pt x="625006" y="1482280"/>
                </a:cubicBezTo>
                <a:cubicBezTo>
                  <a:pt x="626828" y="1478635"/>
                  <a:pt x="628650" y="1474991"/>
                  <a:pt x="626828" y="1469525"/>
                </a:cubicBezTo>
                <a:cubicBezTo>
                  <a:pt x="617717" y="1478635"/>
                  <a:pt x="617717" y="1487746"/>
                  <a:pt x="615895" y="1498679"/>
                </a:cubicBezTo>
                <a:cubicBezTo>
                  <a:pt x="619539" y="1511434"/>
                  <a:pt x="628650" y="1509612"/>
                  <a:pt x="637761" y="1500501"/>
                </a:cubicBezTo>
                <a:cubicBezTo>
                  <a:pt x="634117" y="1487746"/>
                  <a:pt x="645050" y="1474991"/>
                  <a:pt x="635939" y="1465880"/>
                </a:cubicBezTo>
                <a:cubicBezTo>
                  <a:pt x="634117" y="1464058"/>
                  <a:pt x="632750" y="1463830"/>
                  <a:pt x="631754" y="1464571"/>
                </a:cubicBezTo>
                <a:close/>
                <a:moveTo>
                  <a:pt x="3223426" y="1464058"/>
                </a:moveTo>
                <a:cubicBezTo>
                  <a:pt x="3219782" y="1464058"/>
                  <a:pt x="3217960" y="1464058"/>
                  <a:pt x="3216137" y="1465880"/>
                </a:cubicBezTo>
                <a:cubicBezTo>
                  <a:pt x="3212493" y="1474991"/>
                  <a:pt x="3212493" y="1464058"/>
                  <a:pt x="3219782" y="1482280"/>
                </a:cubicBezTo>
                <a:lnTo>
                  <a:pt x="3205204" y="1482280"/>
                </a:lnTo>
                <a:cubicBezTo>
                  <a:pt x="3205204" y="1485924"/>
                  <a:pt x="3207027" y="1489568"/>
                  <a:pt x="3208849" y="1491391"/>
                </a:cubicBezTo>
                <a:cubicBezTo>
                  <a:pt x="3219782" y="1495035"/>
                  <a:pt x="3223426" y="1487746"/>
                  <a:pt x="3223426" y="1476813"/>
                </a:cubicBezTo>
                <a:cubicBezTo>
                  <a:pt x="3223426" y="1476813"/>
                  <a:pt x="3227071" y="1474991"/>
                  <a:pt x="3228893" y="1474991"/>
                </a:cubicBezTo>
                <a:cubicBezTo>
                  <a:pt x="3225248" y="1471347"/>
                  <a:pt x="3219782" y="1469525"/>
                  <a:pt x="3223426" y="1464058"/>
                </a:cubicBezTo>
                <a:close/>
                <a:moveTo>
                  <a:pt x="825445" y="1464058"/>
                </a:moveTo>
                <a:cubicBezTo>
                  <a:pt x="821801" y="1465880"/>
                  <a:pt x="827267" y="1467702"/>
                  <a:pt x="827267" y="1471347"/>
                </a:cubicBezTo>
                <a:cubicBezTo>
                  <a:pt x="829089" y="1471347"/>
                  <a:pt x="830912" y="1471347"/>
                  <a:pt x="832734" y="1473169"/>
                </a:cubicBezTo>
                <a:cubicBezTo>
                  <a:pt x="834556" y="1467702"/>
                  <a:pt x="827267" y="1467702"/>
                  <a:pt x="825445" y="1464058"/>
                </a:cubicBezTo>
                <a:close/>
                <a:moveTo>
                  <a:pt x="816334" y="1464058"/>
                </a:moveTo>
                <a:lnTo>
                  <a:pt x="816334" y="1476813"/>
                </a:lnTo>
                <a:cubicBezTo>
                  <a:pt x="819979" y="1474991"/>
                  <a:pt x="818156" y="1478635"/>
                  <a:pt x="819979" y="1478635"/>
                </a:cubicBezTo>
                <a:cubicBezTo>
                  <a:pt x="823623" y="1473169"/>
                  <a:pt x="819979" y="1469525"/>
                  <a:pt x="816334" y="1464058"/>
                </a:cubicBezTo>
                <a:close/>
                <a:moveTo>
                  <a:pt x="650516" y="1464058"/>
                </a:moveTo>
                <a:cubicBezTo>
                  <a:pt x="648694" y="1464058"/>
                  <a:pt x="648694" y="1465880"/>
                  <a:pt x="648694" y="1465880"/>
                </a:cubicBezTo>
                <a:cubicBezTo>
                  <a:pt x="648694" y="1465880"/>
                  <a:pt x="646872" y="1467702"/>
                  <a:pt x="646872" y="1467702"/>
                </a:cubicBezTo>
                <a:cubicBezTo>
                  <a:pt x="652339" y="1471347"/>
                  <a:pt x="657805" y="1471347"/>
                  <a:pt x="663272" y="1473169"/>
                </a:cubicBezTo>
                <a:cubicBezTo>
                  <a:pt x="661449" y="1469525"/>
                  <a:pt x="652339" y="1473169"/>
                  <a:pt x="648694" y="1465880"/>
                </a:cubicBezTo>
                <a:cubicBezTo>
                  <a:pt x="650516" y="1467702"/>
                  <a:pt x="652339" y="1469525"/>
                  <a:pt x="654161" y="1467702"/>
                </a:cubicBezTo>
                <a:cubicBezTo>
                  <a:pt x="654161" y="1465880"/>
                  <a:pt x="652339" y="1467702"/>
                  <a:pt x="650516" y="1464058"/>
                </a:cubicBezTo>
                <a:close/>
                <a:moveTo>
                  <a:pt x="528431" y="1464058"/>
                </a:moveTo>
                <a:cubicBezTo>
                  <a:pt x="526609" y="1467702"/>
                  <a:pt x="530253" y="1474991"/>
                  <a:pt x="533897" y="1474991"/>
                </a:cubicBezTo>
                <a:cubicBezTo>
                  <a:pt x="537542" y="1471347"/>
                  <a:pt x="530253" y="1467702"/>
                  <a:pt x="528431" y="1464058"/>
                </a:cubicBezTo>
                <a:close/>
                <a:moveTo>
                  <a:pt x="1182592" y="1462236"/>
                </a:moveTo>
                <a:cubicBezTo>
                  <a:pt x="1182592" y="1462236"/>
                  <a:pt x="1182592" y="1464058"/>
                  <a:pt x="1180769" y="1464058"/>
                </a:cubicBezTo>
                <a:cubicBezTo>
                  <a:pt x="1180769" y="1465880"/>
                  <a:pt x="1180769" y="1465880"/>
                  <a:pt x="1180769" y="1467702"/>
                </a:cubicBezTo>
                <a:cubicBezTo>
                  <a:pt x="1178947" y="1465880"/>
                  <a:pt x="1180769" y="1464058"/>
                  <a:pt x="1182592" y="1462236"/>
                </a:cubicBezTo>
                <a:close/>
                <a:moveTo>
                  <a:pt x="588562" y="1462236"/>
                </a:moveTo>
                <a:cubicBezTo>
                  <a:pt x="586741" y="1462236"/>
                  <a:pt x="586741" y="1464058"/>
                  <a:pt x="584919" y="1467702"/>
                </a:cubicBezTo>
                <a:cubicBezTo>
                  <a:pt x="586741" y="1469525"/>
                  <a:pt x="586741" y="1467702"/>
                  <a:pt x="588562" y="1469525"/>
                </a:cubicBezTo>
                <a:cubicBezTo>
                  <a:pt x="590385" y="1465880"/>
                  <a:pt x="590385" y="1464058"/>
                  <a:pt x="588562" y="1462236"/>
                </a:cubicBezTo>
                <a:close/>
                <a:moveTo>
                  <a:pt x="530253" y="1462236"/>
                </a:moveTo>
                <a:cubicBezTo>
                  <a:pt x="530253" y="1462236"/>
                  <a:pt x="532075" y="1462236"/>
                  <a:pt x="532075" y="1464058"/>
                </a:cubicBezTo>
                <a:lnTo>
                  <a:pt x="530334" y="1462681"/>
                </a:lnTo>
                <a:close/>
                <a:moveTo>
                  <a:pt x="482876" y="1462236"/>
                </a:moveTo>
                <a:cubicBezTo>
                  <a:pt x="482876" y="1467702"/>
                  <a:pt x="479232" y="1473169"/>
                  <a:pt x="482876" y="1478635"/>
                </a:cubicBezTo>
                <a:cubicBezTo>
                  <a:pt x="484700" y="1471347"/>
                  <a:pt x="493809" y="1467702"/>
                  <a:pt x="486521" y="1462236"/>
                </a:cubicBezTo>
                <a:cubicBezTo>
                  <a:pt x="486521" y="1464058"/>
                  <a:pt x="486521" y="1465880"/>
                  <a:pt x="486521" y="1465880"/>
                </a:cubicBezTo>
                <a:cubicBezTo>
                  <a:pt x="484700" y="1465880"/>
                  <a:pt x="484700" y="1462236"/>
                  <a:pt x="482876" y="1462236"/>
                </a:cubicBezTo>
                <a:close/>
                <a:moveTo>
                  <a:pt x="674205" y="1460414"/>
                </a:moveTo>
                <a:cubicBezTo>
                  <a:pt x="672383" y="1464058"/>
                  <a:pt x="677849" y="1462236"/>
                  <a:pt x="679671" y="1462236"/>
                </a:cubicBezTo>
                <a:cubicBezTo>
                  <a:pt x="677849" y="1460414"/>
                  <a:pt x="676027" y="1462236"/>
                  <a:pt x="674205" y="1460414"/>
                </a:cubicBezTo>
                <a:close/>
                <a:moveTo>
                  <a:pt x="654161" y="1460414"/>
                </a:moveTo>
                <a:cubicBezTo>
                  <a:pt x="652339" y="1460414"/>
                  <a:pt x="652339" y="1462236"/>
                  <a:pt x="652339" y="1462236"/>
                </a:cubicBezTo>
                <a:cubicBezTo>
                  <a:pt x="654161" y="1464058"/>
                  <a:pt x="657805" y="1465880"/>
                  <a:pt x="661449" y="1464058"/>
                </a:cubicBezTo>
                <a:cubicBezTo>
                  <a:pt x="659627" y="1460414"/>
                  <a:pt x="655983" y="1460414"/>
                  <a:pt x="654161" y="1460414"/>
                </a:cubicBezTo>
                <a:close/>
                <a:moveTo>
                  <a:pt x="601318" y="1460414"/>
                </a:moveTo>
                <a:cubicBezTo>
                  <a:pt x="599496" y="1465880"/>
                  <a:pt x="601318" y="1473169"/>
                  <a:pt x="601318" y="1478635"/>
                </a:cubicBezTo>
                <a:cubicBezTo>
                  <a:pt x="608606" y="1474991"/>
                  <a:pt x="606784" y="1467702"/>
                  <a:pt x="612251" y="1464058"/>
                </a:cubicBezTo>
                <a:cubicBezTo>
                  <a:pt x="608606" y="1462236"/>
                  <a:pt x="604963" y="1460414"/>
                  <a:pt x="601318" y="1460414"/>
                </a:cubicBezTo>
                <a:close/>
                <a:moveTo>
                  <a:pt x="668510" y="1459275"/>
                </a:moveTo>
                <a:cubicBezTo>
                  <a:pt x="668282" y="1458591"/>
                  <a:pt x="666916" y="1458591"/>
                  <a:pt x="663272" y="1460414"/>
                </a:cubicBezTo>
                <a:cubicBezTo>
                  <a:pt x="663272" y="1460414"/>
                  <a:pt x="665094" y="1462236"/>
                  <a:pt x="666916" y="1462236"/>
                </a:cubicBezTo>
                <a:cubicBezTo>
                  <a:pt x="667828" y="1461325"/>
                  <a:pt x="668738" y="1459958"/>
                  <a:pt x="668510" y="1459275"/>
                </a:cubicBezTo>
                <a:close/>
                <a:moveTo>
                  <a:pt x="3228893" y="1458592"/>
                </a:moveTo>
                <a:cubicBezTo>
                  <a:pt x="3227071" y="1460414"/>
                  <a:pt x="3225248" y="1464058"/>
                  <a:pt x="3227071" y="1465880"/>
                </a:cubicBezTo>
                <a:cubicBezTo>
                  <a:pt x="3228893" y="1467702"/>
                  <a:pt x="3232537" y="1469525"/>
                  <a:pt x="3234359" y="1462236"/>
                </a:cubicBezTo>
                <a:cubicBezTo>
                  <a:pt x="3234359" y="1458592"/>
                  <a:pt x="3228893" y="1462236"/>
                  <a:pt x="3228893" y="1458592"/>
                </a:cubicBezTo>
                <a:close/>
                <a:moveTo>
                  <a:pt x="457367" y="1458592"/>
                </a:moveTo>
                <a:cubicBezTo>
                  <a:pt x="453722" y="1462236"/>
                  <a:pt x="440966" y="1462236"/>
                  <a:pt x="442789" y="1469525"/>
                </a:cubicBezTo>
                <a:cubicBezTo>
                  <a:pt x="451899" y="1473169"/>
                  <a:pt x="455544" y="1464058"/>
                  <a:pt x="457367" y="1458592"/>
                </a:cubicBezTo>
                <a:close/>
                <a:moveTo>
                  <a:pt x="1191213" y="1457917"/>
                </a:moveTo>
                <a:lnTo>
                  <a:pt x="1186504" y="1465451"/>
                </a:lnTo>
                <a:lnTo>
                  <a:pt x="1186187" y="1465240"/>
                </a:lnTo>
                <a:lnTo>
                  <a:pt x="1185986" y="1462637"/>
                </a:lnTo>
                <a:close/>
                <a:moveTo>
                  <a:pt x="3261692" y="1456769"/>
                </a:moveTo>
                <a:cubicBezTo>
                  <a:pt x="3261692" y="1465880"/>
                  <a:pt x="3263514" y="1473169"/>
                  <a:pt x="3272625" y="1474991"/>
                </a:cubicBezTo>
                <a:cubicBezTo>
                  <a:pt x="3278091" y="1474991"/>
                  <a:pt x="3279913" y="1473169"/>
                  <a:pt x="3283558" y="1471347"/>
                </a:cubicBezTo>
                <a:cubicBezTo>
                  <a:pt x="3279913" y="1473169"/>
                  <a:pt x="3276269" y="1465880"/>
                  <a:pt x="3272625" y="1471347"/>
                </a:cubicBezTo>
                <a:cubicBezTo>
                  <a:pt x="3279913" y="1462236"/>
                  <a:pt x="3267158" y="1458592"/>
                  <a:pt x="3261692" y="1456769"/>
                </a:cubicBezTo>
                <a:close/>
                <a:moveTo>
                  <a:pt x="470121" y="1456769"/>
                </a:moveTo>
                <a:cubicBezTo>
                  <a:pt x="466478" y="1456769"/>
                  <a:pt x="468299" y="1462236"/>
                  <a:pt x="464655" y="1464058"/>
                </a:cubicBezTo>
                <a:cubicBezTo>
                  <a:pt x="468299" y="1464058"/>
                  <a:pt x="468299" y="1460414"/>
                  <a:pt x="470121" y="1456769"/>
                </a:cubicBezTo>
                <a:close/>
                <a:moveTo>
                  <a:pt x="3252581" y="1454947"/>
                </a:moveTo>
                <a:cubicBezTo>
                  <a:pt x="3248937" y="1454947"/>
                  <a:pt x="3250759" y="1456769"/>
                  <a:pt x="3247114" y="1456769"/>
                </a:cubicBezTo>
                <a:cubicBezTo>
                  <a:pt x="3247114" y="1464058"/>
                  <a:pt x="3252581" y="1467702"/>
                  <a:pt x="3254403" y="1473169"/>
                </a:cubicBezTo>
                <a:cubicBezTo>
                  <a:pt x="3254403" y="1474991"/>
                  <a:pt x="3250759" y="1474991"/>
                  <a:pt x="3250759" y="1473169"/>
                </a:cubicBezTo>
                <a:cubicBezTo>
                  <a:pt x="3247114" y="1474991"/>
                  <a:pt x="3254403" y="1478635"/>
                  <a:pt x="3258047" y="1476813"/>
                </a:cubicBezTo>
                <a:cubicBezTo>
                  <a:pt x="3256225" y="1473169"/>
                  <a:pt x="3258047" y="1471347"/>
                  <a:pt x="3258047" y="1467702"/>
                </a:cubicBezTo>
                <a:cubicBezTo>
                  <a:pt x="3250759" y="1467702"/>
                  <a:pt x="3248937" y="1458592"/>
                  <a:pt x="3252581" y="1454947"/>
                </a:cubicBezTo>
                <a:close/>
                <a:moveTo>
                  <a:pt x="3241648" y="1454947"/>
                </a:moveTo>
                <a:cubicBezTo>
                  <a:pt x="3236181" y="1456769"/>
                  <a:pt x="3241648" y="1465880"/>
                  <a:pt x="3243470" y="1467702"/>
                </a:cubicBezTo>
                <a:cubicBezTo>
                  <a:pt x="3245292" y="1465880"/>
                  <a:pt x="3243470" y="1458592"/>
                  <a:pt x="3241648" y="1454947"/>
                </a:cubicBezTo>
                <a:close/>
                <a:moveTo>
                  <a:pt x="999946" y="1454141"/>
                </a:moveTo>
                <a:lnTo>
                  <a:pt x="1007663" y="1455917"/>
                </a:lnTo>
                <a:lnTo>
                  <a:pt x="1007663" y="1456769"/>
                </a:lnTo>
                <a:cubicBezTo>
                  <a:pt x="1004018" y="1456769"/>
                  <a:pt x="998552" y="1456769"/>
                  <a:pt x="994907" y="1454947"/>
                </a:cubicBezTo>
                <a:close/>
                <a:moveTo>
                  <a:pt x="442789" y="1453125"/>
                </a:moveTo>
                <a:cubicBezTo>
                  <a:pt x="442789" y="1451303"/>
                  <a:pt x="439145" y="1456769"/>
                  <a:pt x="439145" y="1458592"/>
                </a:cubicBezTo>
                <a:cubicBezTo>
                  <a:pt x="440966" y="1456769"/>
                  <a:pt x="442789" y="1454947"/>
                  <a:pt x="442789" y="1453125"/>
                </a:cubicBezTo>
                <a:close/>
                <a:moveTo>
                  <a:pt x="1537915" y="1451303"/>
                </a:moveTo>
                <a:lnTo>
                  <a:pt x="1521516" y="1453125"/>
                </a:lnTo>
                <a:lnTo>
                  <a:pt x="1536093" y="1467702"/>
                </a:lnTo>
                <a:close/>
                <a:moveTo>
                  <a:pt x="779892" y="1451303"/>
                </a:moveTo>
                <a:cubicBezTo>
                  <a:pt x="770781" y="1456769"/>
                  <a:pt x="765313" y="1465880"/>
                  <a:pt x="768959" y="1473169"/>
                </a:cubicBezTo>
                <a:cubicBezTo>
                  <a:pt x="767136" y="1471347"/>
                  <a:pt x="765313" y="1471347"/>
                  <a:pt x="763491" y="1471347"/>
                </a:cubicBezTo>
                <a:cubicBezTo>
                  <a:pt x="758025" y="1469525"/>
                  <a:pt x="758025" y="1487746"/>
                  <a:pt x="763491" y="1495035"/>
                </a:cubicBezTo>
                <a:lnTo>
                  <a:pt x="763491" y="1491391"/>
                </a:lnTo>
                <a:cubicBezTo>
                  <a:pt x="772602" y="1495035"/>
                  <a:pt x="783535" y="1500501"/>
                  <a:pt x="794468" y="1496857"/>
                </a:cubicBezTo>
                <a:cubicBezTo>
                  <a:pt x="781713" y="1484102"/>
                  <a:pt x="778070" y="1467702"/>
                  <a:pt x="779892" y="1451303"/>
                </a:cubicBezTo>
                <a:close/>
                <a:moveTo>
                  <a:pt x="747092" y="1451303"/>
                </a:moveTo>
                <a:cubicBezTo>
                  <a:pt x="745269" y="1458592"/>
                  <a:pt x="748914" y="1465880"/>
                  <a:pt x="748914" y="1473169"/>
                </a:cubicBezTo>
                <a:cubicBezTo>
                  <a:pt x="756203" y="1471347"/>
                  <a:pt x="748914" y="1460414"/>
                  <a:pt x="754380" y="1458592"/>
                </a:cubicBezTo>
                <a:cubicBezTo>
                  <a:pt x="752558" y="1454947"/>
                  <a:pt x="748914" y="1453125"/>
                  <a:pt x="747092" y="1451303"/>
                </a:cubicBezTo>
                <a:close/>
                <a:moveTo>
                  <a:pt x="677849" y="1451303"/>
                </a:moveTo>
                <a:cubicBezTo>
                  <a:pt x="674205" y="1453125"/>
                  <a:pt x="677849" y="1458592"/>
                  <a:pt x="674205" y="1456769"/>
                </a:cubicBezTo>
                <a:cubicBezTo>
                  <a:pt x="674205" y="1460414"/>
                  <a:pt x="679671" y="1456769"/>
                  <a:pt x="681493" y="1458592"/>
                </a:cubicBezTo>
                <a:cubicBezTo>
                  <a:pt x="681493" y="1456769"/>
                  <a:pt x="677849" y="1453125"/>
                  <a:pt x="677849" y="1451303"/>
                </a:cubicBezTo>
                <a:close/>
                <a:moveTo>
                  <a:pt x="949036" y="1450273"/>
                </a:moveTo>
                <a:lnTo>
                  <a:pt x="954188" y="1452205"/>
                </a:lnTo>
                <a:lnTo>
                  <a:pt x="940148" y="1458757"/>
                </a:lnTo>
                <a:lnTo>
                  <a:pt x="919287" y="1465880"/>
                </a:lnTo>
                <a:lnTo>
                  <a:pt x="884372" y="1477802"/>
                </a:lnTo>
                <a:lnTo>
                  <a:pt x="892866" y="1473169"/>
                </a:lnTo>
                <a:cubicBezTo>
                  <a:pt x="898333" y="1471347"/>
                  <a:pt x="903799" y="1469525"/>
                  <a:pt x="909265" y="1467702"/>
                </a:cubicBezTo>
                <a:cubicBezTo>
                  <a:pt x="907444" y="1467702"/>
                  <a:pt x="903799" y="1467702"/>
                  <a:pt x="901976" y="1467702"/>
                </a:cubicBezTo>
                <a:close/>
                <a:moveTo>
                  <a:pt x="1168014" y="1449481"/>
                </a:moveTo>
                <a:cubicBezTo>
                  <a:pt x="1168014" y="1451303"/>
                  <a:pt x="1168014" y="1451303"/>
                  <a:pt x="1168014" y="1453125"/>
                </a:cubicBezTo>
                <a:cubicBezTo>
                  <a:pt x="1169836" y="1453125"/>
                  <a:pt x="1171658" y="1462236"/>
                  <a:pt x="1175303" y="1465880"/>
                </a:cubicBezTo>
                <a:cubicBezTo>
                  <a:pt x="1177125" y="1460414"/>
                  <a:pt x="1171658" y="1454947"/>
                  <a:pt x="1168014" y="1449481"/>
                </a:cubicBezTo>
                <a:close/>
                <a:moveTo>
                  <a:pt x="858244" y="1449481"/>
                </a:moveTo>
                <a:cubicBezTo>
                  <a:pt x="863711" y="1454947"/>
                  <a:pt x="874644" y="1458592"/>
                  <a:pt x="876466" y="1467702"/>
                </a:cubicBezTo>
                <a:lnTo>
                  <a:pt x="866314" y="1461523"/>
                </a:lnTo>
                <a:lnTo>
                  <a:pt x="865909" y="1461204"/>
                </a:lnTo>
                <a:close/>
                <a:moveTo>
                  <a:pt x="457367" y="1449481"/>
                </a:moveTo>
                <a:cubicBezTo>
                  <a:pt x="453722" y="1451303"/>
                  <a:pt x="450077" y="1454947"/>
                  <a:pt x="446433" y="1456769"/>
                </a:cubicBezTo>
                <a:cubicBezTo>
                  <a:pt x="451899" y="1465880"/>
                  <a:pt x="459188" y="1453125"/>
                  <a:pt x="457367" y="1449481"/>
                </a:cubicBezTo>
                <a:close/>
                <a:moveTo>
                  <a:pt x="3495477" y="1447887"/>
                </a:moveTo>
                <a:lnTo>
                  <a:pt x="3494930" y="1451303"/>
                </a:lnTo>
                <a:lnTo>
                  <a:pt x="3492225" y="1449371"/>
                </a:lnTo>
                <a:close/>
                <a:moveTo>
                  <a:pt x="794468" y="1447658"/>
                </a:moveTo>
                <a:cubicBezTo>
                  <a:pt x="792646" y="1454947"/>
                  <a:pt x="787179" y="1460414"/>
                  <a:pt x="785357" y="1467702"/>
                </a:cubicBezTo>
                <a:cubicBezTo>
                  <a:pt x="790824" y="1476813"/>
                  <a:pt x="792646" y="1496857"/>
                  <a:pt x="805401" y="1495035"/>
                </a:cubicBezTo>
                <a:cubicBezTo>
                  <a:pt x="816334" y="1493213"/>
                  <a:pt x="816334" y="1478635"/>
                  <a:pt x="807223" y="1473169"/>
                </a:cubicBezTo>
                <a:cubicBezTo>
                  <a:pt x="810868" y="1474991"/>
                  <a:pt x="812690" y="1476813"/>
                  <a:pt x="814512" y="1478635"/>
                </a:cubicBezTo>
                <a:cubicBezTo>
                  <a:pt x="818156" y="1464058"/>
                  <a:pt x="809046" y="1451303"/>
                  <a:pt x="794468" y="1447658"/>
                </a:cubicBezTo>
                <a:close/>
                <a:moveTo>
                  <a:pt x="661449" y="1447658"/>
                </a:moveTo>
                <a:cubicBezTo>
                  <a:pt x="657805" y="1451303"/>
                  <a:pt x="657805" y="1453125"/>
                  <a:pt x="654161" y="1454947"/>
                </a:cubicBezTo>
                <a:cubicBezTo>
                  <a:pt x="659627" y="1458592"/>
                  <a:pt x="663272" y="1456769"/>
                  <a:pt x="663272" y="1451303"/>
                </a:cubicBezTo>
                <a:cubicBezTo>
                  <a:pt x="663272" y="1449481"/>
                  <a:pt x="661449" y="1449481"/>
                  <a:pt x="661449" y="1447658"/>
                </a:cubicBezTo>
                <a:close/>
                <a:moveTo>
                  <a:pt x="643228" y="1447658"/>
                </a:moveTo>
                <a:cubicBezTo>
                  <a:pt x="634117" y="1454947"/>
                  <a:pt x="641407" y="1460414"/>
                  <a:pt x="645050" y="1467702"/>
                </a:cubicBezTo>
                <a:cubicBezTo>
                  <a:pt x="645050" y="1464058"/>
                  <a:pt x="643228" y="1462236"/>
                  <a:pt x="648694" y="1462236"/>
                </a:cubicBezTo>
                <a:cubicBezTo>
                  <a:pt x="648694" y="1460414"/>
                  <a:pt x="643228" y="1458592"/>
                  <a:pt x="641407" y="1458592"/>
                </a:cubicBezTo>
                <a:cubicBezTo>
                  <a:pt x="641407" y="1456769"/>
                  <a:pt x="643228" y="1451303"/>
                  <a:pt x="646872" y="1449481"/>
                </a:cubicBezTo>
                <a:cubicBezTo>
                  <a:pt x="646872" y="1449481"/>
                  <a:pt x="645050" y="1445836"/>
                  <a:pt x="643228" y="1447658"/>
                </a:cubicBezTo>
                <a:close/>
                <a:moveTo>
                  <a:pt x="570341" y="1447658"/>
                </a:moveTo>
                <a:cubicBezTo>
                  <a:pt x="566697" y="1449481"/>
                  <a:pt x="570341" y="1453125"/>
                  <a:pt x="570341" y="1454947"/>
                </a:cubicBezTo>
                <a:cubicBezTo>
                  <a:pt x="573985" y="1454947"/>
                  <a:pt x="573985" y="1449481"/>
                  <a:pt x="570341" y="1447658"/>
                </a:cubicBezTo>
                <a:close/>
                <a:moveTo>
                  <a:pt x="513853" y="1447658"/>
                </a:moveTo>
                <a:cubicBezTo>
                  <a:pt x="508387" y="1454947"/>
                  <a:pt x="512031" y="1465880"/>
                  <a:pt x="515676" y="1473169"/>
                </a:cubicBezTo>
                <a:cubicBezTo>
                  <a:pt x="519320" y="1476813"/>
                  <a:pt x="524786" y="1473169"/>
                  <a:pt x="528431" y="1474991"/>
                </a:cubicBezTo>
                <a:cubicBezTo>
                  <a:pt x="528431" y="1464058"/>
                  <a:pt x="515676" y="1458592"/>
                  <a:pt x="513853" y="1447658"/>
                </a:cubicBezTo>
                <a:close/>
                <a:moveTo>
                  <a:pt x="477410" y="1447658"/>
                </a:moveTo>
                <a:cubicBezTo>
                  <a:pt x="473766" y="1451303"/>
                  <a:pt x="473766" y="1454947"/>
                  <a:pt x="473766" y="1458592"/>
                </a:cubicBezTo>
                <a:cubicBezTo>
                  <a:pt x="475589" y="1456769"/>
                  <a:pt x="477410" y="1456769"/>
                  <a:pt x="479232" y="1454947"/>
                </a:cubicBezTo>
                <a:cubicBezTo>
                  <a:pt x="479232" y="1453125"/>
                  <a:pt x="479232" y="1451303"/>
                  <a:pt x="477410" y="1447658"/>
                </a:cubicBezTo>
                <a:close/>
                <a:moveTo>
                  <a:pt x="439145" y="1447658"/>
                </a:moveTo>
                <a:cubicBezTo>
                  <a:pt x="430034" y="1447658"/>
                  <a:pt x="420923" y="1451303"/>
                  <a:pt x="413634" y="1456769"/>
                </a:cubicBezTo>
                <a:cubicBezTo>
                  <a:pt x="409989" y="1456769"/>
                  <a:pt x="408167" y="1453125"/>
                  <a:pt x="404523" y="1454947"/>
                </a:cubicBezTo>
                <a:cubicBezTo>
                  <a:pt x="406345" y="1460414"/>
                  <a:pt x="408167" y="1462236"/>
                  <a:pt x="411812" y="1464058"/>
                </a:cubicBezTo>
                <a:cubicBezTo>
                  <a:pt x="415456" y="1458592"/>
                  <a:pt x="424567" y="1464058"/>
                  <a:pt x="424567" y="1454947"/>
                </a:cubicBezTo>
                <a:cubicBezTo>
                  <a:pt x="424567" y="1456769"/>
                  <a:pt x="426389" y="1456769"/>
                  <a:pt x="426389" y="1460414"/>
                </a:cubicBezTo>
                <a:cubicBezTo>
                  <a:pt x="433678" y="1460414"/>
                  <a:pt x="435500" y="1453125"/>
                  <a:pt x="439145" y="1447658"/>
                </a:cubicBezTo>
                <a:close/>
                <a:moveTo>
                  <a:pt x="1146148" y="1445836"/>
                </a:moveTo>
                <a:cubicBezTo>
                  <a:pt x="1146148" y="1445836"/>
                  <a:pt x="1144326" y="1447658"/>
                  <a:pt x="1144326" y="1447658"/>
                </a:cubicBezTo>
                <a:cubicBezTo>
                  <a:pt x="1146148" y="1449481"/>
                  <a:pt x="1147970" y="1447658"/>
                  <a:pt x="1149792" y="1451303"/>
                </a:cubicBezTo>
                <a:cubicBezTo>
                  <a:pt x="1149792" y="1449481"/>
                  <a:pt x="1146148" y="1447658"/>
                  <a:pt x="1146148" y="1445836"/>
                </a:cubicBezTo>
                <a:close/>
                <a:moveTo>
                  <a:pt x="985796" y="1445836"/>
                </a:moveTo>
                <a:lnTo>
                  <a:pt x="986629" y="1445966"/>
                </a:lnTo>
                <a:lnTo>
                  <a:pt x="987470" y="1447018"/>
                </a:lnTo>
                <a:close/>
                <a:moveTo>
                  <a:pt x="594030" y="1445836"/>
                </a:moveTo>
                <a:cubicBezTo>
                  <a:pt x="592207" y="1447658"/>
                  <a:pt x="590385" y="1449481"/>
                  <a:pt x="590385" y="1451303"/>
                </a:cubicBezTo>
                <a:cubicBezTo>
                  <a:pt x="592207" y="1451303"/>
                  <a:pt x="597673" y="1449481"/>
                  <a:pt x="594030" y="1445836"/>
                </a:cubicBezTo>
                <a:close/>
                <a:moveTo>
                  <a:pt x="573985" y="1445836"/>
                </a:moveTo>
                <a:lnTo>
                  <a:pt x="574835" y="1446686"/>
                </a:lnTo>
                <a:lnTo>
                  <a:pt x="573985" y="1446181"/>
                </a:lnTo>
                <a:close/>
                <a:moveTo>
                  <a:pt x="561230" y="1445836"/>
                </a:moveTo>
                <a:cubicBezTo>
                  <a:pt x="555763" y="1453125"/>
                  <a:pt x="552119" y="1458592"/>
                  <a:pt x="546653" y="1465880"/>
                </a:cubicBezTo>
                <a:cubicBezTo>
                  <a:pt x="550297" y="1467702"/>
                  <a:pt x="552119" y="1469525"/>
                  <a:pt x="555763" y="1469525"/>
                </a:cubicBezTo>
                <a:cubicBezTo>
                  <a:pt x="557586" y="1460414"/>
                  <a:pt x="564874" y="1462236"/>
                  <a:pt x="568519" y="1454947"/>
                </a:cubicBezTo>
                <a:cubicBezTo>
                  <a:pt x="568519" y="1451303"/>
                  <a:pt x="561230" y="1451303"/>
                  <a:pt x="561230" y="1445836"/>
                </a:cubicBezTo>
                <a:close/>
                <a:moveTo>
                  <a:pt x="459871" y="1445153"/>
                </a:moveTo>
                <a:cubicBezTo>
                  <a:pt x="459188" y="1445836"/>
                  <a:pt x="458277" y="1446747"/>
                  <a:pt x="457367" y="1445836"/>
                </a:cubicBezTo>
                <a:cubicBezTo>
                  <a:pt x="455544" y="1449481"/>
                  <a:pt x="459188" y="1447658"/>
                  <a:pt x="461010" y="1445836"/>
                </a:cubicBezTo>
                <a:cubicBezTo>
                  <a:pt x="461010" y="1444014"/>
                  <a:pt x="460554" y="1444470"/>
                  <a:pt x="459871" y="1445153"/>
                </a:cubicBezTo>
                <a:close/>
                <a:moveTo>
                  <a:pt x="3412932" y="1444014"/>
                </a:moveTo>
                <a:cubicBezTo>
                  <a:pt x="3407466" y="1449481"/>
                  <a:pt x="3405643" y="1442192"/>
                  <a:pt x="3401999" y="1447658"/>
                </a:cubicBezTo>
                <a:cubicBezTo>
                  <a:pt x="3401999" y="1451303"/>
                  <a:pt x="3401999" y="1454947"/>
                  <a:pt x="3401999" y="1458592"/>
                </a:cubicBezTo>
                <a:cubicBezTo>
                  <a:pt x="3407466" y="1454947"/>
                  <a:pt x="3416577" y="1451303"/>
                  <a:pt x="3412932" y="1444014"/>
                </a:cubicBezTo>
                <a:close/>
                <a:moveTo>
                  <a:pt x="3340045" y="1444014"/>
                </a:moveTo>
                <a:cubicBezTo>
                  <a:pt x="3338223" y="1440370"/>
                  <a:pt x="3338223" y="1447658"/>
                  <a:pt x="3332756" y="1445836"/>
                </a:cubicBezTo>
                <a:cubicBezTo>
                  <a:pt x="3330934" y="1454947"/>
                  <a:pt x="3334579" y="1460414"/>
                  <a:pt x="3341867" y="1456769"/>
                </a:cubicBezTo>
                <a:cubicBezTo>
                  <a:pt x="3345512" y="1454947"/>
                  <a:pt x="3338223" y="1449481"/>
                  <a:pt x="3340045" y="1444014"/>
                </a:cubicBezTo>
                <a:close/>
                <a:moveTo>
                  <a:pt x="1147970" y="1444014"/>
                </a:moveTo>
                <a:cubicBezTo>
                  <a:pt x="1149792" y="1447658"/>
                  <a:pt x="1157081" y="1454947"/>
                  <a:pt x="1155259" y="1460414"/>
                </a:cubicBezTo>
                <a:cubicBezTo>
                  <a:pt x="1158903" y="1454947"/>
                  <a:pt x="1155259" y="1449481"/>
                  <a:pt x="1151614" y="1444014"/>
                </a:cubicBezTo>
                <a:cubicBezTo>
                  <a:pt x="1149792" y="1444014"/>
                  <a:pt x="1147970" y="1444014"/>
                  <a:pt x="1147970" y="1444014"/>
                </a:cubicBezTo>
                <a:close/>
                <a:moveTo>
                  <a:pt x="785357" y="1444014"/>
                </a:moveTo>
                <a:lnTo>
                  <a:pt x="783535" y="1445836"/>
                </a:lnTo>
                <a:lnTo>
                  <a:pt x="781485" y="1451075"/>
                </a:lnTo>
                <a:cubicBezTo>
                  <a:pt x="781257" y="1453125"/>
                  <a:pt x="781713" y="1455858"/>
                  <a:pt x="783535" y="1460414"/>
                </a:cubicBezTo>
                <a:cubicBezTo>
                  <a:pt x="789003" y="1454947"/>
                  <a:pt x="792646" y="1447658"/>
                  <a:pt x="785357" y="1444014"/>
                </a:cubicBezTo>
                <a:close/>
                <a:moveTo>
                  <a:pt x="741626" y="1444014"/>
                </a:moveTo>
                <a:cubicBezTo>
                  <a:pt x="736159" y="1451303"/>
                  <a:pt x="725226" y="1453125"/>
                  <a:pt x="716115" y="1454947"/>
                </a:cubicBezTo>
                <a:cubicBezTo>
                  <a:pt x="710648" y="1460414"/>
                  <a:pt x="707004" y="1473169"/>
                  <a:pt x="701537" y="1476813"/>
                </a:cubicBezTo>
                <a:lnTo>
                  <a:pt x="702805" y="1478240"/>
                </a:lnTo>
                <a:lnTo>
                  <a:pt x="700627" y="1479547"/>
                </a:lnTo>
                <a:cubicBezTo>
                  <a:pt x="698349" y="1479091"/>
                  <a:pt x="696071" y="1478636"/>
                  <a:pt x="696071" y="1482280"/>
                </a:cubicBezTo>
                <a:cubicBezTo>
                  <a:pt x="697893" y="1493213"/>
                  <a:pt x="708826" y="1504146"/>
                  <a:pt x="721581" y="1495035"/>
                </a:cubicBezTo>
                <a:lnTo>
                  <a:pt x="719759" y="1493213"/>
                </a:lnTo>
                <a:cubicBezTo>
                  <a:pt x="727048" y="1496857"/>
                  <a:pt x="734336" y="1491391"/>
                  <a:pt x="734336" y="1485924"/>
                </a:cubicBezTo>
                <a:cubicBezTo>
                  <a:pt x="734336" y="1484102"/>
                  <a:pt x="732515" y="1482280"/>
                  <a:pt x="730692" y="1482280"/>
                </a:cubicBezTo>
                <a:cubicBezTo>
                  <a:pt x="730692" y="1482280"/>
                  <a:pt x="732515" y="1480458"/>
                  <a:pt x="732515" y="1480458"/>
                </a:cubicBezTo>
                <a:cubicBezTo>
                  <a:pt x="728870" y="1478635"/>
                  <a:pt x="725226" y="1474991"/>
                  <a:pt x="721581" y="1473169"/>
                </a:cubicBezTo>
                <a:cubicBezTo>
                  <a:pt x="727048" y="1474991"/>
                  <a:pt x="734336" y="1485924"/>
                  <a:pt x="739803" y="1476813"/>
                </a:cubicBezTo>
                <a:cubicBezTo>
                  <a:pt x="741626" y="1474991"/>
                  <a:pt x="739803" y="1473169"/>
                  <a:pt x="736159" y="1473169"/>
                </a:cubicBezTo>
                <a:cubicBezTo>
                  <a:pt x="747092" y="1469525"/>
                  <a:pt x="747092" y="1453125"/>
                  <a:pt x="741626" y="1444014"/>
                </a:cubicBezTo>
                <a:close/>
                <a:moveTo>
                  <a:pt x="708826" y="1444014"/>
                </a:moveTo>
                <a:cubicBezTo>
                  <a:pt x="705182" y="1444014"/>
                  <a:pt x="697893" y="1444014"/>
                  <a:pt x="696071" y="1449481"/>
                </a:cubicBezTo>
                <a:cubicBezTo>
                  <a:pt x="696071" y="1451303"/>
                  <a:pt x="697893" y="1449481"/>
                  <a:pt x="699715" y="1451303"/>
                </a:cubicBezTo>
                <a:cubicBezTo>
                  <a:pt x="697893" y="1453125"/>
                  <a:pt x="694249" y="1454947"/>
                  <a:pt x="696071" y="1456769"/>
                </a:cubicBezTo>
                <a:cubicBezTo>
                  <a:pt x="705182" y="1458592"/>
                  <a:pt x="708826" y="1451303"/>
                  <a:pt x="714293" y="1444014"/>
                </a:cubicBezTo>
                <a:cubicBezTo>
                  <a:pt x="710648" y="1442192"/>
                  <a:pt x="707004" y="1449481"/>
                  <a:pt x="703359" y="1447658"/>
                </a:cubicBezTo>
                <a:cubicBezTo>
                  <a:pt x="705182" y="1447658"/>
                  <a:pt x="707004" y="1444014"/>
                  <a:pt x="708826" y="1444014"/>
                </a:cubicBezTo>
                <a:close/>
                <a:moveTo>
                  <a:pt x="657805" y="1444014"/>
                </a:moveTo>
                <a:cubicBezTo>
                  <a:pt x="655983" y="1445836"/>
                  <a:pt x="655983" y="1447658"/>
                  <a:pt x="655983" y="1449481"/>
                </a:cubicBezTo>
                <a:cubicBezTo>
                  <a:pt x="657805" y="1451303"/>
                  <a:pt x="661449" y="1445836"/>
                  <a:pt x="657805" y="1444014"/>
                </a:cubicBezTo>
                <a:close/>
                <a:moveTo>
                  <a:pt x="635939" y="1444014"/>
                </a:moveTo>
                <a:cubicBezTo>
                  <a:pt x="637761" y="1445836"/>
                  <a:pt x="635939" y="1449481"/>
                  <a:pt x="637761" y="1451303"/>
                </a:cubicBezTo>
                <a:cubicBezTo>
                  <a:pt x="639583" y="1449481"/>
                  <a:pt x="639583" y="1447658"/>
                  <a:pt x="641407" y="1445836"/>
                </a:cubicBezTo>
                <a:cubicBezTo>
                  <a:pt x="639583" y="1444014"/>
                  <a:pt x="637761" y="1444014"/>
                  <a:pt x="635939" y="1444014"/>
                </a:cubicBezTo>
                <a:close/>
                <a:moveTo>
                  <a:pt x="564874" y="1444014"/>
                </a:moveTo>
                <a:cubicBezTo>
                  <a:pt x="563052" y="1445836"/>
                  <a:pt x="566697" y="1451303"/>
                  <a:pt x="568519" y="1447658"/>
                </a:cubicBezTo>
                <a:cubicBezTo>
                  <a:pt x="570341" y="1445836"/>
                  <a:pt x="566697" y="1444014"/>
                  <a:pt x="564874" y="1444014"/>
                </a:cubicBezTo>
                <a:close/>
                <a:moveTo>
                  <a:pt x="471943" y="1444014"/>
                </a:moveTo>
                <a:cubicBezTo>
                  <a:pt x="468299" y="1447658"/>
                  <a:pt x="464655" y="1456769"/>
                  <a:pt x="461010" y="1464058"/>
                </a:cubicBezTo>
                <a:cubicBezTo>
                  <a:pt x="464655" y="1460414"/>
                  <a:pt x="470121" y="1449481"/>
                  <a:pt x="471943" y="1444014"/>
                </a:cubicBezTo>
                <a:close/>
                <a:moveTo>
                  <a:pt x="424981" y="1443062"/>
                </a:moveTo>
                <a:lnTo>
                  <a:pt x="425256" y="1443247"/>
                </a:lnTo>
                <a:lnTo>
                  <a:pt x="425022" y="1443331"/>
                </a:lnTo>
                <a:close/>
                <a:moveTo>
                  <a:pt x="750281" y="1442875"/>
                </a:moveTo>
                <a:cubicBezTo>
                  <a:pt x="748458" y="1442648"/>
                  <a:pt x="747092" y="1443103"/>
                  <a:pt x="747092" y="1445836"/>
                </a:cubicBezTo>
                <a:cubicBezTo>
                  <a:pt x="750737" y="1447658"/>
                  <a:pt x="752558" y="1451303"/>
                  <a:pt x="756203" y="1453125"/>
                </a:cubicBezTo>
                <a:cubicBezTo>
                  <a:pt x="758025" y="1449481"/>
                  <a:pt x="756203" y="1447658"/>
                  <a:pt x="756203" y="1444014"/>
                </a:cubicBezTo>
                <a:cubicBezTo>
                  <a:pt x="754380" y="1444014"/>
                  <a:pt x="752103" y="1443103"/>
                  <a:pt x="750281" y="1442875"/>
                </a:cubicBezTo>
                <a:close/>
                <a:moveTo>
                  <a:pt x="1184414" y="1442192"/>
                </a:moveTo>
                <a:lnTo>
                  <a:pt x="1185986" y="1462637"/>
                </a:lnTo>
                <a:lnTo>
                  <a:pt x="1184414" y="1464058"/>
                </a:lnTo>
                <a:lnTo>
                  <a:pt x="1186187" y="1465240"/>
                </a:lnTo>
                <a:lnTo>
                  <a:pt x="1186236" y="1465880"/>
                </a:lnTo>
                <a:lnTo>
                  <a:pt x="1186504" y="1465451"/>
                </a:lnTo>
                <a:lnTo>
                  <a:pt x="1189880" y="1467702"/>
                </a:lnTo>
                <a:cubicBezTo>
                  <a:pt x="1191703" y="1471347"/>
                  <a:pt x="1189880" y="1473169"/>
                  <a:pt x="1189880" y="1474991"/>
                </a:cubicBezTo>
                <a:cubicBezTo>
                  <a:pt x="1191703" y="1474991"/>
                  <a:pt x="1191703" y="1476813"/>
                  <a:pt x="1193525" y="1476813"/>
                </a:cubicBezTo>
                <a:cubicBezTo>
                  <a:pt x="1193525" y="1476813"/>
                  <a:pt x="1191703" y="1478635"/>
                  <a:pt x="1191703" y="1478635"/>
                </a:cubicBezTo>
                <a:cubicBezTo>
                  <a:pt x="1193525" y="1484102"/>
                  <a:pt x="1193525" y="1487746"/>
                  <a:pt x="1197169" y="1491391"/>
                </a:cubicBezTo>
                <a:cubicBezTo>
                  <a:pt x="1200814" y="1491391"/>
                  <a:pt x="1202636" y="1487746"/>
                  <a:pt x="1206279" y="1485924"/>
                </a:cubicBezTo>
                <a:cubicBezTo>
                  <a:pt x="1204457" y="1476813"/>
                  <a:pt x="1198991" y="1478635"/>
                  <a:pt x="1193525" y="1476813"/>
                </a:cubicBezTo>
                <a:lnTo>
                  <a:pt x="1196837" y="1476813"/>
                </a:lnTo>
                <a:lnTo>
                  <a:pt x="1198080" y="1477497"/>
                </a:lnTo>
                <a:cubicBezTo>
                  <a:pt x="1199446" y="1478635"/>
                  <a:pt x="1200814" y="1479547"/>
                  <a:pt x="1202636" y="1478635"/>
                </a:cubicBezTo>
                <a:cubicBezTo>
                  <a:pt x="1202636" y="1476813"/>
                  <a:pt x="1204457" y="1474991"/>
                  <a:pt x="1202636" y="1473169"/>
                </a:cubicBezTo>
                <a:cubicBezTo>
                  <a:pt x="1206279" y="1474991"/>
                  <a:pt x="1204457" y="1480458"/>
                  <a:pt x="1206279" y="1484102"/>
                </a:cubicBezTo>
                <a:cubicBezTo>
                  <a:pt x="1208102" y="1482280"/>
                  <a:pt x="1211747" y="1473169"/>
                  <a:pt x="1206279" y="1467702"/>
                </a:cubicBezTo>
                <a:cubicBezTo>
                  <a:pt x="1209925" y="1467702"/>
                  <a:pt x="1208102" y="1464058"/>
                  <a:pt x="1211747" y="1464058"/>
                </a:cubicBezTo>
                <a:cubicBezTo>
                  <a:pt x="1209925" y="1465880"/>
                  <a:pt x="1208102" y="1456769"/>
                  <a:pt x="1204457" y="1456769"/>
                </a:cubicBezTo>
                <a:cubicBezTo>
                  <a:pt x="1202636" y="1458592"/>
                  <a:pt x="1202636" y="1462236"/>
                  <a:pt x="1204457" y="1464058"/>
                </a:cubicBezTo>
                <a:cubicBezTo>
                  <a:pt x="1202636" y="1464058"/>
                  <a:pt x="1198991" y="1458592"/>
                  <a:pt x="1202636" y="1456769"/>
                </a:cubicBezTo>
                <a:cubicBezTo>
                  <a:pt x="1200814" y="1454947"/>
                  <a:pt x="1200814" y="1454947"/>
                  <a:pt x="1197169" y="1451303"/>
                </a:cubicBezTo>
                <a:cubicBezTo>
                  <a:pt x="1194435" y="1453125"/>
                  <a:pt x="1193069" y="1455403"/>
                  <a:pt x="1191475" y="1457680"/>
                </a:cubicBezTo>
                <a:lnTo>
                  <a:pt x="1191213" y="1457917"/>
                </a:lnTo>
                <a:lnTo>
                  <a:pt x="1195346" y="1451303"/>
                </a:lnTo>
                <a:cubicBezTo>
                  <a:pt x="1191703" y="1447658"/>
                  <a:pt x="1188058" y="1445836"/>
                  <a:pt x="1184414" y="1442192"/>
                </a:cubicBezTo>
                <a:close/>
                <a:moveTo>
                  <a:pt x="730692" y="1442192"/>
                </a:moveTo>
                <a:cubicBezTo>
                  <a:pt x="727048" y="1444014"/>
                  <a:pt x="723404" y="1447658"/>
                  <a:pt x="719759" y="1451303"/>
                </a:cubicBezTo>
                <a:cubicBezTo>
                  <a:pt x="725226" y="1451303"/>
                  <a:pt x="734336" y="1451303"/>
                  <a:pt x="737981" y="1444014"/>
                </a:cubicBezTo>
                <a:cubicBezTo>
                  <a:pt x="736159" y="1444014"/>
                  <a:pt x="734336" y="1442192"/>
                  <a:pt x="732515" y="1444014"/>
                </a:cubicBezTo>
                <a:cubicBezTo>
                  <a:pt x="734336" y="1445836"/>
                  <a:pt x="732515" y="1445836"/>
                  <a:pt x="732515" y="1447658"/>
                </a:cubicBezTo>
                <a:cubicBezTo>
                  <a:pt x="730692" y="1447658"/>
                  <a:pt x="732515" y="1444014"/>
                  <a:pt x="730692" y="1442192"/>
                </a:cubicBezTo>
                <a:close/>
                <a:moveTo>
                  <a:pt x="632296" y="1442192"/>
                </a:moveTo>
                <a:cubicBezTo>
                  <a:pt x="628650" y="1447658"/>
                  <a:pt x="628650" y="1454947"/>
                  <a:pt x="625006" y="1458592"/>
                </a:cubicBezTo>
                <a:cubicBezTo>
                  <a:pt x="626828" y="1460414"/>
                  <a:pt x="628650" y="1460414"/>
                  <a:pt x="630472" y="1460414"/>
                </a:cubicBezTo>
                <a:cubicBezTo>
                  <a:pt x="635939" y="1456769"/>
                  <a:pt x="634117" y="1447658"/>
                  <a:pt x="632296" y="1442192"/>
                </a:cubicBezTo>
                <a:close/>
                <a:moveTo>
                  <a:pt x="1166192" y="1440370"/>
                </a:moveTo>
                <a:cubicBezTo>
                  <a:pt x="1166192" y="1442192"/>
                  <a:pt x="1166192" y="1444014"/>
                  <a:pt x="1168014" y="1445836"/>
                </a:cubicBezTo>
                <a:cubicBezTo>
                  <a:pt x="1168014" y="1444014"/>
                  <a:pt x="1168014" y="1444014"/>
                  <a:pt x="1169836" y="1442192"/>
                </a:cubicBezTo>
                <a:cubicBezTo>
                  <a:pt x="1168014" y="1449481"/>
                  <a:pt x="1175303" y="1454947"/>
                  <a:pt x="1178947" y="1462236"/>
                </a:cubicBezTo>
                <a:cubicBezTo>
                  <a:pt x="1180769" y="1460414"/>
                  <a:pt x="1180769" y="1460414"/>
                  <a:pt x="1182592" y="1460414"/>
                </a:cubicBezTo>
                <a:cubicBezTo>
                  <a:pt x="1177125" y="1456769"/>
                  <a:pt x="1173481" y="1447658"/>
                  <a:pt x="1171658" y="1440370"/>
                </a:cubicBezTo>
                <a:cubicBezTo>
                  <a:pt x="1169836" y="1440370"/>
                  <a:pt x="1168014" y="1442192"/>
                  <a:pt x="1166192" y="1440370"/>
                </a:cubicBezTo>
                <a:close/>
                <a:moveTo>
                  <a:pt x="672383" y="1440370"/>
                </a:moveTo>
                <a:cubicBezTo>
                  <a:pt x="672383" y="1442192"/>
                  <a:pt x="672383" y="1442192"/>
                  <a:pt x="672383" y="1444014"/>
                </a:cubicBezTo>
                <a:cubicBezTo>
                  <a:pt x="668738" y="1434903"/>
                  <a:pt x="674205" y="1449481"/>
                  <a:pt x="672383" y="1447658"/>
                </a:cubicBezTo>
                <a:cubicBezTo>
                  <a:pt x="672383" y="1449481"/>
                  <a:pt x="674205" y="1447658"/>
                  <a:pt x="674205" y="1449481"/>
                </a:cubicBezTo>
                <a:cubicBezTo>
                  <a:pt x="674205" y="1447658"/>
                  <a:pt x="672383" y="1447658"/>
                  <a:pt x="672383" y="1445836"/>
                </a:cubicBezTo>
                <a:cubicBezTo>
                  <a:pt x="672383" y="1445836"/>
                  <a:pt x="674205" y="1445836"/>
                  <a:pt x="674205" y="1445836"/>
                </a:cubicBezTo>
                <a:cubicBezTo>
                  <a:pt x="674205" y="1444014"/>
                  <a:pt x="672383" y="1442192"/>
                  <a:pt x="672383" y="1440370"/>
                </a:cubicBezTo>
                <a:close/>
                <a:moveTo>
                  <a:pt x="652339" y="1440370"/>
                </a:moveTo>
                <a:cubicBezTo>
                  <a:pt x="646872" y="1445836"/>
                  <a:pt x="645050" y="1445836"/>
                  <a:pt x="650516" y="1453125"/>
                </a:cubicBezTo>
                <a:cubicBezTo>
                  <a:pt x="654161" y="1451303"/>
                  <a:pt x="654161" y="1447658"/>
                  <a:pt x="655983" y="1444014"/>
                </a:cubicBezTo>
                <a:cubicBezTo>
                  <a:pt x="654161" y="1444014"/>
                  <a:pt x="654161" y="1444014"/>
                  <a:pt x="652339" y="1440370"/>
                </a:cubicBezTo>
                <a:close/>
                <a:moveTo>
                  <a:pt x="418645" y="1438775"/>
                </a:moveTo>
                <a:cubicBezTo>
                  <a:pt x="415456" y="1439003"/>
                  <a:pt x="411812" y="1440370"/>
                  <a:pt x="408167" y="1440370"/>
                </a:cubicBezTo>
                <a:cubicBezTo>
                  <a:pt x="411812" y="1447658"/>
                  <a:pt x="422745" y="1451303"/>
                  <a:pt x="426389" y="1444014"/>
                </a:cubicBezTo>
                <a:lnTo>
                  <a:pt x="425256" y="1443247"/>
                </a:lnTo>
                <a:lnTo>
                  <a:pt x="428211" y="1442192"/>
                </a:lnTo>
                <a:cubicBezTo>
                  <a:pt x="426389" y="1440370"/>
                  <a:pt x="424567" y="1442192"/>
                  <a:pt x="424567" y="1440370"/>
                </a:cubicBezTo>
                <a:lnTo>
                  <a:pt x="424981" y="1443062"/>
                </a:lnTo>
                <a:close/>
                <a:moveTo>
                  <a:pt x="812690" y="1438548"/>
                </a:moveTo>
                <a:cubicBezTo>
                  <a:pt x="807223" y="1440370"/>
                  <a:pt x="803579" y="1440370"/>
                  <a:pt x="798112" y="1445836"/>
                </a:cubicBezTo>
                <a:cubicBezTo>
                  <a:pt x="801757" y="1451303"/>
                  <a:pt x="807223" y="1449481"/>
                  <a:pt x="810868" y="1454947"/>
                </a:cubicBezTo>
                <a:cubicBezTo>
                  <a:pt x="814512" y="1449481"/>
                  <a:pt x="809046" y="1444014"/>
                  <a:pt x="812690" y="1438548"/>
                </a:cubicBezTo>
                <a:close/>
                <a:moveTo>
                  <a:pt x="584178" y="1437609"/>
                </a:moveTo>
                <a:cubicBezTo>
                  <a:pt x="582982" y="1437125"/>
                  <a:pt x="581502" y="1437523"/>
                  <a:pt x="579907" y="1438320"/>
                </a:cubicBezTo>
                <a:cubicBezTo>
                  <a:pt x="576718" y="1439914"/>
                  <a:pt x="573074" y="1443103"/>
                  <a:pt x="570341" y="1444014"/>
                </a:cubicBezTo>
                <a:lnTo>
                  <a:pt x="573985" y="1446181"/>
                </a:lnTo>
                <a:lnTo>
                  <a:pt x="573985" y="1451303"/>
                </a:lnTo>
                <a:cubicBezTo>
                  <a:pt x="575808" y="1451303"/>
                  <a:pt x="575808" y="1449481"/>
                  <a:pt x="577630" y="1449481"/>
                </a:cubicBezTo>
                <a:lnTo>
                  <a:pt x="574835" y="1446686"/>
                </a:lnTo>
                <a:lnTo>
                  <a:pt x="578768" y="1449025"/>
                </a:lnTo>
                <a:cubicBezTo>
                  <a:pt x="580818" y="1449025"/>
                  <a:pt x="582185" y="1447658"/>
                  <a:pt x="583096" y="1445836"/>
                </a:cubicBezTo>
                <a:cubicBezTo>
                  <a:pt x="583096" y="1445836"/>
                  <a:pt x="583096" y="1444014"/>
                  <a:pt x="579452" y="1444014"/>
                </a:cubicBezTo>
                <a:cubicBezTo>
                  <a:pt x="583096" y="1445836"/>
                  <a:pt x="584919" y="1447658"/>
                  <a:pt x="586741" y="1442192"/>
                </a:cubicBezTo>
                <a:cubicBezTo>
                  <a:pt x="586285" y="1439459"/>
                  <a:pt x="585374" y="1438093"/>
                  <a:pt x="584178" y="1437609"/>
                </a:cubicBezTo>
                <a:close/>
                <a:moveTo>
                  <a:pt x="3228893" y="1436725"/>
                </a:moveTo>
                <a:cubicBezTo>
                  <a:pt x="3232537" y="1444014"/>
                  <a:pt x="3238003" y="1447658"/>
                  <a:pt x="3239826" y="1454947"/>
                </a:cubicBezTo>
                <a:cubicBezTo>
                  <a:pt x="3239826" y="1451303"/>
                  <a:pt x="3241648" y="1449481"/>
                  <a:pt x="3247114" y="1451303"/>
                </a:cubicBezTo>
                <a:cubicBezTo>
                  <a:pt x="3243470" y="1444014"/>
                  <a:pt x="3236181" y="1440370"/>
                  <a:pt x="3228893" y="1436725"/>
                </a:cubicBezTo>
                <a:close/>
                <a:moveTo>
                  <a:pt x="1658179" y="1436725"/>
                </a:moveTo>
                <a:lnTo>
                  <a:pt x="1658179" y="1451303"/>
                </a:lnTo>
                <a:cubicBezTo>
                  <a:pt x="1680046" y="1447658"/>
                  <a:pt x="1669112" y="1453125"/>
                  <a:pt x="1680046" y="1436725"/>
                </a:cubicBezTo>
                <a:close/>
                <a:moveTo>
                  <a:pt x="842513" y="1435749"/>
                </a:moveTo>
                <a:lnTo>
                  <a:pt x="857105" y="1454264"/>
                </a:lnTo>
                <a:lnTo>
                  <a:pt x="865909" y="1461204"/>
                </a:lnTo>
                <a:lnTo>
                  <a:pt x="865988" y="1461324"/>
                </a:lnTo>
                <a:lnTo>
                  <a:pt x="866314" y="1461523"/>
                </a:lnTo>
                <a:lnTo>
                  <a:pt x="876466" y="1469525"/>
                </a:lnTo>
                <a:cubicBezTo>
                  <a:pt x="876466" y="1465880"/>
                  <a:pt x="878288" y="1465880"/>
                  <a:pt x="880111" y="1464058"/>
                </a:cubicBezTo>
                <a:cubicBezTo>
                  <a:pt x="880111" y="1465880"/>
                  <a:pt x="880111" y="1469525"/>
                  <a:pt x="880111" y="1471347"/>
                </a:cubicBezTo>
                <a:cubicBezTo>
                  <a:pt x="876466" y="1469525"/>
                  <a:pt x="872822" y="1474991"/>
                  <a:pt x="867355" y="1471347"/>
                </a:cubicBezTo>
                <a:cubicBezTo>
                  <a:pt x="861889" y="1465880"/>
                  <a:pt x="858244" y="1458592"/>
                  <a:pt x="852778" y="1453125"/>
                </a:cubicBezTo>
                <a:cubicBezTo>
                  <a:pt x="850956" y="1454947"/>
                  <a:pt x="850956" y="1456769"/>
                  <a:pt x="850956" y="1460414"/>
                </a:cubicBezTo>
                <a:cubicBezTo>
                  <a:pt x="852778" y="1453125"/>
                  <a:pt x="849133" y="1445836"/>
                  <a:pt x="843667" y="1440370"/>
                </a:cubicBezTo>
                <a:close/>
                <a:moveTo>
                  <a:pt x="3465775" y="1434903"/>
                </a:moveTo>
                <a:cubicBezTo>
                  <a:pt x="3465775" y="1440370"/>
                  <a:pt x="3467597" y="1445836"/>
                  <a:pt x="3473064" y="1442192"/>
                </a:cubicBezTo>
                <a:cubicBezTo>
                  <a:pt x="3471242" y="1438548"/>
                  <a:pt x="3473064" y="1433081"/>
                  <a:pt x="3465775" y="1434903"/>
                </a:cubicBezTo>
                <a:close/>
                <a:moveTo>
                  <a:pt x="1013129" y="1434903"/>
                </a:moveTo>
                <a:cubicBezTo>
                  <a:pt x="1011307" y="1436725"/>
                  <a:pt x="1013129" y="1440370"/>
                  <a:pt x="1009485" y="1442192"/>
                </a:cubicBezTo>
                <a:cubicBezTo>
                  <a:pt x="1013129" y="1445836"/>
                  <a:pt x="1014951" y="1445836"/>
                  <a:pt x="1016774" y="1449481"/>
                </a:cubicBezTo>
                <a:cubicBezTo>
                  <a:pt x="1022240" y="1444014"/>
                  <a:pt x="1016774" y="1438548"/>
                  <a:pt x="1013129" y="1434903"/>
                </a:cubicBezTo>
                <a:close/>
                <a:moveTo>
                  <a:pt x="790824" y="1434903"/>
                </a:moveTo>
                <a:cubicBezTo>
                  <a:pt x="790824" y="1434903"/>
                  <a:pt x="789003" y="1436725"/>
                  <a:pt x="787179" y="1438548"/>
                </a:cubicBezTo>
                <a:cubicBezTo>
                  <a:pt x="789003" y="1442192"/>
                  <a:pt x="796290" y="1438548"/>
                  <a:pt x="790824" y="1434903"/>
                </a:cubicBezTo>
                <a:close/>
                <a:moveTo>
                  <a:pt x="768959" y="1434903"/>
                </a:moveTo>
                <a:cubicBezTo>
                  <a:pt x="768959" y="1436725"/>
                  <a:pt x="765313" y="1440370"/>
                  <a:pt x="768959" y="1442192"/>
                </a:cubicBezTo>
                <a:cubicBezTo>
                  <a:pt x="774424" y="1444014"/>
                  <a:pt x="776246" y="1442192"/>
                  <a:pt x="776246" y="1436725"/>
                </a:cubicBezTo>
                <a:cubicBezTo>
                  <a:pt x="774424" y="1433081"/>
                  <a:pt x="772602" y="1438548"/>
                  <a:pt x="768959" y="1434903"/>
                </a:cubicBezTo>
                <a:close/>
                <a:moveTo>
                  <a:pt x="761670" y="1434903"/>
                </a:moveTo>
                <a:cubicBezTo>
                  <a:pt x="759848" y="1436725"/>
                  <a:pt x="756203" y="1434903"/>
                  <a:pt x="756203" y="1438548"/>
                </a:cubicBezTo>
                <a:cubicBezTo>
                  <a:pt x="759848" y="1444014"/>
                  <a:pt x="763491" y="1438548"/>
                  <a:pt x="761670" y="1434903"/>
                </a:cubicBezTo>
                <a:close/>
                <a:moveTo>
                  <a:pt x="448256" y="1434903"/>
                </a:moveTo>
                <a:cubicBezTo>
                  <a:pt x="444611" y="1434903"/>
                  <a:pt x="439145" y="1436725"/>
                  <a:pt x="433678" y="1440370"/>
                </a:cubicBezTo>
                <a:cubicBezTo>
                  <a:pt x="440966" y="1445836"/>
                  <a:pt x="444611" y="1440370"/>
                  <a:pt x="448256" y="1434903"/>
                </a:cubicBezTo>
                <a:close/>
                <a:moveTo>
                  <a:pt x="842209" y="1434539"/>
                </a:moveTo>
                <a:lnTo>
                  <a:pt x="842513" y="1435749"/>
                </a:lnTo>
                <a:lnTo>
                  <a:pt x="841845" y="1434903"/>
                </a:lnTo>
                <a:close/>
                <a:moveTo>
                  <a:pt x="590612" y="1433992"/>
                </a:moveTo>
                <a:cubicBezTo>
                  <a:pt x="589929" y="1433081"/>
                  <a:pt x="588562" y="1433081"/>
                  <a:pt x="586741" y="1434903"/>
                </a:cubicBezTo>
                <a:cubicBezTo>
                  <a:pt x="588562" y="1436725"/>
                  <a:pt x="588562" y="1438548"/>
                  <a:pt x="590385" y="1438548"/>
                </a:cubicBezTo>
                <a:cubicBezTo>
                  <a:pt x="591296" y="1436726"/>
                  <a:pt x="591296" y="1434903"/>
                  <a:pt x="590612" y="1433992"/>
                </a:cubicBezTo>
                <a:close/>
                <a:moveTo>
                  <a:pt x="1198991" y="1433081"/>
                </a:moveTo>
                <a:cubicBezTo>
                  <a:pt x="1193525" y="1433081"/>
                  <a:pt x="1189880" y="1434903"/>
                  <a:pt x="1186236" y="1438548"/>
                </a:cubicBezTo>
                <a:cubicBezTo>
                  <a:pt x="1189880" y="1438548"/>
                  <a:pt x="1197169" y="1440370"/>
                  <a:pt x="1198991" y="1433081"/>
                </a:cubicBezTo>
                <a:close/>
                <a:moveTo>
                  <a:pt x="637761" y="1433081"/>
                </a:moveTo>
                <a:cubicBezTo>
                  <a:pt x="634117" y="1436725"/>
                  <a:pt x="632296" y="1444014"/>
                  <a:pt x="637761" y="1444014"/>
                </a:cubicBezTo>
                <a:cubicBezTo>
                  <a:pt x="639583" y="1436725"/>
                  <a:pt x="650516" y="1447658"/>
                  <a:pt x="643228" y="1442192"/>
                </a:cubicBezTo>
                <a:cubicBezTo>
                  <a:pt x="643228" y="1440370"/>
                  <a:pt x="639583" y="1436725"/>
                  <a:pt x="637761" y="1433081"/>
                </a:cubicBezTo>
                <a:close/>
                <a:moveTo>
                  <a:pt x="3194271" y="1431259"/>
                </a:moveTo>
                <a:cubicBezTo>
                  <a:pt x="3186982" y="1434903"/>
                  <a:pt x="3181516" y="1447658"/>
                  <a:pt x="3185160" y="1458592"/>
                </a:cubicBezTo>
                <a:cubicBezTo>
                  <a:pt x="3186982" y="1456769"/>
                  <a:pt x="3190627" y="1454947"/>
                  <a:pt x="3197916" y="1444014"/>
                </a:cubicBezTo>
                <a:lnTo>
                  <a:pt x="3212493" y="1454947"/>
                </a:lnTo>
                <a:cubicBezTo>
                  <a:pt x="3212493" y="1454947"/>
                  <a:pt x="3212493" y="1453125"/>
                  <a:pt x="3212493" y="1453125"/>
                </a:cubicBezTo>
                <a:cubicBezTo>
                  <a:pt x="3214315" y="1454947"/>
                  <a:pt x="3214315" y="1454947"/>
                  <a:pt x="3216137" y="1456769"/>
                </a:cubicBezTo>
                <a:cubicBezTo>
                  <a:pt x="3217960" y="1453125"/>
                  <a:pt x="3212493" y="1447658"/>
                  <a:pt x="3216137" y="1445836"/>
                </a:cubicBezTo>
                <a:cubicBezTo>
                  <a:pt x="3217960" y="1445836"/>
                  <a:pt x="3219782" y="1445836"/>
                  <a:pt x="3221604" y="1445836"/>
                </a:cubicBezTo>
                <a:cubicBezTo>
                  <a:pt x="3219782" y="1442192"/>
                  <a:pt x="3217960" y="1442192"/>
                  <a:pt x="3217960" y="1438548"/>
                </a:cubicBezTo>
                <a:cubicBezTo>
                  <a:pt x="3223426" y="1442192"/>
                  <a:pt x="3228893" y="1449481"/>
                  <a:pt x="3230715" y="1456769"/>
                </a:cubicBezTo>
                <a:cubicBezTo>
                  <a:pt x="3230715" y="1445836"/>
                  <a:pt x="3227071" y="1438548"/>
                  <a:pt x="3221604" y="1431259"/>
                </a:cubicBezTo>
                <a:cubicBezTo>
                  <a:pt x="3219782" y="1431259"/>
                  <a:pt x="3219782" y="1433081"/>
                  <a:pt x="3217960" y="1433081"/>
                </a:cubicBezTo>
                <a:cubicBezTo>
                  <a:pt x="3219782" y="1434903"/>
                  <a:pt x="3221604" y="1434903"/>
                  <a:pt x="3223426" y="1436725"/>
                </a:cubicBezTo>
                <a:cubicBezTo>
                  <a:pt x="3217960" y="1438548"/>
                  <a:pt x="3214315" y="1436725"/>
                  <a:pt x="3210671" y="1434903"/>
                </a:cubicBezTo>
                <a:cubicBezTo>
                  <a:pt x="3207027" y="1436725"/>
                  <a:pt x="3203382" y="1436725"/>
                  <a:pt x="3196093" y="1436725"/>
                </a:cubicBezTo>
                <a:cubicBezTo>
                  <a:pt x="3197916" y="1434903"/>
                  <a:pt x="3199738" y="1433081"/>
                  <a:pt x="3199738" y="1431259"/>
                </a:cubicBezTo>
                <a:cubicBezTo>
                  <a:pt x="3197916" y="1429437"/>
                  <a:pt x="3196093" y="1429437"/>
                  <a:pt x="3194271" y="1431259"/>
                </a:cubicBezTo>
                <a:close/>
                <a:moveTo>
                  <a:pt x="563052" y="1431259"/>
                </a:moveTo>
                <a:cubicBezTo>
                  <a:pt x="559408" y="1433081"/>
                  <a:pt x="557586" y="1436725"/>
                  <a:pt x="557586" y="1440370"/>
                </a:cubicBezTo>
                <a:cubicBezTo>
                  <a:pt x="561230" y="1442192"/>
                  <a:pt x="563052" y="1436725"/>
                  <a:pt x="566697" y="1436725"/>
                </a:cubicBezTo>
                <a:cubicBezTo>
                  <a:pt x="566697" y="1434903"/>
                  <a:pt x="564874" y="1431259"/>
                  <a:pt x="563052" y="1431259"/>
                </a:cubicBezTo>
                <a:close/>
                <a:moveTo>
                  <a:pt x="461010" y="1431259"/>
                </a:moveTo>
                <a:cubicBezTo>
                  <a:pt x="459188" y="1434903"/>
                  <a:pt x="453722" y="1438548"/>
                  <a:pt x="451899" y="1442192"/>
                </a:cubicBezTo>
                <a:cubicBezTo>
                  <a:pt x="450077" y="1440370"/>
                  <a:pt x="450077" y="1444014"/>
                  <a:pt x="446433" y="1445836"/>
                </a:cubicBezTo>
                <a:cubicBezTo>
                  <a:pt x="448256" y="1451303"/>
                  <a:pt x="451899" y="1444014"/>
                  <a:pt x="451899" y="1442192"/>
                </a:cubicBezTo>
                <a:cubicBezTo>
                  <a:pt x="453722" y="1442192"/>
                  <a:pt x="455544" y="1440370"/>
                  <a:pt x="457367" y="1438548"/>
                </a:cubicBezTo>
                <a:cubicBezTo>
                  <a:pt x="459188" y="1436725"/>
                  <a:pt x="461010" y="1433081"/>
                  <a:pt x="461010" y="1431259"/>
                </a:cubicBezTo>
                <a:close/>
                <a:moveTo>
                  <a:pt x="415456" y="1431259"/>
                </a:moveTo>
                <a:cubicBezTo>
                  <a:pt x="415456" y="1438548"/>
                  <a:pt x="428211" y="1444014"/>
                  <a:pt x="435500" y="1436725"/>
                </a:cubicBezTo>
                <a:cubicBezTo>
                  <a:pt x="430034" y="1433081"/>
                  <a:pt x="422745" y="1433081"/>
                  <a:pt x="415456" y="1431259"/>
                </a:cubicBezTo>
                <a:close/>
                <a:moveTo>
                  <a:pt x="453494" y="1430804"/>
                </a:moveTo>
                <a:cubicBezTo>
                  <a:pt x="452355" y="1431714"/>
                  <a:pt x="450988" y="1433081"/>
                  <a:pt x="450077" y="1433081"/>
                </a:cubicBezTo>
                <a:cubicBezTo>
                  <a:pt x="451899" y="1433081"/>
                  <a:pt x="453722" y="1431259"/>
                  <a:pt x="455544" y="1431259"/>
                </a:cubicBezTo>
                <a:cubicBezTo>
                  <a:pt x="455544" y="1429437"/>
                  <a:pt x="454633" y="1429892"/>
                  <a:pt x="453494" y="1430804"/>
                </a:cubicBezTo>
                <a:close/>
                <a:moveTo>
                  <a:pt x="1417651" y="1429563"/>
                </a:moveTo>
                <a:lnTo>
                  <a:pt x="1432231" y="1436852"/>
                </a:lnTo>
                <a:lnTo>
                  <a:pt x="1417651" y="1453251"/>
                </a:lnTo>
                <a:lnTo>
                  <a:pt x="1424940" y="1467827"/>
                </a:lnTo>
                <a:lnTo>
                  <a:pt x="1386674" y="1467827"/>
                </a:lnTo>
                <a:cubicBezTo>
                  <a:pt x="1401252" y="1425919"/>
                  <a:pt x="1403074" y="1469649"/>
                  <a:pt x="1417651" y="1429563"/>
                </a:cubicBezTo>
                <a:close/>
                <a:moveTo>
                  <a:pt x="2857169" y="1429502"/>
                </a:moveTo>
                <a:lnTo>
                  <a:pt x="2873569" y="1429502"/>
                </a:lnTo>
                <a:lnTo>
                  <a:pt x="2857169" y="1444079"/>
                </a:lnTo>
                <a:close/>
                <a:moveTo>
                  <a:pt x="1160725" y="1429437"/>
                </a:moveTo>
                <a:cubicBezTo>
                  <a:pt x="1158903" y="1431259"/>
                  <a:pt x="1162547" y="1434903"/>
                  <a:pt x="1164370" y="1436725"/>
                </a:cubicBezTo>
                <a:cubicBezTo>
                  <a:pt x="1164370" y="1434903"/>
                  <a:pt x="1166192" y="1434903"/>
                  <a:pt x="1168014" y="1433081"/>
                </a:cubicBezTo>
                <a:cubicBezTo>
                  <a:pt x="1166192" y="1429437"/>
                  <a:pt x="1162547" y="1433081"/>
                  <a:pt x="1160725" y="1429437"/>
                </a:cubicBezTo>
                <a:close/>
                <a:moveTo>
                  <a:pt x="1116993" y="1429437"/>
                </a:moveTo>
                <a:cubicBezTo>
                  <a:pt x="1116993" y="1436725"/>
                  <a:pt x="1127926" y="1436725"/>
                  <a:pt x="1133393" y="1442192"/>
                </a:cubicBezTo>
                <a:cubicBezTo>
                  <a:pt x="1129748" y="1436725"/>
                  <a:pt x="1122459" y="1431259"/>
                  <a:pt x="1116993" y="1429437"/>
                </a:cubicBezTo>
                <a:close/>
                <a:moveTo>
                  <a:pt x="973041" y="1429437"/>
                </a:moveTo>
                <a:cubicBezTo>
                  <a:pt x="980330" y="1442192"/>
                  <a:pt x="991263" y="1440370"/>
                  <a:pt x="1000374" y="1449481"/>
                </a:cubicBezTo>
                <a:cubicBezTo>
                  <a:pt x="998552" y="1449481"/>
                  <a:pt x="995818" y="1448114"/>
                  <a:pt x="993085" y="1446975"/>
                </a:cubicBezTo>
                <a:lnTo>
                  <a:pt x="986629" y="1445966"/>
                </a:lnTo>
                <a:lnTo>
                  <a:pt x="982152" y="1440370"/>
                </a:lnTo>
                <a:cubicBezTo>
                  <a:pt x="980330" y="1440370"/>
                  <a:pt x="982152" y="1442192"/>
                  <a:pt x="982152" y="1442192"/>
                </a:cubicBezTo>
                <a:cubicBezTo>
                  <a:pt x="978508" y="1438548"/>
                  <a:pt x="974863" y="1434903"/>
                  <a:pt x="973041" y="1429437"/>
                </a:cubicBezTo>
                <a:close/>
                <a:moveTo>
                  <a:pt x="754380" y="1429437"/>
                </a:moveTo>
                <a:cubicBezTo>
                  <a:pt x="752558" y="1427615"/>
                  <a:pt x="752558" y="1431259"/>
                  <a:pt x="750737" y="1431259"/>
                </a:cubicBezTo>
                <a:cubicBezTo>
                  <a:pt x="752558" y="1434903"/>
                  <a:pt x="754380" y="1431259"/>
                  <a:pt x="754380" y="1429437"/>
                </a:cubicBezTo>
                <a:close/>
                <a:moveTo>
                  <a:pt x="566240" y="1429209"/>
                </a:moveTo>
                <a:cubicBezTo>
                  <a:pt x="565785" y="1428070"/>
                  <a:pt x="564874" y="1427614"/>
                  <a:pt x="563052" y="1429437"/>
                </a:cubicBezTo>
                <a:cubicBezTo>
                  <a:pt x="566697" y="1429437"/>
                  <a:pt x="564874" y="1431259"/>
                  <a:pt x="566697" y="1433081"/>
                </a:cubicBezTo>
                <a:cubicBezTo>
                  <a:pt x="566697" y="1432170"/>
                  <a:pt x="566697" y="1430348"/>
                  <a:pt x="566240" y="1429209"/>
                </a:cubicBezTo>
                <a:close/>
                <a:moveTo>
                  <a:pt x="3159650" y="1427615"/>
                </a:moveTo>
                <a:cubicBezTo>
                  <a:pt x="3159650" y="1429437"/>
                  <a:pt x="3159650" y="1442192"/>
                  <a:pt x="3166939" y="1440370"/>
                </a:cubicBezTo>
                <a:cubicBezTo>
                  <a:pt x="3166939" y="1434903"/>
                  <a:pt x="3165116" y="1433081"/>
                  <a:pt x="3163294" y="1427615"/>
                </a:cubicBezTo>
                <a:cubicBezTo>
                  <a:pt x="3163294" y="1429437"/>
                  <a:pt x="3159650" y="1429437"/>
                  <a:pt x="3159650" y="1427615"/>
                </a:cubicBezTo>
                <a:close/>
                <a:moveTo>
                  <a:pt x="2999299" y="1427615"/>
                </a:moveTo>
                <a:cubicBezTo>
                  <a:pt x="2993832" y="1431259"/>
                  <a:pt x="2990188" y="1436725"/>
                  <a:pt x="2988366" y="1444014"/>
                </a:cubicBezTo>
                <a:lnTo>
                  <a:pt x="2993832" y="1444014"/>
                </a:lnTo>
                <a:lnTo>
                  <a:pt x="3001121" y="1429437"/>
                </a:lnTo>
                <a:cubicBezTo>
                  <a:pt x="3001121" y="1429437"/>
                  <a:pt x="2999299" y="1427615"/>
                  <a:pt x="2999299" y="1427615"/>
                </a:cubicBezTo>
                <a:close/>
                <a:moveTo>
                  <a:pt x="1565248" y="1427615"/>
                </a:moveTo>
                <a:lnTo>
                  <a:pt x="1550670" y="1442192"/>
                </a:lnTo>
                <a:lnTo>
                  <a:pt x="1567070" y="1451303"/>
                </a:lnTo>
                <a:close/>
                <a:moveTo>
                  <a:pt x="801757" y="1427615"/>
                </a:moveTo>
                <a:cubicBezTo>
                  <a:pt x="801757" y="1429437"/>
                  <a:pt x="799935" y="1427615"/>
                  <a:pt x="798112" y="1429437"/>
                </a:cubicBezTo>
                <a:cubicBezTo>
                  <a:pt x="796290" y="1433081"/>
                  <a:pt x="796290" y="1434903"/>
                  <a:pt x="794468" y="1438548"/>
                </a:cubicBezTo>
                <a:cubicBezTo>
                  <a:pt x="798112" y="1438548"/>
                  <a:pt x="801757" y="1431259"/>
                  <a:pt x="801757" y="1427615"/>
                </a:cubicBezTo>
                <a:close/>
                <a:moveTo>
                  <a:pt x="745269" y="1427615"/>
                </a:moveTo>
                <a:cubicBezTo>
                  <a:pt x="741626" y="1429437"/>
                  <a:pt x="739803" y="1433081"/>
                  <a:pt x="737981" y="1434903"/>
                </a:cubicBezTo>
                <a:lnTo>
                  <a:pt x="739803" y="1434903"/>
                </a:lnTo>
                <a:cubicBezTo>
                  <a:pt x="743447" y="1434903"/>
                  <a:pt x="747092" y="1433081"/>
                  <a:pt x="745269" y="1427615"/>
                </a:cubicBezTo>
                <a:close/>
                <a:moveTo>
                  <a:pt x="838028" y="1427528"/>
                </a:moveTo>
                <a:lnTo>
                  <a:pt x="839112" y="1428071"/>
                </a:lnTo>
                <a:lnTo>
                  <a:pt x="835184" y="1427678"/>
                </a:lnTo>
                <a:lnTo>
                  <a:pt x="835158" y="1427600"/>
                </a:lnTo>
                <a:close/>
                <a:moveTo>
                  <a:pt x="1125442" y="1427449"/>
                </a:moveTo>
                <a:lnTo>
                  <a:pt x="1126104" y="1427615"/>
                </a:lnTo>
                <a:cubicBezTo>
                  <a:pt x="1127015" y="1428526"/>
                  <a:pt x="1126559" y="1428526"/>
                  <a:pt x="1125876" y="1428070"/>
                </a:cubicBezTo>
                <a:close/>
                <a:moveTo>
                  <a:pt x="575808" y="1426704"/>
                </a:moveTo>
                <a:lnTo>
                  <a:pt x="576053" y="1427073"/>
                </a:lnTo>
                <a:lnTo>
                  <a:pt x="575808" y="1427615"/>
                </a:lnTo>
                <a:close/>
                <a:moveTo>
                  <a:pt x="3247114" y="1425792"/>
                </a:moveTo>
                <a:cubicBezTo>
                  <a:pt x="3243470" y="1429437"/>
                  <a:pt x="3250759" y="1433081"/>
                  <a:pt x="3254403" y="1434903"/>
                </a:cubicBezTo>
                <a:cubicBezTo>
                  <a:pt x="3254403" y="1431259"/>
                  <a:pt x="3252581" y="1431259"/>
                  <a:pt x="3252581" y="1427615"/>
                </a:cubicBezTo>
                <a:cubicBezTo>
                  <a:pt x="3250759" y="1427615"/>
                  <a:pt x="3247114" y="1427615"/>
                  <a:pt x="3247114" y="1425792"/>
                </a:cubicBezTo>
                <a:close/>
                <a:moveTo>
                  <a:pt x="1118815" y="1425792"/>
                </a:moveTo>
                <a:cubicBezTo>
                  <a:pt x="1126104" y="1429437"/>
                  <a:pt x="1133393" y="1442192"/>
                  <a:pt x="1140681" y="1440370"/>
                </a:cubicBezTo>
                <a:cubicBezTo>
                  <a:pt x="1137037" y="1434903"/>
                  <a:pt x="1133393" y="1431259"/>
                  <a:pt x="1127926" y="1429437"/>
                </a:cubicBezTo>
                <a:cubicBezTo>
                  <a:pt x="1127926" y="1429437"/>
                  <a:pt x="1129748" y="1429437"/>
                  <a:pt x="1129748" y="1429437"/>
                </a:cubicBezTo>
                <a:cubicBezTo>
                  <a:pt x="1129748" y="1427615"/>
                  <a:pt x="1126104" y="1425792"/>
                  <a:pt x="1124282" y="1425792"/>
                </a:cubicBezTo>
                <a:lnTo>
                  <a:pt x="1125442" y="1427449"/>
                </a:lnTo>
                <a:close/>
                <a:moveTo>
                  <a:pt x="834556" y="1425792"/>
                </a:moveTo>
                <a:lnTo>
                  <a:pt x="852778" y="1425792"/>
                </a:lnTo>
                <a:cubicBezTo>
                  <a:pt x="850044" y="1427614"/>
                  <a:pt x="846855" y="1427614"/>
                  <a:pt x="843667" y="1427387"/>
                </a:cubicBezTo>
                <a:lnTo>
                  <a:pt x="838028" y="1427528"/>
                </a:lnTo>
                <a:close/>
                <a:moveTo>
                  <a:pt x="812690" y="1425792"/>
                </a:moveTo>
                <a:cubicBezTo>
                  <a:pt x="809046" y="1429437"/>
                  <a:pt x="805401" y="1434903"/>
                  <a:pt x="799935" y="1436725"/>
                </a:cubicBezTo>
                <a:cubicBezTo>
                  <a:pt x="807223" y="1436725"/>
                  <a:pt x="816334" y="1436725"/>
                  <a:pt x="812690" y="1425792"/>
                </a:cubicBezTo>
                <a:close/>
                <a:moveTo>
                  <a:pt x="665094" y="1425792"/>
                </a:moveTo>
                <a:cubicBezTo>
                  <a:pt x="665094" y="1431259"/>
                  <a:pt x="663272" y="1436725"/>
                  <a:pt x="659627" y="1440370"/>
                </a:cubicBezTo>
                <a:cubicBezTo>
                  <a:pt x="661449" y="1442192"/>
                  <a:pt x="665094" y="1445836"/>
                  <a:pt x="668738" y="1442192"/>
                </a:cubicBezTo>
                <a:cubicBezTo>
                  <a:pt x="666916" y="1440370"/>
                  <a:pt x="666916" y="1438548"/>
                  <a:pt x="663272" y="1438548"/>
                </a:cubicBezTo>
                <a:cubicBezTo>
                  <a:pt x="665094" y="1434903"/>
                  <a:pt x="666916" y="1429437"/>
                  <a:pt x="665094" y="1425792"/>
                </a:cubicBezTo>
                <a:close/>
                <a:moveTo>
                  <a:pt x="630472" y="1425792"/>
                </a:moveTo>
                <a:cubicBezTo>
                  <a:pt x="626828" y="1423970"/>
                  <a:pt x="625006" y="1429437"/>
                  <a:pt x="621362" y="1427615"/>
                </a:cubicBezTo>
                <a:cubicBezTo>
                  <a:pt x="610429" y="1434903"/>
                  <a:pt x="606784" y="1438548"/>
                  <a:pt x="604963" y="1449481"/>
                </a:cubicBezTo>
                <a:cubicBezTo>
                  <a:pt x="604963" y="1456769"/>
                  <a:pt x="603140" y="1462236"/>
                  <a:pt x="612251" y="1462236"/>
                </a:cubicBezTo>
                <a:cubicBezTo>
                  <a:pt x="614074" y="1460414"/>
                  <a:pt x="615895" y="1460414"/>
                  <a:pt x="615895" y="1458592"/>
                </a:cubicBezTo>
                <a:cubicBezTo>
                  <a:pt x="615895" y="1454947"/>
                  <a:pt x="614074" y="1454947"/>
                  <a:pt x="610429" y="1454947"/>
                </a:cubicBezTo>
                <a:cubicBezTo>
                  <a:pt x="628650" y="1451303"/>
                  <a:pt x="623185" y="1434903"/>
                  <a:pt x="630472" y="1425792"/>
                </a:cubicBezTo>
                <a:close/>
                <a:moveTo>
                  <a:pt x="3407466" y="1423970"/>
                </a:moveTo>
                <a:cubicBezTo>
                  <a:pt x="3405643" y="1429437"/>
                  <a:pt x="3405643" y="1436725"/>
                  <a:pt x="3412932" y="1438548"/>
                </a:cubicBezTo>
                <a:cubicBezTo>
                  <a:pt x="3412932" y="1436725"/>
                  <a:pt x="3412932" y="1436725"/>
                  <a:pt x="3414754" y="1434903"/>
                </a:cubicBezTo>
                <a:cubicBezTo>
                  <a:pt x="3414754" y="1442192"/>
                  <a:pt x="3420221" y="1447658"/>
                  <a:pt x="3425687" y="1444014"/>
                </a:cubicBezTo>
                <a:cubicBezTo>
                  <a:pt x="3427510" y="1440370"/>
                  <a:pt x="3427510" y="1436725"/>
                  <a:pt x="3427510" y="1434903"/>
                </a:cubicBezTo>
                <a:cubicBezTo>
                  <a:pt x="3427510" y="1438548"/>
                  <a:pt x="3427510" y="1440370"/>
                  <a:pt x="3425687" y="1442192"/>
                </a:cubicBezTo>
                <a:cubicBezTo>
                  <a:pt x="3422043" y="1436725"/>
                  <a:pt x="3431154" y="1434903"/>
                  <a:pt x="3429332" y="1427615"/>
                </a:cubicBezTo>
                <a:cubicBezTo>
                  <a:pt x="3425687" y="1431259"/>
                  <a:pt x="3418399" y="1425792"/>
                  <a:pt x="3422043" y="1434903"/>
                </a:cubicBezTo>
                <a:cubicBezTo>
                  <a:pt x="3418399" y="1436725"/>
                  <a:pt x="3420221" y="1433081"/>
                  <a:pt x="3416577" y="1434903"/>
                </a:cubicBezTo>
                <a:cubicBezTo>
                  <a:pt x="3418399" y="1425792"/>
                  <a:pt x="3409288" y="1427615"/>
                  <a:pt x="3407466" y="1423970"/>
                </a:cubicBezTo>
                <a:close/>
                <a:moveTo>
                  <a:pt x="3148717" y="1423970"/>
                </a:moveTo>
                <a:cubicBezTo>
                  <a:pt x="3146895" y="1427615"/>
                  <a:pt x="3154184" y="1433081"/>
                  <a:pt x="3157828" y="1433081"/>
                </a:cubicBezTo>
                <a:cubicBezTo>
                  <a:pt x="3159650" y="1423970"/>
                  <a:pt x="3152361" y="1423970"/>
                  <a:pt x="3148717" y="1423970"/>
                </a:cubicBezTo>
                <a:close/>
                <a:moveTo>
                  <a:pt x="991263" y="1423970"/>
                </a:moveTo>
                <a:cubicBezTo>
                  <a:pt x="991263" y="1434903"/>
                  <a:pt x="1000374" y="1438548"/>
                  <a:pt x="1007663" y="1440370"/>
                </a:cubicBezTo>
                <a:cubicBezTo>
                  <a:pt x="1002196" y="1434903"/>
                  <a:pt x="996729" y="1429437"/>
                  <a:pt x="991263" y="1423970"/>
                </a:cubicBezTo>
                <a:close/>
                <a:moveTo>
                  <a:pt x="830912" y="1423970"/>
                </a:moveTo>
                <a:cubicBezTo>
                  <a:pt x="827267" y="1429437"/>
                  <a:pt x="823623" y="1431259"/>
                  <a:pt x="818156" y="1434903"/>
                </a:cubicBezTo>
                <a:cubicBezTo>
                  <a:pt x="825445" y="1434903"/>
                  <a:pt x="836378" y="1433081"/>
                  <a:pt x="830912" y="1423970"/>
                </a:cubicBezTo>
                <a:close/>
                <a:moveTo>
                  <a:pt x="697893" y="1423970"/>
                </a:moveTo>
                <a:cubicBezTo>
                  <a:pt x="694249" y="1427615"/>
                  <a:pt x="694249" y="1434903"/>
                  <a:pt x="694249" y="1440370"/>
                </a:cubicBezTo>
                <a:cubicBezTo>
                  <a:pt x="690604" y="1442192"/>
                  <a:pt x="686504" y="1445381"/>
                  <a:pt x="684454" y="1448569"/>
                </a:cubicBezTo>
                <a:lnTo>
                  <a:pt x="684911" y="1450062"/>
                </a:lnTo>
                <a:lnTo>
                  <a:pt x="683316" y="1451303"/>
                </a:lnTo>
                <a:lnTo>
                  <a:pt x="685162" y="1450886"/>
                </a:lnTo>
                <a:lnTo>
                  <a:pt x="686960" y="1456769"/>
                </a:lnTo>
                <a:cubicBezTo>
                  <a:pt x="687872" y="1457680"/>
                  <a:pt x="688326" y="1456769"/>
                  <a:pt x="688326" y="1455175"/>
                </a:cubicBezTo>
                <a:lnTo>
                  <a:pt x="687188" y="1450429"/>
                </a:lnTo>
                <a:lnTo>
                  <a:pt x="687539" y="1450349"/>
                </a:lnTo>
                <a:lnTo>
                  <a:pt x="690604" y="1454947"/>
                </a:lnTo>
                <a:cubicBezTo>
                  <a:pt x="692426" y="1452214"/>
                  <a:pt x="691971" y="1450392"/>
                  <a:pt x="690376" y="1449708"/>
                </a:cubicBezTo>
                <a:lnTo>
                  <a:pt x="687539" y="1450349"/>
                </a:lnTo>
                <a:lnTo>
                  <a:pt x="686960" y="1449481"/>
                </a:lnTo>
                <a:lnTo>
                  <a:pt x="687188" y="1450429"/>
                </a:lnTo>
                <a:lnTo>
                  <a:pt x="685162" y="1450886"/>
                </a:lnTo>
                <a:lnTo>
                  <a:pt x="684911" y="1450062"/>
                </a:lnTo>
                <a:lnTo>
                  <a:pt x="689466" y="1446519"/>
                </a:lnTo>
                <a:cubicBezTo>
                  <a:pt x="691971" y="1445380"/>
                  <a:pt x="694249" y="1444014"/>
                  <a:pt x="694249" y="1440370"/>
                </a:cubicBezTo>
                <a:cubicBezTo>
                  <a:pt x="697893" y="1436725"/>
                  <a:pt x="701537" y="1433081"/>
                  <a:pt x="705182" y="1431259"/>
                </a:cubicBezTo>
                <a:cubicBezTo>
                  <a:pt x="708826" y="1438548"/>
                  <a:pt x="697893" y="1438548"/>
                  <a:pt x="697893" y="1444014"/>
                </a:cubicBezTo>
                <a:cubicBezTo>
                  <a:pt x="705182" y="1442192"/>
                  <a:pt x="717937" y="1444014"/>
                  <a:pt x="719759" y="1434903"/>
                </a:cubicBezTo>
                <a:cubicBezTo>
                  <a:pt x="712470" y="1427615"/>
                  <a:pt x="705182" y="1425792"/>
                  <a:pt x="697893" y="1423970"/>
                </a:cubicBezTo>
                <a:close/>
                <a:moveTo>
                  <a:pt x="508387" y="1423970"/>
                </a:moveTo>
                <a:cubicBezTo>
                  <a:pt x="504743" y="1422148"/>
                  <a:pt x="501098" y="1427615"/>
                  <a:pt x="501098" y="1429437"/>
                </a:cubicBezTo>
                <a:cubicBezTo>
                  <a:pt x="502920" y="1433081"/>
                  <a:pt x="501098" y="1440370"/>
                  <a:pt x="504743" y="1444014"/>
                </a:cubicBezTo>
                <a:cubicBezTo>
                  <a:pt x="504743" y="1436725"/>
                  <a:pt x="508387" y="1431259"/>
                  <a:pt x="508387" y="1423970"/>
                </a:cubicBezTo>
                <a:close/>
                <a:moveTo>
                  <a:pt x="471943" y="1423970"/>
                </a:moveTo>
                <a:cubicBezTo>
                  <a:pt x="470121" y="1422148"/>
                  <a:pt x="464655" y="1427615"/>
                  <a:pt x="466478" y="1429437"/>
                </a:cubicBezTo>
                <a:cubicBezTo>
                  <a:pt x="468299" y="1429437"/>
                  <a:pt x="470121" y="1425792"/>
                  <a:pt x="471943" y="1423970"/>
                </a:cubicBezTo>
                <a:close/>
                <a:moveTo>
                  <a:pt x="493809" y="1422148"/>
                </a:moveTo>
                <a:cubicBezTo>
                  <a:pt x="488343" y="1420326"/>
                  <a:pt x="486521" y="1431259"/>
                  <a:pt x="490165" y="1431259"/>
                </a:cubicBezTo>
                <a:cubicBezTo>
                  <a:pt x="481054" y="1434903"/>
                  <a:pt x="481054" y="1454947"/>
                  <a:pt x="490165" y="1454947"/>
                </a:cubicBezTo>
                <a:cubicBezTo>
                  <a:pt x="491987" y="1447658"/>
                  <a:pt x="490165" y="1438548"/>
                  <a:pt x="490165" y="1431259"/>
                </a:cubicBezTo>
                <a:cubicBezTo>
                  <a:pt x="493809" y="1427615"/>
                  <a:pt x="490165" y="1423970"/>
                  <a:pt x="493809" y="1422148"/>
                </a:cubicBezTo>
                <a:close/>
                <a:moveTo>
                  <a:pt x="605191" y="1421465"/>
                </a:moveTo>
                <a:cubicBezTo>
                  <a:pt x="603595" y="1422148"/>
                  <a:pt x="602229" y="1423059"/>
                  <a:pt x="601318" y="1422148"/>
                </a:cubicBezTo>
                <a:cubicBezTo>
                  <a:pt x="599496" y="1422148"/>
                  <a:pt x="603140" y="1423970"/>
                  <a:pt x="599496" y="1425792"/>
                </a:cubicBezTo>
                <a:cubicBezTo>
                  <a:pt x="603140" y="1427615"/>
                  <a:pt x="608606" y="1425792"/>
                  <a:pt x="610429" y="1422148"/>
                </a:cubicBezTo>
                <a:cubicBezTo>
                  <a:pt x="608606" y="1420326"/>
                  <a:pt x="606784" y="1420782"/>
                  <a:pt x="605191" y="1421465"/>
                </a:cubicBezTo>
                <a:close/>
                <a:moveTo>
                  <a:pt x="3176050" y="1420326"/>
                </a:moveTo>
                <a:cubicBezTo>
                  <a:pt x="3177872" y="1429437"/>
                  <a:pt x="3176050" y="1434903"/>
                  <a:pt x="3177872" y="1442192"/>
                </a:cubicBezTo>
                <a:cubicBezTo>
                  <a:pt x="3185160" y="1440370"/>
                  <a:pt x="3181516" y="1431259"/>
                  <a:pt x="3185160" y="1427615"/>
                </a:cubicBezTo>
                <a:cubicBezTo>
                  <a:pt x="3181516" y="1423970"/>
                  <a:pt x="3179694" y="1420326"/>
                  <a:pt x="3176050" y="1420326"/>
                </a:cubicBezTo>
                <a:close/>
                <a:moveTo>
                  <a:pt x="1137037" y="1420326"/>
                </a:moveTo>
                <a:cubicBezTo>
                  <a:pt x="1135215" y="1420326"/>
                  <a:pt x="1135215" y="1422148"/>
                  <a:pt x="1133393" y="1422148"/>
                </a:cubicBezTo>
                <a:cubicBezTo>
                  <a:pt x="1135215" y="1423970"/>
                  <a:pt x="1137037" y="1420326"/>
                  <a:pt x="1138859" y="1423970"/>
                </a:cubicBezTo>
                <a:cubicBezTo>
                  <a:pt x="1135215" y="1423970"/>
                  <a:pt x="1133393" y="1425792"/>
                  <a:pt x="1129748" y="1425792"/>
                </a:cubicBezTo>
                <a:cubicBezTo>
                  <a:pt x="1135215" y="1433081"/>
                  <a:pt x="1142503" y="1436725"/>
                  <a:pt x="1147970" y="1438548"/>
                </a:cubicBezTo>
                <a:cubicBezTo>
                  <a:pt x="1146148" y="1436725"/>
                  <a:pt x="1146148" y="1431259"/>
                  <a:pt x="1142503" y="1431259"/>
                </a:cubicBezTo>
                <a:cubicBezTo>
                  <a:pt x="1142503" y="1431259"/>
                  <a:pt x="1144326" y="1429437"/>
                  <a:pt x="1144326" y="1429437"/>
                </a:cubicBezTo>
                <a:cubicBezTo>
                  <a:pt x="1142503" y="1427615"/>
                  <a:pt x="1140681" y="1425792"/>
                  <a:pt x="1138859" y="1423970"/>
                </a:cubicBezTo>
                <a:cubicBezTo>
                  <a:pt x="1138859" y="1422148"/>
                  <a:pt x="1137037" y="1422148"/>
                  <a:pt x="1137037" y="1420326"/>
                </a:cubicBezTo>
                <a:close/>
                <a:moveTo>
                  <a:pt x="661449" y="1420326"/>
                </a:moveTo>
                <a:cubicBezTo>
                  <a:pt x="659627" y="1422148"/>
                  <a:pt x="659627" y="1423970"/>
                  <a:pt x="657805" y="1425792"/>
                </a:cubicBezTo>
                <a:cubicBezTo>
                  <a:pt x="659627" y="1425792"/>
                  <a:pt x="665094" y="1422148"/>
                  <a:pt x="661449" y="1420326"/>
                </a:cubicBezTo>
                <a:close/>
                <a:moveTo>
                  <a:pt x="646872" y="1420326"/>
                </a:moveTo>
                <a:cubicBezTo>
                  <a:pt x="634117" y="1429437"/>
                  <a:pt x="646872" y="1427615"/>
                  <a:pt x="645050" y="1431259"/>
                </a:cubicBezTo>
                <a:cubicBezTo>
                  <a:pt x="645050" y="1429437"/>
                  <a:pt x="646872" y="1427615"/>
                  <a:pt x="645050" y="1425792"/>
                </a:cubicBezTo>
                <a:cubicBezTo>
                  <a:pt x="646872" y="1427615"/>
                  <a:pt x="646872" y="1427615"/>
                  <a:pt x="648694" y="1429437"/>
                </a:cubicBezTo>
                <a:cubicBezTo>
                  <a:pt x="648694" y="1425792"/>
                  <a:pt x="646872" y="1423970"/>
                  <a:pt x="646872" y="1420326"/>
                </a:cubicBezTo>
                <a:close/>
                <a:moveTo>
                  <a:pt x="566697" y="1420326"/>
                </a:moveTo>
                <a:cubicBezTo>
                  <a:pt x="564874" y="1422148"/>
                  <a:pt x="566697" y="1423970"/>
                  <a:pt x="564874" y="1425792"/>
                </a:cubicBezTo>
                <a:cubicBezTo>
                  <a:pt x="566697" y="1425792"/>
                  <a:pt x="566697" y="1427615"/>
                  <a:pt x="568519" y="1425792"/>
                </a:cubicBezTo>
                <a:cubicBezTo>
                  <a:pt x="566697" y="1423970"/>
                  <a:pt x="570341" y="1423970"/>
                  <a:pt x="566697" y="1420326"/>
                </a:cubicBezTo>
                <a:close/>
                <a:moveTo>
                  <a:pt x="528431" y="1420326"/>
                </a:moveTo>
                <a:cubicBezTo>
                  <a:pt x="524786" y="1422148"/>
                  <a:pt x="530253" y="1425792"/>
                  <a:pt x="532075" y="1427615"/>
                </a:cubicBezTo>
                <a:cubicBezTo>
                  <a:pt x="530253" y="1427615"/>
                  <a:pt x="528431" y="1425792"/>
                  <a:pt x="526609" y="1425792"/>
                </a:cubicBezTo>
                <a:cubicBezTo>
                  <a:pt x="521142" y="1429437"/>
                  <a:pt x="515676" y="1438548"/>
                  <a:pt x="513853" y="1445836"/>
                </a:cubicBezTo>
                <a:cubicBezTo>
                  <a:pt x="515675" y="1450391"/>
                  <a:pt x="518864" y="1453580"/>
                  <a:pt x="522282" y="1456314"/>
                </a:cubicBezTo>
                <a:lnTo>
                  <a:pt x="530334" y="1462681"/>
                </a:lnTo>
                <a:lnTo>
                  <a:pt x="530709" y="1464741"/>
                </a:lnTo>
                <a:cubicBezTo>
                  <a:pt x="531619" y="1465424"/>
                  <a:pt x="532986" y="1465880"/>
                  <a:pt x="533897" y="1465880"/>
                </a:cubicBezTo>
                <a:cubicBezTo>
                  <a:pt x="533897" y="1464058"/>
                  <a:pt x="533897" y="1464058"/>
                  <a:pt x="533897" y="1464058"/>
                </a:cubicBezTo>
                <a:cubicBezTo>
                  <a:pt x="535719" y="1464058"/>
                  <a:pt x="533897" y="1471347"/>
                  <a:pt x="535719" y="1469525"/>
                </a:cubicBezTo>
                <a:cubicBezTo>
                  <a:pt x="546653" y="1464058"/>
                  <a:pt x="548475" y="1451303"/>
                  <a:pt x="555763" y="1442192"/>
                </a:cubicBezTo>
                <a:cubicBezTo>
                  <a:pt x="550297" y="1440370"/>
                  <a:pt x="553941" y="1449481"/>
                  <a:pt x="550297" y="1449481"/>
                </a:cubicBezTo>
                <a:cubicBezTo>
                  <a:pt x="544830" y="1445836"/>
                  <a:pt x="553941" y="1444014"/>
                  <a:pt x="552119" y="1440370"/>
                </a:cubicBezTo>
                <a:cubicBezTo>
                  <a:pt x="548475" y="1442192"/>
                  <a:pt x="548475" y="1447658"/>
                  <a:pt x="543008" y="1444014"/>
                </a:cubicBezTo>
                <a:cubicBezTo>
                  <a:pt x="544830" y="1444014"/>
                  <a:pt x="548475" y="1442192"/>
                  <a:pt x="548475" y="1442192"/>
                </a:cubicBezTo>
                <a:cubicBezTo>
                  <a:pt x="544830" y="1434903"/>
                  <a:pt x="535719" y="1436725"/>
                  <a:pt x="528431" y="1431259"/>
                </a:cubicBezTo>
                <a:cubicBezTo>
                  <a:pt x="537542" y="1429437"/>
                  <a:pt x="541186" y="1436725"/>
                  <a:pt x="550297" y="1436725"/>
                </a:cubicBezTo>
                <a:cubicBezTo>
                  <a:pt x="550297" y="1431259"/>
                  <a:pt x="544830" y="1423970"/>
                  <a:pt x="541186" y="1425792"/>
                </a:cubicBezTo>
                <a:cubicBezTo>
                  <a:pt x="535719" y="1427615"/>
                  <a:pt x="533897" y="1427615"/>
                  <a:pt x="532075" y="1427615"/>
                </a:cubicBezTo>
                <a:cubicBezTo>
                  <a:pt x="533897" y="1425792"/>
                  <a:pt x="537542" y="1427615"/>
                  <a:pt x="537542" y="1423970"/>
                </a:cubicBezTo>
                <a:cubicBezTo>
                  <a:pt x="535719" y="1422148"/>
                  <a:pt x="532075" y="1418504"/>
                  <a:pt x="528431" y="1420326"/>
                </a:cubicBezTo>
                <a:close/>
                <a:moveTo>
                  <a:pt x="1170255" y="1419727"/>
                </a:moveTo>
                <a:lnTo>
                  <a:pt x="1170975" y="1421237"/>
                </a:lnTo>
                <a:lnTo>
                  <a:pt x="1171027" y="1422008"/>
                </a:lnTo>
                <a:lnTo>
                  <a:pt x="1170291" y="1420326"/>
                </a:lnTo>
                <a:close/>
                <a:moveTo>
                  <a:pt x="3389244" y="1418504"/>
                </a:moveTo>
                <a:cubicBezTo>
                  <a:pt x="3387422" y="1420326"/>
                  <a:pt x="3387422" y="1423970"/>
                  <a:pt x="3387422" y="1425792"/>
                </a:cubicBezTo>
                <a:cubicBezTo>
                  <a:pt x="3378311" y="1413037"/>
                  <a:pt x="3365556" y="1425792"/>
                  <a:pt x="3361911" y="1436725"/>
                </a:cubicBezTo>
                <a:cubicBezTo>
                  <a:pt x="3361911" y="1438548"/>
                  <a:pt x="3361911" y="1440370"/>
                  <a:pt x="3363734" y="1442192"/>
                </a:cubicBezTo>
                <a:cubicBezTo>
                  <a:pt x="3367378" y="1434903"/>
                  <a:pt x="3369200" y="1444014"/>
                  <a:pt x="3372844" y="1445836"/>
                </a:cubicBezTo>
                <a:cubicBezTo>
                  <a:pt x="3367378" y="1442192"/>
                  <a:pt x="3363734" y="1451303"/>
                  <a:pt x="3361911" y="1440370"/>
                </a:cubicBezTo>
                <a:cubicBezTo>
                  <a:pt x="3358267" y="1445836"/>
                  <a:pt x="3363734" y="1453125"/>
                  <a:pt x="3361911" y="1458592"/>
                </a:cubicBezTo>
                <a:cubicBezTo>
                  <a:pt x="3376489" y="1451303"/>
                  <a:pt x="3378311" y="1434903"/>
                  <a:pt x="3392888" y="1429437"/>
                </a:cubicBezTo>
                <a:cubicBezTo>
                  <a:pt x="3396532" y="1429437"/>
                  <a:pt x="3391066" y="1422148"/>
                  <a:pt x="3389244" y="1418504"/>
                </a:cubicBezTo>
                <a:close/>
                <a:moveTo>
                  <a:pt x="1120637" y="1418504"/>
                </a:moveTo>
                <a:cubicBezTo>
                  <a:pt x="1118815" y="1422148"/>
                  <a:pt x="1115171" y="1414859"/>
                  <a:pt x="1113349" y="1420326"/>
                </a:cubicBezTo>
                <a:cubicBezTo>
                  <a:pt x="1115171" y="1427615"/>
                  <a:pt x="1122459" y="1422148"/>
                  <a:pt x="1126104" y="1425792"/>
                </a:cubicBezTo>
                <a:cubicBezTo>
                  <a:pt x="1126104" y="1423970"/>
                  <a:pt x="1122459" y="1422148"/>
                  <a:pt x="1120637" y="1418504"/>
                </a:cubicBezTo>
                <a:close/>
                <a:moveTo>
                  <a:pt x="816334" y="1418504"/>
                </a:moveTo>
                <a:cubicBezTo>
                  <a:pt x="814512" y="1423970"/>
                  <a:pt x="816334" y="1427615"/>
                  <a:pt x="818156" y="1433081"/>
                </a:cubicBezTo>
                <a:cubicBezTo>
                  <a:pt x="823623" y="1429437"/>
                  <a:pt x="823623" y="1429437"/>
                  <a:pt x="829089" y="1423970"/>
                </a:cubicBezTo>
                <a:cubicBezTo>
                  <a:pt x="827267" y="1422148"/>
                  <a:pt x="825445" y="1419870"/>
                  <a:pt x="823395" y="1418504"/>
                </a:cubicBezTo>
                <a:cubicBezTo>
                  <a:pt x="821345" y="1417137"/>
                  <a:pt x="819067" y="1416682"/>
                  <a:pt x="816334" y="1418504"/>
                </a:cubicBezTo>
                <a:close/>
                <a:moveTo>
                  <a:pt x="767136" y="1418504"/>
                </a:moveTo>
                <a:cubicBezTo>
                  <a:pt x="763491" y="1418504"/>
                  <a:pt x="763491" y="1420326"/>
                  <a:pt x="759848" y="1423970"/>
                </a:cubicBezTo>
                <a:cubicBezTo>
                  <a:pt x="763491" y="1423970"/>
                  <a:pt x="768959" y="1425792"/>
                  <a:pt x="767136" y="1418504"/>
                </a:cubicBezTo>
                <a:close/>
                <a:moveTo>
                  <a:pt x="581274" y="1418504"/>
                </a:moveTo>
                <a:cubicBezTo>
                  <a:pt x="583096" y="1422148"/>
                  <a:pt x="581274" y="1425792"/>
                  <a:pt x="583096" y="1429437"/>
                </a:cubicBezTo>
                <a:cubicBezTo>
                  <a:pt x="584919" y="1429437"/>
                  <a:pt x="588562" y="1425792"/>
                  <a:pt x="592207" y="1425792"/>
                </a:cubicBezTo>
                <a:cubicBezTo>
                  <a:pt x="588562" y="1423970"/>
                  <a:pt x="584919" y="1422148"/>
                  <a:pt x="581274" y="1418504"/>
                </a:cubicBezTo>
                <a:close/>
                <a:moveTo>
                  <a:pt x="570341" y="1418504"/>
                </a:moveTo>
                <a:cubicBezTo>
                  <a:pt x="570341" y="1423970"/>
                  <a:pt x="572163" y="1429437"/>
                  <a:pt x="568519" y="1433081"/>
                </a:cubicBezTo>
                <a:cubicBezTo>
                  <a:pt x="570341" y="1438548"/>
                  <a:pt x="575808" y="1434903"/>
                  <a:pt x="577630" y="1429437"/>
                </a:cubicBezTo>
                <a:lnTo>
                  <a:pt x="576053" y="1427073"/>
                </a:lnTo>
                <a:lnTo>
                  <a:pt x="576946" y="1425109"/>
                </a:lnTo>
                <a:lnTo>
                  <a:pt x="575808" y="1424671"/>
                </a:lnTo>
                <a:lnTo>
                  <a:pt x="575808" y="1420326"/>
                </a:lnTo>
                <a:cubicBezTo>
                  <a:pt x="577630" y="1422148"/>
                  <a:pt x="575808" y="1423970"/>
                  <a:pt x="573985" y="1423970"/>
                </a:cubicBezTo>
                <a:lnTo>
                  <a:pt x="575808" y="1424671"/>
                </a:lnTo>
                <a:lnTo>
                  <a:pt x="575808" y="1426704"/>
                </a:lnTo>
                <a:close/>
                <a:moveTo>
                  <a:pt x="462832" y="1418504"/>
                </a:moveTo>
                <a:cubicBezTo>
                  <a:pt x="461010" y="1420326"/>
                  <a:pt x="459188" y="1418504"/>
                  <a:pt x="459188" y="1420326"/>
                </a:cubicBezTo>
                <a:cubicBezTo>
                  <a:pt x="459188" y="1423970"/>
                  <a:pt x="464655" y="1420326"/>
                  <a:pt x="462832" y="1418504"/>
                </a:cubicBezTo>
                <a:close/>
                <a:moveTo>
                  <a:pt x="3401771" y="1418504"/>
                </a:moveTo>
                <a:cubicBezTo>
                  <a:pt x="3400633" y="1418959"/>
                  <a:pt x="3399266" y="1419415"/>
                  <a:pt x="3398355" y="1418504"/>
                </a:cubicBezTo>
                <a:cubicBezTo>
                  <a:pt x="3396532" y="1422148"/>
                  <a:pt x="3396532" y="1425792"/>
                  <a:pt x="3401999" y="1423970"/>
                </a:cubicBezTo>
                <a:cubicBezTo>
                  <a:pt x="3401999" y="1423970"/>
                  <a:pt x="3401999" y="1418504"/>
                  <a:pt x="3403821" y="1418504"/>
                </a:cubicBezTo>
                <a:cubicBezTo>
                  <a:pt x="3403821" y="1417593"/>
                  <a:pt x="3402910" y="1418048"/>
                  <a:pt x="3401771" y="1418504"/>
                </a:cubicBezTo>
                <a:close/>
                <a:moveTo>
                  <a:pt x="989441" y="1416681"/>
                </a:moveTo>
                <a:cubicBezTo>
                  <a:pt x="987619" y="1423970"/>
                  <a:pt x="1004018" y="1433081"/>
                  <a:pt x="1009485" y="1440370"/>
                </a:cubicBezTo>
                <a:cubicBezTo>
                  <a:pt x="1018596" y="1427615"/>
                  <a:pt x="996729" y="1423970"/>
                  <a:pt x="989441" y="1416681"/>
                </a:cubicBezTo>
                <a:close/>
                <a:moveTo>
                  <a:pt x="980330" y="1416681"/>
                </a:moveTo>
                <a:cubicBezTo>
                  <a:pt x="976686" y="1423970"/>
                  <a:pt x="987619" y="1422148"/>
                  <a:pt x="987619" y="1427615"/>
                </a:cubicBezTo>
                <a:cubicBezTo>
                  <a:pt x="991263" y="1422148"/>
                  <a:pt x="983974" y="1422148"/>
                  <a:pt x="980330" y="1416681"/>
                </a:cubicBezTo>
                <a:close/>
                <a:moveTo>
                  <a:pt x="659627" y="1416681"/>
                </a:moveTo>
                <a:cubicBezTo>
                  <a:pt x="657805" y="1414859"/>
                  <a:pt x="654161" y="1420326"/>
                  <a:pt x="650516" y="1418504"/>
                </a:cubicBezTo>
                <a:cubicBezTo>
                  <a:pt x="652339" y="1423970"/>
                  <a:pt x="645050" y="1429437"/>
                  <a:pt x="648694" y="1434903"/>
                </a:cubicBezTo>
                <a:cubicBezTo>
                  <a:pt x="652339" y="1429437"/>
                  <a:pt x="654161" y="1422148"/>
                  <a:pt x="659627" y="1416681"/>
                </a:cubicBezTo>
                <a:close/>
                <a:moveTo>
                  <a:pt x="535719" y="1416681"/>
                </a:moveTo>
                <a:cubicBezTo>
                  <a:pt x="533897" y="1416681"/>
                  <a:pt x="537542" y="1418504"/>
                  <a:pt x="537542" y="1420326"/>
                </a:cubicBezTo>
                <a:cubicBezTo>
                  <a:pt x="539364" y="1420326"/>
                  <a:pt x="541186" y="1418504"/>
                  <a:pt x="543008" y="1416681"/>
                </a:cubicBezTo>
                <a:cubicBezTo>
                  <a:pt x="539364" y="1416681"/>
                  <a:pt x="537542" y="1416681"/>
                  <a:pt x="535719" y="1416681"/>
                </a:cubicBezTo>
                <a:close/>
                <a:moveTo>
                  <a:pt x="608607" y="1414859"/>
                </a:moveTo>
                <a:cubicBezTo>
                  <a:pt x="606785" y="1415315"/>
                  <a:pt x="604962" y="1416682"/>
                  <a:pt x="603140" y="1418504"/>
                </a:cubicBezTo>
                <a:cubicBezTo>
                  <a:pt x="614074" y="1423970"/>
                  <a:pt x="614074" y="1420326"/>
                  <a:pt x="614074" y="1416681"/>
                </a:cubicBezTo>
                <a:cubicBezTo>
                  <a:pt x="612251" y="1414859"/>
                  <a:pt x="610429" y="1414404"/>
                  <a:pt x="608607" y="1414859"/>
                </a:cubicBezTo>
                <a:close/>
                <a:moveTo>
                  <a:pt x="1140681" y="1414859"/>
                </a:moveTo>
                <a:cubicBezTo>
                  <a:pt x="1137037" y="1418504"/>
                  <a:pt x="1147970" y="1423970"/>
                  <a:pt x="1142503" y="1416681"/>
                </a:cubicBezTo>
                <a:cubicBezTo>
                  <a:pt x="1140681" y="1416681"/>
                  <a:pt x="1140681" y="1414859"/>
                  <a:pt x="1140681" y="1414859"/>
                </a:cubicBezTo>
                <a:close/>
                <a:moveTo>
                  <a:pt x="761670" y="1414859"/>
                </a:moveTo>
                <a:cubicBezTo>
                  <a:pt x="759848" y="1414859"/>
                  <a:pt x="756203" y="1416681"/>
                  <a:pt x="758025" y="1418504"/>
                </a:cubicBezTo>
                <a:cubicBezTo>
                  <a:pt x="758025" y="1422148"/>
                  <a:pt x="761670" y="1418504"/>
                  <a:pt x="761670" y="1414859"/>
                </a:cubicBezTo>
                <a:close/>
                <a:moveTo>
                  <a:pt x="723404" y="1414859"/>
                </a:moveTo>
                <a:cubicBezTo>
                  <a:pt x="721581" y="1416681"/>
                  <a:pt x="719759" y="1422148"/>
                  <a:pt x="717937" y="1418504"/>
                </a:cubicBezTo>
                <a:cubicBezTo>
                  <a:pt x="719759" y="1422148"/>
                  <a:pt x="723404" y="1420326"/>
                  <a:pt x="725226" y="1423970"/>
                </a:cubicBezTo>
                <a:cubicBezTo>
                  <a:pt x="732515" y="1420326"/>
                  <a:pt x="721581" y="1416681"/>
                  <a:pt x="723404" y="1414859"/>
                </a:cubicBezTo>
                <a:close/>
                <a:moveTo>
                  <a:pt x="1171771" y="1414004"/>
                </a:moveTo>
                <a:lnTo>
                  <a:pt x="1172376" y="1414307"/>
                </a:lnTo>
                <a:lnTo>
                  <a:pt x="1171886" y="1414176"/>
                </a:lnTo>
                <a:close/>
                <a:moveTo>
                  <a:pt x="849361" y="1413265"/>
                </a:moveTo>
                <a:cubicBezTo>
                  <a:pt x="841844" y="1413493"/>
                  <a:pt x="835467" y="1416682"/>
                  <a:pt x="832734" y="1425792"/>
                </a:cubicBezTo>
                <a:lnTo>
                  <a:pt x="834556" y="1425792"/>
                </a:lnTo>
                <a:lnTo>
                  <a:pt x="835158" y="1427600"/>
                </a:lnTo>
                <a:lnTo>
                  <a:pt x="834556" y="1427615"/>
                </a:lnTo>
                <a:lnTo>
                  <a:pt x="835184" y="1427678"/>
                </a:lnTo>
                <a:lnTo>
                  <a:pt x="836378" y="1431259"/>
                </a:lnTo>
                <a:cubicBezTo>
                  <a:pt x="838200" y="1431259"/>
                  <a:pt x="840022" y="1431259"/>
                  <a:pt x="841845" y="1429437"/>
                </a:cubicBezTo>
                <a:lnTo>
                  <a:pt x="839112" y="1428071"/>
                </a:lnTo>
                <a:lnTo>
                  <a:pt x="852778" y="1429437"/>
                </a:lnTo>
                <a:cubicBezTo>
                  <a:pt x="849133" y="1429437"/>
                  <a:pt x="847311" y="1431259"/>
                  <a:pt x="843667" y="1433081"/>
                </a:cubicBezTo>
                <a:lnTo>
                  <a:pt x="842209" y="1434539"/>
                </a:lnTo>
                <a:lnTo>
                  <a:pt x="841845" y="1433081"/>
                </a:lnTo>
                <a:cubicBezTo>
                  <a:pt x="840022" y="1434903"/>
                  <a:pt x="836378" y="1434903"/>
                  <a:pt x="836378" y="1436725"/>
                </a:cubicBezTo>
                <a:cubicBezTo>
                  <a:pt x="834556" y="1434903"/>
                  <a:pt x="832734" y="1434903"/>
                  <a:pt x="830912" y="1434903"/>
                </a:cubicBezTo>
                <a:cubicBezTo>
                  <a:pt x="829089" y="1436725"/>
                  <a:pt x="827267" y="1436725"/>
                  <a:pt x="825445" y="1438548"/>
                </a:cubicBezTo>
                <a:cubicBezTo>
                  <a:pt x="825445" y="1436725"/>
                  <a:pt x="823623" y="1436725"/>
                  <a:pt x="821801" y="1436725"/>
                </a:cubicBezTo>
                <a:cubicBezTo>
                  <a:pt x="821801" y="1436725"/>
                  <a:pt x="819979" y="1438548"/>
                  <a:pt x="816334" y="1438548"/>
                </a:cubicBezTo>
                <a:cubicBezTo>
                  <a:pt x="818156" y="1440370"/>
                  <a:pt x="819979" y="1438548"/>
                  <a:pt x="821801" y="1438548"/>
                </a:cubicBezTo>
                <a:cubicBezTo>
                  <a:pt x="812690" y="1447658"/>
                  <a:pt x="821801" y="1453125"/>
                  <a:pt x="821801" y="1460414"/>
                </a:cubicBezTo>
                <a:lnTo>
                  <a:pt x="821801" y="1456769"/>
                </a:lnTo>
                <a:cubicBezTo>
                  <a:pt x="825445" y="1460414"/>
                  <a:pt x="830912" y="1462236"/>
                  <a:pt x="834556" y="1465880"/>
                </a:cubicBezTo>
                <a:cubicBezTo>
                  <a:pt x="836378" y="1465880"/>
                  <a:pt x="834556" y="1464058"/>
                  <a:pt x="836378" y="1462236"/>
                </a:cubicBezTo>
                <a:cubicBezTo>
                  <a:pt x="838200" y="1467702"/>
                  <a:pt x="843667" y="1471347"/>
                  <a:pt x="847311" y="1469525"/>
                </a:cubicBezTo>
                <a:cubicBezTo>
                  <a:pt x="849133" y="1469525"/>
                  <a:pt x="850956" y="1469525"/>
                  <a:pt x="849133" y="1465880"/>
                </a:cubicBezTo>
                <a:cubicBezTo>
                  <a:pt x="852778" y="1473169"/>
                  <a:pt x="860066" y="1473169"/>
                  <a:pt x="865533" y="1476813"/>
                </a:cubicBezTo>
                <a:cubicBezTo>
                  <a:pt x="856422" y="1473169"/>
                  <a:pt x="854600" y="1476813"/>
                  <a:pt x="849133" y="1484102"/>
                </a:cubicBezTo>
                <a:lnTo>
                  <a:pt x="849133" y="1480458"/>
                </a:lnTo>
                <a:lnTo>
                  <a:pt x="841120" y="1480830"/>
                </a:lnTo>
                <a:lnTo>
                  <a:pt x="840022" y="1478635"/>
                </a:lnTo>
                <a:cubicBezTo>
                  <a:pt x="839111" y="1478635"/>
                  <a:pt x="839567" y="1479546"/>
                  <a:pt x="840250" y="1480457"/>
                </a:cubicBezTo>
                <a:lnTo>
                  <a:pt x="840598" y="1480854"/>
                </a:lnTo>
                <a:lnTo>
                  <a:pt x="839339" y="1480913"/>
                </a:lnTo>
                <a:cubicBezTo>
                  <a:pt x="836833" y="1478635"/>
                  <a:pt x="834556" y="1474991"/>
                  <a:pt x="830912" y="1473169"/>
                </a:cubicBezTo>
                <a:cubicBezTo>
                  <a:pt x="832278" y="1479547"/>
                  <a:pt x="835353" y="1483305"/>
                  <a:pt x="839424" y="1485240"/>
                </a:cubicBezTo>
                <a:lnTo>
                  <a:pt x="846205" y="1485773"/>
                </a:lnTo>
                <a:lnTo>
                  <a:pt x="845489" y="1485924"/>
                </a:lnTo>
                <a:cubicBezTo>
                  <a:pt x="847311" y="1491391"/>
                  <a:pt x="852778" y="1493213"/>
                  <a:pt x="856422" y="1495035"/>
                </a:cubicBezTo>
                <a:cubicBezTo>
                  <a:pt x="858244" y="1496857"/>
                  <a:pt x="852778" y="1502324"/>
                  <a:pt x="856422" y="1500501"/>
                </a:cubicBezTo>
                <a:cubicBezTo>
                  <a:pt x="876466" y="1491391"/>
                  <a:pt x="849133" y="1498679"/>
                  <a:pt x="858244" y="1487746"/>
                </a:cubicBezTo>
                <a:cubicBezTo>
                  <a:pt x="860066" y="1489568"/>
                  <a:pt x="863711" y="1489568"/>
                  <a:pt x="863711" y="1493213"/>
                </a:cubicBezTo>
                <a:cubicBezTo>
                  <a:pt x="867355" y="1491391"/>
                  <a:pt x="869177" y="1487746"/>
                  <a:pt x="872822" y="1485924"/>
                </a:cubicBezTo>
                <a:cubicBezTo>
                  <a:pt x="867355" y="1489568"/>
                  <a:pt x="863711" y="1495035"/>
                  <a:pt x="863711" y="1502324"/>
                </a:cubicBezTo>
                <a:cubicBezTo>
                  <a:pt x="861889" y="1502324"/>
                  <a:pt x="861889" y="1502324"/>
                  <a:pt x="860066" y="1502324"/>
                </a:cubicBezTo>
                <a:cubicBezTo>
                  <a:pt x="860066" y="1502324"/>
                  <a:pt x="861889" y="1500501"/>
                  <a:pt x="861889" y="1498679"/>
                </a:cubicBezTo>
                <a:cubicBezTo>
                  <a:pt x="856422" y="1502324"/>
                  <a:pt x="856422" y="1507790"/>
                  <a:pt x="852778" y="1509612"/>
                </a:cubicBezTo>
                <a:cubicBezTo>
                  <a:pt x="854600" y="1509612"/>
                  <a:pt x="854600" y="1511434"/>
                  <a:pt x="856422" y="1511434"/>
                </a:cubicBezTo>
                <a:cubicBezTo>
                  <a:pt x="856422" y="1513257"/>
                  <a:pt x="860066" y="1516901"/>
                  <a:pt x="860066" y="1518723"/>
                </a:cubicBezTo>
                <a:cubicBezTo>
                  <a:pt x="861889" y="1516901"/>
                  <a:pt x="861889" y="1515079"/>
                  <a:pt x="860066" y="1513257"/>
                </a:cubicBezTo>
                <a:cubicBezTo>
                  <a:pt x="861889" y="1515079"/>
                  <a:pt x="863711" y="1515079"/>
                  <a:pt x="865533" y="1516901"/>
                </a:cubicBezTo>
                <a:cubicBezTo>
                  <a:pt x="863711" y="1518723"/>
                  <a:pt x="861889" y="1518723"/>
                  <a:pt x="861889" y="1522368"/>
                </a:cubicBezTo>
                <a:cubicBezTo>
                  <a:pt x="858244" y="1522368"/>
                  <a:pt x="858244" y="1520545"/>
                  <a:pt x="856422" y="1518723"/>
                </a:cubicBezTo>
                <a:lnTo>
                  <a:pt x="856422" y="1522368"/>
                </a:lnTo>
                <a:lnTo>
                  <a:pt x="854599" y="1520544"/>
                </a:lnTo>
                <a:lnTo>
                  <a:pt x="854600" y="1520545"/>
                </a:lnTo>
                <a:cubicBezTo>
                  <a:pt x="854600" y="1516901"/>
                  <a:pt x="850956" y="1515079"/>
                  <a:pt x="849133" y="1513257"/>
                </a:cubicBezTo>
                <a:cubicBezTo>
                  <a:pt x="847311" y="1513257"/>
                  <a:pt x="847311" y="1515079"/>
                  <a:pt x="845489" y="1516901"/>
                </a:cubicBezTo>
                <a:lnTo>
                  <a:pt x="853044" y="1519923"/>
                </a:lnTo>
                <a:lnTo>
                  <a:pt x="856877" y="1537173"/>
                </a:lnTo>
                <a:cubicBezTo>
                  <a:pt x="860522" y="1542412"/>
                  <a:pt x="865533" y="1546967"/>
                  <a:pt x="869177" y="1551522"/>
                </a:cubicBezTo>
                <a:cubicBezTo>
                  <a:pt x="867355" y="1551522"/>
                  <a:pt x="867355" y="1551522"/>
                  <a:pt x="863711" y="1551522"/>
                </a:cubicBezTo>
                <a:cubicBezTo>
                  <a:pt x="878288" y="1562455"/>
                  <a:pt x="892866" y="1562455"/>
                  <a:pt x="909265" y="1564278"/>
                </a:cubicBezTo>
                <a:cubicBezTo>
                  <a:pt x="907444" y="1564278"/>
                  <a:pt x="907444" y="1562455"/>
                  <a:pt x="907444" y="1562455"/>
                </a:cubicBezTo>
                <a:cubicBezTo>
                  <a:pt x="916555" y="1575211"/>
                  <a:pt x="936598" y="1575211"/>
                  <a:pt x="949353" y="1582499"/>
                </a:cubicBezTo>
                <a:cubicBezTo>
                  <a:pt x="951175" y="1584321"/>
                  <a:pt x="956642" y="1589788"/>
                  <a:pt x="960286" y="1589788"/>
                </a:cubicBezTo>
                <a:cubicBezTo>
                  <a:pt x="962108" y="1589788"/>
                  <a:pt x="965753" y="1587966"/>
                  <a:pt x="969397" y="1587966"/>
                </a:cubicBezTo>
                <a:cubicBezTo>
                  <a:pt x="967575" y="1589788"/>
                  <a:pt x="967575" y="1589788"/>
                  <a:pt x="965753" y="1591610"/>
                </a:cubicBezTo>
                <a:cubicBezTo>
                  <a:pt x="978508" y="1595255"/>
                  <a:pt x="991263" y="1595255"/>
                  <a:pt x="1004018" y="1602543"/>
                </a:cubicBezTo>
                <a:cubicBezTo>
                  <a:pt x="998552" y="1587966"/>
                  <a:pt x="989441" y="1578855"/>
                  <a:pt x="976686" y="1584321"/>
                </a:cubicBezTo>
                <a:cubicBezTo>
                  <a:pt x="978508" y="1582499"/>
                  <a:pt x="982152" y="1580677"/>
                  <a:pt x="985796" y="1578855"/>
                </a:cubicBezTo>
                <a:cubicBezTo>
                  <a:pt x="978508" y="1571566"/>
                  <a:pt x="974863" y="1551522"/>
                  <a:pt x="960286" y="1558811"/>
                </a:cubicBezTo>
                <a:lnTo>
                  <a:pt x="962108" y="1556989"/>
                </a:lnTo>
                <a:cubicBezTo>
                  <a:pt x="954819" y="1553345"/>
                  <a:pt x="949353" y="1556989"/>
                  <a:pt x="942064" y="1556989"/>
                </a:cubicBezTo>
                <a:cubicBezTo>
                  <a:pt x="949353" y="1551522"/>
                  <a:pt x="960286" y="1556989"/>
                  <a:pt x="967575" y="1551522"/>
                </a:cubicBezTo>
                <a:cubicBezTo>
                  <a:pt x="962108" y="1547878"/>
                  <a:pt x="956642" y="1544234"/>
                  <a:pt x="951175" y="1538767"/>
                </a:cubicBezTo>
                <a:cubicBezTo>
                  <a:pt x="973041" y="1551522"/>
                  <a:pt x="996729" y="1555167"/>
                  <a:pt x="1025884" y="1546056"/>
                </a:cubicBezTo>
                <a:cubicBezTo>
                  <a:pt x="1025884" y="1544234"/>
                  <a:pt x="1024062" y="1544234"/>
                  <a:pt x="1024062" y="1544234"/>
                </a:cubicBezTo>
                <a:cubicBezTo>
                  <a:pt x="1027707" y="1546056"/>
                  <a:pt x="1033173" y="1547878"/>
                  <a:pt x="1036818" y="1547878"/>
                </a:cubicBezTo>
                <a:cubicBezTo>
                  <a:pt x="1031351" y="1546056"/>
                  <a:pt x="1024062" y="1544234"/>
                  <a:pt x="1020418" y="1536945"/>
                </a:cubicBezTo>
                <a:cubicBezTo>
                  <a:pt x="1033173" y="1542412"/>
                  <a:pt x="1040462" y="1553345"/>
                  <a:pt x="1055040" y="1551522"/>
                </a:cubicBezTo>
                <a:cubicBezTo>
                  <a:pt x="1053217" y="1551522"/>
                  <a:pt x="1051395" y="1549700"/>
                  <a:pt x="1049573" y="1547878"/>
                </a:cubicBezTo>
                <a:lnTo>
                  <a:pt x="1074071" y="1555976"/>
                </a:lnTo>
                <a:lnTo>
                  <a:pt x="1049573" y="1551522"/>
                </a:lnTo>
                <a:cubicBezTo>
                  <a:pt x="1053217" y="1555167"/>
                  <a:pt x="1058683" y="1558811"/>
                  <a:pt x="1065972" y="1560633"/>
                </a:cubicBezTo>
                <a:cubicBezTo>
                  <a:pt x="1056861" y="1556989"/>
                  <a:pt x="1049573" y="1555167"/>
                  <a:pt x="1040462" y="1553345"/>
                </a:cubicBezTo>
                <a:cubicBezTo>
                  <a:pt x="1042284" y="1553345"/>
                  <a:pt x="1042284" y="1553345"/>
                  <a:pt x="1045929" y="1553345"/>
                </a:cubicBezTo>
                <a:cubicBezTo>
                  <a:pt x="1040461" y="1546512"/>
                  <a:pt x="1026795" y="1548903"/>
                  <a:pt x="1021072" y="1552063"/>
                </a:cubicBezTo>
                <a:lnTo>
                  <a:pt x="1020063" y="1553328"/>
                </a:lnTo>
                <a:lnTo>
                  <a:pt x="996502" y="1552206"/>
                </a:lnTo>
                <a:cubicBezTo>
                  <a:pt x="988074" y="1552889"/>
                  <a:pt x="979419" y="1554256"/>
                  <a:pt x="971219" y="1555167"/>
                </a:cubicBezTo>
                <a:cubicBezTo>
                  <a:pt x="982152" y="1577033"/>
                  <a:pt x="1000374" y="1571566"/>
                  <a:pt x="1014951" y="1556989"/>
                </a:cubicBezTo>
                <a:cubicBezTo>
                  <a:pt x="1005840" y="1562455"/>
                  <a:pt x="996729" y="1567922"/>
                  <a:pt x="989441" y="1573388"/>
                </a:cubicBezTo>
                <a:cubicBezTo>
                  <a:pt x="1005840" y="1584321"/>
                  <a:pt x="1007663" y="1604365"/>
                  <a:pt x="1025884" y="1611654"/>
                </a:cubicBezTo>
                <a:cubicBezTo>
                  <a:pt x="1025884" y="1608010"/>
                  <a:pt x="1024062" y="1608010"/>
                  <a:pt x="1022240" y="1606188"/>
                </a:cubicBezTo>
                <a:cubicBezTo>
                  <a:pt x="1022240" y="1606188"/>
                  <a:pt x="1022240" y="1604365"/>
                  <a:pt x="1020418" y="1602543"/>
                </a:cubicBezTo>
                <a:cubicBezTo>
                  <a:pt x="1025884" y="1602543"/>
                  <a:pt x="1025884" y="1611654"/>
                  <a:pt x="1031351" y="1611654"/>
                </a:cubicBezTo>
                <a:lnTo>
                  <a:pt x="1027707" y="1611654"/>
                </a:lnTo>
                <a:cubicBezTo>
                  <a:pt x="1031351" y="1618943"/>
                  <a:pt x="1038639" y="1617121"/>
                  <a:pt x="1045929" y="1618943"/>
                </a:cubicBezTo>
                <a:cubicBezTo>
                  <a:pt x="1044106" y="1617121"/>
                  <a:pt x="1042284" y="1613476"/>
                  <a:pt x="1040462" y="1609832"/>
                </a:cubicBezTo>
                <a:cubicBezTo>
                  <a:pt x="1051395" y="1622587"/>
                  <a:pt x="1064151" y="1633520"/>
                  <a:pt x="1084194" y="1635342"/>
                </a:cubicBezTo>
                <a:cubicBezTo>
                  <a:pt x="1082373" y="1628054"/>
                  <a:pt x="1080549" y="1620765"/>
                  <a:pt x="1075083" y="1613476"/>
                </a:cubicBezTo>
                <a:cubicBezTo>
                  <a:pt x="1084194" y="1620765"/>
                  <a:pt x="1080549" y="1642631"/>
                  <a:pt x="1095127" y="1635342"/>
                </a:cubicBezTo>
                <a:cubicBezTo>
                  <a:pt x="1102416" y="1638987"/>
                  <a:pt x="1107882" y="1638987"/>
                  <a:pt x="1115171" y="1638987"/>
                </a:cubicBezTo>
                <a:cubicBezTo>
                  <a:pt x="1120637" y="1642631"/>
                  <a:pt x="1131570" y="1644453"/>
                  <a:pt x="1140681" y="1648097"/>
                </a:cubicBezTo>
                <a:cubicBezTo>
                  <a:pt x="1140681" y="1646275"/>
                  <a:pt x="1137037" y="1644453"/>
                  <a:pt x="1135215" y="1642631"/>
                </a:cubicBezTo>
                <a:cubicBezTo>
                  <a:pt x="1135215" y="1640809"/>
                  <a:pt x="1138859" y="1642631"/>
                  <a:pt x="1138859" y="1640809"/>
                </a:cubicBezTo>
                <a:cubicBezTo>
                  <a:pt x="1142503" y="1642631"/>
                  <a:pt x="1144326" y="1642631"/>
                  <a:pt x="1146148" y="1644453"/>
                </a:cubicBezTo>
                <a:cubicBezTo>
                  <a:pt x="1146148" y="1638987"/>
                  <a:pt x="1140681" y="1637164"/>
                  <a:pt x="1137037" y="1635342"/>
                </a:cubicBezTo>
                <a:cubicBezTo>
                  <a:pt x="1137037" y="1637164"/>
                  <a:pt x="1138859" y="1638987"/>
                  <a:pt x="1138859" y="1640809"/>
                </a:cubicBezTo>
                <a:cubicBezTo>
                  <a:pt x="1131570" y="1626231"/>
                  <a:pt x="1115171" y="1624409"/>
                  <a:pt x="1104238" y="1613476"/>
                </a:cubicBezTo>
                <a:cubicBezTo>
                  <a:pt x="1113349" y="1618943"/>
                  <a:pt x="1122459" y="1624409"/>
                  <a:pt x="1131570" y="1629876"/>
                </a:cubicBezTo>
                <a:cubicBezTo>
                  <a:pt x="1131570" y="1629876"/>
                  <a:pt x="1133393" y="1629876"/>
                  <a:pt x="1133393" y="1628054"/>
                </a:cubicBezTo>
                <a:cubicBezTo>
                  <a:pt x="1135215" y="1635342"/>
                  <a:pt x="1142503" y="1635342"/>
                  <a:pt x="1147970" y="1640809"/>
                </a:cubicBezTo>
                <a:cubicBezTo>
                  <a:pt x="1147970" y="1638987"/>
                  <a:pt x="1146148" y="1635342"/>
                  <a:pt x="1146148" y="1633520"/>
                </a:cubicBezTo>
                <a:cubicBezTo>
                  <a:pt x="1147970" y="1642631"/>
                  <a:pt x="1158903" y="1648097"/>
                  <a:pt x="1168014" y="1649920"/>
                </a:cubicBezTo>
                <a:lnTo>
                  <a:pt x="1168014" y="1631698"/>
                </a:lnTo>
                <a:cubicBezTo>
                  <a:pt x="1162547" y="1628054"/>
                  <a:pt x="1157081" y="1624409"/>
                  <a:pt x="1151614" y="1624409"/>
                </a:cubicBezTo>
                <a:cubicBezTo>
                  <a:pt x="1151614" y="1620765"/>
                  <a:pt x="1153436" y="1622587"/>
                  <a:pt x="1155259" y="1620765"/>
                </a:cubicBezTo>
                <a:cubicBezTo>
                  <a:pt x="1146148" y="1617121"/>
                  <a:pt x="1137037" y="1611654"/>
                  <a:pt x="1127926" y="1608010"/>
                </a:cubicBezTo>
                <a:cubicBezTo>
                  <a:pt x="1135215" y="1608010"/>
                  <a:pt x="1140681" y="1613476"/>
                  <a:pt x="1147970" y="1615298"/>
                </a:cubicBezTo>
                <a:lnTo>
                  <a:pt x="1127797" y="1591662"/>
                </a:lnTo>
                <a:lnTo>
                  <a:pt x="1131115" y="1595027"/>
                </a:lnTo>
                <a:cubicBezTo>
                  <a:pt x="1137037" y="1601632"/>
                  <a:pt x="1143414" y="1608920"/>
                  <a:pt x="1149792" y="1615298"/>
                </a:cubicBezTo>
                <a:cubicBezTo>
                  <a:pt x="1147970" y="1613476"/>
                  <a:pt x="1146148" y="1611654"/>
                  <a:pt x="1146148" y="1609832"/>
                </a:cubicBezTo>
                <a:cubicBezTo>
                  <a:pt x="1155259" y="1611654"/>
                  <a:pt x="1162547" y="1613476"/>
                  <a:pt x="1166192" y="1615298"/>
                </a:cubicBezTo>
                <a:cubicBezTo>
                  <a:pt x="1166192" y="1611654"/>
                  <a:pt x="1166192" y="1608010"/>
                  <a:pt x="1164370" y="1604365"/>
                </a:cubicBezTo>
                <a:cubicBezTo>
                  <a:pt x="1158903" y="1597077"/>
                  <a:pt x="1146148" y="1595255"/>
                  <a:pt x="1140681" y="1591610"/>
                </a:cubicBezTo>
                <a:cubicBezTo>
                  <a:pt x="1131570" y="1587966"/>
                  <a:pt x="1122459" y="1580677"/>
                  <a:pt x="1115171" y="1578855"/>
                </a:cubicBezTo>
                <a:lnTo>
                  <a:pt x="1123780" y="1587587"/>
                </a:lnTo>
                <a:lnTo>
                  <a:pt x="1098771" y="1567922"/>
                </a:lnTo>
                <a:lnTo>
                  <a:pt x="1093027" y="1569645"/>
                </a:lnTo>
                <a:lnTo>
                  <a:pt x="1067794" y="1560633"/>
                </a:lnTo>
                <a:cubicBezTo>
                  <a:pt x="1076905" y="1560633"/>
                  <a:pt x="1087838" y="1566100"/>
                  <a:pt x="1096949" y="1566100"/>
                </a:cubicBezTo>
                <a:lnTo>
                  <a:pt x="1075326" y="1556392"/>
                </a:lnTo>
                <a:lnTo>
                  <a:pt x="1077133" y="1556989"/>
                </a:lnTo>
                <a:cubicBezTo>
                  <a:pt x="1087382" y="1559267"/>
                  <a:pt x="1098771" y="1561544"/>
                  <a:pt x="1111526" y="1566100"/>
                </a:cubicBezTo>
                <a:cubicBezTo>
                  <a:pt x="1106060" y="1567922"/>
                  <a:pt x="1116993" y="1575211"/>
                  <a:pt x="1120637" y="1575211"/>
                </a:cubicBezTo>
                <a:cubicBezTo>
                  <a:pt x="1122459" y="1573388"/>
                  <a:pt x="1118815" y="1571566"/>
                  <a:pt x="1120637" y="1569744"/>
                </a:cubicBezTo>
                <a:cubicBezTo>
                  <a:pt x="1124282" y="1569744"/>
                  <a:pt x="1120637" y="1573388"/>
                  <a:pt x="1122459" y="1575211"/>
                </a:cubicBezTo>
                <a:cubicBezTo>
                  <a:pt x="1124282" y="1577033"/>
                  <a:pt x="1127926" y="1577033"/>
                  <a:pt x="1129748" y="1578855"/>
                </a:cubicBezTo>
                <a:lnTo>
                  <a:pt x="1135750" y="1574353"/>
                </a:lnTo>
                <a:lnTo>
                  <a:pt x="1136228" y="1575008"/>
                </a:lnTo>
                <a:lnTo>
                  <a:pt x="1135670" y="1576122"/>
                </a:lnTo>
                <a:cubicBezTo>
                  <a:pt x="1134304" y="1577033"/>
                  <a:pt x="1132481" y="1577944"/>
                  <a:pt x="1131570" y="1578855"/>
                </a:cubicBezTo>
                <a:cubicBezTo>
                  <a:pt x="1142503" y="1584321"/>
                  <a:pt x="1155259" y="1587966"/>
                  <a:pt x="1164370" y="1595255"/>
                </a:cubicBezTo>
                <a:cubicBezTo>
                  <a:pt x="1162547" y="1586144"/>
                  <a:pt x="1146148" y="1577033"/>
                  <a:pt x="1137037" y="1571566"/>
                </a:cubicBezTo>
                <a:cubicBezTo>
                  <a:pt x="1129748" y="1558811"/>
                  <a:pt x="1120637" y="1556989"/>
                  <a:pt x="1109704" y="1558811"/>
                </a:cubicBezTo>
                <a:cubicBezTo>
                  <a:pt x="1109704" y="1555167"/>
                  <a:pt x="1113349" y="1556989"/>
                  <a:pt x="1115171" y="1555167"/>
                </a:cubicBezTo>
                <a:cubicBezTo>
                  <a:pt x="1115171" y="1553345"/>
                  <a:pt x="1115171" y="1553345"/>
                  <a:pt x="1115171" y="1551522"/>
                </a:cubicBezTo>
                <a:lnTo>
                  <a:pt x="1088932" y="1537917"/>
                </a:lnTo>
                <a:lnTo>
                  <a:pt x="1073427" y="1529877"/>
                </a:lnTo>
                <a:lnTo>
                  <a:pt x="1086016" y="1535123"/>
                </a:lnTo>
                <a:cubicBezTo>
                  <a:pt x="1086016" y="1533301"/>
                  <a:pt x="1086016" y="1533301"/>
                  <a:pt x="1086016" y="1529656"/>
                </a:cubicBezTo>
                <a:cubicBezTo>
                  <a:pt x="1087838" y="1533301"/>
                  <a:pt x="1087838" y="1538767"/>
                  <a:pt x="1095127" y="1538767"/>
                </a:cubicBezTo>
                <a:cubicBezTo>
                  <a:pt x="1096949" y="1536945"/>
                  <a:pt x="1095127" y="1535123"/>
                  <a:pt x="1098771" y="1529656"/>
                </a:cubicBezTo>
                <a:cubicBezTo>
                  <a:pt x="1095127" y="1526012"/>
                  <a:pt x="1091484" y="1526012"/>
                  <a:pt x="1087838" y="1522368"/>
                </a:cubicBezTo>
                <a:lnTo>
                  <a:pt x="1087838" y="1523068"/>
                </a:lnTo>
                <a:lnTo>
                  <a:pt x="1086699" y="1522367"/>
                </a:lnTo>
                <a:cubicBezTo>
                  <a:pt x="1085560" y="1522368"/>
                  <a:pt x="1084194" y="1522368"/>
                  <a:pt x="1082373" y="1520545"/>
                </a:cubicBezTo>
                <a:lnTo>
                  <a:pt x="1084265" y="1523764"/>
                </a:lnTo>
                <a:lnTo>
                  <a:pt x="1073716" y="1517129"/>
                </a:lnTo>
                <a:lnTo>
                  <a:pt x="1073457" y="1517097"/>
                </a:lnTo>
                <a:lnTo>
                  <a:pt x="1069616" y="1513257"/>
                </a:lnTo>
                <a:cubicBezTo>
                  <a:pt x="1076905" y="1511434"/>
                  <a:pt x="1080549" y="1520545"/>
                  <a:pt x="1084194" y="1515079"/>
                </a:cubicBezTo>
                <a:cubicBezTo>
                  <a:pt x="1087838" y="1509612"/>
                  <a:pt x="1078727" y="1507790"/>
                  <a:pt x="1071439" y="1505968"/>
                </a:cubicBezTo>
                <a:cubicBezTo>
                  <a:pt x="1075083" y="1502324"/>
                  <a:pt x="1078727" y="1502324"/>
                  <a:pt x="1080549" y="1505968"/>
                </a:cubicBezTo>
                <a:cubicBezTo>
                  <a:pt x="1076905" y="1502324"/>
                  <a:pt x="1071439" y="1493213"/>
                  <a:pt x="1065972" y="1500501"/>
                </a:cubicBezTo>
                <a:cubicBezTo>
                  <a:pt x="1069616" y="1500501"/>
                  <a:pt x="1069616" y="1502324"/>
                  <a:pt x="1069616" y="1504146"/>
                </a:cubicBezTo>
                <a:cubicBezTo>
                  <a:pt x="1065972" y="1501412"/>
                  <a:pt x="1061872" y="1501412"/>
                  <a:pt x="1058000" y="1502324"/>
                </a:cubicBezTo>
                <a:lnTo>
                  <a:pt x="1055863" y="1503083"/>
                </a:lnTo>
                <a:lnTo>
                  <a:pt x="1041230" y="1496059"/>
                </a:lnTo>
                <a:lnTo>
                  <a:pt x="1040462" y="1495035"/>
                </a:lnTo>
                <a:lnTo>
                  <a:pt x="1038950" y="1494783"/>
                </a:lnTo>
                <a:lnTo>
                  <a:pt x="1047067" y="1488202"/>
                </a:lnTo>
                <a:cubicBezTo>
                  <a:pt x="1049573" y="1485468"/>
                  <a:pt x="1051395" y="1482279"/>
                  <a:pt x="1051395" y="1478635"/>
                </a:cubicBezTo>
                <a:cubicBezTo>
                  <a:pt x="1051395" y="1478635"/>
                  <a:pt x="1053217" y="1478635"/>
                  <a:pt x="1055040" y="1480458"/>
                </a:cubicBezTo>
                <a:cubicBezTo>
                  <a:pt x="1049573" y="1482280"/>
                  <a:pt x="1049573" y="1489568"/>
                  <a:pt x="1044106" y="1491391"/>
                </a:cubicBezTo>
                <a:cubicBezTo>
                  <a:pt x="1051395" y="1496857"/>
                  <a:pt x="1060506" y="1500501"/>
                  <a:pt x="1067794" y="1495035"/>
                </a:cubicBezTo>
                <a:cubicBezTo>
                  <a:pt x="1067794" y="1495035"/>
                  <a:pt x="1067794" y="1495035"/>
                  <a:pt x="1065972" y="1495035"/>
                </a:cubicBezTo>
                <a:cubicBezTo>
                  <a:pt x="1067794" y="1493213"/>
                  <a:pt x="1071439" y="1491391"/>
                  <a:pt x="1075083" y="1493213"/>
                </a:cubicBezTo>
                <a:cubicBezTo>
                  <a:pt x="1071439" y="1482280"/>
                  <a:pt x="1062328" y="1476813"/>
                  <a:pt x="1055040" y="1471347"/>
                </a:cubicBezTo>
                <a:cubicBezTo>
                  <a:pt x="1055040" y="1473169"/>
                  <a:pt x="1051395" y="1474991"/>
                  <a:pt x="1051395" y="1476813"/>
                </a:cubicBezTo>
                <a:cubicBezTo>
                  <a:pt x="1051395" y="1474991"/>
                  <a:pt x="1049573" y="1473169"/>
                  <a:pt x="1049573" y="1471347"/>
                </a:cubicBezTo>
                <a:cubicBezTo>
                  <a:pt x="1041373" y="1461325"/>
                  <a:pt x="1030440" y="1459503"/>
                  <a:pt x="1019279" y="1458591"/>
                </a:cubicBezTo>
                <a:lnTo>
                  <a:pt x="1007663" y="1455917"/>
                </a:lnTo>
                <a:lnTo>
                  <a:pt x="1007663" y="1454947"/>
                </a:lnTo>
                <a:cubicBezTo>
                  <a:pt x="1011307" y="1458592"/>
                  <a:pt x="1018596" y="1458592"/>
                  <a:pt x="1024062" y="1458592"/>
                </a:cubicBezTo>
                <a:cubicBezTo>
                  <a:pt x="1018596" y="1456769"/>
                  <a:pt x="1013129" y="1451303"/>
                  <a:pt x="1007663" y="1454947"/>
                </a:cubicBezTo>
                <a:lnTo>
                  <a:pt x="1007663" y="1453125"/>
                </a:lnTo>
                <a:cubicBezTo>
                  <a:pt x="1004929" y="1454947"/>
                  <a:pt x="1002651" y="1454491"/>
                  <a:pt x="1000602" y="1454036"/>
                </a:cubicBezTo>
                <a:lnTo>
                  <a:pt x="999946" y="1454141"/>
                </a:lnTo>
                <a:lnTo>
                  <a:pt x="987619" y="1451303"/>
                </a:lnTo>
                <a:cubicBezTo>
                  <a:pt x="985796" y="1453125"/>
                  <a:pt x="985796" y="1454947"/>
                  <a:pt x="983974" y="1456769"/>
                </a:cubicBezTo>
                <a:cubicBezTo>
                  <a:pt x="983974" y="1454947"/>
                  <a:pt x="985796" y="1453125"/>
                  <a:pt x="983974" y="1451303"/>
                </a:cubicBezTo>
                <a:cubicBezTo>
                  <a:pt x="980330" y="1449481"/>
                  <a:pt x="974863" y="1445836"/>
                  <a:pt x="973041" y="1447658"/>
                </a:cubicBezTo>
                <a:cubicBezTo>
                  <a:pt x="962108" y="1453125"/>
                  <a:pt x="949353" y="1456769"/>
                  <a:pt x="936598" y="1460414"/>
                </a:cubicBezTo>
                <a:lnTo>
                  <a:pt x="940148" y="1458757"/>
                </a:lnTo>
                <a:lnTo>
                  <a:pt x="956642" y="1453125"/>
                </a:lnTo>
                <a:lnTo>
                  <a:pt x="954188" y="1452205"/>
                </a:lnTo>
                <a:lnTo>
                  <a:pt x="963930" y="1447658"/>
                </a:lnTo>
                <a:cubicBezTo>
                  <a:pt x="958464" y="1447658"/>
                  <a:pt x="954819" y="1445836"/>
                  <a:pt x="951175" y="1449481"/>
                </a:cubicBezTo>
                <a:lnTo>
                  <a:pt x="949036" y="1450273"/>
                </a:lnTo>
                <a:lnTo>
                  <a:pt x="927487" y="1442192"/>
                </a:lnTo>
                <a:cubicBezTo>
                  <a:pt x="929309" y="1442192"/>
                  <a:pt x="929309" y="1442192"/>
                  <a:pt x="931131" y="1440370"/>
                </a:cubicBezTo>
                <a:cubicBezTo>
                  <a:pt x="907444" y="1427615"/>
                  <a:pt x="883755" y="1422148"/>
                  <a:pt x="860066" y="1429437"/>
                </a:cubicBezTo>
                <a:cubicBezTo>
                  <a:pt x="863711" y="1427615"/>
                  <a:pt x="867355" y="1425792"/>
                  <a:pt x="871000" y="1422148"/>
                </a:cubicBezTo>
                <a:cubicBezTo>
                  <a:pt x="872822" y="1422148"/>
                  <a:pt x="872822" y="1420326"/>
                  <a:pt x="874644" y="1418504"/>
                </a:cubicBezTo>
                <a:cubicBezTo>
                  <a:pt x="872822" y="1418504"/>
                  <a:pt x="871000" y="1418504"/>
                  <a:pt x="871000" y="1420326"/>
                </a:cubicBezTo>
                <a:cubicBezTo>
                  <a:pt x="872822" y="1418504"/>
                  <a:pt x="872822" y="1418504"/>
                  <a:pt x="872822" y="1418504"/>
                </a:cubicBezTo>
                <a:cubicBezTo>
                  <a:pt x="865533" y="1415770"/>
                  <a:pt x="856877" y="1413037"/>
                  <a:pt x="849361" y="1413265"/>
                </a:cubicBezTo>
                <a:close/>
                <a:moveTo>
                  <a:pt x="3197916" y="1413037"/>
                </a:moveTo>
                <a:cubicBezTo>
                  <a:pt x="3199738" y="1416681"/>
                  <a:pt x="3194271" y="1420326"/>
                  <a:pt x="3196093" y="1423970"/>
                </a:cubicBezTo>
                <a:cubicBezTo>
                  <a:pt x="3197916" y="1425792"/>
                  <a:pt x="3197916" y="1425792"/>
                  <a:pt x="3199738" y="1425792"/>
                </a:cubicBezTo>
                <a:cubicBezTo>
                  <a:pt x="3199738" y="1425792"/>
                  <a:pt x="3197916" y="1423970"/>
                  <a:pt x="3199738" y="1418504"/>
                </a:cubicBezTo>
                <a:cubicBezTo>
                  <a:pt x="3201560" y="1420326"/>
                  <a:pt x="3201560" y="1422148"/>
                  <a:pt x="3203382" y="1423970"/>
                </a:cubicBezTo>
                <a:cubicBezTo>
                  <a:pt x="3205204" y="1422148"/>
                  <a:pt x="3205204" y="1425792"/>
                  <a:pt x="3199738" y="1413037"/>
                </a:cubicBezTo>
                <a:cubicBezTo>
                  <a:pt x="3197916" y="1413037"/>
                  <a:pt x="3197916" y="1413037"/>
                  <a:pt x="3197916" y="1413037"/>
                </a:cubicBezTo>
                <a:close/>
                <a:moveTo>
                  <a:pt x="3190627" y="1413037"/>
                </a:moveTo>
                <a:cubicBezTo>
                  <a:pt x="3186982" y="1413037"/>
                  <a:pt x="3185160" y="1414859"/>
                  <a:pt x="3181516" y="1414859"/>
                </a:cubicBezTo>
                <a:cubicBezTo>
                  <a:pt x="3183338" y="1418504"/>
                  <a:pt x="3185160" y="1420326"/>
                  <a:pt x="3190627" y="1420326"/>
                </a:cubicBezTo>
                <a:cubicBezTo>
                  <a:pt x="3188805" y="1416681"/>
                  <a:pt x="3192449" y="1416681"/>
                  <a:pt x="3190627" y="1413037"/>
                </a:cubicBezTo>
                <a:close/>
                <a:moveTo>
                  <a:pt x="674205" y="1413037"/>
                </a:moveTo>
                <a:cubicBezTo>
                  <a:pt x="666916" y="1413037"/>
                  <a:pt x="666916" y="1423970"/>
                  <a:pt x="670560" y="1427615"/>
                </a:cubicBezTo>
                <a:cubicBezTo>
                  <a:pt x="676027" y="1433081"/>
                  <a:pt x="674205" y="1420326"/>
                  <a:pt x="677849" y="1423970"/>
                </a:cubicBezTo>
                <a:cubicBezTo>
                  <a:pt x="679671" y="1425792"/>
                  <a:pt x="676027" y="1427615"/>
                  <a:pt x="676027" y="1431259"/>
                </a:cubicBezTo>
                <a:cubicBezTo>
                  <a:pt x="679671" y="1429437"/>
                  <a:pt x="679671" y="1425792"/>
                  <a:pt x="681493" y="1422148"/>
                </a:cubicBezTo>
                <a:cubicBezTo>
                  <a:pt x="681493" y="1431259"/>
                  <a:pt x="668738" y="1438548"/>
                  <a:pt x="681493" y="1440370"/>
                </a:cubicBezTo>
                <a:cubicBezTo>
                  <a:pt x="679671" y="1440370"/>
                  <a:pt x="679671" y="1440370"/>
                  <a:pt x="676027" y="1440370"/>
                </a:cubicBezTo>
                <a:cubicBezTo>
                  <a:pt x="676027" y="1447658"/>
                  <a:pt x="681493" y="1449481"/>
                  <a:pt x="685138" y="1445836"/>
                </a:cubicBezTo>
                <a:cubicBezTo>
                  <a:pt x="692426" y="1440370"/>
                  <a:pt x="690604" y="1431259"/>
                  <a:pt x="692426" y="1423970"/>
                </a:cubicBezTo>
                <a:cubicBezTo>
                  <a:pt x="686960" y="1420326"/>
                  <a:pt x="679671" y="1413037"/>
                  <a:pt x="674205" y="1413037"/>
                </a:cubicBezTo>
                <a:close/>
                <a:moveTo>
                  <a:pt x="652566" y="1413037"/>
                </a:moveTo>
                <a:cubicBezTo>
                  <a:pt x="650516" y="1413037"/>
                  <a:pt x="648694" y="1413948"/>
                  <a:pt x="648694" y="1416681"/>
                </a:cubicBezTo>
                <a:cubicBezTo>
                  <a:pt x="650516" y="1418504"/>
                  <a:pt x="654161" y="1414859"/>
                  <a:pt x="657805" y="1414859"/>
                </a:cubicBezTo>
                <a:cubicBezTo>
                  <a:pt x="656894" y="1413948"/>
                  <a:pt x="654616" y="1413037"/>
                  <a:pt x="652566" y="1413037"/>
                </a:cubicBezTo>
                <a:close/>
                <a:moveTo>
                  <a:pt x="573985" y="1413037"/>
                </a:moveTo>
                <a:cubicBezTo>
                  <a:pt x="572163" y="1414859"/>
                  <a:pt x="575808" y="1418504"/>
                  <a:pt x="577630" y="1418504"/>
                </a:cubicBezTo>
                <a:cubicBezTo>
                  <a:pt x="579452" y="1416681"/>
                  <a:pt x="575808" y="1414859"/>
                  <a:pt x="575808" y="1414859"/>
                </a:cubicBezTo>
                <a:cubicBezTo>
                  <a:pt x="577630" y="1414859"/>
                  <a:pt x="579452" y="1416681"/>
                  <a:pt x="581274" y="1416681"/>
                </a:cubicBezTo>
                <a:cubicBezTo>
                  <a:pt x="581274" y="1413037"/>
                  <a:pt x="575808" y="1413037"/>
                  <a:pt x="573985" y="1413037"/>
                </a:cubicBezTo>
                <a:close/>
                <a:moveTo>
                  <a:pt x="453494" y="1413037"/>
                </a:moveTo>
                <a:lnTo>
                  <a:pt x="453591" y="1414586"/>
                </a:lnTo>
                <a:lnTo>
                  <a:pt x="452782" y="1414717"/>
                </a:lnTo>
                <a:lnTo>
                  <a:pt x="452230" y="1414480"/>
                </a:lnTo>
                <a:close/>
                <a:moveTo>
                  <a:pt x="444967" y="1411367"/>
                </a:moveTo>
                <a:lnTo>
                  <a:pt x="452230" y="1414480"/>
                </a:lnTo>
                <a:lnTo>
                  <a:pt x="451899" y="1414859"/>
                </a:lnTo>
                <a:lnTo>
                  <a:pt x="452782" y="1414717"/>
                </a:lnTo>
                <a:lnTo>
                  <a:pt x="453621" y="1415076"/>
                </a:lnTo>
                <a:lnTo>
                  <a:pt x="453722" y="1416681"/>
                </a:lnTo>
                <a:cubicBezTo>
                  <a:pt x="450077" y="1416681"/>
                  <a:pt x="447344" y="1414859"/>
                  <a:pt x="445294" y="1412126"/>
                </a:cubicBezTo>
                <a:close/>
                <a:moveTo>
                  <a:pt x="3143250" y="1411215"/>
                </a:moveTo>
                <a:cubicBezTo>
                  <a:pt x="3143250" y="1423970"/>
                  <a:pt x="3154184" y="1420326"/>
                  <a:pt x="3157828" y="1423970"/>
                </a:cubicBezTo>
                <a:cubicBezTo>
                  <a:pt x="3163294" y="1414859"/>
                  <a:pt x="3148717" y="1411215"/>
                  <a:pt x="3143250" y="1411215"/>
                </a:cubicBezTo>
                <a:close/>
                <a:moveTo>
                  <a:pt x="3134140" y="1411215"/>
                </a:moveTo>
                <a:cubicBezTo>
                  <a:pt x="3135962" y="1414859"/>
                  <a:pt x="3137784" y="1418504"/>
                  <a:pt x="3141428" y="1418504"/>
                </a:cubicBezTo>
                <a:cubicBezTo>
                  <a:pt x="3139606" y="1416681"/>
                  <a:pt x="3139606" y="1413037"/>
                  <a:pt x="3137784" y="1411215"/>
                </a:cubicBezTo>
                <a:cubicBezTo>
                  <a:pt x="3135962" y="1411215"/>
                  <a:pt x="3135962" y="1413037"/>
                  <a:pt x="3134140" y="1411215"/>
                </a:cubicBezTo>
                <a:close/>
                <a:moveTo>
                  <a:pt x="1149792" y="1411215"/>
                </a:moveTo>
                <a:cubicBezTo>
                  <a:pt x="1146148" y="1409393"/>
                  <a:pt x="1149792" y="1414859"/>
                  <a:pt x="1147970" y="1414859"/>
                </a:cubicBezTo>
                <a:cubicBezTo>
                  <a:pt x="1151614" y="1418504"/>
                  <a:pt x="1149792" y="1413037"/>
                  <a:pt x="1149792" y="1411215"/>
                </a:cubicBezTo>
                <a:close/>
                <a:moveTo>
                  <a:pt x="1127926" y="1411215"/>
                </a:moveTo>
                <a:cubicBezTo>
                  <a:pt x="1127926" y="1414859"/>
                  <a:pt x="1124282" y="1413037"/>
                  <a:pt x="1122459" y="1414859"/>
                </a:cubicBezTo>
                <a:cubicBezTo>
                  <a:pt x="1122459" y="1418504"/>
                  <a:pt x="1126104" y="1420326"/>
                  <a:pt x="1127926" y="1422148"/>
                </a:cubicBezTo>
                <a:cubicBezTo>
                  <a:pt x="1131570" y="1420326"/>
                  <a:pt x="1131570" y="1418504"/>
                  <a:pt x="1133393" y="1416681"/>
                </a:cubicBezTo>
                <a:cubicBezTo>
                  <a:pt x="1131570" y="1414859"/>
                  <a:pt x="1129748" y="1413037"/>
                  <a:pt x="1127926" y="1411215"/>
                </a:cubicBezTo>
                <a:close/>
                <a:moveTo>
                  <a:pt x="701537" y="1411215"/>
                </a:moveTo>
                <a:cubicBezTo>
                  <a:pt x="707004" y="1416681"/>
                  <a:pt x="714293" y="1418504"/>
                  <a:pt x="717937" y="1413037"/>
                </a:cubicBezTo>
                <a:cubicBezTo>
                  <a:pt x="712470" y="1414859"/>
                  <a:pt x="707004" y="1409393"/>
                  <a:pt x="701537" y="1411215"/>
                </a:cubicBezTo>
                <a:close/>
                <a:moveTo>
                  <a:pt x="519320" y="1411215"/>
                </a:moveTo>
                <a:cubicBezTo>
                  <a:pt x="517498" y="1413037"/>
                  <a:pt x="517498" y="1413037"/>
                  <a:pt x="515676" y="1414859"/>
                </a:cubicBezTo>
                <a:cubicBezTo>
                  <a:pt x="517498" y="1414859"/>
                  <a:pt x="519320" y="1414859"/>
                  <a:pt x="521142" y="1413037"/>
                </a:cubicBezTo>
                <a:cubicBezTo>
                  <a:pt x="519320" y="1413037"/>
                  <a:pt x="519320" y="1413037"/>
                  <a:pt x="519320" y="1411215"/>
                </a:cubicBezTo>
                <a:close/>
                <a:moveTo>
                  <a:pt x="493809" y="1411215"/>
                </a:moveTo>
                <a:cubicBezTo>
                  <a:pt x="490165" y="1409393"/>
                  <a:pt x="482876" y="1413037"/>
                  <a:pt x="484700" y="1418504"/>
                </a:cubicBezTo>
                <a:cubicBezTo>
                  <a:pt x="488343" y="1416681"/>
                  <a:pt x="490165" y="1413037"/>
                  <a:pt x="493809" y="1411215"/>
                </a:cubicBezTo>
                <a:close/>
                <a:moveTo>
                  <a:pt x="444849" y="1411096"/>
                </a:moveTo>
                <a:lnTo>
                  <a:pt x="444967" y="1411367"/>
                </a:lnTo>
                <a:lnTo>
                  <a:pt x="444611" y="1411215"/>
                </a:lnTo>
                <a:close/>
                <a:moveTo>
                  <a:pt x="467388" y="1410987"/>
                </a:moveTo>
                <a:cubicBezTo>
                  <a:pt x="466022" y="1411215"/>
                  <a:pt x="464655" y="1412126"/>
                  <a:pt x="464655" y="1413037"/>
                </a:cubicBezTo>
                <a:cubicBezTo>
                  <a:pt x="466478" y="1414859"/>
                  <a:pt x="468299" y="1414859"/>
                  <a:pt x="470121" y="1413037"/>
                </a:cubicBezTo>
                <a:cubicBezTo>
                  <a:pt x="470121" y="1411215"/>
                  <a:pt x="468754" y="1410759"/>
                  <a:pt x="467388" y="1410987"/>
                </a:cubicBezTo>
                <a:close/>
                <a:moveTo>
                  <a:pt x="3114888" y="1410901"/>
                </a:moveTo>
                <a:lnTo>
                  <a:pt x="3117227" y="1415642"/>
                </a:lnTo>
                <a:lnTo>
                  <a:pt x="3114096" y="1414859"/>
                </a:lnTo>
                <a:close/>
                <a:moveTo>
                  <a:pt x="3039387" y="1409393"/>
                </a:moveTo>
                <a:cubicBezTo>
                  <a:pt x="3039387" y="1413037"/>
                  <a:pt x="3041209" y="1414859"/>
                  <a:pt x="3043031" y="1414859"/>
                </a:cubicBezTo>
                <a:cubicBezTo>
                  <a:pt x="3043031" y="1413037"/>
                  <a:pt x="3043031" y="1411215"/>
                  <a:pt x="3043031" y="1409393"/>
                </a:cubicBezTo>
                <a:cubicBezTo>
                  <a:pt x="3041209" y="1409393"/>
                  <a:pt x="3041209" y="1409393"/>
                  <a:pt x="3039387" y="1409393"/>
                </a:cubicBezTo>
                <a:close/>
                <a:moveTo>
                  <a:pt x="1162547" y="1409393"/>
                </a:moveTo>
                <a:cubicBezTo>
                  <a:pt x="1160725" y="1414859"/>
                  <a:pt x="1160725" y="1418504"/>
                  <a:pt x="1160725" y="1423970"/>
                </a:cubicBezTo>
                <a:cubicBezTo>
                  <a:pt x="1162547" y="1425792"/>
                  <a:pt x="1164370" y="1427615"/>
                  <a:pt x="1166192" y="1427615"/>
                </a:cubicBezTo>
                <a:cubicBezTo>
                  <a:pt x="1166192" y="1422148"/>
                  <a:pt x="1162547" y="1416681"/>
                  <a:pt x="1162547" y="1409393"/>
                </a:cubicBezTo>
                <a:close/>
                <a:moveTo>
                  <a:pt x="736159" y="1409393"/>
                </a:moveTo>
                <a:cubicBezTo>
                  <a:pt x="734336" y="1407571"/>
                  <a:pt x="732515" y="1407571"/>
                  <a:pt x="728870" y="1411215"/>
                </a:cubicBezTo>
                <a:cubicBezTo>
                  <a:pt x="730692" y="1411215"/>
                  <a:pt x="736159" y="1416681"/>
                  <a:pt x="736159" y="1409393"/>
                </a:cubicBezTo>
                <a:close/>
                <a:moveTo>
                  <a:pt x="690604" y="1409393"/>
                </a:moveTo>
                <a:cubicBezTo>
                  <a:pt x="688782" y="1409393"/>
                  <a:pt x="686960" y="1411215"/>
                  <a:pt x="685138" y="1411215"/>
                </a:cubicBezTo>
                <a:cubicBezTo>
                  <a:pt x="688782" y="1420326"/>
                  <a:pt x="696071" y="1418504"/>
                  <a:pt x="705182" y="1418504"/>
                </a:cubicBezTo>
                <a:cubicBezTo>
                  <a:pt x="699715" y="1414859"/>
                  <a:pt x="696071" y="1411215"/>
                  <a:pt x="690604" y="1409393"/>
                </a:cubicBezTo>
                <a:close/>
                <a:moveTo>
                  <a:pt x="530253" y="1409393"/>
                </a:moveTo>
                <a:cubicBezTo>
                  <a:pt x="522964" y="1414859"/>
                  <a:pt x="512031" y="1420326"/>
                  <a:pt x="515676" y="1431259"/>
                </a:cubicBezTo>
                <a:lnTo>
                  <a:pt x="512031" y="1431259"/>
                </a:lnTo>
                <a:cubicBezTo>
                  <a:pt x="512031" y="1433081"/>
                  <a:pt x="513853" y="1436725"/>
                  <a:pt x="513853" y="1438548"/>
                </a:cubicBezTo>
                <a:cubicBezTo>
                  <a:pt x="519320" y="1431259"/>
                  <a:pt x="522964" y="1420326"/>
                  <a:pt x="530253" y="1409393"/>
                </a:cubicBezTo>
                <a:close/>
                <a:moveTo>
                  <a:pt x="564874" y="1408938"/>
                </a:moveTo>
                <a:cubicBezTo>
                  <a:pt x="563963" y="1408938"/>
                  <a:pt x="563052" y="1409393"/>
                  <a:pt x="563052" y="1411215"/>
                </a:cubicBezTo>
                <a:cubicBezTo>
                  <a:pt x="562141" y="1413037"/>
                  <a:pt x="562596" y="1413948"/>
                  <a:pt x="563507" y="1414403"/>
                </a:cubicBezTo>
                <a:lnTo>
                  <a:pt x="564490" y="1414544"/>
                </a:lnTo>
                <a:lnTo>
                  <a:pt x="564399" y="1414752"/>
                </a:lnTo>
                <a:lnTo>
                  <a:pt x="556902" y="1414403"/>
                </a:lnTo>
                <a:cubicBezTo>
                  <a:pt x="553486" y="1414403"/>
                  <a:pt x="550297" y="1413948"/>
                  <a:pt x="548475" y="1411215"/>
                </a:cubicBezTo>
                <a:cubicBezTo>
                  <a:pt x="552119" y="1416681"/>
                  <a:pt x="544830" y="1413037"/>
                  <a:pt x="544830" y="1416681"/>
                </a:cubicBezTo>
                <a:cubicBezTo>
                  <a:pt x="544830" y="1420326"/>
                  <a:pt x="550297" y="1416681"/>
                  <a:pt x="550297" y="1420326"/>
                </a:cubicBezTo>
                <a:cubicBezTo>
                  <a:pt x="548475" y="1420326"/>
                  <a:pt x="544830" y="1420326"/>
                  <a:pt x="544830" y="1420326"/>
                </a:cubicBezTo>
                <a:cubicBezTo>
                  <a:pt x="541186" y="1427615"/>
                  <a:pt x="555763" y="1425792"/>
                  <a:pt x="552119" y="1434903"/>
                </a:cubicBezTo>
                <a:cubicBezTo>
                  <a:pt x="561230" y="1429437"/>
                  <a:pt x="559408" y="1425792"/>
                  <a:pt x="555763" y="1420326"/>
                </a:cubicBezTo>
                <a:cubicBezTo>
                  <a:pt x="559408" y="1420326"/>
                  <a:pt x="563052" y="1416681"/>
                  <a:pt x="561230" y="1422148"/>
                </a:cubicBezTo>
                <a:lnTo>
                  <a:pt x="564399" y="1414752"/>
                </a:lnTo>
                <a:lnTo>
                  <a:pt x="566697" y="1414859"/>
                </a:lnTo>
                <a:lnTo>
                  <a:pt x="564490" y="1414544"/>
                </a:lnTo>
                <a:lnTo>
                  <a:pt x="566697" y="1409393"/>
                </a:lnTo>
                <a:cubicBezTo>
                  <a:pt x="566697" y="1409393"/>
                  <a:pt x="565785" y="1408938"/>
                  <a:pt x="564874" y="1408938"/>
                </a:cubicBezTo>
                <a:close/>
                <a:moveTo>
                  <a:pt x="443848" y="1408778"/>
                </a:moveTo>
                <a:lnTo>
                  <a:pt x="448256" y="1409393"/>
                </a:lnTo>
                <a:lnTo>
                  <a:pt x="444849" y="1411096"/>
                </a:lnTo>
                <a:close/>
                <a:moveTo>
                  <a:pt x="438461" y="1408026"/>
                </a:moveTo>
                <a:lnTo>
                  <a:pt x="443159" y="1408682"/>
                </a:lnTo>
                <a:lnTo>
                  <a:pt x="444611" y="1413037"/>
                </a:lnTo>
                <a:cubicBezTo>
                  <a:pt x="440966" y="1413037"/>
                  <a:pt x="438689" y="1411670"/>
                  <a:pt x="437094" y="1410076"/>
                </a:cubicBezTo>
                <a:lnTo>
                  <a:pt x="436641" y="1409502"/>
                </a:lnTo>
                <a:close/>
                <a:moveTo>
                  <a:pt x="2895435" y="1407571"/>
                </a:moveTo>
                <a:lnTo>
                  <a:pt x="2893613" y="1411215"/>
                </a:lnTo>
                <a:cubicBezTo>
                  <a:pt x="2895435" y="1413037"/>
                  <a:pt x="2899079" y="1413037"/>
                  <a:pt x="2902724" y="1411215"/>
                </a:cubicBezTo>
                <a:cubicBezTo>
                  <a:pt x="2899079" y="1409393"/>
                  <a:pt x="2897257" y="1409393"/>
                  <a:pt x="2895435" y="1407571"/>
                </a:cubicBezTo>
                <a:close/>
                <a:moveTo>
                  <a:pt x="1494183" y="1407571"/>
                </a:moveTo>
                <a:lnTo>
                  <a:pt x="1475961" y="1429437"/>
                </a:lnTo>
                <a:cubicBezTo>
                  <a:pt x="1496006" y="1438548"/>
                  <a:pt x="1479606" y="1438548"/>
                  <a:pt x="1497827" y="1431259"/>
                </a:cubicBezTo>
                <a:lnTo>
                  <a:pt x="1514228" y="1444014"/>
                </a:lnTo>
                <a:lnTo>
                  <a:pt x="1530626" y="1422148"/>
                </a:lnTo>
                <a:cubicBezTo>
                  <a:pt x="1497827" y="1418504"/>
                  <a:pt x="1517871" y="1422148"/>
                  <a:pt x="1494183" y="1407571"/>
                </a:cubicBezTo>
                <a:close/>
                <a:moveTo>
                  <a:pt x="584919" y="1407571"/>
                </a:moveTo>
                <a:cubicBezTo>
                  <a:pt x="583096" y="1411215"/>
                  <a:pt x="590385" y="1413037"/>
                  <a:pt x="594030" y="1409393"/>
                </a:cubicBezTo>
                <a:cubicBezTo>
                  <a:pt x="590385" y="1407571"/>
                  <a:pt x="588562" y="1407571"/>
                  <a:pt x="584919" y="1407571"/>
                </a:cubicBezTo>
                <a:close/>
                <a:moveTo>
                  <a:pt x="3491391" y="1405759"/>
                </a:moveTo>
                <a:lnTo>
                  <a:pt x="3491414" y="1406571"/>
                </a:lnTo>
                <a:lnTo>
                  <a:pt x="3491286" y="1406204"/>
                </a:lnTo>
                <a:close/>
                <a:moveTo>
                  <a:pt x="1157081" y="1405748"/>
                </a:moveTo>
                <a:cubicBezTo>
                  <a:pt x="1153436" y="1405748"/>
                  <a:pt x="1147970" y="1409393"/>
                  <a:pt x="1151614" y="1413037"/>
                </a:cubicBezTo>
                <a:cubicBezTo>
                  <a:pt x="1151614" y="1411215"/>
                  <a:pt x="1155259" y="1409393"/>
                  <a:pt x="1153436" y="1407571"/>
                </a:cubicBezTo>
                <a:cubicBezTo>
                  <a:pt x="1157081" y="1407571"/>
                  <a:pt x="1153436" y="1413037"/>
                  <a:pt x="1157081" y="1413037"/>
                </a:cubicBezTo>
                <a:cubicBezTo>
                  <a:pt x="1153436" y="1414859"/>
                  <a:pt x="1155259" y="1418504"/>
                  <a:pt x="1155259" y="1420326"/>
                </a:cubicBezTo>
                <a:cubicBezTo>
                  <a:pt x="1160725" y="1416681"/>
                  <a:pt x="1160725" y="1407571"/>
                  <a:pt x="1157081" y="1405748"/>
                </a:cubicBezTo>
                <a:close/>
                <a:moveTo>
                  <a:pt x="838200" y="1405748"/>
                </a:moveTo>
                <a:cubicBezTo>
                  <a:pt x="836378" y="1407571"/>
                  <a:pt x="836378" y="1405748"/>
                  <a:pt x="834556" y="1407571"/>
                </a:cubicBezTo>
                <a:cubicBezTo>
                  <a:pt x="832734" y="1413037"/>
                  <a:pt x="830912" y="1411215"/>
                  <a:pt x="827267" y="1414859"/>
                </a:cubicBezTo>
                <a:cubicBezTo>
                  <a:pt x="829089" y="1418504"/>
                  <a:pt x="829089" y="1420326"/>
                  <a:pt x="832734" y="1422148"/>
                </a:cubicBezTo>
                <a:cubicBezTo>
                  <a:pt x="836378" y="1416681"/>
                  <a:pt x="840022" y="1413037"/>
                  <a:pt x="841845" y="1407571"/>
                </a:cubicBezTo>
                <a:cubicBezTo>
                  <a:pt x="838200" y="1411215"/>
                  <a:pt x="838200" y="1407571"/>
                  <a:pt x="834556" y="1407571"/>
                </a:cubicBezTo>
                <a:cubicBezTo>
                  <a:pt x="836378" y="1407571"/>
                  <a:pt x="838200" y="1407571"/>
                  <a:pt x="840022" y="1407571"/>
                </a:cubicBezTo>
                <a:cubicBezTo>
                  <a:pt x="840022" y="1407571"/>
                  <a:pt x="838200" y="1405748"/>
                  <a:pt x="838200" y="1405748"/>
                </a:cubicBezTo>
                <a:close/>
                <a:moveTo>
                  <a:pt x="758025" y="1405748"/>
                </a:moveTo>
                <a:cubicBezTo>
                  <a:pt x="758025" y="1403926"/>
                  <a:pt x="752558" y="1409393"/>
                  <a:pt x="754380" y="1411215"/>
                </a:cubicBezTo>
                <a:cubicBezTo>
                  <a:pt x="756203" y="1409393"/>
                  <a:pt x="758025" y="1407571"/>
                  <a:pt x="758025" y="1405748"/>
                </a:cubicBezTo>
                <a:close/>
                <a:moveTo>
                  <a:pt x="676027" y="1405748"/>
                </a:moveTo>
                <a:cubicBezTo>
                  <a:pt x="677849" y="1405748"/>
                  <a:pt x="676027" y="1407571"/>
                  <a:pt x="676027" y="1407571"/>
                </a:cubicBezTo>
                <a:cubicBezTo>
                  <a:pt x="679671" y="1409393"/>
                  <a:pt x="683316" y="1407571"/>
                  <a:pt x="686960" y="1407571"/>
                </a:cubicBezTo>
                <a:cubicBezTo>
                  <a:pt x="685138" y="1405748"/>
                  <a:pt x="679671" y="1403926"/>
                  <a:pt x="676027" y="1405748"/>
                </a:cubicBezTo>
                <a:close/>
                <a:moveTo>
                  <a:pt x="612478" y="1404381"/>
                </a:moveTo>
                <a:cubicBezTo>
                  <a:pt x="610884" y="1403926"/>
                  <a:pt x="609517" y="1403926"/>
                  <a:pt x="608606" y="1405748"/>
                </a:cubicBezTo>
                <a:cubicBezTo>
                  <a:pt x="612251" y="1407571"/>
                  <a:pt x="614074" y="1407571"/>
                  <a:pt x="617717" y="1405748"/>
                </a:cubicBezTo>
                <a:cubicBezTo>
                  <a:pt x="615895" y="1405748"/>
                  <a:pt x="614074" y="1404837"/>
                  <a:pt x="612478" y="1404381"/>
                </a:cubicBezTo>
                <a:close/>
                <a:moveTo>
                  <a:pt x="792646" y="1403926"/>
                </a:moveTo>
                <a:lnTo>
                  <a:pt x="793128" y="1404802"/>
                </a:lnTo>
                <a:lnTo>
                  <a:pt x="791990" y="1403999"/>
                </a:lnTo>
                <a:close/>
                <a:moveTo>
                  <a:pt x="625006" y="1403926"/>
                </a:moveTo>
                <a:cubicBezTo>
                  <a:pt x="623185" y="1405748"/>
                  <a:pt x="630472" y="1407571"/>
                  <a:pt x="630472" y="1403926"/>
                </a:cubicBezTo>
                <a:cubicBezTo>
                  <a:pt x="628650" y="1403926"/>
                  <a:pt x="626828" y="1405748"/>
                  <a:pt x="625006" y="1403926"/>
                </a:cubicBezTo>
                <a:close/>
                <a:moveTo>
                  <a:pt x="603140" y="1403926"/>
                </a:moveTo>
                <a:cubicBezTo>
                  <a:pt x="604963" y="1407571"/>
                  <a:pt x="604963" y="1409393"/>
                  <a:pt x="606784" y="1403926"/>
                </a:cubicBezTo>
                <a:cubicBezTo>
                  <a:pt x="606784" y="1402104"/>
                  <a:pt x="604963" y="1402104"/>
                  <a:pt x="603140" y="1403926"/>
                </a:cubicBezTo>
                <a:close/>
                <a:moveTo>
                  <a:pt x="546653" y="1403926"/>
                </a:moveTo>
                <a:cubicBezTo>
                  <a:pt x="545742" y="1404837"/>
                  <a:pt x="546197" y="1406204"/>
                  <a:pt x="547108" y="1406887"/>
                </a:cubicBezTo>
                <a:lnTo>
                  <a:pt x="549120" y="1406169"/>
                </a:lnTo>
                <a:lnTo>
                  <a:pt x="549159" y="1406204"/>
                </a:lnTo>
                <a:cubicBezTo>
                  <a:pt x="549842" y="1406204"/>
                  <a:pt x="550297" y="1405748"/>
                  <a:pt x="550297" y="1405748"/>
                </a:cubicBezTo>
                <a:lnTo>
                  <a:pt x="549120" y="1406169"/>
                </a:lnTo>
                <a:close/>
                <a:moveTo>
                  <a:pt x="1176404" y="1403671"/>
                </a:moveTo>
                <a:lnTo>
                  <a:pt x="1187067" y="1417241"/>
                </a:lnTo>
                <a:lnTo>
                  <a:pt x="1178035" y="1407343"/>
                </a:lnTo>
                <a:close/>
                <a:moveTo>
                  <a:pt x="661449" y="1402104"/>
                </a:moveTo>
                <a:cubicBezTo>
                  <a:pt x="659627" y="1403926"/>
                  <a:pt x="659627" y="1405748"/>
                  <a:pt x="657805" y="1407571"/>
                </a:cubicBezTo>
                <a:cubicBezTo>
                  <a:pt x="659627" y="1409393"/>
                  <a:pt x="663272" y="1409393"/>
                  <a:pt x="666916" y="1405748"/>
                </a:cubicBezTo>
                <a:cubicBezTo>
                  <a:pt x="665094" y="1403926"/>
                  <a:pt x="663272" y="1403926"/>
                  <a:pt x="661449" y="1402104"/>
                </a:cubicBezTo>
                <a:close/>
                <a:moveTo>
                  <a:pt x="535719" y="1402104"/>
                </a:moveTo>
                <a:cubicBezTo>
                  <a:pt x="533897" y="1402104"/>
                  <a:pt x="533897" y="1403926"/>
                  <a:pt x="532075" y="1405748"/>
                </a:cubicBezTo>
                <a:cubicBezTo>
                  <a:pt x="533897" y="1407571"/>
                  <a:pt x="537542" y="1411215"/>
                  <a:pt x="539364" y="1409393"/>
                </a:cubicBezTo>
                <a:cubicBezTo>
                  <a:pt x="539364" y="1405748"/>
                  <a:pt x="537542" y="1403926"/>
                  <a:pt x="535719" y="1402104"/>
                </a:cubicBezTo>
                <a:close/>
                <a:moveTo>
                  <a:pt x="440966" y="1402104"/>
                </a:moveTo>
                <a:lnTo>
                  <a:pt x="443848" y="1408778"/>
                </a:lnTo>
                <a:lnTo>
                  <a:pt x="443159" y="1408682"/>
                </a:lnTo>
                <a:close/>
                <a:moveTo>
                  <a:pt x="3115918" y="1400282"/>
                </a:moveTo>
                <a:cubicBezTo>
                  <a:pt x="3115918" y="1407571"/>
                  <a:pt x="3125029" y="1405748"/>
                  <a:pt x="3128673" y="1407571"/>
                </a:cubicBezTo>
                <a:cubicBezTo>
                  <a:pt x="3128673" y="1400282"/>
                  <a:pt x="3121384" y="1400282"/>
                  <a:pt x="3115918" y="1400282"/>
                </a:cubicBezTo>
                <a:close/>
                <a:moveTo>
                  <a:pt x="1158903" y="1400282"/>
                </a:moveTo>
                <a:cubicBezTo>
                  <a:pt x="1157081" y="1400282"/>
                  <a:pt x="1157081" y="1402104"/>
                  <a:pt x="1157081" y="1403926"/>
                </a:cubicBezTo>
                <a:cubicBezTo>
                  <a:pt x="1158903" y="1405748"/>
                  <a:pt x="1158903" y="1403926"/>
                  <a:pt x="1160725" y="1405748"/>
                </a:cubicBezTo>
                <a:cubicBezTo>
                  <a:pt x="1160725" y="1403926"/>
                  <a:pt x="1158903" y="1402104"/>
                  <a:pt x="1158903" y="1400282"/>
                </a:cubicBezTo>
                <a:close/>
                <a:moveTo>
                  <a:pt x="787179" y="1400282"/>
                </a:moveTo>
                <a:cubicBezTo>
                  <a:pt x="781713" y="1407571"/>
                  <a:pt x="772602" y="1422148"/>
                  <a:pt x="783535" y="1422148"/>
                </a:cubicBezTo>
                <a:cubicBezTo>
                  <a:pt x="787179" y="1423970"/>
                  <a:pt x="781713" y="1416681"/>
                  <a:pt x="783535" y="1413037"/>
                </a:cubicBezTo>
                <a:cubicBezTo>
                  <a:pt x="787179" y="1416681"/>
                  <a:pt x="789003" y="1418504"/>
                  <a:pt x="789003" y="1422148"/>
                </a:cubicBezTo>
                <a:cubicBezTo>
                  <a:pt x="793557" y="1419414"/>
                  <a:pt x="796746" y="1416226"/>
                  <a:pt x="797658" y="1413037"/>
                </a:cubicBezTo>
                <a:lnTo>
                  <a:pt x="793128" y="1404802"/>
                </a:lnTo>
                <a:lnTo>
                  <a:pt x="794468" y="1405748"/>
                </a:lnTo>
                <a:cubicBezTo>
                  <a:pt x="796290" y="1403926"/>
                  <a:pt x="792646" y="1400282"/>
                  <a:pt x="790824" y="1400282"/>
                </a:cubicBezTo>
                <a:cubicBezTo>
                  <a:pt x="789001" y="1401193"/>
                  <a:pt x="789457" y="1402104"/>
                  <a:pt x="790596" y="1403015"/>
                </a:cubicBezTo>
                <a:lnTo>
                  <a:pt x="791990" y="1403999"/>
                </a:lnTo>
                <a:lnTo>
                  <a:pt x="790596" y="1404154"/>
                </a:lnTo>
                <a:cubicBezTo>
                  <a:pt x="789457" y="1403015"/>
                  <a:pt x="788091" y="1401193"/>
                  <a:pt x="787179" y="1400282"/>
                </a:cubicBezTo>
                <a:close/>
                <a:moveTo>
                  <a:pt x="735020" y="1398915"/>
                </a:moveTo>
                <a:cubicBezTo>
                  <a:pt x="732059" y="1398915"/>
                  <a:pt x="729781" y="1400281"/>
                  <a:pt x="730692" y="1405748"/>
                </a:cubicBezTo>
                <a:cubicBezTo>
                  <a:pt x="734336" y="1402104"/>
                  <a:pt x="741626" y="1407571"/>
                  <a:pt x="743447" y="1400282"/>
                </a:cubicBezTo>
                <a:cubicBezTo>
                  <a:pt x="741626" y="1400282"/>
                  <a:pt x="737981" y="1398915"/>
                  <a:pt x="735020" y="1398915"/>
                </a:cubicBezTo>
                <a:close/>
                <a:moveTo>
                  <a:pt x="3493108" y="1398460"/>
                </a:moveTo>
                <a:lnTo>
                  <a:pt x="3493480" y="1398609"/>
                </a:lnTo>
                <a:lnTo>
                  <a:pt x="3493108" y="1400282"/>
                </a:lnTo>
                <a:lnTo>
                  <a:pt x="3492844" y="1399583"/>
                </a:lnTo>
                <a:close/>
                <a:moveTo>
                  <a:pt x="3465775" y="1398460"/>
                </a:moveTo>
                <a:cubicBezTo>
                  <a:pt x="3465775" y="1402104"/>
                  <a:pt x="3467597" y="1411215"/>
                  <a:pt x="3471242" y="1411215"/>
                </a:cubicBezTo>
                <a:cubicBezTo>
                  <a:pt x="3474886" y="1407571"/>
                  <a:pt x="3469419" y="1405748"/>
                  <a:pt x="3471242" y="1400282"/>
                </a:cubicBezTo>
                <a:cubicBezTo>
                  <a:pt x="3469419" y="1400282"/>
                  <a:pt x="3467597" y="1400282"/>
                  <a:pt x="3465775" y="1398460"/>
                </a:cubicBezTo>
                <a:close/>
                <a:moveTo>
                  <a:pt x="1641780" y="1398460"/>
                </a:moveTo>
                <a:lnTo>
                  <a:pt x="1627202" y="1413037"/>
                </a:lnTo>
                <a:lnTo>
                  <a:pt x="1643602" y="1422148"/>
                </a:lnTo>
                <a:lnTo>
                  <a:pt x="1649068" y="1409393"/>
                </a:lnTo>
                <a:close/>
                <a:moveTo>
                  <a:pt x="1096949" y="1398460"/>
                </a:moveTo>
                <a:cubicBezTo>
                  <a:pt x="1095127" y="1402104"/>
                  <a:pt x="1100593" y="1407571"/>
                  <a:pt x="1096949" y="1411215"/>
                </a:cubicBezTo>
                <a:cubicBezTo>
                  <a:pt x="1102416" y="1416681"/>
                  <a:pt x="1109704" y="1418504"/>
                  <a:pt x="1116993" y="1416681"/>
                </a:cubicBezTo>
                <a:cubicBezTo>
                  <a:pt x="1113349" y="1409393"/>
                  <a:pt x="1104238" y="1400282"/>
                  <a:pt x="1096949" y="1398460"/>
                </a:cubicBezTo>
                <a:close/>
                <a:moveTo>
                  <a:pt x="794468" y="1398460"/>
                </a:moveTo>
                <a:cubicBezTo>
                  <a:pt x="794468" y="1400282"/>
                  <a:pt x="796290" y="1405748"/>
                  <a:pt x="799935" y="1409393"/>
                </a:cubicBezTo>
                <a:cubicBezTo>
                  <a:pt x="799935" y="1403926"/>
                  <a:pt x="801757" y="1405748"/>
                  <a:pt x="805401" y="1402104"/>
                </a:cubicBezTo>
                <a:cubicBezTo>
                  <a:pt x="801757" y="1398460"/>
                  <a:pt x="798112" y="1398460"/>
                  <a:pt x="794468" y="1398460"/>
                </a:cubicBezTo>
                <a:close/>
                <a:moveTo>
                  <a:pt x="659627" y="1398460"/>
                </a:moveTo>
                <a:cubicBezTo>
                  <a:pt x="657805" y="1398460"/>
                  <a:pt x="657805" y="1400282"/>
                  <a:pt x="655983" y="1402104"/>
                </a:cubicBezTo>
                <a:cubicBezTo>
                  <a:pt x="655983" y="1403926"/>
                  <a:pt x="661449" y="1400282"/>
                  <a:pt x="659627" y="1398460"/>
                </a:cubicBezTo>
                <a:close/>
                <a:moveTo>
                  <a:pt x="612251" y="1398460"/>
                </a:moveTo>
                <a:cubicBezTo>
                  <a:pt x="610429" y="1398460"/>
                  <a:pt x="610429" y="1400282"/>
                  <a:pt x="610429" y="1402104"/>
                </a:cubicBezTo>
                <a:cubicBezTo>
                  <a:pt x="612251" y="1403926"/>
                  <a:pt x="614074" y="1403926"/>
                  <a:pt x="615895" y="1403926"/>
                </a:cubicBezTo>
                <a:cubicBezTo>
                  <a:pt x="617717" y="1402104"/>
                  <a:pt x="614074" y="1398460"/>
                  <a:pt x="612251" y="1398460"/>
                </a:cubicBezTo>
                <a:close/>
                <a:moveTo>
                  <a:pt x="1164371" y="1398459"/>
                </a:moveTo>
                <a:lnTo>
                  <a:pt x="1164370" y="1398460"/>
                </a:lnTo>
                <a:lnTo>
                  <a:pt x="1164370" y="1398460"/>
                </a:lnTo>
                <a:close/>
                <a:moveTo>
                  <a:pt x="3409288" y="1396638"/>
                </a:moveTo>
                <a:cubicBezTo>
                  <a:pt x="3400177" y="1398460"/>
                  <a:pt x="3394710" y="1403926"/>
                  <a:pt x="3387422" y="1407571"/>
                </a:cubicBezTo>
                <a:cubicBezTo>
                  <a:pt x="3391066" y="1411215"/>
                  <a:pt x="3403821" y="1407571"/>
                  <a:pt x="3409288" y="1403926"/>
                </a:cubicBezTo>
                <a:cubicBezTo>
                  <a:pt x="3407466" y="1400282"/>
                  <a:pt x="3407466" y="1400282"/>
                  <a:pt x="3409288" y="1396638"/>
                </a:cubicBezTo>
                <a:close/>
                <a:moveTo>
                  <a:pt x="1158903" y="1396638"/>
                </a:moveTo>
                <a:cubicBezTo>
                  <a:pt x="1158903" y="1396638"/>
                  <a:pt x="1157081" y="1398460"/>
                  <a:pt x="1157081" y="1398460"/>
                </a:cubicBezTo>
                <a:cubicBezTo>
                  <a:pt x="1158903" y="1402104"/>
                  <a:pt x="1162547" y="1398460"/>
                  <a:pt x="1158903" y="1396638"/>
                </a:cubicBezTo>
                <a:close/>
                <a:moveTo>
                  <a:pt x="754380" y="1396638"/>
                </a:moveTo>
                <a:cubicBezTo>
                  <a:pt x="754380" y="1398460"/>
                  <a:pt x="752558" y="1400282"/>
                  <a:pt x="752558" y="1402104"/>
                </a:cubicBezTo>
                <a:cubicBezTo>
                  <a:pt x="754380" y="1403926"/>
                  <a:pt x="756203" y="1398460"/>
                  <a:pt x="754380" y="1396638"/>
                </a:cubicBezTo>
                <a:close/>
                <a:moveTo>
                  <a:pt x="679671" y="1396638"/>
                </a:moveTo>
                <a:cubicBezTo>
                  <a:pt x="677849" y="1398460"/>
                  <a:pt x="677849" y="1400282"/>
                  <a:pt x="677849" y="1402104"/>
                </a:cubicBezTo>
                <a:cubicBezTo>
                  <a:pt x="679671" y="1403926"/>
                  <a:pt x="683316" y="1403926"/>
                  <a:pt x="685138" y="1403926"/>
                </a:cubicBezTo>
                <a:cubicBezTo>
                  <a:pt x="685138" y="1400282"/>
                  <a:pt x="681493" y="1398460"/>
                  <a:pt x="679671" y="1396638"/>
                </a:cubicBezTo>
                <a:close/>
                <a:moveTo>
                  <a:pt x="495375" y="1396570"/>
                </a:moveTo>
                <a:lnTo>
                  <a:pt x="495632" y="1396638"/>
                </a:lnTo>
                <a:cubicBezTo>
                  <a:pt x="493809" y="1398460"/>
                  <a:pt x="491987" y="1400282"/>
                  <a:pt x="490165" y="1400282"/>
                </a:cubicBezTo>
                <a:lnTo>
                  <a:pt x="490450" y="1399648"/>
                </a:lnTo>
                <a:close/>
                <a:moveTo>
                  <a:pt x="3197916" y="1394815"/>
                </a:moveTo>
                <a:cubicBezTo>
                  <a:pt x="3197916" y="1398460"/>
                  <a:pt x="3207027" y="1400282"/>
                  <a:pt x="3203382" y="1394815"/>
                </a:cubicBezTo>
                <a:cubicBezTo>
                  <a:pt x="3201560" y="1394815"/>
                  <a:pt x="3199738" y="1394815"/>
                  <a:pt x="3197916" y="1394815"/>
                </a:cubicBezTo>
                <a:close/>
                <a:moveTo>
                  <a:pt x="3015698" y="1394815"/>
                </a:moveTo>
                <a:cubicBezTo>
                  <a:pt x="3012054" y="1398460"/>
                  <a:pt x="3008410" y="1402104"/>
                  <a:pt x="3010232" y="1407571"/>
                </a:cubicBezTo>
                <a:cubicBezTo>
                  <a:pt x="3013876" y="1403926"/>
                  <a:pt x="3022987" y="1409393"/>
                  <a:pt x="3022987" y="1400282"/>
                </a:cubicBezTo>
                <a:cubicBezTo>
                  <a:pt x="3019343" y="1398460"/>
                  <a:pt x="3013876" y="1400282"/>
                  <a:pt x="3015698" y="1394815"/>
                </a:cubicBezTo>
                <a:close/>
                <a:moveTo>
                  <a:pt x="1166192" y="1394815"/>
                </a:moveTo>
                <a:cubicBezTo>
                  <a:pt x="1166192" y="1396638"/>
                  <a:pt x="1166192" y="1396638"/>
                  <a:pt x="1166192" y="1396638"/>
                </a:cubicBezTo>
                <a:lnTo>
                  <a:pt x="1164371" y="1398459"/>
                </a:lnTo>
                <a:close/>
                <a:moveTo>
                  <a:pt x="1142503" y="1394815"/>
                </a:moveTo>
                <a:cubicBezTo>
                  <a:pt x="1142503" y="1396638"/>
                  <a:pt x="1140681" y="1398460"/>
                  <a:pt x="1142503" y="1400282"/>
                </a:cubicBezTo>
                <a:cubicBezTo>
                  <a:pt x="1144326" y="1396638"/>
                  <a:pt x="1146148" y="1402104"/>
                  <a:pt x="1147970" y="1400282"/>
                </a:cubicBezTo>
                <a:cubicBezTo>
                  <a:pt x="1146148" y="1396638"/>
                  <a:pt x="1144326" y="1400282"/>
                  <a:pt x="1142503" y="1394815"/>
                </a:cubicBezTo>
                <a:close/>
                <a:moveTo>
                  <a:pt x="1096949" y="1392993"/>
                </a:moveTo>
                <a:cubicBezTo>
                  <a:pt x="1104238" y="1400282"/>
                  <a:pt x="1113349" y="1407571"/>
                  <a:pt x="1120637" y="1414859"/>
                </a:cubicBezTo>
                <a:cubicBezTo>
                  <a:pt x="1124282" y="1413037"/>
                  <a:pt x="1126104" y="1407571"/>
                  <a:pt x="1129748" y="1409393"/>
                </a:cubicBezTo>
                <a:cubicBezTo>
                  <a:pt x="1131570" y="1405748"/>
                  <a:pt x="1124282" y="1402104"/>
                  <a:pt x="1122459" y="1402104"/>
                </a:cubicBezTo>
                <a:cubicBezTo>
                  <a:pt x="1118815" y="1402104"/>
                  <a:pt x="1120637" y="1405748"/>
                  <a:pt x="1116993" y="1403926"/>
                </a:cubicBezTo>
                <a:cubicBezTo>
                  <a:pt x="1116993" y="1402104"/>
                  <a:pt x="1120637" y="1402104"/>
                  <a:pt x="1120637" y="1400282"/>
                </a:cubicBezTo>
                <a:cubicBezTo>
                  <a:pt x="1118815" y="1398460"/>
                  <a:pt x="1118815" y="1402104"/>
                  <a:pt x="1116993" y="1400282"/>
                </a:cubicBezTo>
                <a:cubicBezTo>
                  <a:pt x="1116993" y="1398460"/>
                  <a:pt x="1120637" y="1398460"/>
                  <a:pt x="1120637" y="1398460"/>
                </a:cubicBezTo>
                <a:cubicBezTo>
                  <a:pt x="1116993" y="1398460"/>
                  <a:pt x="1104238" y="1391171"/>
                  <a:pt x="1096949" y="1392993"/>
                </a:cubicBezTo>
                <a:close/>
                <a:moveTo>
                  <a:pt x="841845" y="1392993"/>
                </a:moveTo>
                <a:cubicBezTo>
                  <a:pt x="840022" y="1396638"/>
                  <a:pt x="841845" y="1400282"/>
                  <a:pt x="845489" y="1403926"/>
                </a:cubicBezTo>
                <a:cubicBezTo>
                  <a:pt x="847311" y="1394815"/>
                  <a:pt x="856422" y="1402104"/>
                  <a:pt x="856422" y="1398460"/>
                </a:cubicBezTo>
                <a:cubicBezTo>
                  <a:pt x="852778" y="1392993"/>
                  <a:pt x="847311" y="1391171"/>
                  <a:pt x="841845" y="1392993"/>
                </a:cubicBezTo>
                <a:close/>
                <a:moveTo>
                  <a:pt x="834556" y="1392993"/>
                </a:moveTo>
                <a:lnTo>
                  <a:pt x="832899" y="1396721"/>
                </a:lnTo>
                <a:lnTo>
                  <a:pt x="832734" y="1396638"/>
                </a:lnTo>
                <a:lnTo>
                  <a:pt x="832890" y="1396742"/>
                </a:lnTo>
                <a:lnTo>
                  <a:pt x="830912" y="1401193"/>
                </a:lnTo>
                <a:cubicBezTo>
                  <a:pt x="829090" y="1402559"/>
                  <a:pt x="826356" y="1403015"/>
                  <a:pt x="821801" y="1403926"/>
                </a:cubicBezTo>
                <a:cubicBezTo>
                  <a:pt x="829089" y="1405748"/>
                  <a:pt x="832734" y="1400282"/>
                  <a:pt x="838200" y="1400282"/>
                </a:cubicBezTo>
                <a:lnTo>
                  <a:pt x="832890" y="1396742"/>
                </a:lnTo>
                <a:lnTo>
                  <a:pt x="832899" y="1396721"/>
                </a:lnTo>
                <a:lnTo>
                  <a:pt x="836378" y="1398460"/>
                </a:lnTo>
                <a:cubicBezTo>
                  <a:pt x="836378" y="1396638"/>
                  <a:pt x="836378" y="1394815"/>
                  <a:pt x="834556" y="1392993"/>
                </a:cubicBezTo>
                <a:close/>
                <a:moveTo>
                  <a:pt x="557586" y="1392993"/>
                </a:moveTo>
                <a:cubicBezTo>
                  <a:pt x="553941" y="1403926"/>
                  <a:pt x="557586" y="1402104"/>
                  <a:pt x="564874" y="1407571"/>
                </a:cubicBezTo>
                <a:cubicBezTo>
                  <a:pt x="564874" y="1402104"/>
                  <a:pt x="563052" y="1394815"/>
                  <a:pt x="557586" y="1392993"/>
                </a:cubicBezTo>
                <a:close/>
                <a:moveTo>
                  <a:pt x="528658" y="1392993"/>
                </a:moveTo>
                <a:cubicBezTo>
                  <a:pt x="525697" y="1393904"/>
                  <a:pt x="522964" y="1397549"/>
                  <a:pt x="524786" y="1402104"/>
                </a:cubicBezTo>
                <a:cubicBezTo>
                  <a:pt x="526609" y="1403926"/>
                  <a:pt x="526609" y="1405748"/>
                  <a:pt x="530253" y="1405748"/>
                </a:cubicBezTo>
                <a:cubicBezTo>
                  <a:pt x="533897" y="1405748"/>
                  <a:pt x="528431" y="1400282"/>
                  <a:pt x="533897" y="1400282"/>
                </a:cubicBezTo>
                <a:cubicBezTo>
                  <a:pt x="534808" y="1393905"/>
                  <a:pt x="531619" y="1392082"/>
                  <a:pt x="528658" y="1392993"/>
                </a:cubicBezTo>
                <a:close/>
                <a:moveTo>
                  <a:pt x="501098" y="1392993"/>
                </a:moveTo>
                <a:lnTo>
                  <a:pt x="495375" y="1396570"/>
                </a:lnTo>
                <a:lnTo>
                  <a:pt x="492215" y="1395727"/>
                </a:lnTo>
                <a:lnTo>
                  <a:pt x="490450" y="1399648"/>
                </a:lnTo>
                <a:lnTo>
                  <a:pt x="486521" y="1402104"/>
                </a:lnTo>
                <a:cubicBezTo>
                  <a:pt x="486521" y="1405748"/>
                  <a:pt x="486521" y="1407571"/>
                  <a:pt x="484700" y="1409393"/>
                </a:cubicBezTo>
                <a:cubicBezTo>
                  <a:pt x="493809" y="1407571"/>
                  <a:pt x="502920" y="1402104"/>
                  <a:pt x="501098" y="1392993"/>
                </a:cubicBezTo>
                <a:close/>
                <a:moveTo>
                  <a:pt x="3249421" y="1392481"/>
                </a:moveTo>
                <a:cubicBezTo>
                  <a:pt x="3247342" y="1391627"/>
                  <a:pt x="3244837" y="1392538"/>
                  <a:pt x="3241648" y="1396638"/>
                </a:cubicBezTo>
                <a:cubicBezTo>
                  <a:pt x="3245292" y="1394815"/>
                  <a:pt x="3248937" y="1394815"/>
                  <a:pt x="3247114" y="1396638"/>
                </a:cubicBezTo>
                <a:cubicBezTo>
                  <a:pt x="3247114" y="1402104"/>
                  <a:pt x="3236181" y="1391171"/>
                  <a:pt x="3236181" y="1402104"/>
                </a:cubicBezTo>
                <a:cubicBezTo>
                  <a:pt x="3232537" y="1400282"/>
                  <a:pt x="3234359" y="1398460"/>
                  <a:pt x="3232537" y="1396638"/>
                </a:cubicBezTo>
                <a:cubicBezTo>
                  <a:pt x="3227071" y="1396638"/>
                  <a:pt x="3221604" y="1400282"/>
                  <a:pt x="3216137" y="1402104"/>
                </a:cubicBezTo>
                <a:lnTo>
                  <a:pt x="3236181" y="1420326"/>
                </a:lnTo>
                <a:cubicBezTo>
                  <a:pt x="3238003" y="1420326"/>
                  <a:pt x="3239826" y="1418504"/>
                  <a:pt x="3241648" y="1416681"/>
                </a:cubicBezTo>
                <a:cubicBezTo>
                  <a:pt x="3245292" y="1414859"/>
                  <a:pt x="3245292" y="1422148"/>
                  <a:pt x="3247114" y="1422148"/>
                </a:cubicBezTo>
                <a:cubicBezTo>
                  <a:pt x="3248937" y="1422148"/>
                  <a:pt x="3247114" y="1416681"/>
                  <a:pt x="3247114" y="1414859"/>
                </a:cubicBezTo>
                <a:cubicBezTo>
                  <a:pt x="3248937" y="1416681"/>
                  <a:pt x="3252581" y="1416681"/>
                  <a:pt x="3252581" y="1418504"/>
                </a:cubicBezTo>
                <a:cubicBezTo>
                  <a:pt x="3254403" y="1429437"/>
                  <a:pt x="3265336" y="1440370"/>
                  <a:pt x="3272625" y="1436725"/>
                </a:cubicBezTo>
                <a:cubicBezTo>
                  <a:pt x="3278091" y="1429437"/>
                  <a:pt x="3259869" y="1420326"/>
                  <a:pt x="3263514" y="1409393"/>
                </a:cubicBezTo>
                <a:cubicBezTo>
                  <a:pt x="3258047" y="1413492"/>
                  <a:pt x="3255656" y="1395043"/>
                  <a:pt x="3249421" y="1392481"/>
                </a:cubicBezTo>
                <a:close/>
                <a:moveTo>
                  <a:pt x="1506938" y="1391171"/>
                </a:moveTo>
                <a:cubicBezTo>
                  <a:pt x="1521516" y="1411215"/>
                  <a:pt x="1516049" y="1411215"/>
                  <a:pt x="1545204" y="1414859"/>
                </a:cubicBezTo>
                <a:lnTo>
                  <a:pt x="1545204" y="1391171"/>
                </a:lnTo>
                <a:lnTo>
                  <a:pt x="1530626" y="1394815"/>
                </a:lnTo>
                <a:close/>
                <a:moveTo>
                  <a:pt x="685138" y="1391171"/>
                </a:moveTo>
                <a:cubicBezTo>
                  <a:pt x="685138" y="1392993"/>
                  <a:pt x="685138" y="1392993"/>
                  <a:pt x="683316" y="1394815"/>
                </a:cubicBezTo>
                <a:cubicBezTo>
                  <a:pt x="685138" y="1396638"/>
                  <a:pt x="686960" y="1396638"/>
                  <a:pt x="686960" y="1398460"/>
                </a:cubicBezTo>
                <a:cubicBezTo>
                  <a:pt x="686960" y="1394815"/>
                  <a:pt x="686960" y="1392993"/>
                  <a:pt x="685138" y="1391171"/>
                </a:cubicBezTo>
                <a:close/>
                <a:moveTo>
                  <a:pt x="672383" y="1391171"/>
                </a:moveTo>
                <a:cubicBezTo>
                  <a:pt x="668738" y="1391171"/>
                  <a:pt x="665094" y="1394815"/>
                  <a:pt x="663272" y="1398460"/>
                </a:cubicBezTo>
                <a:cubicBezTo>
                  <a:pt x="672383" y="1403926"/>
                  <a:pt x="666916" y="1391171"/>
                  <a:pt x="672383" y="1391171"/>
                </a:cubicBezTo>
                <a:close/>
                <a:moveTo>
                  <a:pt x="614074" y="1391171"/>
                </a:moveTo>
                <a:cubicBezTo>
                  <a:pt x="612251" y="1402104"/>
                  <a:pt x="623185" y="1407571"/>
                  <a:pt x="630472" y="1402104"/>
                </a:cubicBezTo>
                <a:cubicBezTo>
                  <a:pt x="626828" y="1400282"/>
                  <a:pt x="623185" y="1396638"/>
                  <a:pt x="619539" y="1394815"/>
                </a:cubicBezTo>
                <a:cubicBezTo>
                  <a:pt x="619539" y="1396638"/>
                  <a:pt x="619539" y="1396638"/>
                  <a:pt x="619539" y="1398460"/>
                </a:cubicBezTo>
                <a:cubicBezTo>
                  <a:pt x="615895" y="1396638"/>
                  <a:pt x="617717" y="1392993"/>
                  <a:pt x="614074" y="1391171"/>
                </a:cubicBezTo>
                <a:close/>
                <a:moveTo>
                  <a:pt x="3504998" y="1390015"/>
                </a:moveTo>
                <a:lnTo>
                  <a:pt x="3504041" y="1392993"/>
                </a:lnTo>
                <a:lnTo>
                  <a:pt x="3503807" y="1391667"/>
                </a:lnTo>
                <a:lnTo>
                  <a:pt x="3503814" y="1391627"/>
                </a:lnTo>
                <a:close/>
                <a:moveTo>
                  <a:pt x="1142908" y="1389552"/>
                </a:moveTo>
                <a:lnTo>
                  <a:pt x="1142503" y="1391171"/>
                </a:lnTo>
                <a:cubicBezTo>
                  <a:pt x="1142503" y="1391171"/>
                  <a:pt x="1142503" y="1390260"/>
                  <a:pt x="1142731" y="1389577"/>
                </a:cubicBezTo>
                <a:close/>
                <a:moveTo>
                  <a:pt x="606777" y="1389515"/>
                </a:moveTo>
                <a:lnTo>
                  <a:pt x="606556" y="1394815"/>
                </a:lnTo>
                <a:cubicBezTo>
                  <a:pt x="606784" y="1396638"/>
                  <a:pt x="606784" y="1398460"/>
                  <a:pt x="604963" y="1400282"/>
                </a:cubicBezTo>
                <a:lnTo>
                  <a:pt x="604963" y="1391488"/>
                </a:lnTo>
                <a:close/>
                <a:moveTo>
                  <a:pt x="1155259" y="1389349"/>
                </a:moveTo>
                <a:cubicBezTo>
                  <a:pt x="1151614" y="1389349"/>
                  <a:pt x="1151614" y="1394815"/>
                  <a:pt x="1149792" y="1396638"/>
                </a:cubicBezTo>
                <a:cubicBezTo>
                  <a:pt x="1151614" y="1400282"/>
                  <a:pt x="1153436" y="1400282"/>
                  <a:pt x="1155259" y="1402104"/>
                </a:cubicBezTo>
                <a:cubicBezTo>
                  <a:pt x="1153436" y="1402104"/>
                  <a:pt x="1153436" y="1400282"/>
                  <a:pt x="1151614" y="1400282"/>
                </a:cubicBezTo>
                <a:cubicBezTo>
                  <a:pt x="1147970" y="1402104"/>
                  <a:pt x="1149792" y="1405748"/>
                  <a:pt x="1149792" y="1407571"/>
                </a:cubicBezTo>
                <a:cubicBezTo>
                  <a:pt x="1149792" y="1409393"/>
                  <a:pt x="1151614" y="1403926"/>
                  <a:pt x="1155259" y="1402104"/>
                </a:cubicBezTo>
                <a:cubicBezTo>
                  <a:pt x="1158903" y="1398460"/>
                  <a:pt x="1155259" y="1392993"/>
                  <a:pt x="1155259" y="1389349"/>
                </a:cubicBezTo>
                <a:close/>
                <a:moveTo>
                  <a:pt x="1080549" y="1389349"/>
                </a:moveTo>
                <a:cubicBezTo>
                  <a:pt x="1078727" y="1389349"/>
                  <a:pt x="1082373" y="1392993"/>
                  <a:pt x="1084194" y="1391171"/>
                </a:cubicBezTo>
                <a:cubicBezTo>
                  <a:pt x="1084194" y="1389349"/>
                  <a:pt x="1082373" y="1389349"/>
                  <a:pt x="1080549" y="1389349"/>
                </a:cubicBezTo>
                <a:close/>
                <a:moveTo>
                  <a:pt x="923843" y="1389349"/>
                </a:moveTo>
                <a:lnTo>
                  <a:pt x="927487" y="1389349"/>
                </a:lnTo>
                <a:cubicBezTo>
                  <a:pt x="922020" y="1388438"/>
                  <a:pt x="915643" y="1391627"/>
                  <a:pt x="909720" y="1393449"/>
                </a:cubicBezTo>
                <a:lnTo>
                  <a:pt x="908630" y="1393152"/>
                </a:lnTo>
                <a:lnTo>
                  <a:pt x="912909" y="1392082"/>
                </a:lnTo>
                <a:cubicBezTo>
                  <a:pt x="916099" y="1390715"/>
                  <a:pt x="919287" y="1389349"/>
                  <a:pt x="923843" y="1389349"/>
                </a:cubicBezTo>
                <a:close/>
                <a:moveTo>
                  <a:pt x="838200" y="1389349"/>
                </a:moveTo>
                <a:cubicBezTo>
                  <a:pt x="841845" y="1392993"/>
                  <a:pt x="843667" y="1389349"/>
                  <a:pt x="847311" y="1391171"/>
                </a:cubicBezTo>
                <a:cubicBezTo>
                  <a:pt x="845489" y="1387527"/>
                  <a:pt x="841845" y="1387527"/>
                  <a:pt x="838200" y="1389349"/>
                </a:cubicBezTo>
                <a:close/>
                <a:moveTo>
                  <a:pt x="639583" y="1389349"/>
                </a:moveTo>
                <a:cubicBezTo>
                  <a:pt x="637761" y="1387527"/>
                  <a:pt x="634117" y="1391171"/>
                  <a:pt x="632296" y="1392993"/>
                </a:cubicBezTo>
                <a:cubicBezTo>
                  <a:pt x="635939" y="1396638"/>
                  <a:pt x="637761" y="1391171"/>
                  <a:pt x="639583" y="1389349"/>
                </a:cubicBezTo>
                <a:close/>
                <a:moveTo>
                  <a:pt x="617717" y="1389349"/>
                </a:moveTo>
                <a:cubicBezTo>
                  <a:pt x="621362" y="1394815"/>
                  <a:pt x="628650" y="1398460"/>
                  <a:pt x="632296" y="1398460"/>
                </a:cubicBezTo>
                <a:cubicBezTo>
                  <a:pt x="626828" y="1389349"/>
                  <a:pt x="625006" y="1389349"/>
                  <a:pt x="617717" y="1389349"/>
                </a:cubicBezTo>
                <a:close/>
                <a:moveTo>
                  <a:pt x="1071439" y="1387527"/>
                </a:moveTo>
                <a:cubicBezTo>
                  <a:pt x="1076905" y="1398460"/>
                  <a:pt x="1087838" y="1402104"/>
                  <a:pt x="1093305" y="1409393"/>
                </a:cubicBezTo>
                <a:cubicBezTo>
                  <a:pt x="1095127" y="1403926"/>
                  <a:pt x="1089660" y="1396638"/>
                  <a:pt x="1093305" y="1394815"/>
                </a:cubicBezTo>
                <a:cubicBezTo>
                  <a:pt x="1089660" y="1391171"/>
                  <a:pt x="1087838" y="1389349"/>
                  <a:pt x="1084194" y="1389349"/>
                </a:cubicBezTo>
                <a:cubicBezTo>
                  <a:pt x="1082373" y="1389349"/>
                  <a:pt x="1084194" y="1392993"/>
                  <a:pt x="1086016" y="1392993"/>
                </a:cubicBezTo>
                <a:cubicBezTo>
                  <a:pt x="1080549" y="1394815"/>
                  <a:pt x="1076905" y="1387527"/>
                  <a:pt x="1071439" y="1387527"/>
                </a:cubicBezTo>
                <a:close/>
                <a:moveTo>
                  <a:pt x="1067794" y="1387527"/>
                </a:moveTo>
                <a:cubicBezTo>
                  <a:pt x="1067794" y="1391171"/>
                  <a:pt x="1071439" y="1392993"/>
                  <a:pt x="1073262" y="1394815"/>
                </a:cubicBezTo>
                <a:cubicBezTo>
                  <a:pt x="1075083" y="1392993"/>
                  <a:pt x="1069616" y="1387527"/>
                  <a:pt x="1067794" y="1387527"/>
                </a:cubicBezTo>
                <a:close/>
                <a:moveTo>
                  <a:pt x="608606" y="1387527"/>
                </a:moveTo>
                <a:lnTo>
                  <a:pt x="606777" y="1389515"/>
                </a:lnTo>
                <a:lnTo>
                  <a:pt x="606784" y="1389349"/>
                </a:lnTo>
                <a:cubicBezTo>
                  <a:pt x="606784" y="1389349"/>
                  <a:pt x="604963" y="1391171"/>
                  <a:pt x="604963" y="1389349"/>
                </a:cubicBezTo>
                <a:lnTo>
                  <a:pt x="604963" y="1391488"/>
                </a:lnTo>
                <a:lnTo>
                  <a:pt x="603369" y="1393221"/>
                </a:lnTo>
                <a:cubicBezTo>
                  <a:pt x="602684" y="1395271"/>
                  <a:pt x="603140" y="1397549"/>
                  <a:pt x="604963" y="1400282"/>
                </a:cubicBezTo>
                <a:cubicBezTo>
                  <a:pt x="615895" y="1396638"/>
                  <a:pt x="606784" y="1391171"/>
                  <a:pt x="608606" y="1387527"/>
                </a:cubicBezTo>
                <a:close/>
                <a:moveTo>
                  <a:pt x="501098" y="1387527"/>
                </a:moveTo>
                <a:cubicBezTo>
                  <a:pt x="502920" y="1387527"/>
                  <a:pt x="497454" y="1389349"/>
                  <a:pt x="495632" y="1391171"/>
                </a:cubicBezTo>
                <a:cubicBezTo>
                  <a:pt x="499276" y="1394815"/>
                  <a:pt x="497454" y="1387527"/>
                  <a:pt x="501098" y="1387527"/>
                </a:cubicBezTo>
                <a:close/>
                <a:moveTo>
                  <a:pt x="3357584" y="1386160"/>
                </a:moveTo>
                <a:cubicBezTo>
                  <a:pt x="3355990" y="1385249"/>
                  <a:pt x="3354623" y="1384793"/>
                  <a:pt x="3352800" y="1387527"/>
                </a:cubicBezTo>
                <a:cubicBezTo>
                  <a:pt x="3356445" y="1396638"/>
                  <a:pt x="3349156" y="1403926"/>
                  <a:pt x="3349156" y="1411215"/>
                </a:cubicBezTo>
                <a:cubicBezTo>
                  <a:pt x="3347334" y="1407571"/>
                  <a:pt x="3343690" y="1409393"/>
                  <a:pt x="3341867" y="1409393"/>
                </a:cubicBezTo>
                <a:cubicBezTo>
                  <a:pt x="3338223" y="1411215"/>
                  <a:pt x="3340045" y="1416681"/>
                  <a:pt x="3340045" y="1418504"/>
                </a:cubicBezTo>
                <a:cubicBezTo>
                  <a:pt x="3349156" y="1416681"/>
                  <a:pt x="3347334" y="1425792"/>
                  <a:pt x="3350978" y="1427615"/>
                </a:cubicBezTo>
                <a:cubicBezTo>
                  <a:pt x="3356445" y="1429437"/>
                  <a:pt x="3360089" y="1422148"/>
                  <a:pt x="3358267" y="1418504"/>
                </a:cubicBezTo>
                <a:cubicBezTo>
                  <a:pt x="3360089" y="1420326"/>
                  <a:pt x="3360089" y="1420326"/>
                  <a:pt x="3361911" y="1422148"/>
                </a:cubicBezTo>
                <a:cubicBezTo>
                  <a:pt x="3365556" y="1418504"/>
                  <a:pt x="3358267" y="1414859"/>
                  <a:pt x="3361911" y="1411215"/>
                </a:cubicBezTo>
                <a:cubicBezTo>
                  <a:pt x="3367378" y="1407571"/>
                  <a:pt x="3367378" y="1422148"/>
                  <a:pt x="3369200" y="1414859"/>
                </a:cubicBezTo>
                <a:cubicBezTo>
                  <a:pt x="3371022" y="1405748"/>
                  <a:pt x="3358267" y="1396638"/>
                  <a:pt x="3363734" y="1387527"/>
                </a:cubicBezTo>
                <a:cubicBezTo>
                  <a:pt x="3361001" y="1388438"/>
                  <a:pt x="3359178" y="1387071"/>
                  <a:pt x="3357584" y="1386160"/>
                </a:cubicBezTo>
                <a:close/>
                <a:moveTo>
                  <a:pt x="3398355" y="1385705"/>
                </a:moveTo>
                <a:cubicBezTo>
                  <a:pt x="3403821" y="1391171"/>
                  <a:pt x="3392888" y="1392993"/>
                  <a:pt x="3391066" y="1398460"/>
                </a:cubicBezTo>
                <a:cubicBezTo>
                  <a:pt x="3396532" y="1396638"/>
                  <a:pt x="3401999" y="1398460"/>
                  <a:pt x="3403821" y="1391171"/>
                </a:cubicBezTo>
                <a:cubicBezTo>
                  <a:pt x="3401999" y="1389349"/>
                  <a:pt x="3401999" y="1385705"/>
                  <a:pt x="3398355" y="1385705"/>
                </a:cubicBezTo>
                <a:close/>
                <a:moveTo>
                  <a:pt x="723404" y="1385705"/>
                </a:moveTo>
                <a:cubicBezTo>
                  <a:pt x="721581" y="1389349"/>
                  <a:pt x="721581" y="1396638"/>
                  <a:pt x="727048" y="1398460"/>
                </a:cubicBezTo>
                <a:cubicBezTo>
                  <a:pt x="728870" y="1396638"/>
                  <a:pt x="730692" y="1392993"/>
                  <a:pt x="730692" y="1391171"/>
                </a:cubicBezTo>
                <a:cubicBezTo>
                  <a:pt x="734336" y="1392993"/>
                  <a:pt x="730692" y="1394815"/>
                  <a:pt x="730692" y="1396638"/>
                </a:cubicBezTo>
                <a:cubicBezTo>
                  <a:pt x="736159" y="1398460"/>
                  <a:pt x="741626" y="1400282"/>
                  <a:pt x="747092" y="1396638"/>
                </a:cubicBezTo>
                <a:cubicBezTo>
                  <a:pt x="741626" y="1387527"/>
                  <a:pt x="730692" y="1391171"/>
                  <a:pt x="723404" y="1385705"/>
                </a:cubicBezTo>
                <a:close/>
                <a:moveTo>
                  <a:pt x="688782" y="1385705"/>
                </a:moveTo>
                <a:cubicBezTo>
                  <a:pt x="683316" y="1396638"/>
                  <a:pt x="699715" y="1411215"/>
                  <a:pt x="705182" y="1403926"/>
                </a:cubicBezTo>
                <a:cubicBezTo>
                  <a:pt x="705182" y="1403926"/>
                  <a:pt x="716115" y="1407571"/>
                  <a:pt x="716115" y="1402104"/>
                </a:cubicBezTo>
                <a:cubicBezTo>
                  <a:pt x="717937" y="1402104"/>
                  <a:pt x="716115" y="1405748"/>
                  <a:pt x="717937" y="1405748"/>
                </a:cubicBezTo>
                <a:cubicBezTo>
                  <a:pt x="723404" y="1402104"/>
                  <a:pt x="717937" y="1402104"/>
                  <a:pt x="716115" y="1400282"/>
                </a:cubicBezTo>
                <a:cubicBezTo>
                  <a:pt x="708826" y="1394815"/>
                  <a:pt x="696071" y="1389349"/>
                  <a:pt x="688782" y="1385705"/>
                </a:cubicBezTo>
                <a:close/>
                <a:moveTo>
                  <a:pt x="666916" y="1385705"/>
                </a:moveTo>
                <a:lnTo>
                  <a:pt x="664673" y="1389965"/>
                </a:lnTo>
                <a:lnTo>
                  <a:pt x="659627" y="1392993"/>
                </a:lnTo>
                <a:cubicBezTo>
                  <a:pt x="662360" y="1392082"/>
                  <a:pt x="663727" y="1391171"/>
                  <a:pt x="664638" y="1390032"/>
                </a:cubicBezTo>
                <a:lnTo>
                  <a:pt x="664673" y="1389965"/>
                </a:lnTo>
                <a:lnTo>
                  <a:pt x="668738" y="1387527"/>
                </a:lnTo>
                <a:cubicBezTo>
                  <a:pt x="668738" y="1387527"/>
                  <a:pt x="666916" y="1385705"/>
                  <a:pt x="666916" y="1385705"/>
                </a:cubicBezTo>
                <a:close/>
                <a:moveTo>
                  <a:pt x="621362" y="1385705"/>
                </a:moveTo>
                <a:cubicBezTo>
                  <a:pt x="621362" y="1383882"/>
                  <a:pt x="619539" y="1385705"/>
                  <a:pt x="615895" y="1387527"/>
                </a:cubicBezTo>
                <a:cubicBezTo>
                  <a:pt x="617717" y="1389349"/>
                  <a:pt x="619539" y="1389349"/>
                  <a:pt x="621362" y="1387527"/>
                </a:cubicBezTo>
                <a:cubicBezTo>
                  <a:pt x="621362" y="1387527"/>
                  <a:pt x="621362" y="1385705"/>
                  <a:pt x="621362" y="1385705"/>
                </a:cubicBezTo>
                <a:close/>
                <a:moveTo>
                  <a:pt x="3474886" y="1383882"/>
                </a:moveTo>
                <a:cubicBezTo>
                  <a:pt x="3483997" y="1387527"/>
                  <a:pt x="3480353" y="1392993"/>
                  <a:pt x="3478530" y="1402104"/>
                </a:cubicBezTo>
                <a:cubicBezTo>
                  <a:pt x="3476708" y="1407571"/>
                  <a:pt x="3483997" y="1403926"/>
                  <a:pt x="3487641" y="1403926"/>
                </a:cubicBezTo>
                <a:cubicBezTo>
                  <a:pt x="3482175" y="1398460"/>
                  <a:pt x="3485819" y="1389349"/>
                  <a:pt x="3482175" y="1383882"/>
                </a:cubicBezTo>
                <a:cubicBezTo>
                  <a:pt x="3480353" y="1382060"/>
                  <a:pt x="3476708" y="1382060"/>
                  <a:pt x="3474886" y="1383882"/>
                </a:cubicBezTo>
                <a:close/>
                <a:moveTo>
                  <a:pt x="3453020" y="1383882"/>
                </a:moveTo>
                <a:cubicBezTo>
                  <a:pt x="3447553" y="1385705"/>
                  <a:pt x="3436621" y="1382060"/>
                  <a:pt x="3434798" y="1391171"/>
                </a:cubicBezTo>
                <a:cubicBezTo>
                  <a:pt x="3434798" y="1389349"/>
                  <a:pt x="3432976" y="1389349"/>
                  <a:pt x="3431154" y="1389349"/>
                </a:cubicBezTo>
                <a:cubicBezTo>
                  <a:pt x="3414754" y="1387527"/>
                  <a:pt x="3412932" y="1398460"/>
                  <a:pt x="3412932" y="1407571"/>
                </a:cubicBezTo>
                <a:cubicBezTo>
                  <a:pt x="3416577" y="1407571"/>
                  <a:pt x="3418399" y="1411215"/>
                  <a:pt x="3420221" y="1409393"/>
                </a:cubicBezTo>
                <a:cubicBezTo>
                  <a:pt x="3420221" y="1407571"/>
                  <a:pt x="3420221" y="1407571"/>
                  <a:pt x="3420221" y="1405748"/>
                </a:cubicBezTo>
                <a:cubicBezTo>
                  <a:pt x="3427510" y="1405748"/>
                  <a:pt x="3442087" y="1409393"/>
                  <a:pt x="3436621" y="1420326"/>
                </a:cubicBezTo>
                <a:cubicBezTo>
                  <a:pt x="3438443" y="1420326"/>
                  <a:pt x="3443909" y="1420326"/>
                  <a:pt x="3445731" y="1422148"/>
                </a:cubicBezTo>
                <a:cubicBezTo>
                  <a:pt x="3442087" y="1413037"/>
                  <a:pt x="3454842" y="1402104"/>
                  <a:pt x="3443909" y="1394815"/>
                </a:cubicBezTo>
                <a:cubicBezTo>
                  <a:pt x="3453020" y="1385705"/>
                  <a:pt x="3447553" y="1405748"/>
                  <a:pt x="3458487" y="1405748"/>
                </a:cubicBezTo>
                <a:cubicBezTo>
                  <a:pt x="3454842" y="1398460"/>
                  <a:pt x="3458487" y="1391171"/>
                  <a:pt x="3460309" y="1383882"/>
                </a:cubicBezTo>
                <a:cubicBezTo>
                  <a:pt x="3453020" y="1383882"/>
                  <a:pt x="3458487" y="1398460"/>
                  <a:pt x="3451198" y="1391171"/>
                </a:cubicBezTo>
                <a:cubicBezTo>
                  <a:pt x="3449376" y="1389349"/>
                  <a:pt x="3451198" y="1385705"/>
                  <a:pt x="3453020" y="1383882"/>
                </a:cubicBezTo>
                <a:close/>
                <a:moveTo>
                  <a:pt x="3409288" y="1383882"/>
                </a:moveTo>
                <a:cubicBezTo>
                  <a:pt x="3405643" y="1383882"/>
                  <a:pt x="3405643" y="1385705"/>
                  <a:pt x="3405643" y="1387527"/>
                </a:cubicBezTo>
                <a:cubicBezTo>
                  <a:pt x="3405643" y="1389349"/>
                  <a:pt x="3405643" y="1392993"/>
                  <a:pt x="3409288" y="1392993"/>
                </a:cubicBezTo>
                <a:cubicBezTo>
                  <a:pt x="3411110" y="1389349"/>
                  <a:pt x="3409288" y="1387527"/>
                  <a:pt x="3409288" y="1383882"/>
                </a:cubicBezTo>
                <a:close/>
                <a:moveTo>
                  <a:pt x="2815259" y="1383882"/>
                </a:moveTo>
                <a:cubicBezTo>
                  <a:pt x="2804326" y="1385705"/>
                  <a:pt x="2791571" y="1389349"/>
                  <a:pt x="2778816" y="1385705"/>
                </a:cubicBezTo>
                <a:cubicBezTo>
                  <a:pt x="2778816" y="1387527"/>
                  <a:pt x="2780638" y="1387527"/>
                  <a:pt x="2780638" y="1389349"/>
                </a:cubicBezTo>
                <a:cubicBezTo>
                  <a:pt x="2775171" y="1389349"/>
                  <a:pt x="2764238" y="1392993"/>
                  <a:pt x="2769705" y="1400282"/>
                </a:cubicBezTo>
                <a:cubicBezTo>
                  <a:pt x="2769705" y="1400282"/>
                  <a:pt x="2767882" y="1402104"/>
                  <a:pt x="2767882" y="1402104"/>
                </a:cubicBezTo>
                <a:lnTo>
                  <a:pt x="2767882" y="1422148"/>
                </a:lnTo>
                <a:cubicBezTo>
                  <a:pt x="2797037" y="1400282"/>
                  <a:pt x="2769705" y="1422148"/>
                  <a:pt x="2782460" y="1394815"/>
                </a:cubicBezTo>
                <a:cubicBezTo>
                  <a:pt x="2800682" y="1409393"/>
                  <a:pt x="2798860" y="1398460"/>
                  <a:pt x="2791571" y="1414859"/>
                </a:cubicBezTo>
                <a:cubicBezTo>
                  <a:pt x="2793393" y="1416681"/>
                  <a:pt x="2795215" y="1418504"/>
                  <a:pt x="2797037" y="1420326"/>
                </a:cubicBezTo>
                <a:lnTo>
                  <a:pt x="2806148" y="1425792"/>
                </a:lnTo>
                <a:lnTo>
                  <a:pt x="2802504" y="1431259"/>
                </a:lnTo>
                <a:cubicBezTo>
                  <a:pt x="2804326" y="1431259"/>
                  <a:pt x="2807971" y="1431259"/>
                  <a:pt x="2809793" y="1429437"/>
                </a:cubicBezTo>
                <a:cubicBezTo>
                  <a:pt x="2813437" y="1429437"/>
                  <a:pt x="2806148" y="1423970"/>
                  <a:pt x="2806148" y="1418504"/>
                </a:cubicBezTo>
                <a:cubicBezTo>
                  <a:pt x="2806148" y="1414859"/>
                  <a:pt x="2809793" y="1416681"/>
                  <a:pt x="2811615" y="1416681"/>
                </a:cubicBezTo>
                <a:lnTo>
                  <a:pt x="2806148" y="1409393"/>
                </a:lnTo>
                <a:lnTo>
                  <a:pt x="2820726" y="1394815"/>
                </a:lnTo>
                <a:cubicBezTo>
                  <a:pt x="2818903" y="1389349"/>
                  <a:pt x="2817081" y="1385705"/>
                  <a:pt x="2815259" y="1383882"/>
                </a:cubicBezTo>
                <a:close/>
                <a:moveTo>
                  <a:pt x="1129748" y="1383882"/>
                </a:moveTo>
                <a:cubicBezTo>
                  <a:pt x="1127926" y="1385705"/>
                  <a:pt x="1129748" y="1389349"/>
                  <a:pt x="1131570" y="1391171"/>
                </a:cubicBezTo>
                <a:cubicBezTo>
                  <a:pt x="1133393" y="1389349"/>
                  <a:pt x="1131570" y="1389349"/>
                  <a:pt x="1133393" y="1385705"/>
                </a:cubicBezTo>
                <a:cubicBezTo>
                  <a:pt x="1133393" y="1383882"/>
                  <a:pt x="1131570" y="1385705"/>
                  <a:pt x="1129748" y="1383882"/>
                </a:cubicBezTo>
                <a:close/>
                <a:moveTo>
                  <a:pt x="3420221" y="1383199"/>
                </a:moveTo>
                <a:cubicBezTo>
                  <a:pt x="3418399" y="1383427"/>
                  <a:pt x="3416577" y="1384793"/>
                  <a:pt x="3416577" y="1387527"/>
                </a:cubicBezTo>
                <a:cubicBezTo>
                  <a:pt x="3420221" y="1387527"/>
                  <a:pt x="3422043" y="1387527"/>
                  <a:pt x="3423865" y="1385705"/>
                </a:cubicBezTo>
                <a:cubicBezTo>
                  <a:pt x="3423865" y="1383883"/>
                  <a:pt x="3422043" y="1382971"/>
                  <a:pt x="3420221" y="1383199"/>
                </a:cubicBezTo>
                <a:close/>
                <a:moveTo>
                  <a:pt x="2831659" y="1382060"/>
                </a:moveTo>
                <a:lnTo>
                  <a:pt x="2835303" y="1409393"/>
                </a:lnTo>
                <a:lnTo>
                  <a:pt x="2815259" y="1416681"/>
                </a:lnTo>
                <a:cubicBezTo>
                  <a:pt x="2811615" y="1422148"/>
                  <a:pt x="2818903" y="1425792"/>
                  <a:pt x="2824370" y="1427615"/>
                </a:cubicBezTo>
                <a:cubicBezTo>
                  <a:pt x="2822548" y="1431259"/>
                  <a:pt x="2824370" y="1431259"/>
                  <a:pt x="2826192" y="1433081"/>
                </a:cubicBezTo>
                <a:cubicBezTo>
                  <a:pt x="2818903" y="1433081"/>
                  <a:pt x="2809793" y="1429437"/>
                  <a:pt x="2804326" y="1431259"/>
                </a:cubicBezTo>
                <a:lnTo>
                  <a:pt x="2800682" y="1436725"/>
                </a:lnTo>
                <a:cubicBezTo>
                  <a:pt x="2800682" y="1438548"/>
                  <a:pt x="2802504" y="1440370"/>
                  <a:pt x="2802504" y="1442192"/>
                </a:cubicBezTo>
                <a:cubicBezTo>
                  <a:pt x="2800682" y="1447658"/>
                  <a:pt x="2800682" y="1442192"/>
                  <a:pt x="2798860" y="1440370"/>
                </a:cubicBezTo>
                <a:lnTo>
                  <a:pt x="2795215" y="1445836"/>
                </a:lnTo>
                <a:lnTo>
                  <a:pt x="2802504" y="1456769"/>
                </a:lnTo>
                <a:lnTo>
                  <a:pt x="2837125" y="1425792"/>
                </a:lnTo>
                <a:lnTo>
                  <a:pt x="2846236" y="1433081"/>
                </a:lnTo>
                <a:lnTo>
                  <a:pt x="2829837" y="1454947"/>
                </a:lnTo>
                <a:cubicBezTo>
                  <a:pt x="2849880" y="1464058"/>
                  <a:pt x="2833481" y="1464058"/>
                  <a:pt x="2851703" y="1456769"/>
                </a:cubicBezTo>
                <a:lnTo>
                  <a:pt x="2868102" y="1469525"/>
                </a:lnTo>
                <a:lnTo>
                  <a:pt x="2873569" y="1489568"/>
                </a:lnTo>
                <a:cubicBezTo>
                  <a:pt x="2877213" y="1489568"/>
                  <a:pt x="2882680" y="1491391"/>
                  <a:pt x="2886324" y="1493213"/>
                </a:cubicBezTo>
                <a:lnTo>
                  <a:pt x="2891790" y="1489568"/>
                </a:lnTo>
                <a:lnTo>
                  <a:pt x="2868102" y="1467702"/>
                </a:lnTo>
                <a:lnTo>
                  <a:pt x="2875391" y="1451303"/>
                </a:lnTo>
                <a:lnTo>
                  <a:pt x="2889968" y="1458592"/>
                </a:lnTo>
                <a:cubicBezTo>
                  <a:pt x="2897257" y="1434903"/>
                  <a:pt x="2879035" y="1453125"/>
                  <a:pt x="2911834" y="1436725"/>
                </a:cubicBezTo>
                <a:cubicBezTo>
                  <a:pt x="2913656" y="1440370"/>
                  <a:pt x="2915479" y="1447658"/>
                  <a:pt x="2917301" y="1453125"/>
                </a:cubicBezTo>
                <a:cubicBezTo>
                  <a:pt x="2920945" y="1444014"/>
                  <a:pt x="2926412" y="1434903"/>
                  <a:pt x="2926412" y="1427615"/>
                </a:cubicBezTo>
                <a:cubicBezTo>
                  <a:pt x="2922767" y="1414859"/>
                  <a:pt x="2906368" y="1418504"/>
                  <a:pt x="2891790" y="1416681"/>
                </a:cubicBezTo>
                <a:lnTo>
                  <a:pt x="2884502" y="1425792"/>
                </a:lnTo>
                <a:lnTo>
                  <a:pt x="2875391" y="1402104"/>
                </a:lnTo>
                <a:lnTo>
                  <a:pt x="2880857" y="1400282"/>
                </a:lnTo>
                <a:cubicBezTo>
                  <a:pt x="2866280" y="1391171"/>
                  <a:pt x="2851703" y="1382060"/>
                  <a:pt x="2831659" y="1382060"/>
                </a:cubicBezTo>
                <a:close/>
                <a:moveTo>
                  <a:pt x="768959" y="1382060"/>
                </a:moveTo>
                <a:cubicBezTo>
                  <a:pt x="767136" y="1385705"/>
                  <a:pt x="767136" y="1389349"/>
                  <a:pt x="767136" y="1392993"/>
                </a:cubicBezTo>
                <a:cubicBezTo>
                  <a:pt x="770781" y="1394815"/>
                  <a:pt x="776246" y="1394815"/>
                  <a:pt x="781713" y="1391171"/>
                </a:cubicBezTo>
                <a:cubicBezTo>
                  <a:pt x="779892" y="1389349"/>
                  <a:pt x="779892" y="1389349"/>
                  <a:pt x="778070" y="1389349"/>
                </a:cubicBezTo>
                <a:cubicBezTo>
                  <a:pt x="779892" y="1389349"/>
                  <a:pt x="781713" y="1389349"/>
                  <a:pt x="783535" y="1389349"/>
                </a:cubicBezTo>
                <a:cubicBezTo>
                  <a:pt x="781713" y="1383882"/>
                  <a:pt x="774424" y="1385705"/>
                  <a:pt x="768959" y="1382060"/>
                </a:cubicBezTo>
                <a:close/>
                <a:moveTo>
                  <a:pt x="532075" y="1382060"/>
                </a:moveTo>
                <a:cubicBezTo>
                  <a:pt x="532075" y="1385705"/>
                  <a:pt x="530253" y="1389349"/>
                  <a:pt x="535719" y="1394815"/>
                </a:cubicBezTo>
                <a:cubicBezTo>
                  <a:pt x="537542" y="1389349"/>
                  <a:pt x="541186" y="1389349"/>
                  <a:pt x="543008" y="1385705"/>
                </a:cubicBezTo>
                <a:cubicBezTo>
                  <a:pt x="541186" y="1383882"/>
                  <a:pt x="541186" y="1382060"/>
                  <a:pt x="541186" y="1382060"/>
                </a:cubicBezTo>
                <a:cubicBezTo>
                  <a:pt x="539364" y="1382060"/>
                  <a:pt x="533897" y="1383882"/>
                  <a:pt x="532075" y="1382060"/>
                </a:cubicBezTo>
                <a:close/>
                <a:moveTo>
                  <a:pt x="3053964" y="1380921"/>
                </a:moveTo>
                <a:cubicBezTo>
                  <a:pt x="3047814" y="1380124"/>
                  <a:pt x="3041892" y="1380181"/>
                  <a:pt x="3036824" y="1381690"/>
                </a:cubicBezTo>
                <a:lnTo>
                  <a:pt x="3026766" y="1389627"/>
                </a:lnTo>
                <a:lnTo>
                  <a:pt x="3026631" y="1389349"/>
                </a:lnTo>
                <a:cubicBezTo>
                  <a:pt x="3026631" y="1391171"/>
                  <a:pt x="3024809" y="1391171"/>
                  <a:pt x="3024809" y="1391171"/>
                </a:cubicBezTo>
                <a:lnTo>
                  <a:pt x="3026766" y="1389627"/>
                </a:lnTo>
                <a:lnTo>
                  <a:pt x="3034148" y="1404837"/>
                </a:lnTo>
                <a:cubicBezTo>
                  <a:pt x="3038020" y="1408937"/>
                  <a:pt x="3043031" y="1411215"/>
                  <a:pt x="3048497" y="1409393"/>
                </a:cubicBezTo>
                <a:cubicBezTo>
                  <a:pt x="3055786" y="1414859"/>
                  <a:pt x="3052142" y="1423970"/>
                  <a:pt x="3059430" y="1429437"/>
                </a:cubicBezTo>
                <a:cubicBezTo>
                  <a:pt x="3053964" y="1431259"/>
                  <a:pt x="3050319" y="1418504"/>
                  <a:pt x="3043031" y="1423970"/>
                </a:cubicBezTo>
                <a:cubicBezTo>
                  <a:pt x="3041209" y="1423970"/>
                  <a:pt x="3048497" y="1425792"/>
                  <a:pt x="3046675" y="1427615"/>
                </a:cubicBezTo>
                <a:cubicBezTo>
                  <a:pt x="3044853" y="1429437"/>
                  <a:pt x="3041209" y="1427615"/>
                  <a:pt x="3039387" y="1429437"/>
                </a:cubicBezTo>
                <a:cubicBezTo>
                  <a:pt x="3035742" y="1425792"/>
                  <a:pt x="3030276" y="1423970"/>
                  <a:pt x="3032098" y="1418504"/>
                </a:cubicBezTo>
                <a:cubicBezTo>
                  <a:pt x="3024809" y="1423970"/>
                  <a:pt x="3022987" y="1414859"/>
                  <a:pt x="3017521" y="1413037"/>
                </a:cubicBezTo>
                <a:cubicBezTo>
                  <a:pt x="3019343" y="1416681"/>
                  <a:pt x="3024809" y="1418504"/>
                  <a:pt x="3022987" y="1423970"/>
                </a:cubicBezTo>
                <a:cubicBezTo>
                  <a:pt x="3017521" y="1416681"/>
                  <a:pt x="3010232" y="1423970"/>
                  <a:pt x="3012054" y="1414859"/>
                </a:cubicBezTo>
                <a:cubicBezTo>
                  <a:pt x="3012054" y="1414859"/>
                  <a:pt x="3012054" y="1414859"/>
                  <a:pt x="3013876" y="1414859"/>
                </a:cubicBezTo>
                <a:cubicBezTo>
                  <a:pt x="3010232" y="1409393"/>
                  <a:pt x="3006587" y="1414859"/>
                  <a:pt x="3004765" y="1416681"/>
                </a:cubicBezTo>
                <a:cubicBezTo>
                  <a:pt x="2997477" y="1423970"/>
                  <a:pt x="2999299" y="1429437"/>
                  <a:pt x="3004765" y="1433081"/>
                </a:cubicBezTo>
                <a:lnTo>
                  <a:pt x="3015698" y="1436725"/>
                </a:lnTo>
                <a:lnTo>
                  <a:pt x="3032098" y="1431259"/>
                </a:lnTo>
                <a:lnTo>
                  <a:pt x="3053964" y="1447658"/>
                </a:lnTo>
                <a:cubicBezTo>
                  <a:pt x="3046675" y="1464058"/>
                  <a:pt x="3046675" y="1469525"/>
                  <a:pt x="3052142" y="1484102"/>
                </a:cubicBezTo>
                <a:lnTo>
                  <a:pt x="3030276" y="1507790"/>
                </a:lnTo>
                <a:lnTo>
                  <a:pt x="3008410" y="1507790"/>
                </a:lnTo>
                <a:cubicBezTo>
                  <a:pt x="3010232" y="1533301"/>
                  <a:pt x="3008410" y="1527834"/>
                  <a:pt x="3015698" y="1535123"/>
                </a:cubicBezTo>
                <a:cubicBezTo>
                  <a:pt x="3017521" y="1533301"/>
                  <a:pt x="3017521" y="1531478"/>
                  <a:pt x="3017521" y="1529656"/>
                </a:cubicBezTo>
                <a:cubicBezTo>
                  <a:pt x="3017521" y="1531478"/>
                  <a:pt x="3017521" y="1531478"/>
                  <a:pt x="3019343" y="1533301"/>
                </a:cubicBezTo>
                <a:cubicBezTo>
                  <a:pt x="3022987" y="1531478"/>
                  <a:pt x="3019343" y="1526012"/>
                  <a:pt x="3021165" y="1524190"/>
                </a:cubicBezTo>
                <a:cubicBezTo>
                  <a:pt x="3024809" y="1526012"/>
                  <a:pt x="3033920" y="1527834"/>
                  <a:pt x="3032098" y="1535123"/>
                </a:cubicBezTo>
                <a:cubicBezTo>
                  <a:pt x="3032098" y="1536945"/>
                  <a:pt x="3039387" y="1533301"/>
                  <a:pt x="3037564" y="1529656"/>
                </a:cubicBezTo>
                <a:lnTo>
                  <a:pt x="3038174" y="1534735"/>
                </a:lnTo>
                <a:lnTo>
                  <a:pt x="3032098" y="1536945"/>
                </a:lnTo>
                <a:cubicBezTo>
                  <a:pt x="3034831" y="1537856"/>
                  <a:pt x="3037109" y="1536945"/>
                  <a:pt x="3038248" y="1535351"/>
                </a:cubicBezTo>
                <a:lnTo>
                  <a:pt x="3038174" y="1534735"/>
                </a:lnTo>
                <a:lnTo>
                  <a:pt x="3044626" y="1532389"/>
                </a:lnTo>
                <a:cubicBezTo>
                  <a:pt x="3047587" y="1529656"/>
                  <a:pt x="3048498" y="1526012"/>
                  <a:pt x="3044853" y="1522368"/>
                </a:cubicBezTo>
                <a:cubicBezTo>
                  <a:pt x="3037564" y="1529656"/>
                  <a:pt x="3028453" y="1518723"/>
                  <a:pt x="3026631" y="1511434"/>
                </a:cubicBezTo>
                <a:cubicBezTo>
                  <a:pt x="3030276" y="1515079"/>
                  <a:pt x="3039387" y="1515079"/>
                  <a:pt x="3046675" y="1513257"/>
                </a:cubicBezTo>
                <a:cubicBezTo>
                  <a:pt x="3044853" y="1511434"/>
                  <a:pt x="3041209" y="1509612"/>
                  <a:pt x="3044853" y="1507790"/>
                </a:cubicBezTo>
                <a:cubicBezTo>
                  <a:pt x="3046675" y="1505968"/>
                  <a:pt x="3046675" y="1511434"/>
                  <a:pt x="3048497" y="1513257"/>
                </a:cubicBezTo>
                <a:cubicBezTo>
                  <a:pt x="3050319" y="1513257"/>
                  <a:pt x="3050319" y="1513257"/>
                  <a:pt x="3052142" y="1511434"/>
                </a:cubicBezTo>
                <a:cubicBezTo>
                  <a:pt x="3053964" y="1518723"/>
                  <a:pt x="3061253" y="1529656"/>
                  <a:pt x="3068541" y="1518723"/>
                </a:cubicBezTo>
                <a:cubicBezTo>
                  <a:pt x="3070363" y="1520545"/>
                  <a:pt x="3070363" y="1520545"/>
                  <a:pt x="3072186" y="1522368"/>
                </a:cubicBezTo>
                <a:cubicBezTo>
                  <a:pt x="3078564" y="1515990"/>
                  <a:pt x="3076742" y="1508701"/>
                  <a:pt x="3072642" y="1501412"/>
                </a:cubicBezTo>
                <a:lnTo>
                  <a:pt x="3068594" y="1494993"/>
                </a:lnTo>
                <a:lnTo>
                  <a:pt x="3077652" y="1487746"/>
                </a:lnTo>
                <a:cubicBezTo>
                  <a:pt x="3072186" y="1502324"/>
                  <a:pt x="3074008" y="1513257"/>
                  <a:pt x="3088585" y="1520545"/>
                </a:cubicBezTo>
                <a:cubicBezTo>
                  <a:pt x="3090407" y="1522368"/>
                  <a:pt x="3090407" y="1518723"/>
                  <a:pt x="3090407" y="1516901"/>
                </a:cubicBezTo>
                <a:cubicBezTo>
                  <a:pt x="3095874" y="1516901"/>
                  <a:pt x="3090407" y="1526012"/>
                  <a:pt x="3092230" y="1524190"/>
                </a:cubicBezTo>
                <a:cubicBezTo>
                  <a:pt x="3103163" y="1518723"/>
                  <a:pt x="3094052" y="1505968"/>
                  <a:pt x="3094052" y="1496857"/>
                </a:cubicBezTo>
                <a:cubicBezTo>
                  <a:pt x="3097696" y="1502324"/>
                  <a:pt x="3106807" y="1505968"/>
                  <a:pt x="3099518" y="1513257"/>
                </a:cubicBezTo>
                <a:cubicBezTo>
                  <a:pt x="3106807" y="1515079"/>
                  <a:pt x="3114096" y="1509612"/>
                  <a:pt x="3114096" y="1518723"/>
                </a:cubicBezTo>
                <a:cubicBezTo>
                  <a:pt x="3125029" y="1518723"/>
                  <a:pt x="3135962" y="1513257"/>
                  <a:pt x="3146895" y="1507790"/>
                </a:cubicBezTo>
                <a:cubicBezTo>
                  <a:pt x="3152361" y="1505968"/>
                  <a:pt x="3156006" y="1511434"/>
                  <a:pt x="3163294" y="1509612"/>
                </a:cubicBezTo>
                <a:cubicBezTo>
                  <a:pt x="3159650" y="1502324"/>
                  <a:pt x="3156006" y="1498679"/>
                  <a:pt x="3157828" y="1489568"/>
                </a:cubicBezTo>
                <a:cubicBezTo>
                  <a:pt x="3154184" y="1489568"/>
                  <a:pt x="3152361" y="1491391"/>
                  <a:pt x="3150539" y="1491391"/>
                </a:cubicBezTo>
                <a:cubicBezTo>
                  <a:pt x="3148717" y="1489568"/>
                  <a:pt x="3150539" y="1484102"/>
                  <a:pt x="3152361" y="1478635"/>
                </a:cubicBezTo>
                <a:cubicBezTo>
                  <a:pt x="3154184" y="1476813"/>
                  <a:pt x="3156006" y="1480458"/>
                  <a:pt x="3157828" y="1480458"/>
                </a:cubicBezTo>
                <a:cubicBezTo>
                  <a:pt x="3168761" y="1491391"/>
                  <a:pt x="3170583" y="1511434"/>
                  <a:pt x="3186982" y="1515079"/>
                </a:cubicBezTo>
                <a:cubicBezTo>
                  <a:pt x="3186982" y="1505968"/>
                  <a:pt x="3183338" y="1496857"/>
                  <a:pt x="3181516" y="1489568"/>
                </a:cubicBezTo>
                <a:cubicBezTo>
                  <a:pt x="3176050" y="1464058"/>
                  <a:pt x="3165116" y="1434903"/>
                  <a:pt x="3139606" y="1418504"/>
                </a:cubicBezTo>
                <a:cubicBezTo>
                  <a:pt x="3137784" y="1416681"/>
                  <a:pt x="3130495" y="1413037"/>
                  <a:pt x="3128673" y="1409393"/>
                </a:cubicBezTo>
                <a:cubicBezTo>
                  <a:pt x="3130495" y="1413037"/>
                  <a:pt x="3126851" y="1416681"/>
                  <a:pt x="3128673" y="1420326"/>
                </a:cubicBezTo>
                <a:cubicBezTo>
                  <a:pt x="3125029" y="1418504"/>
                  <a:pt x="3119562" y="1416681"/>
                  <a:pt x="3117740" y="1418504"/>
                </a:cubicBezTo>
                <a:cubicBezTo>
                  <a:pt x="3117740" y="1422148"/>
                  <a:pt x="3117740" y="1425792"/>
                  <a:pt x="3119562" y="1429437"/>
                </a:cubicBezTo>
                <a:cubicBezTo>
                  <a:pt x="3123206" y="1427615"/>
                  <a:pt x="3121384" y="1423970"/>
                  <a:pt x="3121384" y="1422148"/>
                </a:cubicBezTo>
                <a:cubicBezTo>
                  <a:pt x="3123206" y="1423970"/>
                  <a:pt x="3125029" y="1425792"/>
                  <a:pt x="3126851" y="1427615"/>
                </a:cubicBezTo>
                <a:cubicBezTo>
                  <a:pt x="3126851" y="1431259"/>
                  <a:pt x="3119562" y="1429437"/>
                  <a:pt x="3121384" y="1433081"/>
                </a:cubicBezTo>
                <a:cubicBezTo>
                  <a:pt x="3123206" y="1433081"/>
                  <a:pt x="3126851" y="1433081"/>
                  <a:pt x="3128673" y="1431259"/>
                </a:cubicBezTo>
                <a:cubicBezTo>
                  <a:pt x="3132317" y="1440370"/>
                  <a:pt x="3126851" y="1444014"/>
                  <a:pt x="3121384" y="1451303"/>
                </a:cubicBezTo>
                <a:cubicBezTo>
                  <a:pt x="3115918" y="1444014"/>
                  <a:pt x="3112274" y="1433081"/>
                  <a:pt x="3115918" y="1423970"/>
                </a:cubicBezTo>
                <a:cubicBezTo>
                  <a:pt x="3114096" y="1423970"/>
                  <a:pt x="3110451" y="1423970"/>
                  <a:pt x="3108629" y="1423970"/>
                </a:cubicBezTo>
                <a:cubicBezTo>
                  <a:pt x="3108629" y="1420326"/>
                  <a:pt x="3114096" y="1423970"/>
                  <a:pt x="3115918" y="1422148"/>
                </a:cubicBezTo>
                <a:cubicBezTo>
                  <a:pt x="3115918" y="1420326"/>
                  <a:pt x="3115918" y="1418504"/>
                  <a:pt x="3114096" y="1416681"/>
                </a:cubicBezTo>
                <a:cubicBezTo>
                  <a:pt x="3115918" y="1416681"/>
                  <a:pt x="3115918" y="1416681"/>
                  <a:pt x="3117740" y="1416681"/>
                </a:cubicBezTo>
                <a:lnTo>
                  <a:pt x="3117227" y="1415642"/>
                </a:lnTo>
                <a:lnTo>
                  <a:pt x="3121384" y="1416681"/>
                </a:lnTo>
                <a:cubicBezTo>
                  <a:pt x="3119562" y="1413037"/>
                  <a:pt x="3119562" y="1407571"/>
                  <a:pt x="3115918" y="1405748"/>
                </a:cubicBezTo>
                <a:lnTo>
                  <a:pt x="3114888" y="1410901"/>
                </a:lnTo>
                <a:lnTo>
                  <a:pt x="3109085" y="1399143"/>
                </a:lnTo>
                <a:cubicBezTo>
                  <a:pt x="3105441" y="1394815"/>
                  <a:pt x="3100430" y="1392082"/>
                  <a:pt x="3092230" y="1391171"/>
                </a:cubicBezTo>
                <a:cubicBezTo>
                  <a:pt x="3090407" y="1391171"/>
                  <a:pt x="3088585" y="1392993"/>
                  <a:pt x="3090407" y="1394815"/>
                </a:cubicBezTo>
                <a:cubicBezTo>
                  <a:pt x="3088585" y="1392993"/>
                  <a:pt x="3086763" y="1392993"/>
                  <a:pt x="3084941" y="1391171"/>
                </a:cubicBezTo>
                <a:cubicBezTo>
                  <a:pt x="3086763" y="1391171"/>
                  <a:pt x="3086763" y="1391171"/>
                  <a:pt x="3088585" y="1391171"/>
                </a:cubicBezTo>
                <a:cubicBezTo>
                  <a:pt x="3079474" y="1387527"/>
                  <a:pt x="3066263" y="1382515"/>
                  <a:pt x="3053964" y="1380921"/>
                </a:cubicBezTo>
                <a:close/>
                <a:moveTo>
                  <a:pt x="1142655" y="1380845"/>
                </a:moveTo>
                <a:lnTo>
                  <a:pt x="1142867" y="1381696"/>
                </a:lnTo>
                <a:lnTo>
                  <a:pt x="1142503" y="1382060"/>
                </a:lnTo>
                <a:close/>
                <a:moveTo>
                  <a:pt x="3252581" y="1380238"/>
                </a:moveTo>
                <a:cubicBezTo>
                  <a:pt x="3248937" y="1378416"/>
                  <a:pt x="3248937" y="1389349"/>
                  <a:pt x="3252581" y="1387527"/>
                </a:cubicBezTo>
                <a:cubicBezTo>
                  <a:pt x="3252581" y="1383882"/>
                  <a:pt x="3252581" y="1382060"/>
                  <a:pt x="3252581" y="1380238"/>
                </a:cubicBezTo>
                <a:close/>
                <a:moveTo>
                  <a:pt x="748914" y="1380238"/>
                </a:moveTo>
                <a:cubicBezTo>
                  <a:pt x="743447" y="1383882"/>
                  <a:pt x="734336" y="1378416"/>
                  <a:pt x="734336" y="1385705"/>
                </a:cubicBezTo>
                <a:cubicBezTo>
                  <a:pt x="736159" y="1389349"/>
                  <a:pt x="745269" y="1387527"/>
                  <a:pt x="748914" y="1392993"/>
                </a:cubicBezTo>
                <a:cubicBezTo>
                  <a:pt x="750737" y="1391171"/>
                  <a:pt x="747092" y="1383882"/>
                  <a:pt x="748914" y="1380238"/>
                </a:cubicBezTo>
                <a:close/>
                <a:moveTo>
                  <a:pt x="727048" y="1380238"/>
                </a:moveTo>
                <a:cubicBezTo>
                  <a:pt x="725226" y="1382060"/>
                  <a:pt x="730692" y="1385705"/>
                  <a:pt x="732515" y="1383882"/>
                </a:cubicBezTo>
                <a:cubicBezTo>
                  <a:pt x="730692" y="1380238"/>
                  <a:pt x="728870" y="1382060"/>
                  <a:pt x="727048" y="1380238"/>
                </a:cubicBezTo>
                <a:close/>
                <a:moveTo>
                  <a:pt x="625006" y="1380238"/>
                </a:moveTo>
                <a:cubicBezTo>
                  <a:pt x="621362" y="1383882"/>
                  <a:pt x="623185" y="1387527"/>
                  <a:pt x="625006" y="1389349"/>
                </a:cubicBezTo>
                <a:cubicBezTo>
                  <a:pt x="628650" y="1389349"/>
                  <a:pt x="632296" y="1385705"/>
                  <a:pt x="634117" y="1387527"/>
                </a:cubicBezTo>
                <a:cubicBezTo>
                  <a:pt x="634117" y="1383882"/>
                  <a:pt x="626828" y="1383882"/>
                  <a:pt x="625006" y="1380238"/>
                </a:cubicBezTo>
                <a:close/>
                <a:moveTo>
                  <a:pt x="619539" y="1380238"/>
                </a:moveTo>
                <a:cubicBezTo>
                  <a:pt x="617717" y="1378416"/>
                  <a:pt x="614074" y="1383882"/>
                  <a:pt x="614074" y="1385705"/>
                </a:cubicBezTo>
                <a:cubicBezTo>
                  <a:pt x="615895" y="1383882"/>
                  <a:pt x="619539" y="1382060"/>
                  <a:pt x="619539" y="1380238"/>
                </a:cubicBezTo>
                <a:close/>
                <a:moveTo>
                  <a:pt x="544830" y="1380238"/>
                </a:moveTo>
                <a:cubicBezTo>
                  <a:pt x="550297" y="1385705"/>
                  <a:pt x="535719" y="1391171"/>
                  <a:pt x="543008" y="1396638"/>
                </a:cubicBezTo>
                <a:cubicBezTo>
                  <a:pt x="544830" y="1394815"/>
                  <a:pt x="544830" y="1392993"/>
                  <a:pt x="546653" y="1391171"/>
                </a:cubicBezTo>
                <a:cubicBezTo>
                  <a:pt x="541186" y="1398460"/>
                  <a:pt x="546653" y="1402104"/>
                  <a:pt x="552119" y="1403926"/>
                </a:cubicBezTo>
                <a:cubicBezTo>
                  <a:pt x="553941" y="1398460"/>
                  <a:pt x="552119" y="1394815"/>
                  <a:pt x="553941" y="1389349"/>
                </a:cubicBezTo>
                <a:cubicBezTo>
                  <a:pt x="552119" y="1383882"/>
                  <a:pt x="546653" y="1383882"/>
                  <a:pt x="544830" y="1380238"/>
                </a:cubicBezTo>
                <a:close/>
                <a:moveTo>
                  <a:pt x="1060392" y="1379725"/>
                </a:moveTo>
                <a:lnTo>
                  <a:pt x="1060506" y="1380238"/>
                </a:lnTo>
                <a:lnTo>
                  <a:pt x="1059947" y="1379859"/>
                </a:lnTo>
                <a:close/>
                <a:moveTo>
                  <a:pt x="907444" y="1378416"/>
                </a:moveTo>
                <a:cubicBezTo>
                  <a:pt x="901976" y="1383882"/>
                  <a:pt x="898333" y="1385705"/>
                  <a:pt x="894688" y="1389349"/>
                </a:cubicBezTo>
                <a:lnTo>
                  <a:pt x="908630" y="1393152"/>
                </a:lnTo>
                <a:lnTo>
                  <a:pt x="901976" y="1394815"/>
                </a:lnTo>
                <a:cubicBezTo>
                  <a:pt x="907444" y="1423970"/>
                  <a:pt x="940242" y="1427615"/>
                  <a:pt x="962108" y="1440370"/>
                </a:cubicBezTo>
                <a:cubicBezTo>
                  <a:pt x="960286" y="1438548"/>
                  <a:pt x="958464" y="1436725"/>
                  <a:pt x="956642" y="1434903"/>
                </a:cubicBezTo>
                <a:cubicBezTo>
                  <a:pt x="967575" y="1442192"/>
                  <a:pt x="974863" y="1451303"/>
                  <a:pt x="989441" y="1449481"/>
                </a:cubicBezTo>
                <a:lnTo>
                  <a:pt x="987470" y="1447018"/>
                </a:lnTo>
                <a:lnTo>
                  <a:pt x="993540" y="1451303"/>
                </a:lnTo>
                <a:cubicBezTo>
                  <a:pt x="996729" y="1451758"/>
                  <a:pt x="1000374" y="1451303"/>
                  <a:pt x="1004018" y="1451303"/>
                </a:cubicBezTo>
                <a:cubicBezTo>
                  <a:pt x="989441" y="1423970"/>
                  <a:pt x="967575" y="1418504"/>
                  <a:pt x="942064" y="1422148"/>
                </a:cubicBezTo>
                <a:cubicBezTo>
                  <a:pt x="947531" y="1413037"/>
                  <a:pt x="954819" y="1400282"/>
                  <a:pt x="940242" y="1394815"/>
                </a:cubicBezTo>
                <a:cubicBezTo>
                  <a:pt x="937509" y="1392993"/>
                  <a:pt x="934777" y="1390715"/>
                  <a:pt x="931814" y="1389349"/>
                </a:cubicBezTo>
                <a:lnTo>
                  <a:pt x="927487" y="1389349"/>
                </a:lnTo>
                <a:cubicBezTo>
                  <a:pt x="923843" y="1382060"/>
                  <a:pt x="914732" y="1382060"/>
                  <a:pt x="907444" y="1378416"/>
                </a:cubicBezTo>
                <a:close/>
                <a:moveTo>
                  <a:pt x="834556" y="1378416"/>
                </a:moveTo>
                <a:cubicBezTo>
                  <a:pt x="834556" y="1378416"/>
                  <a:pt x="819979" y="1392993"/>
                  <a:pt x="834556" y="1378416"/>
                </a:cubicBezTo>
                <a:close/>
                <a:moveTo>
                  <a:pt x="774424" y="1378416"/>
                </a:moveTo>
                <a:cubicBezTo>
                  <a:pt x="774424" y="1382060"/>
                  <a:pt x="778070" y="1380238"/>
                  <a:pt x="779892" y="1382060"/>
                </a:cubicBezTo>
                <a:cubicBezTo>
                  <a:pt x="781713" y="1378416"/>
                  <a:pt x="776246" y="1378416"/>
                  <a:pt x="774424" y="1378416"/>
                </a:cubicBezTo>
                <a:close/>
                <a:moveTo>
                  <a:pt x="630472" y="1378416"/>
                </a:moveTo>
                <a:lnTo>
                  <a:pt x="631079" y="1380846"/>
                </a:lnTo>
                <a:lnTo>
                  <a:pt x="630472" y="1382060"/>
                </a:lnTo>
                <a:lnTo>
                  <a:pt x="631466" y="1382391"/>
                </a:lnTo>
                <a:lnTo>
                  <a:pt x="631840" y="1383882"/>
                </a:lnTo>
                <a:cubicBezTo>
                  <a:pt x="633206" y="1384338"/>
                  <a:pt x="635028" y="1383882"/>
                  <a:pt x="635939" y="1383882"/>
                </a:cubicBezTo>
                <a:lnTo>
                  <a:pt x="631466" y="1382391"/>
                </a:lnTo>
                <a:lnTo>
                  <a:pt x="631079" y="1380846"/>
                </a:lnTo>
                <a:lnTo>
                  <a:pt x="632296" y="1378416"/>
                </a:lnTo>
                <a:cubicBezTo>
                  <a:pt x="632296" y="1378416"/>
                  <a:pt x="630472" y="1378416"/>
                  <a:pt x="630472" y="1378416"/>
                </a:cubicBezTo>
                <a:close/>
                <a:moveTo>
                  <a:pt x="389946" y="1378416"/>
                </a:moveTo>
                <a:lnTo>
                  <a:pt x="390122" y="1378651"/>
                </a:lnTo>
                <a:lnTo>
                  <a:pt x="389218" y="1378780"/>
                </a:lnTo>
                <a:close/>
                <a:moveTo>
                  <a:pt x="922020" y="1376594"/>
                </a:moveTo>
                <a:cubicBezTo>
                  <a:pt x="920198" y="1383882"/>
                  <a:pt x="931131" y="1378416"/>
                  <a:pt x="929309" y="1382060"/>
                </a:cubicBezTo>
                <a:cubicBezTo>
                  <a:pt x="932953" y="1380238"/>
                  <a:pt x="932953" y="1378416"/>
                  <a:pt x="929309" y="1376594"/>
                </a:cubicBezTo>
                <a:cubicBezTo>
                  <a:pt x="927487" y="1378416"/>
                  <a:pt x="923843" y="1378416"/>
                  <a:pt x="922020" y="1376594"/>
                </a:cubicBezTo>
                <a:close/>
                <a:moveTo>
                  <a:pt x="708826" y="1376594"/>
                </a:moveTo>
                <a:lnTo>
                  <a:pt x="708692" y="1377130"/>
                </a:lnTo>
                <a:lnTo>
                  <a:pt x="708259" y="1376846"/>
                </a:lnTo>
                <a:close/>
                <a:moveTo>
                  <a:pt x="731603" y="1374999"/>
                </a:moveTo>
                <a:cubicBezTo>
                  <a:pt x="729781" y="1373861"/>
                  <a:pt x="727959" y="1373861"/>
                  <a:pt x="725226" y="1376594"/>
                </a:cubicBezTo>
                <a:cubicBezTo>
                  <a:pt x="728870" y="1378416"/>
                  <a:pt x="734336" y="1383882"/>
                  <a:pt x="737981" y="1380238"/>
                </a:cubicBezTo>
                <a:cubicBezTo>
                  <a:pt x="735247" y="1378416"/>
                  <a:pt x="733425" y="1376138"/>
                  <a:pt x="731603" y="1374999"/>
                </a:cubicBezTo>
                <a:close/>
                <a:moveTo>
                  <a:pt x="693793" y="1374999"/>
                </a:moveTo>
                <a:cubicBezTo>
                  <a:pt x="691971" y="1375682"/>
                  <a:pt x="690604" y="1377505"/>
                  <a:pt x="692426" y="1380238"/>
                </a:cubicBezTo>
                <a:cubicBezTo>
                  <a:pt x="694249" y="1380238"/>
                  <a:pt x="696071" y="1378416"/>
                  <a:pt x="697893" y="1376594"/>
                </a:cubicBezTo>
                <a:cubicBezTo>
                  <a:pt x="697893" y="1374771"/>
                  <a:pt x="695615" y="1374316"/>
                  <a:pt x="693793" y="1374999"/>
                </a:cubicBezTo>
                <a:close/>
                <a:moveTo>
                  <a:pt x="3522263" y="1374771"/>
                </a:moveTo>
                <a:lnTo>
                  <a:pt x="3513815" y="1383220"/>
                </a:lnTo>
                <a:lnTo>
                  <a:pt x="3515849" y="1376708"/>
                </a:lnTo>
                <a:lnTo>
                  <a:pt x="3516113" y="1376821"/>
                </a:lnTo>
                <a:cubicBezTo>
                  <a:pt x="3517252" y="1377505"/>
                  <a:pt x="3518619" y="1377505"/>
                  <a:pt x="3522263" y="1374771"/>
                </a:cubicBezTo>
                <a:close/>
                <a:moveTo>
                  <a:pt x="3230715" y="1374771"/>
                </a:moveTo>
                <a:cubicBezTo>
                  <a:pt x="3227071" y="1374771"/>
                  <a:pt x="3225248" y="1376594"/>
                  <a:pt x="3221604" y="1376594"/>
                </a:cubicBezTo>
                <a:cubicBezTo>
                  <a:pt x="3221604" y="1382060"/>
                  <a:pt x="3227071" y="1382060"/>
                  <a:pt x="3228893" y="1383882"/>
                </a:cubicBezTo>
                <a:cubicBezTo>
                  <a:pt x="3223426" y="1394815"/>
                  <a:pt x="3217960" y="1387527"/>
                  <a:pt x="3208849" y="1385705"/>
                </a:cubicBezTo>
                <a:cubicBezTo>
                  <a:pt x="3208849" y="1389349"/>
                  <a:pt x="3212493" y="1387527"/>
                  <a:pt x="3212493" y="1392993"/>
                </a:cubicBezTo>
                <a:cubicBezTo>
                  <a:pt x="3207027" y="1392993"/>
                  <a:pt x="3207027" y="1385705"/>
                  <a:pt x="3205204" y="1387527"/>
                </a:cubicBezTo>
                <a:cubicBezTo>
                  <a:pt x="3201560" y="1391171"/>
                  <a:pt x="3212493" y="1394815"/>
                  <a:pt x="3207027" y="1402104"/>
                </a:cubicBezTo>
                <a:cubicBezTo>
                  <a:pt x="3214315" y="1400282"/>
                  <a:pt x="3223426" y="1400282"/>
                  <a:pt x="3223426" y="1391171"/>
                </a:cubicBezTo>
                <a:cubicBezTo>
                  <a:pt x="3228893" y="1396638"/>
                  <a:pt x="3232537" y="1387527"/>
                  <a:pt x="3238003" y="1389349"/>
                </a:cubicBezTo>
                <a:cubicBezTo>
                  <a:pt x="3238003" y="1387527"/>
                  <a:pt x="3236181" y="1382060"/>
                  <a:pt x="3238003" y="1385705"/>
                </a:cubicBezTo>
                <a:cubicBezTo>
                  <a:pt x="3236181" y="1382060"/>
                  <a:pt x="3230715" y="1380238"/>
                  <a:pt x="3230715" y="1374771"/>
                </a:cubicBezTo>
                <a:close/>
                <a:moveTo>
                  <a:pt x="717937" y="1374771"/>
                </a:moveTo>
                <a:cubicBezTo>
                  <a:pt x="717937" y="1376594"/>
                  <a:pt x="716115" y="1376594"/>
                  <a:pt x="714293" y="1378416"/>
                </a:cubicBezTo>
                <a:cubicBezTo>
                  <a:pt x="716115" y="1380238"/>
                  <a:pt x="717937" y="1380238"/>
                  <a:pt x="719759" y="1380238"/>
                </a:cubicBezTo>
                <a:cubicBezTo>
                  <a:pt x="721581" y="1378416"/>
                  <a:pt x="721581" y="1376594"/>
                  <a:pt x="717937" y="1374771"/>
                </a:cubicBezTo>
                <a:close/>
                <a:moveTo>
                  <a:pt x="606784" y="1374771"/>
                </a:moveTo>
                <a:cubicBezTo>
                  <a:pt x="604963" y="1376594"/>
                  <a:pt x="606784" y="1378416"/>
                  <a:pt x="604963" y="1380238"/>
                </a:cubicBezTo>
                <a:cubicBezTo>
                  <a:pt x="606784" y="1380238"/>
                  <a:pt x="608606" y="1378416"/>
                  <a:pt x="610429" y="1376594"/>
                </a:cubicBezTo>
                <a:cubicBezTo>
                  <a:pt x="608606" y="1374771"/>
                  <a:pt x="606784" y="1376594"/>
                  <a:pt x="606784" y="1374771"/>
                </a:cubicBezTo>
                <a:close/>
                <a:moveTo>
                  <a:pt x="3385600" y="1372949"/>
                </a:moveTo>
                <a:cubicBezTo>
                  <a:pt x="3374666" y="1371127"/>
                  <a:pt x="3367378" y="1383882"/>
                  <a:pt x="3374666" y="1396638"/>
                </a:cubicBezTo>
                <a:cubicBezTo>
                  <a:pt x="3371022" y="1394815"/>
                  <a:pt x="3371022" y="1387527"/>
                  <a:pt x="3367378" y="1389349"/>
                </a:cubicBezTo>
                <a:cubicBezTo>
                  <a:pt x="3363734" y="1391171"/>
                  <a:pt x="3371022" y="1398460"/>
                  <a:pt x="3369200" y="1402104"/>
                </a:cubicBezTo>
                <a:cubicBezTo>
                  <a:pt x="3371022" y="1402104"/>
                  <a:pt x="3372844" y="1400282"/>
                  <a:pt x="3374666" y="1400282"/>
                </a:cubicBezTo>
                <a:cubicBezTo>
                  <a:pt x="3372844" y="1402104"/>
                  <a:pt x="3369200" y="1403926"/>
                  <a:pt x="3371022" y="1407571"/>
                </a:cubicBezTo>
                <a:cubicBezTo>
                  <a:pt x="3372844" y="1409393"/>
                  <a:pt x="3378311" y="1409393"/>
                  <a:pt x="3380133" y="1407571"/>
                </a:cubicBezTo>
                <a:cubicBezTo>
                  <a:pt x="3387422" y="1396638"/>
                  <a:pt x="3401999" y="1378416"/>
                  <a:pt x="3385600" y="1372949"/>
                </a:cubicBezTo>
                <a:close/>
                <a:moveTo>
                  <a:pt x="900610" y="1372949"/>
                </a:moveTo>
                <a:cubicBezTo>
                  <a:pt x="898333" y="1373405"/>
                  <a:pt x="894687" y="1375683"/>
                  <a:pt x="891043" y="1378416"/>
                </a:cubicBezTo>
                <a:cubicBezTo>
                  <a:pt x="891043" y="1378416"/>
                  <a:pt x="889222" y="1378416"/>
                  <a:pt x="889222" y="1378416"/>
                </a:cubicBezTo>
                <a:cubicBezTo>
                  <a:pt x="887399" y="1380238"/>
                  <a:pt x="885577" y="1380238"/>
                  <a:pt x="883755" y="1382060"/>
                </a:cubicBezTo>
                <a:cubicBezTo>
                  <a:pt x="891043" y="1389349"/>
                  <a:pt x="901976" y="1387527"/>
                  <a:pt x="901976" y="1378416"/>
                </a:cubicBezTo>
                <a:cubicBezTo>
                  <a:pt x="903798" y="1373861"/>
                  <a:pt x="902887" y="1372494"/>
                  <a:pt x="900610" y="1372949"/>
                </a:cubicBezTo>
                <a:close/>
                <a:moveTo>
                  <a:pt x="948214" y="1372493"/>
                </a:moveTo>
                <a:cubicBezTo>
                  <a:pt x="946620" y="1372038"/>
                  <a:pt x="944798" y="1372038"/>
                  <a:pt x="943886" y="1372949"/>
                </a:cubicBezTo>
                <a:cubicBezTo>
                  <a:pt x="945709" y="1374771"/>
                  <a:pt x="949353" y="1374771"/>
                  <a:pt x="951175" y="1374771"/>
                </a:cubicBezTo>
                <a:cubicBezTo>
                  <a:pt x="951175" y="1373860"/>
                  <a:pt x="949808" y="1372949"/>
                  <a:pt x="948214" y="1372493"/>
                </a:cubicBezTo>
                <a:close/>
                <a:moveTo>
                  <a:pt x="858191" y="1372288"/>
                </a:moveTo>
                <a:lnTo>
                  <a:pt x="857788" y="1372949"/>
                </a:lnTo>
                <a:cubicBezTo>
                  <a:pt x="855511" y="1377049"/>
                  <a:pt x="852778" y="1380238"/>
                  <a:pt x="847311" y="1380238"/>
                </a:cubicBezTo>
                <a:close/>
                <a:moveTo>
                  <a:pt x="626600" y="1371583"/>
                </a:moveTo>
                <a:cubicBezTo>
                  <a:pt x="625006" y="1370671"/>
                  <a:pt x="623185" y="1370216"/>
                  <a:pt x="621362" y="1372949"/>
                </a:cubicBezTo>
                <a:cubicBezTo>
                  <a:pt x="623185" y="1372949"/>
                  <a:pt x="623185" y="1374771"/>
                  <a:pt x="625006" y="1376594"/>
                </a:cubicBezTo>
                <a:cubicBezTo>
                  <a:pt x="626828" y="1376594"/>
                  <a:pt x="628650" y="1374771"/>
                  <a:pt x="630472" y="1372949"/>
                </a:cubicBezTo>
                <a:cubicBezTo>
                  <a:pt x="629561" y="1373860"/>
                  <a:pt x="628194" y="1372493"/>
                  <a:pt x="626600" y="1371583"/>
                </a:cubicBezTo>
                <a:close/>
                <a:moveTo>
                  <a:pt x="3199738" y="1371127"/>
                </a:moveTo>
                <a:cubicBezTo>
                  <a:pt x="3201560" y="1372949"/>
                  <a:pt x="3203382" y="1374771"/>
                  <a:pt x="3207027" y="1374771"/>
                </a:cubicBezTo>
                <a:cubicBezTo>
                  <a:pt x="3207027" y="1372949"/>
                  <a:pt x="3207027" y="1372949"/>
                  <a:pt x="3207027" y="1371127"/>
                </a:cubicBezTo>
                <a:cubicBezTo>
                  <a:pt x="3203382" y="1371127"/>
                  <a:pt x="3201560" y="1369305"/>
                  <a:pt x="3199738" y="1371127"/>
                </a:cubicBezTo>
                <a:close/>
                <a:moveTo>
                  <a:pt x="934777" y="1371127"/>
                </a:moveTo>
                <a:cubicBezTo>
                  <a:pt x="936598" y="1372949"/>
                  <a:pt x="938420" y="1372949"/>
                  <a:pt x="934777" y="1376594"/>
                </a:cubicBezTo>
                <a:lnTo>
                  <a:pt x="935688" y="1376594"/>
                </a:lnTo>
                <a:lnTo>
                  <a:pt x="936598" y="1382060"/>
                </a:lnTo>
                <a:lnTo>
                  <a:pt x="932953" y="1382060"/>
                </a:lnTo>
                <a:cubicBezTo>
                  <a:pt x="932953" y="1383882"/>
                  <a:pt x="932953" y="1385705"/>
                  <a:pt x="934777" y="1387527"/>
                </a:cubicBezTo>
                <a:cubicBezTo>
                  <a:pt x="942064" y="1389349"/>
                  <a:pt x="945709" y="1396638"/>
                  <a:pt x="951175" y="1396638"/>
                </a:cubicBezTo>
                <a:cubicBezTo>
                  <a:pt x="958464" y="1400282"/>
                  <a:pt x="949353" y="1385705"/>
                  <a:pt x="949353" y="1376594"/>
                </a:cubicBezTo>
                <a:lnTo>
                  <a:pt x="935688" y="1376594"/>
                </a:lnTo>
                <a:close/>
                <a:moveTo>
                  <a:pt x="901976" y="1371127"/>
                </a:moveTo>
                <a:cubicBezTo>
                  <a:pt x="903799" y="1374771"/>
                  <a:pt x="909265" y="1374771"/>
                  <a:pt x="911087" y="1376594"/>
                </a:cubicBezTo>
                <a:cubicBezTo>
                  <a:pt x="909265" y="1376594"/>
                  <a:pt x="907444" y="1367483"/>
                  <a:pt x="901976" y="1371127"/>
                </a:cubicBezTo>
                <a:close/>
                <a:moveTo>
                  <a:pt x="3130723" y="1370672"/>
                </a:moveTo>
                <a:cubicBezTo>
                  <a:pt x="3127762" y="1370216"/>
                  <a:pt x="3124118" y="1371127"/>
                  <a:pt x="3119562" y="1371127"/>
                </a:cubicBezTo>
                <a:cubicBezTo>
                  <a:pt x="3117740" y="1376594"/>
                  <a:pt x="3121384" y="1382060"/>
                  <a:pt x="3128673" y="1382060"/>
                </a:cubicBezTo>
                <a:cubicBezTo>
                  <a:pt x="3128673" y="1378416"/>
                  <a:pt x="3132317" y="1376594"/>
                  <a:pt x="3130495" y="1376594"/>
                </a:cubicBezTo>
                <a:cubicBezTo>
                  <a:pt x="3130495" y="1380238"/>
                  <a:pt x="3132317" y="1383882"/>
                  <a:pt x="3128673" y="1387527"/>
                </a:cubicBezTo>
                <a:cubicBezTo>
                  <a:pt x="3135962" y="1389349"/>
                  <a:pt x="3132317" y="1378416"/>
                  <a:pt x="3137784" y="1378416"/>
                </a:cubicBezTo>
                <a:cubicBezTo>
                  <a:pt x="3135962" y="1372949"/>
                  <a:pt x="3133684" y="1371127"/>
                  <a:pt x="3130723" y="1370672"/>
                </a:cubicBezTo>
                <a:close/>
                <a:moveTo>
                  <a:pt x="859208" y="1370612"/>
                </a:moveTo>
                <a:lnTo>
                  <a:pt x="859155" y="1371583"/>
                </a:lnTo>
                <a:lnTo>
                  <a:pt x="858191" y="1372288"/>
                </a:lnTo>
                <a:close/>
                <a:moveTo>
                  <a:pt x="3292669" y="1369305"/>
                </a:moveTo>
                <a:cubicBezTo>
                  <a:pt x="3290847" y="1369305"/>
                  <a:pt x="3289024" y="1371127"/>
                  <a:pt x="3287202" y="1371127"/>
                </a:cubicBezTo>
                <a:cubicBezTo>
                  <a:pt x="3287202" y="1374771"/>
                  <a:pt x="3292669" y="1376594"/>
                  <a:pt x="3294491" y="1372949"/>
                </a:cubicBezTo>
                <a:cubicBezTo>
                  <a:pt x="3292669" y="1372949"/>
                  <a:pt x="3292669" y="1371127"/>
                  <a:pt x="3292669" y="1369305"/>
                </a:cubicBezTo>
                <a:close/>
                <a:moveTo>
                  <a:pt x="3263514" y="1369305"/>
                </a:moveTo>
                <a:cubicBezTo>
                  <a:pt x="3259869" y="1372949"/>
                  <a:pt x="3263514" y="1376594"/>
                  <a:pt x="3265336" y="1378416"/>
                </a:cubicBezTo>
                <a:cubicBezTo>
                  <a:pt x="3267158" y="1371127"/>
                  <a:pt x="3267158" y="1376594"/>
                  <a:pt x="3270803" y="1376594"/>
                </a:cubicBezTo>
                <a:cubicBezTo>
                  <a:pt x="3270803" y="1374771"/>
                  <a:pt x="3268980" y="1372949"/>
                  <a:pt x="3268980" y="1369305"/>
                </a:cubicBezTo>
                <a:cubicBezTo>
                  <a:pt x="3267158" y="1369305"/>
                  <a:pt x="3263514" y="1371127"/>
                  <a:pt x="3263514" y="1369305"/>
                </a:cubicBezTo>
                <a:close/>
                <a:moveTo>
                  <a:pt x="3183566" y="1368849"/>
                </a:moveTo>
                <a:cubicBezTo>
                  <a:pt x="3180605" y="1370671"/>
                  <a:pt x="3178783" y="1374771"/>
                  <a:pt x="3179694" y="1380238"/>
                </a:cubicBezTo>
                <a:cubicBezTo>
                  <a:pt x="3181516" y="1380238"/>
                  <a:pt x="3183338" y="1380238"/>
                  <a:pt x="3185160" y="1380238"/>
                </a:cubicBezTo>
                <a:cubicBezTo>
                  <a:pt x="3185160" y="1385705"/>
                  <a:pt x="3181516" y="1380238"/>
                  <a:pt x="3179694" y="1383882"/>
                </a:cubicBezTo>
                <a:cubicBezTo>
                  <a:pt x="3181516" y="1387527"/>
                  <a:pt x="3181516" y="1389349"/>
                  <a:pt x="3181516" y="1392993"/>
                </a:cubicBezTo>
                <a:cubicBezTo>
                  <a:pt x="3183338" y="1391171"/>
                  <a:pt x="3186982" y="1389349"/>
                  <a:pt x="3190627" y="1387527"/>
                </a:cubicBezTo>
                <a:cubicBezTo>
                  <a:pt x="3190627" y="1376594"/>
                  <a:pt x="3194271" y="1382060"/>
                  <a:pt x="3194271" y="1371127"/>
                </a:cubicBezTo>
                <a:cubicBezTo>
                  <a:pt x="3190627" y="1367483"/>
                  <a:pt x="3186527" y="1367027"/>
                  <a:pt x="3183566" y="1368849"/>
                </a:cubicBezTo>
                <a:close/>
                <a:moveTo>
                  <a:pt x="1144326" y="1367483"/>
                </a:moveTo>
                <a:lnTo>
                  <a:pt x="1142655" y="1380845"/>
                </a:lnTo>
                <a:lnTo>
                  <a:pt x="1142503" y="1380238"/>
                </a:lnTo>
                <a:cubicBezTo>
                  <a:pt x="1138859" y="1383882"/>
                  <a:pt x="1142503" y="1387527"/>
                  <a:pt x="1138859" y="1389349"/>
                </a:cubicBezTo>
                <a:cubicBezTo>
                  <a:pt x="1140681" y="1391171"/>
                  <a:pt x="1142503" y="1389349"/>
                  <a:pt x="1144326" y="1392993"/>
                </a:cubicBezTo>
                <a:cubicBezTo>
                  <a:pt x="1144326" y="1392993"/>
                  <a:pt x="1142503" y="1391171"/>
                  <a:pt x="1144326" y="1389349"/>
                </a:cubicBezTo>
                <a:lnTo>
                  <a:pt x="1142908" y="1389552"/>
                </a:lnTo>
                <a:lnTo>
                  <a:pt x="1143870" y="1385705"/>
                </a:lnTo>
                <a:lnTo>
                  <a:pt x="1142867" y="1381696"/>
                </a:lnTo>
                <a:lnTo>
                  <a:pt x="1144326" y="1380238"/>
                </a:lnTo>
                <a:cubicBezTo>
                  <a:pt x="1146148" y="1385705"/>
                  <a:pt x="1144326" y="1391171"/>
                  <a:pt x="1147970" y="1396638"/>
                </a:cubicBezTo>
                <a:cubicBezTo>
                  <a:pt x="1149792" y="1394815"/>
                  <a:pt x="1149792" y="1394815"/>
                  <a:pt x="1147970" y="1392993"/>
                </a:cubicBezTo>
                <a:cubicBezTo>
                  <a:pt x="1157081" y="1387527"/>
                  <a:pt x="1149792" y="1376594"/>
                  <a:pt x="1144326" y="1367483"/>
                </a:cubicBezTo>
                <a:close/>
                <a:moveTo>
                  <a:pt x="599496" y="1367483"/>
                </a:moveTo>
                <a:cubicBezTo>
                  <a:pt x="599496" y="1372949"/>
                  <a:pt x="595852" y="1372949"/>
                  <a:pt x="594030" y="1378416"/>
                </a:cubicBezTo>
                <a:cubicBezTo>
                  <a:pt x="595852" y="1382060"/>
                  <a:pt x="599496" y="1378416"/>
                  <a:pt x="601318" y="1382060"/>
                </a:cubicBezTo>
                <a:cubicBezTo>
                  <a:pt x="604963" y="1378416"/>
                  <a:pt x="597673" y="1374771"/>
                  <a:pt x="601318" y="1372949"/>
                </a:cubicBezTo>
                <a:cubicBezTo>
                  <a:pt x="599496" y="1371127"/>
                  <a:pt x="601318" y="1367483"/>
                  <a:pt x="599496" y="1367483"/>
                </a:cubicBezTo>
                <a:close/>
                <a:moveTo>
                  <a:pt x="561230" y="1367483"/>
                </a:moveTo>
                <a:cubicBezTo>
                  <a:pt x="557586" y="1372949"/>
                  <a:pt x="563052" y="1371127"/>
                  <a:pt x="564874" y="1374771"/>
                </a:cubicBezTo>
                <a:cubicBezTo>
                  <a:pt x="566697" y="1372949"/>
                  <a:pt x="564874" y="1372949"/>
                  <a:pt x="566697" y="1371127"/>
                </a:cubicBezTo>
                <a:cubicBezTo>
                  <a:pt x="564874" y="1369305"/>
                  <a:pt x="563052" y="1369305"/>
                  <a:pt x="561230" y="1367483"/>
                </a:cubicBezTo>
                <a:close/>
                <a:moveTo>
                  <a:pt x="535719" y="1367483"/>
                </a:moveTo>
                <a:lnTo>
                  <a:pt x="535112" y="1369305"/>
                </a:lnTo>
                <a:lnTo>
                  <a:pt x="535315" y="1368090"/>
                </a:lnTo>
                <a:close/>
                <a:moveTo>
                  <a:pt x="642089" y="1367255"/>
                </a:moveTo>
                <a:cubicBezTo>
                  <a:pt x="640495" y="1366572"/>
                  <a:pt x="638672" y="1366572"/>
                  <a:pt x="637761" y="1367483"/>
                </a:cubicBezTo>
                <a:cubicBezTo>
                  <a:pt x="641407" y="1369305"/>
                  <a:pt x="643228" y="1372949"/>
                  <a:pt x="645050" y="1371127"/>
                </a:cubicBezTo>
                <a:cubicBezTo>
                  <a:pt x="645050" y="1369305"/>
                  <a:pt x="643683" y="1367939"/>
                  <a:pt x="642089" y="1367255"/>
                </a:cubicBezTo>
                <a:close/>
                <a:moveTo>
                  <a:pt x="3403366" y="1366344"/>
                </a:moveTo>
                <a:cubicBezTo>
                  <a:pt x="3401999" y="1366572"/>
                  <a:pt x="3400177" y="1367483"/>
                  <a:pt x="3398355" y="1367483"/>
                </a:cubicBezTo>
                <a:cubicBezTo>
                  <a:pt x="3400177" y="1372949"/>
                  <a:pt x="3401999" y="1367483"/>
                  <a:pt x="3405643" y="1369305"/>
                </a:cubicBezTo>
                <a:cubicBezTo>
                  <a:pt x="3405643" y="1366572"/>
                  <a:pt x="3404732" y="1366116"/>
                  <a:pt x="3403366" y="1366344"/>
                </a:cubicBezTo>
                <a:close/>
                <a:moveTo>
                  <a:pt x="696071" y="1365661"/>
                </a:moveTo>
                <a:cubicBezTo>
                  <a:pt x="694249" y="1365661"/>
                  <a:pt x="696071" y="1367483"/>
                  <a:pt x="694249" y="1369305"/>
                </a:cubicBezTo>
                <a:cubicBezTo>
                  <a:pt x="694249" y="1371127"/>
                  <a:pt x="696071" y="1372949"/>
                  <a:pt x="699715" y="1371127"/>
                </a:cubicBezTo>
                <a:cubicBezTo>
                  <a:pt x="697893" y="1369305"/>
                  <a:pt x="697893" y="1367483"/>
                  <a:pt x="696071" y="1365661"/>
                </a:cubicBezTo>
                <a:close/>
                <a:moveTo>
                  <a:pt x="378785" y="1365661"/>
                </a:moveTo>
                <a:cubicBezTo>
                  <a:pt x="377191" y="1365205"/>
                  <a:pt x="375368" y="1365661"/>
                  <a:pt x="373546" y="1367483"/>
                </a:cubicBezTo>
                <a:cubicBezTo>
                  <a:pt x="375368" y="1372949"/>
                  <a:pt x="379012" y="1371127"/>
                  <a:pt x="382657" y="1369305"/>
                </a:cubicBezTo>
                <a:cubicBezTo>
                  <a:pt x="381746" y="1367483"/>
                  <a:pt x="380380" y="1366116"/>
                  <a:pt x="378785" y="1365661"/>
                </a:cubicBezTo>
                <a:close/>
                <a:moveTo>
                  <a:pt x="3092230" y="1363838"/>
                </a:moveTo>
                <a:cubicBezTo>
                  <a:pt x="3090407" y="1365661"/>
                  <a:pt x="3079474" y="1362016"/>
                  <a:pt x="3081297" y="1369305"/>
                </a:cubicBezTo>
                <a:cubicBezTo>
                  <a:pt x="3084941" y="1371127"/>
                  <a:pt x="3090407" y="1367483"/>
                  <a:pt x="3092230" y="1372949"/>
                </a:cubicBezTo>
                <a:cubicBezTo>
                  <a:pt x="3094052" y="1369305"/>
                  <a:pt x="3094052" y="1367483"/>
                  <a:pt x="3092230" y="1363838"/>
                </a:cubicBezTo>
                <a:close/>
                <a:moveTo>
                  <a:pt x="461010" y="1363838"/>
                </a:moveTo>
                <a:cubicBezTo>
                  <a:pt x="461010" y="1363838"/>
                  <a:pt x="459188" y="1365661"/>
                  <a:pt x="459188" y="1365661"/>
                </a:cubicBezTo>
                <a:cubicBezTo>
                  <a:pt x="461010" y="1367483"/>
                  <a:pt x="464655" y="1367483"/>
                  <a:pt x="466478" y="1365661"/>
                </a:cubicBezTo>
                <a:cubicBezTo>
                  <a:pt x="464655" y="1367483"/>
                  <a:pt x="462832" y="1363838"/>
                  <a:pt x="461010" y="1363838"/>
                </a:cubicBezTo>
                <a:close/>
                <a:moveTo>
                  <a:pt x="446433" y="1363838"/>
                </a:moveTo>
                <a:cubicBezTo>
                  <a:pt x="442789" y="1365661"/>
                  <a:pt x="440966" y="1365661"/>
                  <a:pt x="437322" y="1367483"/>
                </a:cubicBezTo>
                <a:cubicBezTo>
                  <a:pt x="442789" y="1374771"/>
                  <a:pt x="442789" y="1369305"/>
                  <a:pt x="446433" y="1363838"/>
                </a:cubicBezTo>
                <a:close/>
                <a:moveTo>
                  <a:pt x="1104899" y="1362897"/>
                </a:moveTo>
                <a:lnTo>
                  <a:pt x="1109039" y="1364367"/>
                </a:lnTo>
                <a:lnTo>
                  <a:pt x="1109704" y="1369305"/>
                </a:lnTo>
                <a:close/>
                <a:moveTo>
                  <a:pt x="1124282" y="1362016"/>
                </a:moveTo>
                <a:cubicBezTo>
                  <a:pt x="1122459" y="1367483"/>
                  <a:pt x="1124282" y="1372949"/>
                  <a:pt x="1124282" y="1378416"/>
                </a:cubicBezTo>
                <a:cubicBezTo>
                  <a:pt x="1127926" y="1378416"/>
                  <a:pt x="1126104" y="1383882"/>
                  <a:pt x="1131570" y="1383882"/>
                </a:cubicBezTo>
                <a:cubicBezTo>
                  <a:pt x="1129748" y="1376594"/>
                  <a:pt x="1126104" y="1369305"/>
                  <a:pt x="1124282" y="1362016"/>
                </a:cubicBezTo>
                <a:close/>
                <a:moveTo>
                  <a:pt x="1104238" y="1362016"/>
                </a:moveTo>
                <a:lnTo>
                  <a:pt x="1104899" y="1362897"/>
                </a:lnTo>
                <a:lnTo>
                  <a:pt x="1103102" y="1362259"/>
                </a:lnTo>
                <a:close/>
                <a:moveTo>
                  <a:pt x="1102416" y="1362016"/>
                </a:moveTo>
                <a:lnTo>
                  <a:pt x="1103102" y="1362259"/>
                </a:lnTo>
                <a:lnTo>
                  <a:pt x="1102669" y="1362352"/>
                </a:lnTo>
                <a:close/>
                <a:moveTo>
                  <a:pt x="898333" y="1362016"/>
                </a:moveTo>
                <a:cubicBezTo>
                  <a:pt x="896510" y="1365661"/>
                  <a:pt x="896510" y="1367483"/>
                  <a:pt x="898333" y="1369305"/>
                </a:cubicBezTo>
                <a:cubicBezTo>
                  <a:pt x="900154" y="1367483"/>
                  <a:pt x="900154" y="1367483"/>
                  <a:pt x="901976" y="1365661"/>
                </a:cubicBezTo>
                <a:cubicBezTo>
                  <a:pt x="900154" y="1363838"/>
                  <a:pt x="900154" y="1363838"/>
                  <a:pt x="898333" y="1362016"/>
                </a:cubicBezTo>
                <a:close/>
                <a:moveTo>
                  <a:pt x="639583" y="1362016"/>
                </a:moveTo>
                <a:cubicBezTo>
                  <a:pt x="639583" y="1363838"/>
                  <a:pt x="628650" y="1369305"/>
                  <a:pt x="639583" y="1365661"/>
                </a:cubicBezTo>
                <a:cubicBezTo>
                  <a:pt x="639583" y="1363838"/>
                  <a:pt x="637761" y="1363838"/>
                  <a:pt x="639583" y="1362016"/>
                </a:cubicBezTo>
                <a:close/>
                <a:moveTo>
                  <a:pt x="563052" y="1362016"/>
                </a:moveTo>
                <a:cubicBezTo>
                  <a:pt x="566697" y="1371127"/>
                  <a:pt x="575808" y="1374771"/>
                  <a:pt x="581274" y="1376594"/>
                </a:cubicBezTo>
                <a:cubicBezTo>
                  <a:pt x="577630" y="1371127"/>
                  <a:pt x="568519" y="1363838"/>
                  <a:pt x="563052" y="1362016"/>
                </a:cubicBezTo>
                <a:close/>
                <a:moveTo>
                  <a:pt x="557586" y="1362016"/>
                </a:moveTo>
                <a:cubicBezTo>
                  <a:pt x="555763" y="1360194"/>
                  <a:pt x="553941" y="1367483"/>
                  <a:pt x="555763" y="1365661"/>
                </a:cubicBezTo>
                <a:cubicBezTo>
                  <a:pt x="550297" y="1372949"/>
                  <a:pt x="548475" y="1378416"/>
                  <a:pt x="553941" y="1387527"/>
                </a:cubicBezTo>
                <a:cubicBezTo>
                  <a:pt x="553941" y="1385705"/>
                  <a:pt x="555763" y="1385705"/>
                  <a:pt x="557586" y="1383882"/>
                </a:cubicBezTo>
                <a:cubicBezTo>
                  <a:pt x="557586" y="1396638"/>
                  <a:pt x="566697" y="1394815"/>
                  <a:pt x="570341" y="1398460"/>
                </a:cubicBezTo>
                <a:cubicBezTo>
                  <a:pt x="568519" y="1396638"/>
                  <a:pt x="570341" y="1396638"/>
                  <a:pt x="572163" y="1394815"/>
                </a:cubicBezTo>
                <a:cubicBezTo>
                  <a:pt x="570341" y="1400282"/>
                  <a:pt x="573985" y="1400282"/>
                  <a:pt x="577630" y="1402104"/>
                </a:cubicBezTo>
                <a:cubicBezTo>
                  <a:pt x="573985" y="1403926"/>
                  <a:pt x="568519" y="1403926"/>
                  <a:pt x="564874" y="1402104"/>
                </a:cubicBezTo>
                <a:cubicBezTo>
                  <a:pt x="573985" y="1405748"/>
                  <a:pt x="579452" y="1407571"/>
                  <a:pt x="588562" y="1405748"/>
                </a:cubicBezTo>
                <a:cubicBezTo>
                  <a:pt x="586741" y="1405748"/>
                  <a:pt x="586741" y="1405748"/>
                  <a:pt x="586741" y="1402104"/>
                </a:cubicBezTo>
                <a:cubicBezTo>
                  <a:pt x="590385" y="1403926"/>
                  <a:pt x="594030" y="1405748"/>
                  <a:pt x="595852" y="1402104"/>
                </a:cubicBezTo>
                <a:cubicBezTo>
                  <a:pt x="594030" y="1398460"/>
                  <a:pt x="594030" y="1398460"/>
                  <a:pt x="592207" y="1400282"/>
                </a:cubicBezTo>
                <a:cubicBezTo>
                  <a:pt x="594030" y="1398460"/>
                  <a:pt x="594030" y="1396638"/>
                  <a:pt x="594030" y="1400282"/>
                </a:cubicBezTo>
                <a:cubicBezTo>
                  <a:pt x="595852" y="1400282"/>
                  <a:pt x="599496" y="1396638"/>
                  <a:pt x="599496" y="1400282"/>
                </a:cubicBezTo>
                <a:cubicBezTo>
                  <a:pt x="592207" y="1405748"/>
                  <a:pt x="603140" y="1403926"/>
                  <a:pt x="601318" y="1407571"/>
                </a:cubicBezTo>
                <a:cubicBezTo>
                  <a:pt x="604963" y="1405748"/>
                  <a:pt x="601318" y="1400282"/>
                  <a:pt x="599496" y="1400282"/>
                </a:cubicBezTo>
                <a:cubicBezTo>
                  <a:pt x="601318" y="1396638"/>
                  <a:pt x="601318" y="1394815"/>
                  <a:pt x="599496" y="1391171"/>
                </a:cubicBezTo>
                <a:cubicBezTo>
                  <a:pt x="586741" y="1382060"/>
                  <a:pt x="575808" y="1376594"/>
                  <a:pt x="561230" y="1378416"/>
                </a:cubicBezTo>
                <a:cubicBezTo>
                  <a:pt x="559408" y="1378416"/>
                  <a:pt x="559408" y="1378416"/>
                  <a:pt x="559408" y="1380238"/>
                </a:cubicBezTo>
                <a:cubicBezTo>
                  <a:pt x="557586" y="1372949"/>
                  <a:pt x="559408" y="1367483"/>
                  <a:pt x="557586" y="1362016"/>
                </a:cubicBezTo>
                <a:close/>
                <a:moveTo>
                  <a:pt x="914504" y="1361105"/>
                </a:moveTo>
                <a:cubicBezTo>
                  <a:pt x="910632" y="1360650"/>
                  <a:pt x="907444" y="1362017"/>
                  <a:pt x="907444" y="1367483"/>
                </a:cubicBezTo>
                <a:cubicBezTo>
                  <a:pt x="905621" y="1369305"/>
                  <a:pt x="911087" y="1371127"/>
                  <a:pt x="914732" y="1374771"/>
                </a:cubicBezTo>
                <a:cubicBezTo>
                  <a:pt x="918376" y="1371127"/>
                  <a:pt x="922020" y="1369305"/>
                  <a:pt x="922020" y="1365661"/>
                </a:cubicBezTo>
                <a:cubicBezTo>
                  <a:pt x="922020" y="1369305"/>
                  <a:pt x="923843" y="1365661"/>
                  <a:pt x="925666" y="1365661"/>
                </a:cubicBezTo>
                <a:cubicBezTo>
                  <a:pt x="922931" y="1363839"/>
                  <a:pt x="918376" y="1361561"/>
                  <a:pt x="914504" y="1361105"/>
                </a:cubicBezTo>
                <a:close/>
                <a:moveTo>
                  <a:pt x="3287202" y="1360194"/>
                </a:moveTo>
                <a:cubicBezTo>
                  <a:pt x="3285380" y="1362016"/>
                  <a:pt x="3283558" y="1363838"/>
                  <a:pt x="3283558" y="1362016"/>
                </a:cubicBezTo>
                <a:cubicBezTo>
                  <a:pt x="3278091" y="1365661"/>
                  <a:pt x="3285380" y="1367483"/>
                  <a:pt x="3290847" y="1365661"/>
                </a:cubicBezTo>
                <a:cubicBezTo>
                  <a:pt x="3290847" y="1362016"/>
                  <a:pt x="3287202" y="1363838"/>
                  <a:pt x="3287202" y="1360194"/>
                </a:cubicBezTo>
                <a:close/>
                <a:moveTo>
                  <a:pt x="3203382" y="1360194"/>
                </a:moveTo>
                <a:cubicBezTo>
                  <a:pt x="3201560" y="1367483"/>
                  <a:pt x="3205204" y="1369305"/>
                  <a:pt x="3208849" y="1371127"/>
                </a:cubicBezTo>
                <a:cubicBezTo>
                  <a:pt x="3208849" y="1367483"/>
                  <a:pt x="3208849" y="1363838"/>
                  <a:pt x="3208849" y="1360194"/>
                </a:cubicBezTo>
                <a:close/>
                <a:moveTo>
                  <a:pt x="2664019" y="1360194"/>
                </a:moveTo>
                <a:lnTo>
                  <a:pt x="2654908" y="1371127"/>
                </a:lnTo>
                <a:lnTo>
                  <a:pt x="2667663" y="1367483"/>
                </a:lnTo>
                <a:cubicBezTo>
                  <a:pt x="2665841" y="1365661"/>
                  <a:pt x="2665841" y="1362016"/>
                  <a:pt x="2664019" y="1360194"/>
                </a:cubicBezTo>
                <a:close/>
                <a:moveTo>
                  <a:pt x="1095127" y="1360194"/>
                </a:moveTo>
                <a:cubicBezTo>
                  <a:pt x="1093305" y="1358372"/>
                  <a:pt x="1093305" y="1369305"/>
                  <a:pt x="1096949" y="1374771"/>
                </a:cubicBezTo>
                <a:cubicBezTo>
                  <a:pt x="1096949" y="1378416"/>
                  <a:pt x="1096949" y="1383882"/>
                  <a:pt x="1096949" y="1389349"/>
                </a:cubicBezTo>
                <a:cubicBezTo>
                  <a:pt x="1104238" y="1391171"/>
                  <a:pt x="1111526" y="1394815"/>
                  <a:pt x="1118815" y="1394815"/>
                </a:cubicBezTo>
                <a:cubicBezTo>
                  <a:pt x="1116993" y="1385705"/>
                  <a:pt x="1106060" y="1376594"/>
                  <a:pt x="1100593" y="1367483"/>
                </a:cubicBezTo>
                <a:cubicBezTo>
                  <a:pt x="1100593" y="1365661"/>
                  <a:pt x="1098771" y="1367483"/>
                  <a:pt x="1098771" y="1367483"/>
                </a:cubicBezTo>
                <a:cubicBezTo>
                  <a:pt x="1098771" y="1365661"/>
                  <a:pt x="1096949" y="1362016"/>
                  <a:pt x="1095127" y="1360194"/>
                </a:cubicBezTo>
                <a:close/>
                <a:moveTo>
                  <a:pt x="484700" y="1360194"/>
                </a:moveTo>
                <a:cubicBezTo>
                  <a:pt x="482876" y="1360194"/>
                  <a:pt x="482876" y="1363838"/>
                  <a:pt x="479232" y="1365661"/>
                </a:cubicBezTo>
                <a:cubicBezTo>
                  <a:pt x="481054" y="1367483"/>
                  <a:pt x="482876" y="1367483"/>
                  <a:pt x="482876" y="1369305"/>
                </a:cubicBezTo>
                <a:cubicBezTo>
                  <a:pt x="484700" y="1365661"/>
                  <a:pt x="486521" y="1363838"/>
                  <a:pt x="484700" y="1360194"/>
                </a:cubicBezTo>
                <a:close/>
                <a:moveTo>
                  <a:pt x="3225248" y="1358372"/>
                </a:moveTo>
                <a:cubicBezTo>
                  <a:pt x="3223426" y="1358372"/>
                  <a:pt x="3221604" y="1360194"/>
                  <a:pt x="3219782" y="1360194"/>
                </a:cubicBezTo>
                <a:lnTo>
                  <a:pt x="3219782" y="1363838"/>
                </a:lnTo>
                <a:lnTo>
                  <a:pt x="3216137" y="1363838"/>
                </a:lnTo>
                <a:cubicBezTo>
                  <a:pt x="3216137" y="1367483"/>
                  <a:pt x="3216137" y="1369305"/>
                  <a:pt x="3216137" y="1372949"/>
                </a:cubicBezTo>
                <a:cubicBezTo>
                  <a:pt x="3221604" y="1374771"/>
                  <a:pt x="3225248" y="1372949"/>
                  <a:pt x="3228893" y="1374771"/>
                </a:cubicBezTo>
                <a:cubicBezTo>
                  <a:pt x="3232537" y="1372949"/>
                  <a:pt x="3227071" y="1371127"/>
                  <a:pt x="3228893" y="1367483"/>
                </a:cubicBezTo>
                <a:cubicBezTo>
                  <a:pt x="3225248" y="1363838"/>
                  <a:pt x="3225248" y="1367483"/>
                  <a:pt x="3223426" y="1365661"/>
                </a:cubicBezTo>
                <a:cubicBezTo>
                  <a:pt x="3225248" y="1363838"/>
                  <a:pt x="3225248" y="1362016"/>
                  <a:pt x="3225248" y="1358372"/>
                </a:cubicBezTo>
                <a:close/>
                <a:moveTo>
                  <a:pt x="3168761" y="1358372"/>
                </a:moveTo>
                <a:cubicBezTo>
                  <a:pt x="3163294" y="1363838"/>
                  <a:pt x="3168761" y="1378416"/>
                  <a:pt x="3172405" y="1387527"/>
                </a:cubicBezTo>
                <a:cubicBezTo>
                  <a:pt x="3177872" y="1378416"/>
                  <a:pt x="3170583" y="1367483"/>
                  <a:pt x="3168761" y="1358372"/>
                </a:cubicBezTo>
                <a:close/>
                <a:moveTo>
                  <a:pt x="767136" y="1358372"/>
                </a:moveTo>
                <a:cubicBezTo>
                  <a:pt x="765313" y="1360194"/>
                  <a:pt x="763491" y="1360194"/>
                  <a:pt x="761670" y="1362016"/>
                </a:cubicBezTo>
                <a:cubicBezTo>
                  <a:pt x="761670" y="1365661"/>
                  <a:pt x="765313" y="1367483"/>
                  <a:pt x="768959" y="1367483"/>
                </a:cubicBezTo>
                <a:cubicBezTo>
                  <a:pt x="770781" y="1363838"/>
                  <a:pt x="768959" y="1362016"/>
                  <a:pt x="767136" y="1358372"/>
                </a:cubicBezTo>
                <a:close/>
                <a:moveTo>
                  <a:pt x="655983" y="1358372"/>
                </a:moveTo>
                <a:cubicBezTo>
                  <a:pt x="654161" y="1356550"/>
                  <a:pt x="650516" y="1363838"/>
                  <a:pt x="652339" y="1365661"/>
                </a:cubicBezTo>
                <a:cubicBezTo>
                  <a:pt x="655983" y="1365661"/>
                  <a:pt x="654161" y="1360194"/>
                  <a:pt x="655983" y="1358372"/>
                </a:cubicBezTo>
                <a:close/>
                <a:moveTo>
                  <a:pt x="499276" y="1358372"/>
                </a:moveTo>
                <a:cubicBezTo>
                  <a:pt x="497454" y="1363838"/>
                  <a:pt x="499276" y="1367483"/>
                  <a:pt x="495632" y="1369305"/>
                </a:cubicBezTo>
                <a:cubicBezTo>
                  <a:pt x="501098" y="1369305"/>
                  <a:pt x="501098" y="1362016"/>
                  <a:pt x="499276" y="1358372"/>
                </a:cubicBezTo>
                <a:close/>
                <a:moveTo>
                  <a:pt x="473766" y="1358372"/>
                </a:moveTo>
                <a:cubicBezTo>
                  <a:pt x="471943" y="1358372"/>
                  <a:pt x="471943" y="1360194"/>
                  <a:pt x="470121" y="1360194"/>
                </a:cubicBezTo>
                <a:cubicBezTo>
                  <a:pt x="473766" y="1360194"/>
                  <a:pt x="471943" y="1362016"/>
                  <a:pt x="475589" y="1363838"/>
                </a:cubicBezTo>
                <a:cubicBezTo>
                  <a:pt x="477410" y="1362016"/>
                  <a:pt x="479232" y="1362016"/>
                  <a:pt x="482876" y="1358372"/>
                </a:cubicBezTo>
                <a:cubicBezTo>
                  <a:pt x="479232" y="1358372"/>
                  <a:pt x="477410" y="1360194"/>
                  <a:pt x="473766" y="1362016"/>
                </a:cubicBezTo>
                <a:cubicBezTo>
                  <a:pt x="473766" y="1360194"/>
                  <a:pt x="475589" y="1360194"/>
                  <a:pt x="473766" y="1358372"/>
                </a:cubicBezTo>
                <a:close/>
                <a:moveTo>
                  <a:pt x="3393572" y="1357461"/>
                </a:moveTo>
                <a:cubicBezTo>
                  <a:pt x="3391978" y="1356550"/>
                  <a:pt x="3389244" y="1356550"/>
                  <a:pt x="3387422" y="1358372"/>
                </a:cubicBezTo>
                <a:cubicBezTo>
                  <a:pt x="3387422" y="1362016"/>
                  <a:pt x="3392888" y="1358372"/>
                  <a:pt x="3392888" y="1362016"/>
                </a:cubicBezTo>
                <a:cubicBezTo>
                  <a:pt x="3395622" y="1360194"/>
                  <a:pt x="3395166" y="1358372"/>
                  <a:pt x="3393572" y="1357461"/>
                </a:cubicBezTo>
                <a:close/>
                <a:moveTo>
                  <a:pt x="3197916" y="1356550"/>
                </a:moveTo>
                <a:cubicBezTo>
                  <a:pt x="3196093" y="1356550"/>
                  <a:pt x="3196093" y="1358372"/>
                  <a:pt x="3192449" y="1358372"/>
                </a:cubicBezTo>
                <a:lnTo>
                  <a:pt x="3194636" y="1359829"/>
                </a:lnTo>
                <a:lnTo>
                  <a:pt x="3194271" y="1360194"/>
                </a:lnTo>
                <a:lnTo>
                  <a:pt x="3195183" y="1360194"/>
                </a:lnTo>
                <a:lnTo>
                  <a:pt x="3197916" y="1362016"/>
                </a:lnTo>
                <a:cubicBezTo>
                  <a:pt x="3197916" y="1362016"/>
                  <a:pt x="3197916" y="1360194"/>
                  <a:pt x="3197916" y="1360194"/>
                </a:cubicBezTo>
                <a:lnTo>
                  <a:pt x="3195183" y="1360194"/>
                </a:lnTo>
                <a:lnTo>
                  <a:pt x="3194636" y="1359829"/>
                </a:lnTo>
                <a:close/>
                <a:moveTo>
                  <a:pt x="2525534" y="1356550"/>
                </a:moveTo>
                <a:lnTo>
                  <a:pt x="2532822" y="1363838"/>
                </a:lnTo>
                <a:lnTo>
                  <a:pt x="2532822" y="1360194"/>
                </a:lnTo>
                <a:cubicBezTo>
                  <a:pt x="2531000" y="1358372"/>
                  <a:pt x="2527356" y="1358372"/>
                  <a:pt x="2525534" y="1356550"/>
                </a:cubicBezTo>
                <a:close/>
                <a:moveTo>
                  <a:pt x="792646" y="1356550"/>
                </a:moveTo>
                <a:cubicBezTo>
                  <a:pt x="789003" y="1360194"/>
                  <a:pt x="783535" y="1363838"/>
                  <a:pt x="790824" y="1369305"/>
                </a:cubicBezTo>
                <a:cubicBezTo>
                  <a:pt x="792646" y="1363838"/>
                  <a:pt x="794468" y="1360194"/>
                  <a:pt x="792646" y="1356550"/>
                </a:cubicBezTo>
                <a:close/>
                <a:moveTo>
                  <a:pt x="716115" y="1356550"/>
                </a:moveTo>
                <a:cubicBezTo>
                  <a:pt x="710648" y="1358372"/>
                  <a:pt x="703359" y="1358372"/>
                  <a:pt x="696071" y="1363838"/>
                </a:cubicBezTo>
                <a:cubicBezTo>
                  <a:pt x="696983" y="1368393"/>
                  <a:pt x="699715" y="1371127"/>
                  <a:pt x="702676" y="1373177"/>
                </a:cubicBezTo>
                <a:lnTo>
                  <a:pt x="708259" y="1376846"/>
                </a:lnTo>
                <a:lnTo>
                  <a:pt x="692426" y="1383882"/>
                </a:lnTo>
                <a:cubicBezTo>
                  <a:pt x="692426" y="1383882"/>
                  <a:pt x="694249" y="1387527"/>
                  <a:pt x="696071" y="1385705"/>
                </a:cubicBezTo>
                <a:cubicBezTo>
                  <a:pt x="701537" y="1394815"/>
                  <a:pt x="712470" y="1396638"/>
                  <a:pt x="719759" y="1398460"/>
                </a:cubicBezTo>
                <a:cubicBezTo>
                  <a:pt x="719759" y="1391171"/>
                  <a:pt x="721581" y="1387527"/>
                  <a:pt x="721581" y="1382060"/>
                </a:cubicBezTo>
                <a:cubicBezTo>
                  <a:pt x="717937" y="1374771"/>
                  <a:pt x="712470" y="1383882"/>
                  <a:pt x="707004" y="1383882"/>
                </a:cubicBezTo>
                <a:lnTo>
                  <a:pt x="708692" y="1377130"/>
                </a:lnTo>
                <a:lnTo>
                  <a:pt x="710648" y="1378416"/>
                </a:lnTo>
                <a:cubicBezTo>
                  <a:pt x="719759" y="1371127"/>
                  <a:pt x="719759" y="1363838"/>
                  <a:pt x="716115" y="1356550"/>
                </a:cubicBezTo>
                <a:close/>
                <a:moveTo>
                  <a:pt x="634117" y="1356550"/>
                </a:moveTo>
                <a:cubicBezTo>
                  <a:pt x="630472" y="1358372"/>
                  <a:pt x="628650" y="1358372"/>
                  <a:pt x="625006" y="1362016"/>
                </a:cubicBezTo>
                <a:cubicBezTo>
                  <a:pt x="645050" y="1371127"/>
                  <a:pt x="625006" y="1354728"/>
                  <a:pt x="637761" y="1360194"/>
                </a:cubicBezTo>
                <a:cubicBezTo>
                  <a:pt x="635939" y="1360194"/>
                  <a:pt x="634117" y="1358372"/>
                  <a:pt x="634117" y="1356550"/>
                </a:cubicBezTo>
                <a:close/>
                <a:moveTo>
                  <a:pt x="541186" y="1356550"/>
                </a:moveTo>
                <a:cubicBezTo>
                  <a:pt x="537542" y="1360194"/>
                  <a:pt x="533897" y="1365661"/>
                  <a:pt x="539364" y="1367483"/>
                </a:cubicBezTo>
                <a:cubicBezTo>
                  <a:pt x="539364" y="1365661"/>
                  <a:pt x="537542" y="1363838"/>
                  <a:pt x="535719" y="1365661"/>
                </a:cubicBezTo>
                <a:lnTo>
                  <a:pt x="535315" y="1368090"/>
                </a:lnTo>
                <a:lnTo>
                  <a:pt x="532075" y="1372949"/>
                </a:lnTo>
                <a:cubicBezTo>
                  <a:pt x="533897" y="1372949"/>
                  <a:pt x="534352" y="1372038"/>
                  <a:pt x="534580" y="1370899"/>
                </a:cubicBezTo>
                <a:lnTo>
                  <a:pt x="535112" y="1369305"/>
                </a:lnTo>
                <a:lnTo>
                  <a:pt x="533897" y="1376594"/>
                </a:lnTo>
                <a:cubicBezTo>
                  <a:pt x="537542" y="1376594"/>
                  <a:pt x="541186" y="1382060"/>
                  <a:pt x="544830" y="1378416"/>
                </a:cubicBezTo>
                <a:cubicBezTo>
                  <a:pt x="543008" y="1378416"/>
                  <a:pt x="543008" y="1376594"/>
                  <a:pt x="541186" y="1374771"/>
                </a:cubicBezTo>
                <a:cubicBezTo>
                  <a:pt x="543008" y="1374771"/>
                  <a:pt x="543008" y="1374771"/>
                  <a:pt x="546653" y="1374771"/>
                </a:cubicBezTo>
                <a:cubicBezTo>
                  <a:pt x="546653" y="1371127"/>
                  <a:pt x="546653" y="1369305"/>
                  <a:pt x="543008" y="1371127"/>
                </a:cubicBezTo>
                <a:cubicBezTo>
                  <a:pt x="546653" y="1372949"/>
                  <a:pt x="546653" y="1371127"/>
                  <a:pt x="550297" y="1371127"/>
                </a:cubicBezTo>
                <a:cubicBezTo>
                  <a:pt x="548475" y="1363838"/>
                  <a:pt x="544830" y="1362016"/>
                  <a:pt x="541186" y="1356550"/>
                </a:cubicBezTo>
                <a:close/>
                <a:moveTo>
                  <a:pt x="448256" y="1356550"/>
                </a:moveTo>
                <a:cubicBezTo>
                  <a:pt x="428211" y="1358372"/>
                  <a:pt x="408167" y="1360194"/>
                  <a:pt x="389946" y="1367483"/>
                </a:cubicBezTo>
                <a:cubicBezTo>
                  <a:pt x="397234" y="1376594"/>
                  <a:pt x="406345" y="1391171"/>
                  <a:pt x="420923" y="1383882"/>
                </a:cubicBezTo>
                <a:cubicBezTo>
                  <a:pt x="420923" y="1382060"/>
                  <a:pt x="419100" y="1382060"/>
                  <a:pt x="415456" y="1382060"/>
                </a:cubicBezTo>
                <a:cubicBezTo>
                  <a:pt x="424567" y="1383882"/>
                  <a:pt x="431856" y="1380238"/>
                  <a:pt x="439145" y="1376594"/>
                </a:cubicBezTo>
                <a:cubicBezTo>
                  <a:pt x="428211" y="1385705"/>
                  <a:pt x="413634" y="1391171"/>
                  <a:pt x="400879" y="1387527"/>
                </a:cubicBezTo>
                <a:cubicBezTo>
                  <a:pt x="417278" y="1396638"/>
                  <a:pt x="422745" y="1440370"/>
                  <a:pt x="444611" y="1420326"/>
                </a:cubicBezTo>
                <a:cubicBezTo>
                  <a:pt x="442789" y="1418504"/>
                  <a:pt x="437322" y="1420326"/>
                  <a:pt x="437322" y="1414859"/>
                </a:cubicBezTo>
                <a:cubicBezTo>
                  <a:pt x="440966" y="1417592"/>
                  <a:pt x="444155" y="1417592"/>
                  <a:pt x="447344" y="1417137"/>
                </a:cubicBezTo>
                <a:lnTo>
                  <a:pt x="455696" y="1416757"/>
                </a:lnTo>
                <a:lnTo>
                  <a:pt x="457367" y="1416681"/>
                </a:lnTo>
                <a:lnTo>
                  <a:pt x="453621" y="1415076"/>
                </a:lnTo>
                <a:lnTo>
                  <a:pt x="453591" y="1414586"/>
                </a:lnTo>
                <a:lnTo>
                  <a:pt x="458960" y="1413720"/>
                </a:lnTo>
                <a:cubicBezTo>
                  <a:pt x="461466" y="1413492"/>
                  <a:pt x="463743" y="1413037"/>
                  <a:pt x="464655" y="1411215"/>
                </a:cubicBezTo>
                <a:cubicBezTo>
                  <a:pt x="468299" y="1405748"/>
                  <a:pt x="455544" y="1405748"/>
                  <a:pt x="451899" y="1398460"/>
                </a:cubicBezTo>
                <a:cubicBezTo>
                  <a:pt x="455544" y="1400282"/>
                  <a:pt x="461010" y="1403926"/>
                  <a:pt x="464655" y="1405748"/>
                </a:cubicBezTo>
                <a:cubicBezTo>
                  <a:pt x="464655" y="1403926"/>
                  <a:pt x="464655" y="1402104"/>
                  <a:pt x="462832" y="1400282"/>
                </a:cubicBezTo>
                <a:cubicBezTo>
                  <a:pt x="470121" y="1400282"/>
                  <a:pt x="468299" y="1405748"/>
                  <a:pt x="470121" y="1409393"/>
                </a:cubicBezTo>
                <a:cubicBezTo>
                  <a:pt x="470121" y="1407571"/>
                  <a:pt x="471943" y="1407571"/>
                  <a:pt x="473766" y="1405748"/>
                </a:cubicBezTo>
                <a:cubicBezTo>
                  <a:pt x="473766" y="1402104"/>
                  <a:pt x="471943" y="1398460"/>
                  <a:pt x="470121" y="1394815"/>
                </a:cubicBezTo>
                <a:cubicBezTo>
                  <a:pt x="471943" y="1398460"/>
                  <a:pt x="477410" y="1402104"/>
                  <a:pt x="477410" y="1407571"/>
                </a:cubicBezTo>
                <a:cubicBezTo>
                  <a:pt x="486521" y="1405748"/>
                  <a:pt x="484700" y="1396638"/>
                  <a:pt x="486521" y="1392993"/>
                </a:cubicBezTo>
                <a:cubicBezTo>
                  <a:pt x="481054" y="1394815"/>
                  <a:pt x="481054" y="1392993"/>
                  <a:pt x="479232" y="1389349"/>
                </a:cubicBezTo>
                <a:cubicBezTo>
                  <a:pt x="481054" y="1389349"/>
                  <a:pt x="481054" y="1389349"/>
                  <a:pt x="484700" y="1389349"/>
                </a:cubicBezTo>
                <a:cubicBezTo>
                  <a:pt x="482876" y="1383882"/>
                  <a:pt x="482876" y="1383882"/>
                  <a:pt x="486521" y="1380238"/>
                </a:cubicBezTo>
                <a:cubicBezTo>
                  <a:pt x="484700" y="1380238"/>
                  <a:pt x="481054" y="1376594"/>
                  <a:pt x="477410" y="1378416"/>
                </a:cubicBezTo>
                <a:cubicBezTo>
                  <a:pt x="479232" y="1378416"/>
                  <a:pt x="479232" y="1380238"/>
                  <a:pt x="481054" y="1382060"/>
                </a:cubicBezTo>
                <a:cubicBezTo>
                  <a:pt x="459188" y="1369305"/>
                  <a:pt x="450077" y="1394815"/>
                  <a:pt x="433678" y="1405748"/>
                </a:cubicBezTo>
                <a:lnTo>
                  <a:pt x="436641" y="1409502"/>
                </a:lnTo>
                <a:lnTo>
                  <a:pt x="435342" y="1410555"/>
                </a:lnTo>
                <a:lnTo>
                  <a:pt x="430034" y="1414859"/>
                </a:lnTo>
                <a:cubicBezTo>
                  <a:pt x="430034" y="1413037"/>
                  <a:pt x="428211" y="1409393"/>
                  <a:pt x="433678" y="1407571"/>
                </a:cubicBezTo>
                <a:cubicBezTo>
                  <a:pt x="428211" y="1403926"/>
                  <a:pt x="424567" y="1402104"/>
                  <a:pt x="419100" y="1398460"/>
                </a:cubicBezTo>
                <a:cubicBezTo>
                  <a:pt x="424567" y="1398460"/>
                  <a:pt x="426389" y="1407571"/>
                  <a:pt x="431856" y="1402104"/>
                </a:cubicBezTo>
                <a:cubicBezTo>
                  <a:pt x="428211" y="1400282"/>
                  <a:pt x="422745" y="1398460"/>
                  <a:pt x="420923" y="1394815"/>
                </a:cubicBezTo>
                <a:cubicBezTo>
                  <a:pt x="422745" y="1392993"/>
                  <a:pt x="426389" y="1394815"/>
                  <a:pt x="428211" y="1398460"/>
                </a:cubicBezTo>
                <a:cubicBezTo>
                  <a:pt x="428211" y="1394815"/>
                  <a:pt x="430034" y="1394815"/>
                  <a:pt x="431856" y="1392993"/>
                </a:cubicBezTo>
                <a:cubicBezTo>
                  <a:pt x="430034" y="1394815"/>
                  <a:pt x="431856" y="1396638"/>
                  <a:pt x="431856" y="1396638"/>
                </a:cubicBezTo>
                <a:cubicBezTo>
                  <a:pt x="442789" y="1387527"/>
                  <a:pt x="455544" y="1376594"/>
                  <a:pt x="459188" y="1363838"/>
                </a:cubicBezTo>
                <a:cubicBezTo>
                  <a:pt x="459188" y="1362016"/>
                  <a:pt x="451899" y="1360194"/>
                  <a:pt x="451899" y="1360194"/>
                </a:cubicBezTo>
                <a:cubicBezTo>
                  <a:pt x="450077" y="1363838"/>
                  <a:pt x="446433" y="1367483"/>
                  <a:pt x="442789" y="1371127"/>
                </a:cubicBezTo>
                <a:cubicBezTo>
                  <a:pt x="435500" y="1362016"/>
                  <a:pt x="428211" y="1369305"/>
                  <a:pt x="419100" y="1372949"/>
                </a:cubicBezTo>
                <a:cubicBezTo>
                  <a:pt x="426389" y="1362016"/>
                  <a:pt x="440966" y="1365661"/>
                  <a:pt x="448256" y="1356550"/>
                </a:cubicBezTo>
                <a:close/>
                <a:moveTo>
                  <a:pt x="815309" y="1356151"/>
                </a:moveTo>
                <a:lnTo>
                  <a:pt x="818301" y="1356407"/>
                </a:lnTo>
                <a:lnTo>
                  <a:pt x="816334" y="1358372"/>
                </a:lnTo>
                <a:lnTo>
                  <a:pt x="815328" y="1356359"/>
                </a:lnTo>
                <a:close/>
                <a:moveTo>
                  <a:pt x="763491" y="1354728"/>
                </a:moveTo>
                <a:cubicBezTo>
                  <a:pt x="763491" y="1354728"/>
                  <a:pt x="756203" y="1363838"/>
                  <a:pt x="765313" y="1356550"/>
                </a:cubicBezTo>
                <a:cubicBezTo>
                  <a:pt x="765313" y="1356550"/>
                  <a:pt x="763491" y="1354728"/>
                  <a:pt x="763491" y="1354728"/>
                </a:cubicBezTo>
                <a:close/>
                <a:moveTo>
                  <a:pt x="727048" y="1354728"/>
                </a:moveTo>
                <a:cubicBezTo>
                  <a:pt x="727048" y="1362016"/>
                  <a:pt x="730692" y="1367483"/>
                  <a:pt x="737981" y="1365661"/>
                </a:cubicBezTo>
                <a:cubicBezTo>
                  <a:pt x="734336" y="1363838"/>
                  <a:pt x="730692" y="1356550"/>
                  <a:pt x="727048" y="1354728"/>
                </a:cubicBezTo>
                <a:close/>
                <a:moveTo>
                  <a:pt x="594030" y="1354728"/>
                </a:moveTo>
                <a:cubicBezTo>
                  <a:pt x="592207" y="1356550"/>
                  <a:pt x="597673" y="1360194"/>
                  <a:pt x="597673" y="1358372"/>
                </a:cubicBezTo>
                <a:cubicBezTo>
                  <a:pt x="597673" y="1358372"/>
                  <a:pt x="595852" y="1354728"/>
                  <a:pt x="594030" y="1354728"/>
                </a:cubicBezTo>
                <a:close/>
                <a:moveTo>
                  <a:pt x="557586" y="1354728"/>
                </a:moveTo>
                <a:cubicBezTo>
                  <a:pt x="557586" y="1356550"/>
                  <a:pt x="561230" y="1363838"/>
                  <a:pt x="563052" y="1360194"/>
                </a:cubicBezTo>
                <a:cubicBezTo>
                  <a:pt x="561230" y="1358372"/>
                  <a:pt x="559408" y="1356550"/>
                  <a:pt x="557586" y="1354728"/>
                </a:cubicBezTo>
                <a:close/>
                <a:moveTo>
                  <a:pt x="3411110" y="1352905"/>
                </a:moveTo>
                <a:cubicBezTo>
                  <a:pt x="3409288" y="1356550"/>
                  <a:pt x="3409288" y="1358372"/>
                  <a:pt x="3411110" y="1362016"/>
                </a:cubicBezTo>
                <a:cubicBezTo>
                  <a:pt x="3412932" y="1360194"/>
                  <a:pt x="3412932" y="1356550"/>
                  <a:pt x="3414754" y="1352905"/>
                </a:cubicBezTo>
                <a:cubicBezTo>
                  <a:pt x="3412932" y="1352905"/>
                  <a:pt x="3412932" y="1352905"/>
                  <a:pt x="3411110" y="1352905"/>
                </a:cubicBezTo>
                <a:close/>
                <a:moveTo>
                  <a:pt x="3403821" y="1352905"/>
                </a:moveTo>
                <a:cubicBezTo>
                  <a:pt x="3403821" y="1352905"/>
                  <a:pt x="3401999" y="1354728"/>
                  <a:pt x="3400177" y="1354728"/>
                </a:cubicBezTo>
                <a:cubicBezTo>
                  <a:pt x="3401999" y="1356550"/>
                  <a:pt x="3400177" y="1365661"/>
                  <a:pt x="3407466" y="1363838"/>
                </a:cubicBezTo>
                <a:cubicBezTo>
                  <a:pt x="3407466" y="1358372"/>
                  <a:pt x="3405643" y="1354728"/>
                  <a:pt x="3403821" y="1352905"/>
                </a:cubicBezTo>
                <a:close/>
                <a:moveTo>
                  <a:pt x="3360089" y="1352905"/>
                </a:moveTo>
                <a:cubicBezTo>
                  <a:pt x="3360089" y="1365661"/>
                  <a:pt x="3356445" y="1372949"/>
                  <a:pt x="3343690" y="1376594"/>
                </a:cubicBezTo>
                <a:cubicBezTo>
                  <a:pt x="3347334" y="1371127"/>
                  <a:pt x="3358267" y="1367483"/>
                  <a:pt x="3349156" y="1360194"/>
                </a:cubicBezTo>
                <a:cubicBezTo>
                  <a:pt x="3345512" y="1358372"/>
                  <a:pt x="3345512" y="1371127"/>
                  <a:pt x="3338223" y="1365661"/>
                </a:cubicBezTo>
                <a:cubicBezTo>
                  <a:pt x="3338223" y="1363838"/>
                  <a:pt x="3338223" y="1362016"/>
                  <a:pt x="3338223" y="1360194"/>
                </a:cubicBezTo>
                <a:cubicBezTo>
                  <a:pt x="3334579" y="1365661"/>
                  <a:pt x="3334579" y="1371127"/>
                  <a:pt x="3327290" y="1372949"/>
                </a:cubicBezTo>
                <a:cubicBezTo>
                  <a:pt x="3327290" y="1369305"/>
                  <a:pt x="3327290" y="1365661"/>
                  <a:pt x="3329112" y="1362016"/>
                </a:cubicBezTo>
                <a:cubicBezTo>
                  <a:pt x="3327290" y="1363838"/>
                  <a:pt x="3327290" y="1363838"/>
                  <a:pt x="3325468" y="1365661"/>
                </a:cubicBezTo>
                <a:cubicBezTo>
                  <a:pt x="3320001" y="1356550"/>
                  <a:pt x="3330934" y="1365661"/>
                  <a:pt x="3327290" y="1358372"/>
                </a:cubicBezTo>
                <a:cubicBezTo>
                  <a:pt x="3325468" y="1355639"/>
                  <a:pt x="3321368" y="1354728"/>
                  <a:pt x="3317724" y="1355411"/>
                </a:cubicBezTo>
                <a:lnTo>
                  <a:pt x="3312655" y="1360310"/>
                </a:lnTo>
                <a:lnTo>
                  <a:pt x="3312713" y="1360194"/>
                </a:lnTo>
                <a:cubicBezTo>
                  <a:pt x="3312713" y="1362016"/>
                  <a:pt x="3310890" y="1362016"/>
                  <a:pt x="3310890" y="1362016"/>
                </a:cubicBezTo>
                <a:lnTo>
                  <a:pt x="3312655" y="1360310"/>
                </a:lnTo>
                <a:lnTo>
                  <a:pt x="3310890" y="1363838"/>
                </a:lnTo>
                <a:cubicBezTo>
                  <a:pt x="3309068" y="1363838"/>
                  <a:pt x="3309068" y="1360194"/>
                  <a:pt x="3307246" y="1362016"/>
                </a:cubicBezTo>
                <a:cubicBezTo>
                  <a:pt x="3303602" y="1367483"/>
                  <a:pt x="3310890" y="1378416"/>
                  <a:pt x="3305424" y="1380238"/>
                </a:cubicBezTo>
                <a:cubicBezTo>
                  <a:pt x="3299957" y="1383882"/>
                  <a:pt x="3296313" y="1374771"/>
                  <a:pt x="3289024" y="1376594"/>
                </a:cubicBezTo>
                <a:cubicBezTo>
                  <a:pt x="3289024" y="1380238"/>
                  <a:pt x="3285380" y="1383882"/>
                  <a:pt x="3287202" y="1387527"/>
                </a:cubicBezTo>
                <a:cubicBezTo>
                  <a:pt x="3285380" y="1385705"/>
                  <a:pt x="3285380" y="1380238"/>
                  <a:pt x="3279913" y="1383882"/>
                </a:cubicBezTo>
                <a:cubicBezTo>
                  <a:pt x="3279913" y="1380238"/>
                  <a:pt x="3276269" y="1376594"/>
                  <a:pt x="3278091" y="1374771"/>
                </a:cubicBezTo>
                <a:cubicBezTo>
                  <a:pt x="3274447" y="1376594"/>
                  <a:pt x="3267158" y="1378416"/>
                  <a:pt x="3267158" y="1382060"/>
                </a:cubicBezTo>
                <a:cubicBezTo>
                  <a:pt x="3267158" y="1392993"/>
                  <a:pt x="3268980" y="1413037"/>
                  <a:pt x="3281736" y="1414859"/>
                </a:cubicBezTo>
                <a:cubicBezTo>
                  <a:pt x="3283558" y="1420326"/>
                  <a:pt x="3279913" y="1425792"/>
                  <a:pt x="3283558" y="1433081"/>
                </a:cubicBezTo>
                <a:cubicBezTo>
                  <a:pt x="3279913" y="1433081"/>
                  <a:pt x="3278091" y="1431259"/>
                  <a:pt x="3278091" y="1427615"/>
                </a:cubicBezTo>
                <a:cubicBezTo>
                  <a:pt x="3272625" y="1431259"/>
                  <a:pt x="3281736" y="1436725"/>
                  <a:pt x="3281736" y="1438548"/>
                </a:cubicBezTo>
                <a:cubicBezTo>
                  <a:pt x="3283558" y="1442192"/>
                  <a:pt x="3278091" y="1438548"/>
                  <a:pt x="3276269" y="1440370"/>
                </a:cubicBezTo>
                <a:cubicBezTo>
                  <a:pt x="3274447" y="1447658"/>
                  <a:pt x="3281736" y="1451303"/>
                  <a:pt x="3287202" y="1449481"/>
                </a:cubicBezTo>
                <a:cubicBezTo>
                  <a:pt x="3292669" y="1447658"/>
                  <a:pt x="3292669" y="1442192"/>
                  <a:pt x="3294491" y="1438548"/>
                </a:cubicBezTo>
                <a:cubicBezTo>
                  <a:pt x="3294491" y="1434903"/>
                  <a:pt x="3294491" y="1433081"/>
                  <a:pt x="3290847" y="1431259"/>
                </a:cubicBezTo>
                <a:cubicBezTo>
                  <a:pt x="3292669" y="1428526"/>
                  <a:pt x="3294036" y="1428981"/>
                  <a:pt x="3295402" y="1430120"/>
                </a:cubicBezTo>
                <a:lnTo>
                  <a:pt x="3299946" y="1433073"/>
                </a:lnTo>
                <a:lnTo>
                  <a:pt x="3298135" y="1427641"/>
                </a:lnTo>
                <a:cubicBezTo>
                  <a:pt x="3299957" y="1425819"/>
                  <a:pt x="3303602" y="1425819"/>
                  <a:pt x="3305424" y="1425819"/>
                </a:cubicBezTo>
                <a:cubicBezTo>
                  <a:pt x="3303602" y="1427641"/>
                  <a:pt x="3301779" y="1429464"/>
                  <a:pt x="3299957" y="1433108"/>
                </a:cubicBezTo>
                <a:lnTo>
                  <a:pt x="3299957" y="1434903"/>
                </a:lnTo>
                <a:cubicBezTo>
                  <a:pt x="3301780" y="1442192"/>
                  <a:pt x="3305424" y="1451303"/>
                  <a:pt x="3312713" y="1449481"/>
                </a:cubicBezTo>
                <a:cubicBezTo>
                  <a:pt x="3320001" y="1447658"/>
                  <a:pt x="3323646" y="1442192"/>
                  <a:pt x="3325468" y="1434903"/>
                </a:cubicBezTo>
                <a:cubicBezTo>
                  <a:pt x="3325468" y="1438548"/>
                  <a:pt x="3327290" y="1442192"/>
                  <a:pt x="3327290" y="1445836"/>
                </a:cubicBezTo>
                <a:cubicBezTo>
                  <a:pt x="3330934" y="1440370"/>
                  <a:pt x="3329112" y="1433081"/>
                  <a:pt x="3336401" y="1431259"/>
                </a:cubicBezTo>
                <a:cubicBezTo>
                  <a:pt x="3340045" y="1431259"/>
                  <a:pt x="3340045" y="1436725"/>
                  <a:pt x="3340045" y="1438548"/>
                </a:cubicBezTo>
                <a:cubicBezTo>
                  <a:pt x="3340045" y="1438548"/>
                  <a:pt x="3341867" y="1436725"/>
                  <a:pt x="3343690" y="1434903"/>
                </a:cubicBezTo>
                <a:cubicBezTo>
                  <a:pt x="3345512" y="1434903"/>
                  <a:pt x="3345512" y="1438548"/>
                  <a:pt x="3345512" y="1440370"/>
                </a:cubicBezTo>
                <a:cubicBezTo>
                  <a:pt x="3347334" y="1438548"/>
                  <a:pt x="3349156" y="1436725"/>
                  <a:pt x="3349156" y="1429437"/>
                </a:cubicBezTo>
                <a:cubicBezTo>
                  <a:pt x="3347334" y="1429437"/>
                  <a:pt x="3347334" y="1431259"/>
                  <a:pt x="3345512" y="1433081"/>
                </a:cubicBezTo>
                <a:cubicBezTo>
                  <a:pt x="3345512" y="1427615"/>
                  <a:pt x="3343690" y="1423970"/>
                  <a:pt x="3340045" y="1425792"/>
                </a:cubicBezTo>
                <a:cubicBezTo>
                  <a:pt x="3340045" y="1418504"/>
                  <a:pt x="3338223" y="1413037"/>
                  <a:pt x="3332756" y="1414859"/>
                </a:cubicBezTo>
                <a:cubicBezTo>
                  <a:pt x="3330934" y="1416681"/>
                  <a:pt x="3330934" y="1420326"/>
                  <a:pt x="3329112" y="1422148"/>
                </a:cubicBezTo>
                <a:cubicBezTo>
                  <a:pt x="3329112" y="1414859"/>
                  <a:pt x="3329112" y="1409393"/>
                  <a:pt x="3329112" y="1403926"/>
                </a:cubicBezTo>
                <a:cubicBezTo>
                  <a:pt x="3329112" y="1398460"/>
                  <a:pt x="3330934" y="1396638"/>
                  <a:pt x="3330934" y="1392993"/>
                </a:cubicBezTo>
                <a:cubicBezTo>
                  <a:pt x="3332756" y="1389349"/>
                  <a:pt x="3334579" y="1389349"/>
                  <a:pt x="3336401" y="1387527"/>
                </a:cubicBezTo>
                <a:cubicBezTo>
                  <a:pt x="3338223" y="1385705"/>
                  <a:pt x="3332756" y="1380238"/>
                  <a:pt x="3336401" y="1378416"/>
                </a:cubicBezTo>
                <a:cubicBezTo>
                  <a:pt x="3340045" y="1378416"/>
                  <a:pt x="3341867" y="1378416"/>
                  <a:pt x="3343690" y="1376594"/>
                </a:cubicBezTo>
                <a:cubicBezTo>
                  <a:pt x="3343690" y="1385705"/>
                  <a:pt x="3334579" y="1389349"/>
                  <a:pt x="3334579" y="1398460"/>
                </a:cubicBezTo>
                <a:cubicBezTo>
                  <a:pt x="3336401" y="1392993"/>
                  <a:pt x="3338223" y="1391171"/>
                  <a:pt x="3345512" y="1389349"/>
                </a:cubicBezTo>
                <a:cubicBezTo>
                  <a:pt x="3345512" y="1394815"/>
                  <a:pt x="3341867" y="1405748"/>
                  <a:pt x="3347334" y="1400282"/>
                </a:cubicBezTo>
                <a:cubicBezTo>
                  <a:pt x="3352800" y="1394815"/>
                  <a:pt x="3354623" y="1385705"/>
                  <a:pt x="3354623" y="1374771"/>
                </a:cubicBezTo>
                <a:cubicBezTo>
                  <a:pt x="3354623" y="1374771"/>
                  <a:pt x="3358267" y="1378416"/>
                  <a:pt x="3360089" y="1376594"/>
                </a:cubicBezTo>
                <a:cubicBezTo>
                  <a:pt x="3363734" y="1371127"/>
                  <a:pt x="3363734" y="1365661"/>
                  <a:pt x="3361911" y="1358372"/>
                </a:cubicBezTo>
                <a:cubicBezTo>
                  <a:pt x="3371022" y="1362016"/>
                  <a:pt x="3369200" y="1371127"/>
                  <a:pt x="3369200" y="1378416"/>
                </a:cubicBezTo>
                <a:cubicBezTo>
                  <a:pt x="3372844" y="1376594"/>
                  <a:pt x="3374666" y="1372949"/>
                  <a:pt x="3376489" y="1369305"/>
                </a:cubicBezTo>
                <a:cubicBezTo>
                  <a:pt x="3378311" y="1371127"/>
                  <a:pt x="3380133" y="1372949"/>
                  <a:pt x="3381955" y="1374771"/>
                </a:cubicBezTo>
                <a:cubicBezTo>
                  <a:pt x="3385600" y="1369305"/>
                  <a:pt x="3380133" y="1362016"/>
                  <a:pt x="3376489" y="1360194"/>
                </a:cubicBezTo>
                <a:cubicBezTo>
                  <a:pt x="3371022" y="1356550"/>
                  <a:pt x="3365556" y="1356550"/>
                  <a:pt x="3360089" y="1352905"/>
                </a:cubicBezTo>
                <a:close/>
                <a:moveTo>
                  <a:pt x="3349156" y="1352905"/>
                </a:moveTo>
                <a:cubicBezTo>
                  <a:pt x="3347334" y="1358372"/>
                  <a:pt x="3350978" y="1356550"/>
                  <a:pt x="3350978" y="1360194"/>
                </a:cubicBezTo>
                <a:cubicBezTo>
                  <a:pt x="3354623" y="1360194"/>
                  <a:pt x="3350978" y="1352905"/>
                  <a:pt x="3354623" y="1354728"/>
                </a:cubicBezTo>
                <a:cubicBezTo>
                  <a:pt x="3354623" y="1352905"/>
                  <a:pt x="3352800" y="1351083"/>
                  <a:pt x="3349156" y="1352905"/>
                </a:cubicBezTo>
                <a:close/>
                <a:moveTo>
                  <a:pt x="830912" y="1352905"/>
                </a:moveTo>
                <a:cubicBezTo>
                  <a:pt x="830912" y="1352905"/>
                  <a:pt x="829089" y="1352905"/>
                  <a:pt x="827267" y="1354728"/>
                </a:cubicBezTo>
                <a:cubicBezTo>
                  <a:pt x="827267" y="1354728"/>
                  <a:pt x="829089" y="1356550"/>
                  <a:pt x="829089" y="1356550"/>
                </a:cubicBezTo>
                <a:cubicBezTo>
                  <a:pt x="830912" y="1356550"/>
                  <a:pt x="829089" y="1354728"/>
                  <a:pt x="830912" y="1352905"/>
                </a:cubicBezTo>
                <a:close/>
                <a:moveTo>
                  <a:pt x="810868" y="1352905"/>
                </a:moveTo>
                <a:cubicBezTo>
                  <a:pt x="809046" y="1352905"/>
                  <a:pt x="810868" y="1354728"/>
                  <a:pt x="809046" y="1356550"/>
                </a:cubicBezTo>
                <a:cubicBezTo>
                  <a:pt x="809046" y="1358372"/>
                  <a:pt x="810868" y="1360194"/>
                  <a:pt x="812690" y="1358372"/>
                </a:cubicBezTo>
                <a:cubicBezTo>
                  <a:pt x="810868" y="1356550"/>
                  <a:pt x="812690" y="1354728"/>
                  <a:pt x="810868" y="1352905"/>
                </a:cubicBezTo>
                <a:close/>
                <a:moveTo>
                  <a:pt x="628650" y="1352905"/>
                </a:moveTo>
                <a:cubicBezTo>
                  <a:pt x="626828" y="1354728"/>
                  <a:pt x="626828" y="1356550"/>
                  <a:pt x="628650" y="1358372"/>
                </a:cubicBezTo>
                <a:cubicBezTo>
                  <a:pt x="630472" y="1356550"/>
                  <a:pt x="630472" y="1356550"/>
                  <a:pt x="630472" y="1354728"/>
                </a:cubicBezTo>
                <a:cubicBezTo>
                  <a:pt x="630472" y="1352905"/>
                  <a:pt x="628650" y="1352905"/>
                  <a:pt x="628650" y="1352905"/>
                </a:cubicBezTo>
                <a:close/>
                <a:moveTo>
                  <a:pt x="548475" y="1352905"/>
                </a:moveTo>
                <a:cubicBezTo>
                  <a:pt x="544830" y="1352905"/>
                  <a:pt x="544830" y="1354728"/>
                  <a:pt x="544830" y="1358372"/>
                </a:cubicBezTo>
                <a:cubicBezTo>
                  <a:pt x="546653" y="1360194"/>
                  <a:pt x="546653" y="1360194"/>
                  <a:pt x="548475" y="1360194"/>
                </a:cubicBezTo>
                <a:cubicBezTo>
                  <a:pt x="550297" y="1356550"/>
                  <a:pt x="550297" y="1354728"/>
                  <a:pt x="548475" y="1352905"/>
                </a:cubicBezTo>
                <a:close/>
                <a:moveTo>
                  <a:pt x="371724" y="1352905"/>
                </a:moveTo>
                <a:lnTo>
                  <a:pt x="371992" y="1353423"/>
                </a:lnTo>
                <a:lnTo>
                  <a:pt x="370423" y="1353946"/>
                </a:lnTo>
                <a:close/>
                <a:moveTo>
                  <a:pt x="3093779" y="1352450"/>
                </a:moveTo>
                <a:lnTo>
                  <a:pt x="3094052" y="1352905"/>
                </a:lnTo>
                <a:lnTo>
                  <a:pt x="3093645" y="1353118"/>
                </a:lnTo>
                <a:close/>
                <a:moveTo>
                  <a:pt x="3168761" y="1351083"/>
                </a:moveTo>
                <a:cubicBezTo>
                  <a:pt x="3163294" y="1349261"/>
                  <a:pt x="3165116" y="1356550"/>
                  <a:pt x="3166939" y="1358372"/>
                </a:cubicBezTo>
                <a:cubicBezTo>
                  <a:pt x="3172405" y="1358372"/>
                  <a:pt x="3170583" y="1351083"/>
                  <a:pt x="3168761" y="1351083"/>
                </a:cubicBezTo>
                <a:close/>
                <a:moveTo>
                  <a:pt x="1027707" y="1351083"/>
                </a:moveTo>
                <a:cubicBezTo>
                  <a:pt x="1033172" y="1355639"/>
                  <a:pt x="1037272" y="1362016"/>
                  <a:pt x="1042056" y="1367711"/>
                </a:cubicBezTo>
                <a:lnTo>
                  <a:pt x="1059947" y="1379859"/>
                </a:lnTo>
                <a:lnTo>
                  <a:pt x="1058683" y="1380238"/>
                </a:lnTo>
                <a:cubicBezTo>
                  <a:pt x="1060506" y="1382060"/>
                  <a:pt x="1064151" y="1383882"/>
                  <a:pt x="1065972" y="1383882"/>
                </a:cubicBezTo>
                <a:cubicBezTo>
                  <a:pt x="1065972" y="1383882"/>
                  <a:pt x="1065972" y="1382060"/>
                  <a:pt x="1064151" y="1380238"/>
                </a:cubicBezTo>
                <a:cubicBezTo>
                  <a:pt x="1071439" y="1387527"/>
                  <a:pt x="1080549" y="1387527"/>
                  <a:pt x="1086016" y="1385705"/>
                </a:cubicBezTo>
                <a:cubicBezTo>
                  <a:pt x="1081461" y="1382971"/>
                  <a:pt x="1076905" y="1378416"/>
                  <a:pt x="1072350" y="1376138"/>
                </a:cubicBezTo>
                <a:lnTo>
                  <a:pt x="1060392" y="1379725"/>
                </a:lnTo>
                <a:lnTo>
                  <a:pt x="1059139" y="1374088"/>
                </a:lnTo>
                <a:cubicBezTo>
                  <a:pt x="1057772" y="1372493"/>
                  <a:pt x="1055950" y="1371127"/>
                  <a:pt x="1055040" y="1369305"/>
                </a:cubicBezTo>
                <a:cubicBezTo>
                  <a:pt x="1060506" y="1369305"/>
                  <a:pt x="1060506" y="1372949"/>
                  <a:pt x="1062328" y="1376594"/>
                </a:cubicBezTo>
                <a:cubicBezTo>
                  <a:pt x="1064151" y="1376594"/>
                  <a:pt x="1067794" y="1376594"/>
                  <a:pt x="1069616" y="1374771"/>
                </a:cubicBezTo>
                <a:cubicBezTo>
                  <a:pt x="1060506" y="1365661"/>
                  <a:pt x="1051395" y="1362016"/>
                  <a:pt x="1042284" y="1354728"/>
                </a:cubicBezTo>
                <a:cubicBezTo>
                  <a:pt x="1034995" y="1358372"/>
                  <a:pt x="1034995" y="1345617"/>
                  <a:pt x="1027707" y="1351083"/>
                </a:cubicBezTo>
                <a:close/>
                <a:moveTo>
                  <a:pt x="863711" y="1351083"/>
                </a:moveTo>
                <a:cubicBezTo>
                  <a:pt x="865533" y="1354728"/>
                  <a:pt x="869177" y="1356550"/>
                  <a:pt x="871000" y="1360194"/>
                </a:cubicBezTo>
                <a:cubicBezTo>
                  <a:pt x="867355" y="1360194"/>
                  <a:pt x="867355" y="1360194"/>
                  <a:pt x="865533" y="1360194"/>
                </a:cubicBezTo>
                <a:lnTo>
                  <a:pt x="859208" y="1370612"/>
                </a:lnTo>
                <a:lnTo>
                  <a:pt x="859671" y="1362026"/>
                </a:lnTo>
                <a:lnTo>
                  <a:pt x="860066" y="1362016"/>
                </a:lnTo>
                <a:lnTo>
                  <a:pt x="859692" y="1361642"/>
                </a:lnTo>
                <a:lnTo>
                  <a:pt x="860066" y="1354728"/>
                </a:lnTo>
                <a:cubicBezTo>
                  <a:pt x="861889" y="1358372"/>
                  <a:pt x="860066" y="1358372"/>
                  <a:pt x="856422" y="1358372"/>
                </a:cubicBezTo>
                <a:lnTo>
                  <a:pt x="859692" y="1361642"/>
                </a:lnTo>
                <a:lnTo>
                  <a:pt x="859671" y="1362026"/>
                </a:lnTo>
                <a:lnTo>
                  <a:pt x="851183" y="1362244"/>
                </a:lnTo>
                <a:cubicBezTo>
                  <a:pt x="849134" y="1364294"/>
                  <a:pt x="847311" y="1367483"/>
                  <a:pt x="843667" y="1369305"/>
                </a:cubicBezTo>
                <a:cubicBezTo>
                  <a:pt x="838200" y="1372949"/>
                  <a:pt x="843667" y="1376594"/>
                  <a:pt x="843667" y="1378416"/>
                </a:cubicBezTo>
                <a:cubicBezTo>
                  <a:pt x="845489" y="1378416"/>
                  <a:pt x="841845" y="1374771"/>
                  <a:pt x="845489" y="1374771"/>
                </a:cubicBezTo>
                <a:cubicBezTo>
                  <a:pt x="845489" y="1376594"/>
                  <a:pt x="847311" y="1378416"/>
                  <a:pt x="847311" y="1380238"/>
                </a:cubicBezTo>
                <a:cubicBezTo>
                  <a:pt x="849133" y="1387527"/>
                  <a:pt x="850956" y="1382060"/>
                  <a:pt x="854600" y="1380238"/>
                </a:cubicBezTo>
                <a:cubicBezTo>
                  <a:pt x="854600" y="1383882"/>
                  <a:pt x="852778" y="1383882"/>
                  <a:pt x="850956" y="1385705"/>
                </a:cubicBezTo>
                <a:cubicBezTo>
                  <a:pt x="853689" y="1386616"/>
                  <a:pt x="855055" y="1384338"/>
                  <a:pt x="856422" y="1382288"/>
                </a:cubicBezTo>
                <a:lnTo>
                  <a:pt x="860657" y="1380700"/>
                </a:lnTo>
                <a:lnTo>
                  <a:pt x="863027" y="1375050"/>
                </a:lnTo>
                <a:cubicBezTo>
                  <a:pt x="863255" y="1373455"/>
                  <a:pt x="863710" y="1372088"/>
                  <a:pt x="867355" y="1369355"/>
                </a:cubicBezTo>
                <a:lnTo>
                  <a:pt x="860930" y="1380598"/>
                </a:lnTo>
                <a:lnTo>
                  <a:pt x="861889" y="1380238"/>
                </a:lnTo>
                <a:cubicBezTo>
                  <a:pt x="860066" y="1382060"/>
                  <a:pt x="860066" y="1383882"/>
                  <a:pt x="860066" y="1385705"/>
                </a:cubicBezTo>
                <a:cubicBezTo>
                  <a:pt x="860066" y="1389349"/>
                  <a:pt x="869177" y="1382060"/>
                  <a:pt x="874644" y="1385705"/>
                </a:cubicBezTo>
                <a:cubicBezTo>
                  <a:pt x="869177" y="1387527"/>
                  <a:pt x="861889" y="1389349"/>
                  <a:pt x="856422" y="1391171"/>
                </a:cubicBezTo>
                <a:cubicBezTo>
                  <a:pt x="865533" y="1394815"/>
                  <a:pt x="867355" y="1398460"/>
                  <a:pt x="874644" y="1394815"/>
                </a:cubicBezTo>
                <a:lnTo>
                  <a:pt x="872822" y="1392993"/>
                </a:lnTo>
                <a:lnTo>
                  <a:pt x="888428" y="1386057"/>
                </a:lnTo>
                <a:lnTo>
                  <a:pt x="888780" y="1386274"/>
                </a:lnTo>
                <a:lnTo>
                  <a:pt x="882160" y="1394815"/>
                </a:lnTo>
                <a:cubicBezTo>
                  <a:pt x="877832" y="1395727"/>
                  <a:pt x="872821" y="1395727"/>
                  <a:pt x="871000" y="1398460"/>
                </a:cubicBezTo>
                <a:cubicBezTo>
                  <a:pt x="869177" y="1402104"/>
                  <a:pt x="874644" y="1402104"/>
                  <a:pt x="878288" y="1402104"/>
                </a:cubicBezTo>
                <a:cubicBezTo>
                  <a:pt x="874644" y="1402104"/>
                  <a:pt x="872822" y="1403926"/>
                  <a:pt x="869177" y="1403926"/>
                </a:cubicBezTo>
                <a:cubicBezTo>
                  <a:pt x="885577" y="1414859"/>
                  <a:pt x="905621" y="1416681"/>
                  <a:pt x="922020" y="1425792"/>
                </a:cubicBezTo>
                <a:cubicBezTo>
                  <a:pt x="914732" y="1418504"/>
                  <a:pt x="903799" y="1414859"/>
                  <a:pt x="894688" y="1409393"/>
                </a:cubicBezTo>
                <a:cubicBezTo>
                  <a:pt x="898333" y="1407571"/>
                  <a:pt x="903799" y="1414859"/>
                  <a:pt x="905621" y="1413037"/>
                </a:cubicBezTo>
                <a:cubicBezTo>
                  <a:pt x="909265" y="1409393"/>
                  <a:pt x="900154" y="1403926"/>
                  <a:pt x="900154" y="1396638"/>
                </a:cubicBezTo>
                <a:cubicBezTo>
                  <a:pt x="898333" y="1398460"/>
                  <a:pt x="896510" y="1400282"/>
                  <a:pt x="894688" y="1402104"/>
                </a:cubicBezTo>
                <a:cubicBezTo>
                  <a:pt x="897421" y="1397549"/>
                  <a:pt x="896510" y="1392993"/>
                  <a:pt x="893776" y="1389349"/>
                </a:cubicBezTo>
                <a:lnTo>
                  <a:pt x="888780" y="1386274"/>
                </a:lnTo>
                <a:lnTo>
                  <a:pt x="889222" y="1385705"/>
                </a:lnTo>
                <a:lnTo>
                  <a:pt x="888428" y="1386057"/>
                </a:lnTo>
                <a:lnTo>
                  <a:pt x="881933" y="1382060"/>
                </a:lnTo>
                <a:cubicBezTo>
                  <a:pt x="880111" y="1383882"/>
                  <a:pt x="878288" y="1385705"/>
                  <a:pt x="874644" y="1385705"/>
                </a:cubicBezTo>
                <a:cubicBezTo>
                  <a:pt x="876466" y="1383882"/>
                  <a:pt x="878288" y="1382060"/>
                  <a:pt x="880111" y="1380238"/>
                </a:cubicBezTo>
                <a:cubicBezTo>
                  <a:pt x="880111" y="1378416"/>
                  <a:pt x="880111" y="1378416"/>
                  <a:pt x="880111" y="1378416"/>
                </a:cubicBezTo>
                <a:cubicBezTo>
                  <a:pt x="883755" y="1380238"/>
                  <a:pt x="889222" y="1378416"/>
                  <a:pt x="891043" y="1374771"/>
                </a:cubicBezTo>
                <a:cubicBezTo>
                  <a:pt x="889222" y="1371127"/>
                  <a:pt x="885577" y="1371127"/>
                  <a:pt x="881933" y="1369305"/>
                </a:cubicBezTo>
                <a:cubicBezTo>
                  <a:pt x="889222" y="1369305"/>
                  <a:pt x="889222" y="1371127"/>
                  <a:pt x="892866" y="1363838"/>
                </a:cubicBezTo>
                <a:cubicBezTo>
                  <a:pt x="894688" y="1363838"/>
                  <a:pt x="892866" y="1365661"/>
                  <a:pt x="894688" y="1367483"/>
                </a:cubicBezTo>
                <a:cubicBezTo>
                  <a:pt x="896510" y="1363838"/>
                  <a:pt x="898333" y="1358372"/>
                  <a:pt x="896510" y="1354728"/>
                </a:cubicBezTo>
                <a:cubicBezTo>
                  <a:pt x="894688" y="1354728"/>
                  <a:pt x="892866" y="1356550"/>
                  <a:pt x="894688" y="1358372"/>
                </a:cubicBezTo>
                <a:cubicBezTo>
                  <a:pt x="885577" y="1351083"/>
                  <a:pt x="874644" y="1352905"/>
                  <a:pt x="863711" y="1351083"/>
                </a:cubicBezTo>
                <a:close/>
                <a:moveTo>
                  <a:pt x="799935" y="1351083"/>
                </a:moveTo>
                <a:cubicBezTo>
                  <a:pt x="796290" y="1352905"/>
                  <a:pt x="790824" y="1352905"/>
                  <a:pt x="796290" y="1358372"/>
                </a:cubicBezTo>
                <a:cubicBezTo>
                  <a:pt x="798112" y="1356550"/>
                  <a:pt x="798112" y="1352905"/>
                  <a:pt x="799935" y="1351083"/>
                </a:cubicBezTo>
                <a:close/>
                <a:moveTo>
                  <a:pt x="581274" y="1351083"/>
                </a:moveTo>
                <a:cubicBezTo>
                  <a:pt x="581274" y="1352905"/>
                  <a:pt x="581274" y="1354728"/>
                  <a:pt x="583096" y="1356550"/>
                </a:cubicBezTo>
                <a:cubicBezTo>
                  <a:pt x="584919" y="1360194"/>
                  <a:pt x="586741" y="1363838"/>
                  <a:pt x="590385" y="1365661"/>
                </a:cubicBezTo>
                <a:cubicBezTo>
                  <a:pt x="588562" y="1369305"/>
                  <a:pt x="586741" y="1372949"/>
                  <a:pt x="592207" y="1374771"/>
                </a:cubicBezTo>
                <a:cubicBezTo>
                  <a:pt x="594030" y="1376594"/>
                  <a:pt x="595852" y="1369305"/>
                  <a:pt x="599496" y="1363838"/>
                </a:cubicBezTo>
                <a:cubicBezTo>
                  <a:pt x="597673" y="1363838"/>
                  <a:pt x="597673" y="1363838"/>
                  <a:pt x="594030" y="1363838"/>
                </a:cubicBezTo>
                <a:cubicBezTo>
                  <a:pt x="594030" y="1363838"/>
                  <a:pt x="594030" y="1363838"/>
                  <a:pt x="595852" y="1362016"/>
                </a:cubicBezTo>
                <a:cubicBezTo>
                  <a:pt x="590385" y="1356550"/>
                  <a:pt x="586741" y="1354728"/>
                  <a:pt x="581274" y="1351083"/>
                </a:cubicBezTo>
                <a:close/>
                <a:moveTo>
                  <a:pt x="502920" y="1351083"/>
                </a:moveTo>
                <a:cubicBezTo>
                  <a:pt x="502920" y="1349261"/>
                  <a:pt x="501098" y="1352905"/>
                  <a:pt x="499276" y="1352905"/>
                </a:cubicBezTo>
                <a:cubicBezTo>
                  <a:pt x="501098" y="1356550"/>
                  <a:pt x="502920" y="1352905"/>
                  <a:pt x="502920" y="1351083"/>
                </a:cubicBezTo>
                <a:close/>
                <a:moveTo>
                  <a:pt x="461010" y="1351083"/>
                </a:moveTo>
                <a:cubicBezTo>
                  <a:pt x="459188" y="1352905"/>
                  <a:pt x="457367" y="1354728"/>
                  <a:pt x="455544" y="1354728"/>
                </a:cubicBezTo>
                <a:cubicBezTo>
                  <a:pt x="457367" y="1354728"/>
                  <a:pt x="461010" y="1354728"/>
                  <a:pt x="462832" y="1352905"/>
                </a:cubicBezTo>
                <a:cubicBezTo>
                  <a:pt x="462832" y="1351083"/>
                  <a:pt x="461010" y="1352905"/>
                  <a:pt x="461010" y="1351083"/>
                </a:cubicBezTo>
                <a:close/>
                <a:moveTo>
                  <a:pt x="200439" y="1351083"/>
                </a:moveTo>
                <a:lnTo>
                  <a:pt x="233947" y="1358455"/>
                </a:lnTo>
                <a:lnTo>
                  <a:pt x="232783" y="1359055"/>
                </a:lnTo>
                <a:cubicBezTo>
                  <a:pt x="221394" y="1359738"/>
                  <a:pt x="209550" y="1356550"/>
                  <a:pt x="200439" y="1351083"/>
                </a:cubicBezTo>
                <a:close/>
                <a:moveTo>
                  <a:pt x="1135215" y="1349261"/>
                </a:moveTo>
                <a:lnTo>
                  <a:pt x="1136855" y="1350901"/>
                </a:lnTo>
                <a:lnTo>
                  <a:pt x="1136355" y="1350856"/>
                </a:lnTo>
                <a:cubicBezTo>
                  <a:pt x="1135670" y="1349717"/>
                  <a:pt x="1135215" y="1348350"/>
                  <a:pt x="1135215" y="1349261"/>
                </a:cubicBezTo>
                <a:close/>
                <a:moveTo>
                  <a:pt x="619539" y="1349261"/>
                </a:moveTo>
                <a:cubicBezTo>
                  <a:pt x="617717" y="1354728"/>
                  <a:pt x="608606" y="1356550"/>
                  <a:pt x="610429" y="1363838"/>
                </a:cubicBezTo>
                <a:cubicBezTo>
                  <a:pt x="612251" y="1363838"/>
                  <a:pt x="614074" y="1358372"/>
                  <a:pt x="614074" y="1356550"/>
                </a:cubicBezTo>
                <a:cubicBezTo>
                  <a:pt x="617717" y="1356550"/>
                  <a:pt x="619539" y="1356550"/>
                  <a:pt x="619539" y="1354728"/>
                </a:cubicBezTo>
                <a:cubicBezTo>
                  <a:pt x="619539" y="1356550"/>
                  <a:pt x="619539" y="1356550"/>
                  <a:pt x="621362" y="1356550"/>
                </a:cubicBezTo>
                <a:cubicBezTo>
                  <a:pt x="619539" y="1356550"/>
                  <a:pt x="615895" y="1356550"/>
                  <a:pt x="615895" y="1360194"/>
                </a:cubicBezTo>
                <a:cubicBezTo>
                  <a:pt x="617717" y="1363838"/>
                  <a:pt x="621362" y="1360194"/>
                  <a:pt x="625006" y="1358372"/>
                </a:cubicBezTo>
                <a:cubicBezTo>
                  <a:pt x="625006" y="1356550"/>
                  <a:pt x="621362" y="1356550"/>
                  <a:pt x="621362" y="1356550"/>
                </a:cubicBezTo>
                <a:cubicBezTo>
                  <a:pt x="623185" y="1354728"/>
                  <a:pt x="625006" y="1356550"/>
                  <a:pt x="626828" y="1354728"/>
                </a:cubicBezTo>
                <a:cubicBezTo>
                  <a:pt x="625006" y="1354728"/>
                  <a:pt x="625006" y="1352905"/>
                  <a:pt x="623185" y="1351083"/>
                </a:cubicBezTo>
                <a:cubicBezTo>
                  <a:pt x="621362" y="1351083"/>
                  <a:pt x="619539" y="1352905"/>
                  <a:pt x="619539" y="1354728"/>
                </a:cubicBezTo>
                <a:cubicBezTo>
                  <a:pt x="621362" y="1352905"/>
                  <a:pt x="619539" y="1351083"/>
                  <a:pt x="619539" y="1349261"/>
                </a:cubicBezTo>
                <a:close/>
                <a:moveTo>
                  <a:pt x="491987" y="1349261"/>
                </a:moveTo>
                <a:cubicBezTo>
                  <a:pt x="488343" y="1347439"/>
                  <a:pt x="484700" y="1351083"/>
                  <a:pt x="488343" y="1354728"/>
                </a:cubicBezTo>
                <a:cubicBezTo>
                  <a:pt x="490165" y="1352905"/>
                  <a:pt x="490165" y="1351083"/>
                  <a:pt x="491987" y="1349261"/>
                </a:cubicBezTo>
                <a:close/>
                <a:moveTo>
                  <a:pt x="1607158" y="1347520"/>
                </a:moveTo>
                <a:lnTo>
                  <a:pt x="1621735" y="1360276"/>
                </a:lnTo>
                <a:lnTo>
                  <a:pt x="1598046" y="1362098"/>
                </a:lnTo>
                <a:close/>
                <a:moveTo>
                  <a:pt x="1576180" y="1347520"/>
                </a:moveTo>
                <a:lnTo>
                  <a:pt x="1592580" y="1360276"/>
                </a:lnTo>
                <a:lnTo>
                  <a:pt x="1567069" y="1362098"/>
                </a:lnTo>
                <a:close/>
                <a:moveTo>
                  <a:pt x="3115918" y="1347439"/>
                </a:moveTo>
                <a:cubicBezTo>
                  <a:pt x="3110451" y="1345617"/>
                  <a:pt x="3108629" y="1352905"/>
                  <a:pt x="3114096" y="1354728"/>
                </a:cubicBezTo>
                <a:cubicBezTo>
                  <a:pt x="3117740" y="1354728"/>
                  <a:pt x="3115918" y="1349261"/>
                  <a:pt x="3115918" y="1347439"/>
                </a:cubicBezTo>
                <a:close/>
                <a:moveTo>
                  <a:pt x="3053964" y="1347439"/>
                </a:moveTo>
                <a:cubicBezTo>
                  <a:pt x="3048497" y="1347439"/>
                  <a:pt x="3052142" y="1358372"/>
                  <a:pt x="3050319" y="1363838"/>
                </a:cubicBezTo>
                <a:cubicBezTo>
                  <a:pt x="3053964" y="1363838"/>
                  <a:pt x="3055786" y="1363838"/>
                  <a:pt x="3057608" y="1363838"/>
                </a:cubicBezTo>
                <a:cubicBezTo>
                  <a:pt x="3055786" y="1356550"/>
                  <a:pt x="3053964" y="1352905"/>
                  <a:pt x="3053964" y="1347439"/>
                </a:cubicBezTo>
                <a:close/>
                <a:moveTo>
                  <a:pt x="659627" y="1347439"/>
                </a:moveTo>
                <a:cubicBezTo>
                  <a:pt x="657805" y="1351083"/>
                  <a:pt x="659627" y="1354728"/>
                  <a:pt x="663272" y="1354728"/>
                </a:cubicBezTo>
                <a:cubicBezTo>
                  <a:pt x="665094" y="1352905"/>
                  <a:pt x="663272" y="1351083"/>
                  <a:pt x="665094" y="1351083"/>
                </a:cubicBezTo>
                <a:cubicBezTo>
                  <a:pt x="663272" y="1347439"/>
                  <a:pt x="661449" y="1347439"/>
                  <a:pt x="659627" y="1347439"/>
                </a:cubicBezTo>
                <a:close/>
                <a:moveTo>
                  <a:pt x="608606" y="1347439"/>
                </a:moveTo>
                <a:cubicBezTo>
                  <a:pt x="604963" y="1351083"/>
                  <a:pt x="606784" y="1356550"/>
                  <a:pt x="608606" y="1360194"/>
                </a:cubicBezTo>
                <a:cubicBezTo>
                  <a:pt x="610429" y="1356550"/>
                  <a:pt x="610429" y="1351083"/>
                  <a:pt x="610429" y="1347439"/>
                </a:cubicBezTo>
                <a:cubicBezTo>
                  <a:pt x="608606" y="1347439"/>
                  <a:pt x="608606" y="1347439"/>
                  <a:pt x="608606" y="1347439"/>
                </a:cubicBezTo>
                <a:close/>
                <a:moveTo>
                  <a:pt x="508387" y="1347439"/>
                </a:moveTo>
                <a:cubicBezTo>
                  <a:pt x="508387" y="1351083"/>
                  <a:pt x="508387" y="1352905"/>
                  <a:pt x="508387" y="1356550"/>
                </a:cubicBezTo>
                <a:cubicBezTo>
                  <a:pt x="512031" y="1358372"/>
                  <a:pt x="513853" y="1349261"/>
                  <a:pt x="508387" y="1347439"/>
                </a:cubicBezTo>
                <a:close/>
                <a:moveTo>
                  <a:pt x="379012" y="1347439"/>
                </a:moveTo>
                <a:cubicBezTo>
                  <a:pt x="377190" y="1351083"/>
                  <a:pt x="377190" y="1349261"/>
                  <a:pt x="371724" y="1351083"/>
                </a:cubicBezTo>
                <a:cubicBezTo>
                  <a:pt x="375368" y="1354728"/>
                  <a:pt x="379012" y="1358372"/>
                  <a:pt x="384479" y="1354728"/>
                </a:cubicBezTo>
                <a:cubicBezTo>
                  <a:pt x="382657" y="1351083"/>
                  <a:pt x="377190" y="1352905"/>
                  <a:pt x="379012" y="1347439"/>
                </a:cubicBezTo>
                <a:close/>
                <a:moveTo>
                  <a:pt x="652795" y="1347211"/>
                </a:moveTo>
                <a:cubicBezTo>
                  <a:pt x="651884" y="1347439"/>
                  <a:pt x="650517" y="1348350"/>
                  <a:pt x="648694" y="1349261"/>
                </a:cubicBezTo>
                <a:cubicBezTo>
                  <a:pt x="652339" y="1352905"/>
                  <a:pt x="652339" y="1349261"/>
                  <a:pt x="654161" y="1349261"/>
                </a:cubicBezTo>
                <a:cubicBezTo>
                  <a:pt x="654161" y="1347439"/>
                  <a:pt x="653706" y="1346984"/>
                  <a:pt x="652795" y="1347211"/>
                </a:cubicBezTo>
                <a:close/>
                <a:moveTo>
                  <a:pt x="816790" y="1346983"/>
                </a:moveTo>
                <a:cubicBezTo>
                  <a:pt x="815878" y="1344706"/>
                  <a:pt x="814512" y="1343794"/>
                  <a:pt x="810868" y="1347439"/>
                </a:cubicBezTo>
                <a:lnTo>
                  <a:pt x="815328" y="1356359"/>
                </a:lnTo>
                <a:lnTo>
                  <a:pt x="815424" y="1357461"/>
                </a:lnTo>
                <a:cubicBezTo>
                  <a:pt x="816334" y="1358828"/>
                  <a:pt x="818156" y="1361105"/>
                  <a:pt x="816334" y="1363838"/>
                </a:cubicBezTo>
                <a:cubicBezTo>
                  <a:pt x="814512" y="1360194"/>
                  <a:pt x="810868" y="1358372"/>
                  <a:pt x="805401" y="1356550"/>
                </a:cubicBezTo>
                <a:cubicBezTo>
                  <a:pt x="803579" y="1362016"/>
                  <a:pt x="799935" y="1371127"/>
                  <a:pt x="807223" y="1372949"/>
                </a:cubicBezTo>
                <a:cubicBezTo>
                  <a:pt x="814512" y="1371127"/>
                  <a:pt x="829089" y="1358372"/>
                  <a:pt x="819979" y="1356550"/>
                </a:cubicBezTo>
                <a:lnTo>
                  <a:pt x="818301" y="1356407"/>
                </a:lnTo>
                <a:lnTo>
                  <a:pt x="819979" y="1354728"/>
                </a:lnTo>
                <a:cubicBezTo>
                  <a:pt x="818156" y="1352906"/>
                  <a:pt x="817701" y="1349261"/>
                  <a:pt x="816790" y="1346983"/>
                </a:cubicBezTo>
                <a:close/>
                <a:moveTo>
                  <a:pt x="742764" y="1346300"/>
                </a:moveTo>
                <a:cubicBezTo>
                  <a:pt x="738436" y="1347439"/>
                  <a:pt x="733425" y="1351084"/>
                  <a:pt x="728870" y="1354728"/>
                </a:cubicBezTo>
                <a:cubicBezTo>
                  <a:pt x="734336" y="1362016"/>
                  <a:pt x="739803" y="1363838"/>
                  <a:pt x="745269" y="1371127"/>
                </a:cubicBezTo>
                <a:cubicBezTo>
                  <a:pt x="747092" y="1365661"/>
                  <a:pt x="748914" y="1358372"/>
                  <a:pt x="752558" y="1352905"/>
                </a:cubicBezTo>
                <a:cubicBezTo>
                  <a:pt x="750737" y="1346528"/>
                  <a:pt x="747092" y="1345161"/>
                  <a:pt x="742764" y="1346300"/>
                </a:cubicBezTo>
                <a:close/>
                <a:moveTo>
                  <a:pt x="3431154" y="1345617"/>
                </a:moveTo>
                <a:cubicBezTo>
                  <a:pt x="3427510" y="1345617"/>
                  <a:pt x="3427510" y="1356550"/>
                  <a:pt x="3432976" y="1352905"/>
                </a:cubicBezTo>
                <a:cubicBezTo>
                  <a:pt x="3432976" y="1349261"/>
                  <a:pt x="3431154" y="1349261"/>
                  <a:pt x="3431154" y="1345617"/>
                </a:cubicBezTo>
                <a:close/>
                <a:moveTo>
                  <a:pt x="821801" y="1345617"/>
                </a:moveTo>
                <a:cubicBezTo>
                  <a:pt x="825445" y="1351083"/>
                  <a:pt x="832734" y="1354728"/>
                  <a:pt x="834556" y="1347439"/>
                </a:cubicBezTo>
                <a:cubicBezTo>
                  <a:pt x="830912" y="1345617"/>
                  <a:pt x="827267" y="1345617"/>
                  <a:pt x="821801" y="1345617"/>
                </a:cubicBezTo>
                <a:close/>
                <a:moveTo>
                  <a:pt x="637761" y="1345617"/>
                </a:moveTo>
                <a:cubicBezTo>
                  <a:pt x="635939" y="1343795"/>
                  <a:pt x="630472" y="1349261"/>
                  <a:pt x="634117" y="1351083"/>
                </a:cubicBezTo>
                <a:cubicBezTo>
                  <a:pt x="635939" y="1349261"/>
                  <a:pt x="635939" y="1345617"/>
                  <a:pt x="637761" y="1345617"/>
                </a:cubicBezTo>
                <a:close/>
                <a:moveTo>
                  <a:pt x="482876" y="1345617"/>
                </a:moveTo>
                <a:cubicBezTo>
                  <a:pt x="475589" y="1347439"/>
                  <a:pt x="481054" y="1349261"/>
                  <a:pt x="482876" y="1351083"/>
                </a:cubicBezTo>
                <a:cubicBezTo>
                  <a:pt x="484700" y="1349261"/>
                  <a:pt x="482876" y="1347439"/>
                  <a:pt x="482876" y="1345617"/>
                </a:cubicBezTo>
                <a:close/>
                <a:moveTo>
                  <a:pt x="647783" y="1344478"/>
                </a:moveTo>
                <a:cubicBezTo>
                  <a:pt x="645961" y="1344250"/>
                  <a:pt x="644139" y="1344706"/>
                  <a:pt x="643228" y="1347439"/>
                </a:cubicBezTo>
                <a:cubicBezTo>
                  <a:pt x="635939" y="1351083"/>
                  <a:pt x="637761" y="1362016"/>
                  <a:pt x="645050" y="1365661"/>
                </a:cubicBezTo>
                <a:cubicBezTo>
                  <a:pt x="657805" y="1358372"/>
                  <a:pt x="648694" y="1352905"/>
                  <a:pt x="643228" y="1347439"/>
                </a:cubicBezTo>
                <a:cubicBezTo>
                  <a:pt x="646872" y="1351083"/>
                  <a:pt x="650516" y="1349261"/>
                  <a:pt x="652339" y="1345617"/>
                </a:cubicBezTo>
                <a:cubicBezTo>
                  <a:pt x="651427" y="1345617"/>
                  <a:pt x="649606" y="1344706"/>
                  <a:pt x="647783" y="1344478"/>
                </a:cubicBezTo>
                <a:close/>
                <a:moveTo>
                  <a:pt x="573985" y="1343795"/>
                </a:moveTo>
                <a:cubicBezTo>
                  <a:pt x="577630" y="1351083"/>
                  <a:pt x="563052" y="1343795"/>
                  <a:pt x="568519" y="1351083"/>
                </a:cubicBezTo>
                <a:cubicBezTo>
                  <a:pt x="564874" y="1349261"/>
                  <a:pt x="563052" y="1347439"/>
                  <a:pt x="559408" y="1352905"/>
                </a:cubicBezTo>
                <a:cubicBezTo>
                  <a:pt x="568519" y="1360194"/>
                  <a:pt x="577630" y="1369305"/>
                  <a:pt x="586741" y="1374771"/>
                </a:cubicBezTo>
                <a:cubicBezTo>
                  <a:pt x="584919" y="1365661"/>
                  <a:pt x="579452" y="1358372"/>
                  <a:pt x="573985" y="1349261"/>
                </a:cubicBezTo>
                <a:cubicBezTo>
                  <a:pt x="573985" y="1352905"/>
                  <a:pt x="579452" y="1351083"/>
                  <a:pt x="581274" y="1354728"/>
                </a:cubicBezTo>
                <a:cubicBezTo>
                  <a:pt x="579452" y="1351083"/>
                  <a:pt x="581274" y="1345617"/>
                  <a:pt x="573985" y="1343795"/>
                </a:cubicBezTo>
                <a:close/>
                <a:moveTo>
                  <a:pt x="468299" y="1343795"/>
                </a:moveTo>
                <a:cubicBezTo>
                  <a:pt x="468299" y="1347439"/>
                  <a:pt x="459188" y="1349261"/>
                  <a:pt x="464655" y="1352905"/>
                </a:cubicBezTo>
                <a:cubicBezTo>
                  <a:pt x="466478" y="1351083"/>
                  <a:pt x="468299" y="1351083"/>
                  <a:pt x="471943" y="1347439"/>
                </a:cubicBezTo>
                <a:cubicBezTo>
                  <a:pt x="470121" y="1345617"/>
                  <a:pt x="470121" y="1343795"/>
                  <a:pt x="468299" y="1343795"/>
                </a:cubicBezTo>
                <a:close/>
                <a:moveTo>
                  <a:pt x="389946" y="1343795"/>
                </a:moveTo>
                <a:cubicBezTo>
                  <a:pt x="386301" y="1343795"/>
                  <a:pt x="384479" y="1347439"/>
                  <a:pt x="380835" y="1347439"/>
                </a:cubicBezTo>
                <a:cubicBezTo>
                  <a:pt x="389946" y="1356550"/>
                  <a:pt x="402701" y="1363838"/>
                  <a:pt x="411812" y="1356550"/>
                </a:cubicBezTo>
                <a:cubicBezTo>
                  <a:pt x="406345" y="1351083"/>
                  <a:pt x="399056" y="1347439"/>
                  <a:pt x="389946" y="1347439"/>
                </a:cubicBezTo>
                <a:cubicBezTo>
                  <a:pt x="389946" y="1349261"/>
                  <a:pt x="388123" y="1351083"/>
                  <a:pt x="386301" y="1349261"/>
                </a:cubicBezTo>
                <a:cubicBezTo>
                  <a:pt x="386301" y="1349261"/>
                  <a:pt x="388123" y="1345617"/>
                  <a:pt x="389946" y="1343795"/>
                </a:cubicBezTo>
                <a:close/>
                <a:moveTo>
                  <a:pt x="463516" y="1343795"/>
                </a:moveTo>
                <a:cubicBezTo>
                  <a:pt x="462833" y="1344250"/>
                  <a:pt x="461921" y="1344706"/>
                  <a:pt x="461010" y="1343795"/>
                </a:cubicBezTo>
                <a:cubicBezTo>
                  <a:pt x="461010" y="1345617"/>
                  <a:pt x="459188" y="1345617"/>
                  <a:pt x="461010" y="1347439"/>
                </a:cubicBezTo>
                <a:cubicBezTo>
                  <a:pt x="462832" y="1347439"/>
                  <a:pt x="462832" y="1345617"/>
                  <a:pt x="464655" y="1343795"/>
                </a:cubicBezTo>
                <a:cubicBezTo>
                  <a:pt x="464655" y="1342884"/>
                  <a:pt x="464200" y="1343339"/>
                  <a:pt x="463516" y="1343795"/>
                </a:cubicBezTo>
                <a:close/>
                <a:moveTo>
                  <a:pt x="1257817" y="1342489"/>
                </a:moveTo>
                <a:lnTo>
                  <a:pt x="1260945" y="1345617"/>
                </a:lnTo>
                <a:lnTo>
                  <a:pt x="1257606" y="1344504"/>
                </a:lnTo>
                <a:close/>
                <a:moveTo>
                  <a:pt x="3460107" y="1341972"/>
                </a:moveTo>
                <a:lnTo>
                  <a:pt x="3463042" y="1341972"/>
                </a:lnTo>
                <a:cubicBezTo>
                  <a:pt x="3462587" y="1343339"/>
                  <a:pt x="3462131" y="1344706"/>
                  <a:pt x="3460309" y="1343795"/>
                </a:cubicBezTo>
                <a:close/>
                <a:moveTo>
                  <a:pt x="785357" y="1341972"/>
                </a:moveTo>
                <a:cubicBezTo>
                  <a:pt x="783535" y="1345617"/>
                  <a:pt x="781713" y="1345617"/>
                  <a:pt x="779892" y="1347439"/>
                </a:cubicBezTo>
                <a:cubicBezTo>
                  <a:pt x="781713" y="1347439"/>
                  <a:pt x="779892" y="1349261"/>
                  <a:pt x="781713" y="1351083"/>
                </a:cubicBezTo>
                <a:cubicBezTo>
                  <a:pt x="783535" y="1349261"/>
                  <a:pt x="783535" y="1347439"/>
                  <a:pt x="783535" y="1345617"/>
                </a:cubicBezTo>
                <a:cubicBezTo>
                  <a:pt x="785357" y="1349261"/>
                  <a:pt x="783535" y="1356550"/>
                  <a:pt x="787179" y="1360194"/>
                </a:cubicBezTo>
                <a:cubicBezTo>
                  <a:pt x="785357" y="1356550"/>
                  <a:pt x="792646" y="1351083"/>
                  <a:pt x="789003" y="1347439"/>
                </a:cubicBezTo>
                <a:cubicBezTo>
                  <a:pt x="790824" y="1345617"/>
                  <a:pt x="790824" y="1349261"/>
                  <a:pt x="792646" y="1351083"/>
                </a:cubicBezTo>
                <a:cubicBezTo>
                  <a:pt x="794468" y="1347439"/>
                  <a:pt x="794468" y="1345617"/>
                  <a:pt x="796290" y="1343795"/>
                </a:cubicBezTo>
                <a:cubicBezTo>
                  <a:pt x="792646" y="1343795"/>
                  <a:pt x="789003" y="1341972"/>
                  <a:pt x="785357" y="1341972"/>
                </a:cubicBezTo>
                <a:close/>
                <a:moveTo>
                  <a:pt x="774424" y="1341972"/>
                </a:moveTo>
                <a:cubicBezTo>
                  <a:pt x="765313" y="1341972"/>
                  <a:pt x="770781" y="1352905"/>
                  <a:pt x="774424" y="1356550"/>
                </a:cubicBezTo>
                <a:cubicBezTo>
                  <a:pt x="778070" y="1351083"/>
                  <a:pt x="778070" y="1345617"/>
                  <a:pt x="774424" y="1341972"/>
                </a:cubicBezTo>
                <a:close/>
                <a:moveTo>
                  <a:pt x="590385" y="1341972"/>
                </a:moveTo>
                <a:cubicBezTo>
                  <a:pt x="588562" y="1343795"/>
                  <a:pt x="592207" y="1347439"/>
                  <a:pt x="594030" y="1345617"/>
                </a:cubicBezTo>
                <a:cubicBezTo>
                  <a:pt x="592207" y="1343795"/>
                  <a:pt x="592207" y="1343795"/>
                  <a:pt x="590385" y="1341972"/>
                </a:cubicBezTo>
                <a:close/>
                <a:moveTo>
                  <a:pt x="3041835" y="1340236"/>
                </a:moveTo>
                <a:cubicBezTo>
                  <a:pt x="3039387" y="1339695"/>
                  <a:pt x="3036198" y="1340150"/>
                  <a:pt x="3032098" y="1341972"/>
                </a:cubicBezTo>
                <a:cubicBezTo>
                  <a:pt x="3032098" y="1349261"/>
                  <a:pt x="3028453" y="1351083"/>
                  <a:pt x="3028453" y="1360194"/>
                </a:cubicBezTo>
                <a:cubicBezTo>
                  <a:pt x="3035742" y="1360194"/>
                  <a:pt x="3041209" y="1362016"/>
                  <a:pt x="3048497" y="1362016"/>
                </a:cubicBezTo>
                <a:cubicBezTo>
                  <a:pt x="3049864" y="1352450"/>
                  <a:pt x="3049180" y="1341859"/>
                  <a:pt x="3041835" y="1340236"/>
                </a:cubicBezTo>
                <a:close/>
                <a:moveTo>
                  <a:pt x="1255478" y="1340150"/>
                </a:moveTo>
                <a:lnTo>
                  <a:pt x="1256121" y="1340793"/>
                </a:lnTo>
                <a:lnTo>
                  <a:pt x="1255953" y="1341576"/>
                </a:lnTo>
                <a:close/>
                <a:moveTo>
                  <a:pt x="282438" y="1340150"/>
                </a:moveTo>
                <a:cubicBezTo>
                  <a:pt x="278793" y="1340150"/>
                  <a:pt x="275149" y="1341972"/>
                  <a:pt x="271504" y="1343795"/>
                </a:cubicBezTo>
                <a:cubicBezTo>
                  <a:pt x="276971" y="1347439"/>
                  <a:pt x="278793" y="1343795"/>
                  <a:pt x="282438" y="1340150"/>
                </a:cubicBezTo>
                <a:close/>
                <a:moveTo>
                  <a:pt x="3371055" y="1340058"/>
                </a:moveTo>
                <a:lnTo>
                  <a:pt x="3371022" y="1340150"/>
                </a:lnTo>
                <a:lnTo>
                  <a:pt x="3369314" y="1340653"/>
                </a:lnTo>
                <a:lnTo>
                  <a:pt x="3369200" y="1340150"/>
                </a:lnTo>
                <a:close/>
                <a:moveTo>
                  <a:pt x="3465880" y="1339929"/>
                </a:moveTo>
                <a:lnTo>
                  <a:pt x="3465775" y="1341972"/>
                </a:lnTo>
                <a:lnTo>
                  <a:pt x="3463043" y="1341972"/>
                </a:lnTo>
                <a:lnTo>
                  <a:pt x="3465775" y="1340150"/>
                </a:lnTo>
                <a:close/>
                <a:moveTo>
                  <a:pt x="1629023" y="1338447"/>
                </a:moveTo>
                <a:lnTo>
                  <a:pt x="1650889" y="1338447"/>
                </a:lnTo>
                <a:lnTo>
                  <a:pt x="1643602" y="1353024"/>
                </a:lnTo>
                <a:lnTo>
                  <a:pt x="1650889" y="1362134"/>
                </a:lnTo>
                <a:lnTo>
                  <a:pt x="1629023" y="1362134"/>
                </a:lnTo>
                <a:close/>
                <a:moveTo>
                  <a:pt x="1111526" y="1338328"/>
                </a:moveTo>
                <a:cubicBezTo>
                  <a:pt x="1104238" y="1347439"/>
                  <a:pt x="1115171" y="1360194"/>
                  <a:pt x="1120637" y="1369305"/>
                </a:cubicBezTo>
                <a:cubicBezTo>
                  <a:pt x="1120637" y="1360194"/>
                  <a:pt x="1122459" y="1347439"/>
                  <a:pt x="1111526" y="1338328"/>
                </a:cubicBezTo>
                <a:close/>
                <a:moveTo>
                  <a:pt x="621362" y="1338328"/>
                </a:moveTo>
                <a:cubicBezTo>
                  <a:pt x="617717" y="1338328"/>
                  <a:pt x="621362" y="1340150"/>
                  <a:pt x="619539" y="1341972"/>
                </a:cubicBezTo>
                <a:cubicBezTo>
                  <a:pt x="619539" y="1343795"/>
                  <a:pt x="619539" y="1340150"/>
                  <a:pt x="619539" y="1340150"/>
                </a:cubicBezTo>
                <a:cubicBezTo>
                  <a:pt x="615895" y="1341972"/>
                  <a:pt x="621362" y="1345617"/>
                  <a:pt x="621362" y="1349261"/>
                </a:cubicBezTo>
                <a:cubicBezTo>
                  <a:pt x="625006" y="1347439"/>
                  <a:pt x="623185" y="1343795"/>
                  <a:pt x="623185" y="1341972"/>
                </a:cubicBezTo>
                <a:cubicBezTo>
                  <a:pt x="626828" y="1341972"/>
                  <a:pt x="621362" y="1347439"/>
                  <a:pt x="623185" y="1349261"/>
                </a:cubicBezTo>
                <a:cubicBezTo>
                  <a:pt x="625006" y="1345617"/>
                  <a:pt x="626828" y="1351083"/>
                  <a:pt x="630472" y="1347439"/>
                </a:cubicBezTo>
                <a:cubicBezTo>
                  <a:pt x="632296" y="1345617"/>
                  <a:pt x="632296" y="1345617"/>
                  <a:pt x="634117" y="1343795"/>
                </a:cubicBezTo>
                <a:cubicBezTo>
                  <a:pt x="632296" y="1340150"/>
                  <a:pt x="630472" y="1340150"/>
                  <a:pt x="628650" y="1338328"/>
                </a:cubicBezTo>
                <a:cubicBezTo>
                  <a:pt x="625006" y="1340150"/>
                  <a:pt x="630472" y="1343795"/>
                  <a:pt x="630472" y="1347439"/>
                </a:cubicBezTo>
                <a:cubicBezTo>
                  <a:pt x="628650" y="1341972"/>
                  <a:pt x="625006" y="1338328"/>
                  <a:pt x="621362" y="1338328"/>
                </a:cubicBezTo>
                <a:close/>
                <a:moveTo>
                  <a:pt x="579452" y="1338328"/>
                </a:moveTo>
                <a:cubicBezTo>
                  <a:pt x="579452" y="1340150"/>
                  <a:pt x="577630" y="1340150"/>
                  <a:pt x="575808" y="1341972"/>
                </a:cubicBezTo>
                <a:cubicBezTo>
                  <a:pt x="583096" y="1345617"/>
                  <a:pt x="584919" y="1354728"/>
                  <a:pt x="594030" y="1352905"/>
                </a:cubicBezTo>
                <a:cubicBezTo>
                  <a:pt x="588562" y="1349261"/>
                  <a:pt x="584919" y="1343795"/>
                  <a:pt x="584919" y="1338328"/>
                </a:cubicBezTo>
                <a:cubicBezTo>
                  <a:pt x="583096" y="1340150"/>
                  <a:pt x="579452" y="1341972"/>
                  <a:pt x="579452" y="1343795"/>
                </a:cubicBezTo>
                <a:cubicBezTo>
                  <a:pt x="577630" y="1341972"/>
                  <a:pt x="581274" y="1340150"/>
                  <a:pt x="579452" y="1338328"/>
                </a:cubicBezTo>
                <a:close/>
                <a:moveTo>
                  <a:pt x="455544" y="1338328"/>
                </a:moveTo>
                <a:cubicBezTo>
                  <a:pt x="455544" y="1340150"/>
                  <a:pt x="451899" y="1343795"/>
                  <a:pt x="457367" y="1343795"/>
                </a:cubicBezTo>
                <a:cubicBezTo>
                  <a:pt x="459188" y="1341972"/>
                  <a:pt x="455544" y="1341972"/>
                  <a:pt x="455544" y="1338328"/>
                </a:cubicBezTo>
                <a:close/>
                <a:moveTo>
                  <a:pt x="371724" y="1338328"/>
                </a:moveTo>
                <a:cubicBezTo>
                  <a:pt x="373546" y="1345617"/>
                  <a:pt x="379012" y="1345617"/>
                  <a:pt x="384479" y="1341972"/>
                </a:cubicBezTo>
                <a:cubicBezTo>
                  <a:pt x="380835" y="1336506"/>
                  <a:pt x="375368" y="1341972"/>
                  <a:pt x="371724" y="1338328"/>
                </a:cubicBezTo>
                <a:close/>
                <a:moveTo>
                  <a:pt x="3407466" y="1336506"/>
                </a:moveTo>
                <a:cubicBezTo>
                  <a:pt x="3405643" y="1338328"/>
                  <a:pt x="3407466" y="1345617"/>
                  <a:pt x="3407466" y="1347439"/>
                </a:cubicBezTo>
                <a:cubicBezTo>
                  <a:pt x="3411110" y="1345617"/>
                  <a:pt x="3409288" y="1338328"/>
                  <a:pt x="3407466" y="1336506"/>
                </a:cubicBezTo>
                <a:close/>
                <a:moveTo>
                  <a:pt x="2917301" y="1336506"/>
                </a:moveTo>
                <a:cubicBezTo>
                  <a:pt x="2915479" y="1336506"/>
                  <a:pt x="2915479" y="1338328"/>
                  <a:pt x="2913656" y="1338328"/>
                </a:cubicBezTo>
                <a:cubicBezTo>
                  <a:pt x="2913656" y="1340150"/>
                  <a:pt x="2913656" y="1340150"/>
                  <a:pt x="2917301" y="1341972"/>
                </a:cubicBezTo>
                <a:cubicBezTo>
                  <a:pt x="2906368" y="1347439"/>
                  <a:pt x="2900901" y="1354728"/>
                  <a:pt x="2897257" y="1367483"/>
                </a:cubicBezTo>
                <a:cubicBezTo>
                  <a:pt x="2906368" y="1372949"/>
                  <a:pt x="2924590" y="1371127"/>
                  <a:pt x="2922767" y="1358372"/>
                </a:cubicBezTo>
                <a:cubicBezTo>
                  <a:pt x="2922767" y="1356550"/>
                  <a:pt x="2919123" y="1356550"/>
                  <a:pt x="2915479" y="1356550"/>
                </a:cubicBezTo>
                <a:cubicBezTo>
                  <a:pt x="2917301" y="1352905"/>
                  <a:pt x="2922767" y="1351083"/>
                  <a:pt x="2917301" y="1347439"/>
                </a:cubicBezTo>
                <a:cubicBezTo>
                  <a:pt x="2917301" y="1347439"/>
                  <a:pt x="2919123" y="1347439"/>
                  <a:pt x="2919123" y="1347439"/>
                </a:cubicBezTo>
                <a:lnTo>
                  <a:pt x="2919123" y="1341972"/>
                </a:lnTo>
                <a:cubicBezTo>
                  <a:pt x="2917301" y="1340150"/>
                  <a:pt x="2917301" y="1338328"/>
                  <a:pt x="2917301" y="1336506"/>
                </a:cubicBezTo>
                <a:close/>
                <a:moveTo>
                  <a:pt x="2830065" y="1336506"/>
                </a:moveTo>
                <a:cubicBezTo>
                  <a:pt x="2824370" y="1334684"/>
                  <a:pt x="2818904" y="1337417"/>
                  <a:pt x="2817081" y="1349261"/>
                </a:cubicBezTo>
                <a:cubicBezTo>
                  <a:pt x="2824370" y="1351083"/>
                  <a:pt x="2824370" y="1343795"/>
                  <a:pt x="2828014" y="1341972"/>
                </a:cubicBezTo>
                <a:cubicBezTo>
                  <a:pt x="2831659" y="1341972"/>
                  <a:pt x="2828014" y="1345617"/>
                  <a:pt x="2828014" y="1349261"/>
                </a:cubicBezTo>
                <a:cubicBezTo>
                  <a:pt x="2835303" y="1349261"/>
                  <a:pt x="2837125" y="1352905"/>
                  <a:pt x="2844414" y="1351083"/>
                </a:cubicBezTo>
                <a:cubicBezTo>
                  <a:pt x="2841681" y="1344706"/>
                  <a:pt x="2835759" y="1338328"/>
                  <a:pt x="2830065" y="1336506"/>
                </a:cubicBezTo>
                <a:close/>
                <a:moveTo>
                  <a:pt x="1102416" y="1336506"/>
                </a:moveTo>
                <a:cubicBezTo>
                  <a:pt x="1107882" y="1338328"/>
                  <a:pt x="1102416" y="1340150"/>
                  <a:pt x="1106060" y="1343795"/>
                </a:cubicBezTo>
                <a:cubicBezTo>
                  <a:pt x="1106060" y="1341972"/>
                  <a:pt x="1106060" y="1334684"/>
                  <a:pt x="1102416" y="1336506"/>
                </a:cubicBezTo>
                <a:close/>
                <a:moveTo>
                  <a:pt x="666916" y="1336506"/>
                </a:moveTo>
                <a:cubicBezTo>
                  <a:pt x="663272" y="1341972"/>
                  <a:pt x="666916" y="1343795"/>
                  <a:pt x="668738" y="1347439"/>
                </a:cubicBezTo>
                <a:cubicBezTo>
                  <a:pt x="670560" y="1345617"/>
                  <a:pt x="672383" y="1341972"/>
                  <a:pt x="674205" y="1341972"/>
                </a:cubicBezTo>
                <a:cubicBezTo>
                  <a:pt x="672383" y="1338328"/>
                  <a:pt x="668738" y="1338328"/>
                  <a:pt x="666916" y="1336506"/>
                </a:cubicBezTo>
                <a:close/>
                <a:moveTo>
                  <a:pt x="654161" y="1336506"/>
                </a:moveTo>
                <a:cubicBezTo>
                  <a:pt x="650516" y="1340150"/>
                  <a:pt x="655983" y="1340150"/>
                  <a:pt x="655983" y="1341972"/>
                </a:cubicBezTo>
                <a:cubicBezTo>
                  <a:pt x="657805" y="1340150"/>
                  <a:pt x="655983" y="1338328"/>
                  <a:pt x="654161" y="1336506"/>
                </a:cubicBezTo>
                <a:close/>
                <a:moveTo>
                  <a:pt x="3434798" y="1334684"/>
                </a:moveTo>
                <a:cubicBezTo>
                  <a:pt x="3436621" y="1338328"/>
                  <a:pt x="3438443" y="1336506"/>
                  <a:pt x="3436621" y="1343795"/>
                </a:cubicBezTo>
                <a:cubicBezTo>
                  <a:pt x="3445731" y="1341972"/>
                  <a:pt x="3443909" y="1331039"/>
                  <a:pt x="3434798" y="1334684"/>
                </a:cubicBezTo>
                <a:close/>
                <a:moveTo>
                  <a:pt x="3234359" y="1334684"/>
                </a:moveTo>
                <a:cubicBezTo>
                  <a:pt x="3228893" y="1336506"/>
                  <a:pt x="3227071" y="1341972"/>
                  <a:pt x="3219782" y="1341972"/>
                </a:cubicBezTo>
                <a:lnTo>
                  <a:pt x="3219782" y="1347439"/>
                </a:lnTo>
                <a:cubicBezTo>
                  <a:pt x="3223426" y="1351083"/>
                  <a:pt x="3230715" y="1351083"/>
                  <a:pt x="3232537" y="1356550"/>
                </a:cubicBezTo>
                <a:cubicBezTo>
                  <a:pt x="3228893" y="1360194"/>
                  <a:pt x="3230715" y="1371127"/>
                  <a:pt x="3239826" y="1371127"/>
                </a:cubicBezTo>
                <a:cubicBezTo>
                  <a:pt x="3241648" y="1369305"/>
                  <a:pt x="3238003" y="1369305"/>
                  <a:pt x="3239826" y="1367483"/>
                </a:cubicBezTo>
                <a:cubicBezTo>
                  <a:pt x="3245292" y="1367483"/>
                  <a:pt x="3241648" y="1372949"/>
                  <a:pt x="3245292" y="1372949"/>
                </a:cubicBezTo>
                <a:cubicBezTo>
                  <a:pt x="3250759" y="1374771"/>
                  <a:pt x="3248937" y="1367483"/>
                  <a:pt x="3254403" y="1369305"/>
                </a:cubicBezTo>
                <a:cubicBezTo>
                  <a:pt x="3250759" y="1365661"/>
                  <a:pt x="3250759" y="1365661"/>
                  <a:pt x="3252581" y="1360194"/>
                </a:cubicBezTo>
                <a:cubicBezTo>
                  <a:pt x="3250759" y="1358372"/>
                  <a:pt x="3248937" y="1358372"/>
                  <a:pt x="3245292" y="1358372"/>
                </a:cubicBezTo>
                <a:cubicBezTo>
                  <a:pt x="3247114" y="1345617"/>
                  <a:pt x="3239826" y="1341972"/>
                  <a:pt x="3234359" y="1334684"/>
                </a:cubicBezTo>
                <a:close/>
                <a:moveTo>
                  <a:pt x="3066719" y="1334684"/>
                </a:moveTo>
                <a:cubicBezTo>
                  <a:pt x="3066719" y="1340150"/>
                  <a:pt x="3070363" y="1340150"/>
                  <a:pt x="3072186" y="1341972"/>
                </a:cubicBezTo>
                <a:cubicBezTo>
                  <a:pt x="3068541" y="1343795"/>
                  <a:pt x="3070363" y="1349261"/>
                  <a:pt x="3066719" y="1349261"/>
                </a:cubicBezTo>
                <a:cubicBezTo>
                  <a:pt x="3063075" y="1349261"/>
                  <a:pt x="3068541" y="1341972"/>
                  <a:pt x="3063075" y="1343795"/>
                </a:cubicBezTo>
                <a:cubicBezTo>
                  <a:pt x="3064897" y="1352905"/>
                  <a:pt x="3057608" y="1360194"/>
                  <a:pt x="3066719" y="1362016"/>
                </a:cubicBezTo>
                <a:cubicBezTo>
                  <a:pt x="3066719" y="1358372"/>
                  <a:pt x="3066719" y="1356550"/>
                  <a:pt x="3066719" y="1354728"/>
                </a:cubicBezTo>
                <a:cubicBezTo>
                  <a:pt x="3072186" y="1352905"/>
                  <a:pt x="3066719" y="1360194"/>
                  <a:pt x="3072186" y="1358372"/>
                </a:cubicBezTo>
                <a:cubicBezTo>
                  <a:pt x="3072186" y="1362016"/>
                  <a:pt x="3070363" y="1363838"/>
                  <a:pt x="3070363" y="1367483"/>
                </a:cubicBezTo>
                <a:cubicBezTo>
                  <a:pt x="3074008" y="1367483"/>
                  <a:pt x="3075830" y="1367483"/>
                  <a:pt x="3079474" y="1367483"/>
                </a:cubicBezTo>
                <a:cubicBezTo>
                  <a:pt x="3080386" y="1364750"/>
                  <a:pt x="3081753" y="1361105"/>
                  <a:pt x="3084030" y="1358144"/>
                </a:cubicBezTo>
                <a:lnTo>
                  <a:pt x="3093645" y="1353118"/>
                </a:lnTo>
                <a:lnTo>
                  <a:pt x="3092230" y="1360194"/>
                </a:lnTo>
                <a:cubicBezTo>
                  <a:pt x="3095874" y="1362016"/>
                  <a:pt x="3097696" y="1363838"/>
                  <a:pt x="3099518" y="1362016"/>
                </a:cubicBezTo>
                <a:cubicBezTo>
                  <a:pt x="3099518" y="1363838"/>
                  <a:pt x="3099518" y="1372949"/>
                  <a:pt x="3103163" y="1376594"/>
                </a:cubicBezTo>
                <a:cubicBezTo>
                  <a:pt x="3110451" y="1372949"/>
                  <a:pt x="3104985" y="1367483"/>
                  <a:pt x="3103163" y="1362016"/>
                </a:cubicBezTo>
                <a:cubicBezTo>
                  <a:pt x="3103163" y="1360194"/>
                  <a:pt x="3104985" y="1360194"/>
                  <a:pt x="3106807" y="1360194"/>
                </a:cubicBezTo>
                <a:cubicBezTo>
                  <a:pt x="3106807" y="1358372"/>
                  <a:pt x="3106807" y="1356550"/>
                  <a:pt x="3106807" y="1354728"/>
                </a:cubicBezTo>
                <a:cubicBezTo>
                  <a:pt x="3103163" y="1349261"/>
                  <a:pt x="3099518" y="1352905"/>
                  <a:pt x="3094052" y="1351083"/>
                </a:cubicBezTo>
                <a:lnTo>
                  <a:pt x="3093779" y="1352450"/>
                </a:lnTo>
                <a:lnTo>
                  <a:pt x="3092685" y="1350628"/>
                </a:lnTo>
                <a:cubicBezTo>
                  <a:pt x="3093596" y="1349716"/>
                  <a:pt x="3094963" y="1348350"/>
                  <a:pt x="3094052" y="1345617"/>
                </a:cubicBezTo>
                <a:cubicBezTo>
                  <a:pt x="3092230" y="1345617"/>
                  <a:pt x="3084941" y="1338328"/>
                  <a:pt x="3084941" y="1343795"/>
                </a:cubicBezTo>
                <a:cubicBezTo>
                  <a:pt x="3081297" y="1340150"/>
                  <a:pt x="3074008" y="1341972"/>
                  <a:pt x="3074008" y="1334684"/>
                </a:cubicBezTo>
                <a:cubicBezTo>
                  <a:pt x="3070363" y="1334684"/>
                  <a:pt x="3068541" y="1334684"/>
                  <a:pt x="3066719" y="1334684"/>
                </a:cubicBezTo>
                <a:close/>
                <a:moveTo>
                  <a:pt x="1231790" y="1334684"/>
                </a:moveTo>
                <a:cubicBezTo>
                  <a:pt x="1229969" y="1334684"/>
                  <a:pt x="1229969" y="1338328"/>
                  <a:pt x="1229969" y="1340150"/>
                </a:cubicBezTo>
                <a:cubicBezTo>
                  <a:pt x="1229969" y="1340150"/>
                  <a:pt x="1231790" y="1340150"/>
                  <a:pt x="1233612" y="1340150"/>
                </a:cubicBezTo>
                <a:cubicBezTo>
                  <a:pt x="1233612" y="1338328"/>
                  <a:pt x="1231790" y="1336506"/>
                  <a:pt x="1231790" y="1334684"/>
                </a:cubicBezTo>
                <a:close/>
                <a:moveTo>
                  <a:pt x="1091484" y="1334684"/>
                </a:moveTo>
                <a:cubicBezTo>
                  <a:pt x="1089660" y="1340150"/>
                  <a:pt x="1089660" y="1345617"/>
                  <a:pt x="1093305" y="1352905"/>
                </a:cubicBezTo>
                <a:cubicBezTo>
                  <a:pt x="1095127" y="1352905"/>
                  <a:pt x="1095127" y="1358372"/>
                  <a:pt x="1098771" y="1360194"/>
                </a:cubicBezTo>
                <a:cubicBezTo>
                  <a:pt x="1102416" y="1360194"/>
                  <a:pt x="1100593" y="1358372"/>
                  <a:pt x="1100593" y="1356550"/>
                </a:cubicBezTo>
                <a:cubicBezTo>
                  <a:pt x="1102416" y="1356550"/>
                  <a:pt x="1102416" y="1363838"/>
                  <a:pt x="1100593" y="1362016"/>
                </a:cubicBezTo>
                <a:cubicBezTo>
                  <a:pt x="1099683" y="1362927"/>
                  <a:pt x="1100139" y="1362927"/>
                  <a:pt x="1101049" y="1362699"/>
                </a:cubicBezTo>
                <a:lnTo>
                  <a:pt x="1102669" y="1362352"/>
                </a:lnTo>
                <a:lnTo>
                  <a:pt x="1129748" y="1398460"/>
                </a:lnTo>
                <a:lnTo>
                  <a:pt x="1130721" y="1397292"/>
                </a:lnTo>
                <a:lnTo>
                  <a:pt x="1131750" y="1399281"/>
                </a:lnTo>
                <a:lnTo>
                  <a:pt x="1131115" y="1399599"/>
                </a:lnTo>
                <a:cubicBezTo>
                  <a:pt x="1130204" y="1399827"/>
                  <a:pt x="1129748" y="1400282"/>
                  <a:pt x="1131570" y="1402104"/>
                </a:cubicBezTo>
                <a:cubicBezTo>
                  <a:pt x="1132481" y="1403926"/>
                  <a:pt x="1132481" y="1403471"/>
                  <a:pt x="1132481" y="1402559"/>
                </a:cubicBezTo>
                <a:lnTo>
                  <a:pt x="1132901" y="1401510"/>
                </a:lnTo>
                <a:lnTo>
                  <a:pt x="1138859" y="1413037"/>
                </a:lnTo>
                <a:cubicBezTo>
                  <a:pt x="1137037" y="1407571"/>
                  <a:pt x="1133393" y="1405748"/>
                  <a:pt x="1133393" y="1400282"/>
                </a:cubicBezTo>
                <a:lnTo>
                  <a:pt x="1132901" y="1401510"/>
                </a:lnTo>
                <a:lnTo>
                  <a:pt x="1131750" y="1399281"/>
                </a:lnTo>
                <a:lnTo>
                  <a:pt x="1133393" y="1398460"/>
                </a:lnTo>
                <a:cubicBezTo>
                  <a:pt x="1131570" y="1398460"/>
                  <a:pt x="1131115" y="1397549"/>
                  <a:pt x="1130887" y="1397093"/>
                </a:cubicBezTo>
                <a:lnTo>
                  <a:pt x="1130721" y="1397292"/>
                </a:lnTo>
                <a:lnTo>
                  <a:pt x="1128382" y="1392765"/>
                </a:lnTo>
                <a:cubicBezTo>
                  <a:pt x="1124282" y="1385249"/>
                  <a:pt x="1119727" y="1377505"/>
                  <a:pt x="1115171" y="1371127"/>
                </a:cubicBezTo>
                <a:cubicBezTo>
                  <a:pt x="1116993" y="1369305"/>
                  <a:pt x="1111526" y="1367483"/>
                  <a:pt x="1113349" y="1363838"/>
                </a:cubicBezTo>
                <a:cubicBezTo>
                  <a:pt x="1111526" y="1363838"/>
                  <a:pt x="1111526" y="1371127"/>
                  <a:pt x="1115171" y="1371127"/>
                </a:cubicBezTo>
                <a:cubicBezTo>
                  <a:pt x="1113348" y="1369305"/>
                  <a:pt x="1111526" y="1366572"/>
                  <a:pt x="1109476" y="1364522"/>
                </a:cubicBezTo>
                <a:lnTo>
                  <a:pt x="1109039" y="1364367"/>
                </a:lnTo>
                <a:lnTo>
                  <a:pt x="1108110" y="1357461"/>
                </a:lnTo>
                <a:cubicBezTo>
                  <a:pt x="1106060" y="1353361"/>
                  <a:pt x="1103327" y="1349261"/>
                  <a:pt x="1102416" y="1345617"/>
                </a:cubicBezTo>
                <a:cubicBezTo>
                  <a:pt x="1098771" y="1345617"/>
                  <a:pt x="1096949" y="1351083"/>
                  <a:pt x="1093305" y="1352905"/>
                </a:cubicBezTo>
                <a:cubicBezTo>
                  <a:pt x="1095127" y="1351083"/>
                  <a:pt x="1096949" y="1345617"/>
                  <a:pt x="1100593" y="1345617"/>
                </a:cubicBezTo>
                <a:cubicBezTo>
                  <a:pt x="1100593" y="1341972"/>
                  <a:pt x="1095127" y="1338328"/>
                  <a:pt x="1091484" y="1334684"/>
                </a:cubicBezTo>
                <a:close/>
                <a:moveTo>
                  <a:pt x="645050" y="1334684"/>
                </a:moveTo>
                <a:cubicBezTo>
                  <a:pt x="645050" y="1336506"/>
                  <a:pt x="648694" y="1338328"/>
                  <a:pt x="643228" y="1338328"/>
                </a:cubicBezTo>
                <a:cubicBezTo>
                  <a:pt x="645050" y="1343795"/>
                  <a:pt x="646872" y="1343795"/>
                  <a:pt x="648694" y="1340150"/>
                </a:cubicBezTo>
                <a:cubicBezTo>
                  <a:pt x="648694" y="1336506"/>
                  <a:pt x="646872" y="1336506"/>
                  <a:pt x="645050" y="1334684"/>
                </a:cubicBezTo>
                <a:close/>
                <a:moveTo>
                  <a:pt x="632295" y="1334229"/>
                </a:moveTo>
                <a:cubicBezTo>
                  <a:pt x="630473" y="1334229"/>
                  <a:pt x="628650" y="1334684"/>
                  <a:pt x="626828" y="1334684"/>
                </a:cubicBezTo>
                <a:cubicBezTo>
                  <a:pt x="630472" y="1336506"/>
                  <a:pt x="635939" y="1340150"/>
                  <a:pt x="637761" y="1336506"/>
                </a:cubicBezTo>
                <a:cubicBezTo>
                  <a:pt x="635939" y="1334684"/>
                  <a:pt x="634117" y="1334229"/>
                  <a:pt x="632295" y="1334229"/>
                </a:cubicBezTo>
                <a:close/>
                <a:moveTo>
                  <a:pt x="901325" y="1333513"/>
                </a:moveTo>
                <a:lnTo>
                  <a:pt x="900896" y="1335147"/>
                </a:lnTo>
                <a:lnTo>
                  <a:pt x="900154" y="1334684"/>
                </a:lnTo>
                <a:close/>
                <a:moveTo>
                  <a:pt x="3466210" y="1333490"/>
                </a:moveTo>
                <a:lnTo>
                  <a:pt x="3467825" y="1335823"/>
                </a:lnTo>
                <a:lnTo>
                  <a:pt x="3465880" y="1339929"/>
                </a:lnTo>
                <a:close/>
                <a:moveTo>
                  <a:pt x="3465866" y="1332993"/>
                </a:moveTo>
                <a:lnTo>
                  <a:pt x="3466231" y="1333089"/>
                </a:lnTo>
                <a:lnTo>
                  <a:pt x="3466210" y="1333490"/>
                </a:lnTo>
                <a:close/>
                <a:moveTo>
                  <a:pt x="3465775" y="1332862"/>
                </a:moveTo>
                <a:lnTo>
                  <a:pt x="3465866" y="1332993"/>
                </a:lnTo>
                <a:lnTo>
                  <a:pt x="3465673" y="1332941"/>
                </a:lnTo>
                <a:close/>
                <a:moveTo>
                  <a:pt x="3132317" y="1332862"/>
                </a:moveTo>
                <a:cubicBezTo>
                  <a:pt x="3134140" y="1343795"/>
                  <a:pt x="3135962" y="1367483"/>
                  <a:pt x="3148717" y="1372949"/>
                </a:cubicBezTo>
                <a:cubicBezTo>
                  <a:pt x="3150539" y="1376594"/>
                  <a:pt x="3146895" y="1376594"/>
                  <a:pt x="3148717" y="1380238"/>
                </a:cubicBezTo>
                <a:cubicBezTo>
                  <a:pt x="3157828" y="1378416"/>
                  <a:pt x="3157828" y="1387527"/>
                  <a:pt x="3161472" y="1389349"/>
                </a:cubicBezTo>
                <a:cubicBezTo>
                  <a:pt x="3163294" y="1385705"/>
                  <a:pt x="3161472" y="1383882"/>
                  <a:pt x="3166939" y="1387527"/>
                </a:cubicBezTo>
                <a:cubicBezTo>
                  <a:pt x="3163294" y="1391171"/>
                  <a:pt x="3161472" y="1400282"/>
                  <a:pt x="3168761" y="1396638"/>
                </a:cubicBezTo>
                <a:cubicBezTo>
                  <a:pt x="3174227" y="1394815"/>
                  <a:pt x="3166939" y="1387527"/>
                  <a:pt x="3165116" y="1382060"/>
                </a:cubicBezTo>
                <a:cubicBezTo>
                  <a:pt x="3170583" y="1371127"/>
                  <a:pt x="3157828" y="1354728"/>
                  <a:pt x="3150539" y="1363838"/>
                </a:cubicBezTo>
                <a:cubicBezTo>
                  <a:pt x="3145073" y="1363838"/>
                  <a:pt x="3145073" y="1358372"/>
                  <a:pt x="3143250" y="1356550"/>
                </a:cubicBezTo>
                <a:cubicBezTo>
                  <a:pt x="3145073" y="1351083"/>
                  <a:pt x="3161472" y="1352905"/>
                  <a:pt x="3161472" y="1354728"/>
                </a:cubicBezTo>
                <a:cubicBezTo>
                  <a:pt x="3163294" y="1352905"/>
                  <a:pt x="3161472" y="1343795"/>
                  <a:pt x="3156006" y="1343795"/>
                </a:cubicBezTo>
                <a:cubicBezTo>
                  <a:pt x="3156006" y="1345617"/>
                  <a:pt x="3156006" y="1345617"/>
                  <a:pt x="3156006" y="1347439"/>
                </a:cubicBezTo>
                <a:cubicBezTo>
                  <a:pt x="3150539" y="1341972"/>
                  <a:pt x="3146895" y="1338328"/>
                  <a:pt x="3139606" y="1334684"/>
                </a:cubicBezTo>
                <a:cubicBezTo>
                  <a:pt x="3139606" y="1334684"/>
                  <a:pt x="3137784" y="1336506"/>
                  <a:pt x="3137784" y="1338328"/>
                </a:cubicBezTo>
                <a:cubicBezTo>
                  <a:pt x="3134140" y="1336506"/>
                  <a:pt x="3137784" y="1331039"/>
                  <a:pt x="3132317" y="1332862"/>
                </a:cubicBezTo>
                <a:close/>
                <a:moveTo>
                  <a:pt x="1235434" y="1332862"/>
                </a:moveTo>
                <a:cubicBezTo>
                  <a:pt x="1233612" y="1336506"/>
                  <a:pt x="1240901" y="1334684"/>
                  <a:pt x="1242723" y="1338328"/>
                </a:cubicBezTo>
                <a:cubicBezTo>
                  <a:pt x="1242723" y="1338328"/>
                  <a:pt x="1242723" y="1336506"/>
                  <a:pt x="1242723" y="1334684"/>
                </a:cubicBezTo>
                <a:cubicBezTo>
                  <a:pt x="1240901" y="1332862"/>
                  <a:pt x="1237256" y="1334684"/>
                  <a:pt x="1235434" y="1332862"/>
                </a:cubicBezTo>
                <a:close/>
                <a:moveTo>
                  <a:pt x="1147970" y="1332862"/>
                </a:moveTo>
                <a:cubicBezTo>
                  <a:pt x="1146148" y="1345617"/>
                  <a:pt x="1138859" y="1358372"/>
                  <a:pt x="1151614" y="1372949"/>
                </a:cubicBezTo>
                <a:cubicBezTo>
                  <a:pt x="1153436" y="1371127"/>
                  <a:pt x="1153436" y="1367483"/>
                  <a:pt x="1151614" y="1365661"/>
                </a:cubicBezTo>
                <a:cubicBezTo>
                  <a:pt x="1157081" y="1363838"/>
                  <a:pt x="1155259" y="1372949"/>
                  <a:pt x="1153436" y="1374771"/>
                </a:cubicBezTo>
                <a:cubicBezTo>
                  <a:pt x="1155259" y="1376594"/>
                  <a:pt x="1157081" y="1378416"/>
                  <a:pt x="1158903" y="1380238"/>
                </a:cubicBezTo>
                <a:cubicBezTo>
                  <a:pt x="1157081" y="1380238"/>
                  <a:pt x="1157081" y="1378416"/>
                  <a:pt x="1155259" y="1378416"/>
                </a:cubicBezTo>
                <a:cubicBezTo>
                  <a:pt x="1155259" y="1382060"/>
                  <a:pt x="1157081" y="1383882"/>
                  <a:pt x="1158903" y="1387527"/>
                </a:cubicBezTo>
                <a:cubicBezTo>
                  <a:pt x="1160725" y="1385705"/>
                  <a:pt x="1160725" y="1383882"/>
                  <a:pt x="1158903" y="1382060"/>
                </a:cubicBezTo>
                <a:cubicBezTo>
                  <a:pt x="1160725" y="1382060"/>
                  <a:pt x="1160725" y="1383882"/>
                  <a:pt x="1162547" y="1382060"/>
                </a:cubicBezTo>
                <a:cubicBezTo>
                  <a:pt x="1162547" y="1378416"/>
                  <a:pt x="1158903" y="1374771"/>
                  <a:pt x="1157081" y="1371127"/>
                </a:cubicBezTo>
                <a:lnTo>
                  <a:pt x="1159608" y="1371127"/>
                </a:lnTo>
                <a:lnTo>
                  <a:pt x="1160725" y="1376594"/>
                </a:lnTo>
                <a:cubicBezTo>
                  <a:pt x="1158903" y="1374771"/>
                  <a:pt x="1160725" y="1372949"/>
                  <a:pt x="1160725" y="1371127"/>
                </a:cubicBezTo>
                <a:lnTo>
                  <a:pt x="1159608" y="1371127"/>
                </a:lnTo>
                <a:lnTo>
                  <a:pt x="1156397" y="1355411"/>
                </a:lnTo>
                <a:cubicBezTo>
                  <a:pt x="1153892" y="1348350"/>
                  <a:pt x="1150703" y="1341062"/>
                  <a:pt x="1147970" y="1332862"/>
                </a:cubicBezTo>
                <a:close/>
                <a:moveTo>
                  <a:pt x="502920" y="1332862"/>
                </a:moveTo>
                <a:cubicBezTo>
                  <a:pt x="501098" y="1336506"/>
                  <a:pt x="493809" y="1332862"/>
                  <a:pt x="497454" y="1340150"/>
                </a:cubicBezTo>
                <a:cubicBezTo>
                  <a:pt x="501098" y="1341972"/>
                  <a:pt x="504743" y="1336506"/>
                  <a:pt x="502920" y="1332862"/>
                </a:cubicBezTo>
                <a:close/>
                <a:moveTo>
                  <a:pt x="337102" y="1332862"/>
                </a:moveTo>
                <a:cubicBezTo>
                  <a:pt x="331636" y="1334684"/>
                  <a:pt x="326169" y="1338328"/>
                  <a:pt x="320703" y="1341972"/>
                </a:cubicBezTo>
                <a:cubicBezTo>
                  <a:pt x="322525" y="1345617"/>
                  <a:pt x="326169" y="1345617"/>
                  <a:pt x="327993" y="1349261"/>
                </a:cubicBezTo>
                <a:cubicBezTo>
                  <a:pt x="333458" y="1343795"/>
                  <a:pt x="337102" y="1338328"/>
                  <a:pt x="337102" y="1332862"/>
                </a:cubicBezTo>
                <a:close/>
                <a:moveTo>
                  <a:pt x="1023151" y="1331495"/>
                </a:moveTo>
                <a:cubicBezTo>
                  <a:pt x="1022240" y="1331951"/>
                  <a:pt x="1021329" y="1332862"/>
                  <a:pt x="1020418" y="1332862"/>
                </a:cubicBezTo>
                <a:cubicBezTo>
                  <a:pt x="1018596" y="1336506"/>
                  <a:pt x="1022240" y="1334684"/>
                  <a:pt x="1022240" y="1336506"/>
                </a:cubicBezTo>
                <a:cubicBezTo>
                  <a:pt x="1025884" y="1334684"/>
                  <a:pt x="1024062" y="1332862"/>
                  <a:pt x="1025884" y="1332862"/>
                </a:cubicBezTo>
                <a:cubicBezTo>
                  <a:pt x="1024973" y="1331040"/>
                  <a:pt x="1024062" y="1331040"/>
                  <a:pt x="1023151" y="1331495"/>
                </a:cubicBezTo>
                <a:close/>
                <a:moveTo>
                  <a:pt x="3097468" y="1331039"/>
                </a:moveTo>
                <a:cubicBezTo>
                  <a:pt x="3091319" y="1331039"/>
                  <a:pt x="3084941" y="1331950"/>
                  <a:pt x="3075830" y="1332862"/>
                </a:cubicBezTo>
                <a:cubicBezTo>
                  <a:pt x="3079474" y="1338328"/>
                  <a:pt x="3090407" y="1345617"/>
                  <a:pt x="3095874" y="1340150"/>
                </a:cubicBezTo>
                <a:cubicBezTo>
                  <a:pt x="3097696" y="1340150"/>
                  <a:pt x="3097696" y="1345617"/>
                  <a:pt x="3101340" y="1341972"/>
                </a:cubicBezTo>
                <a:cubicBezTo>
                  <a:pt x="3097696" y="1349261"/>
                  <a:pt x="3106807" y="1352905"/>
                  <a:pt x="3108629" y="1347439"/>
                </a:cubicBezTo>
                <a:cubicBezTo>
                  <a:pt x="3106807" y="1345617"/>
                  <a:pt x="3106807" y="1345617"/>
                  <a:pt x="3103163" y="1345617"/>
                </a:cubicBezTo>
                <a:cubicBezTo>
                  <a:pt x="3104985" y="1341972"/>
                  <a:pt x="3114096" y="1345617"/>
                  <a:pt x="3110451" y="1338328"/>
                </a:cubicBezTo>
                <a:cubicBezTo>
                  <a:pt x="3114096" y="1338328"/>
                  <a:pt x="3112274" y="1343795"/>
                  <a:pt x="3114096" y="1345617"/>
                </a:cubicBezTo>
                <a:cubicBezTo>
                  <a:pt x="3117740" y="1345617"/>
                  <a:pt x="3117740" y="1340150"/>
                  <a:pt x="3117740" y="1334684"/>
                </a:cubicBezTo>
                <a:cubicBezTo>
                  <a:pt x="3109540" y="1331950"/>
                  <a:pt x="3103618" y="1331039"/>
                  <a:pt x="3097468" y="1331039"/>
                </a:cubicBezTo>
                <a:close/>
                <a:moveTo>
                  <a:pt x="2946456" y="1331039"/>
                </a:moveTo>
                <a:cubicBezTo>
                  <a:pt x="2946456" y="1332862"/>
                  <a:pt x="2946456" y="1336506"/>
                  <a:pt x="2946456" y="1338328"/>
                </a:cubicBezTo>
                <a:cubicBezTo>
                  <a:pt x="2950100" y="1338328"/>
                  <a:pt x="2951922" y="1338328"/>
                  <a:pt x="2955566" y="1338328"/>
                </a:cubicBezTo>
                <a:cubicBezTo>
                  <a:pt x="2953744" y="1336506"/>
                  <a:pt x="2950100" y="1332862"/>
                  <a:pt x="2946456" y="1331039"/>
                </a:cubicBezTo>
                <a:close/>
                <a:moveTo>
                  <a:pt x="1929683" y="1331039"/>
                </a:moveTo>
                <a:lnTo>
                  <a:pt x="1913283" y="1332862"/>
                </a:lnTo>
                <a:lnTo>
                  <a:pt x="1927861" y="1347439"/>
                </a:lnTo>
                <a:close/>
                <a:moveTo>
                  <a:pt x="901976" y="1331039"/>
                </a:moveTo>
                <a:cubicBezTo>
                  <a:pt x="898333" y="1332862"/>
                  <a:pt x="894688" y="1331039"/>
                  <a:pt x="891043" y="1334684"/>
                </a:cubicBezTo>
                <a:cubicBezTo>
                  <a:pt x="892866" y="1336506"/>
                  <a:pt x="900154" y="1332862"/>
                  <a:pt x="898333" y="1338328"/>
                </a:cubicBezTo>
                <a:cubicBezTo>
                  <a:pt x="899243" y="1338328"/>
                  <a:pt x="900154" y="1336962"/>
                  <a:pt x="900838" y="1335367"/>
                </a:cubicBezTo>
                <a:lnTo>
                  <a:pt x="900896" y="1335147"/>
                </a:lnTo>
                <a:lnTo>
                  <a:pt x="903799" y="1336962"/>
                </a:lnTo>
                <a:cubicBezTo>
                  <a:pt x="905166" y="1336962"/>
                  <a:pt x="906533" y="1336506"/>
                  <a:pt x="907444" y="1336506"/>
                </a:cubicBezTo>
                <a:cubicBezTo>
                  <a:pt x="909265" y="1332862"/>
                  <a:pt x="903799" y="1332862"/>
                  <a:pt x="903799" y="1331039"/>
                </a:cubicBezTo>
                <a:lnTo>
                  <a:pt x="901325" y="1333513"/>
                </a:lnTo>
                <a:close/>
                <a:moveTo>
                  <a:pt x="388123" y="1331039"/>
                </a:moveTo>
                <a:cubicBezTo>
                  <a:pt x="388123" y="1331039"/>
                  <a:pt x="391768" y="1336506"/>
                  <a:pt x="391768" y="1331039"/>
                </a:cubicBezTo>
                <a:cubicBezTo>
                  <a:pt x="389946" y="1329217"/>
                  <a:pt x="389946" y="1331039"/>
                  <a:pt x="388123" y="1331039"/>
                </a:cubicBezTo>
                <a:close/>
                <a:moveTo>
                  <a:pt x="1222186" y="1329808"/>
                </a:moveTo>
                <a:lnTo>
                  <a:pt x="1222323" y="1329920"/>
                </a:lnTo>
                <a:lnTo>
                  <a:pt x="1222223" y="1329901"/>
                </a:lnTo>
                <a:close/>
                <a:moveTo>
                  <a:pt x="3558707" y="1329320"/>
                </a:moveTo>
                <a:lnTo>
                  <a:pt x="3567818" y="1353007"/>
                </a:lnTo>
                <a:lnTo>
                  <a:pt x="3542307" y="1345719"/>
                </a:lnTo>
                <a:close/>
                <a:moveTo>
                  <a:pt x="3378311" y="1329217"/>
                </a:moveTo>
                <a:cubicBezTo>
                  <a:pt x="3376489" y="1331039"/>
                  <a:pt x="3376489" y="1338328"/>
                  <a:pt x="3381955" y="1338328"/>
                </a:cubicBezTo>
                <a:cubicBezTo>
                  <a:pt x="3380133" y="1334684"/>
                  <a:pt x="3380133" y="1332862"/>
                  <a:pt x="3378311" y="1329217"/>
                </a:cubicBezTo>
                <a:close/>
                <a:moveTo>
                  <a:pt x="699715" y="1329217"/>
                </a:moveTo>
                <a:cubicBezTo>
                  <a:pt x="697893" y="1331039"/>
                  <a:pt x="699715" y="1331039"/>
                  <a:pt x="697893" y="1332862"/>
                </a:cubicBezTo>
                <a:cubicBezTo>
                  <a:pt x="699715" y="1334684"/>
                  <a:pt x="701537" y="1331039"/>
                  <a:pt x="703359" y="1332862"/>
                </a:cubicBezTo>
                <a:cubicBezTo>
                  <a:pt x="705182" y="1331039"/>
                  <a:pt x="703359" y="1327395"/>
                  <a:pt x="699715" y="1329217"/>
                </a:cubicBezTo>
                <a:close/>
                <a:moveTo>
                  <a:pt x="690604" y="1329217"/>
                </a:moveTo>
                <a:cubicBezTo>
                  <a:pt x="686960" y="1329217"/>
                  <a:pt x="688782" y="1332862"/>
                  <a:pt x="690604" y="1334684"/>
                </a:cubicBezTo>
                <a:cubicBezTo>
                  <a:pt x="694249" y="1332862"/>
                  <a:pt x="688782" y="1331039"/>
                  <a:pt x="690604" y="1329217"/>
                </a:cubicBezTo>
                <a:close/>
                <a:moveTo>
                  <a:pt x="466478" y="1329217"/>
                </a:moveTo>
                <a:cubicBezTo>
                  <a:pt x="464655" y="1332862"/>
                  <a:pt x="470121" y="1334684"/>
                  <a:pt x="471943" y="1338328"/>
                </a:cubicBezTo>
                <a:cubicBezTo>
                  <a:pt x="473766" y="1338328"/>
                  <a:pt x="475589" y="1336506"/>
                  <a:pt x="477410" y="1334684"/>
                </a:cubicBezTo>
                <a:cubicBezTo>
                  <a:pt x="473766" y="1329217"/>
                  <a:pt x="470121" y="1329217"/>
                  <a:pt x="466478" y="1329217"/>
                </a:cubicBezTo>
                <a:close/>
                <a:moveTo>
                  <a:pt x="379012" y="1329217"/>
                </a:moveTo>
                <a:cubicBezTo>
                  <a:pt x="377190" y="1332862"/>
                  <a:pt x="384479" y="1341972"/>
                  <a:pt x="388123" y="1340150"/>
                </a:cubicBezTo>
                <a:cubicBezTo>
                  <a:pt x="389946" y="1332862"/>
                  <a:pt x="382657" y="1331039"/>
                  <a:pt x="379012" y="1329217"/>
                </a:cubicBezTo>
                <a:close/>
                <a:moveTo>
                  <a:pt x="346213" y="1329217"/>
                </a:moveTo>
                <a:cubicBezTo>
                  <a:pt x="338926" y="1332862"/>
                  <a:pt x="337102" y="1341972"/>
                  <a:pt x="331636" y="1349261"/>
                </a:cubicBezTo>
                <a:cubicBezTo>
                  <a:pt x="338926" y="1354728"/>
                  <a:pt x="348037" y="1360194"/>
                  <a:pt x="357146" y="1358372"/>
                </a:cubicBezTo>
                <a:cubicBezTo>
                  <a:pt x="360790" y="1359283"/>
                  <a:pt x="363068" y="1357461"/>
                  <a:pt x="365347" y="1355639"/>
                </a:cubicBezTo>
                <a:lnTo>
                  <a:pt x="370423" y="1353946"/>
                </a:lnTo>
                <a:lnTo>
                  <a:pt x="362613" y="1360194"/>
                </a:lnTo>
                <a:cubicBezTo>
                  <a:pt x="362613" y="1362016"/>
                  <a:pt x="364435" y="1360194"/>
                  <a:pt x="366257" y="1362016"/>
                </a:cubicBezTo>
                <a:cubicBezTo>
                  <a:pt x="364435" y="1360194"/>
                  <a:pt x="368079" y="1360194"/>
                  <a:pt x="371724" y="1363838"/>
                </a:cubicBezTo>
                <a:cubicBezTo>
                  <a:pt x="375368" y="1362016"/>
                  <a:pt x="371724" y="1360194"/>
                  <a:pt x="373546" y="1360194"/>
                </a:cubicBezTo>
                <a:cubicBezTo>
                  <a:pt x="375368" y="1358372"/>
                  <a:pt x="373546" y="1362016"/>
                  <a:pt x="375368" y="1363838"/>
                </a:cubicBezTo>
                <a:cubicBezTo>
                  <a:pt x="376279" y="1362927"/>
                  <a:pt x="375823" y="1361105"/>
                  <a:pt x="374912" y="1359055"/>
                </a:cubicBezTo>
                <a:lnTo>
                  <a:pt x="371992" y="1353423"/>
                </a:lnTo>
                <a:lnTo>
                  <a:pt x="373546" y="1352905"/>
                </a:lnTo>
                <a:cubicBezTo>
                  <a:pt x="371724" y="1351083"/>
                  <a:pt x="369902" y="1349261"/>
                  <a:pt x="368079" y="1347439"/>
                </a:cubicBezTo>
                <a:cubicBezTo>
                  <a:pt x="369902" y="1347439"/>
                  <a:pt x="373546" y="1352905"/>
                  <a:pt x="377190" y="1349261"/>
                </a:cubicBezTo>
                <a:cubicBezTo>
                  <a:pt x="368079" y="1340150"/>
                  <a:pt x="357146" y="1321929"/>
                  <a:pt x="346213" y="1332862"/>
                </a:cubicBezTo>
                <a:cubicBezTo>
                  <a:pt x="346213" y="1332862"/>
                  <a:pt x="346213" y="1329217"/>
                  <a:pt x="346213" y="1329217"/>
                </a:cubicBezTo>
                <a:close/>
                <a:moveTo>
                  <a:pt x="3464015" y="1328831"/>
                </a:moveTo>
                <a:lnTo>
                  <a:pt x="3463953" y="1329217"/>
                </a:lnTo>
                <a:lnTo>
                  <a:pt x="3463552" y="1329016"/>
                </a:lnTo>
                <a:close/>
                <a:moveTo>
                  <a:pt x="3414754" y="1327395"/>
                </a:moveTo>
                <a:cubicBezTo>
                  <a:pt x="3412932" y="1327395"/>
                  <a:pt x="3412932" y="1331039"/>
                  <a:pt x="3412932" y="1332862"/>
                </a:cubicBezTo>
                <a:cubicBezTo>
                  <a:pt x="3418399" y="1331039"/>
                  <a:pt x="3416577" y="1332862"/>
                  <a:pt x="3422043" y="1332862"/>
                </a:cubicBezTo>
                <a:cubicBezTo>
                  <a:pt x="3423865" y="1325573"/>
                  <a:pt x="3416577" y="1329217"/>
                  <a:pt x="3414754" y="1327395"/>
                </a:cubicBezTo>
                <a:close/>
                <a:moveTo>
                  <a:pt x="3349156" y="1327395"/>
                </a:moveTo>
                <a:cubicBezTo>
                  <a:pt x="3347334" y="1331039"/>
                  <a:pt x="3347334" y="1336506"/>
                  <a:pt x="3347334" y="1340150"/>
                </a:cubicBezTo>
                <a:cubicBezTo>
                  <a:pt x="3349156" y="1338328"/>
                  <a:pt x="3350978" y="1334684"/>
                  <a:pt x="3356445" y="1338328"/>
                </a:cubicBezTo>
                <a:cubicBezTo>
                  <a:pt x="3354623" y="1334684"/>
                  <a:pt x="3356445" y="1325573"/>
                  <a:pt x="3349156" y="1327395"/>
                </a:cubicBezTo>
                <a:close/>
                <a:moveTo>
                  <a:pt x="3192449" y="1327395"/>
                </a:moveTo>
                <a:cubicBezTo>
                  <a:pt x="3186982" y="1329217"/>
                  <a:pt x="3194271" y="1334684"/>
                  <a:pt x="3194271" y="1338328"/>
                </a:cubicBezTo>
                <a:cubicBezTo>
                  <a:pt x="3196093" y="1336506"/>
                  <a:pt x="3196093" y="1327395"/>
                  <a:pt x="3192449" y="1327395"/>
                </a:cubicBezTo>
                <a:close/>
                <a:moveTo>
                  <a:pt x="2982672" y="1326712"/>
                </a:moveTo>
                <a:cubicBezTo>
                  <a:pt x="2981077" y="1327851"/>
                  <a:pt x="2980166" y="1330128"/>
                  <a:pt x="2981077" y="1332862"/>
                </a:cubicBezTo>
                <a:cubicBezTo>
                  <a:pt x="2986543" y="1334684"/>
                  <a:pt x="2986543" y="1329217"/>
                  <a:pt x="2988366" y="1327395"/>
                </a:cubicBezTo>
                <a:cubicBezTo>
                  <a:pt x="2986544" y="1325573"/>
                  <a:pt x="2984266" y="1325573"/>
                  <a:pt x="2982672" y="1326712"/>
                </a:cubicBezTo>
                <a:close/>
                <a:moveTo>
                  <a:pt x="332686" y="1326558"/>
                </a:moveTo>
                <a:lnTo>
                  <a:pt x="327689" y="1329734"/>
                </a:lnTo>
                <a:lnTo>
                  <a:pt x="331408" y="1327167"/>
                </a:lnTo>
                <a:close/>
                <a:moveTo>
                  <a:pt x="554398" y="1326029"/>
                </a:moveTo>
                <a:lnTo>
                  <a:pt x="557586" y="1329217"/>
                </a:lnTo>
                <a:lnTo>
                  <a:pt x="556867" y="1329909"/>
                </a:lnTo>
                <a:close/>
                <a:moveTo>
                  <a:pt x="728870" y="1325573"/>
                </a:moveTo>
                <a:cubicBezTo>
                  <a:pt x="725226" y="1320106"/>
                  <a:pt x="719759" y="1329217"/>
                  <a:pt x="717937" y="1332862"/>
                </a:cubicBezTo>
                <a:cubicBezTo>
                  <a:pt x="721581" y="1336506"/>
                  <a:pt x="725226" y="1329217"/>
                  <a:pt x="728870" y="1325573"/>
                </a:cubicBezTo>
                <a:close/>
                <a:moveTo>
                  <a:pt x="595852" y="1325573"/>
                </a:moveTo>
                <a:cubicBezTo>
                  <a:pt x="592207" y="1325573"/>
                  <a:pt x="586741" y="1327395"/>
                  <a:pt x="586741" y="1331039"/>
                </a:cubicBezTo>
                <a:cubicBezTo>
                  <a:pt x="586741" y="1334684"/>
                  <a:pt x="590385" y="1332862"/>
                  <a:pt x="594030" y="1332862"/>
                </a:cubicBezTo>
                <a:cubicBezTo>
                  <a:pt x="594030" y="1331039"/>
                  <a:pt x="590385" y="1329217"/>
                  <a:pt x="590385" y="1329217"/>
                </a:cubicBezTo>
                <a:cubicBezTo>
                  <a:pt x="594030" y="1331039"/>
                  <a:pt x="595852" y="1331039"/>
                  <a:pt x="599496" y="1329217"/>
                </a:cubicBezTo>
                <a:cubicBezTo>
                  <a:pt x="597673" y="1329217"/>
                  <a:pt x="597673" y="1327395"/>
                  <a:pt x="595852" y="1325573"/>
                </a:cubicBezTo>
                <a:close/>
                <a:moveTo>
                  <a:pt x="3372844" y="1323751"/>
                </a:moveTo>
                <a:cubicBezTo>
                  <a:pt x="3371022" y="1323751"/>
                  <a:pt x="3369200" y="1325573"/>
                  <a:pt x="3365556" y="1327395"/>
                </a:cubicBezTo>
                <a:cubicBezTo>
                  <a:pt x="3367378" y="1329217"/>
                  <a:pt x="3372844" y="1327395"/>
                  <a:pt x="3371022" y="1332862"/>
                </a:cubicBezTo>
                <a:cubicBezTo>
                  <a:pt x="3367378" y="1334684"/>
                  <a:pt x="3369200" y="1329217"/>
                  <a:pt x="3365556" y="1331039"/>
                </a:cubicBezTo>
                <a:cubicBezTo>
                  <a:pt x="3365556" y="1336506"/>
                  <a:pt x="3361911" y="1338328"/>
                  <a:pt x="3361911" y="1343795"/>
                </a:cubicBezTo>
                <a:cubicBezTo>
                  <a:pt x="3364645" y="1343795"/>
                  <a:pt x="3366011" y="1342428"/>
                  <a:pt x="3367150" y="1341289"/>
                </a:cubicBezTo>
                <a:lnTo>
                  <a:pt x="3369314" y="1340653"/>
                </a:lnTo>
                <a:lnTo>
                  <a:pt x="3370795" y="1347211"/>
                </a:lnTo>
                <a:cubicBezTo>
                  <a:pt x="3371478" y="1349261"/>
                  <a:pt x="3371933" y="1351083"/>
                  <a:pt x="3371022" y="1352905"/>
                </a:cubicBezTo>
                <a:cubicBezTo>
                  <a:pt x="3374666" y="1351083"/>
                  <a:pt x="3380133" y="1349261"/>
                  <a:pt x="3381955" y="1345617"/>
                </a:cubicBezTo>
                <a:cubicBezTo>
                  <a:pt x="3383777" y="1349261"/>
                  <a:pt x="3385600" y="1352905"/>
                  <a:pt x="3383777" y="1358372"/>
                </a:cubicBezTo>
                <a:cubicBezTo>
                  <a:pt x="3389244" y="1349261"/>
                  <a:pt x="3403821" y="1351083"/>
                  <a:pt x="3401999" y="1338328"/>
                </a:cubicBezTo>
                <a:cubicBezTo>
                  <a:pt x="3397444" y="1341062"/>
                  <a:pt x="3392888" y="1340150"/>
                  <a:pt x="3387649" y="1339239"/>
                </a:cubicBezTo>
                <a:lnTo>
                  <a:pt x="3371055" y="1340058"/>
                </a:lnTo>
                <a:lnTo>
                  <a:pt x="3373983" y="1331950"/>
                </a:lnTo>
                <a:cubicBezTo>
                  <a:pt x="3374211" y="1330128"/>
                  <a:pt x="3373755" y="1328306"/>
                  <a:pt x="3372844" y="1323751"/>
                </a:cubicBezTo>
                <a:close/>
                <a:moveTo>
                  <a:pt x="686960" y="1323751"/>
                </a:moveTo>
                <a:cubicBezTo>
                  <a:pt x="683316" y="1323751"/>
                  <a:pt x="681493" y="1331039"/>
                  <a:pt x="686960" y="1332862"/>
                </a:cubicBezTo>
                <a:cubicBezTo>
                  <a:pt x="690604" y="1329217"/>
                  <a:pt x="685138" y="1327395"/>
                  <a:pt x="686960" y="1323751"/>
                </a:cubicBezTo>
                <a:close/>
                <a:moveTo>
                  <a:pt x="621362" y="1323751"/>
                </a:moveTo>
                <a:cubicBezTo>
                  <a:pt x="619539" y="1331039"/>
                  <a:pt x="630472" y="1329217"/>
                  <a:pt x="634117" y="1329217"/>
                </a:cubicBezTo>
                <a:cubicBezTo>
                  <a:pt x="630472" y="1323751"/>
                  <a:pt x="623185" y="1329217"/>
                  <a:pt x="621362" y="1323751"/>
                </a:cubicBezTo>
                <a:close/>
                <a:moveTo>
                  <a:pt x="377190" y="1323751"/>
                </a:moveTo>
                <a:cubicBezTo>
                  <a:pt x="375368" y="1323751"/>
                  <a:pt x="373546" y="1323751"/>
                  <a:pt x="373546" y="1325573"/>
                </a:cubicBezTo>
                <a:cubicBezTo>
                  <a:pt x="373546" y="1323751"/>
                  <a:pt x="380835" y="1331039"/>
                  <a:pt x="377190" y="1323751"/>
                </a:cubicBezTo>
                <a:close/>
                <a:moveTo>
                  <a:pt x="304303" y="1323751"/>
                </a:moveTo>
                <a:cubicBezTo>
                  <a:pt x="298837" y="1325573"/>
                  <a:pt x="287904" y="1327395"/>
                  <a:pt x="289726" y="1336506"/>
                </a:cubicBezTo>
                <a:cubicBezTo>
                  <a:pt x="295193" y="1331039"/>
                  <a:pt x="298837" y="1329217"/>
                  <a:pt x="304303" y="1323751"/>
                </a:cubicBezTo>
                <a:close/>
                <a:moveTo>
                  <a:pt x="515903" y="1323523"/>
                </a:moveTo>
                <a:cubicBezTo>
                  <a:pt x="514309" y="1324207"/>
                  <a:pt x="512943" y="1325573"/>
                  <a:pt x="513853" y="1327395"/>
                </a:cubicBezTo>
                <a:cubicBezTo>
                  <a:pt x="515676" y="1327395"/>
                  <a:pt x="517498" y="1325573"/>
                  <a:pt x="519320" y="1323751"/>
                </a:cubicBezTo>
                <a:cubicBezTo>
                  <a:pt x="519320" y="1322840"/>
                  <a:pt x="517498" y="1322840"/>
                  <a:pt x="515903" y="1323523"/>
                </a:cubicBezTo>
                <a:close/>
                <a:moveTo>
                  <a:pt x="2833481" y="1321929"/>
                </a:moveTo>
                <a:cubicBezTo>
                  <a:pt x="2828014" y="1321929"/>
                  <a:pt x="2831659" y="1327395"/>
                  <a:pt x="2833481" y="1329217"/>
                </a:cubicBezTo>
                <a:cubicBezTo>
                  <a:pt x="2837125" y="1329217"/>
                  <a:pt x="2831659" y="1325573"/>
                  <a:pt x="2833481" y="1321929"/>
                </a:cubicBezTo>
                <a:close/>
                <a:moveTo>
                  <a:pt x="1014951" y="1321929"/>
                </a:moveTo>
                <a:cubicBezTo>
                  <a:pt x="1014951" y="1325573"/>
                  <a:pt x="1016774" y="1327395"/>
                  <a:pt x="1018596" y="1331039"/>
                </a:cubicBezTo>
                <a:cubicBezTo>
                  <a:pt x="1020418" y="1331039"/>
                  <a:pt x="1024062" y="1327395"/>
                  <a:pt x="1027707" y="1327395"/>
                </a:cubicBezTo>
                <a:cubicBezTo>
                  <a:pt x="1025884" y="1323751"/>
                  <a:pt x="1018596" y="1323751"/>
                  <a:pt x="1014951" y="1321929"/>
                </a:cubicBezTo>
                <a:close/>
                <a:moveTo>
                  <a:pt x="528431" y="1321929"/>
                </a:moveTo>
                <a:cubicBezTo>
                  <a:pt x="521142" y="1323751"/>
                  <a:pt x="517498" y="1331039"/>
                  <a:pt x="513853" y="1336506"/>
                </a:cubicBezTo>
                <a:cubicBezTo>
                  <a:pt x="524786" y="1338328"/>
                  <a:pt x="519320" y="1325573"/>
                  <a:pt x="528431" y="1321929"/>
                </a:cubicBezTo>
                <a:close/>
                <a:moveTo>
                  <a:pt x="3316357" y="1320106"/>
                </a:moveTo>
                <a:cubicBezTo>
                  <a:pt x="3312713" y="1321929"/>
                  <a:pt x="3316357" y="1327395"/>
                  <a:pt x="3316357" y="1331039"/>
                </a:cubicBezTo>
                <a:cubicBezTo>
                  <a:pt x="3318179" y="1334684"/>
                  <a:pt x="3312713" y="1332862"/>
                  <a:pt x="3310890" y="1334684"/>
                </a:cubicBezTo>
                <a:cubicBezTo>
                  <a:pt x="3314535" y="1332862"/>
                  <a:pt x="3314535" y="1327395"/>
                  <a:pt x="3312713" y="1325573"/>
                </a:cubicBezTo>
                <a:cubicBezTo>
                  <a:pt x="3301780" y="1329217"/>
                  <a:pt x="3289024" y="1332862"/>
                  <a:pt x="3287202" y="1345617"/>
                </a:cubicBezTo>
                <a:cubicBezTo>
                  <a:pt x="3290847" y="1347439"/>
                  <a:pt x="3294491" y="1345617"/>
                  <a:pt x="3298135" y="1340150"/>
                </a:cubicBezTo>
                <a:cubicBezTo>
                  <a:pt x="3301780" y="1341972"/>
                  <a:pt x="3296313" y="1347439"/>
                  <a:pt x="3299957" y="1349261"/>
                </a:cubicBezTo>
                <a:cubicBezTo>
                  <a:pt x="3303602" y="1351083"/>
                  <a:pt x="3307246" y="1341972"/>
                  <a:pt x="3303602" y="1341972"/>
                </a:cubicBezTo>
                <a:cubicBezTo>
                  <a:pt x="3307246" y="1338328"/>
                  <a:pt x="3318179" y="1341972"/>
                  <a:pt x="3307246" y="1345617"/>
                </a:cubicBezTo>
                <a:cubicBezTo>
                  <a:pt x="3307246" y="1345617"/>
                  <a:pt x="3312713" y="1349261"/>
                  <a:pt x="3312713" y="1354728"/>
                </a:cubicBezTo>
                <a:cubicBezTo>
                  <a:pt x="3316357" y="1351083"/>
                  <a:pt x="3316357" y="1343795"/>
                  <a:pt x="3320001" y="1336506"/>
                </a:cubicBezTo>
                <a:cubicBezTo>
                  <a:pt x="3321824" y="1336506"/>
                  <a:pt x="3323646" y="1338328"/>
                  <a:pt x="3325468" y="1340150"/>
                </a:cubicBezTo>
                <a:cubicBezTo>
                  <a:pt x="3325468" y="1338328"/>
                  <a:pt x="3323646" y="1332862"/>
                  <a:pt x="3323646" y="1325573"/>
                </a:cubicBezTo>
                <a:cubicBezTo>
                  <a:pt x="3318179" y="1327395"/>
                  <a:pt x="3320001" y="1321929"/>
                  <a:pt x="3316357" y="1320106"/>
                </a:cubicBezTo>
                <a:close/>
                <a:moveTo>
                  <a:pt x="2771527" y="1320106"/>
                </a:moveTo>
                <a:cubicBezTo>
                  <a:pt x="2767882" y="1334684"/>
                  <a:pt x="2767882" y="1351083"/>
                  <a:pt x="2766060" y="1363838"/>
                </a:cubicBezTo>
                <a:cubicBezTo>
                  <a:pt x="2767882" y="1362016"/>
                  <a:pt x="2769705" y="1363838"/>
                  <a:pt x="2771527" y="1365661"/>
                </a:cubicBezTo>
                <a:cubicBezTo>
                  <a:pt x="2775171" y="1351083"/>
                  <a:pt x="2782460" y="1340150"/>
                  <a:pt x="2789749" y="1327395"/>
                </a:cubicBezTo>
                <a:cubicBezTo>
                  <a:pt x="2786104" y="1325573"/>
                  <a:pt x="2784282" y="1327395"/>
                  <a:pt x="2784282" y="1329217"/>
                </a:cubicBezTo>
                <a:cubicBezTo>
                  <a:pt x="2780638" y="1325573"/>
                  <a:pt x="2778816" y="1320106"/>
                  <a:pt x="2771527" y="1320106"/>
                </a:cubicBezTo>
                <a:close/>
                <a:moveTo>
                  <a:pt x="486521" y="1320106"/>
                </a:moveTo>
                <a:cubicBezTo>
                  <a:pt x="486521" y="1323751"/>
                  <a:pt x="488343" y="1325573"/>
                  <a:pt x="490165" y="1329217"/>
                </a:cubicBezTo>
                <a:cubicBezTo>
                  <a:pt x="491987" y="1325573"/>
                  <a:pt x="490165" y="1316462"/>
                  <a:pt x="486521" y="1320106"/>
                </a:cubicBezTo>
                <a:close/>
                <a:moveTo>
                  <a:pt x="1260945" y="1318284"/>
                </a:moveTo>
                <a:cubicBezTo>
                  <a:pt x="1262767" y="1323751"/>
                  <a:pt x="1262767" y="1316462"/>
                  <a:pt x="1264589" y="1318284"/>
                </a:cubicBezTo>
                <a:cubicBezTo>
                  <a:pt x="1262767" y="1322840"/>
                  <a:pt x="1260489" y="1327395"/>
                  <a:pt x="1258895" y="1332178"/>
                </a:cubicBezTo>
                <a:lnTo>
                  <a:pt x="1257817" y="1342489"/>
                </a:lnTo>
                <a:lnTo>
                  <a:pt x="1256121" y="1340793"/>
                </a:lnTo>
                <a:close/>
                <a:moveTo>
                  <a:pt x="501098" y="1318284"/>
                </a:moveTo>
                <a:lnTo>
                  <a:pt x="501098" y="1320106"/>
                </a:lnTo>
                <a:lnTo>
                  <a:pt x="501098" y="1325573"/>
                </a:lnTo>
                <a:cubicBezTo>
                  <a:pt x="499276" y="1323751"/>
                  <a:pt x="501098" y="1321929"/>
                  <a:pt x="502920" y="1321929"/>
                </a:cubicBezTo>
                <a:cubicBezTo>
                  <a:pt x="502920" y="1320106"/>
                  <a:pt x="501098" y="1320106"/>
                  <a:pt x="501098" y="1320106"/>
                </a:cubicBezTo>
                <a:cubicBezTo>
                  <a:pt x="506565" y="1320106"/>
                  <a:pt x="502920" y="1318284"/>
                  <a:pt x="501098" y="1318284"/>
                </a:cubicBezTo>
                <a:close/>
                <a:moveTo>
                  <a:pt x="484700" y="1318284"/>
                </a:moveTo>
                <a:cubicBezTo>
                  <a:pt x="482876" y="1320106"/>
                  <a:pt x="481054" y="1320106"/>
                  <a:pt x="479232" y="1321929"/>
                </a:cubicBezTo>
                <a:cubicBezTo>
                  <a:pt x="479232" y="1325573"/>
                  <a:pt x="484700" y="1323751"/>
                  <a:pt x="486521" y="1325573"/>
                </a:cubicBezTo>
                <a:cubicBezTo>
                  <a:pt x="488343" y="1323751"/>
                  <a:pt x="486521" y="1321929"/>
                  <a:pt x="484700" y="1318284"/>
                </a:cubicBezTo>
                <a:close/>
                <a:moveTo>
                  <a:pt x="458960" y="1316690"/>
                </a:moveTo>
                <a:cubicBezTo>
                  <a:pt x="456455" y="1315551"/>
                  <a:pt x="453721" y="1315551"/>
                  <a:pt x="450077" y="1318284"/>
                </a:cubicBezTo>
                <a:cubicBezTo>
                  <a:pt x="451899" y="1318284"/>
                  <a:pt x="451899" y="1320106"/>
                  <a:pt x="453722" y="1321929"/>
                </a:cubicBezTo>
                <a:cubicBezTo>
                  <a:pt x="450077" y="1320106"/>
                  <a:pt x="442789" y="1318284"/>
                  <a:pt x="442789" y="1325573"/>
                </a:cubicBezTo>
                <a:cubicBezTo>
                  <a:pt x="440966" y="1327395"/>
                  <a:pt x="446433" y="1331039"/>
                  <a:pt x="448256" y="1332862"/>
                </a:cubicBezTo>
                <a:cubicBezTo>
                  <a:pt x="451899" y="1332862"/>
                  <a:pt x="446433" y="1329217"/>
                  <a:pt x="450077" y="1329217"/>
                </a:cubicBezTo>
                <a:cubicBezTo>
                  <a:pt x="455544" y="1332862"/>
                  <a:pt x="461010" y="1345617"/>
                  <a:pt x="466478" y="1338328"/>
                </a:cubicBezTo>
                <a:cubicBezTo>
                  <a:pt x="466478" y="1334684"/>
                  <a:pt x="462832" y="1332862"/>
                  <a:pt x="461010" y="1329217"/>
                </a:cubicBezTo>
                <a:cubicBezTo>
                  <a:pt x="461010" y="1329217"/>
                  <a:pt x="461010" y="1331039"/>
                  <a:pt x="462832" y="1332862"/>
                </a:cubicBezTo>
                <a:cubicBezTo>
                  <a:pt x="459188" y="1331039"/>
                  <a:pt x="455544" y="1329217"/>
                  <a:pt x="453722" y="1325573"/>
                </a:cubicBezTo>
                <a:cubicBezTo>
                  <a:pt x="459188" y="1325573"/>
                  <a:pt x="459188" y="1329217"/>
                  <a:pt x="461010" y="1331039"/>
                </a:cubicBezTo>
                <a:cubicBezTo>
                  <a:pt x="461010" y="1329217"/>
                  <a:pt x="461010" y="1327395"/>
                  <a:pt x="459188" y="1325573"/>
                </a:cubicBezTo>
                <a:cubicBezTo>
                  <a:pt x="464655" y="1323751"/>
                  <a:pt x="464655" y="1334684"/>
                  <a:pt x="470121" y="1329217"/>
                </a:cubicBezTo>
                <a:cubicBezTo>
                  <a:pt x="475589" y="1323751"/>
                  <a:pt x="461010" y="1325573"/>
                  <a:pt x="466478" y="1321929"/>
                </a:cubicBezTo>
                <a:cubicBezTo>
                  <a:pt x="463743" y="1320107"/>
                  <a:pt x="461466" y="1317829"/>
                  <a:pt x="458960" y="1316690"/>
                </a:cubicBezTo>
                <a:close/>
                <a:moveTo>
                  <a:pt x="3248937" y="1316462"/>
                </a:moveTo>
                <a:cubicBezTo>
                  <a:pt x="3247114" y="1320106"/>
                  <a:pt x="3252581" y="1327395"/>
                  <a:pt x="3256225" y="1320106"/>
                </a:cubicBezTo>
                <a:cubicBezTo>
                  <a:pt x="3258047" y="1321929"/>
                  <a:pt x="3256225" y="1327395"/>
                  <a:pt x="3254403" y="1329217"/>
                </a:cubicBezTo>
                <a:cubicBezTo>
                  <a:pt x="3254403" y="1331039"/>
                  <a:pt x="3258047" y="1329217"/>
                  <a:pt x="3258047" y="1331039"/>
                </a:cubicBezTo>
                <a:cubicBezTo>
                  <a:pt x="3263514" y="1325573"/>
                  <a:pt x="3261692" y="1320106"/>
                  <a:pt x="3258047" y="1316462"/>
                </a:cubicBezTo>
                <a:cubicBezTo>
                  <a:pt x="3256225" y="1320106"/>
                  <a:pt x="3250759" y="1321929"/>
                  <a:pt x="3248937" y="1316462"/>
                </a:cubicBezTo>
                <a:close/>
                <a:moveTo>
                  <a:pt x="2563799" y="1316462"/>
                </a:moveTo>
                <a:cubicBezTo>
                  <a:pt x="2561977" y="1316462"/>
                  <a:pt x="2560155" y="1316462"/>
                  <a:pt x="2558332" y="1318284"/>
                </a:cubicBezTo>
                <a:cubicBezTo>
                  <a:pt x="2558332" y="1321929"/>
                  <a:pt x="2558332" y="1323751"/>
                  <a:pt x="2560155" y="1325573"/>
                </a:cubicBezTo>
                <a:close/>
                <a:moveTo>
                  <a:pt x="829089" y="1316462"/>
                </a:moveTo>
                <a:cubicBezTo>
                  <a:pt x="823623" y="1316462"/>
                  <a:pt x="818156" y="1314640"/>
                  <a:pt x="814512" y="1321929"/>
                </a:cubicBezTo>
                <a:cubicBezTo>
                  <a:pt x="818156" y="1323751"/>
                  <a:pt x="825445" y="1323751"/>
                  <a:pt x="829089" y="1316462"/>
                </a:cubicBezTo>
                <a:close/>
                <a:moveTo>
                  <a:pt x="801757" y="1316462"/>
                </a:moveTo>
                <a:cubicBezTo>
                  <a:pt x="799935" y="1316462"/>
                  <a:pt x="798112" y="1318284"/>
                  <a:pt x="796290" y="1320106"/>
                </a:cubicBezTo>
                <a:cubicBezTo>
                  <a:pt x="798112" y="1321929"/>
                  <a:pt x="798112" y="1321929"/>
                  <a:pt x="799935" y="1321929"/>
                </a:cubicBezTo>
                <a:cubicBezTo>
                  <a:pt x="801757" y="1320106"/>
                  <a:pt x="803579" y="1318284"/>
                  <a:pt x="801757" y="1316462"/>
                </a:cubicBezTo>
                <a:close/>
                <a:moveTo>
                  <a:pt x="595852" y="1316462"/>
                </a:moveTo>
                <a:lnTo>
                  <a:pt x="597119" y="1320264"/>
                </a:lnTo>
                <a:lnTo>
                  <a:pt x="595480" y="1320733"/>
                </a:lnTo>
                <a:lnTo>
                  <a:pt x="595168" y="1320562"/>
                </a:lnTo>
                <a:lnTo>
                  <a:pt x="594883" y="1320903"/>
                </a:lnTo>
                <a:lnTo>
                  <a:pt x="594484" y="1321018"/>
                </a:lnTo>
                <a:cubicBezTo>
                  <a:pt x="593573" y="1321018"/>
                  <a:pt x="593118" y="1321018"/>
                  <a:pt x="594030" y="1321929"/>
                </a:cubicBezTo>
                <a:lnTo>
                  <a:pt x="594883" y="1320903"/>
                </a:lnTo>
                <a:lnTo>
                  <a:pt x="595480" y="1320733"/>
                </a:lnTo>
                <a:lnTo>
                  <a:pt x="597673" y="1321929"/>
                </a:lnTo>
                <a:lnTo>
                  <a:pt x="597119" y="1320264"/>
                </a:lnTo>
                <a:lnTo>
                  <a:pt x="597673" y="1320106"/>
                </a:lnTo>
                <a:cubicBezTo>
                  <a:pt x="595852" y="1320106"/>
                  <a:pt x="595852" y="1320106"/>
                  <a:pt x="595852" y="1316462"/>
                </a:cubicBezTo>
                <a:close/>
                <a:moveTo>
                  <a:pt x="358969" y="1316462"/>
                </a:moveTo>
                <a:cubicBezTo>
                  <a:pt x="355324" y="1318284"/>
                  <a:pt x="351680" y="1316462"/>
                  <a:pt x="348037" y="1320106"/>
                </a:cubicBezTo>
                <a:cubicBezTo>
                  <a:pt x="349858" y="1321929"/>
                  <a:pt x="351680" y="1323751"/>
                  <a:pt x="351680" y="1323751"/>
                </a:cubicBezTo>
                <a:cubicBezTo>
                  <a:pt x="355324" y="1321929"/>
                  <a:pt x="357146" y="1318284"/>
                  <a:pt x="358969" y="1316462"/>
                </a:cubicBezTo>
                <a:close/>
                <a:moveTo>
                  <a:pt x="1141330" y="1315998"/>
                </a:moveTo>
                <a:lnTo>
                  <a:pt x="1141820" y="1316690"/>
                </a:lnTo>
                <a:lnTo>
                  <a:pt x="1141774" y="1316860"/>
                </a:lnTo>
                <a:close/>
                <a:moveTo>
                  <a:pt x="439145" y="1314677"/>
                </a:moveTo>
                <a:cubicBezTo>
                  <a:pt x="437322" y="1316498"/>
                  <a:pt x="437322" y="1316498"/>
                  <a:pt x="437322" y="1318322"/>
                </a:cubicBezTo>
                <a:lnTo>
                  <a:pt x="435500" y="1316499"/>
                </a:lnTo>
                <a:close/>
                <a:moveTo>
                  <a:pt x="433677" y="1314677"/>
                </a:moveTo>
                <a:lnTo>
                  <a:pt x="435500" y="1316499"/>
                </a:lnTo>
                <a:lnTo>
                  <a:pt x="435044" y="1316727"/>
                </a:lnTo>
                <a:cubicBezTo>
                  <a:pt x="434133" y="1316499"/>
                  <a:pt x="433677" y="1315588"/>
                  <a:pt x="433677" y="1314677"/>
                </a:cubicBezTo>
                <a:close/>
                <a:moveTo>
                  <a:pt x="3385600" y="1314640"/>
                </a:moveTo>
                <a:cubicBezTo>
                  <a:pt x="3383777" y="1316462"/>
                  <a:pt x="3381955" y="1316462"/>
                  <a:pt x="3381955" y="1316462"/>
                </a:cubicBezTo>
                <a:cubicBezTo>
                  <a:pt x="3381955" y="1325573"/>
                  <a:pt x="3389244" y="1329217"/>
                  <a:pt x="3381955" y="1336506"/>
                </a:cubicBezTo>
                <a:cubicBezTo>
                  <a:pt x="3391066" y="1338328"/>
                  <a:pt x="3385600" y="1327395"/>
                  <a:pt x="3389244" y="1323751"/>
                </a:cubicBezTo>
                <a:cubicBezTo>
                  <a:pt x="3387422" y="1321929"/>
                  <a:pt x="3383777" y="1321929"/>
                  <a:pt x="3385600" y="1314640"/>
                </a:cubicBezTo>
                <a:close/>
                <a:moveTo>
                  <a:pt x="3177872" y="1314640"/>
                </a:moveTo>
                <a:cubicBezTo>
                  <a:pt x="3172405" y="1314640"/>
                  <a:pt x="3179694" y="1320106"/>
                  <a:pt x="3176050" y="1320106"/>
                </a:cubicBezTo>
                <a:cubicBezTo>
                  <a:pt x="3177872" y="1321929"/>
                  <a:pt x="3179694" y="1321929"/>
                  <a:pt x="3183338" y="1321929"/>
                </a:cubicBezTo>
                <a:cubicBezTo>
                  <a:pt x="3185160" y="1323751"/>
                  <a:pt x="3186982" y="1323751"/>
                  <a:pt x="3190627" y="1323751"/>
                </a:cubicBezTo>
                <a:cubicBezTo>
                  <a:pt x="3186982" y="1321929"/>
                  <a:pt x="3185160" y="1318284"/>
                  <a:pt x="3183338" y="1314640"/>
                </a:cubicBezTo>
                <a:cubicBezTo>
                  <a:pt x="3183338" y="1314640"/>
                  <a:pt x="3181516" y="1314640"/>
                  <a:pt x="3181516" y="1314640"/>
                </a:cubicBezTo>
                <a:cubicBezTo>
                  <a:pt x="3185160" y="1318284"/>
                  <a:pt x="3183338" y="1316462"/>
                  <a:pt x="3183338" y="1321929"/>
                </a:cubicBezTo>
                <a:cubicBezTo>
                  <a:pt x="3183338" y="1318284"/>
                  <a:pt x="3177872" y="1318284"/>
                  <a:pt x="3177872" y="1314640"/>
                </a:cubicBezTo>
                <a:close/>
                <a:moveTo>
                  <a:pt x="2838947" y="1314640"/>
                </a:moveTo>
                <a:cubicBezTo>
                  <a:pt x="2835303" y="1320106"/>
                  <a:pt x="2838947" y="1323751"/>
                  <a:pt x="2835303" y="1332862"/>
                </a:cubicBezTo>
                <a:cubicBezTo>
                  <a:pt x="2844414" y="1340150"/>
                  <a:pt x="2849880" y="1349261"/>
                  <a:pt x="2858991" y="1354728"/>
                </a:cubicBezTo>
                <a:cubicBezTo>
                  <a:pt x="2853525" y="1345617"/>
                  <a:pt x="2846236" y="1340150"/>
                  <a:pt x="2848058" y="1325573"/>
                </a:cubicBezTo>
                <a:cubicBezTo>
                  <a:pt x="2844414" y="1321929"/>
                  <a:pt x="2840769" y="1318284"/>
                  <a:pt x="2838947" y="1314640"/>
                </a:cubicBezTo>
                <a:close/>
                <a:moveTo>
                  <a:pt x="2623931" y="1314640"/>
                </a:moveTo>
                <a:cubicBezTo>
                  <a:pt x="2623931" y="1320106"/>
                  <a:pt x="2616642" y="1314640"/>
                  <a:pt x="2616642" y="1320106"/>
                </a:cubicBezTo>
                <a:cubicBezTo>
                  <a:pt x="2614820" y="1320106"/>
                  <a:pt x="2614820" y="1320106"/>
                  <a:pt x="2614820" y="1318284"/>
                </a:cubicBezTo>
                <a:lnTo>
                  <a:pt x="2594776" y="1338328"/>
                </a:lnTo>
                <a:lnTo>
                  <a:pt x="2602065" y="1349261"/>
                </a:lnTo>
                <a:lnTo>
                  <a:pt x="2623931" y="1323751"/>
                </a:lnTo>
                <a:lnTo>
                  <a:pt x="2638508" y="1331039"/>
                </a:lnTo>
                <a:lnTo>
                  <a:pt x="2649441" y="1327395"/>
                </a:lnTo>
                <a:cubicBezTo>
                  <a:pt x="2647619" y="1325573"/>
                  <a:pt x="2647619" y="1321929"/>
                  <a:pt x="2645797" y="1320106"/>
                </a:cubicBezTo>
                <a:cubicBezTo>
                  <a:pt x="2643975" y="1323751"/>
                  <a:pt x="2627575" y="1314640"/>
                  <a:pt x="2625753" y="1318284"/>
                </a:cubicBezTo>
                <a:cubicBezTo>
                  <a:pt x="2625753" y="1318284"/>
                  <a:pt x="2623931" y="1316462"/>
                  <a:pt x="2623931" y="1314640"/>
                </a:cubicBezTo>
                <a:close/>
                <a:moveTo>
                  <a:pt x="883755" y="1314640"/>
                </a:moveTo>
                <a:cubicBezTo>
                  <a:pt x="881933" y="1318284"/>
                  <a:pt x="880111" y="1320106"/>
                  <a:pt x="876466" y="1320106"/>
                </a:cubicBezTo>
                <a:cubicBezTo>
                  <a:pt x="878288" y="1323751"/>
                  <a:pt x="878288" y="1320106"/>
                  <a:pt x="880111" y="1321929"/>
                </a:cubicBezTo>
                <a:cubicBezTo>
                  <a:pt x="881933" y="1321929"/>
                  <a:pt x="881933" y="1320106"/>
                  <a:pt x="881933" y="1318284"/>
                </a:cubicBezTo>
                <a:cubicBezTo>
                  <a:pt x="883755" y="1318284"/>
                  <a:pt x="883755" y="1321929"/>
                  <a:pt x="887399" y="1318284"/>
                </a:cubicBezTo>
                <a:cubicBezTo>
                  <a:pt x="885577" y="1316462"/>
                  <a:pt x="887399" y="1314640"/>
                  <a:pt x="883755" y="1314640"/>
                </a:cubicBezTo>
                <a:close/>
                <a:moveTo>
                  <a:pt x="557586" y="1314640"/>
                </a:moveTo>
                <a:cubicBezTo>
                  <a:pt x="555763" y="1317373"/>
                  <a:pt x="553486" y="1320562"/>
                  <a:pt x="552802" y="1323523"/>
                </a:cubicBezTo>
                <a:lnTo>
                  <a:pt x="554398" y="1326029"/>
                </a:lnTo>
                <a:lnTo>
                  <a:pt x="552119" y="1323751"/>
                </a:lnTo>
                <a:cubicBezTo>
                  <a:pt x="550297" y="1327395"/>
                  <a:pt x="544830" y="1331039"/>
                  <a:pt x="546653" y="1332862"/>
                </a:cubicBezTo>
                <a:cubicBezTo>
                  <a:pt x="548475" y="1339240"/>
                  <a:pt x="549841" y="1337873"/>
                  <a:pt x="551436" y="1335139"/>
                </a:cubicBezTo>
                <a:lnTo>
                  <a:pt x="556867" y="1329909"/>
                </a:lnTo>
                <a:lnTo>
                  <a:pt x="557586" y="1331039"/>
                </a:lnTo>
                <a:cubicBezTo>
                  <a:pt x="555763" y="1325573"/>
                  <a:pt x="566697" y="1323751"/>
                  <a:pt x="561230" y="1318284"/>
                </a:cubicBezTo>
                <a:cubicBezTo>
                  <a:pt x="561230" y="1316462"/>
                  <a:pt x="557586" y="1316462"/>
                  <a:pt x="557586" y="1314640"/>
                </a:cubicBezTo>
                <a:close/>
                <a:moveTo>
                  <a:pt x="3057608" y="1312818"/>
                </a:moveTo>
                <a:cubicBezTo>
                  <a:pt x="3059430" y="1318284"/>
                  <a:pt x="3057608" y="1320106"/>
                  <a:pt x="3055786" y="1323751"/>
                </a:cubicBezTo>
                <a:cubicBezTo>
                  <a:pt x="3059430" y="1323751"/>
                  <a:pt x="3061253" y="1312818"/>
                  <a:pt x="3057608" y="1312818"/>
                </a:cubicBezTo>
                <a:close/>
                <a:moveTo>
                  <a:pt x="1929683" y="1312818"/>
                </a:moveTo>
                <a:cubicBezTo>
                  <a:pt x="1927861" y="1314640"/>
                  <a:pt x="1927861" y="1316462"/>
                  <a:pt x="1926038" y="1316462"/>
                </a:cubicBezTo>
                <a:lnTo>
                  <a:pt x="1936972" y="1321929"/>
                </a:lnTo>
                <a:lnTo>
                  <a:pt x="1938793" y="1320106"/>
                </a:lnTo>
                <a:cubicBezTo>
                  <a:pt x="1935149" y="1316462"/>
                  <a:pt x="1933327" y="1309173"/>
                  <a:pt x="1929683" y="1312818"/>
                </a:cubicBezTo>
                <a:close/>
                <a:moveTo>
                  <a:pt x="1222679" y="1312818"/>
                </a:moveTo>
                <a:cubicBezTo>
                  <a:pt x="1220858" y="1310995"/>
                  <a:pt x="1217213" y="1314640"/>
                  <a:pt x="1217213" y="1316462"/>
                </a:cubicBezTo>
                <a:cubicBezTo>
                  <a:pt x="1219036" y="1316462"/>
                  <a:pt x="1219036" y="1318284"/>
                  <a:pt x="1220858" y="1316462"/>
                </a:cubicBezTo>
                <a:cubicBezTo>
                  <a:pt x="1220858" y="1320106"/>
                  <a:pt x="1215390" y="1314640"/>
                  <a:pt x="1213568" y="1318284"/>
                </a:cubicBezTo>
                <a:cubicBezTo>
                  <a:pt x="1213568" y="1320106"/>
                  <a:pt x="1217213" y="1320106"/>
                  <a:pt x="1215390" y="1321929"/>
                </a:cubicBezTo>
                <a:cubicBezTo>
                  <a:pt x="1217213" y="1320106"/>
                  <a:pt x="1219036" y="1321929"/>
                  <a:pt x="1215390" y="1323751"/>
                </a:cubicBezTo>
                <a:cubicBezTo>
                  <a:pt x="1219036" y="1325573"/>
                  <a:pt x="1219036" y="1323751"/>
                  <a:pt x="1219036" y="1321929"/>
                </a:cubicBezTo>
                <a:lnTo>
                  <a:pt x="1222186" y="1329808"/>
                </a:lnTo>
                <a:lnTo>
                  <a:pt x="1208102" y="1318284"/>
                </a:lnTo>
                <a:cubicBezTo>
                  <a:pt x="1202636" y="1323751"/>
                  <a:pt x="1193525" y="1309173"/>
                  <a:pt x="1188058" y="1316462"/>
                </a:cubicBezTo>
                <a:cubicBezTo>
                  <a:pt x="1200814" y="1331039"/>
                  <a:pt x="1215390" y="1334684"/>
                  <a:pt x="1228146" y="1340150"/>
                </a:cubicBezTo>
                <a:cubicBezTo>
                  <a:pt x="1228146" y="1338328"/>
                  <a:pt x="1228146" y="1336506"/>
                  <a:pt x="1228146" y="1334684"/>
                </a:cubicBezTo>
                <a:lnTo>
                  <a:pt x="1222323" y="1329920"/>
                </a:lnTo>
                <a:lnTo>
                  <a:pt x="1228146" y="1331039"/>
                </a:lnTo>
                <a:cubicBezTo>
                  <a:pt x="1226323" y="1323751"/>
                  <a:pt x="1222679" y="1318284"/>
                  <a:pt x="1222679" y="1312818"/>
                </a:cubicBezTo>
                <a:close/>
                <a:moveTo>
                  <a:pt x="809046" y="1312818"/>
                </a:moveTo>
                <a:cubicBezTo>
                  <a:pt x="807223" y="1314640"/>
                  <a:pt x="810868" y="1316462"/>
                  <a:pt x="810868" y="1318284"/>
                </a:cubicBezTo>
                <a:cubicBezTo>
                  <a:pt x="810868" y="1316462"/>
                  <a:pt x="812690" y="1316462"/>
                  <a:pt x="812690" y="1314640"/>
                </a:cubicBezTo>
                <a:cubicBezTo>
                  <a:pt x="812690" y="1310995"/>
                  <a:pt x="810868" y="1314640"/>
                  <a:pt x="809046" y="1312818"/>
                </a:cubicBezTo>
                <a:close/>
                <a:moveTo>
                  <a:pt x="736159" y="1312818"/>
                </a:moveTo>
                <a:cubicBezTo>
                  <a:pt x="734336" y="1314640"/>
                  <a:pt x="732515" y="1316462"/>
                  <a:pt x="732515" y="1316462"/>
                </a:cubicBezTo>
                <a:cubicBezTo>
                  <a:pt x="734336" y="1320106"/>
                  <a:pt x="736159" y="1318284"/>
                  <a:pt x="737981" y="1318284"/>
                </a:cubicBezTo>
                <a:cubicBezTo>
                  <a:pt x="739803" y="1316462"/>
                  <a:pt x="736159" y="1314640"/>
                  <a:pt x="736159" y="1312818"/>
                </a:cubicBezTo>
                <a:close/>
                <a:moveTo>
                  <a:pt x="526609" y="1312818"/>
                </a:moveTo>
                <a:cubicBezTo>
                  <a:pt x="524786" y="1310995"/>
                  <a:pt x="513853" y="1316462"/>
                  <a:pt x="515676" y="1320106"/>
                </a:cubicBezTo>
                <a:cubicBezTo>
                  <a:pt x="526609" y="1327395"/>
                  <a:pt x="519320" y="1310995"/>
                  <a:pt x="526609" y="1312818"/>
                </a:cubicBezTo>
                <a:close/>
                <a:moveTo>
                  <a:pt x="499276" y="1312818"/>
                </a:moveTo>
                <a:cubicBezTo>
                  <a:pt x="497454" y="1312818"/>
                  <a:pt x="497454" y="1312818"/>
                  <a:pt x="495632" y="1314640"/>
                </a:cubicBezTo>
                <a:cubicBezTo>
                  <a:pt x="497454" y="1316462"/>
                  <a:pt x="499276" y="1316462"/>
                  <a:pt x="501098" y="1314640"/>
                </a:cubicBezTo>
                <a:cubicBezTo>
                  <a:pt x="501098" y="1314640"/>
                  <a:pt x="499276" y="1312818"/>
                  <a:pt x="499276" y="1312818"/>
                </a:cubicBezTo>
                <a:close/>
                <a:moveTo>
                  <a:pt x="1128653" y="1312695"/>
                </a:moveTo>
                <a:lnTo>
                  <a:pt x="1131570" y="1314640"/>
                </a:lnTo>
                <a:cubicBezTo>
                  <a:pt x="1133392" y="1318285"/>
                  <a:pt x="1134304" y="1323296"/>
                  <a:pt x="1134759" y="1328079"/>
                </a:cubicBezTo>
                <a:lnTo>
                  <a:pt x="1135104" y="1337217"/>
                </a:lnTo>
                <a:lnTo>
                  <a:pt x="1132253" y="1330128"/>
                </a:lnTo>
                <a:close/>
                <a:moveTo>
                  <a:pt x="3267327" y="1312450"/>
                </a:moveTo>
                <a:lnTo>
                  <a:pt x="3268980" y="1312818"/>
                </a:lnTo>
                <a:cubicBezTo>
                  <a:pt x="3267158" y="1312818"/>
                  <a:pt x="3267158" y="1313274"/>
                  <a:pt x="3267614" y="1313957"/>
                </a:cubicBezTo>
                <a:lnTo>
                  <a:pt x="3267986" y="1314640"/>
                </a:lnTo>
                <a:lnTo>
                  <a:pt x="3267158" y="1314640"/>
                </a:lnTo>
                <a:close/>
                <a:moveTo>
                  <a:pt x="333686" y="1311906"/>
                </a:moveTo>
                <a:cubicBezTo>
                  <a:pt x="330270" y="1312362"/>
                  <a:pt x="327081" y="1313729"/>
                  <a:pt x="324347" y="1316462"/>
                </a:cubicBezTo>
                <a:lnTo>
                  <a:pt x="326169" y="1314640"/>
                </a:lnTo>
                <a:cubicBezTo>
                  <a:pt x="315236" y="1314640"/>
                  <a:pt x="307948" y="1323751"/>
                  <a:pt x="298837" y="1332862"/>
                </a:cubicBezTo>
                <a:cubicBezTo>
                  <a:pt x="289726" y="1338328"/>
                  <a:pt x="278793" y="1343795"/>
                  <a:pt x="280615" y="1351083"/>
                </a:cubicBezTo>
                <a:cubicBezTo>
                  <a:pt x="289726" y="1348350"/>
                  <a:pt x="300204" y="1345161"/>
                  <a:pt x="310225" y="1340834"/>
                </a:cubicBezTo>
                <a:lnTo>
                  <a:pt x="327689" y="1329734"/>
                </a:lnTo>
                <a:lnTo>
                  <a:pt x="315236" y="1338328"/>
                </a:lnTo>
                <a:cubicBezTo>
                  <a:pt x="322525" y="1345617"/>
                  <a:pt x="333458" y="1331039"/>
                  <a:pt x="340747" y="1329217"/>
                </a:cubicBezTo>
                <a:cubicBezTo>
                  <a:pt x="338926" y="1327395"/>
                  <a:pt x="344391" y="1325573"/>
                  <a:pt x="346213" y="1320106"/>
                </a:cubicBezTo>
                <a:cubicBezTo>
                  <a:pt x="346213" y="1321929"/>
                  <a:pt x="342569" y="1323751"/>
                  <a:pt x="344391" y="1325573"/>
                </a:cubicBezTo>
                <a:cubicBezTo>
                  <a:pt x="346213" y="1325573"/>
                  <a:pt x="348037" y="1325573"/>
                  <a:pt x="349858" y="1323751"/>
                </a:cubicBezTo>
                <a:cubicBezTo>
                  <a:pt x="349858" y="1323751"/>
                  <a:pt x="348037" y="1321929"/>
                  <a:pt x="346213" y="1320106"/>
                </a:cubicBezTo>
                <a:lnTo>
                  <a:pt x="332686" y="1326558"/>
                </a:lnTo>
                <a:lnTo>
                  <a:pt x="337102" y="1323751"/>
                </a:lnTo>
                <a:cubicBezTo>
                  <a:pt x="331636" y="1318284"/>
                  <a:pt x="327993" y="1327395"/>
                  <a:pt x="322525" y="1321929"/>
                </a:cubicBezTo>
                <a:cubicBezTo>
                  <a:pt x="329814" y="1320106"/>
                  <a:pt x="337102" y="1316462"/>
                  <a:pt x="344391" y="1312818"/>
                </a:cubicBezTo>
                <a:cubicBezTo>
                  <a:pt x="340747" y="1311907"/>
                  <a:pt x="337103" y="1311451"/>
                  <a:pt x="333686" y="1311906"/>
                </a:cubicBezTo>
                <a:close/>
                <a:moveTo>
                  <a:pt x="3255542" y="1310995"/>
                </a:moveTo>
                <a:cubicBezTo>
                  <a:pt x="3253492" y="1310995"/>
                  <a:pt x="3250759" y="1311907"/>
                  <a:pt x="3248937" y="1312818"/>
                </a:cubicBezTo>
                <a:cubicBezTo>
                  <a:pt x="3248937" y="1318284"/>
                  <a:pt x="3254403" y="1314640"/>
                  <a:pt x="3258047" y="1314640"/>
                </a:cubicBezTo>
                <a:cubicBezTo>
                  <a:pt x="3258958" y="1311907"/>
                  <a:pt x="3257592" y="1310995"/>
                  <a:pt x="3255542" y="1310995"/>
                </a:cubicBezTo>
                <a:close/>
                <a:moveTo>
                  <a:pt x="3048497" y="1310995"/>
                </a:moveTo>
                <a:cubicBezTo>
                  <a:pt x="3044853" y="1310995"/>
                  <a:pt x="3048497" y="1318284"/>
                  <a:pt x="3044853" y="1321929"/>
                </a:cubicBezTo>
                <a:cubicBezTo>
                  <a:pt x="3048497" y="1321929"/>
                  <a:pt x="3050319" y="1323751"/>
                  <a:pt x="3053964" y="1323751"/>
                </a:cubicBezTo>
                <a:cubicBezTo>
                  <a:pt x="3050319" y="1318284"/>
                  <a:pt x="3048497" y="1318284"/>
                  <a:pt x="3048497" y="1310995"/>
                </a:cubicBezTo>
                <a:close/>
                <a:moveTo>
                  <a:pt x="1162547" y="1310995"/>
                </a:moveTo>
                <a:cubicBezTo>
                  <a:pt x="1160725" y="1310995"/>
                  <a:pt x="1160725" y="1312818"/>
                  <a:pt x="1158903" y="1312818"/>
                </a:cubicBezTo>
                <a:cubicBezTo>
                  <a:pt x="1160725" y="1318284"/>
                  <a:pt x="1164370" y="1312818"/>
                  <a:pt x="1166192" y="1316462"/>
                </a:cubicBezTo>
                <a:cubicBezTo>
                  <a:pt x="1168014" y="1316462"/>
                  <a:pt x="1168014" y="1318284"/>
                  <a:pt x="1169836" y="1320106"/>
                </a:cubicBezTo>
                <a:cubicBezTo>
                  <a:pt x="1171658" y="1320106"/>
                  <a:pt x="1171658" y="1320106"/>
                  <a:pt x="1173481" y="1320106"/>
                </a:cubicBezTo>
                <a:cubicBezTo>
                  <a:pt x="1171658" y="1320106"/>
                  <a:pt x="1169836" y="1314640"/>
                  <a:pt x="1166192" y="1316462"/>
                </a:cubicBezTo>
                <a:cubicBezTo>
                  <a:pt x="1168014" y="1312818"/>
                  <a:pt x="1164370" y="1312818"/>
                  <a:pt x="1162547" y="1310995"/>
                </a:cubicBezTo>
                <a:close/>
                <a:moveTo>
                  <a:pt x="646872" y="1310995"/>
                </a:moveTo>
                <a:cubicBezTo>
                  <a:pt x="645050" y="1318284"/>
                  <a:pt x="648694" y="1320106"/>
                  <a:pt x="652339" y="1323751"/>
                </a:cubicBezTo>
                <a:cubicBezTo>
                  <a:pt x="652339" y="1323751"/>
                  <a:pt x="652339" y="1321929"/>
                  <a:pt x="652339" y="1321929"/>
                </a:cubicBezTo>
                <a:cubicBezTo>
                  <a:pt x="654161" y="1323751"/>
                  <a:pt x="657805" y="1325573"/>
                  <a:pt x="659627" y="1327395"/>
                </a:cubicBezTo>
                <a:cubicBezTo>
                  <a:pt x="661449" y="1325573"/>
                  <a:pt x="661449" y="1325573"/>
                  <a:pt x="663272" y="1323751"/>
                </a:cubicBezTo>
                <a:cubicBezTo>
                  <a:pt x="661449" y="1320106"/>
                  <a:pt x="657805" y="1316462"/>
                  <a:pt x="655983" y="1314640"/>
                </a:cubicBezTo>
                <a:cubicBezTo>
                  <a:pt x="652339" y="1318284"/>
                  <a:pt x="650516" y="1320106"/>
                  <a:pt x="652339" y="1321929"/>
                </a:cubicBezTo>
                <a:cubicBezTo>
                  <a:pt x="650516" y="1320106"/>
                  <a:pt x="646872" y="1316462"/>
                  <a:pt x="650516" y="1310995"/>
                </a:cubicBezTo>
                <a:cubicBezTo>
                  <a:pt x="648694" y="1309173"/>
                  <a:pt x="648694" y="1312818"/>
                  <a:pt x="646872" y="1310995"/>
                </a:cubicBezTo>
                <a:close/>
                <a:moveTo>
                  <a:pt x="395412" y="1310995"/>
                </a:moveTo>
                <a:cubicBezTo>
                  <a:pt x="391768" y="1310995"/>
                  <a:pt x="388123" y="1312818"/>
                  <a:pt x="384479" y="1314640"/>
                </a:cubicBezTo>
                <a:cubicBezTo>
                  <a:pt x="384479" y="1316462"/>
                  <a:pt x="386301" y="1320106"/>
                  <a:pt x="384479" y="1323751"/>
                </a:cubicBezTo>
                <a:cubicBezTo>
                  <a:pt x="386301" y="1327395"/>
                  <a:pt x="388123" y="1327395"/>
                  <a:pt x="391768" y="1325573"/>
                </a:cubicBezTo>
                <a:cubicBezTo>
                  <a:pt x="389946" y="1325573"/>
                  <a:pt x="389946" y="1323751"/>
                  <a:pt x="388123" y="1321929"/>
                </a:cubicBezTo>
                <a:cubicBezTo>
                  <a:pt x="388123" y="1318284"/>
                  <a:pt x="391768" y="1325573"/>
                  <a:pt x="395412" y="1321929"/>
                </a:cubicBezTo>
                <a:cubicBezTo>
                  <a:pt x="395412" y="1321929"/>
                  <a:pt x="395412" y="1323751"/>
                  <a:pt x="395412" y="1323751"/>
                </a:cubicBezTo>
                <a:cubicBezTo>
                  <a:pt x="402701" y="1327395"/>
                  <a:pt x="404523" y="1316462"/>
                  <a:pt x="408167" y="1312818"/>
                </a:cubicBezTo>
                <a:cubicBezTo>
                  <a:pt x="402701" y="1312818"/>
                  <a:pt x="397234" y="1316462"/>
                  <a:pt x="393590" y="1314640"/>
                </a:cubicBezTo>
                <a:cubicBezTo>
                  <a:pt x="391768" y="1312818"/>
                  <a:pt x="402701" y="1314640"/>
                  <a:pt x="395412" y="1310995"/>
                </a:cubicBezTo>
                <a:close/>
                <a:moveTo>
                  <a:pt x="3125029" y="1309173"/>
                </a:moveTo>
                <a:cubicBezTo>
                  <a:pt x="3128673" y="1314640"/>
                  <a:pt x="3135962" y="1318284"/>
                  <a:pt x="3141428" y="1316462"/>
                </a:cubicBezTo>
                <a:cubicBezTo>
                  <a:pt x="3139606" y="1310995"/>
                  <a:pt x="3132317" y="1310995"/>
                  <a:pt x="3125029" y="1309173"/>
                </a:cubicBezTo>
                <a:close/>
                <a:moveTo>
                  <a:pt x="3068541" y="1309173"/>
                </a:moveTo>
                <a:cubicBezTo>
                  <a:pt x="3063075" y="1310995"/>
                  <a:pt x="3068541" y="1312818"/>
                  <a:pt x="3066719" y="1318284"/>
                </a:cubicBezTo>
                <a:cubicBezTo>
                  <a:pt x="3070363" y="1318284"/>
                  <a:pt x="3072186" y="1318284"/>
                  <a:pt x="3075830" y="1318284"/>
                </a:cubicBezTo>
                <a:cubicBezTo>
                  <a:pt x="3074008" y="1312818"/>
                  <a:pt x="3068541" y="1316462"/>
                  <a:pt x="3068541" y="1309173"/>
                </a:cubicBezTo>
                <a:close/>
                <a:moveTo>
                  <a:pt x="1184414" y="1309173"/>
                </a:moveTo>
                <a:cubicBezTo>
                  <a:pt x="1180769" y="1310995"/>
                  <a:pt x="1186236" y="1312818"/>
                  <a:pt x="1186236" y="1314640"/>
                </a:cubicBezTo>
                <a:cubicBezTo>
                  <a:pt x="1188058" y="1312818"/>
                  <a:pt x="1188058" y="1314640"/>
                  <a:pt x="1189880" y="1312818"/>
                </a:cubicBezTo>
                <a:cubicBezTo>
                  <a:pt x="1188058" y="1310995"/>
                  <a:pt x="1186236" y="1310995"/>
                  <a:pt x="1184414" y="1309173"/>
                </a:cubicBezTo>
                <a:close/>
                <a:moveTo>
                  <a:pt x="1178947" y="1309173"/>
                </a:moveTo>
                <a:cubicBezTo>
                  <a:pt x="1177125" y="1309173"/>
                  <a:pt x="1177125" y="1312818"/>
                  <a:pt x="1173481" y="1312818"/>
                </a:cubicBezTo>
                <a:cubicBezTo>
                  <a:pt x="1177125" y="1314640"/>
                  <a:pt x="1178947" y="1316462"/>
                  <a:pt x="1182592" y="1314640"/>
                </a:cubicBezTo>
                <a:cubicBezTo>
                  <a:pt x="1182592" y="1312818"/>
                  <a:pt x="1178947" y="1310995"/>
                  <a:pt x="1178947" y="1309173"/>
                </a:cubicBezTo>
                <a:close/>
                <a:moveTo>
                  <a:pt x="661449" y="1309173"/>
                </a:moveTo>
                <a:cubicBezTo>
                  <a:pt x="657805" y="1312818"/>
                  <a:pt x="663272" y="1312818"/>
                  <a:pt x="665094" y="1314640"/>
                </a:cubicBezTo>
                <a:cubicBezTo>
                  <a:pt x="666916" y="1312818"/>
                  <a:pt x="665094" y="1310995"/>
                  <a:pt x="665094" y="1309173"/>
                </a:cubicBezTo>
                <a:cubicBezTo>
                  <a:pt x="663272" y="1310995"/>
                  <a:pt x="661449" y="1310995"/>
                  <a:pt x="661449" y="1309173"/>
                </a:cubicBezTo>
                <a:close/>
                <a:moveTo>
                  <a:pt x="606784" y="1309173"/>
                </a:moveTo>
                <a:cubicBezTo>
                  <a:pt x="604963" y="1309173"/>
                  <a:pt x="604963" y="1310995"/>
                  <a:pt x="604963" y="1310995"/>
                </a:cubicBezTo>
                <a:cubicBezTo>
                  <a:pt x="603140" y="1309173"/>
                  <a:pt x="601318" y="1309173"/>
                  <a:pt x="599496" y="1312818"/>
                </a:cubicBezTo>
                <a:cubicBezTo>
                  <a:pt x="597673" y="1314640"/>
                  <a:pt x="606784" y="1320106"/>
                  <a:pt x="603140" y="1325573"/>
                </a:cubicBezTo>
                <a:cubicBezTo>
                  <a:pt x="603140" y="1329217"/>
                  <a:pt x="606784" y="1334684"/>
                  <a:pt x="610429" y="1331039"/>
                </a:cubicBezTo>
                <a:cubicBezTo>
                  <a:pt x="608606" y="1331039"/>
                  <a:pt x="608606" y="1329217"/>
                  <a:pt x="608606" y="1327395"/>
                </a:cubicBezTo>
                <a:lnTo>
                  <a:pt x="612250" y="1323751"/>
                </a:lnTo>
                <a:lnTo>
                  <a:pt x="610429" y="1327395"/>
                </a:lnTo>
                <a:cubicBezTo>
                  <a:pt x="612251" y="1327395"/>
                  <a:pt x="612251" y="1321929"/>
                  <a:pt x="614074" y="1325573"/>
                </a:cubicBezTo>
                <a:cubicBezTo>
                  <a:pt x="617717" y="1323751"/>
                  <a:pt x="612251" y="1321929"/>
                  <a:pt x="614074" y="1320106"/>
                </a:cubicBezTo>
                <a:cubicBezTo>
                  <a:pt x="613162" y="1320106"/>
                  <a:pt x="613162" y="1321017"/>
                  <a:pt x="612934" y="1322384"/>
                </a:cubicBezTo>
                <a:lnTo>
                  <a:pt x="612251" y="1323751"/>
                </a:lnTo>
                <a:lnTo>
                  <a:pt x="608606" y="1314640"/>
                </a:lnTo>
                <a:cubicBezTo>
                  <a:pt x="608606" y="1312818"/>
                  <a:pt x="608606" y="1310995"/>
                  <a:pt x="606784" y="1309173"/>
                </a:cubicBezTo>
                <a:close/>
                <a:moveTo>
                  <a:pt x="588562" y="1309173"/>
                </a:moveTo>
                <a:cubicBezTo>
                  <a:pt x="586741" y="1310995"/>
                  <a:pt x="586741" y="1312818"/>
                  <a:pt x="588562" y="1314640"/>
                </a:cubicBezTo>
                <a:cubicBezTo>
                  <a:pt x="588562" y="1316462"/>
                  <a:pt x="588562" y="1316462"/>
                  <a:pt x="590385" y="1318284"/>
                </a:cubicBezTo>
                <a:cubicBezTo>
                  <a:pt x="590385" y="1316462"/>
                  <a:pt x="588562" y="1314640"/>
                  <a:pt x="590385" y="1314640"/>
                </a:cubicBezTo>
                <a:cubicBezTo>
                  <a:pt x="590385" y="1314640"/>
                  <a:pt x="592207" y="1312818"/>
                  <a:pt x="594030" y="1310995"/>
                </a:cubicBezTo>
                <a:cubicBezTo>
                  <a:pt x="592207" y="1307351"/>
                  <a:pt x="590385" y="1312818"/>
                  <a:pt x="588562" y="1309173"/>
                </a:cubicBezTo>
                <a:close/>
                <a:moveTo>
                  <a:pt x="575808" y="1309173"/>
                </a:moveTo>
                <a:cubicBezTo>
                  <a:pt x="575808" y="1325573"/>
                  <a:pt x="579452" y="1310995"/>
                  <a:pt x="579452" y="1310995"/>
                </a:cubicBezTo>
                <a:cubicBezTo>
                  <a:pt x="577630" y="1307351"/>
                  <a:pt x="575808" y="1310995"/>
                  <a:pt x="575808" y="1309173"/>
                </a:cubicBezTo>
                <a:close/>
                <a:moveTo>
                  <a:pt x="530253" y="1309173"/>
                </a:moveTo>
                <a:cubicBezTo>
                  <a:pt x="528431" y="1312818"/>
                  <a:pt x="530253" y="1314640"/>
                  <a:pt x="526609" y="1316462"/>
                </a:cubicBezTo>
                <a:cubicBezTo>
                  <a:pt x="530253" y="1320106"/>
                  <a:pt x="533897" y="1312818"/>
                  <a:pt x="530253" y="1309173"/>
                </a:cubicBezTo>
                <a:close/>
                <a:moveTo>
                  <a:pt x="461010" y="1309173"/>
                </a:moveTo>
                <a:cubicBezTo>
                  <a:pt x="461010" y="1310995"/>
                  <a:pt x="461010" y="1314640"/>
                  <a:pt x="462832" y="1318284"/>
                </a:cubicBezTo>
                <a:cubicBezTo>
                  <a:pt x="466478" y="1312818"/>
                  <a:pt x="461010" y="1312818"/>
                  <a:pt x="461010" y="1309173"/>
                </a:cubicBezTo>
                <a:close/>
                <a:moveTo>
                  <a:pt x="455999" y="1308717"/>
                </a:moveTo>
                <a:cubicBezTo>
                  <a:pt x="454177" y="1308717"/>
                  <a:pt x="451899" y="1309173"/>
                  <a:pt x="450077" y="1309173"/>
                </a:cubicBezTo>
                <a:cubicBezTo>
                  <a:pt x="450077" y="1312818"/>
                  <a:pt x="457367" y="1314640"/>
                  <a:pt x="459188" y="1310995"/>
                </a:cubicBezTo>
                <a:cubicBezTo>
                  <a:pt x="459188" y="1309173"/>
                  <a:pt x="457821" y="1308717"/>
                  <a:pt x="455999" y="1308717"/>
                </a:cubicBezTo>
                <a:close/>
                <a:moveTo>
                  <a:pt x="428497" y="1308006"/>
                </a:moveTo>
                <a:cubicBezTo>
                  <a:pt x="423543" y="1308263"/>
                  <a:pt x="419101" y="1316462"/>
                  <a:pt x="413634" y="1316462"/>
                </a:cubicBezTo>
                <a:cubicBezTo>
                  <a:pt x="417278" y="1314640"/>
                  <a:pt x="419100" y="1310995"/>
                  <a:pt x="422745" y="1309173"/>
                </a:cubicBezTo>
                <a:cubicBezTo>
                  <a:pt x="417278" y="1307351"/>
                  <a:pt x="409989" y="1309173"/>
                  <a:pt x="408167" y="1316462"/>
                </a:cubicBezTo>
                <a:cubicBezTo>
                  <a:pt x="409989" y="1318284"/>
                  <a:pt x="409989" y="1316462"/>
                  <a:pt x="411812" y="1316462"/>
                </a:cubicBezTo>
                <a:cubicBezTo>
                  <a:pt x="399056" y="1321929"/>
                  <a:pt x="393590" y="1331039"/>
                  <a:pt x="395412" y="1340150"/>
                </a:cubicBezTo>
                <a:cubicBezTo>
                  <a:pt x="395412" y="1349261"/>
                  <a:pt x="409989" y="1354728"/>
                  <a:pt x="422745" y="1354728"/>
                </a:cubicBezTo>
                <a:cubicBezTo>
                  <a:pt x="420923" y="1354728"/>
                  <a:pt x="420923" y="1352905"/>
                  <a:pt x="419100" y="1351083"/>
                </a:cubicBezTo>
                <a:cubicBezTo>
                  <a:pt x="426389" y="1352905"/>
                  <a:pt x="431856" y="1360194"/>
                  <a:pt x="437322" y="1354728"/>
                </a:cubicBezTo>
                <a:cubicBezTo>
                  <a:pt x="437322" y="1352905"/>
                  <a:pt x="437322" y="1352905"/>
                  <a:pt x="435500" y="1351083"/>
                </a:cubicBezTo>
                <a:cubicBezTo>
                  <a:pt x="444611" y="1351083"/>
                  <a:pt x="451899" y="1358372"/>
                  <a:pt x="459188" y="1349261"/>
                </a:cubicBezTo>
                <a:cubicBezTo>
                  <a:pt x="453722" y="1345617"/>
                  <a:pt x="451899" y="1347439"/>
                  <a:pt x="450077" y="1341972"/>
                </a:cubicBezTo>
                <a:cubicBezTo>
                  <a:pt x="451899" y="1340150"/>
                  <a:pt x="444611" y="1343795"/>
                  <a:pt x="440966" y="1345617"/>
                </a:cubicBezTo>
                <a:cubicBezTo>
                  <a:pt x="448256" y="1338328"/>
                  <a:pt x="448256" y="1332862"/>
                  <a:pt x="440966" y="1327395"/>
                </a:cubicBezTo>
                <a:cubicBezTo>
                  <a:pt x="437322" y="1325573"/>
                  <a:pt x="435500" y="1329217"/>
                  <a:pt x="433678" y="1327395"/>
                </a:cubicBezTo>
                <a:cubicBezTo>
                  <a:pt x="430034" y="1323751"/>
                  <a:pt x="433678" y="1323751"/>
                  <a:pt x="437322" y="1323751"/>
                </a:cubicBezTo>
                <a:lnTo>
                  <a:pt x="437720" y="1323433"/>
                </a:lnTo>
                <a:lnTo>
                  <a:pt x="431855" y="1321967"/>
                </a:lnTo>
                <a:cubicBezTo>
                  <a:pt x="433677" y="1321967"/>
                  <a:pt x="435500" y="1321967"/>
                  <a:pt x="437322" y="1320143"/>
                </a:cubicBezTo>
                <a:lnTo>
                  <a:pt x="438610" y="1322721"/>
                </a:lnTo>
                <a:lnTo>
                  <a:pt x="446433" y="1316462"/>
                </a:lnTo>
                <a:cubicBezTo>
                  <a:pt x="440966" y="1309173"/>
                  <a:pt x="431856" y="1314640"/>
                  <a:pt x="424567" y="1314640"/>
                </a:cubicBezTo>
                <a:cubicBezTo>
                  <a:pt x="428211" y="1312818"/>
                  <a:pt x="430034" y="1312818"/>
                  <a:pt x="433678" y="1310995"/>
                </a:cubicBezTo>
                <a:cubicBezTo>
                  <a:pt x="431856" y="1308718"/>
                  <a:pt x="430148" y="1307921"/>
                  <a:pt x="428497" y="1308006"/>
                </a:cubicBezTo>
                <a:close/>
                <a:moveTo>
                  <a:pt x="1514228" y="1307443"/>
                </a:moveTo>
                <a:lnTo>
                  <a:pt x="1523339" y="1323843"/>
                </a:lnTo>
                <a:lnTo>
                  <a:pt x="1497827" y="1322021"/>
                </a:lnTo>
                <a:close/>
                <a:moveTo>
                  <a:pt x="1355881" y="1307364"/>
                </a:moveTo>
                <a:lnTo>
                  <a:pt x="1358887" y="1307579"/>
                </a:lnTo>
                <a:cubicBezTo>
                  <a:pt x="1359797" y="1308262"/>
                  <a:pt x="1360253" y="1309173"/>
                  <a:pt x="1359342" y="1309173"/>
                </a:cubicBezTo>
                <a:lnTo>
                  <a:pt x="1355885" y="1307444"/>
                </a:lnTo>
                <a:close/>
                <a:moveTo>
                  <a:pt x="3321824" y="1307351"/>
                </a:moveTo>
                <a:cubicBezTo>
                  <a:pt x="3320001" y="1307351"/>
                  <a:pt x="3320001" y="1309173"/>
                  <a:pt x="3318179" y="1309173"/>
                </a:cubicBezTo>
                <a:cubicBezTo>
                  <a:pt x="3316357" y="1314640"/>
                  <a:pt x="3320001" y="1312818"/>
                  <a:pt x="3320001" y="1316462"/>
                </a:cubicBezTo>
                <a:cubicBezTo>
                  <a:pt x="3321824" y="1316462"/>
                  <a:pt x="3325468" y="1316462"/>
                  <a:pt x="3327290" y="1312818"/>
                </a:cubicBezTo>
                <a:cubicBezTo>
                  <a:pt x="3327290" y="1309173"/>
                  <a:pt x="3323646" y="1309173"/>
                  <a:pt x="3321824" y="1307351"/>
                </a:cubicBezTo>
                <a:close/>
                <a:moveTo>
                  <a:pt x="3197916" y="1307351"/>
                </a:moveTo>
                <a:cubicBezTo>
                  <a:pt x="3194271" y="1309173"/>
                  <a:pt x="3201560" y="1316462"/>
                  <a:pt x="3205204" y="1314640"/>
                </a:cubicBezTo>
                <a:cubicBezTo>
                  <a:pt x="3205204" y="1309173"/>
                  <a:pt x="3197916" y="1310995"/>
                  <a:pt x="3197916" y="1307351"/>
                </a:cubicBezTo>
                <a:close/>
                <a:moveTo>
                  <a:pt x="1907816" y="1307351"/>
                </a:moveTo>
                <a:lnTo>
                  <a:pt x="1904172" y="1309780"/>
                </a:lnTo>
                <a:lnTo>
                  <a:pt x="1902350" y="1309173"/>
                </a:lnTo>
                <a:cubicBezTo>
                  <a:pt x="1902350" y="1309173"/>
                  <a:pt x="1902350" y="1309173"/>
                  <a:pt x="1902350" y="1310995"/>
                </a:cubicBezTo>
                <a:lnTo>
                  <a:pt x="1904172" y="1309780"/>
                </a:lnTo>
                <a:lnTo>
                  <a:pt x="1907816" y="1310995"/>
                </a:lnTo>
                <a:cubicBezTo>
                  <a:pt x="1909639" y="1309173"/>
                  <a:pt x="1907816" y="1307351"/>
                  <a:pt x="1907816" y="1307351"/>
                </a:cubicBezTo>
                <a:close/>
                <a:moveTo>
                  <a:pt x="1153436" y="1307351"/>
                </a:moveTo>
                <a:cubicBezTo>
                  <a:pt x="1155259" y="1305529"/>
                  <a:pt x="1158903" y="1310995"/>
                  <a:pt x="1157081" y="1310995"/>
                </a:cubicBezTo>
                <a:cubicBezTo>
                  <a:pt x="1155259" y="1310995"/>
                  <a:pt x="1157081" y="1309173"/>
                  <a:pt x="1153436" y="1307351"/>
                </a:cubicBezTo>
                <a:close/>
                <a:moveTo>
                  <a:pt x="1056861" y="1307351"/>
                </a:moveTo>
                <a:cubicBezTo>
                  <a:pt x="1065972" y="1320106"/>
                  <a:pt x="1078727" y="1334684"/>
                  <a:pt x="1089660" y="1347439"/>
                </a:cubicBezTo>
                <a:cubicBezTo>
                  <a:pt x="1091484" y="1341972"/>
                  <a:pt x="1091484" y="1336506"/>
                  <a:pt x="1086016" y="1331039"/>
                </a:cubicBezTo>
                <a:cubicBezTo>
                  <a:pt x="1086016" y="1329217"/>
                  <a:pt x="1087838" y="1336506"/>
                  <a:pt x="1089660" y="1332862"/>
                </a:cubicBezTo>
                <a:cubicBezTo>
                  <a:pt x="1093305" y="1336506"/>
                  <a:pt x="1100593" y="1341972"/>
                  <a:pt x="1102416" y="1343795"/>
                </a:cubicBezTo>
                <a:cubicBezTo>
                  <a:pt x="1102416" y="1336506"/>
                  <a:pt x="1096949" y="1329217"/>
                  <a:pt x="1091484" y="1327395"/>
                </a:cubicBezTo>
                <a:cubicBezTo>
                  <a:pt x="1089660" y="1325573"/>
                  <a:pt x="1093305" y="1325573"/>
                  <a:pt x="1093305" y="1327395"/>
                </a:cubicBezTo>
                <a:cubicBezTo>
                  <a:pt x="1095127" y="1327395"/>
                  <a:pt x="1091484" y="1325573"/>
                  <a:pt x="1091484" y="1323751"/>
                </a:cubicBezTo>
                <a:cubicBezTo>
                  <a:pt x="1089660" y="1327395"/>
                  <a:pt x="1089660" y="1329217"/>
                  <a:pt x="1089660" y="1332862"/>
                </a:cubicBezTo>
                <a:cubicBezTo>
                  <a:pt x="1078727" y="1323751"/>
                  <a:pt x="1067794" y="1314640"/>
                  <a:pt x="1056861" y="1307351"/>
                </a:cubicBezTo>
                <a:close/>
                <a:moveTo>
                  <a:pt x="716115" y="1307351"/>
                </a:moveTo>
                <a:cubicBezTo>
                  <a:pt x="712470" y="1316462"/>
                  <a:pt x="699715" y="1325573"/>
                  <a:pt x="710648" y="1332862"/>
                </a:cubicBezTo>
                <a:cubicBezTo>
                  <a:pt x="714293" y="1325573"/>
                  <a:pt x="721581" y="1321929"/>
                  <a:pt x="723404" y="1314640"/>
                </a:cubicBezTo>
                <a:cubicBezTo>
                  <a:pt x="721581" y="1310995"/>
                  <a:pt x="717937" y="1309173"/>
                  <a:pt x="716115" y="1307351"/>
                </a:cubicBezTo>
                <a:close/>
                <a:moveTo>
                  <a:pt x="626828" y="1307351"/>
                </a:moveTo>
                <a:cubicBezTo>
                  <a:pt x="625006" y="1310995"/>
                  <a:pt x="625006" y="1316462"/>
                  <a:pt x="630472" y="1320106"/>
                </a:cubicBezTo>
                <a:cubicBezTo>
                  <a:pt x="628650" y="1318284"/>
                  <a:pt x="629106" y="1316918"/>
                  <a:pt x="629789" y="1315551"/>
                </a:cubicBezTo>
                <a:lnTo>
                  <a:pt x="630472" y="1310995"/>
                </a:lnTo>
                <a:lnTo>
                  <a:pt x="630473" y="1310995"/>
                </a:lnTo>
                <a:lnTo>
                  <a:pt x="634117" y="1316462"/>
                </a:lnTo>
                <a:cubicBezTo>
                  <a:pt x="634117" y="1316462"/>
                  <a:pt x="635939" y="1318284"/>
                  <a:pt x="635939" y="1318284"/>
                </a:cubicBezTo>
                <a:cubicBezTo>
                  <a:pt x="635939" y="1316462"/>
                  <a:pt x="635939" y="1316462"/>
                  <a:pt x="634117" y="1314640"/>
                </a:cubicBezTo>
                <a:cubicBezTo>
                  <a:pt x="637761" y="1316462"/>
                  <a:pt x="637761" y="1316462"/>
                  <a:pt x="639583" y="1320106"/>
                </a:cubicBezTo>
                <a:lnTo>
                  <a:pt x="630473" y="1310995"/>
                </a:lnTo>
                <a:lnTo>
                  <a:pt x="630472" y="1310995"/>
                </a:lnTo>
                <a:lnTo>
                  <a:pt x="630472" y="1310995"/>
                </a:lnTo>
                <a:close/>
                <a:moveTo>
                  <a:pt x="488343" y="1307351"/>
                </a:moveTo>
                <a:cubicBezTo>
                  <a:pt x="488343" y="1309173"/>
                  <a:pt x="486521" y="1314640"/>
                  <a:pt x="493809" y="1312818"/>
                </a:cubicBezTo>
                <a:cubicBezTo>
                  <a:pt x="491987" y="1310995"/>
                  <a:pt x="490165" y="1309173"/>
                  <a:pt x="490165" y="1307351"/>
                </a:cubicBezTo>
                <a:cubicBezTo>
                  <a:pt x="490165" y="1309173"/>
                  <a:pt x="488343" y="1307351"/>
                  <a:pt x="488343" y="1307351"/>
                </a:cubicBezTo>
                <a:close/>
                <a:moveTo>
                  <a:pt x="304303" y="1307351"/>
                </a:moveTo>
                <a:cubicBezTo>
                  <a:pt x="298837" y="1310995"/>
                  <a:pt x="293370" y="1312818"/>
                  <a:pt x="293370" y="1318284"/>
                </a:cubicBezTo>
                <a:lnTo>
                  <a:pt x="298661" y="1320047"/>
                </a:lnTo>
                <a:lnTo>
                  <a:pt x="298382" y="1320675"/>
                </a:lnTo>
                <a:lnTo>
                  <a:pt x="297926" y="1321245"/>
                </a:lnTo>
                <a:cubicBezTo>
                  <a:pt x="297015" y="1321473"/>
                  <a:pt x="296104" y="1321929"/>
                  <a:pt x="297015" y="1323751"/>
                </a:cubicBezTo>
                <a:lnTo>
                  <a:pt x="298382" y="1320675"/>
                </a:lnTo>
                <a:lnTo>
                  <a:pt x="298837" y="1320106"/>
                </a:lnTo>
                <a:lnTo>
                  <a:pt x="298661" y="1320047"/>
                </a:lnTo>
                <a:close/>
                <a:moveTo>
                  <a:pt x="375539" y="1306326"/>
                </a:moveTo>
                <a:cubicBezTo>
                  <a:pt x="366144" y="1304960"/>
                  <a:pt x="360335" y="1316918"/>
                  <a:pt x="353502" y="1323751"/>
                </a:cubicBezTo>
                <a:cubicBezTo>
                  <a:pt x="362613" y="1329217"/>
                  <a:pt x="368079" y="1340150"/>
                  <a:pt x="380835" y="1336506"/>
                </a:cubicBezTo>
                <a:cubicBezTo>
                  <a:pt x="377190" y="1332862"/>
                  <a:pt x="371724" y="1329217"/>
                  <a:pt x="369902" y="1323751"/>
                </a:cubicBezTo>
                <a:cubicBezTo>
                  <a:pt x="371724" y="1323751"/>
                  <a:pt x="371724" y="1321929"/>
                  <a:pt x="375368" y="1321929"/>
                </a:cubicBezTo>
                <a:cubicBezTo>
                  <a:pt x="373546" y="1318284"/>
                  <a:pt x="369902" y="1316462"/>
                  <a:pt x="368079" y="1312818"/>
                </a:cubicBezTo>
                <a:cubicBezTo>
                  <a:pt x="373546" y="1314640"/>
                  <a:pt x="375368" y="1320106"/>
                  <a:pt x="379012" y="1321929"/>
                </a:cubicBezTo>
                <a:cubicBezTo>
                  <a:pt x="382657" y="1321929"/>
                  <a:pt x="380835" y="1316462"/>
                  <a:pt x="382657" y="1316462"/>
                </a:cubicBezTo>
                <a:cubicBezTo>
                  <a:pt x="380835" y="1314640"/>
                  <a:pt x="379012" y="1316462"/>
                  <a:pt x="377190" y="1316462"/>
                </a:cubicBezTo>
                <a:cubicBezTo>
                  <a:pt x="380835" y="1316462"/>
                  <a:pt x="382657" y="1316462"/>
                  <a:pt x="386301" y="1312818"/>
                </a:cubicBezTo>
                <a:cubicBezTo>
                  <a:pt x="382201" y="1308718"/>
                  <a:pt x="378671" y="1306782"/>
                  <a:pt x="375539" y="1306326"/>
                </a:cubicBezTo>
                <a:close/>
                <a:moveTo>
                  <a:pt x="3159650" y="1305529"/>
                </a:moveTo>
                <a:lnTo>
                  <a:pt x="3156006" y="1310995"/>
                </a:lnTo>
                <a:cubicBezTo>
                  <a:pt x="3155095" y="1312818"/>
                  <a:pt x="3155095" y="1314640"/>
                  <a:pt x="3157828" y="1316462"/>
                </a:cubicBezTo>
                <a:cubicBezTo>
                  <a:pt x="3156006" y="1320106"/>
                  <a:pt x="3154184" y="1314640"/>
                  <a:pt x="3150539" y="1316462"/>
                </a:cubicBezTo>
                <a:cubicBezTo>
                  <a:pt x="3152361" y="1318284"/>
                  <a:pt x="3157828" y="1318284"/>
                  <a:pt x="3161472" y="1318284"/>
                </a:cubicBezTo>
                <a:lnTo>
                  <a:pt x="3156006" y="1310995"/>
                </a:lnTo>
                <a:lnTo>
                  <a:pt x="3157828" y="1309173"/>
                </a:lnTo>
                <a:cubicBezTo>
                  <a:pt x="3159650" y="1309173"/>
                  <a:pt x="3159650" y="1309173"/>
                  <a:pt x="3159650" y="1310995"/>
                </a:cubicBezTo>
                <a:cubicBezTo>
                  <a:pt x="3163294" y="1314640"/>
                  <a:pt x="3159650" y="1307351"/>
                  <a:pt x="3159650" y="1305529"/>
                </a:cubicBezTo>
                <a:close/>
                <a:moveTo>
                  <a:pt x="3117740" y="1305529"/>
                </a:moveTo>
                <a:cubicBezTo>
                  <a:pt x="3114096" y="1305529"/>
                  <a:pt x="3114096" y="1309173"/>
                  <a:pt x="3114096" y="1312818"/>
                </a:cubicBezTo>
                <a:cubicBezTo>
                  <a:pt x="3115918" y="1312818"/>
                  <a:pt x="3117740" y="1312818"/>
                  <a:pt x="3119562" y="1312818"/>
                </a:cubicBezTo>
                <a:cubicBezTo>
                  <a:pt x="3119562" y="1309173"/>
                  <a:pt x="3115918" y="1309173"/>
                  <a:pt x="3117740" y="1305529"/>
                </a:cubicBezTo>
                <a:close/>
                <a:moveTo>
                  <a:pt x="1935149" y="1305529"/>
                </a:moveTo>
                <a:cubicBezTo>
                  <a:pt x="1929683" y="1303707"/>
                  <a:pt x="1931505" y="1310995"/>
                  <a:pt x="1933327" y="1310995"/>
                </a:cubicBezTo>
                <a:cubicBezTo>
                  <a:pt x="1938793" y="1312818"/>
                  <a:pt x="1936972" y="1305529"/>
                  <a:pt x="1935149" y="1305529"/>
                </a:cubicBezTo>
                <a:close/>
                <a:moveTo>
                  <a:pt x="1164370" y="1305529"/>
                </a:moveTo>
                <a:cubicBezTo>
                  <a:pt x="1162547" y="1305529"/>
                  <a:pt x="1162547" y="1307351"/>
                  <a:pt x="1162547" y="1307351"/>
                </a:cubicBezTo>
                <a:cubicBezTo>
                  <a:pt x="1164370" y="1309173"/>
                  <a:pt x="1168014" y="1312818"/>
                  <a:pt x="1169836" y="1312818"/>
                </a:cubicBezTo>
                <a:cubicBezTo>
                  <a:pt x="1169836" y="1309173"/>
                  <a:pt x="1166192" y="1307351"/>
                  <a:pt x="1164370" y="1305529"/>
                </a:cubicBezTo>
                <a:close/>
                <a:moveTo>
                  <a:pt x="861889" y="1305529"/>
                </a:moveTo>
                <a:cubicBezTo>
                  <a:pt x="856422" y="1307351"/>
                  <a:pt x="854600" y="1316462"/>
                  <a:pt x="850956" y="1318284"/>
                </a:cubicBezTo>
                <a:cubicBezTo>
                  <a:pt x="850956" y="1320106"/>
                  <a:pt x="850956" y="1320106"/>
                  <a:pt x="852778" y="1321929"/>
                </a:cubicBezTo>
                <a:cubicBezTo>
                  <a:pt x="852778" y="1318284"/>
                  <a:pt x="852778" y="1316462"/>
                  <a:pt x="854600" y="1314640"/>
                </a:cubicBezTo>
                <a:cubicBezTo>
                  <a:pt x="858244" y="1318284"/>
                  <a:pt x="854600" y="1325573"/>
                  <a:pt x="858244" y="1325573"/>
                </a:cubicBezTo>
                <a:cubicBezTo>
                  <a:pt x="861889" y="1323751"/>
                  <a:pt x="863711" y="1321929"/>
                  <a:pt x="863711" y="1321929"/>
                </a:cubicBezTo>
                <a:cubicBezTo>
                  <a:pt x="865533" y="1320106"/>
                  <a:pt x="872822" y="1320106"/>
                  <a:pt x="872822" y="1312818"/>
                </a:cubicBezTo>
                <a:cubicBezTo>
                  <a:pt x="867355" y="1309173"/>
                  <a:pt x="863711" y="1312818"/>
                  <a:pt x="863711" y="1318284"/>
                </a:cubicBezTo>
                <a:cubicBezTo>
                  <a:pt x="863711" y="1314640"/>
                  <a:pt x="861889" y="1309173"/>
                  <a:pt x="861889" y="1305529"/>
                </a:cubicBezTo>
                <a:close/>
                <a:moveTo>
                  <a:pt x="752558" y="1305529"/>
                </a:moveTo>
                <a:cubicBezTo>
                  <a:pt x="750737" y="1303707"/>
                  <a:pt x="747092" y="1309173"/>
                  <a:pt x="745269" y="1309173"/>
                </a:cubicBezTo>
                <a:cubicBezTo>
                  <a:pt x="747092" y="1310995"/>
                  <a:pt x="750737" y="1305529"/>
                  <a:pt x="752558" y="1305529"/>
                </a:cubicBezTo>
                <a:close/>
                <a:moveTo>
                  <a:pt x="446433" y="1305529"/>
                </a:moveTo>
                <a:cubicBezTo>
                  <a:pt x="444611" y="1307351"/>
                  <a:pt x="444611" y="1307351"/>
                  <a:pt x="440966" y="1309173"/>
                </a:cubicBezTo>
                <a:cubicBezTo>
                  <a:pt x="442789" y="1310995"/>
                  <a:pt x="448256" y="1310995"/>
                  <a:pt x="448256" y="1309173"/>
                </a:cubicBezTo>
                <a:cubicBezTo>
                  <a:pt x="448256" y="1307351"/>
                  <a:pt x="446433" y="1307351"/>
                  <a:pt x="446433" y="1305529"/>
                </a:cubicBezTo>
                <a:close/>
                <a:moveTo>
                  <a:pt x="315236" y="1305529"/>
                </a:moveTo>
                <a:cubicBezTo>
                  <a:pt x="307948" y="1305529"/>
                  <a:pt x="304303" y="1309173"/>
                  <a:pt x="302481" y="1316462"/>
                </a:cubicBezTo>
                <a:cubicBezTo>
                  <a:pt x="307948" y="1314640"/>
                  <a:pt x="318882" y="1314640"/>
                  <a:pt x="315236" y="1305529"/>
                </a:cubicBezTo>
                <a:close/>
                <a:moveTo>
                  <a:pt x="207956" y="1304846"/>
                </a:moveTo>
                <a:cubicBezTo>
                  <a:pt x="207272" y="1305529"/>
                  <a:pt x="206817" y="1306440"/>
                  <a:pt x="205906" y="1305529"/>
                </a:cubicBezTo>
                <a:cubicBezTo>
                  <a:pt x="205906" y="1307351"/>
                  <a:pt x="211372" y="1309173"/>
                  <a:pt x="211372" y="1305529"/>
                </a:cubicBezTo>
                <a:cubicBezTo>
                  <a:pt x="209550" y="1303707"/>
                  <a:pt x="208640" y="1304163"/>
                  <a:pt x="207956" y="1304846"/>
                </a:cubicBezTo>
                <a:close/>
                <a:moveTo>
                  <a:pt x="3273081" y="1304618"/>
                </a:moveTo>
                <a:cubicBezTo>
                  <a:pt x="3271258" y="1304163"/>
                  <a:pt x="3268981" y="1304618"/>
                  <a:pt x="3265336" y="1305529"/>
                </a:cubicBezTo>
                <a:cubicBezTo>
                  <a:pt x="3265336" y="1305529"/>
                  <a:pt x="3266703" y="1306895"/>
                  <a:pt x="3267614" y="1308718"/>
                </a:cubicBezTo>
                <a:lnTo>
                  <a:pt x="3267327" y="1312450"/>
                </a:lnTo>
                <a:lnTo>
                  <a:pt x="3266931" y="1312362"/>
                </a:lnTo>
                <a:cubicBezTo>
                  <a:pt x="3265792" y="1313273"/>
                  <a:pt x="3264425" y="1314640"/>
                  <a:pt x="3263514" y="1314640"/>
                </a:cubicBezTo>
                <a:cubicBezTo>
                  <a:pt x="3265336" y="1314640"/>
                  <a:pt x="3265336" y="1316462"/>
                  <a:pt x="3268980" y="1316462"/>
                </a:cubicBezTo>
                <a:lnTo>
                  <a:pt x="3267986" y="1314640"/>
                </a:lnTo>
                <a:lnTo>
                  <a:pt x="3274447" y="1314640"/>
                </a:lnTo>
                <a:cubicBezTo>
                  <a:pt x="3270803" y="1318284"/>
                  <a:pt x="3276269" y="1329217"/>
                  <a:pt x="3268980" y="1329217"/>
                </a:cubicBezTo>
                <a:cubicBezTo>
                  <a:pt x="3268980" y="1327395"/>
                  <a:pt x="3268980" y="1323751"/>
                  <a:pt x="3268980" y="1321929"/>
                </a:cubicBezTo>
                <a:cubicBezTo>
                  <a:pt x="3268980" y="1323751"/>
                  <a:pt x="3268980" y="1325573"/>
                  <a:pt x="3267158" y="1325573"/>
                </a:cubicBezTo>
                <a:cubicBezTo>
                  <a:pt x="3267158" y="1325573"/>
                  <a:pt x="3265336" y="1323751"/>
                  <a:pt x="3265336" y="1321929"/>
                </a:cubicBezTo>
                <a:cubicBezTo>
                  <a:pt x="3265336" y="1327395"/>
                  <a:pt x="3272625" y="1334684"/>
                  <a:pt x="3267158" y="1338328"/>
                </a:cubicBezTo>
                <a:cubicBezTo>
                  <a:pt x="3263514" y="1340150"/>
                  <a:pt x="3261692" y="1332862"/>
                  <a:pt x="3259869" y="1331039"/>
                </a:cubicBezTo>
                <a:cubicBezTo>
                  <a:pt x="3258047" y="1338328"/>
                  <a:pt x="3265336" y="1347439"/>
                  <a:pt x="3256225" y="1345617"/>
                </a:cubicBezTo>
                <a:cubicBezTo>
                  <a:pt x="3252581" y="1345617"/>
                  <a:pt x="3252581" y="1338328"/>
                  <a:pt x="3254403" y="1331039"/>
                </a:cubicBezTo>
                <a:cubicBezTo>
                  <a:pt x="3254403" y="1329217"/>
                  <a:pt x="3250759" y="1325573"/>
                  <a:pt x="3248937" y="1327395"/>
                </a:cubicBezTo>
                <a:cubicBezTo>
                  <a:pt x="3236181" y="1340150"/>
                  <a:pt x="3256225" y="1349261"/>
                  <a:pt x="3259869" y="1360194"/>
                </a:cubicBezTo>
                <a:cubicBezTo>
                  <a:pt x="3263514" y="1356550"/>
                  <a:pt x="3263514" y="1351083"/>
                  <a:pt x="3261692" y="1347439"/>
                </a:cubicBezTo>
                <a:cubicBezTo>
                  <a:pt x="3261692" y="1347439"/>
                  <a:pt x="3261692" y="1347439"/>
                  <a:pt x="3263514" y="1347439"/>
                </a:cubicBezTo>
                <a:cubicBezTo>
                  <a:pt x="3263514" y="1351083"/>
                  <a:pt x="3261692" y="1356550"/>
                  <a:pt x="3263514" y="1358372"/>
                </a:cubicBezTo>
                <a:cubicBezTo>
                  <a:pt x="3267158" y="1365661"/>
                  <a:pt x="3274447" y="1354728"/>
                  <a:pt x="3279913" y="1354728"/>
                </a:cubicBezTo>
                <a:cubicBezTo>
                  <a:pt x="3279913" y="1351083"/>
                  <a:pt x="3272625" y="1354728"/>
                  <a:pt x="3267158" y="1351083"/>
                </a:cubicBezTo>
                <a:cubicBezTo>
                  <a:pt x="3279913" y="1349261"/>
                  <a:pt x="3281736" y="1338328"/>
                  <a:pt x="3289024" y="1329217"/>
                </a:cubicBezTo>
                <a:lnTo>
                  <a:pt x="3290847" y="1331039"/>
                </a:lnTo>
                <a:cubicBezTo>
                  <a:pt x="3296313" y="1327395"/>
                  <a:pt x="3299957" y="1320106"/>
                  <a:pt x="3307246" y="1321929"/>
                </a:cubicBezTo>
                <a:cubicBezTo>
                  <a:pt x="3310890" y="1321929"/>
                  <a:pt x="3309068" y="1312818"/>
                  <a:pt x="3305424" y="1310995"/>
                </a:cubicBezTo>
                <a:cubicBezTo>
                  <a:pt x="3301780" y="1309173"/>
                  <a:pt x="3296313" y="1307351"/>
                  <a:pt x="3292669" y="1309173"/>
                </a:cubicBezTo>
                <a:cubicBezTo>
                  <a:pt x="3290847" y="1310995"/>
                  <a:pt x="3292669" y="1316462"/>
                  <a:pt x="3292669" y="1316462"/>
                </a:cubicBezTo>
                <a:cubicBezTo>
                  <a:pt x="3287202" y="1318284"/>
                  <a:pt x="3294491" y="1310995"/>
                  <a:pt x="3290847" y="1310995"/>
                </a:cubicBezTo>
                <a:cubicBezTo>
                  <a:pt x="3289024" y="1310995"/>
                  <a:pt x="3289024" y="1314640"/>
                  <a:pt x="3287202" y="1312818"/>
                </a:cubicBezTo>
                <a:cubicBezTo>
                  <a:pt x="3285380" y="1309173"/>
                  <a:pt x="3285380" y="1307351"/>
                  <a:pt x="3283558" y="1305529"/>
                </a:cubicBezTo>
                <a:cubicBezTo>
                  <a:pt x="3279913" y="1303707"/>
                  <a:pt x="3279913" y="1307351"/>
                  <a:pt x="3278091" y="1309173"/>
                </a:cubicBezTo>
                <a:cubicBezTo>
                  <a:pt x="3276269" y="1306440"/>
                  <a:pt x="3274903" y="1305073"/>
                  <a:pt x="3273081" y="1304618"/>
                </a:cubicBezTo>
                <a:close/>
                <a:moveTo>
                  <a:pt x="408531" y="1304436"/>
                </a:moveTo>
                <a:lnTo>
                  <a:pt x="411812" y="1305529"/>
                </a:lnTo>
                <a:cubicBezTo>
                  <a:pt x="410900" y="1305529"/>
                  <a:pt x="409534" y="1305529"/>
                  <a:pt x="408622" y="1305073"/>
                </a:cubicBezTo>
                <a:close/>
                <a:moveTo>
                  <a:pt x="723233" y="1303877"/>
                </a:moveTo>
                <a:cubicBezTo>
                  <a:pt x="721240" y="1304048"/>
                  <a:pt x="719304" y="1305073"/>
                  <a:pt x="717937" y="1307351"/>
                </a:cubicBezTo>
                <a:cubicBezTo>
                  <a:pt x="717937" y="1307351"/>
                  <a:pt x="719759" y="1309173"/>
                  <a:pt x="721581" y="1309173"/>
                </a:cubicBezTo>
                <a:cubicBezTo>
                  <a:pt x="721581" y="1312818"/>
                  <a:pt x="725226" y="1312818"/>
                  <a:pt x="728870" y="1314640"/>
                </a:cubicBezTo>
                <a:cubicBezTo>
                  <a:pt x="733425" y="1311907"/>
                  <a:pt x="732059" y="1307807"/>
                  <a:pt x="728870" y="1305529"/>
                </a:cubicBezTo>
                <a:cubicBezTo>
                  <a:pt x="727276" y="1304390"/>
                  <a:pt x="725226" y="1303707"/>
                  <a:pt x="723233" y="1303877"/>
                </a:cubicBezTo>
                <a:close/>
                <a:moveTo>
                  <a:pt x="3141428" y="1303707"/>
                </a:moveTo>
                <a:cubicBezTo>
                  <a:pt x="3135962" y="1303707"/>
                  <a:pt x="3137784" y="1310995"/>
                  <a:pt x="3139606" y="1310995"/>
                </a:cubicBezTo>
                <a:cubicBezTo>
                  <a:pt x="3143250" y="1309173"/>
                  <a:pt x="3145073" y="1314640"/>
                  <a:pt x="3148717" y="1309173"/>
                </a:cubicBezTo>
                <a:cubicBezTo>
                  <a:pt x="3148717" y="1307351"/>
                  <a:pt x="3148717" y="1307351"/>
                  <a:pt x="3148717" y="1305529"/>
                </a:cubicBezTo>
                <a:cubicBezTo>
                  <a:pt x="3145073" y="1305529"/>
                  <a:pt x="3141428" y="1310995"/>
                  <a:pt x="3141428" y="1303707"/>
                </a:cubicBezTo>
                <a:close/>
                <a:moveTo>
                  <a:pt x="1364809" y="1303707"/>
                </a:moveTo>
                <a:cubicBezTo>
                  <a:pt x="1366632" y="1305529"/>
                  <a:pt x="1364809" y="1305529"/>
                  <a:pt x="1364809" y="1307351"/>
                </a:cubicBezTo>
                <a:cubicBezTo>
                  <a:pt x="1362987" y="1309173"/>
                  <a:pt x="1361164" y="1307351"/>
                  <a:pt x="1359342" y="1305529"/>
                </a:cubicBezTo>
                <a:cubicBezTo>
                  <a:pt x="1361164" y="1303707"/>
                  <a:pt x="1362987" y="1301885"/>
                  <a:pt x="1364809" y="1303707"/>
                </a:cubicBezTo>
                <a:close/>
                <a:moveTo>
                  <a:pt x="1151614" y="1303707"/>
                </a:moveTo>
                <a:cubicBezTo>
                  <a:pt x="1149792" y="1309173"/>
                  <a:pt x="1147970" y="1314640"/>
                  <a:pt x="1149792" y="1320106"/>
                </a:cubicBezTo>
                <a:cubicBezTo>
                  <a:pt x="1153436" y="1318284"/>
                  <a:pt x="1155259" y="1314640"/>
                  <a:pt x="1157081" y="1310995"/>
                </a:cubicBezTo>
                <a:cubicBezTo>
                  <a:pt x="1158903" y="1312818"/>
                  <a:pt x="1160725" y="1307351"/>
                  <a:pt x="1158903" y="1305529"/>
                </a:cubicBezTo>
                <a:cubicBezTo>
                  <a:pt x="1155259" y="1301885"/>
                  <a:pt x="1153436" y="1309173"/>
                  <a:pt x="1151614" y="1303707"/>
                </a:cubicBezTo>
                <a:close/>
                <a:moveTo>
                  <a:pt x="809046" y="1303707"/>
                </a:moveTo>
                <a:cubicBezTo>
                  <a:pt x="809046" y="1309173"/>
                  <a:pt x="810868" y="1307351"/>
                  <a:pt x="812690" y="1305529"/>
                </a:cubicBezTo>
                <a:cubicBezTo>
                  <a:pt x="810868" y="1303707"/>
                  <a:pt x="809046" y="1303707"/>
                  <a:pt x="809046" y="1303707"/>
                </a:cubicBezTo>
                <a:close/>
                <a:moveTo>
                  <a:pt x="575808" y="1303707"/>
                </a:moveTo>
                <a:cubicBezTo>
                  <a:pt x="573985" y="1305529"/>
                  <a:pt x="575808" y="1310995"/>
                  <a:pt x="579452" y="1305529"/>
                </a:cubicBezTo>
                <a:cubicBezTo>
                  <a:pt x="577630" y="1305529"/>
                  <a:pt x="577630" y="1303707"/>
                  <a:pt x="575808" y="1303707"/>
                </a:cubicBezTo>
                <a:close/>
                <a:moveTo>
                  <a:pt x="510209" y="1303707"/>
                </a:moveTo>
                <a:cubicBezTo>
                  <a:pt x="508387" y="1300062"/>
                  <a:pt x="501098" y="1307351"/>
                  <a:pt x="499276" y="1310995"/>
                </a:cubicBezTo>
                <a:cubicBezTo>
                  <a:pt x="501098" y="1312818"/>
                  <a:pt x="502920" y="1314640"/>
                  <a:pt x="504743" y="1316462"/>
                </a:cubicBezTo>
                <a:cubicBezTo>
                  <a:pt x="510209" y="1312818"/>
                  <a:pt x="510209" y="1309173"/>
                  <a:pt x="510209" y="1303707"/>
                </a:cubicBezTo>
                <a:close/>
                <a:moveTo>
                  <a:pt x="362613" y="1303707"/>
                </a:moveTo>
                <a:cubicBezTo>
                  <a:pt x="360791" y="1305529"/>
                  <a:pt x="362613" y="1309173"/>
                  <a:pt x="358969" y="1312818"/>
                </a:cubicBezTo>
                <a:cubicBezTo>
                  <a:pt x="362613" y="1312818"/>
                  <a:pt x="362613" y="1310995"/>
                  <a:pt x="364435" y="1309173"/>
                </a:cubicBezTo>
                <a:cubicBezTo>
                  <a:pt x="362613" y="1307351"/>
                  <a:pt x="362613" y="1305529"/>
                  <a:pt x="362613" y="1303707"/>
                </a:cubicBezTo>
                <a:close/>
                <a:moveTo>
                  <a:pt x="302481" y="1303707"/>
                </a:moveTo>
                <a:cubicBezTo>
                  <a:pt x="298837" y="1301885"/>
                  <a:pt x="297015" y="1307351"/>
                  <a:pt x="297015" y="1309173"/>
                </a:cubicBezTo>
                <a:cubicBezTo>
                  <a:pt x="300660" y="1310995"/>
                  <a:pt x="302481" y="1303707"/>
                  <a:pt x="302481" y="1303707"/>
                </a:cubicBezTo>
                <a:close/>
                <a:moveTo>
                  <a:pt x="454405" y="1303479"/>
                </a:moveTo>
                <a:cubicBezTo>
                  <a:pt x="452355" y="1304162"/>
                  <a:pt x="450077" y="1305529"/>
                  <a:pt x="448256" y="1305529"/>
                </a:cubicBezTo>
                <a:cubicBezTo>
                  <a:pt x="450077" y="1309173"/>
                  <a:pt x="457367" y="1307351"/>
                  <a:pt x="459188" y="1305529"/>
                </a:cubicBezTo>
                <a:cubicBezTo>
                  <a:pt x="458277" y="1302795"/>
                  <a:pt x="456455" y="1302795"/>
                  <a:pt x="454405" y="1303479"/>
                </a:cubicBezTo>
                <a:close/>
                <a:moveTo>
                  <a:pt x="408332" y="1303044"/>
                </a:moveTo>
                <a:lnTo>
                  <a:pt x="408531" y="1304436"/>
                </a:lnTo>
                <a:lnTo>
                  <a:pt x="406345" y="1303707"/>
                </a:lnTo>
                <a:close/>
                <a:moveTo>
                  <a:pt x="1763865" y="1301952"/>
                </a:moveTo>
                <a:lnTo>
                  <a:pt x="1763865" y="1316529"/>
                </a:lnTo>
                <a:lnTo>
                  <a:pt x="1749287" y="1316529"/>
                </a:lnTo>
                <a:close/>
                <a:moveTo>
                  <a:pt x="3356445" y="1301885"/>
                </a:moveTo>
                <a:cubicBezTo>
                  <a:pt x="3356445" y="1301885"/>
                  <a:pt x="3349156" y="1303707"/>
                  <a:pt x="3347334" y="1305529"/>
                </a:cubicBezTo>
                <a:cubicBezTo>
                  <a:pt x="3345512" y="1310995"/>
                  <a:pt x="3354623" y="1305529"/>
                  <a:pt x="3352800" y="1309173"/>
                </a:cubicBezTo>
                <a:cubicBezTo>
                  <a:pt x="3356445" y="1309173"/>
                  <a:pt x="3352800" y="1301885"/>
                  <a:pt x="3356445" y="1301885"/>
                </a:cubicBezTo>
                <a:close/>
                <a:moveTo>
                  <a:pt x="3314535" y="1301885"/>
                </a:moveTo>
                <a:cubicBezTo>
                  <a:pt x="3312713" y="1301885"/>
                  <a:pt x="3310890" y="1303707"/>
                  <a:pt x="3309068" y="1303707"/>
                </a:cubicBezTo>
                <a:cubicBezTo>
                  <a:pt x="3309068" y="1305529"/>
                  <a:pt x="3310890" y="1307351"/>
                  <a:pt x="3312713" y="1309173"/>
                </a:cubicBezTo>
                <a:cubicBezTo>
                  <a:pt x="3314535" y="1307351"/>
                  <a:pt x="3312713" y="1303707"/>
                  <a:pt x="3314535" y="1301885"/>
                </a:cubicBezTo>
                <a:close/>
                <a:moveTo>
                  <a:pt x="2966500" y="1301885"/>
                </a:moveTo>
                <a:cubicBezTo>
                  <a:pt x="2959211" y="1305529"/>
                  <a:pt x="2950100" y="1310995"/>
                  <a:pt x="2942811" y="1314640"/>
                </a:cubicBezTo>
                <a:cubicBezTo>
                  <a:pt x="2939167" y="1316462"/>
                  <a:pt x="2937345" y="1318284"/>
                  <a:pt x="2933700" y="1320106"/>
                </a:cubicBezTo>
                <a:lnTo>
                  <a:pt x="2940989" y="1316462"/>
                </a:lnTo>
                <a:cubicBezTo>
                  <a:pt x="2940989" y="1318284"/>
                  <a:pt x="2942811" y="1318284"/>
                  <a:pt x="2942811" y="1320106"/>
                </a:cubicBezTo>
                <a:cubicBezTo>
                  <a:pt x="2942811" y="1318284"/>
                  <a:pt x="2942811" y="1316462"/>
                  <a:pt x="2942811" y="1314640"/>
                </a:cubicBezTo>
                <a:cubicBezTo>
                  <a:pt x="2944634" y="1318284"/>
                  <a:pt x="2946456" y="1323751"/>
                  <a:pt x="2944634" y="1327395"/>
                </a:cubicBezTo>
                <a:cubicBezTo>
                  <a:pt x="2944634" y="1327395"/>
                  <a:pt x="2944634" y="1329217"/>
                  <a:pt x="2944634" y="1329217"/>
                </a:cubicBezTo>
                <a:cubicBezTo>
                  <a:pt x="2950100" y="1331039"/>
                  <a:pt x="2950100" y="1334684"/>
                  <a:pt x="2957389" y="1332862"/>
                </a:cubicBezTo>
                <a:cubicBezTo>
                  <a:pt x="2957389" y="1331039"/>
                  <a:pt x="2957389" y="1329217"/>
                  <a:pt x="2957389" y="1327395"/>
                </a:cubicBezTo>
                <a:cubicBezTo>
                  <a:pt x="2961033" y="1327395"/>
                  <a:pt x="2959211" y="1332862"/>
                  <a:pt x="2957389" y="1334684"/>
                </a:cubicBezTo>
                <a:cubicBezTo>
                  <a:pt x="2957389" y="1338328"/>
                  <a:pt x="2962855" y="1336506"/>
                  <a:pt x="2962855" y="1341972"/>
                </a:cubicBezTo>
                <a:cubicBezTo>
                  <a:pt x="2968322" y="1341972"/>
                  <a:pt x="2968322" y="1341972"/>
                  <a:pt x="2975610" y="1341972"/>
                </a:cubicBezTo>
                <a:cubicBezTo>
                  <a:pt x="2979255" y="1338328"/>
                  <a:pt x="2975610" y="1334684"/>
                  <a:pt x="2979255" y="1331039"/>
                </a:cubicBezTo>
                <a:cubicBezTo>
                  <a:pt x="2979255" y="1327395"/>
                  <a:pt x="2973788" y="1331039"/>
                  <a:pt x="2971966" y="1329217"/>
                </a:cubicBezTo>
                <a:cubicBezTo>
                  <a:pt x="2975610" y="1320106"/>
                  <a:pt x="2970144" y="1312818"/>
                  <a:pt x="2971966" y="1305529"/>
                </a:cubicBezTo>
                <a:cubicBezTo>
                  <a:pt x="2968322" y="1305529"/>
                  <a:pt x="2966500" y="1305529"/>
                  <a:pt x="2966500" y="1301885"/>
                </a:cubicBezTo>
                <a:close/>
                <a:moveTo>
                  <a:pt x="2797037" y="1301885"/>
                </a:moveTo>
                <a:cubicBezTo>
                  <a:pt x="2793393" y="1303707"/>
                  <a:pt x="2791571" y="1307351"/>
                  <a:pt x="2789749" y="1310995"/>
                </a:cubicBezTo>
                <a:cubicBezTo>
                  <a:pt x="2787927" y="1307351"/>
                  <a:pt x="2787927" y="1305529"/>
                  <a:pt x="2786104" y="1310995"/>
                </a:cubicBezTo>
                <a:cubicBezTo>
                  <a:pt x="2782460" y="1310995"/>
                  <a:pt x="2784282" y="1305529"/>
                  <a:pt x="2784282" y="1303707"/>
                </a:cubicBezTo>
                <a:cubicBezTo>
                  <a:pt x="2782460" y="1301885"/>
                  <a:pt x="2780638" y="1305529"/>
                  <a:pt x="2775171" y="1303707"/>
                </a:cubicBezTo>
                <a:cubicBezTo>
                  <a:pt x="2776993" y="1310995"/>
                  <a:pt x="2771527" y="1309173"/>
                  <a:pt x="2771527" y="1314640"/>
                </a:cubicBezTo>
                <a:cubicBezTo>
                  <a:pt x="2771527" y="1323751"/>
                  <a:pt x="2786104" y="1320106"/>
                  <a:pt x="2793393" y="1325573"/>
                </a:cubicBezTo>
                <a:cubicBezTo>
                  <a:pt x="2793393" y="1323751"/>
                  <a:pt x="2793393" y="1323751"/>
                  <a:pt x="2795215" y="1323751"/>
                </a:cubicBezTo>
                <a:cubicBezTo>
                  <a:pt x="2791571" y="1316462"/>
                  <a:pt x="2802504" y="1312818"/>
                  <a:pt x="2797037" y="1301885"/>
                </a:cubicBezTo>
                <a:close/>
                <a:moveTo>
                  <a:pt x="1133393" y="1301885"/>
                </a:moveTo>
                <a:cubicBezTo>
                  <a:pt x="1136126" y="1303707"/>
                  <a:pt x="1137037" y="1306440"/>
                  <a:pt x="1137949" y="1309401"/>
                </a:cubicBezTo>
                <a:lnTo>
                  <a:pt x="1141330" y="1315998"/>
                </a:lnTo>
                <a:lnTo>
                  <a:pt x="1135215" y="1307351"/>
                </a:lnTo>
                <a:cubicBezTo>
                  <a:pt x="1135215" y="1305529"/>
                  <a:pt x="1135215" y="1303707"/>
                  <a:pt x="1133393" y="1301885"/>
                </a:cubicBezTo>
                <a:close/>
                <a:moveTo>
                  <a:pt x="752558" y="1301885"/>
                </a:moveTo>
                <a:cubicBezTo>
                  <a:pt x="750737" y="1300062"/>
                  <a:pt x="748914" y="1303707"/>
                  <a:pt x="747092" y="1303707"/>
                </a:cubicBezTo>
                <a:cubicBezTo>
                  <a:pt x="748914" y="1307351"/>
                  <a:pt x="750737" y="1300062"/>
                  <a:pt x="752558" y="1301885"/>
                </a:cubicBezTo>
                <a:close/>
                <a:moveTo>
                  <a:pt x="595852" y="1301885"/>
                </a:moveTo>
                <a:cubicBezTo>
                  <a:pt x="594030" y="1300062"/>
                  <a:pt x="590385" y="1305529"/>
                  <a:pt x="592207" y="1307351"/>
                </a:cubicBezTo>
                <a:cubicBezTo>
                  <a:pt x="595852" y="1307351"/>
                  <a:pt x="594030" y="1303707"/>
                  <a:pt x="595852" y="1301885"/>
                </a:cubicBezTo>
                <a:close/>
                <a:moveTo>
                  <a:pt x="539364" y="1301885"/>
                </a:moveTo>
                <a:cubicBezTo>
                  <a:pt x="537542" y="1303707"/>
                  <a:pt x="528431" y="1305529"/>
                  <a:pt x="533897" y="1310995"/>
                </a:cubicBezTo>
                <a:cubicBezTo>
                  <a:pt x="537542" y="1307351"/>
                  <a:pt x="539364" y="1305529"/>
                  <a:pt x="539364" y="1301885"/>
                </a:cubicBezTo>
                <a:close/>
                <a:moveTo>
                  <a:pt x="528431" y="1301885"/>
                </a:moveTo>
                <a:cubicBezTo>
                  <a:pt x="528431" y="1303707"/>
                  <a:pt x="530253" y="1303707"/>
                  <a:pt x="530253" y="1305529"/>
                </a:cubicBezTo>
                <a:cubicBezTo>
                  <a:pt x="532075" y="1303707"/>
                  <a:pt x="532075" y="1301885"/>
                  <a:pt x="533897" y="1301885"/>
                </a:cubicBezTo>
                <a:cubicBezTo>
                  <a:pt x="532075" y="1300062"/>
                  <a:pt x="530253" y="1300062"/>
                  <a:pt x="528431" y="1301885"/>
                </a:cubicBezTo>
                <a:close/>
                <a:moveTo>
                  <a:pt x="406345" y="1301885"/>
                </a:moveTo>
                <a:cubicBezTo>
                  <a:pt x="399056" y="1303707"/>
                  <a:pt x="402701" y="1309173"/>
                  <a:pt x="406345" y="1309173"/>
                </a:cubicBezTo>
                <a:cubicBezTo>
                  <a:pt x="408167" y="1309173"/>
                  <a:pt x="408167" y="1307351"/>
                  <a:pt x="411812" y="1305529"/>
                </a:cubicBezTo>
                <a:cubicBezTo>
                  <a:pt x="413634" y="1303707"/>
                  <a:pt x="411812" y="1301885"/>
                  <a:pt x="411812" y="1301885"/>
                </a:cubicBezTo>
                <a:lnTo>
                  <a:pt x="408332" y="1303044"/>
                </a:lnTo>
                <a:lnTo>
                  <a:pt x="408167" y="1301885"/>
                </a:lnTo>
                <a:cubicBezTo>
                  <a:pt x="408167" y="1303707"/>
                  <a:pt x="406345" y="1301885"/>
                  <a:pt x="406345" y="1301885"/>
                </a:cubicBezTo>
                <a:close/>
                <a:moveTo>
                  <a:pt x="380835" y="1301885"/>
                </a:moveTo>
                <a:cubicBezTo>
                  <a:pt x="379012" y="1310995"/>
                  <a:pt x="386301" y="1307351"/>
                  <a:pt x="389946" y="1309173"/>
                </a:cubicBezTo>
                <a:cubicBezTo>
                  <a:pt x="389946" y="1305529"/>
                  <a:pt x="382657" y="1303707"/>
                  <a:pt x="380835" y="1301885"/>
                </a:cubicBezTo>
                <a:close/>
                <a:moveTo>
                  <a:pt x="785585" y="1301657"/>
                </a:moveTo>
                <a:lnTo>
                  <a:pt x="785539" y="1302067"/>
                </a:lnTo>
                <a:lnTo>
                  <a:pt x="781713" y="1303707"/>
                </a:lnTo>
                <a:cubicBezTo>
                  <a:pt x="782624" y="1302796"/>
                  <a:pt x="784446" y="1301885"/>
                  <a:pt x="785585" y="1301657"/>
                </a:cubicBezTo>
                <a:close/>
                <a:moveTo>
                  <a:pt x="1225213" y="1301330"/>
                </a:moveTo>
                <a:lnTo>
                  <a:pt x="1226141" y="1301794"/>
                </a:lnTo>
                <a:lnTo>
                  <a:pt x="1226080" y="1302371"/>
                </a:lnTo>
                <a:lnTo>
                  <a:pt x="1224501" y="1305529"/>
                </a:lnTo>
                <a:lnTo>
                  <a:pt x="1223045" y="1304420"/>
                </a:lnTo>
                <a:lnTo>
                  <a:pt x="1223134" y="1303707"/>
                </a:lnTo>
                <a:close/>
                <a:moveTo>
                  <a:pt x="289214" y="1301201"/>
                </a:moveTo>
                <a:cubicBezTo>
                  <a:pt x="283918" y="1300176"/>
                  <a:pt x="280159" y="1311451"/>
                  <a:pt x="273327" y="1307351"/>
                </a:cubicBezTo>
                <a:cubicBezTo>
                  <a:pt x="275149" y="1307351"/>
                  <a:pt x="276971" y="1305529"/>
                  <a:pt x="278793" y="1303707"/>
                </a:cubicBezTo>
                <a:cubicBezTo>
                  <a:pt x="275149" y="1305529"/>
                  <a:pt x="271504" y="1305529"/>
                  <a:pt x="269682" y="1307351"/>
                </a:cubicBezTo>
                <a:cubicBezTo>
                  <a:pt x="273327" y="1309173"/>
                  <a:pt x="276971" y="1314640"/>
                  <a:pt x="280615" y="1316462"/>
                </a:cubicBezTo>
                <a:cubicBezTo>
                  <a:pt x="275149" y="1314640"/>
                  <a:pt x="267860" y="1312818"/>
                  <a:pt x="267860" y="1305529"/>
                </a:cubicBezTo>
                <a:cubicBezTo>
                  <a:pt x="260571" y="1309173"/>
                  <a:pt x="253282" y="1310995"/>
                  <a:pt x="245994" y="1312818"/>
                </a:cubicBezTo>
                <a:cubicBezTo>
                  <a:pt x="251460" y="1318284"/>
                  <a:pt x="258749" y="1316462"/>
                  <a:pt x="266038" y="1312818"/>
                </a:cubicBezTo>
                <a:cubicBezTo>
                  <a:pt x="266038" y="1314640"/>
                  <a:pt x="266038" y="1316462"/>
                  <a:pt x="264216" y="1318284"/>
                </a:cubicBezTo>
                <a:cubicBezTo>
                  <a:pt x="271504" y="1320106"/>
                  <a:pt x="280615" y="1325573"/>
                  <a:pt x="284259" y="1320106"/>
                </a:cubicBezTo>
                <a:cubicBezTo>
                  <a:pt x="286082" y="1318284"/>
                  <a:pt x="284259" y="1316462"/>
                  <a:pt x="282438" y="1316462"/>
                </a:cubicBezTo>
                <a:cubicBezTo>
                  <a:pt x="282438" y="1316462"/>
                  <a:pt x="278793" y="1314640"/>
                  <a:pt x="280615" y="1312818"/>
                </a:cubicBezTo>
                <a:cubicBezTo>
                  <a:pt x="286082" y="1310995"/>
                  <a:pt x="291549" y="1320106"/>
                  <a:pt x="291549" y="1310995"/>
                </a:cubicBezTo>
                <a:cubicBezTo>
                  <a:pt x="289726" y="1309173"/>
                  <a:pt x="287904" y="1310995"/>
                  <a:pt x="286082" y="1309173"/>
                </a:cubicBezTo>
                <a:cubicBezTo>
                  <a:pt x="287904" y="1307351"/>
                  <a:pt x="293370" y="1309173"/>
                  <a:pt x="295193" y="1307351"/>
                </a:cubicBezTo>
                <a:cubicBezTo>
                  <a:pt x="292915" y="1303251"/>
                  <a:pt x="290980" y="1301543"/>
                  <a:pt x="289214" y="1301201"/>
                </a:cubicBezTo>
                <a:close/>
                <a:moveTo>
                  <a:pt x="1219582" y="1301156"/>
                </a:moveTo>
                <a:lnTo>
                  <a:pt x="1220086" y="1302165"/>
                </a:lnTo>
                <a:lnTo>
                  <a:pt x="1219718" y="1301885"/>
                </a:lnTo>
                <a:close/>
                <a:moveTo>
                  <a:pt x="3374666" y="1300062"/>
                </a:moveTo>
                <a:cubicBezTo>
                  <a:pt x="3371933" y="1301885"/>
                  <a:pt x="3371478" y="1304162"/>
                  <a:pt x="3372161" y="1305757"/>
                </a:cubicBezTo>
                <a:lnTo>
                  <a:pt x="3374666" y="1306679"/>
                </a:lnTo>
                <a:lnTo>
                  <a:pt x="3374666" y="1316462"/>
                </a:lnTo>
                <a:cubicBezTo>
                  <a:pt x="3372844" y="1314640"/>
                  <a:pt x="3374666" y="1310995"/>
                  <a:pt x="3376489" y="1307351"/>
                </a:cubicBezTo>
                <a:lnTo>
                  <a:pt x="3374666" y="1306679"/>
                </a:lnTo>
                <a:close/>
                <a:moveTo>
                  <a:pt x="3216137" y="1300062"/>
                </a:moveTo>
                <a:cubicBezTo>
                  <a:pt x="3214315" y="1305529"/>
                  <a:pt x="3221604" y="1307351"/>
                  <a:pt x="3217960" y="1309173"/>
                </a:cubicBezTo>
                <a:cubicBezTo>
                  <a:pt x="3217960" y="1312818"/>
                  <a:pt x="3219782" y="1307351"/>
                  <a:pt x="3221604" y="1309173"/>
                </a:cubicBezTo>
                <a:cubicBezTo>
                  <a:pt x="3221604" y="1305529"/>
                  <a:pt x="3217960" y="1305529"/>
                  <a:pt x="3219782" y="1300062"/>
                </a:cubicBezTo>
                <a:cubicBezTo>
                  <a:pt x="3217960" y="1300062"/>
                  <a:pt x="3217960" y="1300062"/>
                  <a:pt x="3216137" y="1300062"/>
                </a:cubicBezTo>
                <a:close/>
                <a:moveTo>
                  <a:pt x="1884128" y="1300062"/>
                </a:moveTo>
                <a:lnTo>
                  <a:pt x="1884128" y="1305529"/>
                </a:lnTo>
                <a:cubicBezTo>
                  <a:pt x="1887773" y="1310995"/>
                  <a:pt x="1887773" y="1314640"/>
                  <a:pt x="1891417" y="1318284"/>
                </a:cubicBezTo>
                <a:lnTo>
                  <a:pt x="1893239" y="1316462"/>
                </a:lnTo>
                <a:cubicBezTo>
                  <a:pt x="1895061" y="1312818"/>
                  <a:pt x="1895061" y="1307351"/>
                  <a:pt x="1889595" y="1307351"/>
                </a:cubicBezTo>
                <a:cubicBezTo>
                  <a:pt x="1896883" y="1309173"/>
                  <a:pt x="1895061" y="1303707"/>
                  <a:pt x="1895061" y="1300062"/>
                </a:cubicBezTo>
                <a:close/>
                <a:moveTo>
                  <a:pt x="1244545" y="1300062"/>
                </a:moveTo>
                <a:cubicBezTo>
                  <a:pt x="1242723" y="1298240"/>
                  <a:pt x="1239080" y="1301885"/>
                  <a:pt x="1242723" y="1303707"/>
                </a:cubicBezTo>
                <a:cubicBezTo>
                  <a:pt x="1244545" y="1301885"/>
                  <a:pt x="1242723" y="1301885"/>
                  <a:pt x="1244545" y="1300062"/>
                </a:cubicBezTo>
                <a:close/>
                <a:moveTo>
                  <a:pt x="1235434" y="1300062"/>
                </a:moveTo>
                <a:cubicBezTo>
                  <a:pt x="1235434" y="1307351"/>
                  <a:pt x="1240901" y="1314640"/>
                  <a:pt x="1242723" y="1321929"/>
                </a:cubicBezTo>
                <a:cubicBezTo>
                  <a:pt x="1242723" y="1316462"/>
                  <a:pt x="1242723" y="1309173"/>
                  <a:pt x="1239080" y="1305529"/>
                </a:cubicBezTo>
                <a:cubicBezTo>
                  <a:pt x="1237256" y="1305529"/>
                  <a:pt x="1240901" y="1305529"/>
                  <a:pt x="1240901" y="1303707"/>
                </a:cubicBezTo>
                <a:cubicBezTo>
                  <a:pt x="1239080" y="1301885"/>
                  <a:pt x="1237256" y="1300062"/>
                  <a:pt x="1235434" y="1300062"/>
                </a:cubicBezTo>
                <a:close/>
                <a:moveTo>
                  <a:pt x="1229969" y="1300062"/>
                </a:moveTo>
                <a:cubicBezTo>
                  <a:pt x="1228146" y="1303707"/>
                  <a:pt x="1224501" y="1305529"/>
                  <a:pt x="1222679" y="1309173"/>
                </a:cubicBezTo>
                <a:cubicBezTo>
                  <a:pt x="1224501" y="1316462"/>
                  <a:pt x="1228146" y="1323751"/>
                  <a:pt x="1228146" y="1329217"/>
                </a:cubicBezTo>
                <a:cubicBezTo>
                  <a:pt x="1233612" y="1329217"/>
                  <a:pt x="1237256" y="1329217"/>
                  <a:pt x="1240901" y="1331039"/>
                </a:cubicBezTo>
                <a:cubicBezTo>
                  <a:pt x="1240901" y="1321929"/>
                  <a:pt x="1235434" y="1309173"/>
                  <a:pt x="1229969" y="1300062"/>
                </a:cubicBezTo>
                <a:close/>
                <a:moveTo>
                  <a:pt x="765313" y="1300062"/>
                </a:moveTo>
                <a:cubicBezTo>
                  <a:pt x="761670" y="1305529"/>
                  <a:pt x="752558" y="1307351"/>
                  <a:pt x="748914" y="1314640"/>
                </a:cubicBezTo>
                <a:cubicBezTo>
                  <a:pt x="752558" y="1323751"/>
                  <a:pt x="759848" y="1321929"/>
                  <a:pt x="765313" y="1314640"/>
                </a:cubicBezTo>
                <a:cubicBezTo>
                  <a:pt x="767136" y="1309173"/>
                  <a:pt x="763491" y="1303707"/>
                  <a:pt x="765313" y="1300062"/>
                </a:cubicBezTo>
                <a:close/>
                <a:moveTo>
                  <a:pt x="630472" y="1300062"/>
                </a:moveTo>
                <a:cubicBezTo>
                  <a:pt x="628650" y="1303707"/>
                  <a:pt x="630472" y="1307351"/>
                  <a:pt x="634117" y="1309173"/>
                </a:cubicBezTo>
                <a:cubicBezTo>
                  <a:pt x="637761" y="1307351"/>
                  <a:pt x="632296" y="1300062"/>
                  <a:pt x="630472" y="1300062"/>
                </a:cubicBezTo>
                <a:close/>
                <a:moveTo>
                  <a:pt x="526609" y="1300062"/>
                </a:moveTo>
                <a:cubicBezTo>
                  <a:pt x="524786" y="1300062"/>
                  <a:pt x="522964" y="1301885"/>
                  <a:pt x="521142" y="1301885"/>
                </a:cubicBezTo>
                <a:cubicBezTo>
                  <a:pt x="524786" y="1309173"/>
                  <a:pt x="510209" y="1309173"/>
                  <a:pt x="517498" y="1314640"/>
                </a:cubicBezTo>
                <a:cubicBezTo>
                  <a:pt x="521142" y="1309173"/>
                  <a:pt x="533897" y="1310995"/>
                  <a:pt x="526609" y="1300062"/>
                </a:cubicBezTo>
                <a:close/>
                <a:moveTo>
                  <a:pt x="373546" y="1300062"/>
                </a:moveTo>
                <a:cubicBezTo>
                  <a:pt x="368079" y="1298240"/>
                  <a:pt x="364435" y="1300062"/>
                  <a:pt x="364435" y="1301885"/>
                </a:cubicBezTo>
                <a:cubicBezTo>
                  <a:pt x="366257" y="1303707"/>
                  <a:pt x="369902" y="1307351"/>
                  <a:pt x="371724" y="1303707"/>
                </a:cubicBezTo>
                <a:cubicBezTo>
                  <a:pt x="366257" y="1296418"/>
                  <a:pt x="377190" y="1303707"/>
                  <a:pt x="373546" y="1300062"/>
                </a:cubicBezTo>
                <a:close/>
                <a:moveTo>
                  <a:pt x="3362367" y="1299607"/>
                </a:moveTo>
                <a:cubicBezTo>
                  <a:pt x="3360090" y="1299151"/>
                  <a:pt x="3357356" y="1300063"/>
                  <a:pt x="3358267" y="1303707"/>
                </a:cubicBezTo>
                <a:cubicBezTo>
                  <a:pt x="3360089" y="1303707"/>
                  <a:pt x="3361911" y="1301885"/>
                  <a:pt x="3363734" y="1303707"/>
                </a:cubicBezTo>
                <a:cubicBezTo>
                  <a:pt x="3366467" y="1301885"/>
                  <a:pt x="3364645" y="1300062"/>
                  <a:pt x="3362367" y="1299607"/>
                </a:cubicBezTo>
                <a:close/>
                <a:moveTo>
                  <a:pt x="3084941" y="1298240"/>
                </a:moveTo>
                <a:cubicBezTo>
                  <a:pt x="3088585" y="1300062"/>
                  <a:pt x="3084941" y="1307351"/>
                  <a:pt x="3088585" y="1305529"/>
                </a:cubicBezTo>
                <a:cubicBezTo>
                  <a:pt x="3086763" y="1309173"/>
                  <a:pt x="3083119" y="1307351"/>
                  <a:pt x="3084941" y="1312818"/>
                </a:cubicBezTo>
                <a:cubicBezTo>
                  <a:pt x="3088585" y="1312818"/>
                  <a:pt x="3095874" y="1314640"/>
                  <a:pt x="3104985" y="1312818"/>
                </a:cubicBezTo>
                <a:cubicBezTo>
                  <a:pt x="3104985" y="1310995"/>
                  <a:pt x="3104985" y="1309173"/>
                  <a:pt x="3104985" y="1307351"/>
                </a:cubicBezTo>
                <a:cubicBezTo>
                  <a:pt x="3092230" y="1309173"/>
                  <a:pt x="3094052" y="1301885"/>
                  <a:pt x="3084941" y="1298240"/>
                </a:cubicBezTo>
                <a:close/>
                <a:moveTo>
                  <a:pt x="1907816" y="1298240"/>
                </a:moveTo>
                <a:lnTo>
                  <a:pt x="1907816" y="1301885"/>
                </a:lnTo>
                <a:lnTo>
                  <a:pt x="1913283" y="1301885"/>
                </a:lnTo>
                <a:cubicBezTo>
                  <a:pt x="1913283" y="1301885"/>
                  <a:pt x="1911461" y="1300062"/>
                  <a:pt x="1911461" y="1298240"/>
                </a:cubicBezTo>
                <a:cubicBezTo>
                  <a:pt x="1909639" y="1298240"/>
                  <a:pt x="1909639" y="1298240"/>
                  <a:pt x="1907816" y="1298240"/>
                </a:cubicBezTo>
                <a:close/>
                <a:moveTo>
                  <a:pt x="1844040" y="1298240"/>
                </a:moveTo>
                <a:cubicBezTo>
                  <a:pt x="1844040" y="1298240"/>
                  <a:pt x="1844040" y="1298240"/>
                  <a:pt x="1844040" y="1300062"/>
                </a:cubicBezTo>
                <a:cubicBezTo>
                  <a:pt x="1845864" y="1300062"/>
                  <a:pt x="1845864" y="1300062"/>
                  <a:pt x="1845864" y="1300062"/>
                </a:cubicBezTo>
                <a:cubicBezTo>
                  <a:pt x="1845864" y="1300062"/>
                  <a:pt x="1844040" y="1298240"/>
                  <a:pt x="1844040" y="1298240"/>
                </a:cubicBezTo>
                <a:close/>
                <a:moveTo>
                  <a:pt x="1113349" y="1298240"/>
                </a:moveTo>
                <a:cubicBezTo>
                  <a:pt x="1113349" y="1298240"/>
                  <a:pt x="1111526" y="1301885"/>
                  <a:pt x="1113349" y="1301885"/>
                </a:cubicBezTo>
                <a:lnTo>
                  <a:pt x="1112980" y="1298940"/>
                </a:lnTo>
                <a:close/>
                <a:moveTo>
                  <a:pt x="1109704" y="1298240"/>
                </a:moveTo>
                <a:cubicBezTo>
                  <a:pt x="1107882" y="1296418"/>
                  <a:pt x="1104238" y="1300062"/>
                  <a:pt x="1102416" y="1300062"/>
                </a:cubicBezTo>
                <a:cubicBezTo>
                  <a:pt x="1100593" y="1303707"/>
                  <a:pt x="1102416" y="1305529"/>
                  <a:pt x="1104238" y="1309173"/>
                </a:cubicBezTo>
                <a:cubicBezTo>
                  <a:pt x="1107882" y="1305529"/>
                  <a:pt x="1109704" y="1301885"/>
                  <a:pt x="1109704" y="1298240"/>
                </a:cubicBezTo>
                <a:close/>
                <a:moveTo>
                  <a:pt x="603140" y="1298240"/>
                </a:moveTo>
                <a:cubicBezTo>
                  <a:pt x="599496" y="1300062"/>
                  <a:pt x="604963" y="1303707"/>
                  <a:pt x="603140" y="1305529"/>
                </a:cubicBezTo>
                <a:cubicBezTo>
                  <a:pt x="604963" y="1305529"/>
                  <a:pt x="604963" y="1305529"/>
                  <a:pt x="606784" y="1305529"/>
                </a:cubicBezTo>
                <a:cubicBezTo>
                  <a:pt x="606784" y="1303707"/>
                  <a:pt x="603140" y="1300062"/>
                  <a:pt x="603140" y="1298240"/>
                </a:cubicBezTo>
                <a:close/>
                <a:moveTo>
                  <a:pt x="326169" y="1298240"/>
                </a:moveTo>
                <a:cubicBezTo>
                  <a:pt x="320703" y="1301885"/>
                  <a:pt x="317059" y="1305529"/>
                  <a:pt x="318882" y="1310995"/>
                </a:cubicBezTo>
                <a:cubicBezTo>
                  <a:pt x="326169" y="1307351"/>
                  <a:pt x="331636" y="1305529"/>
                  <a:pt x="338926" y="1303707"/>
                </a:cubicBezTo>
                <a:cubicBezTo>
                  <a:pt x="331636" y="1301885"/>
                  <a:pt x="329814" y="1303707"/>
                  <a:pt x="326169" y="1298240"/>
                </a:cubicBezTo>
                <a:close/>
                <a:moveTo>
                  <a:pt x="306126" y="1298240"/>
                </a:moveTo>
                <a:cubicBezTo>
                  <a:pt x="304303" y="1300062"/>
                  <a:pt x="304303" y="1301885"/>
                  <a:pt x="304303" y="1303707"/>
                </a:cubicBezTo>
                <a:cubicBezTo>
                  <a:pt x="304303" y="1303707"/>
                  <a:pt x="306126" y="1301885"/>
                  <a:pt x="309771" y="1301885"/>
                </a:cubicBezTo>
                <a:cubicBezTo>
                  <a:pt x="311592" y="1300062"/>
                  <a:pt x="307948" y="1300062"/>
                  <a:pt x="306126" y="1298240"/>
                </a:cubicBezTo>
                <a:close/>
                <a:moveTo>
                  <a:pt x="1345306" y="1297642"/>
                </a:moveTo>
                <a:lnTo>
                  <a:pt x="1345044" y="1299697"/>
                </a:lnTo>
                <a:lnTo>
                  <a:pt x="1344993" y="1299379"/>
                </a:lnTo>
                <a:cubicBezTo>
                  <a:pt x="1345107" y="1298126"/>
                  <a:pt x="1345278" y="1297386"/>
                  <a:pt x="1345306" y="1297642"/>
                </a:cubicBezTo>
                <a:close/>
                <a:moveTo>
                  <a:pt x="297015" y="1297101"/>
                </a:moveTo>
                <a:cubicBezTo>
                  <a:pt x="294737" y="1297785"/>
                  <a:pt x="292459" y="1299151"/>
                  <a:pt x="289726" y="1300062"/>
                </a:cubicBezTo>
                <a:cubicBezTo>
                  <a:pt x="295193" y="1301885"/>
                  <a:pt x="300660" y="1303707"/>
                  <a:pt x="304303" y="1298240"/>
                </a:cubicBezTo>
                <a:cubicBezTo>
                  <a:pt x="301570" y="1296418"/>
                  <a:pt x="299292" y="1296418"/>
                  <a:pt x="297015" y="1297101"/>
                </a:cubicBezTo>
                <a:close/>
                <a:moveTo>
                  <a:pt x="3330934" y="1296418"/>
                </a:moveTo>
                <a:cubicBezTo>
                  <a:pt x="3329112" y="1300062"/>
                  <a:pt x="3329112" y="1312818"/>
                  <a:pt x="3334579" y="1312818"/>
                </a:cubicBezTo>
                <a:cubicBezTo>
                  <a:pt x="3327290" y="1320106"/>
                  <a:pt x="3330934" y="1332862"/>
                  <a:pt x="3343690" y="1327395"/>
                </a:cubicBezTo>
                <a:cubicBezTo>
                  <a:pt x="3343690" y="1325573"/>
                  <a:pt x="3343690" y="1323751"/>
                  <a:pt x="3343690" y="1321929"/>
                </a:cubicBezTo>
                <a:cubicBezTo>
                  <a:pt x="3347334" y="1321929"/>
                  <a:pt x="3345512" y="1325573"/>
                  <a:pt x="3349156" y="1323751"/>
                </a:cubicBezTo>
                <a:cubicBezTo>
                  <a:pt x="3349156" y="1320106"/>
                  <a:pt x="3345512" y="1320106"/>
                  <a:pt x="3347334" y="1316462"/>
                </a:cubicBezTo>
                <a:cubicBezTo>
                  <a:pt x="3350978" y="1316462"/>
                  <a:pt x="3354623" y="1320106"/>
                  <a:pt x="3358267" y="1316462"/>
                </a:cubicBezTo>
                <a:cubicBezTo>
                  <a:pt x="3360089" y="1318284"/>
                  <a:pt x="3358267" y="1321929"/>
                  <a:pt x="3360089" y="1323751"/>
                </a:cubicBezTo>
                <a:cubicBezTo>
                  <a:pt x="3363734" y="1323751"/>
                  <a:pt x="3365556" y="1318284"/>
                  <a:pt x="3367378" y="1321929"/>
                </a:cubicBezTo>
                <a:cubicBezTo>
                  <a:pt x="3367378" y="1309173"/>
                  <a:pt x="3350978" y="1314640"/>
                  <a:pt x="3340045" y="1314640"/>
                </a:cubicBezTo>
                <a:cubicBezTo>
                  <a:pt x="3338223" y="1312818"/>
                  <a:pt x="3338223" y="1310995"/>
                  <a:pt x="3336401" y="1314640"/>
                </a:cubicBezTo>
                <a:cubicBezTo>
                  <a:pt x="3336401" y="1310995"/>
                  <a:pt x="3336401" y="1309173"/>
                  <a:pt x="3340045" y="1309173"/>
                </a:cubicBezTo>
                <a:cubicBezTo>
                  <a:pt x="3338223" y="1303707"/>
                  <a:pt x="3330934" y="1305529"/>
                  <a:pt x="3330934" y="1296418"/>
                </a:cubicBezTo>
                <a:close/>
                <a:moveTo>
                  <a:pt x="1251834" y="1296418"/>
                </a:moveTo>
                <a:cubicBezTo>
                  <a:pt x="1250012" y="1300062"/>
                  <a:pt x="1248189" y="1296418"/>
                  <a:pt x="1246367" y="1298240"/>
                </a:cubicBezTo>
                <a:cubicBezTo>
                  <a:pt x="1246367" y="1301885"/>
                  <a:pt x="1244545" y="1303707"/>
                  <a:pt x="1242723" y="1305529"/>
                </a:cubicBezTo>
                <a:cubicBezTo>
                  <a:pt x="1246367" y="1314640"/>
                  <a:pt x="1244545" y="1323751"/>
                  <a:pt x="1248189" y="1332862"/>
                </a:cubicBezTo>
                <a:cubicBezTo>
                  <a:pt x="1251834" y="1325573"/>
                  <a:pt x="1248189" y="1320106"/>
                  <a:pt x="1251834" y="1312818"/>
                </a:cubicBezTo>
                <a:cubicBezTo>
                  <a:pt x="1250012" y="1310995"/>
                  <a:pt x="1251834" y="1310995"/>
                  <a:pt x="1250012" y="1309173"/>
                </a:cubicBezTo>
                <a:cubicBezTo>
                  <a:pt x="1250012" y="1305529"/>
                  <a:pt x="1251834" y="1301885"/>
                  <a:pt x="1251834" y="1296418"/>
                </a:cubicBezTo>
                <a:close/>
                <a:moveTo>
                  <a:pt x="1217213" y="1296418"/>
                </a:moveTo>
                <a:cubicBezTo>
                  <a:pt x="1209925" y="1294596"/>
                  <a:pt x="1202636" y="1296418"/>
                  <a:pt x="1195346" y="1298240"/>
                </a:cubicBezTo>
                <a:cubicBezTo>
                  <a:pt x="1202636" y="1305529"/>
                  <a:pt x="1208102" y="1314640"/>
                  <a:pt x="1215390" y="1312818"/>
                </a:cubicBezTo>
                <a:cubicBezTo>
                  <a:pt x="1219036" y="1309173"/>
                  <a:pt x="1217213" y="1305529"/>
                  <a:pt x="1220858" y="1303707"/>
                </a:cubicBezTo>
                <a:lnTo>
                  <a:pt x="1220086" y="1302165"/>
                </a:lnTo>
                <a:lnTo>
                  <a:pt x="1223045" y="1304420"/>
                </a:lnTo>
                <a:lnTo>
                  <a:pt x="1222679" y="1307351"/>
                </a:lnTo>
                <a:cubicBezTo>
                  <a:pt x="1222679" y="1306440"/>
                  <a:pt x="1224501" y="1305529"/>
                  <a:pt x="1225868" y="1304390"/>
                </a:cubicBezTo>
                <a:lnTo>
                  <a:pt x="1226080" y="1302371"/>
                </a:lnTo>
                <a:lnTo>
                  <a:pt x="1226323" y="1301885"/>
                </a:lnTo>
                <a:lnTo>
                  <a:pt x="1226141" y="1301794"/>
                </a:lnTo>
                <a:lnTo>
                  <a:pt x="1226323" y="1300062"/>
                </a:lnTo>
                <a:lnTo>
                  <a:pt x="1225213" y="1301330"/>
                </a:lnTo>
                <a:lnTo>
                  <a:pt x="1219036" y="1298240"/>
                </a:lnTo>
                <a:lnTo>
                  <a:pt x="1219582" y="1301156"/>
                </a:lnTo>
                <a:close/>
                <a:moveTo>
                  <a:pt x="1166192" y="1296418"/>
                </a:moveTo>
                <a:cubicBezTo>
                  <a:pt x="1164370" y="1296418"/>
                  <a:pt x="1166192" y="1298240"/>
                  <a:pt x="1164370" y="1300062"/>
                </a:cubicBezTo>
                <a:cubicBezTo>
                  <a:pt x="1166192" y="1300062"/>
                  <a:pt x="1166192" y="1300062"/>
                  <a:pt x="1162547" y="1303707"/>
                </a:cubicBezTo>
                <a:cubicBezTo>
                  <a:pt x="1168014" y="1307351"/>
                  <a:pt x="1173481" y="1314640"/>
                  <a:pt x="1177125" y="1307351"/>
                </a:cubicBezTo>
                <a:cubicBezTo>
                  <a:pt x="1173481" y="1303707"/>
                  <a:pt x="1169836" y="1300062"/>
                  <a:pt x="1166192" y="1296418"/>
                </a:cubicBezTo>
                <a:close/>
                <a:moveTo>
                  <a:pt x="1098771" y="1296418"/>
                </a:moveTo>
                <a:cubicBezTo>
                  <a:pt x="1098771" y="1296418"/>
                  <a:pt x="1100593" y="1298240"/>
                  <a:pt x="1098771" y="1300062"/>
                </a:cubicBezTo>
                <a:cubicBezTo>
                  <a:pt x="1100593" y="1301885"/>
                  <a:pt x="1104238" y="1300062"/>
                  <a:pt x="1104238" y="1298240"/>
                </a:cubicBezTo>
                <a:cubicBezTo>
                  <a:pt x="1102416" y="1296418"/>
                  <a:pt x="1100593" y="1298240"/>
                  <a:pt x="1098771" y="1296418"/>
                </a:cubicBezTo>
                <a:close/>
                <a:moveTo>
                  <a:pt x="484700" y="1296418"/>
                </a:moveTo>
                <a:cubicBezTo>
                  <a:pt x="481054" y="1298240"/>
                  <a:pt x="477410" y="1300062"/>
                  <a:pt x="477410" y="1303707"/>
                </a:cubicBezTo>
                <a:cubicBezTo>
                  <a:pt x="473766" y="1303707"/>
                  <a:pt x="468299" y="1305529"/>
                  <a:pt x="462832" y="1309173"/>
                </a:cubicBezTo>
                <a:cubicBezTo>
                  <a:pt x="468299" y="1318284"/>
                  <a:pt x="477410" y="1325573"/>
                  <a:pt x="482876" y="1314640"/>
                </a:cubicBezTo>
                <a:cubicBezTo>
                  <a:pt x="486521" y="1309173"/>
                  <a:pt x="479232" y="1305529"/>
                  <a:pt x="490165" y="1303707"/>
                </a:cubicBezTo>
                <a:cubicBezTo>
                  <a:pt x="488343" y="1300062"/>
                  <a:pt x="486521" y="1300062"/>
                  <a:pt x="484700" y="1296418"/>
                </a:cubicBezTo>
                <a:close/>
                <a:moveTo>
                  <a:pt x="482876" y="1296418"/>
                </a:moveTo>
                <a:cubicBezTo>
                  <a:pt x="475589" y="1294596"/>
                  <a:pt x="468299" y="1301885"/>
                  <a:pt x="461010" y="1303707"/>
                </a:cubicBezTo>
                <a:cubicBezTo>
                  <a:pt x="466478" y="1310995"/>
                  <a:pt x="477410" y="1298240"/>
                  <a:pt x="482876" y="1296418"/>
                </a:cubicBezTo>
                <a:close/>
                <a:moveTo>
                  <a:pt x="448256" y="1296418"/>
                </a:moveTo>
                <a:cubicBezTo>
                  <a:pt x="450077" y="1296418"/>
                  <a:pt x="453722" y="1310995"/>
                  <a:pt x="451899" y="1296418"/>
                </a:cubicBezTo>
                <a:cubicBezTo>
                  <a:pt x="450077" y="1298240"/>
                  <a:pt x="450077" y="1298240"/>
                  <a:pt x="448256" y="1296418"/>
                </a:cubicBezTo>
                <a:close/>
                <a:moveTo>
                  <a:pt x="384479" y="1296418"/>
                </a:moveTo>
                <a:cubicBezTo>
                  <a:pt x="380835" y="1305529"/>
                  <a:pt x="391768" y="1303707"/>
                  <a:pt x="400879" y="1301885"/>
                </a:cubicBezTo>
                <a:cubicBezTo>
                  <a:pt x="397234" y="1303707"/>
                  <a:pt x="395412" y="1303707"/>
                  <a:pt x="393590" y="1305529"/>
                </a:cubicBezTo>
                <a:cubicBezTo>
                  <a:pt x="399056" y="1309173"/>
                  <a:pt x="400879" y="1305529"/>
                  <a:pt x="400879" y="1301885"/>
                </a:cubicBezTo>
                <a:cubicBezTo>
                  <a:pt x="400879" y="1300062"/>
                  <a:pt x="400879" y="1298240"/>
                  <a:pt x="400879" y="1296418"/>
                </a:cubicBezTo>
                <a:close/>
                <a:moveTo>
                  <a:pt x="437322" y="1296191"/>
                </a:moveTo>
                <a:cubicBezTo>
                  <a:pt x="433222" y="1296418"/>
                  <a:pt x="429122" y="1299151"/>
                  <a:pt x="428211" y="1303707"/>
                </a:cubicBezTo>
                <a:cubicBezTo>
                  <a:pt x="433678" y="1307351"/>
                  <a:pt x="439145" y="1307351"/>
                  <a:pt x="446433" y="1303707"/>
                </a:cubicBezTo>
                <a:cubicBezTo>
                  <a:pt x="445522" y="1298241"/>
                  <a:pt x="441422" y="1295963"/>
                  <a:pt x="437322" y="1296191"/>
                </a:cubicBezTo>
                <a:close/>
                <a:moveTo>
                  <a:pt x="3129218" y="1296043"/>
                </a:moveTo>
                <a:lnTo>
                  <a:pt x="3127079" y="1298468"/>
                </a:lnTo>
                <a:cubicBezTo>
                  <a:pt x="3125029" y="1298695"/>
                  <a:pt x="3122296" y="1298240"/>
                  <a:pt x="3119562" y="1298240"/>
                </a:cubicBezTo>
                <a:lnTo>
                  <a:pt x="3119473" y="1296572"/>
                </a:lnTo>
                <a:lnTo>
                  <a:pt x="3126395" y="1296873"/>
                </a:lnTo>
                <a:close/>
                <a:moveTo>
                  <a:pt x="207006" y="1295860"/>
                </a:moveTo>
                <a:lnTo>
                  <a:pt x="211372" y="1298240"/>
                </a:lnTo>
                <a:lnTo>
                  <a:pt x="210204" y="1298134"/>
                </a:lnTo>
                <a:close/>
                <a:moveTo>
                  <a:pt x="3243698" y="1294596"/>
                </a:moveTo>
                <a:cubicBezTo>
                  <a:pt x="3242104" y="1294595"/>
                  <a:pt x="3240737" y="1295507"/>
                  <a:pt x="3239826" y="1300062"/>
                </a:cubicBezTo>
                <a:cubicBezTo>
                  <a:pt x="3243470" y="1301885"/>
                  <a:pt x="3247114" y="1296418"/>
                  <a:pt x="3250759" y="1301885"/>
                </a:cubicBezTo>
                <a:cubicBezTo>
                  <a:pt x="3250759" y="1298240"/>
                  <a:pt x="3247114" y="1298240"/>
                  <a:pt x="3248937" y="1294596"/>
                </a:cubicBezTo>
                <a:cubicBezTo>
                  <a:pt x="3247115" y="1295507"/>
                  <a:pt x="3245292" y="1294596"/>
                  <a:pt x="3243698" y="1294596"/>
                </a:cubicBezTo>
                <a:close/>
                <a:moveTo>
                  <a:pt x="1115171" y="1294596"/>
                </a:moveTo>
                <a:cubicBezTo>
                  <a:pt x="1113348" y="1295507"/>
                  <a:pt x="1112893" y="1296873"/>
                  <a:pt x="1112893" y="1298240"/>
                </a:cubicBezTo>
                <a:lnTo>
                  <a:pt x="1112980" y="1298940"/>
                </a:lnTo>
                <a:lnTo>
                  <a:pt x="1108794" y="1306895"/>
                </a:lnTo>
                <a:cubicBezTo>
                  <a:pt x="1107882" y="1310540"/>
                  <a:pt x="1107882" y="1314640"/>
                  <a:pt x="1109704" y="1318284"/>
                </a:cubicBezTo>
                <a:cubicBezTo>
                  <a:pt x="1111526" y="1321929"/>
                  <a:pt x="1109704" y="1316462"/>
                  <a:pt x="1111526" y="1316462"/>
                </a:cubicBezTo>
                <a:cubicBezTo>
                  <a:pt x="1111526" y="1321929"/>
                  <a:pt x="1109704" y="1325573"/>
                  <a:pt x="1115171" y="1331039"/>
                </a:cubicBezTo>
                <a:cubicBezTo>
                  <a:pt x="1115171" y="1320106"/>
                  <a:pt x="1118815" y="1307351"/>
                  <a:pt x="1115171" y="1294596"/>
                </a:cubicBezTo>
                <a:close/>
                <a:moveTo>
                  <a:pt x="424567" y="1294596"/>
                </a:moveTo>
                <a:cubicBezTo>
                  <a:pt x="424567" y="1294596"/>
                  <a:pt x="422745" y="1294596"/>
                  <a:pt x="420923" y="1296418"/>
                </a:cubicBezTo>
                <a:cubicBezTo>
                  <a:pt x="422745" y="1300062"/>
                  <a:pt x="426389" y="1296418"/>
                  <a:pt x="424567" y="1294596"/>
                </a:cubicBezTo>
                <a:close/>
                <a:moveTo>
                  <a:pt x="362613" y="1294596"/>
                </a:moveTo>
                <a:cubicBezTo>
                  <a:pt x="360791" y="1300062"/>
                  <a:pt x="366257" y="1294596"/>
                  <a:pt x="368079" y="1296418"/>
                </a:cubicBezTo>
                <a:cubicBezTo>
                  <a:pt x="368079" y="1294596"/>
                  <a:pt x="364435" y="1296418"/>
                  <a:pt x="362613" y="1294596"/>
                </a:cubicBezTo>
                <a:close/>
                <a:moveTo>
                  <a:pt x="273327" y="1294596"/>
                </a:moveTo>
                <a:cubicBezTo>
                  <a:pt x="273327" y="1298240"/>
                  <a:pt x="282438" y="1298240"/>
                  <a:pt x="284259" y="1296418"/>
                </a:cubicBezTo>
                <a:cubicBezTo>
                  <a:pt x="280615" y="1294596"/>
                  <a:pt x="278793" y="1296418"/>
                  <a:pt x="273327" y="1294596"/>
                </a:cubicBezTo>
                <a:close/>
                <a:moveTo>
                  <a:pt x="3453872" y="1294150"/>
                </a:moveTo>
                <a:lnTo>
                  <a:pt x="3453020" y="1298240"/>
                </a:lnTo>
                <a:lnTo>
                  <a:pt x="3451261" y="1294586"/>
                </a:lnTo>
                <a:close/>
                <a:moveTo>
                  <a:pt x="3377172" y="1293457"/>
                </a:moveTo>
                <a:cubicBezTo>
                  <a:pt x="3374666" y="1292773"/>
                  <a:pt x="3371933" y="1292773"/>
                  <a:pt x="3369200" y="1294596"/>
                </a:cubicBezTo>
                <a:cubicBezTo>
                  <a:pt x="3371022" y="1300062"/>
                  <a:pt x="3378311" y="1298240"/>
                  <a:pt x="3383777" y="1296418"/>
                </a:cubicBezTo>
                <a:cubicBezTo>
                  <a:pt x="3381955" y="1295507"/>
                  <a:pt x="3379677" y="1294140"/>
                  <a:pt x="3377172" y="1293457"/>
                </a:cubicBezTo>
                <a:close/>
                <a:moveTo>
                  <a:pt x="3301780" y="1292774"/>
                </a:moveTo>
                <a:cubicBezTo>
                  <a:pt x="3299957" y="1294596"/>
                  <a:pt x="3299957" y="1294596"/>
                  <a:pt x="3298135" y="1294596"/>
                </a:cubicBezTo>
                <a:cubicBezTo>
                  <a:pt x="3299957" y="1301885"/>
                  <a:pt x="3296313" y="1296418"/>
                  <a:pt x="3292669" y="1298240"/>
                </a:cubicBezTo>
                <a:cubicBezTo>
                  <a:pt x="3294491" y="1301885"/>
                  <a:pt x="3298135" y="1301885"/>
                  <a:pt x="3301780" y="1300062"/>
                </a:cubicBezTo>
                <a:cubicBezTo>
                  <a:pt x="3299957" y="1298240"/>
                  <a:pt x="3301780" y="1298240"/>
                  <a:pt x="3301780" y="1292774"/>
                </a:cubicBezTo>
                <a:close/>
                <a:moveTo>
                  <a:pt x="3057608" y="1292774"/>
                </a:moveTo>
                <a:cubicBezTo>
                  <a:pt x="3057608" y="1298240"/>
                  <a:pt x="3063075" y="1301885"/>
                  <a:pt x="3059430" y="1307351"/>
                </a:cubicBezTo>
                <a:cubicBezTo>
                  <a:pt x="3061253" y="1307351"/>
                  <a:pt x="3061253" y="1309173"/>
                  <a:pt x="3064897" y="1309173"/>
                </a:cubicBezTo>
                <a:cubicBezTo>
                  <a:pt x="3064897" y="1305529"/>
                  <a:pt x="3064897" y="1301885"/>
                  <a:pt x="3066719" y="1300062"/>
                </a:cubicBezTo>
                <a:cubicBezTo>
                  <a:pt x="3068541" y="1300062"/>
                  <a:pt x="3068541" y="1303707"/>
                  <a:pt x="3068541" y="1305529"/>
                </a:cubicBezTo>
                <a:cubicBezTo>
                  <a:pt x="3077652" y="1300062"/>
                  <a:pt x="3061253" y="1296418"/>
                  <a:pt x="3057608" y="1292774"/>
                </a:cubicBezTo>
                <a:close/>
                <a:moveTo>
                  <a:pt x="2826192" y="1292774"/>
                </a:moveTo>
                <a:cubicBezTo>
                  <a:pt x="2824370" y="1298240"/>
                  <a:pt x="2831659" y="1296418"/>
                  <a:pt x="2829837" y="1303707"/>
                </a:cubicBezTo>
                <a:cubicBezTo>
                  <a:pt x="2835303" y="1298240"/>
                  <a:pt x="2842592" y="1300062"/>
                  <a:pt x="2846236" y="1298240"/>
                </a:cubicBezTo>
                <a:cubicBezTo>
                  <a:pt x="2838947" y="1290951"/>
                  <a:pt x="2835303" y="1296418"/>
                  <a:pt x="2826192" y="1292774"/>
                </a:cubicBezTo>
                <a:close/>
                <a:moveTo>
                  <a:pt x="1158903" y="1292774"/>
                </a:moveTo>
                <a:cubicBezTo>
                  <a:pt x="1157081" y="1296418"/>
                  <a:pt x="1160725" y="1300062"/>
                  <a:pt x="1160725" y="1301885"/>
                </a:cubicBezTo>
                <a:cubicBezTo>
                  <a:pt x="1162547" y="1300062"/>
                  <a:pt x="1162547" y="1296418"/>
                  <a:pt x="1164370" y="1294596"/>
                </a:cubicBezTo>
                <a:cubicBezTo>
                  <a:pt x="1162547" y="1292774"/>
                  <a:pt x="1160725" y="1294596"/>
                  <a:pt x="1158903" y="1292774"/>
                </a:cubicBezTo>
                <a:close/>
                <a:moveTo>
                  <a:pt x="818156" y="1292774"/>
                </a:moveTo>
                <a:cubicBezTo>
                  <a:pt x="816334" y="1292774"/>
                  <a:pt x="814512" y="1292774"/>
                  <a:pt x="812690" y="1294596"/>
                </a:cubicBezTo>
                <a:cubicBezTo>
                  <a:pt x="814512" y="1298240"/>
                  <a:pt x="810868" y="1301885"/>
                  <a:pt x="816334" y="1305529"/>
                </a:cubicBezTo>
                <a:cubicBezTo>
                  <a:pt x="819979" y="1300062"/>
                  <a:pt x="818156" y="1296418"/>
                  <a:pt x="818156" y="1292774"/>
                </a:cubicBezTo>
                <a:close/>
                <a:moveTo>
                  <a:pt x="683316" y="1292774"/>
                </a:moveTo>
                <a:cubicBezTo>
                  <a:pt x="668738" y="1298240"/>
                  <a:pt x="665094" y="1316462"/>
                  <a:pt x="672383" y="1331039"/>
                </a:cubicBezTo>
                <a:cubicBezTo>
                  <a:pt x="674205" y="1334684"/>
                  <a:pt x="679671" y="1336506"/>
                  <a:pt x="683316" y="1334684"/>
                </a:cubicBezTo>
                <a:cubicBezTo>
                  <a:pt x="679671" y="1332862"/>
                  <a:pt x="676027" y="1331039"/>
                  <a:pt x="674205" y="1327395"/>
                </a:cubicBezTo>
                <a:cubicBezTo>
                  <a:pt x="676027" y="1327395"/>
                  <a:pt x="676027" y="1327395"/>
                  <a:pt x="679671" y="1327395"/>
                </a:cubicBezTo>
                <a:cubicBezTo>
                  <a:pt x="676027" y="1318284"/>
                  <a:pt x="670560" y="1312818"/>
                  <a:pt x="677849" y="1307351"/>
                </a:cubicBezTo>
                <a:cubicBezTo>
                  <a:pt x="677849" y="1312818"/>
                  <a:pt x="679671" y="1318284"/>
                  <a:pt x="681493" y="1323751"/>
                </a:cubicBezTo>
                <a:cubicBezTo>
                  <a:pt x="690604" y="1318284"/>
                  <a:pt x="690604" y="1309173"/>
                  <a:pt x="686960" y="1301885"/>
                </a:cubicBezTo>
                <a:cubicBezTo>
                  <a:pt x="688782" y="1305529"/>
                  <a:pt x="686960" y="1309173"/>
                  <a:pt x="692426" y="1310995"/>
                </a:cubicBezTo>
                <a:lnTo>
                  <a:pt x="692426" y="1332862"/>
                </a:lnTo>
                <a:cubicBezTo>
                  <a:pt x="694249" y="1327395"/>
                  <a:pt x="694249" y="1323751"/>
                  <a:pt x="697893" y="1321929"/>
                </a:cubicBezTo>
                <a:cubicBezTo>
                  <a:pt x="688782" y="1318284"/>
                  <a:pt x="694249" y="1312818"/>
                  <a:pt x="694249" y="1305529"/>
                </a:cubicBezTo>
                <a:cubicBezTo>
                  <a:pt x="699715" y="1309173"/>
                  <a:pt x="692426" y="1316462"/>
                  <a:pt x="697893" y="1320106"/>
                </a:cubicBezTo>
                <a:cubicBezTo>
                  <a:pt x="701537" y="1316462"/>
                  <a:pt x="705182" y="1310995"/>
                  <a:pt x="710648" y="1305529"/>
                </a:cubicBezTo>
                <a:cubicBezTo>
                  <a:pt x="708826" y="1305529"/>
                  <a:pt x="708826" y="1303707"/>
                  <a:pt x="707004" y="1301885"/>
                </a:cubicBezTo>
                <a:cubicBezTo>
                  <a:pt x="710648" y="1303707"/>
                  <a:pt x="716115" y="1300062"/>
                  <a:pt x="714293" y="1298240"/>
                </a:cubicBezTo>
                <a:cubicBezTo>
                  <a:pt x="712470" y="1290951"/>
                  <a:pt x="697893" y="1296418"/>
                  <a:pt x="690604" y="1292774"/>
                </a:cubicBezTo>
                <a:cubicBezTo>
                  <a:pt x="690604" y="1296418"/>
                  <a:pt x="692426" y="1300062"/>
                  <a:pt x="694249" y="1303707"/>
                </a:cubicBezTo>
                <a:cubicBezTo>
                  <a:pt x="688782" y="1300062"/>
                  <a:pt x="692426" y="1290951"/>
                  <a:pt x="683316" y="1292774"/>
                </a:cubicBezTo>
                <a:close/>
                <a:moveTo>
                  <a:pt x="577630" y="1292774"/>
                </a:moveTo>
                <a:cubicBezTo>
                  <a:pt x="573985" y="1294596"/>
                  <a:pt x="577630" y="1300062"/>
                  <a:pt x="575808" y="1300062"/>
                </a:cubicBezTo>
                <a:cubicBezTo>
                  <a:pt x="575808" y="1301885"/>
                  <a:pt x="581274" y="1303707"/>
                  <a:pt x="583096" y="1305529"/>
                </a:cubicBezTo>
                <a:cubicBezTo>
                  <a:pt x="584919" y="1303707"/>
                  <a:pt x="583096" y="1301885"/>
                  <a:pt x="586741" y="1300062"/>
                </a:cubicBezTo>
                <a:cubicBezTo>
                  <a:pt x="583096" y="1296418"/>
                  <a:pt x="581274" y="1296418"/>
                  <a:pt x="577630" y="1292774"/>
                </a:cubicBezTo>
                <a:close/>
                <a:moveTo>
                  <a:pt x="264216" y="1292774"/>
                </a:moveTo>
                <a:cubicBezTo>
                  <a:pt x="262393" y="1294596"/>
                  <a:pt x="256927" y="1292774"/>
                  <a:pt x="255105" y="1296418"/>
                </a:cubicBezTo>
                <a:cubicBezTo>
                  <a:pt x="262393" y="1300062"/>
                  <a:pt x="267860" y="1300062"/>
                  <a:pt x="273327" y="1298240"/>
                </a:cubicBezTo>
                <a:cubicBezTo>
                  <a:pt x="269682" y="1298240"/>
                  <a:pt x="267860" y="1294596"/>
                  <a:pt x="264216" y="1292774"/>
                </a:cubicBezTo>
                <a:close/>
                <a:moveTo>
                  <a:pt x="236883" y="1292774"/>
                </a:moveTo>
                <a:cubicBezTo>
                  <a:pt x="235061" y="1294596"/>
                  <a:pt x="229594" y="1294596"/>
                  <a:pt x="225950" y="1294596"/>
                </a:cubicBezTo>
                <a:cubicBezTo>
                  <a:pt x="236883" y="1301885"/>
                  <a:pt x="249638" y="1301885"/>
                  <a:pt x="260571" y="1303707"/>
                </a:cubicBezTo>
                <a:cubicBezTo>
                  <a:pt x="253282" y="1292774"/>
                  <a:pt x="244172" y="1292774"/>
                  <a:pt x="236883" y="1292774"/>
                </a:cubicBezTo>
                <a:close/>
                <a:moveTo>
                  <a:pt x="1340698" y="1292570"/>
                </a:moveTo>
                <a:lnTo>
                  <a:pt x="1341120" y="1294596"/>
                </a:lnTo>
                <a:lnTo>
                  <a:pt x="1339546" y="1294596"/>
                </a:lnTo>
                <a:close/>
                <a:moveTo>
                  <a:pt x="784446" y="1292090"/>
                </a:moveTo>
                <a:cubicBezTo>
                  <a:pt x="780802" y="1292318"/>
                  <a:pt x="777157" y="1294595"/>
                  <a:pt x="774424" y="1298240"/>
                </a:cubicBezTo>
                <a:cubicBezTo>
                  <a:pt x="772602" y="1301885"/>
                  <a:pt x="770781" y="1305529"/>
                  <a:pt x="770781" y="1309173"/>
                </a:cubicBezTo>
                <a:cubicBezTo>
                  <a:pt x="770781" y="1310995"/>
                  <a:pt x="770781" y="1312818"/>
                  <a:pt x="772602" y="1314640"/>
                </a:cubicBezTo>
                <a:cubicBezTo>
                  <a:pt x="770781" y="1316462"/>
                  <a:pt x="770781" y="1316462"/>
                  <a:pt x="770781" y="1318284"/>
                </a:cubicBezTo>
                <a:cubicBezTo>
                  <a:pt x="768959" y="1316462"/>
                  <a:pt x="768959" y="1316462"/>
                  <a:pt x="768959" y="1314640"/>
                </a:cubicBezTo>
                <a:cubicBezTo>
                  <a:pt x="767136" y="1314640"/>
                  <a:pt x="765313" y="1320106"/>
                  <a:pt x="765313" y="1321929"/>
                </a:cubicBezTo>
                <a:cubicBezTo>
                  <a:pt x="768959" y="1323751"/>
                  <a:pt x="772602" y="1320106"/>
                  <a:pt x="776246" y="1321929"/>
                </a:cubicBezTo>
                <a:cubicBezTo>
                  <a:pt x="778070" y="1321929"/>
                  <a:pt x="778070" y="1320106"/>
                  <a:pt x="778070" y="1320106"/>
                </a:cubicBezTo>
                <a:cubicBezTo>
                  <a:pt x="779892" y="1320106"/>
                  <a:pt x="779892" y="1321929"/>
                  <a:pt x="781713" y="1321929"/>
                </a:cubicBezTo>
                <a:cubicBezTo>
                  <a:pt x="794468" y="1321929"/>
                  <a:pt x="798112" y="1309173"/>
                  <a:pt x="801757" y="1300062"/>
                </a:cubicBezTo>
                <a:cubicBezTo>
                  <a:pt x="796290" y="1301885"/>
                  <a:pt x="792646" y="1305529"/>
                  <a:pt x="785357" y="1303707"/>
                </a:cubicBezTo>
                <a:lnTo>
                  <a:pt x="785539" y="1302067"/>
                </a:lnTo>
                <a:lnTo>
                  <a:pt x="794468" y="1298240"/>
                </a:lnTo>
                <a:cubicBezTo>
                  <a:pt x="791735" y="1293685"/>
                  <a:pt x="788091" y="1291862"/>
                  <a:pt x="784446" y="1292090"/>
                </a:cubicBezTo>
                <a:close/>
                <a:moveTo>
                  <a:pt x="1811241" y="1290951"/>
                </a:moveTo>
                <a:cubicBezTo>
                  <a:pt x="1811241" y="1290951"/>
                  <a:pt x="1813063" y="1292774"/>
                  <a:pt x="1813063" y="1292774"/>
                </a:cubicBezTo>
                <a:lnTo>
                  <a:pt x="1811901" y="1291831"/>
                </a:lnTo>
                <a:close/>
                <a:moveTo>
                  <a:pt x="1250012" y="1290951"/>
                </a:moveTo>
                <a:cubicBezTo>
                  <a:pt x="1248189" y="1294596"/>
                  <a:pt x="1246367" y="1294596"/>
                  <a:pt x="1246367" y="1296418"/>
                </a:cubicBezTo>
                <a:cubicBezTo>
                  <a:pt x="1246367" y="1298240"/>
                  <a:pt x="1248189" y="1294596"/>
                  <a:pt x="1250012" y="1296418"/>
                </a:cubicBezTo>
                <a:cubicBezTo>
                  <a:pt x="1250012" y="1294596"/>
                  <a:pt x="1251834" y="1292774"/>
                  <a:pt x="1250012" y="1290951"/>
                </a:cubicBezTo>
                <a:close/>
                <a:moveTo>
                  <a:pt x="1175303" y="1290951"/>
                </a:moveTo>
                <a:cubicBezTo>
                  <a:pt x="1178947" y="1298240"/>
                  <a:pt x="1188058" y="1298240"/>
                  <a:pt x="1193525" y="1300062"/>
                </a:cubicBezTo>
                <a:cubicBezTo>
                  <a:pt x="1188058" y="1292774"/>
                  <a:pt x="1182592" y="1292774"/>
                  <a:pt x="1175303" y="1290951"/>
                </a:cubicBezTo>
                <a:close/>
                <a:moveTo>
                  <a:pt x="1131570" y="1290951"/>
                </a:moveTo>
                <a:cubicBezTo>
                  <a:pt x="1129748" y="1294596"/>
                  <a:pt x="1133393" y="1292774"/>
                  <a:pt x="1135215" y="1292774"/>
                </a:cubicBezTo>
                <a:cubicBezTo>
                  <a:pt x="1137037" y="1290951"/>
                  <a:pt x="1133393" y="1290951"/>
                  <a:pt x="1131570" y="1290951"/>
                </a:cubicBezTo>
                <a:close/>
                <a:moveTo>
                  <a:pt x="747092" y="1290951"/>
                </a:moveTo>
                <a:cubicBezTo>
                  <a:pt x="747092" y="1290951"/>
                  <a:pt x="745269" y="1292774"/>
                  <a:pt x="743447" y="1294596"/>
                </a:cubicBezTo>
                <a:cubicBezTo>
                  <a:pt x="743447" y="1294596"/>
                  <a:pt x="745269" y="1296418"/>
                  <a:pt x="743447" y="1298240"/>
                </a:cubicBezTo>
                <a:cubicBezTo>
                  <a:pt x="745269" y="1300062"/>
                  <a:pt x="748914" y="1292774"/>
                  <a:pt x="747092" y="1290951"/>
                </a:cubicBezTo>
                <a:close/>
                <a:moveTo>
                  <a:pt x="3453020" y="1290951"/>
                </a:moveTo>
                <a:lnTo>
                  <a:pt x="3453020" y="1290951"/>
                </a:lnTo>
                <a:lnTo>
                  <a:pt x="3453020" y="1290951"/>
                </a:lnTo>
                <a:close/>
                <a:moveTo>
                  <a:pt x="822570" y="1290923"/>
                </a:moveTo>
                <a:cubicBezTo>
                  <a:pt x="819751" y="1292204"/>
                  <a:pt x="821801" y="1301429"/>
                  <a:pt x="821801" y="1305529"/>
                </a:cubicBezTo>
                <a:cubicBezTo>
                  <a:pt x="823623" y="1309173"/>
                  <a:pt x="827267" y="1309173"/>
                  <a:pt x="830912" y="1309173"/>
                </a:cubicBezTo>
                <a:cubicBezTo>
                  <a:pt x="832734" y="1301885"/>
                  <a:pt x="825445" y="1298240"/>
                  <a:pt x="827267" y="1292774"/>
                </a:cubicBezTo>
                <a:cubicBezTo>
                  <a:pt x="824990" y="1290952"/>
                  <a:pt x="823509" y="1290496"/>
                  <a:pt x="822570" y="1290923"/>
                </a:cubicBezTo>
                <a:close/>
                <a:moveTo>
                  <a:pt x="3453113" y="1290842"/>
                </a:moveTo>
                <a:lnTo>
                  <a:pt x="3453149" y="1290908"/>
                </a:lnTo>
                <a:lnTo>
                  <a:pt x="3453020" y="1290951"/>
                </a:lnTo>
                <a:close/>
                <a:moveTo>
                  <a:pt x="504743" y="1290496"/>
                </a:moveTo>
                <a:cubicBezTo>
                  <a:pt x="500643" y="1290496"/>
                  <a:pt x="496543" y="1290952"/>
                  <a:pt x="491987" y="1292774"/>
                </a:cubicBezTo>
                <a:cubicBezTo>
                  <a:pt x="491987" y="1294596"/>
                  <a:pt x="493809" y="1294596"/>
                  <a:pt x="495632" y="1296418"/>
                </a:cubicBezTo>
                <a:cubicBezTo>
                  <a:pt x="493809" y="1298240"/>
                  <a:pt x="490165" y="1296418"/>
                  <a:pt x="488343" y="1296418"/>
                </a:cubicBezTo>
                <a:cubicBezTo>
                  <a:pt x="488343" y="1300062"/>
                  <a:pt x="493809" y="1305529"/>
                  <a:pt x="495632" y="1307351"/>
                </a:cubicBezTo>
                <a:cubicBezTo>
                  <a:pt x="495632" y="1305529"/>
                  <a:pt x="499276" y="1301885"/>
                  <a:pt x="501098" y="1300062"/>
                </a:cubicBezTo>
                <a:cubicBezTo>
                  <a:pt x="499276" y="1298240"/>
                  <a:pt x="497454" y="1300062"/>
                  <a:pt x="495632" y="1298240"/>
                </a:cubicBezTo>
                <a:cubicBezTo>
                  <a:pt x="499276" y="1296418"/>
                  <a:pt x="501098" y="1298240"/>
                  <a:pt x="504743" y="1298240"/>
                </a:cubicBezTo>
                <a:cubicBezTo>
                  <a:pt x="506565" y="1296418"/>
                  <a:pt x="506565" y="1294596"/>
                  <a:pt x="508387" y="1292774"/>
                </a:cubicBezTo>
                <a:cubicBezTo>
                  <a:pt x="510209" y="1292774"/>
                  <a:pt x="508387" y="1296418"/>
                  <a:pt x="508387" y="1296418"/>
                </a:cubicBezTo>
                <a:cubicBezTo>
                  <a:pt x="512031" y="1296418"/>
                  <a:pt x="515676" y="1294596"/>
                  <a:pt x="517498" y="1290951"/>
                </a:cubicBezTo>
                <a:cubicBezTo>
                  <a:pt x="512943" y="1290951"/>
                  <a:pt x="508843" y="1290496"/>
                  <a:pt x="504743" y="1290496"/>
                </a:cubicBezTo>
                <a:close/>
                <a:moveTo>
                  <a:pt x="225267" y="1290496"/>
                </a:moveTo>
                <a:cubicBezTo>
                  <a:pt x="224584" y="1290496"/>
                  <a:pt x="224128" y="1290952"/>
                  <a:pt x="224128" y="1292774"/>
                </a:cubicBezTo>
                <a:cubicBezTo>
                  <a:pt x="227772" y="1292774"/>
                  <a:pt x="233239" y="1294596"/>
                  <a:pt x="233239" y="1292774"/>
                </a:cubicBezTo>
                <a:cubicBezTo>
                  <a:pt x="231416" y="1290951"/>
                  <a:pt x="229594" y="1294596"/>
                  <a:pt x="227772" y="1290951"/>
                </a:cubicBezTo>
                <a:cubicBezTo>
                  <a:pt x="226861" y="1290951"/>
                  <a:pt x="225950" y="1290496"/>
                  <a:pt x="225267" y="1290496"/>
                </a:cubicBezTo>
                <a:close/>
                <a:moveTo>
                  <a:pt x="1321761" y="1289812"/>
                </a:moveTo>
                <a:cubicBezTo>
                  <a:pt x="1321077" y="1290496"/>
                  <a:pt x="1321077" y="1291863"/>
                  <a:pt x="1322899" y="1292774"/>
                </a:cubicBezTo>
                <a:cubicBezTo>
                  <a:pt x="1322899" y="1292774"/>
                  <a:pt x="1324721" y="1290951"/>
                  <a:pt x="1324721" y="1290951"/>
                </a:cubicBezTo>
                <a:cubicBezTo>
                  <a:pt x="1323810" y="1289129"/>
                  <a:pt x="1322443" y="1289129"/>
                  <a:pt x="1321761" y="1289812"/>
                </a:cubicBezTo>
                <a:close/>
                <a:moveTo>
                  <a:pt x="350768" y="1289812"/>
                </a:moveTo>
                <a:cubicBezTo>
                  <a:pt x="347581" y="1290496"/>
                  <a:pt x="344391" y="1291863"/>
                  <a:pt x="342569" y="1292774"/>
                </a:cubicBezTo>
                <a:cubicBezTo>
                  <a:pt x="348037" y="1294596"/>
                  <a:pt x="353502" y="1290951"/>
                  <a:pt x="358969" y="1290951"/>
                </a:cubicBezTo>
                <a:cubicBezTo>
                  <a:pt x="357146" y="1289129"/>
                  <a:pt x="353957" y="1289129"/>
                  <a:pt x="350768" y="1289812"/>
                </a:cubicBezTo>
                <a:close/>
                <a:moveTo>
                  <a:pt x="1239173" y="1289602"/>
                </a:moveTo>
                <a:lnTo>
                  <a:pt x="1239306" y="1289813"/>
                </a:lnTo>
                <a:lnTo>
                  <a:pt x="1239229" y="1289878"/>
                </a:lnTo>
                <a:close/>
                <a:moveTo>
                  <a:pt x="3001121" y="1289129"/>
                </a:moveTo>
                <a:cubicBezTo>
                  <a:pt x="2999299" y="1290951"/>
                  <a:pt x="2993832" y="1289129"/>
                  <a:pt x="2992010" y="1290951"/>
                </a:cubicBezTo>
                <a:cubicBezTo>
                  <a:pt x="2990188" y="1294596"/>
                  <a:pt x="2993832" y="1294596"/>
                  <a:pt x="2993832" y="1296418"/>
                </a:cubicBezTo>
                <a:cubicBezTo>
                  <a:pt x="2988366" y="1292774"/>
                  <a:pt x="2982899" y="1294596"/>
                  <a:pt x="2977432" y="1296418"/>
                </a:cubicBezTo>
                <a:cubicBezTo>
                  <a:pt x="2977432" y="1301885"/>
                  <a:pt x="2975610" y="1305529"/>
                  <a:pt x="2973788" y="1305529"/>
                </a:cubicBezTo>
                <a:cubicBezTo>
                  <a:pt x="2975610" y="1312818"/>
                  <a:pt x="2982899" y="1318284"/>
                  <a:pt x="2979255" y="1325573"/>
                </a:cubicBezTo>
                <a:cubicBezTo>
                  <a:pt x="2982899" y="1329217"/>
                  <a:pt x="2984721" y="1323751"/>
                  <a:pt x="2992010" y="1325573"/>
                </a:cubicBezTo>
                <a:cubicBezTo>
                  <a:pt x="2992010" y="1320106"/>
                  <a:pt x="2990188" y="1318284"/>
                  <a:pt x="2984721" y="1318284"/>
                </a:cubicBezTo>
                <a:cubicBezTo>
                  <a:pt x="2981077" y="1309173"/>
                  <a:pt x="2990188" y="1305529"/>
                  <a:pt x="2986543" y="1298240"/>
                </a:cubicBezTo>
                <a:cubicBezTo>
                  <a:pt x="2992010" y="1298240"/>
                  <a:pt x="2993832" y="1303707"/>
                  <a:pt x="2993832" y="1309173"/>
                </a:cubicBezTo>
                <a:cubicBezTo>
                  <a:pt x="3001121" y="1307351"/>
                  <a:pt x="3006587" y="1296418"/>
                  <a:pt x="3001121" y="1289129"/>
                </a:cubicBezTo>
                <a:close/>
                <a:moveTo>
                  <a:pt x="2612998" y="1289129"/>
                </a:moveTo>
                <a:lnTo>
                  <a:pt x="2611176" y="1292774"/>
                </a:lnTo>
                <a:lnTo>
                  <a:pt x="2622109" y="1307351"/>
                </a:lnTo>
                <a:cubicBezTo>
                  <a:pt x="2623931" y="1301885"/>
                  <a:pt x="2625753" y="1296418"/>
                  <a:pt x="2623931" y="1292774"/>
                </a:cubicBezTo>
                <a:cubicBezTo>
                  <a:pt x="2622109" y="1298240"/>
                  <a:pt x="2612998" y="1296418"/>
                  <a:pt x="2612998" y="1289129"/>
                </a:cubicBezTo>
                <a:close/>
                <a:moveTo>
                  <a:pt x="1284633" y="1289129"/>
                </a:moveTo>
                <a:cubicBezTo>
                  <a:pt x="1282811" y="1289129"/>
                  <a:pt x="1282811" y="1290951"/>
                  <a:pt x="1282811" y="1290951"/>
                </a:cubicBezTo>
                <a:cubicBezTo>
                  <a:pt x="1284633" y="1292774"/>
                  <a:pt x="1284633" y="1292774"/>
                  <a:pt x="1286455" y="1290951"/>
                </a:cubicBezTo>
                <a:cubicBezTo>
                  <a:pt x="1286455" y="1289129"/>
                  <a:pt x="1284633" y="1289129"/>
                  <a:pt x="1284633" y="1289129"/>
                </a:cubicBezTo>
                <a:close/>
                <a:moveTo>
                  <a:pt x="1168014" y="1289129"/>
                </a:moveTo>
                <a:cubicBezTo>
                  <a:pt x="1164370" y="1292774"/>
                  <a:pt x="1171658" y="1298240"/>
                  <a:pt x="1175303" y="1298240"/>
                </a:cubicBezTo>
                <a:cubicBezTo>
                  <a:pt x="1175303" y="1305529"/>
                  <a:pt x="1184414" y="1307351"/>
                  <a:pt x="1189880" y="1309173"/>
                </a:cubicBezTo>
                <a:cubicBezTo>
                  <a:pt x="1190791" y="1310995"/>
                  <a:pt x="1191246" y="1310540"/>
                  <a:pt x="1191703" y="1309857"/>
                </a:cubicBezTo>
                <a:lnTo>
                  <a:pt x="1192334" y="1309619"/>
                </a:lnTo>
                <a:lnTo>
                  <a:pt x="1192385" y="1309629"/>
                </a:lnTo>
                <a:lnTo>
                  <a:pt x="1192402" y="1309594"/>
                </a:lnTo>
                <a:lnTo>
                  <a:pt x="1193525" y="1309173"/>
                </a:lnTo>
                <a:cubicBezTo>
                  <a:pt x="1193525" y="1314640"/>
                  <a:pt x="1202636" y="1320106"/>
                  <a:pt x="1206279" y="1314640"/>
                </a:cubicBezTo>
                <a:cubicBezTo>
                  <a:pt x="1202636" y="1312818"/>
                  <a:pt x="1200814" y="1312818"/>
                  <a:pt x="1198991" y="1312818"/>
                </a:cubicBezTo>
                <a:cubicBezTo>
                  <a:pt x="1198991" y="1309173"/>
                  <a:pt x="1195346" y="1309173"/>
                  <a:pt x="1193525" y="1307351"/>
                </a:cubicBezTo>
                <a:lnTo>
                  <a:pt x="1192402" y="1309594"/>
                </a:lnTo>
                <a:lnTo>
                  <a:pt x="1192334" y="1309619"/>
                </a:lnTo>
                <a:lnTo>
                  <a:pt x="1189880" y="1309173"/>
                </a:lnTo>
                <a:cubicBezTo>
                  <a:pt x="1191703" y="1307351"/>
                  <a:pt x="1191703" y="1305529"/>
                  <a:pt x="1191703" y="1303707"/>
                </a:cubicBezTo>
                <a:cubicBezTo>
                  <a:pt x="1184414" y="1300062"/>
                  <a:pt x="1175303" y="1292774"/>
                  <a:pt x="1168014" y="1289129"/>
                </a:cubicBezTo>
                <a:close/>
                <a:moveTo>
                  <a:pt x="674205" y="1289129"/>
                </a:moveTo>
                <a:cubicBezTo>
                  <a:pt x="672383" y="1292774"/>
                  <a:pt x="670560" y="1290951"/>
                  <a:pt x="668738" y="1294596"/>
                </a:cubicBezTo>
                <a:cubicBezTo>
                  <a:pt x="670560" y="1300062"/>
                  <a:pt x="676027" y="1292774"/>
                  <a:pt x="674205" y="1289129"/>
                </a:cubicBezTo>
                <a:close/>
                <a:moveTo>
                  <a:pt x="380835" y="1289129"/>
                </a:moveTo>
                <a:cubicBezTo>
                  <a:pt x="377190" y="1287307"/>
                  <a:pt x="373546" y="1287307"/>
                  <a:pt x="373546" y="1290951"/>
                </a:cubicBezTo>
                <a:cubicBezTo>
                  <a:pt x="369902" y="1289129"/>
                  <a:pt x="366257" y="1290951"/>
                  <a:pt x="364435" y="1292774"/>
                </a:cubicBezTo>
                <a:cubicBezTo>
                  <a:pt x="373546" y="1298240"/>
                  <a:pt x="377190" y="1294596"/>
                  <a:pt x="380835" y="1289129"/>
                </a:cubicBezTo>
                <a:close/>
                <a:moveTo>
                  <a:pt x="3459773" y="1288700"/>
                </a:moveTo>
                <a:lnTo>
                  <a:pt x="3462131" y="1292774"/>
                </a:lnTo>
                <a:lnTo>
                  <a:pt x="3453872" y="1294150"/>
                </a:lnTo>
                <a:lnTo>
                  <a:pt x="3454159" y="1292773"/>
                </a:lnTo>
                <a:lnTo>
                  <a:pt x="3453149" y="1290908"/>
                </a:lnTo>
                <a:close/>
                <a:moveTo>
                  <a:pt x="804034" y="1287990"/>
                </a:moveTo>
                <a:cubicBezTo>
                  <a:pt x="802668" y="1287763"/>
                  <a:pt x="802668" y="1288218"/>
                  <a:pt x="803579" y="1289129"/>
                </a:cubicBezTo>
                <a:cubicBezTo>
                  <a:pt x="798112" y="1289129"/>
                  <a:pt x="796290" y="1296418"/>
                  <a:pt x="803579" y="1296418"/>
                </a:cubicBezTo>
                <a:cubicBezTo>
                  <a:pt x="801757" y="1290951"/>
                  <a:pt x="810868" y="1296418"/>
                  <a:pt x="805401" y="1289129"/>
                </a:cubicBezTo>
                <a:lnTo>
                  <a:pt x="807364" y="1289129"/>
                </a:lnTo>
                <a:lnTo>
                  <a:pt x="812690" y="1290951"/>
                </a:lnTo>
                <a:lnTo>
                  <a:pt x="813904" y="1289736"/>
                </a:lnTo>
                <a:lnTo>
                  <a:pt x="816334" y="1290951"/>
                </a:lnTo>
                <a:cubicBezTo>
                  <a:pt x="816334" y="1289129"/>
                  <a:pt x="816334" y="1290951"/>
                  <a:pt x="814512" y="1289129"/>
                </a:cubicBezTo>
                <a:lnTo>
                  <a:pt x="813904" y="1289736"/>
                </a:lnTo>
                <a:lnTo>
                  <a:pt x="812690" y="1289129"/>
                </a:lnTo>
                <a:lnTo>
                  <a:pt x="807364" y="1289129"/>
                </a:lnTo>
                <a:close/>
                <a:moveTo>
                  <a:pt x="384934" y="1287763"/>
                </a:moveTo>
                <a:cubicBezTo>
                  <a:pt x="383569" y="1289585"/>
                  <a:pt x="382657" y="1292773"/>
                  <a:pt x="379012" y="1294596"/>
                </a:cubicBezTo>
                <a:cubicBezTo>
                  <a:pt x="384479" y="1296418"/>
                  <a:pt x="388123" y="1290951"/>
                  <a:pt x="393590" y="1289129"/>
                </a:cubicBezTo>
                <a:cubicBezTo>
                  <a:pt x="388123" y="1285485"/>
                  <a:pt x="386301" y="1285941"/>
                  <a:pt x="384934" y="1287763"/>
                </a:cubicBezTo>
                <a:close/>
                <a:moveTo>
                  <a:pt x="1652713" y="1287443"/>
                </a:moveTo>
                <a:lnTo>
                  <a:pt x="1680046" y="1309308"/>
                </a:lnTo>
                <a:lnTo>
                  <a:pt x="1660001" y="1332995"/>
                </a:lnTo>
                <a:lnTo>
                  <a:pt x="1645423" y="1294732"/>
                </a:lnTo>
                <a:close/>
                <a:moveTo>
                  <a:pt x="3461290" y="1287307"/>
                </a:moveTo>
                <a:lnTo>
                  <a:pt x="3463953" y="1287307"/>
                </a:lnTo>
                <a:lnTo>
                  <a:pt x="3459773" y="1288700"/>
                </a:lnTo>
                <a:lnTo>
                  <a:pt x="3459626" y="1288446"/>
                </a:lnTo>
                <a:close/>
                <a:moveTo>
                  <a:pt x="3451198" y="1287307"/>
                </a:moveTo>
                <a:lnTo>
                  <a:pt x="3452890" y="1290430"/>
                </a:lnTo>
                <a:lnTo>
                  <a:pt x="3453020" y="1290951"/>
                </a:lnTo>
                <a:lnTo>
                  <a:pt x="3450098" y="1291925"/>
                </a:lnTo>
                <a:close/>
                <a:moveTo>
                  <a:pt x="3196093" y="1287307"/>
                </a:moveTo>
                <a:cubicBezTo>
                  <a:pt x="3188805" y="1289129"/>
                  <a:pt x="3199738" y="1294596"/>
                  <a:pt x="3197916" y="1301885"/>
                </a:cubicBezTo>
                <a:cubicBezTo>
                  <a:pt x="3201560" y="1305529"/>
                  <a:pt x="3207027" y="1301885"/>
                  <a:pt x="3208849" y="1307351"/>
                </a:cubicBezTo>
                <a:cubicBezTo>
                  <a:pt x="3212493" y="1307351"/>
                  <a:pt x="3212493" y="1296418"/>
                  <a:pt x="3212493" y="1292774"/>
                </a:cubicBezTo>
                <a:cubicBezTo>
                  <a:pt x="3208849" y="1290951"/>
                  <a:pt x="3210671" y="1294596"/>
                  <a:pt x="3208849" y="1296418"/>
                </a:cubicBezTo>
                <a:cubicBezTo>
                  <a:pt x="3205204" y="1292774"/>
                  <a:pt x="3199738" y="1290951"/>
                  <a:pt x="3196093" y="1287307"/>
                </a:cubicBezTo>
                <a:close/>
                <a:moveTo>
                  <a:pt x="1793020" y="1287307"/>
                </a:moveTo>
                <a:lnTo>
                  <a:pt x="1794842" y="1292774"/>
                </a:lnTo>
                <a:lnTo>
                  <a:pt x="1807598" y="1296418"/>
                </a:lnTo>
                <a:cubicBezTo>
                  <a:pt x="1803953" y="1292774"/>
                  <a:pt x="1798487" y="1289129"/>
                  <a:pt x="1793020" y="1287307"/>
                </a:cubicBezTo>
                <a:close/>
                <a:moveTo>
                  <a:pt x="1324721" y="1287307"/>
                </a:moveTo>
                <a:cubicBezTo>
                  <a:pt x="1322899" y="1287307"/>
                  <a:pt x="1322899" y="1289129"/>
                  <a:pt x="1322899" y="1289129"/>
                </a:cubicBezTo>
                <a:lnTo>
                  <a:pt x="1326543" y="1289129"/>
                </a:lnTo>
                <a:lnTo>
                  <a:pt x="1324721" y="1292774"/>
                </a:lnTo>
                <a:cubicBezTo>
                  <a:pt x="1324721" y="1294596"/>
                  <a:pt x="1326543" y="1294596"/>
                  <a:pt x="1328365" y="1294596"/>
                </a:cubicBezTo>
                <a:cubicBezTo>
                  <a:pt x="1330188" y="1294596"/>
                  <a:pt x="1328365" y="1292774"/>
                  <a:pt x="1330188" y="1292774"/>
                </a:cubicBezTo>
                <a:lnTo>
                  <a:pt x="1326543" y="1289129"/>
                </a:lnTo>
                <a:close/>
                <a:moveTo>
                  <a:pt x="1315610" y="1287307"/>
                </a:moveTo>
                <a:cubicBezTo>
                  <a:pt x="1313788" y="1289129"/>
                  <a:pt x="1315610" y="1296418"/>
                  <a:pt x="1319254" y="1292774"/>
                </a:cubicBezTo>
                <a:cubicBezTo>
                  <a:pt x="1319254" y="1290951"/>
                  <a:pt x="1321077" y="1289129"/>
                  <a:pt x="1321077" y="1287307"/>
                </a:cubicBezTo>
                <a:cubicBezTo>
                  <a:pt x="1321077" y="1285485"/>
                  <a:pt x="1319254" y="1285485"/>
                  <a:pt x="1317432" y="1287307"/>
                </a:cubicBezTo>
                <a:cubicBezTo>
                  <a:pt x="1317432" y="1289129"/>
                  <a:pt x="1317432" y="1290951"/>
                  <a:pt x="1319254" y="1292774"/>
                </a:cubicBezTo>
                <a:cubicBezTo>
                  <a:pt x="1317432" y="1290951"/>
                  <a:pt x="1317432" y="1287307"/>
                  <a:pt x="1315610" y="1287307"/>
                </a:cubicBezTo>
                <a:close/>
                <a:moveTo>
                  <a:pt x="1158903" y="1287307"/>
                </a:moveTo>
                <a:cubicBezTo>
                  <a:pt x="1158903" y="1287307"/>
                  <a:pt x="1162547" y="1290951"/>
                  <a:pt x="1164370" y="1290951"/>
                </a:cubicBezTo>
                <a:cubicBezTo>
                  <a:pt x="1166192" y="1290951"/>
                  <a:pt x="1164370" y="1289129"/>
                  <a:pt x="1166192" y="1287307"/>
                </a:cubicBezTo>
                <a:cubicBezTo>
                  <a:pt x="1164370" y="1285485"/>
                  <a:pt x="1162547" y="1287307"/>
                  <a:pt x="1158903" y="1287307"/>
                </a:cubicBezTo>
                <a:close/>
                <a:moveTo>
                  <a:pt x="1157081" y="1287307"/>
                </a:moveTo>
                <a:cubicBezTo>
                  <a:pt x="1155259" y="1287307"/>
                  <a:pt x="1155259" y="1289129"/>
                  <a:pt x="1155259" y="1289129"/>
                </a:cubicBezTo>
                <a:cubicBezTo>
                  <a:pt x="1157081" y="1290951"/>
                  <a:pt x="1158903" y="1292774"/>
                  <a:pt x="1160725" y="1290951"/>
                </a:cubicBezTo>
                <a:cubicBezTo>
                  <a:pt x="1158903" y="1289129"/>
                  <a:pt x="1158903" y="1289129"/>
                  <a:pt x="1157081" y="1287307"/>
                </a:cubicBezTo>
                <a:close/>
                <a:moveTo>
                  <a:pt x="623185" y="1287307"/>
                </a:moveTo>
                <a:cubicBezTo>
                  <a:pt x="621362" y="1287307"/>
                  <a:pt x="617717" y="1296418"/>
                  <a:pt x="623185" y="1298240"/>
                </a:cubicBezTo>
                <a:cubicBezTo>
                  <a:pt x="626828" y="1294596"/>
                  <a:pt x="625006" y="1290951"/>
                  <a:pt x="623185" y="1287307"/>
                </a:cubicBezTo>
                <a:close/>
                <a:moveTo>
                  <a:pt x="444611" y="1287307"/>
                </a:moveTo>
                <a:cubicBezTo>
                  <a:pt x="440966" y="1289129"/>
                  <a:pt x="437322" y="1289129"/>
                  <a:pt x="437322" y="1290951"/>
                </a:cubicBezTo>
                <a:cubicBezTo>
                  <a:pt x="439145" y="1296418"/>
                  <a:pt x="446433" y="1294596"/>
                  <a:pt x="450077" y="1292774"/>
                </a:cubicBezTo>
                <a:cubicBezTo>
                  <a:pt x="448256" y="1289129"/>
                  <a:pt x="442789" y="1290951"/>
                  <a:pt x="444611" y="1287307"/>
                </a:cubicBezTo>
                <a:close/>
                <a:moveTo>
                  <a:pt x="1125876" y="1287079"/>
                </a:moveTo>
                <a:lnTo>
                  <a:pt x="1127926" y="1289129"/>
                </a:lnTo>
                <a:lnTo>
                  <a:pt x="1122459" y="1287307"/>
                </a:lnTo>
                <a:lnTo>
                  <a:pt x="1122542" y="1287224"/>
                </a:lnTo>
                <a:close/>
                <a:moveTo>
                  <a:pt x="3298591" y="1286624"/>
                </a:moveTo>
                <a:cubicBezTo>
                  <a:pt x="3296769" y="1286396"/>
                  <a:pt x="3294491" y="1287307"/>
                  <a:pt x="3292669" y="1289129"/>
                </a:cubicBezTo>
                <a:cubicBezTo>
                  <a:pt x="3294491" y="1290951"/>
                  <a:pt x="3294491" y="1290951"/>
                  <a:pt x="3294491" y="1292774"/>
                </a:cubicBezTo>
                <a:cubicBezTo>
                  <a:pt x="3298135" y="1292774"/>
                  <a:pt x="3299957" y="1292774"/>
                  <a:pt x="3301780" y="1290951"/>
                </a:cubicBezTo>
                <a:cubicBezTo>
                  <a:pt x="3301780" y="1288218"/>
                  <a:pt x="3300414" y="1286851"/>
                  <a:pt x="3298591" y="1286624"/>
                </a:cubicBezTo>
                <a:close/>
                <a:moveTo>
                  <a:pt x="2854436" y="1285485"/>
                </a:moveTo>
                <a:cubicBezTo>
                  <a:pt x="2852158" y="1285941"/>
                  <a:pt x="2849880" y="1287307"/>
                  <a:pt x="2849880" y="1289129"/>
                </a:cubicBezTo>
                <a:cubicBezTo>
                  <a:pt x="2853525" y="1289129"/>
                  <a:pt x="2858991" y="1290951"/>
                  <a:pt x="2858991" y="1287307"/>
                </a:cubicBezTo>
                <a:cubicBezTo>
                  <a:pt x="2858991" y="1285485"/>
                  <a:pt x="2856713" y="1285029"/>
                  <a:pt x="2854436" y="1285485"/>
                </a:cubicBezTo>
                <a:close/>
                <a:moveTo>
                  <a:pt x="1907816" y="1285485"/>
                </a:moveTo>
                <a:lnTo>
                  <a:pt x="1907816" y="1289129"/>
                </a:lnTo>
                <a:cubicBezTo>
                  <a:pt x="1909639" y="1289129"/>
                  <a:pt x="1909639" y="1289129"/>
                  <a:pt x="1911461" y="1289129"/>
                </a:cubicBezTo>
                <a:cubicBezTo>
                  <a:pt x="1913283" y="1285485"/>
                  <a:pt x="1905994" y="1287307"/>
                  <a:pt x="1909639" y="1285485"/>
                </a:cubicBezTo>
                <a:cubicBezTo>
                  <a:pt x="1907816" y="1285485"/>
                  <a:pt x="1907816" y="1285485"/>
                  <a:pt x="1907816" y="1285485"/>
                </a:cubicBezTo>
                <a:close/>
                <a:moveTo>
                  <a:pt x="537542" y="1285485"/>
                </a:moveTo>
                <a:cubicBezTo>
                  <a:pt x="537542" y="1289129"/>
                  <a:pt x="533897" y="1290951"/>
                  <a:pt x="532075" y="1292774"/>
                </a:cubicBezTo>
                <a:cubicBezTo>
                  <a:pt x="537542" y="1294596"/>
                  <a:pt x="541186" y="1298240"/>
                  <a:pt x="544830" y="1290951"/>
                </a:cubicBezTo>
                <a:cubicBezTo>
                  <a:pt x="539364" y="1290951"/>
                  <a:pt x="543008" y="1287307"/>
                  <a:pt x="537542" y="1285485"/>
                </a:cubicBezTo>
                <a:close/>
                <a:moveTo>
                  <a:pt x="411812" y="1285485"/>
                </a:moveTo>
                <a:cubicBezTo>
                  <a:pt x="409989" y="1285485"/>
                  <a:pt x="408167" y="1285485"/>
                  <a:pt x="408167" y="1287307"/>
                </a:cubicBezTo>
                <a:cubicBezTo>
                  <a:pt x="422745" y="1303707"/>
                  <a:pt x="424567" y="1301885"/>
                  <a:pt x="411812" y="1285485"/>
                </a:cubicBezTo>
                <a:close/>
                <a:moveTo>
                  <a:pt x="242349" y="1285485"/>
                </a:moveTo>
                <a:cubicBezTo>
                  <a:pt x="240527" y="1287307"/>
                  <a:pt x="247816" y="1289129"/>
                  <a:pt x="247816" y="1289129"/>
                </a:cubicBezTo>
                <a:cubicBezTo>
                  <a:pt x="247816" y="1287307"/>
                  <a:pt x="244172" y="1287307"/>
                  <a:pt x="242349" y="1285485"/>
                </a:cubicBezTo>
                <a:close/>
                <a:moveTo>
                  <a:pt x="1335654" y="1284574"/>
                </a:moveTo>
                <a:lnTo>
                  <a:pt x="1335654" y="1287307"/>
                </a:lnTo>
                <a:lnTo>
                  <a:pt x="1333832" y="1287307"/>
                </a:lnTo>
                <a:close/>
                <a:moveTo>
                  <a:pt x="3365556" y="1283663"/>
                </a:moveTo>
                <a:cubicBezTo>
                  <a:pt x="3356445" y="1287307"/>
                  <a:pt x="3369200" y="1298240"/>
                  <a:pt x="3371022" y="1287307"/>
                </a:cubicBezTo>
                <a:cubicBezTo>
                  <a:pt x="3365556" y="1290951"/>
                  <a:pt x="3365556" y="1285485"/>
                  <a:pt x="3365556" y="1283663"/>
                </a:cubicBezTo>
                <a:close/>
                <a:moveTo>
                  <a:pt x="2472690" y="1283663"/>
                </a:moveTo>
                <a:lnTo>
                  <a:pt x="2456291" y="1290951"/>
                </a:lnTo>
                <a:cubicBezTo>
                  <a:pt x="2456291" y="1292774"/>
                  <a:pt x="2458113" y="1296418"/>
                  <a:pt x="2461757" y="1298240"/>
                </a:cubicBezTo>
                <a:cubicBezTo>
                  <a:pt x="2456291" y="1298240"/>
                  <a:pt x="2454469" y="1294596"/>
                  <a:pt x="2454469" y="1290951"/>
                </a:cubicBezTo>
                <a:lnTo>
                  <a:pt x="2450824" y="1292774"/>
                </a:lnTo>
                <a:cubicBezTo>
                  <a:pt x="2445358" y="1285485"/>
                  <a:pt x="2454469" y="1285485"/>
                  <a:pt x="2449002" y="1285485"/>
                </a:cubicBezTo>
                <a:cubicBezTo>
                  <a:pt x="2449002" y="1285485"/>
                  <a:pt x="2447180" y="1285485"/>
                  <a:pt x="2447180" y="1285485"/>
                </a:cubicBezTo>
                <a:cubicBezTo>
                  <a:pt x="2445358" y="1285485"/>
                  <a:pt x="2441713" y="1285485"/>
                  <a:pt x="2436247" y="1285485"/>
                </a:cubicBezTo>
                <a:lnTo>
                  <a:pt x="2414381" y="1285485"/>
                </a:lnTo>
                <a:lnTo>
                  <a:pt x="2414381" y="1292774"/>
                </a:lnTo>
                <a:lnTo>
                  <a:pt x="2435194" y="1301446"/>
                </a:lnTo>
                <a:lnTo>
                  <a:pt x="2435629" y="1302228"/>
                </a:lnTo>
                <a:lnTo>
                  <a:pt x="2419847" y="1310995"/>
                </a:lnTo>
                <a:lnTo>
                  <a:pt x="2434425" y="1323751"/>
                </a:lnTo>
                <a:cubicBezTo>
                  <a:pt x="2432603" y="1320106"/>
                  <a:pt x="2430780" y="1318284"/>
                  <a:pt x="2428958" y="1316462"/>
                </a:cubicBezTo>
                <a:cubicBezTo>
                  <a:pt x="2432603" y="1314640"/>
                  <a:pt x="2434425" y="1320106"/>
                  <a:pt x="2438069" y="1320106"/>
                </a:cubicBezTo>
                <a:lnTo>
                  <a:pt x="2443536" y="1316462"/>
                </a:lnTo>
                <a:lnTo>
                  <a:pt x="2435629" y="1302228"/>
                </a:lnTo>
                <a:lnTo>
                  <a:pt x="2436247" y="1301885"/>
                </a:lnTo>
                <a:lnTo>
                  <a:pt x="2435194" y="1301446"/>
                </a:lnTo>
                <a:lnTo>
                  <a:pt x="2434425" y="1300062"/>
                </a:lnTo>
                <a:lnTo>
                  <a:pt x="2472690" y="1300062"/>
                </a:lnTo>
                <a:close/>
                <a:moveTo>
                  <a:pt x="1335654" y="1283663"/>
                </a:moveTo>
                <a:lnTo>
                  <a:pt x="1336261" y="1283663"/>
                </a:lnTo>
                <a:lnTo>
                  <a:pt x="1335654" y="1284574"/>
                </a:lnTo>
                <a:close/>
                <a:moveTo>
                  <a:pt x="1297388" y="1283663"/>
                </a:moveTo>
                <a:cubicBezTo>
                  <a:pt x="1293744" y="1285485"/>
                  <a:pt x="1299210" y="1285485"/>
                  <a:pt x="1299210" y="1287307"/>
                </a:cubicBezTo>
                <a:cubicBezTo>
                  <a:pt x="1299210" y="1285485"/>
                  <a:pt x="1297388" y="1285485"/>
                  <a:pt x="1297388" y="1283663"/>
                </a:cubicBezTo>
                <a:close/>
                <a:moveTo>
                  <a:pt x="1257300" y="1283663"/>
                </a:moveTo>
                <a:cubicBezTo>
                  <a:pt x="1255478" y="1285485"/>
                  <a:pt x="1259123" y="1287307"/>
                  <a:pt x="1259123" y="1287307"/>
                </a:cubicBezTo>
                <a:cubicBezTo>
                  <a:pt x="1255478" y="1285485"/>
                  <a:pt x="1253656" y="1290951"/>
                  <a:pt x="1253656" y="1294596"/>
                </a:cubicBezTo>
                <a:cubicBezTo>
                  <a:pt x="1262767" y="1298240"/>
                  <a:pt x="1271878" y="1292774"/>
                  <a:pt x="1280989" y="1290951"/>
                </a:cubicBezTo>
                <a:cubicBezTo>
                  <a:pt x="1277344" y="1285485"/>
                  <a:pt x="1264589" y="1281841"/>
                  <a:pt x="1257300" y="1283663"/>
                </a:cubicBezTo>
                <a:close/>
                <a:moveTo>
                  <a:pt x="1129748" y="1283663"/>
                </a:moveTo>
                <a:cubicBezTo>
                  <a:pt x="1127926" y="1289129"/>
                  <a:pt x="1135215" y="1289129"/>
                  <a:pt x="1140681" y="1290951"/>
                </a:cubicBezTo>
                <a:cubicBezTo>
                  <a:pt x="1138859" y="1285485"/>
                  <a:pt x="1133393" y="1283663"/>
                  <a:pt x="1129748" y="1283663"/>
                </a:cubicBezTo>
                <a:close/>
                <a:moveTo>
                  <a:pt x="1126104" y="1283663"/>
                </a:moveTo>
                <a:lnTo>
                  <a:pt x="1122542" y="1287224"/>
                </a:lnTo>
                <a:lnTo>
                  <a:pt x="1120637" y="1287307"/>
                </a:lnTo>
                <a:cubicBezTo>
                  <a:pt x="1122459" y="1289129"/>
                  <a:pt x="1124282" y="1290951"/>
                  <a:pt x="1126104" y="1290951"/>
                </a:cubicBezTo>
                <a:cubicBezTo>
                  <a:pt x="1126104" y="1294596"/>
                  <a:pt x="1122459" y="1290951"/>
                  <a:pt x="1120637" y="1292774"/>
                </a:cubicBezTo>
                <a:cubicBezTo>
                  <a:pt x="1118815" y="1298240"/>
                  <a:pt x="1122459" y="1305529"/>
                  <a:pt x="1127926" y="1307351"/>
                </a:cubicBezTo>
                <a:cubicBezTo>
                  <a:pt x="1127926" y="1303707"/>
                  <a:pt x="1126104" y="1301885"/>
                  <a:pt x="1126104" y="1298240"/>
                </a:cubicBezTo>
                <a:cubicBezTo>
                  <a:pt x="1129748" y="1298240"/>
                  <a:pt x="1127926" y="1309173"/>
                  <a:pt x="1129748" y="1307351"/>
                </a:cubicBezTo>
                <a:cubicBezTo>
                  <a:pt x="1129748" y="1307351"/>
                  <a:pt x="1127926" y="1309173"/>
                  <a:pt x="1127926" y="1309173"/>
                </a:cubicBezTo>
                <a:lnTo>
                  <a:pt x="1128653" y="1312695"/>
                </a:lnTo>
                <a:lnTo>
                  <a:pt x="1126104" y="1310995"/>
                </a:lnTo>
                <a:cubicBezTo>
                  <a:pt x="1124282" y="1309173"/>
                  <a:pt x="1124282" y="1303707"/>
                  <a:pt x="1120637" y="1301885"/>
                </a:cubicBezTo>
                <a:cubicBezTo>
                  <a:pt x="1120637" y="1307351"/>
                  <a:pt x="1118815" y="1310995"/>
                  <a:pt x="1120637" y="1316462"/>
                </a:cubicBezTo>
                <a:cubicBezTo>
                  <a:pt x="1118815" y="1320106"/>
                  <a:pt x="1120637" y="1323751"/>
                  <a:pt x="1118815" y="1325573"/>
                </a:cubicBezTo>
                <a:cubicBezTo>
                  <a:pt x="1120637" y="1329217"/>
                  <a:pt x="1122459" y="1329217"/>
                  <a:pt x="1118815" y="1331039"/>
                </a:cubicBezTo>
                <a:cubicBezTo>
                  <a:pt x="1118815" y="1343795"/>
                  <a:pt x="1124282" y="1354728"/>
                  <a:pt x="1131570" y="1367483"/>
                </a:cubicBezTo>
                <a:cubicBezTo>
                  <a:pt x="1127926" y="1372949"/>
                  <a:pt x="1137037" y="1382060"/>
                  <a:pt x="1135215" y="1389349"/>
                </a:cubicBezTo>
                <a:cubicBezTo>
                  <a:pt x="1140681" y="1380238"/>
                  <a:pt x="1146148" y="1362016"/>
                  <a:pt x="1140681" y="1354728"/>
                </a:cubicBezTo>
                <a:lnTo>
                  <a:pt x="1136855" y="1350901"/>
                </a:lnTo>
                <a:lnTo>
                  <a:pt x="1138859" y="1351083"/>
                </a:lnTo>
                <a:cubicBezTo>
                  <a:pt x="1137037" y="1341972"/>
                  <a:pt x="1127926" y="1340150"/>
                  <a:pt x="1122459" y="1329217"/>
                </a:cubicBezTo>
                <a:cubicBezTo>
                  <a:pt x="1126104" y="1331039"/>
                  <a:pt x="1131570" y="1338328"/>
                  <a:pt x="1135215" y="1340150"/>
                </a:cubicBezTo>
                <a:lnTo>
                  <a:pt x="1135104" y="1337217"/>
                </a:lnTo>
                <a:lnTo>
                  <a:pt x="1140681" y="1351083"/>
                </a:lnTo>
                <a:cubicBezTo>
                  <a:pt x="1140681" y="1343795"/>
                  <a:pt x="1144326" y="1334684"/>
                  <a:pt x="1144326" y="1325573"/>
                </a:cubicBezTo>
                <a:cubicBezTo>
                  <a:pt x="1140681" y="1325573"/>
                  <a:pt x="1138859" y="1331039"/>
                  <a:pt x="1135215" y="1332862"/>
                </a:cubicBezTo>
                <a:cubicBezTo>
                  <a:pt x="1133393" y="1331039"/>
                  <a:pt x="1140681" y="1327395"/>
                  <a:pt x="1135215" y="1327395"/>
                </a:cubicBezTo>
                <a:cubicBezTo>
                  <a:pt x="1137037" y="1325573"/>
                  <a:pt x="1138859" y="1325573"/>
                  <a:pt x="1138859" y="1327395"/>
                </a:cubicBezTo>
                <a:lnTo>
                  <a:pt x="1141774" y="1316860"/>
                </a:lnTo>
                <a:lnTo>
                  <a:pt x="1142503" y="1318284"/>
                </a:lnTo>
                <a:cubicBezTo>
                  <a:pt x="1144326" y="1312818"/>
                  <a:pt x="1144326" y="1309173"/>
                  <a:pt x="1147970" y="1303707"/>
                </a:cubicBezTo>
                <a:cubicBezTo>
                  <a:pt x="1146148" y="1300062"/>
                  <a:pt x="1144326" y="1305529"/>
                  <a:pt x="1140681" y="1305529"/>
                </a:cubicBezTo>
                <a:cubicBezTo>
                  <a:pt x="1147970" y="1301885"/>
                  <a:pt x="1151614" y="1294596"/>
                  <a:pt x="1147970" y="1289129"/>
                </a:cubicBezTo>
                <a:cubicBezTo>
                  <a:pt x="1146148" y="1289129"/>
                  <a:pt x="1144326" y="1292774"/>
                  <a:pt x="1144326" y="1292774"/>
                </a:cubicBezTo>
                <a:cubicBezTo>
                  <a:pt x="1142503" y="1294596"/>
                  <a:pt x="1140681" y="1292774"/>
                  <a:pt x="1142503" y="1290951"/>
                </a:cubicBezTo>
                <a:lnTo>
                  <a:pt x="1137037" y="1296418"/>
                </a:lnTo>
                <a:lnTo>
                  <a:pt x="1133393" y="1294596"/>
                </a:lnTo>
                <a:cubicBezTo>
                  <a:pt x="1131570" y="1296418"/>
                  <a:pt x="1131570" y="1296418"/>
                  <a:pt x="1133393" y="1298240"/>
                </a:cubicBezTo>
                <a:cubicBezTo>
                  <a:pt x="1131570" y="1298240"/>
                  <a:pt x="1131570" y="1290951"/>
                  <a:pt x="1127926" y="1292774"/>
                </a:cubicBezTo>
                <a:cubicBezTo>
                  <a:pt x="1127926" y="1290951"/>
                  <a:pt x="1129748" y="1292774"/>
                  <a:pt x="1129748" y="1290951"/>
                </a:cubicBezTo>
                <a:lnTo>
                  <a:pt x="1127926" y="1289129"/>
                </a:lnTo>
                <a:cubicBezTo>
                  <a:pt x="1127926" y="1287307"/>
                  <a:pt x="1127926" y="1285485"/>
                  <a:pt x="1126104" y="1283663"/>
                </a:cubicBezTo>
                <a:close/>
                <a:moveTo>
                  <a:pt x="1104921" y="1283663"/>
                </a:moveTo>
                <a:cubicBezTo>
                  <a:pt x="1102416" y="1283663"/>
                  <a:pt x="1099683" y="1284574"/>
                  <a:pt x="1096949" y="1285485"/>
                </a:cubicBezTo>
                <a:cubicBezTo>
                  <a:pt x="1098771" y="1289129"/>
                  <a:pt x="1098771" y="1290951"/>
                  <a:pt x="1100593" y="1292774"/>
                </a:cubicBezTo>
                <a:cubicBezTo>
                  <a:pt x="1102416" y="1290951"/>
                  <a:pt x="1106060" y="1298240"/>
                  <a:pt x="1109704" y="1296418"/>
                </a:cubicBezTo>
                <a:cubicBezTo>
                  <a:pt x="1111526" y="1294596"/>
                  <a:pt x="1111526" y="1290951"/>
                  <a:pt x="1111526" y="1287307"/>
                </a:cubicBezTo>
                <a:cubicBezTo>
                  <a:pt x="1109704" y="1284574"/>
                  <a:pt x="1107426" y="1283663"/>
                  <a:pt x="1104921" y="1283663"/>
                </a:cubicBezTo>
                <a:close/>
                <a:moveTo>
                  <a:pt x="719759" y="1283663"/>
                </a:moveTo>
                <a:cubicBezTo>
                  <a:pt x="717937" y="1285485"/>
                  <a:pt x="723404" y="1294596"/>
                  <a:pt x="727048" y="1289129"/>
                </a:cubicBezTo>
                <a:cubicBezTo>
                  <a:pt x="725226" y="1289129"/>
                  <a:pt x="723404" y="1287307"/>
                  <a:pt x="725226" y="1285485"/>
                </a:cubicBezTo>
                <a:cubicBezTo>
                  <a:pt x="723404" y="1283663"/>
                  <a:pt x="721581" y="1285485"/>
                  <a:pt x="719759" y="1283663"/>
                </a:cubicBezTo>
                <a:close/>
                <a:moveTo>
                  <a:pt x="630472" y="1283663"/>
                </a:moveTo>
                <a:cubicBezTo>
                  <a:pt x="626828" y="1287307"/>
                  <a:pt x="634117" y="1290951"/>
                  <a:pt x="637761" y="1292774"/>
                </a:cubicBezTo>
                <a:cubicBezTo>
                  <a:pt x="637761" y="1285485"/>
                  <a:pt x="632296" y="1289129"/>
                  <a:pt x="630472" y="1283663"/>
                </a:cubicBezTo>
                <a:close/>
                <a:moveTo>
                  <a:pt x="614074" y="1283663"/>
                </a:moveTo>
                <a:cubicBezTo>
                  <a:pt x="608606" y="1287307"/>
                  <a:pt x="606784" y="1296418"/>
                  <a:pt x="614074" y="1303707"/>
                </a:cubicBezTo>
                <a:cubicBezTo>
                  <a:pt x="615895" y="1301885"/>
                  <a:pt x="615895" y="1298240"/>
                  <a:pt x="612251" y="1296418"/>
                </a:cubicBezTo>
                <a:cubicBezTo>
                  <a:pt x="615895" y="1292774"/>
                  <a:pt x="615895" y="1285485"/>
                  <a:pt x="614074" y="1283663"/>
                </a:cubicBezTo>
                <a:close/>
                <a:moveTo>
                  <a:pt x="533897" y="1283663"/>
                </a:moveTo>
                <a:cubicBezTo>
                  <a:pt x="532075" y="1281841"/>
                  <a:pt x="530253" y="1287307"/>
                  <a:pt x="528431" y="1287307"/>
                </a:cubicBezTo>
                <a:cubicBezTo>
                  <a:pt x="530253" y="1289129"/>
                  <a:pt x="530253" y="1285485"/>
                  <a:pt x="533897" y="1283663"/>
                </a:cubicBezTo>
                <a:close/>
                <a:moveTo>
                  <a:pt x="481054" y="1283663"/>
                </a:moveTo>
                <a:cubicBezTo>
                  <a:pt x="482876" y="1290951"/>
                  <a:pt x="488343" y="1290951"/>
                  <a:pt x="491987" y="1289129"/>
                </a:cubicBezTo>
                <a:cubicBezTo>
                  <a:pt x="490165" y="1285485"/>
                  <a:pt x="484700" y="1283663"/>
                  <a:pt x="481054" y="1283663"/>
                </a:cubicBezTo>
                <a:close/>
                <a:moveTo>
                  <a:pt x="321386" y="1282296"/>
                </a:moveTo>
                <a:cubicBezTo>
                  <a:pt x="317970" y="1283663"/>
                  <a:pt x="315236" y="1286396"/>
                  <a:pt x="313414" y="1289129"/>
                </a:cubicBezTo>
                <a:cubicBezTo>
                  <a:pt x="316147" y="1289129"/>
                  <a:pt x="319336" y="1290040"/>
                  <a:pt x="321841" y="1290724"/>
                </a:cubicBezTo>
                <a:lnTo>
                  <a:pt x="324459" y="1290861"/>
                </a:lnTo>
                <a:lnTo>
                  <a:pt x="324347" y="1290951"/>
                </a:lnTo>
                <a:cubicBezTo>
                  <a:pt x="326169" y="1290951"/>
                  <a:pt x="326169" y="1290951"/>
                  <a:pt x="326169" y="1290951"/>
                </a:cubicBezTo>
                <a:lnTo>
                  <a:pt x="324459" y="1290861"/>
                </a:lnTo>
                <a:lnTo>
                  <a:pt x="333458" y="1283663"/>
                </a:lnTo>
                <a:cubicBezTo>
                  <a:pt x="328903" y="1280929"/>
                  <a:pt x="324803" y="1280929"/>
                  <a:pt x="321386" y="1282296"/>
                </a:cubicBezTo>
                <a:close/>
                <a:moveTo>
                  <a:pt x="3349156" y="1281841"/>
                </a:moveTo>
                <a:cubicBezTo>
                  <a:pt x="3347334" y="1285485"/>
                  <a:pt x="3347334" y="1289129"/>
                  <a:pt x="3350978" y="1290951"/>
                </a:cubicBezTo>
                <a:cubicBezTo>
                  <a:pt x="3352800" y="1294596"/>
                  <a:pt x="3345512" y="1294596"/>
                  <a:pt x="3347334" y="1296418"/>
                </a:cubicBezTo>
                <a:cubicBezTo>
                  <a:pt x="3349156" y="1300062"/>
                  <a:pt x="3354623" y="1298240"/>
                  <a:pt x="3358267" y="1296418"/>
                </a:cubicBezTo>
                <a:cubicBezTo>
                  <a:pt x="3352800" y="1292774"/>
                  <a:pt x="3358267" y="1285485"/>
                  <a:pt x="3352800" y="1281841"/>
                </a:cubicBezTo>
                <a:cubicBezTo>
                  <a:pt x="3352800" y="1281841"/>
                  <a:pt x="3349156" y="1283663"/>
                  <a:pt x="3349156" y="1281841"/>
                </a:cubicBezTo>
                <a:close/>
                <a:moveTo>
                  <a:pt x="3228893" y="1281841"/>
                </a:moveTo>
                <a:cubicBezTo>
                  <a:pt x="3227071" y="1283663"/>
                  <a:pt x="3232537" y="1290951"/>
                  <a:pt x="3236181" y="1292774"/>
                </a:cubicBezTo>
                <a:cubicBezTo>
                  <a:pt x="3236181" y="1287307"/>
                  <a:pt x="3236181" y="1285485"/>
                  <a:pt x="3234359" y="1281841"/>
                </a:cubicBezTo>
                <a:cubicBezTo>
                  <a:pt x="3232537" y="1281841"/>
                  <a:pt x="3228893" y="1283663"/>
                  <a:pt x="3228893" y="1281841"/>
                </a:cubicBezTo>
                <a:close/>
                <a:moveTo>
                  <a:pt x="3139606" y="1281841"/>
                </a:moveTo>
                <a:cubicBezTo>
                  <a:pt x="3135962" y="1281841"/>
                  <a:pt x="3137784" y="1287307"/>
                  <a:pt x="3137784" y="1289129"/>
                </a:cubicBezTo>
                <a:cubicBezTo>
                  <a:pt x="3143250" y="1287307"/>
                  <a:pt x="3146895" y="1290951"/>
                  <a:pt x="3150539" y="1294596"/>
                </a:cubicBezTo>
                <a:cubicBezTo>
                  <a:pt x="3157828" y="1289129"/>
                  <a:pt x="3141428" y="1287307"/>
                  <a:pt x="3139606" y="1281841"/>
                </a:cubicBezTo>
                <a:close/>
                <a:moveTo>
                  <a:pt x="2616642" y="1281841"/>
                </a:moveTo>
                <a:lnTo>
                  <a:pt x="2614820" y="1285485"/>
                </a:lnTo>
                <a:cubicBezTo>
                  <a:pt x="2614820" y="1285485"/>
                  <a:pt x="2614820" y="1285485"/>
                  <a:pt x="2616642" y="1285485"/>
                </a:cubicBezTo>
                <a:cubicBezTo>
                  <a:pt x="2616642" y="1283663"/>
                  <a:pt x="2616642" y="1281841"/>
                  <a:pt x="2616642" y="1281841"/>
                </a:cubicBezTo>
                <a:close/>
                <a:moveTo>
                  <a:pt x="1182592" y="1281841"/>
                </a:moveTo>
                <a:cubicBezTo>
                  <a:pt x="1191703" y="1300062"/>
                  <a:pt x="1204457" y="1292774"/>
                  <a:pt x="1215390" y="1294596"/>
                </a:cubicBezTo>
                <a:cubicBezTo>
                  <a:pt x="1206279" y="1289129"/>
                  <a:pt x="1193525" y="1276374"/>
                  <a:pt x="1182592" y="1281841"/>
                </a:cubicBezTo>
                <a:close/>
                <a:moveTo>
                  <a:pt x="665094" y="1281841"/>
                </a:moveTo>
                <a:cubicBezTo>
                  <a:pt x="663272" y="1283663"/>
                  <a:pt x="665094" y="1290951"/>
                  <a:pt x="666916" y="1290951"/>
                </a:cubicBezTo>
                <a:cubicBezTo>
                  <a:pt x="668738" y="1289129"/>
                  <a:pt x="668738" y="1289129"/>
                  <a:pt x="670560" y="1287307"/>
                </a:cubicBezTo>
                <a:cubicBezTo>
                  <a:pt x="668738" y="1285485"/>
                  <a:pt x="666916" y="1283663"/>
                  <a:pt x="665094" y="1281841"/>
                </a:cubicBezTo>
                <a:close/>
                <a:moveTo>
                  <a:pt x="544830" y="1281841"/>
                </a:moveTo>
                <a:cubicBezTo>
                  <a:pt x="543008" y="1283663"/>
                  <a:pt x="550297" y="1285485"/>
                  <a:pt x="544830" y="1287307"/>
                </a:cubicBezTo>
                <a:cubicBezTo>
                  <a:pt x="548475" y="1289129"/>
                  <a:pt x="552119" y="1289129"/>
                  <a:pt x="552119" y="1287307"/>
                </a:cubicBezTo>
                <a:cubicBezTo>
                  <a:pt x="550297" y="1285485"/>
                  <a:pt x="548475" y="1283663"/>
                  <a:pt x="550297" y="1281841"/>
                </a:cubicBezTo>
                <a:cubicBezTo>
                  <a:pt x="548475" y="1281841"/>
                  <a:pt x="546653" y="1283663"/>
                  <a:pt x="544830" y="1281841"/>
                </a:cubicBezTo>
                <a:close/>
                <a:moveTo>
                  <a:pt x="411812" y="1281841"/>
                </a:moveTo>
                <a:cubicBezTo>
                  <a:pt x="411812" y="1285485"/>
                  <a:pt x="415456" y="1289129"/>
                  <a:pt x="417278" y="1283663"/>
                </a:cubicBezTo>
                <a:cubicBezTo>
                  <a:pt x="415456" y="1283663"/>
                  <a:pt x="413634" y="1283663"/>
                  <a:pt x="411812" y="1281841"/>
                </a:cubicBezTo>
                <a:close/>
                <a:moveTo>
                  <a:pt x="707459" y="1280930"/>
                </a:moveTo>
                <a:cubicBezTo>
                  <a:pt x="703815" y="1279107"/>
                  <a:pt x="699715" y="1279107"/>
                  <a:pt x="696071" y="1283663"/>
                </a:cubicBezTo>
                <a:cubicBezTo>
                  <a:pt x="694249" y="1283663"/>
                  <a:pt x="692426" y="1283663"/>
                  <a:pt x="690604" y="1283663"/>
                </a:cubicBezTo>
                <a:cubicBezTo>
                  <a:pt x="688782" y="1294596"/>
                  <a:pt x="701537" y="1289129"/>
                  <a:pt x="707004" y="1292774"/>
                </a:cubicBezTo>
                <a:cubicBezTo>
                  <a:pt x="705182" y="1290951"/>
                  <a:pt x="703359" y="1289129"/>
                  <a:pt x="701537" y="1287307"/>
                </a:cubicBezTo>
                <a:cubicBezTo>
                  <a:pt x="707004" y="1292774"/>
                  <a:pt x="712470" y="1287307"/>
                  <a:pt x="716115" y="1289129"/>
                </a:cubicBezTo>
                <a:cubicBezTo>
                  <a:pt x="714293" y="1286396"/>
                  <a:pt x="711103" y="1282752"/>
                  <a:pt x="707459" y="1280930"/>
                </a:cubicBezTo>
                <a:close/>
                <a:moveTo>
                  <a:pt x="1284633" y="1280018"/>
                </a:moveTo>
                <a:cubicBezTo>
                  <a:pt x="1284633" y="1280018"/>
                  <a:pt x="1282811" y="1281841"/>
                  <a:pt x="1282811" y="1281841"/>
                </a:cubicBezTo>
                <a:cubicBezTo>
                  <a:pt x="1284633" y="1285485"/>
                  <a:pt x="1288277" y="1287307"/>
                  <a:pt x="1290100" y="1285485"/>
                </a:cubicBezTo>
                <a:cubicBezTo>
                  <a:pt x="1288277" y="1281841"/>
                  <a:pt x="1286455" y="1283663"/>
                  <a:pt x="1284633" y="1280018"/>
                </a:cubicBezTo>
                <a:close/>
                <a:moveTo>
                  <a:pt x="1250012" y="1280018"/>
                </a:moveTo>
                <a:cubicBezTo>
                  <a:pt x="1248189" y="1281841"/>
                  <a:pt x="1246367" y="1281841"/>
                  <a:pt x="1246367" y="1283663"/>
                </a:cubicBezTo>
                <a:cubicBezTo>
                  <a:pt x="1246367" y="1283663"/>
                  <a:pt x="1248189" y="1283663"/>
                  <a:pt x="1248189" y="1285485"/>
                </a:cubicBezTo>
                <a:cubicBezTo>
                  <a:pt x="1251834" y="1283663"/>
                  <a:pt x="1251834" y="1281841"/>
                  <a:pt x="1250012" y="1280018"/>
                </a:cubicBezTo>
                <a:close/>
                <a:moveTo>
                  <a:pt x="1175303" y="1280018"/>
                </a:moveTo>
                <a:cubicBezTo>
                  <a:pt x="1173481" y="1285485"/>
                  <a:pt x="1173481" y="1285485"/>
                  <a:pt x="1168014" y="1285485"/>
                </a:cubicBezTo>
                <a:cubicBezTo>
                  <a:pt x="1173481" y="1287307"/>
                  <a:pt x="1178947" y="1290951"/>
                  <a:pt x="1184414" y="1289129"/>
                </a:cubicBezTo>
                <a:cubicBezTo>
                  <a:pt x="1182592" y="1285485"/>
                  <a:pt x="1178947" y="1280018"/>
                  <a:pt x="1175303" y="1280018"/>
                </a:cubicBezTo>
                <a:close/>
                <a:moveTo>
                  <a:pt x="1107882" y="1280018"/>
                </a:moveTo>
                <a:cubicBezTo>
                  <a:pt x="1106060" y="1280018"/>
                  <a:pt x="1106060" y="1281841"/>
                  <a:pt x="1104238" y="1281841"/>
                </a:cubicBezTo>
                <a:cubicBezTo>
                  <a:pt x="1106060" y="1283663"/>
                  <a:pt x="1106060" y="1281841"/>
                  <a:pt x="1107882" y="1283663"/>
                </a:cubicBezTo>
                <a:cubicBezTo>
                  <a:pt x="1107882" y="1281841"/>
                  <a:pt x="1106060" y="1280018"/>
                  <a:pt x="1107882" y="1280018"/>
                </a:cubicBezTo>
                <a:close/>
                <a:moveTo>
                  <a:pt x="745269" y="1280018"/>
                </a:moveTo>
                <a:cubicBezTo>
                  <a:pt x="743447" y="1281841"/>
                  <a:pt x="748914" y="1281841"/>
                  <a:pt x="748914" y="1283663"/>
                </a:cubicBezTo>
                <a:cubicBezTo>
                  <a:pt x="750737" y="1280018"/>
                  <a:pt x="747092" y="1281841"/>
                  <a:pt x="745269" y="1280018"/>
                </a:cubicBezTo>
                <a:close/>
                <a:moveTo>
                  <a:pt x="3168779" y="1279823"/>
                </a:moveTo>
                <a:lnTo>
                  <a:pt x="3168971" y="1280026"/>
                </a:lnTo>
                <a:lnTo>
                  <a:pt x="3168761" y="1280018"/>
                </a:lnTo>
                <a:close/>
                <a:moveTo>
                  <a:pt x="1330002" y="1278909"/>
                </a:moveTo>
                <a:lnTo>
                  <a:pt x="1330188" y="1280018"/>
                </a:lnTo>
                <a:lnTo>
                  <a:pt x="1329708" y="1279174"/>
                </a:lnTo>
                <a:close/>
                <a:moveTo>
                  <a:pt x="426617" y="1278879"/>
                </a:moveTo>
                <a:cubicBezTo>
                  <a:pt x="425022" y="1279107"/>
                  <a:pt x="423656" y="1280019"/>
                  <a:pt x="424567" y="1281841"/>
                </a:cubicBezTo>
                <a:cubicBezTo>
                  <a:pt x="428211" y="1283663"/>
                  <a:pt x="428211" y="1278196"/>
                  <a:pt x="430034" y="1280018"/>
                </a:cubicBezTo>
                <a:cubicBezTo>
                  <a:pt x="430034" y="1279107"/>
                  <a:pt x="428211" y="1278651"/>
                  <a:pt x="426617" y="1278879"/>
                </a:cubicBezTo>
                <a:close/>
                <a:moveTo>
                  <a:pt x="3192449" y="1278196"/>
                </a:moveTo>
                <a:cubicBezTo>
                  <a:pt x="3192449" y="1280018"/>
                  <a:pt x="3192449" y="1283663"/>
                  <a:pt x="3192449" y="1285485"/>
                </a:cubicBezTo>
                <a:cubicBezTo>
                  <a:pt x="3199738" y="1290951"/>
                  <a:pt x="3203382" y="1283663"/>
                  <a:pt x="3208849" y="1285485"/>
                </a:cubicBezTo>
                <a:cubicBezTo>
                  <a:pt x="3208849" y="1281841"/>
                  <a:pt x="3199738" y="1272730"/>
                  <a:pt x="3199738" y="1281841"/>
                </a:cubicBezTo>
                <a:cubicBezTo>
                  <a:pt x="3196093" y="1280018"/>
                  <a:pt x="3197916" y="1276374"/>
                  <a:pt x="3192449" y="1278196"/>
                </a:cubicBezTo>
                <a:close/>
                <a:moveTo>
                  <a:pt x="2971966" y="1278196"/>
                </a:moveTo>
                <a:lnTo>
                  <a:pt x="2973788" y="1283663"/>
                </a:lnTo>
                <a:cubicBezTo>
                  <a:pt x="2970144" y="1283663"/>
                  <a:pt x="2971966" y="1278196"/>
                  <a:pt x="2966500" y="1281841"/>
                </a:cubicBezTo>
                <a:close/>
                <a:moveTo>
                  <a:pt x="1127926" y="1278196"/>
                </a:moveTo>
                <a:cubicBezTo>
                  <a:pt x="1126104" y="1278196"/>
                  <a:pt x="1122459" y="1278196"/>
                  <a:pt x="1122459" y="1280018"/>
                </a:cubicBezTo>
                <a:cubicBezTo>
                  <a:pt x="1126104" y="1281841"/>
                  <a:pt x="1124282" y="1278196"/>
                  <a:pt x="1127926" y="1278196"/>
                </a:cubicBezTo>
                <a:close/>
                <a:moveTo>
                  <a:pt x="752558" y="1278196"/>
                </a:moveTo>
                <a:cubicBezTo>
                  <a:pt x="745269" y="1278196"/>
                  <a:pt x="747092" y="1278196"/>
                  <a:pt x="750737" y="1281841"/>
                </a:cubicBezTo>
                <a:cubicBezTo>
                  <a:pt x="754380" y="1280018"/>
                  <a:pt x="752558" y="1280018"/>
                  <a:pt x="752558" y="1278196"/>
                </a:cubicBezTo>
                <a:close/>
                <a:moveTo>
                  <a:pt x="588562" y="1278196"/>
                </a:moveTo>
                <a:cubicBezTo>
                  <a:pt x="584919" y="1278196"/>
                  <a:pt x="583096" y="1281841"/>
                  <a:pt x="579452" y="1285485"/>
                </a:cubicBezTo>
                <a:cubicBezTo>
                  <a:pt x="584919" y="1289129"/>
                  <a:pt x="588562" y="1283663"/>
                  <a:pt x="592207" y="1285485"/>
                </a:cubicBezTo>
                <a:cubicBezTo>
                  <a:pt x="594030" y="1283663"/>
                  <a:pt x="590385" y="1280018"/>
                  <a:pt x="588562" y="1278196"/>
                </a:cubicBezTo>
                <a:close/>
                <a:moveTo>
                  <a:pt x="448256" y="1278196"/>
                </a:moveTo>
                <a:cubicBezTo>
                  <a:pt x="446433" y="1276374"/>
                  <a:pt x="444611" y="1281841"/>
                  <a:pt x="442789" y="1281841"/>
                </a:cubicBezTo>
                <a:cubicBezTo>
                  <a:pt x="444611" y="1283663"/>
                  <a:pt x="448256" y="1280018"/>
                  <a:pt x="448256" y="1278196"/>
                </a:cubicBezTo>
                <a:close/>
                <a:moveTo>
                  <a:pt x="3075830" y="1276374"/>
                </a:moveTo>
                <a:cubicBezTo>
                  <a:pt x="3070363" y="1276374"/>
                  <a:pt x="3070363" y="1278196"/>
                  <a:pt x="3068541" y="1281841"/>
                </a:cubicBezTo>
                <a:cubicBezTo>
                  <a:pt x="3064897" y="1283663"/>
                  <a:pt x="3072186" y="1278196"/>
                  <a:pt x="3077652" y="1281841"/>
                </a:cubicBezTo>
                <a:cubicBezTo>
                  <a:pt x="3077652" y="1278196"/>
                  <a:pt x="3075830" y="1278196"/>
                  <a:pt x="3075830" y="1276374"/>
                </a:cubicBezTo>
                <a:close/>
                <a:moveTo>
                  <a:pt x="2906368" y="1276374"/>
                </a:moveTo>
                <a:cubicBezTo>
                  <a:pt x="2904546" y="1278196"/>
                  <a:pt x="2908190" y="1283663"/>
                  <a:pt x="2911834" y="1283663"/>
                </a:cubicBezTo>
                <a:cubicBezTo>
                  <a:pt x="2911834" y="1278196"/>
                  <a:pt x="2908190" y="1278196"/>
                  <a:pt x="2906368" y="1276374"/>
                </a:cubicBezTo>
                <a:close/>
                <a:moveTo>
                  <a:pt x="1293744" y="1276374"/>
                </a:moveTo>
                <a:cubicBezTo>
                  <a:pt x="1291922" y="1276374"/>
                  <a:pt x="1291922" y="1278196"/>
                  <a:pt x="1290100" y="1278196"/>
                </a:cubicBezTo>
                <a:cubicBezTo>
                  <a:pt x="1293744" y="1280018"/>
                  <a:pt x="1295566" y="1280018"/>
                  <a:pt x="1297388" y="1281841"/>
                </a:cubicBezTo>
                <a:cubicBezTo>
                  <a:pt x="1299210" y="1280018"/>
                  <a:pt x="1295566" y="1278196"/>
                  <a:pt x="1293744" y="1276374"/>
                </a:cubicBezTo>
                <a:close/>
                <a:moveTo>
                  <a:pt x="1144326" y="1276374"/>
                </a:moveTo>
                <a:cubicBezTo>
                  <a:pt x="1144326" y="1278196"/>
                  <a:pt x="1144326" y="1278196"/>
                  <a:pt x="1142503" y="1278196"/>
                </a:cubicBezTo>
                <a:cubicBezTo>
                  <a:pt x="1144326" y="1281841"/>
                  <a:pt x="1146148" y="1281841"/>
                  <a:pt x="1147970" y="1283663"/>
                </a:cubicBezTo>
                <a:cubicBezTo>
                  <a:pt x="1149792" y="1281841"/>
                  <a:pt x="1147970" y="1276374"/>
                  <a:pt x="1144326" y="1276374"/>
                </a:cubicBezTo>
                <a:close/>
                <a:moveTo>
                  <a:pt x="3376944" y="1275235"/>
                </a:moveTo>
                <a:cubicBezTo>
                  <a:pt x="3375122" y="1275007"/>
                  <a:pt x="3372844" y="1275463"/>
                  <a:pt x="3371022" y="1276374"/>
                </a:cubicBezTo>
                <a:cubicBezTo>
                  <a:pt x="3372844" y="1278196"/>
                  <a:pt x="3376489" y="1278196"/>
                  <a:pt x="3380133" y="1278196"/>
                </a:cubicBezTo>
                <a:cubicBezTo>
                  <a:pt x="3380133" y="1276374"/>
                  <a:pt x="3378767" y="1275463"/>
                  <a:pt x="3376944" y="1275235"/>
                </a:cubicBezTo>
                <a:close/>
                <a:moveTo>
                  <a:pt x="3183338" y="1274552"/>
                </a:moveTo>
                <a:cubicBezTo>
                  <a:pt x="3185160" y="1280018"/>
                  <a:pt x="3185160" y="1283663"/>
                  <a:pt x="3190627" y="1285485"/>
                </a:cubicBezTo>
                <a:cubicBezTo>
                  <a:pt x="3192449" y="1280018"/>
                  <a:pt x="3190627" y="1274552"/>
                  <a:pt x="3183338" y="1274552"/>
                </a:cubicBezTo>
                <a:close/>
                <a:moveTo>
                  <a:pt x="1226323" y="1274552"/>
                </a:moveTo>
                <a:lnTo>
                  <a:pt x="1228548" y="1276332"/>
                </a:lnTo>
                <a:lnTo>
                  <a:pt x="1225934" y="1274829"/>
                </a:lnTo>
                <a:close/>
                <a:moveTo>
                  <a:pt x="1177125" y="1274552"/>
                </a:moveTo>
                <a:cubicBezTo>
                  <a:pt x="1175303" y="1276374"/>
                  <a:pt x="1178947" y="1278196"/>
                  <a:pt x="1180769" y="1280018"/>
                </a:cubicBezTo>
                <a:cubicBezTo>
                  <a:pt x="1182592" y="1280018"/>
                  <a:pt x="1186236" y="1278196"/>
                  <a:pt x="1188058" y="1280018"/>
                </a:cubicBezTo>
                <a:cubicBezTo>
                  <a:pt x="1186236" y="1276374"/>
                  <a:pt x="1180769" y="1276374"/>
                  <a:pt x="1177125" y="1274552"/>
                </a:cubicBezTo>
                <a:close/>
                <a:moveTo>
                  <a:pt x="1135215" y="1274552"/>
                </a:moveTo>
                <a:cubicBezTo>
                  <a:pt x="1133393" y="1274552"/>
                  <a:pt x="1131570" y="1276374"/>
                  <a:pt x="1129748" y="1278196"/>
                </a:cubicBezTo>
                <a:cubicBezTo>
                  <a:pt x="1133393" y="1280018"/>
                  <a:pt x="1135215" y="1281841"/>
                  <a:pt x="1138859" y="1280018"/>
                </a:cubicBezTo>
                <a:cubicBezTo>
                  <a:pt x="1137037" y="1278196"/>
                  <a:pt x="1137037" y="1276374"/>
                  <a:pt x="1135215" y="1274552"/>
                </a:cubicBezTo>
                <a:close/>
                <a:moveTo>
                  <a:pt x="1111526" y="1274552"/>
                </a:moveTo>
                <a:cubicBezTo>
                  <a:pt x="1111526" y="1272730"/>
                  <a:pt x="1109704" y="1276374"/>
                  <a:pt x="1107882" y="1276374"/>
                </a:cubicBezTo>
                <a:cubicBezTo>
                  <a:pt x="1109704" y="1278196"/>
                  <a:pt x="1109704" y="1281841"/>
                  <a:pt x="1111526" y="1283663"/>
                </a:cubicBezTo>
                <a:cubicBezTo>
                  <a:pt x="1115171" y="1280018"/>
                  <a:pt x="1111526" y="1276374"/>
                  <a:pt x="1111526" y="1274552"/>
                </a:cubicBezTo>
                <a:close/>
                <a:moveTo>
                  <a:pt x="991263" y="1274552"/>
                </a:moveTo>
                <a:cubicBezTo>
                  <a:pt x="989441" y="1276374"/>
                  <a:pt x="987619" y="1278196"/>
                  <a:pt x="985796" y="1280018"/>
                </a:cubicBezTo>
                <a:cubicBezTo>
                  <a:pt x="985796" y="1283663"/>
                  <a:pt x="989441" y="1285485"/>
                  <a:pt x="989441" y="1287307"/>
                </a:cubicBezTo>
                <a:cubicBezTo>
                  <a:pt x="991263" y="1287307"/>
                  <a:pt x="994907" y="1287307"/>
                  <a:pt x="994907" y="1285485"/>
                </a:cubicBezTo>
                <a:cubicBezTo>
                  <a:pt x="998552" y="1285485"/>
                  <a:pt x="998552" y="1294596"/>
                  <a:pt x="1005840" y="1290951"/>
                </a:cubicBezTo>
                <a:cubicBezTo>
                  <a:pt x="1007663" y="1305529"/>
                  <a:pt x="1004018" y="1320106"/>
                  <a:pt x="1022240" y="1318284"/>
                </a:cubicBezTo>
                <a:cubicBezTo>
                  <a:pt x="1020418" y="1309173"/>
                  <a:pt x="1018596" y="1300062"/>
                  <a:pt x="1013129" y="1290951"/>
                </a:cubicBezTo>
                <a:cubicBezTo>
                  <a:pt x="1020418" y="1300062"/>
                  <a:pt x="1022240" y="1310995"/>
                  <a:pt x="1029529" y="1314640"/>
                </a:cubicBezTo>
                <a:cubicBezTo>
                  <a:pt x="1031351" y="1312818"/>
                  <a:pt x="1031351" y="1310995"/>
                  <a:pt x="1031351" y="1309173"/>
                </a:cubicBezTo>
                <a:cubicBezTo>
                  <a:pt x="1034995" y="1312818"/>
                  <a:pt x="1027707" y="1316462"/>
                  <a:pt x="1025884" y="1320106"/>
                </a:cubicBezTo>
                <a:cubicBezTo>
                  <a:pt x="1029529" y="1321929"/>
                  <a:pt x="1033173" y="1323751"/>
                  <a:pt x="1038639" y="1318284"/>
                </a:cubicBezTo>
                <a:cubicBezTo>
                  <a:pt x="1038639" y="1325573"/>
                  <a:pt x="1047750" y="1325573"/>
                  <a:pt x="1053217" y="1325573"/>
                </a:cubicBezTo>
                <a:cubicBezTo>
                  <a:pt x="1055040" y="1327395"/>
                  <a:pt x="1045929" y="1329217"/>
                  <a:pt x="1049573" y="1332862"/>
                </a:cubicBezTo>
                <a:cubicBezTo>
                  <a:pt x="1044106" y="1327395"/>
                  <a:pt x="1036818" y="1321929"/>
                  <a:pt x="1033173" y="1325573"/>
                </a:cubicBezTo>
                <a:cubicBezTo>
                  <a:pt x="1011307" y="1340150"/>
                  <a:pt x="1051395" y="1349261"/>
                  <a:pt x="1060506" y="1362016"/>
                </a:cubicBezTo>
                <a:cubicBezTo>
                  <a:pt x="1060506" y="1362016"/>
                  <a:pt x="1062328" y="1362016"/>
                  <a:pt x="1062328" y="1360194"/>
                </a:cubicBezTo>
                <a:cubicBezTo>
                  <a:pt x="1064151" y="1363838"/>
                  <a:pt x="1064151" y="1365661"/>
                  <a:pt x="1067794" y="1369305"/>
                </a:cubicBezTo>
                <a:cubicBezTo>
                  <a:pt x="1069616" y="1367483"/>
                  <a:pt x="1065972" y="1367483"/>
                  <a:pt x="1067794" y="1365661"/>
                </a:cubicBezTo>
                <a:cubicBezTo>
                  <a:pt x="1069616" y="1367483"/>
                  <a:pt x="1069616" y="1367483"/>
                  <a:pt x="1069616" y="1369305"/>
                </a:cubicBezTo>
                <a:cubicBezTo>
                  <a:pt x="1076905" y="1374771"/>
                  <a:pt x="1084194" y="1385705"/>
                  <a:pt x="1093305" y="1383882"/>
                </a:cubicBezTo>
                <a:cubicBezTo>
                  <a:pt x="1091484" y="1380238"/>
                  <a:pt x="1086016" y="1380238"/>
                  <a:pt x="1086016" y="1376594"/>
                </a:cubicBezTo>
                <a:cubicBezTo>
                  <a:pt x="1089660" y="1374771"/>
                  <a:pt x="1091484" y="1382060"/>
                  <a:pt x="1093305" y="1382060"/>
                </a:cubicBezTo>
                <a:cubicBezTo>
                  <a:pt x="1095127" y="1372949"/>
                  <a:pt x="1093305" y="1365661"/>
                  <a:pt x="1091484" y="1358372"/>
                </a:cubicBezTo>
                <a:cubicBezTo>
                  <a:pt x="1087838" y="1356550"/>
                  <a:pt x="1086016" y="1356550"/>
                  <a:pt x="1082373" y="1358372"/>
                </a:cubicBezTo>
                <a:cubicBezTo>
                  <a:pt x="1082373" y="1356550"/>
                  <a:pt x="1082373" y="1356550"/>
                  <a:pt x="1080549" y="1354728"/>
                </a:cubicBezTo>
                <a:cubicBezTo>
                  <a:pt x="1082373" y="1354728"/>
                  <a:pt x="1084194" y="1356550"/>
                  <a:pt x="1087838" y="1354728"/>
                </a:cubicBezTo>
                <a:cubicBezTo>
                  <a:pt x="1089660" y="1354728"/>
                  <a:pt x="1087838" y="1352905"/>
                  <a:pt x="1089660" y="1351083"/>
                </a:cubicBezTo>
                <a:cubicBezTo>
                  <a:pt x="1086016" y="1349261"/>
                  <a:pt x="1084194" y="1347439"/>
                  <a:pt x="1080549" y="1345617"/>
                </a:cubicBezTo>
                <a:cubicBezTo>
                  <a:pt x="1080549" y="1343795"/>
                  <a:pt x="1084194" y="1347439"/>
                  <a:pt x="1086016" y="1347439"/>
                </a:cubicBezTo>
                <a:cubicBezTo>
                  <a:pt x="1071439" y="1331039"/>
                  <a:pt x="1062328" y="1312818"/>
                  <a:pt x="1047750" y="1300062"/>
                </a:cubicBezTo>
                <a:cubicBezTo>
                  <a:pt x="1042284" y="1296418"/>
                  <a:pt x="1036818" y="1296418"/>
                  <a:pt x="1031351" y="1292774"/>
                </a:cubicBezTo>
                <a:cubicBezTo>
                  <a:pt x="1022240" y="1289129"/>
                  <a:pt x="1014951" y="1283663"/>
                  <a:pt x="1007663" y="1280018"/>
                </a:cubicBezTo>
                <a:cubicBezTo>
                  <a:pt x="1007663" y="1281841"/>
                  <a:pt x="1007663" y="1281841"/>
                  <a:pt x="1007663" y="1283663"/>
                </a:cubicBezTo>
                <a:cubicBezTo>
                  <a:pt x="1004018" y="1278196"/>
                  <a:pt x="998552" y="1274552"/>
                  <a:pt x="991263" y="1274552"/>
                </a:cubicBezTo>
                <a:close/>
                <a:moveTo>
                  <a:pt x="960286" y="1274552"/>
                </a:moveTo>
                <a:cubicBezTo>
                  <a:pt x="942064" y="1289129"/>
                  <a:pt x="951175" y="1283663"/>
                  <a:pt x="960286" y="1274552"/>
                </a:cubicBezTo>
                <a:close/>
                <a:moveTo>
                  <a:pt x="630472" y="1274552"/>
                </a:moveTo>
                <a:cubicBezTo>
                  <a:pt x="630472" y="1280018"/>
                  <a:pt x="639583" y="1285485"/>
                  <a:pt x="639583" y="1287307"/>
                </a:cubicBezTo>
                <a:cubicBezTo>
                  <a:pt x="639583" y="1283663"/>
                  <a:pt x="634117" y="1272730"/>
                  <a:pt x="630472" y="1274552"/>
                </a:cubicBezTo>
                <a:close/>
                <a:moveTo>
                  <a:pt x="597673" y="1274552"/>
                </a:moveTo>
                <a:cubicBezTo>
                  <a:pt x="595852" y="1272730"/>
                  <a:pt x="592207" y="1276374"/>
                  <a:pt x="590385" y="1276374"/>
                </a:cubicBezTo>
                <a:cubicBezTo>
                  <a:pt x="590385" y="1281841"/>
                  <a:pt x="595852" y="1285485"/>
                  <a:pt x="597673" y="1285485"/>
                </a:cubicBezTo>
                <a:cubicBezTo>
                  <a:pt x="599496" y="1280018"/>
                  <a:pt x="597673" y="1280018"/>
                  <a:pt x="597673" y="1274552"/>
                </a:cubicBezTo>
                <a:close/>
                <a:moveTo>
                  <a:pt x="1331098" y="1273095"/>
                </a:moveTo>
                <a:lnTo>
                  <a:pt x="1331326" y="1275007"/>
                </a:lnTo>
                <a:lnTo>
                  <a:pt x="1331782" y="1277247"/>
                </a:lnTo>
                <a:lnTo>
                  <a:pt x="1331554" y="1277513"/>
                </a:lnTo>
                <a:lnTo>
                  <a:pt x="1330002" y="1278909"/>
                </a:lnTo>
                <a:lnTo>
                  <a:pt x="1329276" y="1274552"/>
                </a:lnTo>
                <a:close/>
                <a:moveTo>
                  <a:pt x="3430243" y="1272730"/>
                </a:moveTo>
                <a:cubicBezTo>
                  <a:pt x="3428421" y="1274552"/>
                  <a:pt x="3426599" y="1277285"/>
                  <a:pt x="3423865" y="1278196"/>
                </a:cubicBezTo>
                <a:cubicBezTo>
                  <a:pt x="3422043" y="1283663"/>
                  <a:pt x="3427510" y="1285485"/>
                  <a:pt x="3429332" y="1289129"/>
                </a:cubicBezTo>
                <a:cubicBezTo>
                  <a:pt x="3438443" y="1285485"/>
                  <a:pt x="3431154" y="1280018"/>
                  <a:pt x="3436621" y="1272730"/>
                </a:cubicBezTo>
                <a:cubicBezTo>
                  <a:pt x="3433888" y="1269996"/>
                  <a:pt x="3432065" y="1270907"/>
                  <a:pt x="3430243" y="1272730"/>
                </a:cubicBezTo>
                <a:close/>
                <a:moveTo>
                  <a:pt x="3172405" y="1272730"/>
                </a:moveTo>
                <a:cubicBezTo>
                  <a:pt x="3169672" y="1271819"/>
                  <a:pt x="3169217" y="1273185"/>
                  <a:pt x="3169217" y="1275007"/>
                </a:cubicBezTo>
                <a:lnTo>
                  <a:pt x="3168779" y="1279823"/>
                </a:lnTo>
                <a:lnTo>
                  <a:pt x="3168533" y="1279563"/>
                </a:lnTo>
                <a:cubicBezTo>
                  <a:pt x="3167394" y="1278196"/>
                  <a:pt x="3166028" y="1277285"/>
                  <a:pt x="3163294" y="1278196"/>
                </a:cubicBezTo>
                <a:cubicBezTo>
                  <a:pt x="3163294" y="1281841"/>
                  <a:pt x="3163294" y="1283663"/>
                  <a:pt x="3163294" y="1285485"/>
                </a:cubicBezTo>
                <a:cubicBezTo>
                  <a:pt x="3165116" y="1285485"/>
                  <a:pt x="3168761" y="1285485"/>
                  <a:pt x="3170583" y="1285485"/>
                </a:cubicBezTo>
                <a:cubicBezTo>
                  <a:pt x="3166939" y="1289129"/>
                  <a:pt x="3166939" y="1292774"/>
                  <a:pt x="3163294" y="1292774"/>
                </a:cubicBezTo>
                <a:cubicBezTo>
                  <a:pt x="3165116" y="1296418"/>
                  <a:pt x="3165116" y="1300062"/>
                  <a:pt x="3165116" y="1303707"/>
                </a:cubicBezTo>
                <a:cubicBezTo>
                  <a:pt x="3168761" y="1303707"/>
                  <a:pt x="3174227" y="1303707"/>
                  <a:pt x="3177872" y="1303707"/>
                </a:cubicBezTo>
                <a:cubicBezTo>
                  <a:pt x="3168761" y="1305529"/>
                  <a:pt x="3179694" y="1314640"/>
                  <a:pt x="3185160" y="1309173"/>
                </a:cubicBezTo>
                <a:cubicBezTo>
                  <a:pt x="3179694" y="1305529"/>
                  <a:pt x="3186982" y="1300062"/>
                  <a:pt x="3190627" y="1300062"/>
                </a:cubicBezTo>
                <a:cubicBezTo>
                  <a:pt x="3188805" y="1289129"/>
                  <a:pt x="3183338" y="1285485"/>
                  <a:pt x="3179694" y="1278196"/>
                </a:cubicBezTo>
                <a:cubicBezTo>
                  <a:pt x="3176050" y="1278196"/>
                  <a:pt x="3174227" y="1280018"/>
                  <a:pt x="3172405" y="1283663"/>
                </a:cubicBezTo>
                <a:lnTo>
                  <a:pt x="3168971" y="1280026"/>
                </a:lnTo>
                <a:lnTo>
                  <a:pt x="3174683" y="1280246"/>
                </a:lnTo>
                <a:cubicBezTo>
                  <a:pt x="3176505" y="1280019"/>
                  <a:pt x="3177872" y="1279107"/>
                  <a:pt x="3177872" y="1276374"/>
                </a:cubicBezTo>
                <a:cubicBezTo>
                  <a:pt x="3174227" y="1276374"/>
                  <a:pt x="3172405" y="1276374"/>
                  <a:pt x="3172405" y="1272730"/>
                </a:cubicBezTo>
                <a:close/>
                <a:moveTo>
                  <a:pt x="1873195" y="1272730"/>
                </a:moveTo>
                <a:cubicBezTo>
                  <a:pt x="1871373" y="1276374"/>
                  <a:pt x="1869551" y="1281841"/>
                  <a:pt x="1867729" y="1287307"/>
                </a:cubicBezTo>
                <a:cubicBezTo>
                  <a:pt x="1871373" y="1281841"/>
                  <a:pt x="1873195" y="1276374"/>
                  <a:pt x="1876839" y="1272730"/>
                </a:cubicBezTo>
                <a:close/>
                <a:moveTo>
                  <a:pt x="1335654" y="1272730"/>
                </a:moveTo>
                <a:lnTo>
                  <a:pt x="1337476" y="1281841"/>
                </a:lnTo>
                <a:lnTo>
                  <a:pt x="1341120" y="1276374"/>
                </a:lnTo>
                <a:cubicBezTo>
                  <a:pt x="1342942" y="1281841"/>
                  <a:pt x="1342942" y="1274552"/>
                  <a:pt x="1344765" y="1278196"/>
                </a:cubicBezTo>
                <a:cubicBezTo>
                  <a:pt x="1343853" y="1280929"/>
                  <a:pt x="1343853" y="1284574"/>
                  <a:pt x="1343170" y="1288218"/>
                </a:cubicBezTo>
                <a:lnTo>
                  <a:pt x="1340698" y="1292570"/>
                </a:lnTo>
                <a:lnTo>
                  <a:pt x="1339981" y="1289129"/>
                </a:lnTo>
                <a:cubicBezTo>
                  <a:pt x="1339753" y="1287307"/>
                  <a:pt x="1339299" y="1285485"/>
                  <a:pt x="1337476" y="1283663"/>
                </a:cubicBezTo>
                <a:lnTo>
                  <a:pt x="1336261" y="1283663"/>
                </a:lnTo>
                <a:lnTo>
                  <a:pt x="1337475" y="1281841"/>
                </a:lnTo>
                <a:lnTo>
                  <a:pt x="1333832" y="1283663"/>
                </a:lnTo>
                <a:lnTo>
                  <a:pt x="1332579" y="1281158"/>
                </a:lnTo>
                <a:lnTo>
                  <a:pt x="1331782" y="1277247"/>
                </a:lnTo>
                <a:close/>
                <a:moveTo>
                  <a:pt x="1284633" y="1272730"/>
                </a:moveTo>
                <a:cubicBezTo>
                  <a:pt x="1282811" y="1274552"/>
                  <a:pt x="1286455" y="1280018"/>
                  <a:pt x="1288277" y="1276374"/>
                </a:cubicBezTo>
                <a:cubicBezTo>
                  <a:pt x="1288277" y="1274552"/>
                  <a:pt x="1286455" y="1272730"/>
                  <a:pt x="1284633" y="1272730"/>
                </a:cubicBezTo>
                <a:close/>
                <a:moveTo>
                  <a:pt x="1271878" y="1272730"/>
                </a:moveTo>
                <a:cubicBezTo>
                  <a:pt x="1268233" y="1274552"/>
                  <a:pt x="1264589" y="1276374"/>
                  <a:pt x="1260945" y="1278196"/>
                </a:cubicBezTo>
                <a:cubicBezTo>
                  <a:pt x="1260945" y="1280018"/>
                  <a:pt x="1262767" y="1278196"/>
                  <a:pt x="1264589" y="1280018"/>
                </a:cubicBezTo>
                <a:cubicBezTo>
                  <a:pt x="1266411" y="1278196"/>
                  <a:pt x="1266411" y="1278196"/>
                  <a:pt x="1268233" y="1276374"/>
                </a:cubicBezTo>
                <a:cubicBezTo>
                  <a:pt x="1268233" y="1278196"/>
                  <a:pt x="1266411" y="1278196"/>
                  <a:pt x="1266411" y="1280018"/>
                </a:cubicBezTo>
                <a:cubicBezTo>
                  <a:pt x="1271878" y="1281841"/>
                  <a:pt x="1275522" y="1283663"/>
                  <a:pt x="1280989" y="1283663"/>
                </a:cubicBezTo>
                <a:cubicBezTo>
                  <a:pt x="1284633" y="1278196"/>
                  <a:pt x="1275522" y="1274552"/>
                  <a:pt x="1271878" y="1272730"/>
                </a:cubicBezTo>
                <a:close/>
                <a:moveTo>
                  <a:pt x="708826" y="1272730"/>
                </a:moveTo>
                <a:cubicBezTo>
                  <a:pt x="707004" y="1274552"/>
                  <a:pt x="707004" y="1274552"/>
                  <a:pt x="705182" y="1274552"/>
                </a:cubicBezTo>
                <a:cubicBezTo>
                  <a:pt x="701537" y="1276374"/>
                  <a:pt x="708826" y="1278196"/>
                  <a:pt x="710648" y="1280018"/>
                </a:cubicBezTo>
                <a:cubicBezTo>
                  <a:pt x="712470" y="1278196"/>
                  <a:pt x="710648" y="1274552"/>
                  <a:pt x="708826" y="1272730"/>
                </a:cubicBezTo>
                <a:close/>
                <a:moveTo>
                  <a:pt x="570341" y="1272730"/>
                </a:moveTo>
                <a:cubicBezTo>
                  <a:pt x="564874" y="1269085"/>
                  <a:pt x="553941" y="1276374"/>
                  <a:pt x="552119" y="1281841"/>
                </a:cubicBezTo>
                <a:cubicBezTo>
                  <a:pt x="557586" y="1280018"/>
                  <a:pt x="564874" y="1276374"/>
                  <a:pt x="570341" y="1272730"/>
                </a:cubicBezTo>
                <a:close/>
                <a:moveTo>
                  <a:pt x="510209" y="1272730"/>
                </a:moveTo>
                <a:cubicBezTo>
                  <a:pt x="515676" y="1278196"/>
                  <a:pt x="519320" y="1285485"/>
                  <a:pt x="524786" y="1278196"/>
                </a:cubicBezTo>
                <a:cubicBezTo>
                  <a:pt x="528431" y="1272730"/>
                  <a:pt x="513853" y="1280018"/>
                  <a:pt x="515676" y="1272730"/>
                </a:cubicBezTo>
                <a:cubicBezTo>
                  <a:pt x="515676" y="1270908"/>
                  <a:pt x="513853" y="1270908"/>
                  <a:pt x="510209" y="1272730"/>
                </a:cubicBezTo>
                <a:close/>
                <a:moveTo>
                  <a:pt x="1325727" y="1272160"/>
                </a:moveTo>
                <a:lnTo>
                  <a:pt x="1325982" y="1272609"/>
                </a:lnTo>
                <a:lnTo>
                  <a:pt x="1325148" y="1277854"/>
                </a:lnTo>
                <a:lnTo>
                  <a:pt x="1324721" y="1278196"/>
                </a:lnTo>
                <a:close/>
                <a:moveTo>
                  <a:pt x="1681866" y="1270979"/>
                </a:moveTo>
                <a:lnTo>
                  <a:pt x="1698266" y="1285557"/>
                </a:lnTo>
                <a:lnTo>
                  <a:pt x="1681866" y="1285557"/>
                </a:lnTo>
                <a:close/>
                <a:moveTo>
                  <a:pt x="3141428" y="1270908"/>
                </a:moveTo>
                <a:cubicBezTo>
                  <a:pt x="3141428" y="1274552"/>
                  <a:pt x="3141428" y="1278196"/>
                  <a:pt x="3141428" y="1281841"/>
                </a:cubicBezTo>
                <a:cubicBezTo>
                  <a:pt x="3146895" y="1283663"/>
                  <a:pt x="3150539" y="1287307"/>
                  <a:pt x="3157828" y="1285485"/>
                </a:cubicBezTo>
                <a:cubicBezTo>
                  <a:pt x="3154184" y="1280018"/>
                  <a:pt x="3156006" y="1269085"/>
                  <a:pt x="3141428" y="1270908"/>
                </a:cubicBezTo>
                <a:close/>
                <a:moveTo>
                  <a:pt x="1885950" y="1270908"/>
                </a:moveTo>
                <a:lnTo>
                  <a:pt x="1885950" y="1289129"/>
                </a:lnTo>
                <a:cubicBezTo>
                  <a:pt x="1887773" y="1289129"/>
                  <a:pt x="1891417" y="1289129"/>
                  <a:pt x="1893239" y="1289129"/>
                </a:cubicBezTo>
                <a:lnTo>
                  <a:pt x="1896883" y="1285485"/>
                </a:lnTo>
                <a:cubicBezTo>
                  <a:pt x="1898706" y="1281841"/>
                  <a:pt x="1895061" y="1276374"/>
                  <a:pt x="1896883" y="1270908"/>
                </a:cubicBezTo>
                <a:close/>
                <a:moveTo>
                  <a:pt x="1162547" y="1270908"/>
                </a:moveTo>
                <a:cubicBezTo>
                  <a:pt x="1160725" y="1269085"/>
                  <a:pt x="1158903" y="1272730"/>
                  <a:pt x="1160725" y="1274552"/>
                </a:cubicBezTo>
                <a:cubicBezTo>
                  <a:pt x="1164370" y="1274552"/>
                  <a:pt x="1162547" y="1272730"/>
                  <a:pt x="1162547" y="1270908"/>
                </a:cubicBezTo>
                <a:close/>
                <a:moveTo>
                  <a:pt x="1120637" y="1270908"/>
                </a:moveTo>
                <a:cubicBezTo>
                  <a:pt x="1120637" y="1274552"/>
                  <a:pt x="1118815" y="1274552"/>
                  <a:pt x="1115171" y="1274552"/>
                </a:cubicBezTo>
                <a:cubicBezTo>
                  <a:pt x="1115171" y="1276374"/>
                  <a:pt x="1115171" y="1280018"/>
                  <a:pt x="1118815" y="1283663"/>
                </a:cubicBezTo>
                <a:cubicBezTo>
                  <a:pt x="1118815" y="1278196"/>
                  <a:pt x="1122459" y="1274552"/>
                  <a:pt x="1120637" y="1270908"/>
                </a:cubicBezTo>
                <a:close/>
                <a:moveTo>
                  <a:pt x="967575" y="1270908"/>
                </a:moveTo>
                <a:cubicBezTo>
                  <a:pt x="965753" y="1272730"/>
                  <a:pt x="963930" y="1272730"/>
                  <a:pt x="960286" y="1278196"/>
                </a:cubicBezTo>
                <a:cubicBezTo>
                  <a:pt x="962108" y="1278196"/>
                  <a:pt x="969397" y="1272730"/>
                  <a:pt x="967575" y="1270908"/>
                </a:cubicBezTo>
                <a:close/>
                <a:moveTo>
                  <a:pt x="931131" y="1270908"/>
                </a:moveTo>
                <a:cubicBezTo>
                  <a:pt x="929309" y="1274552"/>
                  <a:pt x="934777" y="1272730"/>
                  <a:pt x="936598" y="1274552"/>
                </a:cubicBezTo>
                <a:cubicBezTo>
                  <a:pt x="938420" y="1272730"/>
                  <a:pt x="938420" y="1272730"/>
                  <a:pt x="938420" y="1270908"/>
                </a:cubicBezTo>
                <a:cubicBezTo>
                  <a:pt x="936598" y="1269085"/>
                  <a:pt x="932953" y="1270908"/>
                  <a:pt x="931131" y="1270908"/>
                </a:cubicBezTo>
                <a:close/>
                <a:moveTo>
                  <a:pt x="776246" y="1270908"/>
                </a:moveTo>
                <a:cubicBezTo>
                  <a:pt x="776246" y="1272730"/>
                  <a:pt x="774424" y="1272730"/>
                  <a:pt x="774424" y="1274552"/>
                </a:cubicBezTo>
                <a:lnTo>
                  <a:pt x="775031" y="1274552"/>
                </a:lnTo>
                <a:lnTo>
                  <a:pt x="774424" y="1276374"/>
                </a:lnTo>
                <a:cubicBezTo>
                  <a:pt x="776246" y="1278196"/>
                  <a:pt x="778070" y="1276374"/>
                  <a:pt x="779892" y="1274552"/>
                </a:cubicBezTo>
                <a:lnTo>
                  <a:pt x="775031" y="1274552"/>
                </a:lnTo>
                <a:close/>
                <a:moveTo>
                  <a:pt x="759848" y="1270908"/>
                </a:moveTo>
                <a:cubicBezTo>
                  <a:pt x="754380" y="1272730"/>
                  <a:pt x="756203" y="1278196"/>
                  <a:pt x="752558" y="1283663"/>
                </a:cubicBezTo>
                <a:cubicBezTo>
                  <a:pt x="756203" y="1283663"/>
                  <a:pt x="758025" y="1285485"/>
                  <a:pt x="761670" y="1283663"/>
                </a:cubicBezTo>
                <a:cubicBezTo>
                  <a:pt x="761670" y="1280018"/>
                  <a:pt x="761670" y="1274552"/>
                  <a:pt x="759848" y="1270908"/>
                </a:cubicBezTo>
                <a:close/>
                <a:moveTo>
                  <a:pt x="615895" y="1270908"/>
                </a:moveTo>
                <a:cubicBezTo>
                  <a:pt x="612251" y="1274552"/>
                  <a:pt x="610429" y="1278196"/>
                  <a:pt x="614074" y="1280018"/>
                </a:cubicBezTo>
                <a:cubicBezTo>
                  <a:pt x="617717" y="1278196"/>
                  <a:pt x="615895" y="1276374"/>
                  <a:pt x="619539" y="1274552"/>
                </a:cubicBezTo>
                <a:cubicBezTo>
                  <a:pt x="617717" y="1272730"/>
                  <a:pt x="617717" y="1270908"/>
                  <a:pt x="615895" y="1270908"/>
                </a:cubicBezTo>
                <a:close/>
                <a:moveTo>
                  <a:pt x="522964" y="1270908"/>
                </a:moveTo>
                <a:cubicBezTo>
                  <a:pt x="524786" y="1272730"/>
                  <a:pt x="528431" y="1276374"/>
                  <a:pt x="530253" y="1274552"/>
                </a:cubicBezTo>
                <a:cubicBezTo>
                  <a:pt x="530253" y="1272730"/>
                  <a:pt x="524786" y="1269085"/>
                  <a:pt x="522964" y="1270908"/>
                </a:cubicBezTo>
                <a:close/>
                <a:moveTo>
                  <a:pt x="744131" y="1270908"/>
                </a:moveTo>
                <a:cubicBezTo>
                  <a:pt x="743447" y="1271363"/>
                  <a:pt x="742536" y="1271819"/>
                  <a:pt x="741626" y="1270908"/>
                </a:cubicBezTo>
                <a:cubicBezTo>
                  <a:pt x="741626" y="1285485"/>
                  <a:pt x="743447" y="1270908"/>
                  <a:pt x="745269" y="1270908"/>
                </a:cubicBezTo>
                <a:cubicBezTo>
                  <a:pt x="745269" y="1269997"/>
                  <a:pt x="744814" y="1270452"/>
                  <a:pt x="744131" y="1270908"/>
                </a:cubicBezTo>
                <a:close/>
                <a:moveTo>
                  <a:pt x="3355078" y="1270680"/>
                </a:moveTo>
                <a:cubicBezTo>
                  <a:pt x="3352345" y="1270908"/>
                  <a:pt x="3350067" y="1271819"/>
                  <a:pt x="3349156" y="1270908"/>
                </a:cubicBezTo>
                <a:cubicBezTo>
                  <a:pt x="3349156" y="1278196"/>
                  <a:pt x="3358267" y="1274552"/>
                  <a:pt x="3363734" y="1274552"/>
                </a:cubicBezTo>
                <a:cubicBezTo>
                  <a:pt x="3361001" y="1270907"/>
                  <a:pt x="3357812" y="1270452"/>
                  <a:pt x="3355078" y="1270680"/>
                </a:cubicBezTo>
                <a:close/>
                <a:moveTo>
                  <a:pt x="1414664" y="1270398"/>
                </a:moveTo>
                <a:lnTo>
                  <a:pt x="1414463" y="1272502"/>
                </a:lnTo>
                <a:lnTo>
                  <a:pt x="1406116" y="1283830"/>
                </a:lnTo>
                <a:close/>
                <a:moveTo>
                  <a:pt x="3290164" y="1270224"/>
                </a:moveTo>
                <a:cubicBezTo>
                  <a:pt x="3287203" y="1270452"/>
                  <a:pt x="3284469" y="1271819"/>
                  <a:pt x="3285380" y="1274552"/>
                </a:cubicBezTo>
                <a:cubicBezTo>
                  <a:pt x="3290847" y="1272730"/>
                  <a:pt x="3290847" y="1274552"/>
                  <a:pt x="3296313" y="1272730"/>
                </a:cubicBezTo>
                <a:cubicBezTo>
                  <a:pt x="3296313" y="1270907"/>
                  <a:pt x="3293125" y="1269996"/>
                  <a:pt x="3290164" y="1270224"/>
                </a:cubicBezTo>
                <a:close/>
                <a:moveTo>
                  <a:pt x="3182200" y="1269768"/>
                </a:moveTo>
                <a:cubicBezTo>
                  <a:pt x="3180605" y="1269541"/>
                  <a:pt x="3178783" y="1269996"/>
                  <a:pt x="3177872" y="1270908"/>
                </a:cubicBezTo>
                <a:cubicBezTo>
                  <a:pt x="3179694" y="1272730"/>
                  <a:pt x="3181516" y="1272730"/>
                  <a:pt x="3185160" y="1272730"/>
                </a:cubicBezTo>
                <a:cubicBezTo>
                  <a:pt x="3185160" y="1270907"/>
                  <a:pt x="3183794" y="1269996"/>
                  <a:pt x="3182200" y="1269768"/>
                </a:cubicBezTo>
                <a:close/>
                <a:moveTo>
                  <a:pt x="1326034" y="1269668"/>
                </a:moveTo>
                <a:lnTo>
                  <a:pt x="1326087" y="1269996"/>
                </a:lnTo>
                <a:lnTo>
                  <a:pt x="1325727" y="1272160"/>
                </a:lnTo>
                <a:lnTo>
                  <a:pt x="1325404" y="1271591"/>
                </a:lnTo>
                <a:lnTo>
                  <a:pt x="1325326" y="1270475"/>
                </a:lnTo>
                <a:close/>
                <a:moveTo>
                  <a:pt x="291093" y="1269086"/>
                </a:moveTo>
                <a:cubicBezTo>
                  <a:pt x="283348" y="1267264"/>
                  <a:pt x="276059" y="1267264"/>
                  <a:pt x="269682" y="1270908"/>
                </a:cubicBezTo>
                <a:cubicBezTo>
                  <a:pt x="271504" y="1270908"/>
                  <a:pt x="275149" y="1274552"/>
                  <a:pt x="278793" y="1274552"/>
                </a:cubicBezTo>
                <a:cubicBezTo>
                  <a:pt x="280615" y="1274552"/>
                  <a:pt x="278793" y="1272730"/>
                  <a:pt x="276971" y="1270908"/>
                </a:cubicBezTo>
                <a:cubicBezTo>
                  <a:pt x="280615" y="1274552"/>
                  <a:pt x="284259" y="1276374"/>
                  <a:pt x="287904" y="1278196"/>
                </a:cubicBezTo>
                <a:cubicBezTo>
                  <a:pt x="289726" y="1278196"/>
                  <a:pt x="286082" y="1274552"/>
                  <a:pt x="289726" y="1274552"/>
                </a:cubicBezTo>
                <a:cubicBezTo>
                  <a:pt x="286082" y="1281841"/>
                  <a:pt x="298837" y="1285485"/>
                  <a:pt x="304303" y="1287307"/>
                </a:cubicBezTo>
                <a:cubicBezTo>
                  <a:pt x="309771" y="1287307"/>
                  <a:pt x="309771" y="1280018"/>
                  <a:pt x="315236" y="1278196"/>
                </a:cubicBezTo>
                <a:cubicBezTo>
                  <a:pt x="307036" y="1274552"/>
                  <a:pt x="298837" y="1270908"/>
                  <a:pt x="291093" y="1269086"/>
                </a:cubicBezTo>
                <a:close/>
                <a:moveTo>
                  <a:pt x="1304677" y="1269085"/>
                </a:moveTo>
                <a:cubicBezTo>
                  <a:pt x="1295566" y="1269085"/>
                  <a:pt x="1299210" y="1281841"/>
                  <a:pt x="1306499" y="1283663"/>
                </a:cubicBezTo>
                <a:cubicBezTo>
                  <a:pt x="1308321" y="1280018"/>
                  <a:pt x="1308321" y="1274552"/>
                  <a:pt x="1304677" y="1269085"/>
                </a:cubicBezTo>
                <a:close/>
                <a:moveTo>
                  <a:pt x="1051395" y="1269085"/>
                </a:moveTo>
                <a:cubicBezTo>
                  <a:pt x="1058683" y="1281841"/>
                  <a:pt x="1071439" y="1289129"/>
                  <a:pt x="1080549" y="1296418"/>
                </a:cubicBezTo>
                <a:cubicBezTo>
                  <a:pt x="1076905" y="1296418"/>
                  <a:pt x="1075083" y="1294596"/>
                  <a:pt x="1073262" y="1292774"/>
                </a:cubicBezTo>
                <a:cubicBezTo>
                  <a:pt x="1075083" y="1296418"/>
                  <a:pt x="1078727" y="1303707"/>
                  <a:pt x="1084194" y="1305529"/>
                </a:cubicBezTo>
                <a:cubicBezTo>
                  <a:pt x="1086016" y="1307351"/>
                  <a:pt x="1089660" y="1318284"/>
                  <a:pt x="1093305" y="1316462"/>
                </a:cubicBezTo>
                <a:cubicBezTo>
                  <a:pt x="1091484" y="1320106"/>
                  <a:pt x="1098771" y="1329217"/>
                  <a:pt x="1100593" y="1331039"/>
                </a:cubicBezTo>
                <a:cubicBezTo>
                  <a:pt x="1104238" y="1327395"/>
                  <a:pt x="1100593" y="1327395"/>
                  <a:pt x="1098771" y="1325573"/>
                </a:cubicBezTo>
                <a:cubicBezTo>
                  <a:pt x="1100593" y="1325573"/>
                  <a:pt x="1102416" y="1325573"/>
                  <a:pt x="1102416" y="1325573"/>
                </a:cubicBezTo>
                <a:cubicBezTo>
                  <a:pt x="1104238" y="1323751"/>
                  <a:pt x="1100593" y="1321929"/>
                  <a:pt x="1098771" y="1318284"/>
                </a:cubicBezTo>
                <a:cubicBezTo>
                  <a:pt x="1100593" y="1318284"/>
                  <a:pt x="1100593" y="1321929"/>
                  <a:pt x="1102416" y="1321929"/>
                </a:cubicBezTo>
                <a:cubicBezTo>
                  <a:pt x="1102416" y="1314640"/>
                  <a:pt x="1095127" y="1307351"/>
                  <a:pt x="1087838" y="1301885"/>
                </a:cubicBezTo>
                <a:cubicBezTo>
                  <a:pt x="1091484" y="1301885"/>
                  <a:pt x="1093305" y="1305529"/>
                  <a:pt x="1096949" y="1303707"/>
                </a:cubicBezTo>
                <a:cubicBezTo>
                  <a:pt x="1096949" y="1296418"/>
                  <a:pt x="1093305" y="1290951"/>
                  <a:pt x="1086016" y="1285485"/>
                </a:cubicBezTo>
                <a:cubicBezTo>
                  <a:pt x="1089660" y="1285485"/>
                  <a:pt x="1091484" y="1289129"/>
                  <a:pt x="1093305" y="1289129"/>
                </a:cubicBezTo>
                <a:cubicBezTo>
                  <a:pt x="1093305" y="1280018"/>
                  <a:pt x="1082373" y="1281841"/>
                  <a:pt x="1080549" y="1278196"/>
                </a:cubicBezTo>
                <a:cubicBezTo>
                  <a:pt x="1080549" y="1280018"/>
                  <a:pt x="1082373" y="1280018"/>
                  <a:pt x="1082373" y="1281841"/>
                </a:cubicBezTo>
                <a:cubicBezTo>
                  <a:pt x="1075083" y="1278196"/>
                  <a:pt x="1064151" y="1272730"/>
                  <a:pt x="1058683" y="1269085"/>
                </a:cubicBezTo>
                <a:cubicBezTo>
                  <a:pt x="1056861" y="1267263"/>
                  <a:pt x="1053217" y="1267263"/>
                  <a:pt x="1051395" y="1269085"/>
                </a:cubicBezTo>
                <a:close/>
                <a:moveTo>
                  <a:pt x="901976" y="1269085"/>
                </a:moveTo>
                <a:cubicBezTo>
                  <a:pt x="898333" y="1269085"/>
                  <a:pt x="898333" y="1274552"/>
                  <a:pt x="896510" y="1274552"/>
                </a:cubicBezTo>
                <a:cubicBezTo>
                  <a:pt x="898333" y="1276374"/>
                  <a:pt x="900154" y="1270908"/>
                  <a:pt x="901976" y="1269085"/>
                </a:cubicBezTo>
                <a:close/>
                <a:moveTo>
                  <a:pt x="732515" y="1269085"/>
                </a:moveTo>
                <a:cubicBezTo>
                  <a:pt x="732515" y="1270908"/>
                  <a:pt x="734336" y="1276374"/>
                  <a:pt x="736159" y="1272730"/>
                </a:cubicBezTo>
                <a:cubicBezTo>
                  <a:pt x="736159" y="1270908"/>
                  <a:pt x="734336" y="1270908"/>
                  <a:pt x="732515" y="1269085"/>
                </a:cubicBezTo>
                <a:close/>
                <a:moveTo>
                  <a:pt x="712470" y="1269085"/>
                </a:moveTo>
                <a:cubicBezTo>
                  <a:pt x="708826" y="1278196"/>
                  <a:pt x="714293" y="1280018"/>
                  <a:pt x="721581" y="1280018"/>
                </a:cubicBezTo>
                <a:cubicBezTo>
                  <a:pt x="721581" y="1274552"/>
                  <a:pt x="721581" y="1270908"/>
                  <a:pt x="717937" y="1269085"/>
                </a:cubicBezTo>
                <a:cubicBezTo>
                  <a:pt x="714293" y="1272730"/>
                  <a:pt x="714293" y="1270908"/>
                  <a:pt x="712470" y="1269085"/>
                </a:cubicBezTo>
                <a:close/>
                <a:moveTo>
                  <a:pt x="2477611" y="1267445"/>
                </a:moveTo>
                <a:lnTo>
                  <a:pt x="2478157" y="1269085"/>
                </a:lnTo>
                <a:lnTo>
                  <a:pt x="2477505" y="1267453"/>
                </a:lnTo>
                <a:close/>
                <a:moveTo>
                  <a:pt x="1279166" y="1267263"/>
                </a:moveTo>
                <a:cubicBezTo>
                  <a:pt x="1277344" y="1267263"/>
                  <a:pt x="1275522" y="1267263"/>
                  <a:pt x="1273700" y="1269085"/>
                </a:cubicBezTo>
                <a:cubicBezTo>
                  <a:pt x="1277344" y="1270908"/>
                  <a:pt x="1279166" y="1274552"/>
                  <a:pt x="1280989" y="1272730"/>
                </a:cubicBezTo>
                <a:cubicBezTo>
                  <a:pt x="1279166" y="1270908"/>
                  <a:pt x="1280989" y="1269085"/>
                  <a:pt x="1279166" y="1267263"/>
                </a:cubicBezTo>
                <a:close/>
                <a:moveTo>
                  <a:pt x="1024062" y="1267263"/>
                </a:moveTo>
                <a:cubicBezTo>
                  <a:pt x="1025884" y="1267263"/>
                  <a:pt x="1027707" y="1272730"/>
                  <a:pt x="1027707" y="1274552"/>
                </a:cubicBezTo>
                <a:cubicBezTo>
                  <a:pt x="1027707" y="1274552"/>
                  <a:pt x="1022240" y="1269085"/>
                  <a:pt x="1024062" y="1267263"/>
                </a:cubicBezTo>
                <a:close/>
                <a:moveTo>
                  <a:pt x="768959" y="1267263"/>
                </a:moveTo>
                <a:cubicBezTo>
                  <a:pt x="763491" y="1265441"/>
                  <a:pt x="763491" y="1278196"/>
                  <a:pt x="768959" y="1276374"/>
                </a:cubicBezTo>
                <a:cubicBezTo>
                  <a:pt x="770781" y="1272730"/>
                  <a:pt x="767136" y="1270908"/>
                  <a:pt x="768959" y="1267263"/>
                </a:cubicBezTo>
                <a:close/>
                <a:moveTo>
                  <a:pt x="747092" y="1267263"/>
                </a:moveTo>
                <a:cubicBezTo>
                  <a:pt x="745269" y="1272730"/>
                  <a:pt x="750737" y="1270908"/>
                  <a:pt x="752558" y="1267263"/>
                </a:cubicBezTo>
                <a:cubicBezTo>
                  <a:pt x="750737" y="1265441"/>
                  <a:pt x="748914" y="1267263"/>
                  <a:pt x="747092" y="1267263"/>
                </a:cubicBezTo>
                <a:close/>
                <a:moveTo>
                  <a:pt x="610429" y="1267263"/>
                </a:moveTo>
                <a:cubicBezTo>
                  <a:pt x="608606" y="1265441"/>
                  <a:pt x="606784" y="1269085"/>
                  <a:pt x="604963" y="1269085"/>
                </a:cubicBezTo>
                <a:cubicBezTo>
                  <a:pt x="604963" y="1272730"/>
                  <a:pt x="608606" y="1269085"/>
                  <a:pt x="610429" y="1267263"/>
                </a:cubicBezTo>
                <a:close/>
                <a:moveTo>
                  <a:pt x="553941" y="1267263"/>
                </a:moveTo>
                <a:cubicBezTo>
                  <a:pt x="552119" y="1269085"/>
                  <a:pt x="550297" y="1269085"/>
                  <a:pt x="550297" y="1270908"/>
                </a:cubicBezTo>
                <a:cubicBezTo>
                  <a:pt x="552119" y="1272730"/>
                  <a:pt x="555763" y="1269085"/>
                  <a:pt x="553941" y="1267263"/>
                </a:cubicBezTo>
                <a:close/>
                <a:moveTo>
                  <a:pt x="512031" y="1267263"/>
                </a:moveTo>
                <a:cubicBezTo>
                  <a:pt x="497454" y="1267263"/>
                  <a:pt x="512031" y="1270908"/>
                  <a:pt x="513853" y="1270908"/>
                </a:cubicBezTo>
                <a:cubicBezTo>
                  <a:pt x="515676" y="1269085"/>
                  <a:pt x="510209" y="1269085"/>
                  <a:pt x="512031" y="1267263"/>
                </a:cubicBezTo>
                <a:close/>
                <a:moveTo>
                  <a:pt x="464655" y="1267263"/>
                </a:moveTo>
                <a:cubicBezTo>
                  <a:pt x="459188" y="1267263"/>
                  <a:pt x="455544" y="1272730"/>
                  <a:pt x="450077" y="1276374"/>
                </a:cubicBezTo>
                <a:cubicBezTo>
                  <a:pt x="455544" y="1278196"/>
                  <a:pt x="446433" y="1278196"/>
                  <a:pt x="444611" y="1283663"/>
                </a:cubicBezTo>
                <a:cubicBezTo>
                  <a:pt x="451899" y="1294596"/>
                  <a:pt x="459188" y="1309173"/>
                  <a:pt x="470121" y="1292774"/>
                </a:cubicBezTo>
                <a:cubicBezTo>
                  <a:pt x="471943" y="1290951"/>
                  <a:pt x="473766" y="1290951"/>
                  <a:pt x="475589" y="1289129"/>
                </a:cubicBezTo>
                <a:cubicBezTo>
                  <a:pt x="475589" y="1289129"/>
                  <a:pt x="473766" y="1287307"/>
                  <a:pt x="473766" y="1287307"/>
                </a:cubicBezTo>
                <a:cubicBezTo>
                  <a:pt x="475589" y="1289129"/>
                  <a:pt x="477410" y="1290951"/>
                  <a:pt x="477410" y="1289129"/>
                </a:cubicBezTo>
                <a:cubicBezTo>
                  <a:pt x="477410" y="1287307"/>
                  <a:pt x="477410" y="1285485"/>
                  <a:pt x="477410" y="1283663"/>
                </a:cubicBezTo>
                <a:cubicBezTo>
                  <a:pt x="473766" y="1280018"/>
                  <a:pt x="466478" y="1280018"/>
                  <a:pt x="461010" y="1281841"/>
                </a:cubicBezTo>
                <a:cubicBezTo>
                  <a:pt x="464655" y="1287307"/>
                  <a:pt x="473766" y="1285485"/>
                  <a:pt x="470121" y="1292774"/>
                </a:cubicBezTo>
                <a:cubicBezTo>
                  <a:pt x="473766" y="1289129"/>
                  <a:pt x="462832" y="1283663"/>
                  <a:pt x="455544" y="1278196"/>
                </a:cubicBezTo>
                <a:cubicBezTo>
                  <a:pt x="461010" y="1280018"/>
                  <a:pt x="466478" y="1281841"/>
                  <a:pt x="470121" y="1276374"/>
                </a:cubicBezTo>
                <a:cubicBezTo>
                  <a:pt x="471943" y="1272730"/>
                  <a:pt x="468299" y="1269085"/>
                  <a:pt x="464655" y="1267263"/>
                </a:cubicBezTo>
                <a:close/>
                <a:moveTo>
                  <a:pt x="215017" y="1267263"/>
                </a:moveTo>
                <a:cubicBezTo>
                  <a:pt x="216839" y="1270908"/>
                  <a:pt x="220483" y="1272730"/>
                  <a:pt x="222306" y="1272730"/>
                </a:cubicBezTo>
                <a:cubicBezTo>
                  <a:pt x="220483" y="1278196"/>
                  <a:pt x="222306" y="1278196"/>
                  <a:pt x="225950" y="1278196"/>
                </a:cubicBezTo>
                <a:lnTo>
                  <a:pt x="225950" y="1272730"/>
                </a:lnTo>
                <a:lnTo>
                  <a:pt x="224583" y="1271363"/>
                </a:lnTo>
                <a:cubicBezTo>
                  <a:pt x="221394" y="1269997"/>
                  <a:pt x="217751" y="1269086"/>
                  <a:pt x="215017" y="1267263"/>
                </a:cubicBezTo>
                <a:close/>
                <a:moveTo>
                  <a:pt x="2818398" y="1267066"/>
                </a:moveTo>
                <a:lnTo>
                  <a:pt x="2818903" y="1267263"/>
                </a:lnTo>
                <a:lnTo>
                  <a:pt x="2818552" y="1267614"/>
                </a:lnTo>
                <a:close/>
                <a:moveTo>
                  <a:pt x="157734" y="1267028"/>
                </a:moveTo>
                <a:lnTo>
                  <a:pt x="162174" y="1270535"/>
                </a:lnTo>
                <a:lnTo>
                  <a:pt x="160352" y="1269768"/>
                </a:lnTo>
                <a:close/>
                <a:moveTo>
                  <a:pt x="907671" y="1265669"/>
                </a:moveTo>
                <a:cubicBezTo>
                  <a:pt x="906077" y="1266352"/>
                  <a:pt x="904710" y="1268175"/>
                  <a:pt x="903799" y="1270908"/>
                </a:cubicBezTo>
                <a:cubicBezTo>
                  <a:pt x="905621" y="1270908"/>
                  <a:pt x="907444" y="1272730"/>
                  <a:pt x="909265" y="1272730"/>
                </a:cubicBezTo>
                <a:cubicBezTo>
                  <a:pt x="909265" y="1270908"/>
                  <a:pt x="911087" y="1269085"/>
                  <a:pt x="912909" y="1267263"/>
                </a:cubicBezTo>
                <a:cubicBezTo>
                  <a:pt x="911087" y="1265441"/>
                  <a:pt x="909265" y="1264986"/>
                  <a:pt x="907671" y="1265669"/>
                </a:cubicBezTo>
                <a:close/>
                <a:moveTo>
                  <a:pt x="519940" y="1265596"/>
                </a:moveTo>
                <a:lnTo>
                  <a:pt x="526609" y="1267263"/>
                </a:lnTo>
                <a:lnTo>
                  <a:pt x="524040" y="1268547"/>
                </a:lnTo>
                <a:close/>
                <a:moveTo>
                  <a:pt x="1240901" y="1265441"/>
                </a:moveTo>
                <a:cubicBezTo>
                  <a:pt x="1242723" y="1270908"/>
                  <a:pt x="1242723" y="1276374"/>
                  <a:pt x="1246367" y="1281841"/>
                </a:cubicBezTo>
                <a:cubicBezTo>
                  <a:pt x="1246367" y="1280018"/>
                  <a:pt x="1246367" y="1280018"/>
                  <a:pt x="1248189" y="1278196"/>
                </a:cubicBezTo>
                <a:cubicBezTo>
                  <a:pt x="1246367" y="1276374"/>
                  <a:pt x="1250012" y="1272730"/>
                  <a:pt x="1246367" y="1272730"/>
                </a:cubicBezTo>
                <a:cubicBezTo>
                  <a:pt x="1245456" y="1271819"/>
                  <a:pt x="1245911" y="1271819"/>
                  <a:pt x="1246595" y="1271819"/>
                </a:cubicBezTo>
                <a:lnTo>
                  <a:pt x="1248148" y="1270931"/>
                </a:lnTo>
                <a:lnTo>
                  <a:pt x="1248218" y="1270985"/>
                </a:lnTo>
                <a:lnTo>
                  <a:pt x="1249328" y="1273869"/>
                </a:lnTo>
                <a:cubicBezTo>
                  <a:pt x="1249556" y="1275007"/>
                  <a:pt x="1250011" y="1276374"/>
                  <a:pt x="1251834" y="1278196"/>
                </a:cubicBezTo>
                <a:cubicBezTo>
                  <a:pt x="1252745" y="1275463"/>
                  <a:pt x="1250923" y="1273185"/>
                  <a:pt x="1248417" y="1271135"/>
                </a:cubicBezTo>
                <a:lnTo>
                  <a:pt x="1248218" y="1270985"/>
                </a:lnTo>
                <a:lnTo>
                  <a:pt x="1248189" y="1270908"/>
                </a:lnTo>
                <a:lnTo>
                  <a:pt x="1248148" y="1270931"/>
                </a:lnTo>
                <a:close/>
                <a:moveTo>
                  <a:pt x="1155259" y="1265441"/>
                </a:moveTo>
                <a:cubicBezTo>
                  <a:pt x="1153436" y="1265441"/>
                  <a:pt x="1153436" y="1267263"/>
                  <a:pt x="1153436" y="1269085"/>
                </a:cubicBezTo>
                <a:cubicBezTo>
                  <a:pt x="1157081" y="1270908"/>
                  <a:pt x="1157081" y="1270908"/>
                  <a:pt x="1157081" y="1274552"/>
                </a:cubicBezTo>
                <a:cubicBezTo>
                  <a:pt x="1162547" y="1274552"/>
                  <a:pt x="1160725" y="1263619"/>
                  <a:pt x="1155259" y="1265441"/>
                </a:cubicBezTo>
                <a:close/>
                <a:moveTo>
                  <a:pt x="402701" y="1265441"/>
                </a:moveTo>
                <a:lnTo>
                  <a:pt x="402923" y="1265508"/>
                </a:lnTo>
                <a:lnTo>
                  <a:pt x="412294" y="1270907"/>
                </a:lnTo>
                <a:lnTo>
                  <a:pt x="411812" y="1270907"/>
                </a:lnTo>
                <a:cubicBezTo>
                  <a:pt x="409078" y="1269541"/>
                  <a:pt x="406345" y="1267263"/>
                  <a:pt x="402701" y="1265441"/>
                </a:cubicBezTo>
                <a:close/>
                <a:moveTo>
                  <a:pt x="402017" y="1264986"/>
                </a:moveTo>
                <a:cubicBezTo>
                  <a:pt x="397690" y="1263164"/>
                  <a:pt x="393590" y="1262708"/>
                  <a:pt x="389946" y="1265441"/>
                </a:cubicBezTo>
                <a:cubicBezTo>
                  <a:pt x="393590" y="1270908"/>
                  <a:pt x="397234" y="1269085"/>
                  <a:pt x="402701" y="1270908"/>
                </a:cubicBezTo>
                <a:cubicBezTo>
                  <a:pt x="404523" y="1270908"/>
                  <a:pt x="400879" y="1269085"/>
                  <a:pt x="399056" y="1267263"/>
                </a:cubicBezTo>
                <a:cubicBezTo>
                  <a:pt x="404523" y="1265441"/>
                  <a:pt x="409989" y="1278196"/>
                  <a:pt x="415456" y="1272730"/>
                </a:cubicBezTo>
                <a:lnTo>
                  <a:pt x="412294" y="1270907"/>
                </a:lnTo>
                <a:lnTo>
                  <a:pt x="420923" y="1270908"/>
                </a:lnTo>
                <a:lnTo>
                  <a:pt x="402923" y="1265508"/>
                </a:lnTo>
                <a:close/>
                <a:moveTo>
                  <a:pt x="697134" y="1264378"/>
                </a:moveTo>
                <a:lnTo>
                  <a:pt x="694096" y="1267416"/>
                </a:lnTo>
                <a:lnTo>
                  <a:pt x="694932" y="1265669"/>
                </a:lnTo>
                <a:close/>
                <a:moveTo>
                  <a:pt x="3163294" y="1263619"/>
                </a:moveTo>
                <a:cubicBezTo>
                  <a:pt x="3163294" y="1267263"/>
                  <a:pt x="3163294" y="1269085"/>
                  <a:pt x="3166939" y="1269085"/>
                </a:cubicBezTo>
                <a:cubicBezTo>
                  <a:pt x="3166939" y="1267263"/>
                  <a:pt x="3166939" y="1265441"/>
                  <a:pt x="3166939" y="1263619"/>
                </a:cubicBezTo>
                <a:cubicBezTo>
                  <a:pt x="3165116" y="1263619"/>
                  <a:pt x="3163294" y="1263619"/>
                  <a:pt x="3163294" y="1263619"/>
                </a:cubicBezTo>
                <a:close/>
                <a:moveTo>
                  <a:pt x="1344765" y="1263619"/>
                </a:moveTo>
                <a:cubicBezTo>
                  <a:pt x="1346587" y="1267263"/>
                  <a:pt x="1346587" y="1270908"/>
                  <a:pt x="1341120" y="1274552"/>
                </a:cubicBezTo>
                <a:cubicBezTo>
                  <a:pt x="1341120" y="1274552"/>
                  <a:pt x="1339299" y="1272730"/>
                  <a:pt x="1339299" y="1272730"/>
                </a:cubicBezTo>
                <a:cubicBezTo>
                  <a:pt x="1341120" y="1274552"/>
                  <a:pt x="1341120" y="1276374"/>
                  <a:pt x="1339299" y="1276374"/>
                </a:cubicBezTo>
                <a:cubicBezTo>
                  <a:pt x="1333832" y="1272730"/>
                  <a:pt x="1339299" y="1267263"/>
                  <a:pt x="1344765" y="1263619"/>
                </a:cubicBezTo>
                <a:close/>
                <a:moveTo>
                  <a:pt x="1311966" y="1263619"/>
                </a:moveTo>
                <a:cubicBezTo>
                  <a:pt x="1310143" y="1263619"/>
                  <a:pt x="1310143" y="1265441"/>
                  <a:pt x="1308321" y="1265441"/>
                </a:cubicBezTo>
                <a:cubicBezTo>
                  <a:pt x="1311966" y="1269085"/>
                  <a:pt x="1310143" y="1270908"/>
                  <a:pt x="1311966" y="1272730"/>
                </a:cubicBezTo>
                <a:cubicBezTo>
                  <a:pt x="1311966" y="1269085"/>
                  <a:pt x="1311966" y="1265441"/>
                  <a:pt x="1311966" y="1263619"/>
                </a:cubicBezTo>
                <a:close/>
                <a:moveTo>
                  <a:pt x="1016774" y="1263619"/>
                </a:moveTo>
                <a:cubicBezTo>
                  <a:pt x="1020418" y="1269085"/>
                  <a:pt x="1022240" y="1269085"/>
                  <a:pt x="1027707" y="1274552"/>
                </a:cubicBezTo>
                <a:cubicBezTo>
                  <a:pt x="1045929" y="1303707"/>
                  <a:pt x="1067794" y="1310995"/>
                  <a:pt x="1087838" y="1331039"/>
                </a:cubicBezTo>
                <a:cubicBezTo>
                  <a:pt x="1093305" y="1316462"/>
                  <a:pt x="1071439" y="1294596"/>
                  <a:pt x="1058683" y="1289129"/>
                </a:cubicBezTo>
                <a:cubicBezTo>
                  <a:pt x="1060506" y="1285485"/>
                  <a:pt x="1062328" y="1290951"/>
                  <a:pt x="1064151" y="1289129"/>
                </a:cubicBezTo>
                <a:cubicBezTo>
                  <a:pt x="1062328" y="1285485"/>
                  <a:pt x="1058683" y="1283663"/>
                  <a:pt x="1056861" y="1281841"/>
                </a:cubicBezTo>
                <a:cubicBezTo>
                  <a:pt x="1055040" y="1278196"/>
                  <a:pt x="1049573" y="1274552"/>
                  <a:pt x="1047750" y="1272730"/>
                </a:cubicBezTo>
                <a:cubicBezTo>
                  <a:pt x="1047750" y="1276374"/>
                  <a:pt x="1053217" y="1281841"/>
                  <a:pt x="1056861" y="1281841"/>
                </a:cubicBezTo>
                <a:cubicBezTo>
                  <a:pt x="1055040" y="1283663"/>
                  <a:pt x="1056861" y="1285485"/>
                  <a:pt x="1058683" y="1287307"/>
                </a:cubicBezTo>
                <a:cubicBezTo>
                  <a:pt x="1047750" y="1287307"/>
                  <a:pt x="1047750" y="1272730"/>
                  <a:pt x="1042284" y="1267263"/>
                </a:cubicBezTo>
                <a:cubicBezTo>
                  <a:pt x="1036818" y="1261797"/>
                  <a:pt x="1031351" y="1267263"/>
                  <a:pt x="1024062" y="1263619"/>
                </a:cubicBezTo>
                <a:cubicBezTo>
                  <a:pt x="1022240" y="1263619"/>
                  <a:pt x="1024062" y="1265441"/>
                  <a:pt x="1024062" y="1265441"/>
                </a:cubicBezTo>
                <a:cubicBezTo>
                  <a:pt x="1022240" y="1263619"/>
                  <a:pt x="1018596" y="1261797"/>
                  <a:pt x="1016774" y="1263619"/>
                </a:cubicBezTo>
                <a:close/>
                <a:moveTo>
                  <a:pt x="1007663" y="1263619"/>
                </a:moveTo>
                <a:cubicBezTo>
                  <a:pt x="1002196" y="1263619"/>
                  <a:pt x="994907" y="1265441"/>
                  <a:pt x="993085" y="1272730"/>
                </a:cubicBezTo>
                <a:cubicBezTo>
                  <a:pt x="996729" y="1278196"/>
                  <a:pt x="1002196" y="1276374"/>
                  <a:pt x="1005840" y="1280018"/>
                </a:cubicBezTo>
                <a:cubicBezTo>
                  <a:pt x="1007663" y="1278196"/>
                  <a:pt x="1005840" y="1278196"/>
                  <a:pt x="1007663" y="1276374"/>
                </a:cubicBezTo>
                <a:cubicBezTo>
                  <a:pt x="1014951" y="1285485"/>
                  <a:pt x="1031351" y="1290951"/>
                  <a:pt x="1044106" y="1296418"/>
                </a:cubicBezTo>
                <a:cubicBezTo>
                  <a:pt x="1033173" y="1283663"/>
                  <a:pt x="1020418" y="1272730"/>
                  <a:pt x="1007663" y="1263619"/>
                </a:cubicBezTo>
                <a:close/>
                <a:moveTo>
                  <a:pt x="737981" y="1263619"/>
                </a:moveTo>
                <a:cubicBezTo>
                  <a:pt x="736159" y="1265441"/>
                  <a:pt x="739803" y="1265441"/>
                  <a:pt x="741626" y="1267263"/>
                </a:cubicBezTo>
                <a:cubicBezTo>
                  <a:pt x="741626" y="1263619"/>
                  <a:pt x="737981" y="1265441"/>
                  <a:pt x="737981" y="1263619"/>
                </a:cubicBezTo>
                <a:close/>
                <a:moveTo>
                  <a:pt x="251929" y="1263330"/>
                </a:moveTo>
                <a:lnTo>
                  <a:pt x="266762" y="1270532"/>
                </a:lnTo>
                <a:lnTo>
                  <a:pt x="267860" y="1272730"/>
                </a:lnTo>
                <a:cubicBezTo>
                  <a:pt x="260571" y="1269085"/>
                  <a:pt x="255105" y="1267263"/>
                  <a:pt x="251460" y="1263619"/>
                </a:cubicBezTo>
                <a:close/>
                <a:moveTo>
                  <a:pt x="726137" y="1263164"/>
                </a:moveTo>
                <a:cubicBezTo>
                  <a:pt x="725226" y="1263164"/>
                  <a:pt x="724315" y="1263619"/>
                  <a:pt x="723404" y="1263619"/>
                </a:cubicBezTo>
                <a:cubicBezTo>
                  <a:pt x="721581" y="1269085"/>
                  <a:pt x="730692" y="1281841"/>
                  <a:pt x="736159" y="1276374"/>
                </a:cubicBezTo>
                <a:cubicBezTo>
                  <a:pt x="734336" y="1269085"/>
                  <a:pt x="728870" y="1270908"/>
                  <a:pt x="725226" y="1265441"/>
                </a:cubicBezTo>
                <a:cubicBezTo>
                  <a:pt x="727048" y="1265441"/>
                  <a:pt x="727048" y="1267263"/>
                  <a:pt x="728870" y="1265441"/>
                </a:cubicBezTo>
                <a:cubicBezTo>
                  <a:pt x="727959" y="1263619"/>
                  <a:pt x="727048" y="1263164"/>
                  <a:pt x="726137" y="1263164"/>
                </a:cubicBezTo>
                <a:close/>
                <a:moveTo>
                  <a:pt x="667172" y="1262594"/>
                </a:moveTo>
                <a:cubicBezTo>
                  <a:pt x="665207" y="1263049"/>
                  <a:pt x="663271" y="1264985"/>
                  <a:pt x="661449" y="1269085"/>
                </a:cubicBezTo>
                <a:cubicBezTo>
                  <a:pt x="661449" y="1270908"/>
                  <a:pt x="665094" y="1276374"/>
                  <a:pt x="665094" y="1280018"/>
                </a:cubicBezTo>
                <a:cubicBezTo>
                  <a:pt x="666916" y="1281841"/>
                  <a:pt x="674205" y="1287307"/>
                  <a:pt x="672383" y="1280018"/>
                </a:cubicBezTo>
                <a:cubicBezTo>
                  <a:pt x="676027" y="1278196"/>
                  <a:pt x="674205" y="1285485"/>
                  <a:pt x="677849" y="1281841"/>
                </a:cubicBezTo>
                <a:cubicBezTo>
                  <a:pt x="674205" y="1278196"/>
                  <a:pt x="668738" y="1274552"/>
                  <a:pt x="668738" y="1267263"/>
                </a:cubicBezTo>
                <a:cubicBezTo>
                  <a:pt x="672383" y="1270908"/>
                  <a:pt x="674205" y="1280018"/>
                  <a:pt x="683316" y="1280018"/>
                </a:cubicBezTo>
                <a:cubicBezTo>
                  <a:pt x="679216" y="1273185"/>
                  <a:pt x="673066" y="1261227"/>
                  <a:pt x="667172" y="1262594"/>
                </a:cubicBezTo>
                <a:close/>
                <a:moveTo>
                  <a:pt x="3132317" y="1261797"/>
                </a:moveTo>
                <a:cubicBezTo>
                  <a:pt x="3125029" y="1258152"/>
                  <a:pt x="3125029" y="1267263"/>
                  <a:pt x="3125029" y="1270908"/>
                </a:cubicBezTo>
                <a:cubicBezTo>
                  <a:pt x="3121384" y="1270908"/>
                  <a:pt x="3121384" y="1265441"/>
                  <a:pt x="3114096" y="1267263"/>
                </a:cubicBezTo>
                <a:cubicBezTo>
                  <a:pt x="3114096" y="1276374"/>
                  <a:pt x="3103163" y="1269085"/>
                  <a:pt x="3097696" y="1274552"/>
                </a:cubicBezTo>
                <a:cubicBezTo>
                  <a:pt x="3095874" y="1280018"/>
                  <a:pt x="3104985" y="1276374"/>
                  <a:pt x="3104985" y="1281841"/>
                </a:cubicBezTo>
                <a:cubicBezTo>
                  <a:pt x="3106807" y="1280018"/>
                  <a:pt x="3106807" y="1276374"/>
                  <a:pt x="3106807" y="1274552"/>
                </a:cubicBezTo>
                <a:cubicBezTo>
                  <a:pt x="3110451" y="1276374"/>
                  <a:pt x="3106807" y="1283663"/>
                  <a:pt x="3104985" y="1285485"/>
                </a:cubicBezTo>
                <a:cubicBezTo>
                  <a:pt x="3110451" y="1283663"/>
                  <a:pt x="3110451" y="1287307"/>
                  <a:pt x="3115918" y="1289129"/>
                </a:cubicBezTo>
                <a:cubicBezTo>
                  <a:pt x="3115918" y="1285485"/>
                  <a:pt x="3115918" y="1280018"/>
                  <a:pt x="3114096" y="1278196"/>
                </a:cubicBezTo>
                <a:cubicBezTo>
                  <a:pt x="3116829" y="1278196"/>
                  <a:pt x="3118196" y="1281385"/>
                  <a:pt x="3118879" y="1285485"/>
                </a:cubicBezTo>
                <a:lnTo>
                  <a:pt x="3119473" y="1296572"/>
                </a:lnTo>
                <a:lnTo>
                  <a:pt x="3115918" y="1296418"/>
                </a:lnTo>
                <a:cubicBezTo>
                  <a:pt x="3119562" y="1298240"/>
                  <a:pt x="3117740" y="1305529"/>
                  <a:pt x="3123206" y="1307351"/>
                </a:cubicBezTo>
                <a:cubicBezTo>
                  <a:pt x="3130495" y="1305529"/>
                  <a:pt x="3137784" y="1301885"/>
                  <a:pt x="3134140" y="1294596"/>
                </a:cubicBezTo>
                <a:lnTo>
                  <a:pt x="3129218" y="1296043"/>
                </a:lnTo>
                <a:lnTo>
                  <a:pt x="3130495" y="1294596"/>
                </a:lnTo>
                <a:cubicBezTo>
                  <a:pt x="3126851" y="1294596"/>
                  <a:pt x="3125029" y="1294596"/>
                  <a:pt x="3123206" y="1292774"/>
                </a:cubicBezTo>
                <a:cubicBezTo>
                  <a:pt x="3125029" y="1290951"/>
                  <a:pt x="3128673" y="1290951"/>
                  <a:pt x="3126851" y="1285485"/>
                </a:cubicBezTo>
                <a:lnTo>
                  <a:pt x="3129281" y="1285485"/>
                </a:lnTo>
                <a:lnTo>
                  <a:pt x="3130164" y="1286810"/>
                </a:lnTo>
                <a:lnTo>
                  <a:pt x="3129584" y="1289130"/>
                </a:lnTo>
                <a:cubicBezTo>
                  <a:pt x="3129585" y="1290952"/>
                  <a:pt x="3130496" y="1292774"/>
                  <a:pt x="3134140" y="1292774"/>
                </a:cubicBezTo>
                <a:lnTo>
                  <a:pt x="3130164" y="1286810"/>
                </a:lnTo>
                <a:lnTo>
                  <a:pt x="3130495" y="1285485"/>
                </a:lnTo>
                <a:lnTo>
                  <a:pt x="3129281" y="1285485"/>
                </a:lnTo>
                <a:lnTo>
                  <a:pt x="3126851" y="1281841"/>
                </a:lnTo>
                <a:cubicBezTo>
                  <a:pt x="3132317" y="1280018"/>
                  <a:pt x="3130495" y="1274552"/>
                  <a:pt x="3132317" y="1270908"/>
                </a:cubicBezTo>
                <a:cubicBezTo>
                  <a:pt x="3130495" y="1269085"/>
                  <a:pt x="3128673" y="1269085"/>
                  <a:pt x="3126851" y="1269085"/>
                </a:cubicBezTo>
                <a:cubicBezTo>
                  <a:pt x="3128673" y="1265441"/>
                  <a:pt x="3132317" y="1265441"/>
                  <a:pt x="3132317" y="1261797"/>
                </a:cubicBezTo>
                <a:close/>
                <a:moveTo>
                  <a:pt x="1315610" y="1261797"/>
                </a:moveTo>
                <a:cubicBezTo>
                  <a:pt x="1313788" y="1263619"/>
                  <a:pt x="1313788" y="1269085"/>
                  <a:pt x="1315610" y="1272730"/>
                </a:cubicBezTo>
                <a:cubicBezTo>
                  <a:pt x="1317432" y="1269085"/>
                  <a:pt x="1319254" y="1265441"/>
                  <a:pt x="1317432" y="1261797"/>
                </a:cubicBezTo>
                <a:cubicBezTo>
                  <a:pt x="1317432" y="1261797"/>
                  <a:pt x="1315610" y="1261797"/>
                  <a:pt x="1315610" y="1261797"/>
                </a:cubicBezTo>
                <a:close/>
                <a:moveTo>
                  <a:pt x="1293744" y="1261797"/>
                </a:moveTo>
                <a:cubicBezTo>
                  <a:pt x="1291922" y="1265441"/>
                  <a:pt x="1282811" y="1261797"/>
                  <a:pt x="1282811" y="1269085"/>
                </a:cubicBezTo>
                <a:cubicBezTo>
                  <a:pt x="1286455" y="1272730"/>
                  <a:pt x="1290100" y="1272730"/>
                  <a:pt x="1293744" y="1274552"/>
                </a:cubicBezTo>
                <a:cubicBezTo>
                  <a:pt x="1295566" y="1272730"/>
                  <a:pt x="1295566" y="1270908"/>
                  <a:pt x="1293744" y="1269085"/>
                </a:cubicBezTo>
                <a:cubicBezTo>
                  <a:pt x="1295566" y="1267263"/>
                  <a:pt x="1295566" y="1270908"/>
                  <a:pt x="1297388" y="1270908"/>
                </a:cubicBezTo>
                <a:cubicBezTo>
                  <a:pt x="1299210" y="1267263"/>
                  <a:pt x="1297388" y="1269085"/>
                  <a:pt x="1301033" y="1267263"/>
                </a:cubicBezTo>
                <a:cubicBezTo>
                  <a:pt x="1301033" y="1263619"/>
                  <a:pt x="1297388" y="1263619"/>
                  <a:pt x="1293744" y="1261797"/>
                </a:cubicBezTo>
                <a:close/>
                <a:moveTo>
                  <a:pt x="1257300" y="1261797"/>
                </a:moveTo>
                <a:cubicBezTo>
                  <a:pt x="1255478" y="1265441"/>
                  <a:pt x="1253656" y="1269085"/>
                  <a:pt x="1257300" y="1272730"/>
                </a:cubicBezTo>
                <a:cubicBezTo>
                  <a:pt x="1257300" y="1272730"/>
                  <a:pt x="1259123" y="1270908"/>
                  <a:pt x="1259123" y="1270908"/>
                </a:cubicBezTo>
                <a:cubicBezTo>
                  <a:pt x="1259123" y="1272730"/>
                  <a:pt x="1259123" y="1272730"/>
                  <a:pt x="1259123" y="1274552"/>
                </a:cubicBezTo>
                <a:cubicBezTo>
                  <a:pt x="1262767" y="1274552"/>
                  <a:pt x="1266411" y="1270908"/>
                  <a:pt x="1270056" y="1269085"/>
                </a:cubicBezTo>
                <a:cubicBezTo>
                  <a:pt x="1268233" y="1267263"/>
                  <a:pt x="1268233" y="1269085"/>
                  <a:pt x="1266411" y="1267263"/>
                </a:cubicBezTo>
                <a:cubicBezTo>
                  <a:pt x="1264589" y="1267263"/>
                  <a:pt x="1264589" y="1269085"/>
                  <a:pt x="1262767" y="1269085"/>
                </a:cubicBezTo>
                <a:cubicBezTo>
                  <a:pt x="1264589" y="1265441"/>
                  <a:pt x="1260945" y="1265441"/>
                  <a:pt x="1257300" y="1261797"/>
                </a:cubicBezTo>
                <a:close/>
                <a:moveTo>
                  <a:pt x="1217213" y="1261797"/>
                </a:moveTo>
                <a:cubicBezTo>
                  <a:pt x="1219036" y="1261797"/>
                  <a:pt x="1219036" y="1269085"/>
                  <a:pt x="1220858" y="1263619"/>
                </a:cubicBezTo>
                <a:cubicBezTo>
                  <a:pt x="1222679" y="1265441"/>
                  <a:pt x="1219036" y="1267263"/>
                  <a:pt x="1219036" y="1269085"/>
                </a:cubicBezTo>
                <a:cubicBezTo>
                  <a:pt x="1219036" y="1267263"/>
                  <a:pt x="1217213" y="1263619"/>
                  <a:pt x="1217213" y="1261797"/>
                </a:cubicBezTo>
                <a:close/>
                <a:moveTo>
                  <a:pt x="1011307" y="1261797"/>
                </a:moveTo>
                <a:cubicBezTo>
                  <a:pt x="1009485" y="1265441"/>
                  <a:pt x="1018596" y="1269085"/>
                  <a:pt x="1020418" y="1269085"/>
                </a:cubicBezTo>
                <a:cubicBezTo>
                  <a:pt x="1016774" y="1265441"/>
                  <a:pt x="1014951" y="1261797"/>
                  <a:pt x="1011307" y="1261797"/>
                </a:cubicBezTo>
                <a:close/>
                <a:moveTo>
                  <a:pt x="781713" y="1261797"/>
                </a:moveTo>
                <a:cubicBezTo>
                  <a:pt x="783535" y="1263619"/>
                  <a:pt x="783535" y="1265441"/>
                  <a:pt x="783535" y="1267263"/>
                </a:cubicBezTo>
                <a:lnTo>
                  <a:pt x="785248" y="1263837"/>
                </a:lnTo>
                <a:lnTo>
                  <a:pt x="785403" y="1263926"/>
                </a:lnTo>
                <a:lnTo>
                  <a:pt x="786040" y="1268174"/>
                </a:lnTo>
                <a:cubicBezTo>
                  <a:pt x="784902" y="1269541"/>
                  <a:pt x="783535" y="1270907"/>
                  <a:pt x="785357" y="1272730"/>
                </a:cubicBezTo>
                <a:cubicBezTo>
                  <a:pt x="788091" y="1269996"/>
                  <a:pt x="788547" y="1267263"/>
                  <a:pt x="787635" y="1265213"/>
                </a:cubicBezTo>
                <a:lnTo>
                  <a:pt x="785403" y="1263926"/>
                </a:lnTo>
                <a:lnTo>
                  <a:pt x="785357" y="1263619"/>
                </a:lnTo>
                <a:lnTo>
                  <a:pt x="785248" y="1263837"/>
                </a:lnTo>
                <a:close/>
                <a:moveTo>
                  <a:pt x="508387" y="1261797"/>
                </a:moveTo>
                <a:cubicBezTo>
                  <a:pt x="508387" y="1263619"/>
                  <a:pt x="513853" y="1265441"/>
                  <a:pt x="515676" y="1263619"/>
                </a:cubicBezTo>
                <a:cubicBezTo>
                  <a:pt x="513853" y="1259975"/>
                  <a:pt x="510209" y="1263619"/>
                  <a:pt x="508387" y="1261797"/>
                </a:cubicBezTo>
                <a:close/>
                <a:moveTo>
                  <a:pt x="409989" y="1261797"/>
                </a:moveTo>
                <a:cubicBezTo>
                  <a:pt x="408167" y="1265441"/>
                  <a:pt x="415456" y="1265441"/>
                  <a:pt x="417278" y="1265441"/>
                </a:cubicBezTo>
                <a:cubicBezTo>
                  <a:pt x="413634" y="1261797"/>
                  <a:pt x="413634" y="1265441"/>
                  <a:pt x="409989" y="1261797"/>
                </a:cubicBezTo>
                <a:close/>
                <a:moveTo>
                  <a:pt x="1782276" y="1261498"/>
                </a:moveTo>
                <a:lnTo>
                  <a:pt x="1787552" y="1270996"/>
                </a:lnTo>
                <a:lnTo>
                  <a:pt x="1786495" y="1270996"/>
                </a:lnTo>
                <a:lnTo>
                  <a:pt x="1789376" y="1278196"/>
                </a:lnTo>
                <a:cubicBezTo>
                  <a:pt x="1793020" y="1278196"/>
                  <a:pt x="1794842" y="1281841"/>
                  <a:pt x="1796664" y="1283663"/>
                </a:cubicBezTo>
                <a:close/>
                <a:moveTo>
                  <a:pt x="1133848" y="1260886"/>
                </a:moveTo>
                <a:cubicBezTo>
                  <a:pt x="1131115" y="1261341"/>
                  <a:pt x="1128838" y="1263619"/>
                  <a:pt x="1127926" y="1267263"/>
                </a:cubicBezTo>
                <a:cubicBezTo>
                  <a:pt x="1129748" y="1270908"/>
                  <a:pt x="1133393" y="1269085"/>
                  <a:pt x="1135215" y="1272730"/>
                </a:cubicBezTo>
                <a:lnTo>
                  <a:pt x="1138859" y="1269085"/>
                </a:lnTo>
                <a:lnTo>
                  <a:pt x="1140681" y="1278196"/>
                </a:lnTo>
                <a:cubicBezTo>
                  <a:pt x="1140681" y="1278196"/>
                  <a:pt x="1140681" y="1276374"/>
                  <a:pt x="1142503" y="1276374"/>
                </a:cubicBezTo>
                <a:cubicBezTo>
                  <a:pt x="1140681" y="1274552"/>
                  <a:pt x="1140681" y="1274552"/>
                  <a:pt x="1142503" y="1272730"/>
                </a:cubicBezTo>
                <a:cubicBezTo>
                  <a:pt x="1140681" y="1271819"/>
                  <a:pt x="1140225" y="1270908"/>
                  <a:pt x="1139998" y="1270224"/>
                </a:cubicBezTo>
                <a:lnTo>
                  <a:pt x="1138859" y="1269085"/>
                </a:lnTo>
                <a:lnTo>
                  <a:pt x="1142503" y="1265441"/>
                </a:lnTo>
                <a:cubicBezTo>
                  <a:pt x="1139770" y="1261796"/>
                  <a:pt x="1136581" y="1260430"/>
                  <a:pt x="1133848" y="1260886"/>
                </a:cubicBezTo>
                <a:close/>
                <a:moveTo>
                  <a:pt x="2940989" y="1260658"/>
                </a:moveTo>
                <a:cubicBezTo>
                  <a:pt x="2928689" y="1261797"/>
                  <a:pt x="2916390" y="1267264"/>
                  <a:pt x="2910012" y="1274552"/>
                </a:cubicBezTo>
                <a:cubicBezTo>
                  <a:pt x="2911834" y="1280018"/>
                  <a:pt x="2913656" y="1283663"/>
                  <a:pt x="2913656" y="1289129"/>
                </a:cubicBezTo>
                <a:cubicBezTo>
                  <a:pt x="2913656" y="1287307"/>
                  <a:pt x="2910012" y="1287307"/>
                  <a:pt x="2906368" y="1287307"/>
                </a:cubicBezTo>
                <a:cubicBezTo>
                  <a:pt x="2902724" y="1283663"/>
                  <a:pt x="2900901" y="1280018"/>
                  <a:pt x="2895435" y="1280018"/>
                </a:cubicBezTo>
                <a:cubicBezTo>
                  <a:pt x="2899079" y="1289129"/>
                  <a:pt x="2897257" y="1294596"/>
                  <a:pt x="2902724" y="1301885"/>
                </a:cubicBezTo>
                <a:cubicBezTo>
                  <a:pt x="2900901" y="1307351"/>
                  <a:pt x="2900901" y="1300062"/>
                  <a:pt x="2899079" y="1300062"/>
                </a:cubicBezTo>
                <a:cubicBezTo>
                  <a:pt x="2888146" y="1301885"/>
                  <a:pt x="2897257" y="1314640"/>
                  <a:pt x="2899079" y="1320106"/>
                </a:cubicBezTo>
                <a:cubicBezTo>
                  <a:pt x="2893613" y="1323751"/>
                  <a:pt x="2891790" y="1312818"/>
                  <a:pt x="2891790" y="1321929"/>
                </a:cubicBezTo>
                <a:cubicBezTo>
                  <a:pt x="2886324" y="1321929"/>
                  <a:pt x="2889968" y="1314640"/>
                  <a:pt x="2882680" y="1318284"/>
                </a:cubicBezTo>
                <a:cubicBezTo>
                  <a:pt x="2888146" y="1307351"/>
                  <a:pt x="2880857" y="1301885"/>
                  <a:pt x="2875391" y="1298240"/>
                </a:cubicBezTo>
                <a:cubicBezTo>
                  <a:pt x="2880857" y="1296418"/>
                  <a:pt x="2882680" y="1303707"/>
                  <a:pt x="2886324" y="1305529"/>
                </a:cubicBezTo>
                <a:cubicBezTo>
                  <a:pt x="2886324" y="1301885"/>
                  <a:pt x="2886324" y="1301885"/>
                  <a:pt x="2888146" y="1298240"/>
                </a:cubicBezTo>
                <a:cubicBezTo>
                  <a:pt x="2891790" y="1298240"/>
                  <a:pt x="2889968" y="1303707"/>
                  <a:pt x="2889968" y="1305529"/>
                </a:cubicBezTo>
                <a:cubicBezTo>
                  <a:pt x="2899079" y="1303707"/>
                  <a:pt x="2891790" y="1289129"/>
                  <a:pt x="2886324" y="1289129"/>
                </a:cubicBezTo>
                <a:cubicBezTo>
                  <a:pt x="2889968" y="1285485"/>
                  <a:pt x="2893613" y="1292774"/>
                  <a:pt x="2897257" y="1290951"/>
                </a:cubicBezTo>
                <a:cubicBezTo>
                  <a:pt x="2899079" y="1287307"/>
                  <a:pt x="2895435" y="1287307"/>
                  <a:pt x="2895435" y="1283663"/>
                </a:cubicBezTo>
                <a:cubicBezTo>
                  <a:pt x="2886324" y="1287307"/>
                  <a:pt x="2880857" y="1294596"/>
                  <a:pt x="2869924" y="1296418"/>
                </a:cubicBezTo>
                <a:cubicBezTo>
                  <a:pt x="2869924" y="1305529"/>
                  <a:pt x="2875391" y="1316462"/>
                  <a:pt x="2864458" y="1316462"/>
                </a:cubicBezTo>
                <a:cubicBezTo>
                  <a:pt x="2864458" y="1323751"/>
                  <a:pt x="2857169" y="1323751"/>
                  <a:pt x="2853525" y="1329217"/>
                </a:cubicBezTo>
                <a:cubicBezTo>
                  <a:pt x="2853525" y="1347439"/>
                  <a:pt x="2864458" y="1352905"/>
                  <a:pt x="2875391" y="1358372"/>
                </a:cubicBezTo>
                <a:cubicBezTo>
                  <a:pt x="2875391" y="1354728"/>
                  <a:pt x="2875391" y="1349261"/>
                  <a:pt x="2873569" y="1347439"/>
                </a:cubicBezTo>
                <a:cubicBezTo>
                  <a:pt x="2879035" y="1347439"/>
                  <a:pt x="2879035" y="1362016"/>
                  <a:pt x="2884502" y="1365661"/>
                </a:cubicBezTo>
                <a:cubicBezTo>
                  <a:pt x="2886324" y="1365661"/>
                  <a:pt x="2889968" y="1365661"/>
                  <a:pt x="2891790" y="1365661"/>
                </a:cubicBezTo>
                <a:cubicBezTo>
                  <a:pt x="2899079" y="1352905"/>
                  <a:pt x="2908190" y="1341972"/>
                  <a:pt x="2917301" y="1329217"/>
                </a:cubicBezTo>
                <a:cubicBezTo>
                  <a:pt x="2915479" y="1323751"/>
                  <a:pt x="2915479" y="1320106"/>
                  <a:pt x="2915479" y="1314640"/>
                </a:cubicBezTo>
                <a:cubicBezTo>
                  <a:pt x="2919123" y="1314640"/>
                  <a:pt x="2917301" y="1321929"/>
                  <a:pt x="2919123" y="1325573"/>
                </a:cubicBezTo>
                <a:cubicBezTo>
                  <a:pt x="2928234" y="1321929"/>
                  <a:pt x="2926412" y="1309173"/>
                  <a:pt x="2933700" y="1309173"/>
                </a:cubicBezTo>
                <a:cubicBezTo>
                  <a:pt x="2935523" y="1305529"/>
                  <a:pt x="2930056" y="1307351"/>
                  <a:pt x="2928234" y="1307351"/>
                </a:cubicBezTo>
                <a:cubicBezTo>
                  <a:pt x="2933700" y="1303707"/>
                  <a:pt x="2928234" y="1301885"/>
                  <a:pt x="2928234" y="1296418"/>
                </a:cubicBezTo>
                <a:cubicBezTo>
                  <a:pt x="2933700" y="1296418"/>
                  <a:pt x="2935523" y="1301885"/>
                  <a:pt x="2935523" y="1307351"/>
                </a:cubicBezTo>
                <a:cubicBezTo>
                  <a:pt x="2948278" y="1309173"/>
                  <a:pt x="2942811" y="1294596"/>
                  <a:pt x="2951922" y="1292774"/>
                </a:cubicBezTo>
                <a:cubicBezTo>
                  <a:pt x="2951922" y="1296418"/>
                  <a:pt x="2950100" y="1296418"/>
                  <a:pt x="2950100" y="1301885"/>
                </a:cubicBezTo>
                <a:cubicBezTo>
                  <a:pt x="2964677" y="1298240"/>
                  <a:pt x="2979255" y="1292774"/>
                  <a:pt x="2992010" y="1287307"/>
                </a:cubicBezTo>
                <a:cubicBezTo>
                  <a:pt x="2992010" y="1285485"/>
                  <a:pt x="2990188" y="1280018"/>
                  <a:pt x="2993832" y="1281841"/>
                </a:cubicBezTo>
                <a:cubicBezTo>
                  <a:pt x="2992010" y="1280018"/>
                  <a:pt x="2986543" y="1278196"/>
                  <a:pt x="2986543" y="1281841"/>
                </a:cubicBezTo>
                <a:cubicBezTo>
                  <a:pt x="2982899" y="1278196"/>
                  <a:pt x="2984721" y="1276374"/>
                  <a:pt x="2984721" y="1270908"/>
                </a:cubicBezTo>
                <a:cubicBezTo>
                  <a:pt x="2982899" y="1272730"/>
                  <a:pt x="2981077" y="1276374"/>
                  <a:pt x="2982899" y="1278196"/>
                </a:cubicBezTo>
                <a:cubicBezTo>
                  <a:pt x="2979255" y="1279107"/>
                  <a:pt x="2977888" y="1279563"/>
                  <a:pt x="2976749" y="1279563"/>
                </a:cubicBezTo>
                <a:lnTo>
                  <a:pt x="2971967" y="1278196"/>
                </a:lnTo>
                <a:lnTo>
                  <a:pt x="2974016" y="1276829"/>
                </a:lnTo>
                <a:cubicBezTo>
                  <a:pt x="2976522" y="1275463"/>
                  <a:pt x="2978344" y="1273641"/>
                  <a:pt x="2977432" y="1269085"/>
                </a:cubicBezTo>
                <a:cubicBezTo>
                  <a:pt x="2973788" y="1269085"/>
                  <a:pt x="2971966" y="1269085"/>
                  <a:pt x="2971966" y="1272730"/>
                </a:cubicBezTo>
                <a:cubicBezTo>
                  <a:pt x="2965589" y="1262708"/>
                  <a:pt x="2953289" y="1259519"/>
                  <a:pt x="2940989" y="1260658"/>
                </a:cubicBezTo>
                <a:close/>
                <a:moveTo>
                  <a:pt x="1328034" y="1260140"/>
                </a:moveTo>
                <a:lnTo>
                  <a:pt x="1328365" y="1261797"/>
                </a:lnTo>
                <a:cubicBezTo>
                  <a:pt x="1330188" y="1258152"/>
                  <a:pt x="1332009" y="1269085"/>
                  <a:pt x="1333832" y="1270908"/>
                </a:cubicBezTo>
                <a:lnTo>
                  <a:pt x="1331098" y="1273095"/>
                </a:lnTo>
                <a:lnTo>
                  <a:pt x="1330188" y="1265441"/>
                </a:lnTo>
                <a:cubicBezTo>
                  <a:pt x="1328365" y="1259975"/>
                  <a:pt x="1328365" y="1267263"/>
                  <a:pt x="1328365" y="1269085"/>
                </a:cubicBezTo>
                <a:lnTo>
                  <a:pt x="1329276" y="1274552"/>
                </a:lnTo>
                <a:lnTo>
                  <a:pt x="1327769" y="1275758"/>
                </a:lnTo>
                <a:lnTo>
                  <a:pt x="1325982" y="1272609"/>
                </a:lnTo>
                <a:lnTo>
                  <a:pt x="1326543" y="1269085"/>
                </a:lnTo>
                <a:lnTo>
                  <a:pt x="1326034" y="1269668"/>
                </a:lnTo>
                <a:lnTo>
                  <a:pt x="1324721" y="1261797"/>
                </a:lnTo>
                <a:close/>
                <a:moveTo>
                  <a:pt x="3010232" y="1259975"/>
                </a:moveTo>
                <a:cubicBezTo>
                  <a:pt x="3013876" y="1259975"/>
                  <a:pt x="3012054" y="1265441"/>
                  <a:pt x="3012054" y="1267263"/>
                </a:cubicBezTo>
                <a:cubicBezTo>
                  <a:pt x="3010232" y="1267263"/>
                  <a:pt x="3010232" y="1263619"/>
                  <a:pt x="3010232" y="1259975"/>
                </a:cubicBezTo>
                <a:close/>
                <a:moveTo>
                  <a:pt x="2986543" y="1259975"/>
                </a:moveTo>
                <a:cubicBezTo>
                  <a:pt x="2982899" y="1259975"/>
                  <a:pt x="2982899" y="1263619"/>
                  <a:pt x="2982899" y="1265441"/>
                </a:cubicBezTo>
                <a:cubicBezTo>
                  <a:pt x="2984721" y="1265441"/>
                  <a:pt x="2986543" y="1265441"/>
                  <a:pt x="2988366" y="1265441"/>
                </a:cubicBezTo>
                <a:cubicBezTo>
                  <a:pt x="2988366" y="1263619"/>
                  <a:pt x="2986543" y="1261797"/>
                  <a:pt x="2986543" y="1259975"/>
                </a:cubicBezTo>
                <a:close/>
                <a:moveTo>
                  <a:pt x="1319254" y="1259975"/>
                </a:moveTo>
                <a:cubicBezTo>
                  <a:pt x="1317432" y="1261797"/>
                  <a:pt x="1319254" y="1265441"/>
                  <a:pt x="1319254" y="1267263"/>
                </a:cubicBezTo>
                <a:cubicBezTo>
                  <a:pt x="1319254" y="1269085"/>
                  <a:pt x="1317432" y="1267263"/>
                  <a:pt x="1317432" y="1267263"/>
                </a:cubicBezTo>
                <a:cubicBezTo>
                  <a:pt x="1317432" y="1269085"/>
                  <a:pt x="1315610" y="1270908"/>
                  <a:pt x="1319254" y="1274552"/>
                </a:cubicBezTo>
                <a:cubicBezTo>
                  <a:pt x="1324721" y="1270908"/>
                  <a:pt x="1328365" y="1263619"/>
                  <a:pt x="1319254" y="1259975"/>
                </a:cubicBezTo>
                <a:close/>
                <a:moveTo>
                  <a:pt x="1306499" y="1259975"/>
                </a:moveTo>
                <a:cubicBezTo>
                  <a:pt x="1308321" y="1261797"/>
                  <a:pt x="1306499" y="1261797"/>
                  <a:pt x="1308321" y="1263619"/>
                </a:cubicBezTo>
                <a:cubicBezTo>
                  <a:pt x="1310143" y="1261797"/>
                  <a:pt x="1310143" y="1261797"/>
                  <a:pt x="1313788" y="1259975"/>
                </a:cubicBezTo>
                <a:cubicBezTo>
                  <a:pt x="1311966" y="1258152"/>
                  <a:pt x="1308321" y="1258152"/>
                  <a:pt x="1306499" y="1259975"/>
                </a:cubicBezTo>
                <a:close/>
                <a:moveTo>
                  <a:pt x="1164370" y="1259975"/>
                </a:moveTo>
                <a:cubicBezTo>
                  <a:pt x="1162547" y="1261797"/>
                  <a:pt x="1164370" y="1265441"/>
                  <a:pt x="1166192" y="1265441"/>
                </a:cubicBezTo>
                <a:lnTo>
                  <a:pt x="1166192" y="1266124"/>
                </a:lnTo>
                <a:cubicBezTo>
                  <a:pt x="1165736" y="1267263"/>
                  <a:pt x="1165282" y="1268174"/>
                  <a:pt x="1166192" y="1269085"/>
                </a:cubicBezTo>
                <a:cubicBezTo>
                  <a:pt x="1166192" y="1269085"/>
                  <a:pt x="1164370" y="1270908"/>
                  <a:pt x="1164370" y="1270908"/>
                </a:cubicBezTo>
                <a:cubicBezTo>
                  <a:pt x="1164370" y="1272730"/>
                  <a:pt x="1166192" y="1274552"/>
                  <a:pt x="1168014" y="1274552"/>
                </a:cubicBezTo>
                <a:cubicBezTo>
                  <a:pt x="1169836" y="1274552"/>
                  <a:pt x="1168014" y="1272730"/>
                  <a:pt x="1169836" y="1270908"/>
                </a:cubicBezTo>
                <a:cubicBezTo>
                  <a:pt x="1168014" y="1269085"/>
                  <a:pt x="1168014" y="1270908"/>
                  <a:pt x="1166192" y="1269085"/>
                </a:cubicBezTo>
                <a:cubicBezTo>
                  <a:pt x="1169836" y="1265441"/>
                  <a:pt x="1169836" y="1263619"/>
                  <a:pt x="1169836" y="1259975"/>
                </a:cubicBezTo>
                <a:cubicBezTo>
                  <a:pt x="1168014" y="1259975"/>
                  <a:pt x="1166192" y="1261797"/>
                  <a:pt x="1164370" y="1259975"/>
                </a:cubicBezTo>
                <a:close/>
                <a:moveTo>
                  <a:pt x="1073262" y="1259975"/>
                </a:moveTo>
                <a:cubicBezTo>
                  <a:pt x="1069616" y="1261797"/>
                  <a:pt x="1071439" y="1261797"/>
                  <a:pt x="1071439" y="1263619"/>
                </a:cubicBezTo>
                <a:cubicBezTo>
                  <a:pt x="1064151" y="1261797"/>
                  <a:pt x="1056861" y="1261797"/>
                  <a:pt x="1049573" y="1261797"/>
                </a:cubicBezTo>
                <a:cubicBezTo>
                  <a:pt x="1060506" y="1269085"/>
                  <a:pt x="1075083" y="1274552"/>
                  <a:pt x="1087838" y="1276374"/>
                </a:cubicBezTo>
                <a:cubicBezTo>
                  <a:pt x="1086016" y="1267263"/>
                  <a:pt x="1080549" y="1261797"/>
                  <a:pt x="1073262" y="1259975"/>
                </a:cubicBezTo>
                <a:close/>
                <a:moveTo>
                  <a:pt x="389946" y="1259975"/>
                </a:moveTo>
                <a:cubicBezTo>
                  <a:pt x="389946" y="1261797"/>
                  <a:pt x="393590" y="1265441"/>
                  <a:pt x="395412" y="1261797"/>
                </a:cubicBezTo>
                <a:cubicBezTo>
                  <a:pt x="393590" y="1258152"/>
                  <a:pt x="393590" y="1263619"/>
                  <a:pt x="389946" y="1259975"/>
                </a:cubicBezTo>
                <a:close/>
                <a:moveTo>
                  <a:pt x="284259" y="1259975"/>
                </a:moveTo>
                <a:cubicBezTo>
                  <a:pt x="286082" y="1263619"/>
                  <a:pt x="291549" y="1265441"/>
                  <a:pt x="293370" y="1267263"/>
                </a:cubicBezTo>
                <a:cubicBezTo>
                  <a:pt x="295193" y="1265441"/>
                  <a:pt x="295193" y="1263619"/>
                  <a:pt x="291549" y="1259975"/>
                </a:cubicBezTo>
                <a:cubicBezTo>
                  <a:pt x="287904" y="1259975"/>
                  <a:pt x="287904" y="1261797"/>
                  <a:pt x="284259" y="1259975"/>
                </a:cubicBezTo>
                <a:close/>
                <a:moveTo>
                  <a:pt x="3354851" y="1259291"/>
                </a:moveTo>
                <a:cubicBezTo>
                  <a:pt x="3352800" y="1259975"/>
                  <a:pt x="3350978" y="1260886"/>
                  <a:pt x="3350978" y="1259975"/>
                </a:cubicBezTo>
                <a:cubicBezTo>
                  <a:pt x="3347334" y="1263619"/>
                  <a:pt x="3354623" y="1265441"/>
                  <a:pt x="3358267" y="1265441"/>
                </a:cubicBezTo>
                <a:cubicBezTo>
                  <a:pt x="3360089" y="1263619"/>
                  <a:pt x="3360089" y="1261797"/>
                  <a:pt x="3360089" y="1259975"/>
                </a:cubicBezTo>
                <a:cubicBezTo>
                  <a:pt x="3359178" y="1258152"/>
                  <a:pt x="3356900" y="1258608"/>
                  <a:pt x="3354851" y="1259291"/>
                </a:cubicBezTo>
                <a:close/>
                <a:moveTo>
                  <a:pt x="1041828" y="1258836"/>
                </a:moveTo>
                <a:cubicBezTo>
                  <a:pt x="1040917" y="1258152"/>
                  <a:pt x="1039550" y="1258152"/>
                  <a:pt x="1038639" y="1259975"/>
                </a:cubicBezTo>
                <a:cubicBezTo>
                  <a:pt x="1040462" y="1259975"/>
                  <a:pt x="1040462" y="1261797"/>
                  <a:pt x="1042284" y="1261797"/>
                </a:cubicBezTo>
                <a:cubicBezTo>
                  <a:pt x="1043195" y="1260886"/>
                  <a:pt x="1042739" y="1259519"/>
                  <a:pt x="1041828" y="1258836"/>
                </a:cubicBezTo>
                <a:close/>
                <a:moveTo>
                  <a:pt x="3254403" y="1258152"/>
                </a:moveTo>
                <a:lnTo>
                  <a:pt x="3256225" y="1261797"/>
                </a:lnTo>
                <a:cubicBezTo>
                  <a:pt x="3256225" y="1259975"/>
                  <a:pt x="3256225" y="1256330"/>
                  <a:pt x="3256225" y="1258152"/>
                </a:cubicBezTo>
                <a:cubicBezTo>
                  <a:pt x="3254403" y="1258152"/>
                  <a:pt x="3254403" y="1258152"/>
                  <a:pt x="3254403" y="1258152"/>
                </a:cubicBezTo>
                <a:close/>
                <a:moveTo>
                  <a:pt x="2962855" y="1258152"/>
                </a:moveTo>
                <a:cubicBezTo>
                  <a:pt x="2962855" y="1263619"/>
                  <a:pt x="2968322" y="1261797"/>
                  <a:pt x="2971966" y="1263619"/>
                </a:cubicBezTo>
                <a:cubicBezTo>
                  <a:pt x="2971966" y="1261797"/>
                  <a:pt x="2971966" y="1259975"/>
                  <a:pt x="2971966" y="1258152"/>
                </a:cubicBezTo>
                <a:cubicBezTo>
                  <a:pt x="2968322" y="1259975"/>
                  <a:pt x="2968322" y="1258152"/>
                  <a:pt x="2962855" y="1258152"/>
                </a:cubicBezTo>
                <a:close/>
                <a:moveTo>
                  <a:pt x="2396159" y="1258152"/>
                </a:moveTo>
                <a:cubicBezTo>
                  <a:pt x="2388871" y="1256330"/>
                  <a:pt x="2388871" y="1261797"/>
                  <a:pt x="2390693" y="1267263"/>
                </a:cubicBezTo>
                <a:cubicBezTo>
                  <a:pt x="2394337" y="1265441"/>
                  <a:pt x="2390693" y="1259975"/>
                  <a:pt x="2396159" y="1258152"/>
                </a:cubicBezTo>
                <a:close/>
                <a:moveTo>
                  <a:pt x="1415829" y="1258152"/>
                </a:moveTo>
                <a:cubicBezTo>
                  <a:pt x="1417652" y="1261797"/>
                  <a:pt x="1419474" y="1258152"/>
                  <a:pt x="1421296" y="1259975"/>
                </a:cubicBezTo>
                <a:lnTo>
                  <a:pt x="1414664" y="1270398"/>
                </a:lnTo>
                <a:close/>
                <a:moveTo>
                  <a:pt x="1297388" y="1258152"/>
                </a:moveTo>
                <a:lnTo>
                  <a:pt x="1300867" y="1259312"/>
                </a:lnTo>
                <a:lnTo>
                  <a:pt x="1301033" y="1259975"/>
                </a:lnTo>
                <a:lnTo>
                  <a:pt x="1297388" y="1259714"/>
                </a:lnTo>
                <a:close/>
                <a:moveTo>
                  <a:pt x="1129748" y="1258152"/>
                </a:moveTo>
                <a:cubicBezTo>
                  <a:pt x="1126104" y="1256330"/>
                  <a:pt x="1122459" y="1258152"/>
                  <a:pt x="1118815" y="1259975"/>
                </a:cubicBezTo>
                <a:cubicBezTo>
                  <a:pt x="1116993" y="1263619"/>
                  <a:pt x="1120637" y="1267263"/>
                  <a:pt x="1124282" y="1267263"/>
                </a:cubicBezTo>
                <a:cubicBezTo>
                  <a:pt x="1127926" y="1265441"/>
                  <a:pt x="1127926" y="1261797"/>
                  <a:pt x="1129748" y="1258152"/>
                </a:cubicBezTo>
                <a:close/>
                <a:moveTo>
                  <a:pt x="703359" y="1258152"/>
                </a:moveTo>
                <a:cubicBezTo>
                  <a:pt x="703359" y="1263619"/>
                  <a:pt x="710648" y="1261797"/>
                  <a:pt x="712470" y="1259975"/>
                </a:cubicBezTo>
                <a:cubicBezTo>
                  <a:pt x="710648" y="1256330"/>
                  <a:pt x="705182" y="1259975"/>
                  <a:pt x="703359" y="1258152"/>
                </a:cubicBezTo>
                <a:close/>
                <a:moveTo>
                  <a:pt x="499276" y="1258152"/>
                </a:moveTo>
                <a:cubicBezTo>
                  <a:pt x="488343" y="1254508"/>
                  <a:pt x="481054" y="1259975"/>
                  <a:pt x="471943" y="1265441"/>
                </a:cubicBezTo>
                <a:cubicBezTo>
                  <a:pt x="475589" y="1267263"/>
                  <a:pt x="479232" y="1261797"/>
                  <a:pt x="481054" y="1267263"/>
                </a:cubicBezTo>
                <a:cubicBezTo>
                  <a:pt x="477410" y="1269085"/>
                  <a:pt x="470121" y="1265441"/>
                  <a:pt x="466478" y="1267263"/>
                </a:cubicBezTo>
                <a:cubicBezTo>
                  <a:pt x="477410" y="1287307"/>
                  <a:pt x="502920" y="1289129"/>
                  <a:pt x="517498" y="1285485"/>
                </a:cubicBezTo>
                <a:cubicBezTo>
                  <a:pt x="519320" y="1283663"/>
                  <a:pt x="513853" y="1283663"/>
                  <a:pt x="512031" y="1283663"/>
                </a:cubicBezTo>
                <a:cubicBezTo>
                  <a:pt x="512031" y="1280018"/>
                  <a:pt x="512031" y="1280018"/>
                  <a:pt x="515676" y="1280018"/>
                </a:cubicBezTo>
                <a:cubicBezTo>
                  <a:pt x="513853" y="1274552"/>
                  <a:pt x="506565" y="1274552"/>
                  <a:pt x="504743" y="1269085"/>
                </a:cubicBezTo>
                <a:cubicBezTo>
                  <a:pt x="504743" y="1270908"/>
                  <a:pt x="506565" y="1272730"/>
                  <a:pt x="508387" y="1270908"/>
                </a:cubicBezTo>
                <a:cubicBezTo>
                  <a:pt x="506565" y="1270908"/>
                  <a:pt x="504743" y="1267263"/>
                  <a:pt x="504743" y="1267263"/>
                </a:cubicBezTo>
                <a:cubicBezTo>
                  <a:pt x="497454" y="1270908"/>
                  <a:pt x="490165" y="1274552"/>
                  <a:pt x="486521" y="1281841"/>
                </a:cubicBezTo>
                <a:cubicBezTo>
                  <a:pt x="484700" y="1274552"/>
                  <a:pt x="491987" y="1272730"/>
                  <a:pt x="495632" y="1269085"/>
                </a:cubicBezTo>
                <a:cubicBezTo>
                  <a:pt x="491987" y="1267263"/>
                  <a:pt x="488343" y="1267263"/>
                  <a:pt x="484700" y="1265441"/>
                </a:cubicBezTo>
                <a:cubicBezTo>
                  <a:pt x="488343" y="1261797"/>
                  <a:pt x="491987" y="1261797"/>
                  <a:pt x="493809" y="1265441"/>
                </a:cubicBezTo>
                <a:cubicBezTo>
                  <a:pt x="491987" y="1265441"/>
                  <a:pt x="493809" y="1263619"/>
                  <a:pt x="491987" y="1261797"/>
                </a:cubicBezTo>
                <a:cubicBezTo>
                  <a:pt x="493809" y="1263619"/>
                  <a:pt x="497454" y="1265441"/>
                  <a:pt x="499276" y="1263619"/>
                </a:cubicBezTo>
                <a:cubicBezTo>
                  <a:pt x="501098" y="1261797"/>
                  <a:pt x="495632" y="1259975"/>
                  <a:pt x="499276" y="1258152"/>
                </a:cubicBezTo>
                <a:close/>
                <a:moveTo>
                  <a:pt x="1277344" y="1256330"/>
                </a:moveTo>
                <a:cubicBezTo>
                  <a:pt x="1279166" y="1258152"/>
                  <a:pt x="1282811" y="1258152"/>
                  <a:pt x="1280989" y="1261797"/>
                </a:cubicBezTo>
                <a:lnTo>
                  <a:pt x="1281445" y="1261797"/>
                </a:lnTo>
                <a:lnTo>
                  <a:pt x="1282811" y="1263619"/>
                </a:lnTo>
                <a:cubicBezTo>
                  <a:pt x="1282811" y="1263619"/>
                  <a:pt x="1284633" y="1261797"/>
                  <a:pt x="1284633" y="1261797"/>
                </a:cubicBezTo>
                <a:lnTo>
                  <a:pt x="1281445" y="1261797"/>
                </a:lnTo>
                <a:close/>
                <a:moveTo>
                  <a:pt x="1093305" y="1256330"/>
                </a:moveTo>
                <a:cubicBezTo>
                  <a:pt x="1091484" y="1256330"/>
                  <a:pt x="1091484" y="1263619"/>
                  <a:pt x="1087838" y="1259975"/>
                </a:cubicBezTo>
                <a:cubicBezTo>
                  <a:pt x="1086016" y="1265441"/>
                  <a:pt x="1087838" y="1270908"/>
                  <a:pt x="1091484" y="1278196"/>
                </a:cubicBezTo>
                <a:cubicBezTo>
                  <a:pt x="1095127" y="1278196"/>
                  <a:pt x="1091484" y="1276374"/>
                  <a:pt x="1093305" y="1274552"/>
                </a:cubicBezTo>
                <a:cubicBezTo>
                  <a:pt x="1096949" y="1276374"/>
                  <a:pt x="1095127" y="1276374"/>
                  <a:pt x="1093305" y="1280018"/>
                </a:cubicBezTo>
                <a:cubicBezTo>
                  <a:pt x="1096949" y="1281841"/>
                  <a:pt x="1102416" y="1283663"/>
                  <a:pt x="1104238" y="1278196"/>
                </a:cubicBezTo>
                <a:cubicBezTo>
                  <a:pt x="1100593" y="1270908"/>
                  <a:pt x="1095127" y="1263619"/>
                  <a:pt x="1093305" y="1256330"/>
                </a:cubicBezTo>
                <a:close/>
                <a:moveTo>
                  <a:pt x="1075083" y="1256330"/>
                </a:moveTo>
                <a:cubicBezTo>
                  <a:pt x="1073262" y="1259975"/>
                  <a:pt x="1076905" y="1259975"/>
                  <a:pt x="1078727" y="1261797"/>
                </a:cubicBezTo>
                <a:cubicBezTo>
                  <a:pt x="1082373" y="1259975"/>
                  <a:pt x="1078727" y="1258152"/>
                  <a:pt x="1078727" y="1256330"/>
                </a:cubicBezTo>
                <a:cubicBezTo>
                  <a:pt x="1076905" y="1256330"/>
                  <a:pt x="1076905" y="1258152"/>
                  <a:pt x="1075083" y="1256330"/>
                </a:cubicBezTo>
                <a:close/>
                <a:moveTo>
                  <a:pt x="989441" y="1256330"/>
                </a:moveTo>
                <a:cubicBezTo>
                  <a:pt x="987619" y="1256330"/>
                  <a:pt x="985796" y="1256330"/>
                  <a:pt x="983974" y="1258152"/>
                </a:cubicBezTo>
                <a:cubicBezTo>
                  <a:pt x="985796" y="1261797"/>
                  <a:pt x="987619" y="1256330"/>
                  <a:pt x="989441" y="1256330"/>
                </a:cubicBezTo>
                <a:close/>
                <a:moveTo>
                  <a:pt x="659627" y="1256330"/>
                </a:moveTo>
                <a:cubicBezTo>
                  <a:pt x="657805" y="1261797"/>
                  <a:pt x="666916" y="1261797"/>
                  <a:pt x="666916" y="1258152"/>
                </a:cubicBezTo>
                <a:cubicBezTo>
                  <a:pt x="665094" y="1256330"/>
                  <a:pt x="661449" y="1259975"/>
                  <a:pt x="659627" y="1256330"/>
                </a:cubicBezTo>
                <a:close/>
                <a:moveTo>
                  <a:pt x="652339" y="1256330"/>
                </a:moveTo>
                <a:cubicBezTo>
                  <a:pt x="652339" y="1258152"/>
                  <a:pt x="657805" y="1261797"/>
                  <a:pt x="657805" y="1258152"/>
                </a:cubicBezTo>
                <a:cubicBezTo>
                  <a:pt x="655983" y="1256330"/>
                  <a:pt x="654161" y="1259975"/>
                  <a:pt x="652339" y="1256330"/>
                </a:cubicBezTo>
                <a:close/>
                <a:moveTo>
                  <a:pt x="645050" y="1256330"/>
                </a:moveTo>
                <a:cubicBezTo>
                  <a:pt x="637761" y="1256330"/>
                  <a:pt x="637761" y="1263619"/>
                  <a:pt x="635939" y="1270908"/>
                </a:cubicBezTo>
                <a:cubicBezTo>
                  <a:pt x="641407" y="1278196"/>
                  <a:pt x="645050" y="1280018"/>
                  <a:pt x="645050" y="1289129"/>
                </a:cubicBezTo>
                <a:cubicBezTo>
                  <a:pt x="643228" y="1292774"/>
                  <a:pt x="652339" y="1292774"/>
                  <a:pt x="657805" y="1296418"/>
                </a:cubicBezTo>
                <a:cubicBezTo>
                  <a:pt x="652339" y="1300062"/>
                  <a:pt x="645050" y="1290951"/>
                  <a:pt x="641407" y="1298240"/>
                </a:cubicBezTo>
                <a:cubicBezTo>
                  <a:pt x="637761" y="1303707"/>
                  <a:pt x="646872" y="1307351"/>
                  <a:pt x="648694" y="1309173"/>
                </a:cubicBezTo>
                <a:cubicBezTo>
                  <a:pt x="652339" y="1309173"/>
                  <a:pt x="654161" y="1307351"/>
                  <a:pt x="654161" y="1303707"/>
                </a:cubicBezTo>
                <a:cubicBezTo>
                  <a:pt x="654161" y="1309173"/>
                  <a:pt x="655983" y="1310995"/>
                  <a:pt x="659627" y="1310995"/>
                </a:cubicBezTo>
                <a:cubicBezTo>
                  <a:pt x="661449" y="1310995"/>
                  <a:pt x="661449" y="1305529"/>
                  <a:pt x="666916" y="1305529"/>
                </a:cubicBezTo>
                <a:cubicBezTo>
                  <a:pt x="663272" y="1301885"/>
                  <a:pt x="661449" y="1300062"/>
                  <a:pt x="661449" y="1296418"/>
                </a:cubicBezTo>
                <a:cubicBezTo>
                  <a:pt x="666916" y="1283663"/>
                  <a:pt x="663272" y="1270908"/>
                  <a:pt x="655983" y="1265441"/>
                </a:cubicBezTo>
                <a:cubicBezTo>
                  <a:pt x="655983" y="1263619"/>
                  <a:pt x="650516" y="1267263"/>
                  <a:pt x="646872" y="1269085"/>
                </a:cubicBezTo>
                <a:cubicBezTo>
                  <a:pt x="648694" y="1267263"/>
                  <a:pt x="652339" y="1261797"/>
                  <a:pt x="657805" y="1261797"/>
                </a:cubicBezTo>
                <a:cubicBezTo>
                  <a:pt x="654161" y="1259975"/>
                  <a:pt x="648694" y="1256330"/>
                  <a:pt x="645050" y="1256330"/>
                </a:cubicBezTo>
                <a:close/>
                <a:moveTo>
                  <a:pt x="550297" y="1256330"/>
                </a:moveTo>
                <a:cubicBezTo>
                  <a:pt x="546653" y="1256330"/>
                  <a:pt x="544830" y="1256330"/>
                  <a:pt x="543008" y="1258152"/>
                </a:cubicBezTo>
                <a:cubicBezTo>
                  <a:pt x="546653" y="1263619"/>
                  <a:pt x="548475" y="1258152"/>
                  <a:pt x="550297" y="1256330"/>
                </a:cubicBezTo>
                <a:close/>
                <a:moveTo>
                  <a:pt x="421184" y="1256224"/>
                </a:moveTo>
                <a:lnTo>
                  <a:pt x="423200" y="1257469"/>
                </a:lnTo>
                <a:lnTo>
                  <a:pt x="426726" y="1261797"/>
                </a:lnTo>
                <a:lnTo>
                  <a:pt x="424567" y="1261797"/>
                </a:lnTo>
                <a:lnTo>
                  <a:pt x="420923" y="1256330"/>
                </a:lnTo>
                <a:close/>
                <a:moveTo>
                  <a:pt x="265354" y="1254963"/>
                </a:moveTo>
                <a:cubicBezTo>
                  <a:pt x="263760" y="1255419"/>
                  <a:pt x="262393" y="1256330"/>
                  <a:pt x="260571" y="1256330"/>
                </a:cubicBezTo>
                <a:cubicBezTo>
                  <a:pt x="260571" y="1259975"/>
                  <a:pt x="267860" y="1258152"/>
                  <a:pt x="271504" y="1256330"/>
                </a:cubicBezTo>
                <a:cubicBezTo>
                  <a:pt x="268771" y="1254508"/>
                  <a:pt x="266949" y="1254508"/>
                  <a:pt x="265354" y="1254963"/>
                </a:cubicBezTo>
                <a:close/>
                <a:moveTo>
                  <a:pt x="3318179" y="1254508"/>
                </a:moveTo>
                <a:cubicBezTo>
                  <a:pt x="3316357" y="1258152"/>
                  <a:pt x="3316357" y="1259975"/>
                  <a:pt x="3312713" y="1261797"/>
                </a:cubicBezTo>
                <a:cubicBezTo>
                  <a:pt x="3318179" y="1263619"/>
                  <a:pt x="3310890" y="1269085"/>
                  <a:pt x="3314535" y="1276374"/>
                </a:cubicBezTo>
                <a:cubicBezTo>
                  <a:pt x="3320001" y="1272730"/>
                  <a:pt x="3329112" y="1265441"/>
                  <a:pt x="3329112" y="1274552"/>
                </a:cubicBezTo>
                <a:cubicBezTo>
                  <a:pt x="3336401" y="1263619"/>
                  <a:pt x="3320001" y="1263619"/>
                  <a:pt x="3318179" y="1254508"/>
                </a:cubicBezTo>
                <a:close/>
                <a:moveTo>
                  <a:pt x="3008410" y="1254508"/>
                </a:moveTo>
                <a:cubicBezTo>
                  <a:pt x="3010232" y="1259975"/>
                  <a:pt x="3006587" y="1276374"/>
                  <a:pt x="3015698" y="1272730"/>
                </a:cubicBezTo>
                <a:cubicBezTo>
                  <a:pt x="3015698" y="1270908"/>
                  <a:pt x="3013876" y="1269085"/>
                  <a:pt x="3012054" y="1267263"/>
                </a:cubicBezTo>
                <a:cubicBezTo>
                  <a:pt x="3015698" y="1265441"/>
                  <a:pt x="3013876" y="1265441"/>
                  <a:pt x="3015698" y="1269085"/>
                </a:cubicBezTo>
                <a:cubicBezTo>
                  <a:pt x="3021165" y="1269085"/>
                  <a:pt x="3024809" y="1258152"/>
                  <a:pt x="3017521" y="1258152"/>
                </a:cubicBezTo>
                <a:cubicBezTo>
                  <a:pt x="3017521" y="1258152"/>
                  <a:pt x="3019343" y="1258152"/>
                  <a:pt x="3019343" y="1256330"/>
                </a:cubicBezTo>
                <a:cubicBezTo>
                  <a:pt x="3021165" y="1256330"/>
                  <a:pt x="3021165" y="1256330"/>
                  <a:pt x="3021165" y="1258152"/>
                </a:cubicBezTo>
                <a:cubicBezTo>
                  <a:pt x="3026631" y="1249042"/>
                  <a:pt x="3013876" y="1259975"/>
                  <a:pt x="3008410" y="1254508"/>
                </a:cubicBezTo>
                <a:close/>
                <a:moveTo>
                  <a:pt x="1242723" y="1254508"/>
                </a:moveTo>
                <a:cubicBezTo>
                  <a:pt x="1244545" y="1261797"/>
                  <a:pt x="1250012" y="1261797"/>
                  <a:pt x="1251834" y="1267263"/>
                </a:cubicBezTo>
                <a:cubicBezTo>
                  <a:pt x="1251834" y="1265441"/>
                  <a:pt x="1253656" y="1267263"/>
                  <a:pt x="1253656" y="1265441"/>
                </a:cubicBezTo>
                <a:cubicBezTo>
                  <a:pt x="1253656" y="1261797"/>
                  <a:pt x="1251834" y="1267263"/>
                  <a:pt x="1251834" y="1263619"/>
                </a:cubicBezTo>
                <a:cubicBezTo>
                  <a:pt x="1251834" y="1261797"/>
                  <a:pt x="1253656" y="1263619"/>
                  <a:pt x="1253656" y="1261797"/>
                </a:cubicBezTo>
                <a:cubicBezTo>
                  <a:pt x="1250012" y="1256330"/>
                  <a:pt x="1246367" y="1256330"/>
                  <a:pt x="1242723" y="1254508"/>
                </a:cubicBezTo>
                <a:close/>
                <a:moveTo>
                  <a:pt x="898333" y="1254508"/>
                </a:moveTo>
                <a:cubicBezTo>
                  <a:pt x="896510" y="1259975"/>
                  <a:pt x="896510" y="1263619"/>
                  <a:pt x="896510" y="1267263"/>
                </a:cubicBezTo>
                <a:cubicBezTo>
                  <a:pt x="901976" y="1270908"/>
                  <a:pt x="901976" y="1263619"/>
                  <a:pt x="905621" y="1258152"/>
                </a:cubicBezTo>
                <a:cubicBezTo>
                  <a:pt x="903799" y="1254508"/>
                  <a:pt x="900154" y="1256330"/>
                  <a:pt x="898333" y="1254508"/>
                </a:cubicBezTo>
                <a:close/>
                <a:moveTo>
                  <a:pt x="725226" y="1254508"/>
                </a:moveTo>
                <a:cubicBezTo>
                  <a:pt x="725226" y="1259975"/>
                  <a:pt x="727048" y="1258152"/>
                  <a:pt x="728870" y="1256330"/>
                </a:cubicBezTo>
                <a:cubicBezTo>
                  <a:pt x="728870" y="1254508"/>
                  <a:pt x="727048" y="1254508"/>
                  <a:pt x="725226" y="1254508"/>
                </a:cubicBezTo>
                <a:close/>
                <a:moveTo>
                  <a:pt x="692426" y="1254508"/>
                </a:moveTo>
                <a:lnTo>
                  <a:pt x="681802" y="1258492"/>
                </a:lnTo>
                <a:lnTo>
                  <a:pt x="681493" y="1258152"/>
                </a:lnTo>
                <a:lnTo>
                  <a:pt x="681581" y="1258575"/>
                </a:lnTo>
                <a:lnTo>
                  <a:pt x="677849" y="1259975"/>
                </a:lnTo>
                <a:cubicBezTo>
                  <a:pt x="679671" y="1263619"/>
                  <a:pt x="683316" y="1265441"/>
                  <a:pt x="685138" y="1269085"/>
                </a:cubicBezTo>
                <a:cubicBezTo>
                  <a:pt x="683315" y="1267263"/>
                  <a:pt x="682860" y="1265441"/>
                  <a:pt x="682632" y="1263619"/>
                </a:cubicBezTo>
                <a:lnTo>
                  <a:pt x="681581" y="1258575"/>
                </a:lnTo>
                <a:lnTo>
                  <a:pt x="681802" y="1258492"/>
                </a:lnTo>
                <a:lnTo>
                  <a:pt x="686050" y="1263163"/>
                </a:lnTo>
                <a:cubicBezTo>
                  <a:pt x="686960" y="1265896"/>
                  <a:pt x="687872" y="1269086"/>
                  <a:pt x="690604" y="1270908"/>
                </a:cubicBezTo>
                <a:lnTo>
                  <a:pt x="694096" y="1267416"/>
                </a:lnTo>
                <a:lnTo>
                  <a:pt x="692426" y="1270908"/>
                </a:lnTo>
                <a:cubicBezTo>
                  <a:pt x="696071" y="1278196"/>
                  <a:pt x="701537" y="1263619"/>
                  <a:pt x="708826" y="1263619"/>
                </a:cubicBezTo>
                <a:cubicBezTo>
                  <a:pt x="707004" y="1263619"/>
                  <a:pt x="705182" y="1263619"/>
                  <a:pt x="701537" y="1261797"/>
                </a:cubicBezTo>
                <a:lnTo>
                  <a:pt x="697134" y="1264378"/>
                </a:lnTo>
                <a:lnTo>
                  <a:pt x="701537" y="1259975"/>
                </a:lnTo>
                <a:cubicBezTo>
                  <a:pt x="701537" y="1254508"/>
                  <a:pt x="690604" y="1263619"/>
                  <a:pt x="692426" y="1254508"/>
                </a:cubicBezTo>
                <a:close/>
                <a:moveTo>
                  <a:pt x="244172" y="1254508"/>
                </a:moveTo>
                <a:cubicBezTo>
                  <a:pt x="244172" y="1256330"/>
                  <a:pt x="247816" y="1259975"/>
                  <a:pt x="249638" y="1261797"/>
                </a:cubicBezTo>
                <a:cubicBezTo>
                  <a:pt x="249638" y="1258152"/>
                  <a:pt x="253282" y="1259975"/>
                  <a:pt x="255105" y="1254508"/>
                </a:cubicBezTo>
                <a:cubicBezTo>
                  <a:pt x="253282" y="1252686"/>
                  <a:pt x="247816" y="1252686"/>
                  <a:pt x="244172" y="1254508"/>
                </a:cubicBezTo>
                <a:close/>
                <a:moveTo>
                  <a:pt x="224128" y="1254508"/>
                </a:moveTo>
                <a:lnTo>
                  <a:pt x="231236" y="1254508"/>
                </a:lnTo>
                <a:lnTo>
                  <a:pt x="234684" y="1255664"/>
                </a:lnTo>
                <a:lnTo>
                  <a:pt x="242349" y="1261797"/>
                </a:lnTo>
                <a:cubicBezTo>
                  <a:pt x="238705" y="1259975"/>
                  <a:pt x="227772" y="1258152"/>
                  <a:pt x="224128" y="1254508"/>
                </a:cubicBezTo>
                <a:close/>
                <a:moveTo>
                  <a:pt x="145774" y="1254508"/>
                </a:moveTo>
                <a:lnTo>
                  <a:pt x="157734" y="1267028"/>
                </a:lnTo>
                <a:lnTo>
                  <a:pt x="147165" y="1258681"/>
                </a:lnTo>
                <a:close/>
                <a:moveTo>
                  <a:pt x="2694996" y="1252686"/>
                </a:moveTo>
                <a:cubicBezTo>
                  <a:pt x="2696818" y="1270908"/>
                  <a:pt x="2705929" y="1285485"/>
                  <a:pt x="2718684" y="1292774"/>
                </a:cubicBezTo>
                <a:cubicBezTo>
                  <a:pt x="2700462" y="1292774"/>
                  <a:pt x="2691351" y="1274552"/>
                  <a:pt x="2689529" y="1256330"/>
                </a:cubicBezTo>
                <a:cubicBezTo>
                  <a:pt x="2687707" y="1259975"/>
                  <a:pt x="2684063" y="1258152"/>
                  <a:pt x="2676774" y="1259975"/>
                </a:cubicBezTo>
                <a:cubicBezTo>
                  <a:pt x="2693174" y="1278196"/>
                  <a:pt x="2702284" y="1303707"/>
                  <a:pt x="2720506" y="1321929"/>
                </a:cubicBezTo>
                <a:cubicBezTo>
                  <a:pt x="2722328" y="1301885"/>
                  <a:pt x="2729617" y="1278196"/>
                  <a:pt x="2731439" y="1256330"/>
                </a:cubicBezTo>
                <a:cubicBezTo>
                  <a:pt x="2725973" y="1261797"/>
                  <a:pt x="2727795" y="1252686"/>
                  <a:pt x="2720506" y="1254508"/>
                </a:cubicBezTo>
                <a:cubicBezTo>
                  <a:pt x="2718684" y="1261797"/>
                  <a:pt x="2724150" y="1259975"/>
                  <a:pt x="2725973" y="1263619"/>
                </a:cubicBezTo>
                <a:cubicBezTo>
                  <a:pt x="2720506" y="1267263"/>
                  <a:pt x="2720506" y="1259975"/>
                  <a:pt x="2716862" y="1258152"/>
                </a:cubicBezTo>
                <a:cubicBezTo>
                  <a:pt x="2711395" y="1258152"/>
                  <a:pt x="2713217" y="1263619"/>
                  <a:pt x="2705929" y="1261797"/>
                </a:cubicBezTo>
                <a:cubicBezTo>
                  <a:pt x="2700462" y="1259975"/>
                  <a:pt x="2704106" y="1250864"/>
                  <a:pt x="2694996" y="1252686"/>
                </a:cubicBezTo>
                <a:close/>
                <a:moveTo>
                  <a:pt x="1158903" y="1252686"/>
                </a:moveTo>
                <a:cubicBezTo>
                  <a:pt x="1157081" y="1254508"/>
                  <a:pt x="1157081" y="1254508"/>
                  <a:pt x="1158903" y="1254508"/>
                </a:cubicBezTo>
                <a:cubicBezTo>
                  <a:pt x="1158903" y="1256330"/>
                  <a:pt x="1160725" y="1256330"/>
                  <a:pt x="1162547" y="1254508"/>
                </a:cubicBezTo>
                <a:cubicBezTo>
                  <a:pt x="1160725" y="1254508"/>
                  <a:pt x="1160725" y="1252686"/>
                  <a:pt x="1158903" y="1252686"/>
                </a:cubicBezTo>
                <a:close/>
                <a:moveTo>
                  <a:pt x="1095127" y="1252686"/>
                </a:moveTo>
                <a:cubicBezTo>
                  <a:pt x="1095127" y="1258152"/>
                  <a:pt x="1098771" y="1265441"/>
                  <a:pt x="1104238" y="1267263"/>
                </a:cubicBezTo>
                <a:cubicBezTo>
                  <a:pt x="1106060" y="1269085"/>
                  <a:pt x="1102416" y="1267263"/>
                  <a:pt x="1102416" y="1269085"/>
                </a:cubicBezTo>
                <a:cubicBezTo>
                  <a:pt x="1106060" y="1270908"/>
                  <a:pt x="1104238" y="1272730"/>
                  <a:pt x="1106060" y="1274552"/>
                </a:cubicBezTo>
                <a:cubicBezTo>
                  <a:pt x="1109704" y="1269085"/>
                  <a:pt x="1109704" y="1263619"/>
                  <a:pt x="1106060" y="1254508"/>
                </a:cubicBezTo>
                <a:cubicBezTo>
                  <a:pt x="1102416" y="1252686"/>
                  <a:pt x="1098771" y="1252686"/>
                  <a:pt x="1095127" y="1252686"/>
                </a:cubicBezTo>
                <a:close/>
                <a:moveTo>
                  <a:pt x="934777" y="1252686"/>
                </a:moveTo>
                <a:cubicBezTo>
                  <a:pt x="927487" y="1258152"/>
                  <a:pt x="934777" y="1267263"/>
                  <a:pt x="938420" y="1265441"/>
                </a:cubicBezTo>
                <a:cubicBezTo>
                  <a:pt x="943886" y="1267263"/>
                  <a:pt x="934777" y="1263619"/>
                  <a:pt x="936598" y="1258152"/>
                </a:cubicBezTo>
                <a:cubicBezTo>
                  <a:pt x="940242" y="1261797"/>
                  <a:pt x="940242" y="1259975"/>
                  <a:pt x="943886" y="1258152"/>
                </a:cubicBezTo>
                <a:cubicBezTo>
                  <a:pt x="942064" y="1254508"/>
                  <a:pt x="938420" y="1254508"/>
                  <a:pt x="934777" y="1252686"/>
                </a:cubicBezTo>
                <a:close/>
                <a:moveTo>
                  <a:pt x="743447" y="1252686"/>
                </a:moveTo>
                <a:cubicBezTo>
                  <a:pt x="741626" y="1252686"/>
                  <a:pt x="739803" y="1254508"/>
                  <a:pt x="737981" y="1256330"/>
                </a:cubicBezTo>
                <a:cubicBezTo>
                  <a:pt x="739803" y="1258152"/>
                  <a:pt x="743447" y="1254508"/>
                  <a:pt x="745269" y="1258152"/>
                </a:cubicBezTo>
                <a:cubicBezTo>
                  <a:pt x="745269" y="1256330"/>
                  <a:pt x="743447" y="1254508"/>
                  <a:pt x="743447" y="1252686"/>
                </a:cubicBezTo>
                <a:close/>
                <a:moveTo>
                  <a:pt x="692426" y="1252686"/>
                </a:moveTo>
                <a:cubicBezTo>
                  <a:pt x="692426" y="1256330"/>
                  <a:pt x="697893" y="1254508"/>
                  <a:pt x="699715" y="1256330"/>
                </a:cubicBezTo>
                <a:cubicBezTo>
                  <a:pt x="699715" y="1252686"/>
                  <a:pt x="694249" y="1252686"/>
                  <a:pt x="692426" y="1252686"/>
                </a:cubicBezTo>
                <a:close/>
                <a:moveTo>
                  <a:pt x="173107" y="1252686"/>
                </a:moveTo>
                <a:lnTo>
                  <a:pt x="196187" y="1264923"/>
                </a:lnTo>
                <a:lnTo>
                  <a:pt x="193378" y="1264302"/>
                </a:lnTo>
                <a:cubicBezTo>
                  <a:pt x="186773" y="1260886"/>
                  <a:pt x="180395" y="1256330"/>
                  <a:pt x="173107" y="1252686"/>
                </a:cubicBezTo>
                <a:close/>
                <a:moveTo>
                  <a:pt x="304075" y="1252458"/>
                </a:moveTo>
                <a:cubicBezTo>
                  <a:pt x="304303" y="1251775"/>
                  <a:pt x="305214" y="1251775"/>
                  <a:pt x="307948" y="1252686"/>
                </a:cubicBezTo>
                <a:cubicBezTo>
                  <a:pt x="307948" y="1252686"/>
                  <a:pt x="304303" y="1254508"/>
                  <a:pt x="304303" y="1256330"/>
                </a:cubicBezTo>
                <a:cubicBezTo>
                  <a:pt x="304303" y="1254508"/>
                  <a:pt x="303847" y="1253142"/>
                  <a:pt x="304075" y="1252458"/>
                </a:cubicBezTo>
                <a:close/>
                <a:moveTo>
                  <a:pt x="1153436" y="1252230"/>
                </a:moveTo>
                <a:cubicBezTo>
                  <a:pt x="1152980" y="1253142"/>
                  <a:pt x="1152525" y="1254508"/>
                  <a:pt x="1151614" y="1254508"/>
                </a:cubicBezTo>
                <a:cubicBezTo>
                  <a:pt x="1151614" y="1254508"/>
                  <a:pt x="1153436" y="1256330"/>
                  <a:pt x="1153436" y="1256330"/>
                </a:cubicBezTo>
                <a:cubicBezTo>
                  <a:pt x="1155259" y="1254508"/>
                  <a:pt x="1151614" y="1254508"/>
                  <a:pt x="1155259" y="1252686"/>
                </a:cubicBezTo>
                <a:cubicBezTo>
                  <a:pt x="1154347" y="1250864"/>
                  <a:pt x="1153892" y="1251320"/>
                  <a:pt x="1153436" y="1252230"/>
                </a:cubicBezTo>
                <a:close/>
                <a:moveTo>
                  <a:pt x="982835" y="1252230"/>
                </a:moveTo>
                <a:cubicBezTo>
                  <a:pt x="980786" y="1254508"/>
                  <a:pt x="979419" y="1258152"/>
                  <a:pt x="980330" y="1259975"/>
                </a:cubicBezTo>
                <a:cubicBezTo>
                  <a:pt x="983974" y="1258152"/>
                  <a:pt x="989441" y="1254508"/>
                  <a:pt x="989441" y="1252686"/>
                </a:cubicBezTo>
                <a:cubicBezTo>
                  <a:pt x="987618" y="1249042"/>
                  <a:pt x="984885" y="1249952"/>
                  <a:pt x="982835" y="1252230"/>
                </a:cubicBezTo>
                <a:close/>
                <a:moveTo>
                  <a:pt x="2994288" y="1251547"/>
                </a:moveTo>
                <a:cubicBezTo>
                  <a:pt x="2990643" y="1253142"/>
                  <a:pt x="2988366" y="1258152"/>
                  <a:pt x="2990188" y="1267263"/>
                </a:cubicBezTo>
                <a:cubicBezTo>
                  <a:pt x="2993832" y="1265441"/>
                  <a:pt x="2999299" y="1265441"/>
                  <a:pt x="2997477" y="1258152"/>
                </a:cubicBezTo>
                <a:cubicBezTo>
                  <a:pt x="3002943" y="1256330"/>
                  <a:pt x="3004765" y="1259975"/>
                  <a:pt x="3004765" y="1261797"/>
                </a:cubicBezTo>
                <a:cubicBezTo>
                  <a:pt x="3008410" y="1261797"/>
                  <a:pt x="3002943" y="1256330"/>
                  <a:pt x="3006587" y="1256330"/>
                </a:cubicBezTo>
                <a:cubicBezTo>
                  <a:pt x="3002943" y="1251774"/>
                  <a:pt x="2997932" y="1249952"/>
                  <a:pt x="2994288" y="1251547"/>
                </a:cubicBezTo>
                <a:close/>
                <a:moveTo>
                  <a:pt x="337786" y="1251547"/>
                </a:moveTo>
                <a:cubicBezTo>
                  <a:pt x="335736" y="1251775"/>
                  <a:pt x="334369" y="1252686"/>
                  <a:pt x="335280" y="1254508"/>
                </a:cubicBezTo>
                <a:cubicBezTo>
                  <a:pt x="338926" y="1256330"/>
                  <a:pt x="344391" y="1256330"/>
                  <a:pt x="344391" y="1252686"/>
                </a:cubicBezTo>
                <a:cubicBezTo>
                  <a:pt x="342569" y="1251775"/>
                  <a:pt x="339836" y="1251319"/>
                  <a:pt x="337786" y="1251547"/>
                </a:cubicBezTo>
                <a:close/>
                <a:moveTo>
                  <a:pt x="354185" y="1251320"/>
                </a:moveTo>
                <a:cubicBezTo>
                  <a:pt x="349857" y="1251775"/>
                  <a:pt x="346213" y="1254508"/>
                  <a:pt x="346213" y="1259975"/>
                </a:cubicBezTo>
                <a:cubicBezTo>
                  <a:pt x="335280" y="1249042"/>
                  <a:pt x="326169" y="1256330"/>
                  <a:pt x="320703" y="1259975"/>
                </a:cubicBezTo>
                <a:cubicBezTo>
                  <a:pt x="326169" y="1261797"/>
                  <a:pt x="329814" y="1263619"/>
                  <a:pt x="333458" y="1267263"/>
                </a:cubicBezTo>
                <a:cubicBezTo>
                  <a:pt x="322525" y="1259975"/>
                  <a:pt x="313414" y="1259975"/>
                  <a:pt x="302481" y="1263619"/>
                </a:cubicBezTo>
                <a:cubicBezTo>
                  <a:pt x="300660" y="1261797"/>
                  <a:pt x="300660" y="1261797"/>
                  <a:pt x="304303" y="1261797"/>
                </a:cubicBezTo>
                <a:cubicBezTo>
                  <a:pt x="302481" y="1261797"/>
                  <a:pt x="298837" y="1259975"/>
                  <a:pt x="297015" y="1259975"/>
                </a:cubicBezTo>
                <a:cubicBezTo>
                  <a:pt x="295193" y="1261797"/>
                  <a:pt x="297015" y="1265441"/>
                  <a:pt x="295193" y="1267263"/>
                </a:cubicBezTo>
                <a:cubicBezTo>
                  <a:pt x="315236" y="1276374"/>
                  <a:pt x="338926" y="1283663"/>
                  <a:pt x="351680" y="1274552"/>
                </a:cubicBezTo>
                <a:cubicBezTo>
                  <a:pt x="351680" y="1274552"/>
                  <a:pt x="349858" y="1276374"/>
                  <a:pt x="349858" y="1276374"/>
                </a:cubicBezTo>
                <a:cubicBezTo>
                  <a:pt x="353502" y="1278196"/>
                  <a:pt x="357146" y="1274552"/>
                  <a:pt x="360791" y="1278196"/>
                </a:cubicBezTo>
                <a:cubicBezTo>
                  <a:pt x="358969" y="1274552"/>
                  <a:pt x="358969" y="1274552"/>
                  <a:pt x="358969" y="1272730"/>
                </a:cubicBezTo>
                <a:cubicBezTo>
                  <a:pt x="360791" y="1278196"/>
                  <a:pt x="366257" y="1278196"/>
                  <a:pt x="369902" y="1278196"/>
                </a:cubicBezTo>
                <a:cubicBezTo>
                  <a:pt x="366257" y="1276374"/>
                  <a:pt x="366257" y="1274552"/>
                  <a:pt x="364435" y="1272730"/>
                </a:cubicBezTo>
                <a:cubicBezTo>
                  <a:pt x="368079" y="1272730"/>
                  <a:pt x="369902" y="1274552"/>
                  <a:pt x="371724" y="1276374"/>
                </a:cubicBezTo>
                <a:cubicBezTo>
                  <a:pt x="369902" y="1274552"/>
                  <a:pt x="369902" y="1274552"/>
                  <a:pt x="368079" y="1272730"/>
                </a:cubicBezTo>
                <a:cubicBezTo>
                  <a:pt x="373546" y="1276374"/>
                  <a:pt x="375368" y="1269085"/>
                  <a:pt x="379012" y="1270908"/>
                </a:cubicBezTo>
                <a:cubicBezTo>
                  <a:pt x="377190" y="1267263"/>
                  <a:pt x="382657" y="1263619"/>
                  <a:pt x="375368" y="1259975"/>
                </a:cubicBezTo>
                <a:cubicBezTo>
                  <a:pt x="379012" y="1263619"/>
                  <a:pt x="382657" y="1261797"/>
                  <a:pt x="382657" y="1259975"/>
                </a:cubicBezTo>
                <a:cubicBezTo>
                  <a:pt x="381746" y="1258152"/>
                  <a:pt x="380379" y="1259064"/>
                  <a:pt x="378785" y="1259974"/>
                </a:cubicBezTo>
                <a:lnTo>
                  <a:pt x="373717" y="1259975"/>
                </a:lnTo>
                <a:lnTo>
                  <a:pt x="379012" y="1258152"/>
                </a:lnTo>
                <a:cubicBezTo>
                  <a:pt x="377190" y="1258152"/>
                  <a:pt x="375368" y="1258152"/>
                  <a:pt x="373546" y="1259975"/>
                </a:cubicBezTo>
                <a:lnTo>
                  <a:pt x="373717" y="1259975"/>
                </a:lnTo>
                <a:lnTo>
                  <a:pt x="365119" y="1262935"/>
                </a:lnTo>
                <a:cubicBezTo>
                  <a:pt x="361246" y="1266808"/>
                  <a:pt x="358057" y="1271819"/>
                  <a:pt x="355324" y="1274552"/>
                </a:cubicBezTo>
                <a:cubicBezTo>
                  <a:pt x="351680" y="1270908"/>
                  <a:pt x="353502" y="1272730"/>
                  <a:pt x="355324" y="1270908"/>
                </a:cubicBezTo>
                <a:cubicBezTo>
                  <a:pt x="353502" y="1270908"/>
                  <a:pt x="351680" y="1270908"/>
                  <a:pt x="351680" y="1270908"/>
                </a:cubicBezTo>
                <a:cubicBezTo>
                  <a:pt x="351680" y="1269085"/>
                  <a:pt x="353502" y="1269085"/>
                  <a:pt x="353502" y="1269085"/>
                </a:cubicBezTo>
                <a:cubicBezTo>
                  <a:pt x="351680" y="1267263"/>
                  <a:pt x="349858" y="1269085"/>
                  <a:pt x="348037" y="1267263"/>
                </a:cubicBezTo>
                <a:cubicBezTo>
                  <a:pt x="357146" y="1265441"/>
                  <a:pt x="369902" y="1263619"/>
                  <a:pt x="366257" y="1256330"/>
                </a:cubicBezTo>
                <a:cubicBezTo>
                  <a:pt x="363524" y="1252686"/>
                  <a:pt x="358513" y="1250864"/>
                  <a:pt x="354185" y="1251320"/>
                </a:cubicBezTo>
                <a:close/>
                <a:moveTo>
                  <a:pt x="298837" y="1251319"/>
                </a:moveTo>
                <a:cubicBezTo>
                  <a:pt x="297470" y="1252686"/>
                  <a:pt x="297926" y="1255419"/>
                  <a:pt x="300660" y="1258152"/>
                </a:cubicBezTo>
                <a:cubicBezTo>
                  <a:pt x="306126" y="1263619"/>
                  <a:pt x="311592" y="1263619"/>
                  <a:pt x="318882" y="1259975"/>
                </a:cubicBezTo>
                <a:cubicBezTo>
                  <a:pt x="315236" y="1258152"/>
                  <a:pt x="311592" y="1254508"/>
                  <a:pt x="307948" y="1252686"/>
                </a:cubicBezTo>
                <a:cubicBezTo>
                  <a:pt x="303392" y="1249952"/>
                  <a:pt x="300204" y="1249952"/>
                  <a:pt x="298837" y="1251319"/>
                </a:cubicBezTo>
                <a:close/>
                <a:moveTo>
                  <a:pt x="3329112" y="1250864"/>
                </a:moveTo>
                <a:cubicBezTo>
                  <a:pt x="3323646" y="1250864"/>
                  <a:pt x="3325468" y="1259975"/>
                  <a:pt x="3330934" y="1256330"/>
                </a:cubicBezTo>
                <a:cubicBezTo>
                  <a:pt x="3330934" y="1254508"/>
                  <a:pt x="3329112" y="1254508"/>
                  <a:pt x="3329112" y="1250864"/>
                </a:cubicBezTo>
                <a:close/>
                <a:moveTo>
                  <a:pt x="3252581" y="1250864"/>
                </a:moveTo>
                <a:lnTo>
                  <a:pt x="3254403" y="1254508"/>
                </a:lnTo>
                <a:cubicBezTo>
                  <a:pt x="3256225" y="1254508"/>
                  <a:pt x="3258047" y="1254508"/>
                  <a:pt x="3258047" y="1250864"/>
                </a:cubicBezTo>
                <a:cubicBezTo>
                  <a:pt x="3256225" y="1250864"/>
                  <a:pt x="3254403" y="1250864"/>
                  <a:pt x="3252581" y="1250864"/>
                </a:cubicBezTo>
                <a:close/>
                <a:moveTo>
                  <a:pt x="2427136" y="1250864"/>
                </a:moveTo>
                <a:cubicBezTo>
                  <a:pt x="2425314" y="1254508"/>
                  <a:pt x="2416203" y="1250864"/>
                  <a:pt x="2418025" y="1258152"/>
                </a:cubicBezTo>
                <a:cubicBezTo>
                  <a:pt x="2419847" y="1259975"/>
                  <a:pt x="2419847" y="1259975"/>
                  <a:pt x="2421669" y="1259975"/>
                </a:cubicBezTo>
                <a:cubicBezTo>
                  <a:pt x="2419847" y="1259975"/>
                  <a:pt x="2419847" y="1261797"/>
                  <a:pt x="2418025" y="1261797"/>
                </a:cubicBezTo>
                <a:lnTo>
                  <a:pt x="2419847" y="1269085"/>
                </a:lnTo>
                <a:lnTo>
                  <a:pt x="2412559" y="1269085"/>
                </a:lnTo>
                <a:cubicBezTo>
                  <a:pt x="2410737" y="1270908"/>
                  <a:pt x="2410737" y="1272730"/>
                  <a:pt x="2412559" y="1276374"/>
                </a:cubicBezTo>
                <a:cubicBezTo>
                  <a:pt x="2410737" y="1276374"/>
                  <a:pt x="2408914" y="1278196"/>
                  <a:pt x="2408914" y="1280018"/>
                </a:cubicBezTo>
                <a:cubicBezTo>
                  <a:pt x="2410737" y="1281841"/>
                  <a:pt x="2412559" y="1280018"/>
                  <a:pt x="2416203" y="1276374"/>
                </a:cubicBezTo>
                <a:cubicBezTo>
                  <a:pt x="2414381" y="1276374"/>
                  <a:pt x="2414381" y="1274552"/>
                  <a:pt x="2414381" y="1272730"/>
                </a:cubicBezTo>
                <a:cubicBezTo>
                  <a:pt x="2416203" y="1272730"/>
                  <a:pt x="2416203" y="1272730"/>
                  <a:pt x="2418025" y="1272730"/>
                </a:cubicBezTo>
                <a:cubicBezTo>
                  <a:pt x="2419847" y="1270908"/>
                  <a:pt x="2419847" y="1270908"/>
                  <a:pt x="2421669" y="1269085"/>
                </a:cubicBezTo>
                <a:lnTo>
                  <a:pt x="2430780" y="1269085"/>
                </a:lnTo>
                <a:cubicBezTo>
                  <a:pt x="2432603" y="1265441"/>
                  <a:pt x="2432603" y="1259975"/>
                  <a:pt x="2430780" y="1256330"/>
                </a:cubicBezTo>
                <a:cubicBezTo>
                  <a:pt x="2428958" y="1258152"/>
                  <a:pt x="2428958" y="1259975"/>
                  <a:pt x="2427136" y="1258152"/>
                </a:cubicBezTo>
                <a:cubicBezTo>
                  <a:pt x="2425314" y="1256330"/>
                  <a:pt x="2427136" y="1252686"/>
                  <a:pt x="2427136" y="1250864"/>
                </a:cubicBezTo>
                <a:close/>
                <a:moveTo>
                  <a:pt x="2390693" y="1250864"/>
                </a:moveTo>
                <a:cubicBezTo>
                  <a:pt x="2387048" y="1249042"/>
                  <a:pt x="2383404" y="1252686"/>
                  <a:pt x="2379760" y="1254508"/>
                </a:cubicBezTo>
                <a:cubicBezTo>
                  <a:pt x="2381582" y="1259975"/>
                  <a:pt x="2376115" y="1263619"/>
                  <a:pt x="2377937" y="1265441"/>
                </a:cubicBezTo>
                <a:cubicBezTo>
                  <a:pt x="2383404" y="1261797"/>
                  <a:pt x="2388871" y="1256330"/>
                  <a:pt x="2390693" y="1250864"/>
                </a:cubicBezTo>
                <a:close/>
                <a:moveTo>
                  <a:pt x="2097323" y="1250864"/>
                </a:moveTo>
                <a:lnTo>
                  <a:pt x="2095500" y="1258152"/>
                </a:lnTo>
                <a:cubicBezTo>
                  <a:pt x="2099145" y="1256330"/>
                  <a:pt x="2102790" y="1254508"/>
                  <a:pt x="2106433" y="1252686"/>
                </a:cubicBezTo>
                <a:cubicBezTo>
                  <a:pt x="2102790" y="1252686"/>
                  <a:pt x="2099145" y="1256330"/>
                  <a:pt x="2097323" y="1250864"/>
                </a:cubicBezTo>
                <a:close/>
                <a:moveTo>
                  <a:pt x="1244545" y="1250864"/>
                </a:moveTo>
                <a:cubicBezTo>
                  <a:pt x="1246367" y="1254508"/>
                  <a:pt x="1250012" y="1252686"/>
                  <a:pt x="1253656" y="1259975"/>
                </a:cubicBezTo>
                <a:lnTo>
                  <a:pt x="1253656" y="1254508"/>
                </a:lnTo>
                <a:lnTo>
                  <a:pt x="1253656" y="1252686"/>
                </a:lnTo>
                <a:cubicBezTo>
                  <a:pt x="1253656" y="1250864"/>
                  <a:pt x="1251834" y="1250864"/>
                  <a:pt x="1250012" y="1250864"/>
                </a:cubicBezTo>
                <a:cubicBezTo>
                  <a:pt x="1250012" y="1250864"/>
                  <a:pt x="1253656" y="1252686"/>
                  <a:pt x="1253656" y="1254508"/>
                </a:cubicBezTo>
                <a:cubicBezTo>
                  <a:pt x="1250012" y="1256330"/>
                  <a:pt x="1248189" y="1249042"/>
                  <a:pt x="1244545" y="1250864"/>
                </a:cubicBezTo>
                <a:close/>
                <a:moveTo>
                  <a:pt x="920198" y="1250864"/>
                </a:moveTo>
                <a:cubicBezTo>
                  <a:pt x="918376" y="1252686"/>
                  <a:pt x="922020" y="1256330"/>
                  <a:pt x="920198" y="1259975"/>
                </a:cubicBezTo>
                <a:lnTo>
                  <a:pt x="925664" y="1259975"/>
                </a:lnTo>
                <a:lnTo>
                  <a:pt x="923843" y="1261797"/>
                </a:lnTo>
                <a:cubicBezTo>
                  <a:pt x="925666" y="1270908"/>
                  <a:pt x="931131" y="1269085"/>
                  <a:pt x="934777" y="1267263"/>
                </a:cubicBezTo>
                <a:cubicBezTo>
                  <a:pt x="931131" y="1263619"/>
                  <a:pt x="929309" y="1259975"/>
                  <a:pt x="927487" y="1258152"/>
                </a:cubicBezTo>
                <a:lnTo>
                  <a:pt x="925666" y="1259975"/>
                </a:lnTo>
                <a:close/>
                <a:moveTo>
                  <a:pt x="750737" y="1250864"/>
                </a:moveTo>
                <a:cubicBezTo>
                  <a:pt x="750737" y="1252686"/>
                  <a:pt x="748914" y="1254508"/>
                  <a:pt x="748914" y="1256330"/>
                </a:cubicBezTo>
                <a:cubicBezTo>
                  <a:pt x="750737" y="1256330"/>
                  <a:pt x="756203" y="1256330"/>
                  <a:pt x="754380" y="1256330"/>
                </a:cubicBezTo>
                <a:cubicBezTo>
                  <a:pt x="752558" y="1254508"/>
                  <a:pt x="752558" y="1252686"/>
                  <a:pt x="750737" y="1250864"/>
                </a:cubicBezTo>
                <a:close/>
                <a:moveTo>
                  <a:pt x="721581" y="1250864"/>
                </a:moveTo>
                <a:cubicBezTo>
                  <a:pt x="719759" y="1254508"/>
                  <a:pt x="723404" y="1256330"/>
                  <a:pt x="725226" y="1252686"/>
                </a:cubicBezTo>
                <a:cubicBezTo>
                  <a:pt x="725226" y="1250864"/>
                  <a:pt x="723404" y="1252686"/>
                  <a:pt x="721581" y="1250864"/>
                </a:cubicBezTo>
                <a:close/>
                <a:moveTo>
                  <a:pt x="714293" y="1250864"/>
                </a:moveTo>
                <a:lnTo>
                  <a:pt x="712364" y="1253758"/>
                </a:lnTo>
                <a:lnTo>
                  <a:pt x="710648" y="1252686"/>
                </a:lnTo>
                <a:cubicBezTo>
                  <a:pt x="707004" y="1254508"/>
                  <a:pt x="710648" y="1256330"/>
                  <a:pt x="710648" y="1256330"/>
                </a:cubicBezTo>
                <a:lnTo>
                  <a:pt x="712364" y="1253758"/>
                </a:lnTo>
                <a:lnTo>
                  <a:pt x="712471" y="1253825"/>
                </a:lnTo>
                <a:cubicBezTo>
                  <a:pt x="712926" y="1253142"/>
                  <a:pt x="713382" y="1251775"/>
                  <a:pt x="714293" y="1250864"/>
                </a:cubicBezTo>
                <a:close/>
                <a:moveTo>
                  <a:pt x="464655" y="1250864"/>
                </a:moveTo>
                <a:cubicBezTo>
                  <a:pt x="462832" y="1250864"/>
                  <a:pt x="461010" y="1250864"/>
                  <a:pt x="461010" y="1252686"/>
                </a:cubicBezTo>
                <a:cubicBezTo>
                  <a:pt x="462832" y="1254508"/>
                  <a:pt x="464655" y="1254508"/>
                  <a:pt x="466478" y="1256330"/>
                </a:cubicBezTo>
                <a:cubicBezTo>
                  <a:pt x="468299" y="1254508"/>
                  <a:pt x="468299" y="1254508"/>
                  <a:pt x="464655" y="1250864"/>
                </a:cubicBezTo>
                <a:close/>
                <a:moveTo>
                  <a:pt x="419100" y="1250864"/>
                </a:moveTo>
                <a:cubicBezTo>
                  <a:pt x="409989" y="1247219"/>
                  <a:pt x="404523" y="1254508"/>
                  <a:pt x="397234" y="1256330"/>
                </a:cubicBezTo>
                <a:cubicBezTo>
                  <a:pt x="400879" y="1254508"/>
                  <a:pt x="406345" y="1258152"/>
                  <a:pt x="411812" y="1259975"/>
                </a:cubicBezTo>
                <a:cubicBezTo>
                  <a:pt x="409989" y="1259975"/>
                  <a:pt x="409989" y="1258152"/>
                  <a:pt x="409989" y="1254508"/>
                </a:cubicBezTo>
                <a:lnTo>
                  <a:pt x="424567" y="1261797"/>
                </a:lnTo>
                <a:lnTo>
                  <a:pt x="428211" y="1263619"/>
                </a:lnTo>
                <a:lnTo>
                  <a:pt x="426726" y="1261797"/>
                </a:lnTo>
                <a:lnTo>
                  <a:pt x="430034" y="1261797"/>
                </a:lnTo>
                <a:cubicBezTo>
                  <a:pt x="428211" y="1259975"/>
                  <a:pt x="428211" y="1259975"/>
                  <a:pt x="428211" y="1258152"/>
                </a:cubicBezTo>
                <a:cubicBezTo>
                  <a:pt x="431856" y="1259975"/>
                  <a:pt x="433678" y="1259975"/>
                  <a:pt x="435500" y="1258152"/>
                </a:cubicBezTo>
                <a:cubicBezTo>
                  <a:pt x="434589" y="1257241"/>
                  <a:pt x="432311" y="1257697"/>
                  <a:pt x="430490" y="1257469"/>
                </a:cubicBezTo>
                <a:lnTo>
                  <a:pt x="428486" y="1253264"/>
                </a:lnTo>
                <a:lnTo>
                  <a:pt x="429003" y="1253055"/>
                </a:lnTo>
                <a:lnTo>
                  <a:pt x="435044" y="1255875"/>
                </a:lnTo>
                <a:cubicBezTo>
                  <a:pt x="437322" y="1256330"/>
                  <a:pt x="439145" y="1255419"/>
                  <a:pt x="439145" y="1250864"/>
                </a:cubicBezTo>
                <a:cubicBezTo>
                  <a:pt x="436411" y="1252686"/>
                  <a:pt x="432767" y="1252686"/>
                  <a:pt x="429350" y="1252914"/>
                </a:cubicBezTo>
                <a:lnTo>
                  <a:pt x="429003" y="1253055"/>
                </a:lnTo>
                <a:lnTo>
                  <a:pt x="428211" y="1252686"/>
                </a:lnTo>
                <a:lnTo>
                  <a:pt x="428486" y="1253264"/>
                </a:lnTo>
                <a:lnTo>
                  <a:pt x="421184" y="1256224"/>
                </a:lnTo>
                <a:lnTo>
                  <a:pt x="415456" y="1252686"/>
                </a:lnTo>
                <a:cubicBezTo>
                  <a:pt x="415456" y="1252686"/>
                  <a:pt x="417278" y="1250864"/>
                  <a:pt x="419100" y="1250864"/>
                </a:cubicBezTo>
                <a:close/>
                <a:moveTo>
                  <a:pt x="282438" y="1250864"/>
                </a:moveTo>
                <a:cubicBezTo>
                  <a:pt x="276971" y="1250864"/>
                  <a:pt x="275149" y="1250864"/>
                  <a:pt x="269682" y="1252686"/>
                </a:cubicBezTo>
                <a:lnTo>
                  <a:pt x="280537" y="1254043"/>
                </a:lnTo>
                <a:lnTo>
                  <a:pt x="280843" y="1254280"/>
                </a:lnTo>
                <a:cubicBezTo>
                  <a:pt x="281982" y="1254052"/>
                  <a:pt x="283348" y="1253597"/>
                  <a:pt x="284259" y="1254508"/>
                </a:cubicBezTo>
                <a:lnTo>
                  <a:pt x="280537" y="1254043"/>
                </a:lnTo>
                <a:lnTo>
                  <a:pt x="278793" y="1252686"/>
                </a:lnTo>
                <a:cubicBezTo>
                  <a:pt x="278793" y="1250864"/>
                  <a:pt x="280615" y="1252686"/>
                  <a:pt x="282438" y="1250864"/>
                </a:cubicBezTo>
                <a:close/>
                <a:moveTo>
                  <a:pt x="1263054" y="1250832"/>
                </a:moveTo>
                <a:lnTo>
                  <a:pt x="1263487" y="1251104"/>
                </a:lnTo>
                <a:lnTo>
                  <a:pt x="1262767" y="1250864"/>
                </a:lnTo>
                <a:close/>
                <a:moveTo>
                  <a:pt x="320931" y="1250636"/>
                </a:moveTo>
                <a:cubicBezTo>
                  <a:pt x="317515" y="1250409"/>
                  <a:pt x="314326" y="1250864"/>
                  <a:pt x="311592" y="1252686"/>
                </a:cubicBezTo>
                <a:cubicBezTo>
                  <a:pt x="315236" y="1256330"/>
                  <a:pt x="317059" y="1256330"/>
                  <a:pt x="320703" y="1258152"/>
                </a:cubicBezTo>
                <a:cubicBezTo>
                  <a:pt x="326169" y="1258152"/>
                  <a:pt x="326169" y="1252686"/>
                  <a:pt x="331636" y="1252686"/>
                </a:cubicBezTo>
                <a:cubicBezTo>
                  <a:pt x="327992" y="1251775"/>
                  <a:pt x="324348" y="1250864"/>
                  <a:pt x="320931" y="1250636"/>
                </a:cubicBezTo>
                <a:close/>
                <a:moveTo>
                  <a:pt x="1177125" y="1249511"/>
                </a:moveTo>
                <a:lnTo>
                  <a:pt x="1177125" y="1250864"/>
                </a:lnTo>
                <a:lnTo>
                  <a:pt x="1176601" y="1250340"/>
                </a:lnTo>
                <a:close/>
                <a:moveTo>
                  <a:pt x="3281736" y="1249042"/>
                </a:moveTo>
                <a:cubicBezTo>
                  <a:pt x="3268980" y="1250864"/>
                  <a:pt x="3265336" y="1263619"/>
                  <a:pt x="3258047" y="1270908"/>
                </a:cubicBezTo>
                <a:cubicBezTo>
                  <a:pt x="3261692" y="1269085"/>
                  <a:pt x="3265336" y="1265441"/>
                  <a:pt x="3268980" y="1265441"/>
                </a:cubicBezTo>
                <a:cubicBezTo>
                  <a:pt x="3268980" y="1269085"/>
                  <a:pt x="3272625" y="1274552"/>
                  <a:pt x="3270803" y="1274552"/>
                </a:cubicBezTo>
                <a:cubicBezTo>
                  <a:pt x="3265336" y="1274552"/>
                  <a:pt x="3259869" y="1269085"/>
                  <a:pt x="3254403" y="1272730"/>
                </a:cubicBezTo>
                <a:cubicBezTo>
                  <a:pt x="3250759" y="1274552"/>
                  <a:pt x="3258047" y="1280018"/>
                  <a:pt x="3258047" y="1285485"/>
                </a:cubicBezTo>
                <a:cubicBezTo>
                  <a:pt x="3252581" y="1290951"/>
                  <a:pt x="3247114" y="1285485"/>
                  <a:pt x="3241648" y="1289129"/>
                </a:cubicBezTo>
                <a:cubicBezTo>
                  <a:pt x="3245292" y="1292774"/>
                  <a:pt x="3250759" y="1294596"/>
                  <a:pt x="3254403" y="1290951"/>
                </a:cubicBezTo>
                <a:cubicBezTo>
                  <a:pt x="3254403" y="1298240"/>
                  <a:pt x="3263514" y="1305529"/>
                  <a:pt x="3270803" y="1298240"/>
                </a:cubicBezTo>
                <a:cubicBezTo>
                  <a:pt x="3270803" y="1296418"/>
                  <a:pt x="3267158" y="1294596"/>
                  <a:pt x="3268980" y="1292774"/>
                </a:cubicBezTo>
                <a:cubicBezTo>
                  <a:pt x="3265336" y="1292774"/>
                  <a:pt x="3265336" y="1298240"/>
                  <a:pt x="3263514" y="1298240"/>
                </a:cubicBezTo>
                <a:cubicBezTo>
                  <a:pt x="3259869" y="1296418"/>
                  <a:pt x="3263514" y="1290951"/>
                  <a:pt x="3261692" y="1289129"/>
                </a:cubicBezTo>
                <a:cubicBezTo>
                  <a:pt x="3265336" y="1290951"/>
                  <a:pt x="3268980" y="1290951"/>
                  <a:pt x="3268980" y="1289129"/>
                </a:cubicBezTo>
                <a:cubicBezTo>
                  <a:pt x="3268980" y="1285485"/>
                  <a:pt x="3263514" y="1289129"/>
                  <a:pt x="3261692" y="1287307"/>
                </a:cubicBezTo>
                <a:cubicBezTo>
                  <a:pt x="3268980" y="1278196"/>
                  <a:pt x="3292669" y="1272730"/>
                  <a:pt x="3285380" y="1258152"/>
                </a:cubicBezTo>
                <a:cubicBezTo>
                  <a:pt x="3283558" y="1259975"/>
                  <a:pt x="3283558" y="1263619"/>
                  <a:pt x="3281736" y="1265441"/>
                </a:cubicBezTo>
                <a:cubicBezTo>
                  <a:pt x="3276269" y="1267263"/>
                  <a:pt x="3272625" y="1261797"/>
                  <a:pt x="3274447" y="1258152"/>
                </a:cubicBezTo>
                <a:cubicBezTo>
                  <a:pt x="3274447" y="1252686"/>
                  <a:pt x="3279913" y="1258152"/>
                  <a:pt x="3283558" y="1256330"/>
                </a:cubicBezTo>
                <a:cubicBezTo>
                  <a:pt x="3285380" y="1250864"/>
                  <a:pt x="3278091" y="1252686"/>
                  <a:pt x="3281736" y="1249042"/>
                </a:cubicBezTo>
                <a:close/>
                <a:moveTo>
                  <a:pt x="1175303" y="1249042"/>
                </a:moveTo>
                <a:lnTo>
                  <a:pt x="1176601" y="1250340"/>
                </a:lnTo>
                <a:lnTo>
                  <a:pt x="1173082" y="1255900"/>
                </a:lnTo>
                <a:lnTo>
                  <a:pt x="1173937" y="1252914"/>
                </a:lnTo>
                <a:lnTo>
                  <a:pt x="1174559" y="1249488"/>
                </a:lnTo>
                <a:close/>
                <a:moveTo>
                  <a:pt x="1089660" y="1249042"/>
                </a:moveTo>
                <a:cubicBezTo>
                  <a:pt x="1087838" y="1250864"/>
                  <a:pt x="1087838" y="1254508"/>
                  <a:pt x="1089660" y="1254508"/>
                </a:cubicBezTo>
                <a:cubicBezTo>
                  <a:pt x="1091484" y="1256330"/>
                  <a:pt x="1091484" y="1252686"/>
                  <a:pt x="1093305" y="1254508"/>
                </a:cubicBezTo>
                <a:cubicBezTo>
                  <a:pt x="1093305" y="1250864"/>
                  <a:pt x="1089660" y="1252686"/>
                  <a:pt x="1089660" y="1249042"/>
                </a:cubicBezTo>
                <a:close/>
                <a:moveTo>
                  <a:pt x="1014951" y="1249042"/>
                </a:moveTo>
                <a:cubicBezTo>
                  <a:pt x="1014951" y="1252686"/>
                  <a:pt x="1016774" y="1252686"/>
                  <a:pt x="1016774" y="1254508"/>
                </a:cubicBezTo>
                <a:cubicBezTo>
                  <a:pt x="1014951" y="1256330"/>
                  <a:pt x="1014951" y="1252686"/>
                  <a:pt x="1013129" y="1250864"/>
                </a:cubicBezTo>
                <a:cubicBezTo>
                  <a:pt x="1009485" y="1250864"/>
                  <a:pt x="1005840" y="1252686"/>
                  <a:pt x="1002196" y="1258152"/>
                </a:cubicBezTo>
                <a:cubicBezTo>
                  <a:pt x="1013129" y="1259975"/>
                  <a:pt x="1024062" y="1258152"/>
                  <a:pt x="1034995" y="1258152"/>
                </a:cubicBezTo>
                <a:cubicBezTo>
                  <a:pt x="1029529" y="1247219"/>
                  <a:pt x="1022240" y="1249042"/>
                  <a:pt x="1014951" y="1249042"/>
                </a:cubicBezTo>
                <a:close/>
                <a:moveTo>
                  <a:pt x="748914" y="1249042"/>
                </a:moveTo>
                <a:cubicBezTo>
                  <a:pt x="747092" y="1249042"/>
                  <a:pt x="745269" y="1249042"/>
                  <a:pt x="743447" y="1250864"/>
                </a:cubicBezTo>
                <a:cubicBezTo>
                  <a:pt x="747092" y="1256330"/>
                  <a:pt x="748914" y="1252686"/>
                  <a:pt x="748914" y="1249042"/>
                </a:cubicBezTo>
                <a:close/>
                <a:moveTo>
                  <a:pt x="501098" y="1249042"/>
                </a:moveTo>
                <a:cubicBezTo>
                  <a:pt x="499276" y="1249042"/>
                  <a:pt x="501098" y="1254508"/>
                  <a:pt x="502920" y="1252686"/>
                </a:cubicBezTo>
                <a:cubicBezTo>
                  <a:pt x="502920" y="1250864"/>
                  <a:pt x="501098" y="1250864"/>
                  <a:pt x="501098" y="1249042"/>
                </a:cubicBezTo>
                <a:close/>
                <a:moveTo>
                  <a:pt x="699716" y="1248814"/>
                </a:moveTo>
                <a:cubicBezTo>
                  <a:pt x="697893" y="1249042"/>
                  <a:pt x="696071" y="1249953"/>
                  <a:pt x="694249" y="1250864"/>
                </a:cubicBezTo>
                <a:cubicBezTo>
                  <a:pt x="703359" y="1254508"/>
                  <a:pt x="705182" y="1254508"/>
                  <a:pt x="705182" y="1250864"/>
                </a:cubicBezTo>
                <a:cubicBezTo>
                  <a:pt x="703360" y="1249042"/>
                  <a:pt x="701538" y="1248586"/>
                  <a:pt x="699716" y="1248814"/>
                </a:cubicBezTo>
                <a:close/>
                <a:moveTo>
                  <a:pt x="2985177" y="1248586"/>
                </a:moveTo>
                <a:cubicBezTo>
                  <a:pt x="2986543" y="1247675"/>
                  <a:pt x="2987455" y="1248130"/>
                  <a:pt x="2988366" y="1250864"/>
                </a:cubicBezTo>
                <a:lnTo>
                  <a:pt x="2981142" y="1252621"/>
                </a:lnTo>
                <a:close/>
                <a:moveTo>
                  <a:pt x="1156397" y="1248358"/>
                </a:moveTo>
                <a:cubicBezTo>
                  <a:pt x="1154347" y="1249497"/>
                  <a:pt x="1153436" y="1251775"/>
                  <a:pt x="1157081" y="1252686"/>
                </a:cubicBezTo>
                <a:cubicBezTo>
                  <a:pt x="1158903" y="1250864"/>
                  <a:pt x="1160725" y="1249042"/>
                  <a:pt x="1162547" y="1250864"/>
                </a:cubicBezTo>
                <a:cubicBezTo>
                  <a:pt x="1161636" y="1247220"/>
                  <a:pt x="1158447" y="1247220"/>
                  <a:pt x="1156397" y="1248358"/>
                </a:cubicBezTo>
                <a:close/>
                <a:moveTo>
                  <a:pt x="3003577" y="1248011"/>
                </a:moveTo>
                <a:lnTo>
                  <a:pt x="2999300" y="1250863"/>
                </a:lnTo>
                <a:lnTo>
                  <a:pt x="3002260" y="1248358"/>
                </a:lnTo>
                <a:close/>
                <a:moveTo>
                  <a:pt x="736158" y="1247903"/>
                </a:moveTo>
                <a:cubicBezTo>
                  <a:pt x="734336" y="1249042"/>
                  <a:pt x="732515" y="1250864"/>
                  <a:pt x="730692" y="1250864"/>
                </a:cubicBezTo>
                <a:cubicBezTo>
                  <a:pt x="734336" y="1256330"/>
                  <a:pt x="736159" y="1249042"/>
                  <a:pt x="741626" y="1249042"/>
                </a:cubicBezTo>
                <a:cubicBezTo>
                  <a:pt x="739803" y="1246308"/>
                  <a:pt x="737981" y="1246764"/>
                  <a:pt x="736158" y="1247903"/>
                </a:cubicBezTo>
                <a:close/>
                <a:moveTo>
                  <a:pt x="395184" y="1247902"/>
                </a:moveTo>
                <a:cubicBezTo>
                  <a:pt x="393590" y="1248130"/>
                  <a:pt x="392680" y="1249042"/>
                  <a:pt x="393590" y="1250864"/>
                </a:cubicBezTo>
                <a:cubicBezTo>
                  <a:pt x="397234" y="1252686"/>
                  <a:pt x="399056" y="1250864"/>
                  <a:pt x="400879" y="1249042"/>
                </a:cubicBezTo>
                <a:cubicBezTo>
                  <a:pt x="399056" y="1248130"/>
                  <a:pt x="396779" y="1247675"/>
                  <a:pt x="395184" y="1247902"/>
                </a:cubicBezTo>
                <a:close/>
                <a:moveTo>
                  <a:pt x="3268980" y="1247219"/>
                </a:moveTo>
                <a:cubicBezTo>
                  <a:pt x="3267158" y="1247219"/>
                  <a:pt x="3265336" y="1250864"/>
                  <a:pt x="3265336" y="1252686"/>
                </a:cubicBezTo>
                <a:cubicBezTo>
                  <a:pt x="3267158" y="1252686"/>
                  <a:pt x="3268980" y="1250864"/>
                  <a:pt x="3272625" y="1249042"/>
                </a:cubicBezTo>
                <a:cubicBezTo>
                  <a:pt x="3272625" y="1247219"/>
                  <a:pt x="3268980" y="1249042"/>
                  <a:pt x="3268980" y="1247219"/>
                </a:cubicBezTo>
                <a:close/>
                <a:moveTo>
                  <a:pt x="3192449" y="1247219"/>
                </a:moveTo>
                <a:cubicBezTo>
                  <a:pt x="3190627" y="1249042"/>
                  <a:pt x="3190627" y="1250864"/>
                  <a:pt x="3190627" y="1252686"/>
                </a:cubicBezTo>
                <a:cubicBezTo>
                  <a:pt x="3192449" y="1252686"/>
                  <a:pt x="3194271" y="1254508"/>
                  <a:pt x="3196093" y="1254508"/>
                </a:cubicBezTo>
                <a:cubicBezTo>
                  <a:pt x="3197916" y="1250864"/>
                  <a:pt x="3194271" y="1250864"/>
                  <a:pt x="3192449" y="1247219"/>
                </a:cubicBezTo>
                <a:close/>
                <a:moveTo>
                  <a:pt x="3170583" y="1247219"/>
                </a:moveTo>
                <a:cubicBezTo>
                  <a:pt x="3174227" y="1250864"/>
                  <a:pt x="3174227" y="1258152"/>
                  <a:pt x="3177872" y="1258152"/>
                </a:cubicBezTo>
                <a:cubicBezTo>
                  <a:pt x="3176050" y="1254508"/>
                  <a:pt x="3176050" y="1247219"/>
                  <a:pt x="3170583" y="1247219"/>
                </a:cubicBezTo>
                <a:close/>
                <a:moveTo>
                  <a:pt x="2445358" y="1247219"/>
                </a:moveTo>
                <a:cubicBezTo>
                  <a:pt x="2450824" y="1252686"/>
                  <a:pt x="2438069" y="1254508"/>
                  <a:pt x="2439891" y="1261797"/>
                </a:cubicBezTo>
                <a:cubicBezTo>
                  <a:pt x="2439891" y="1263619"/>
                  <a:pt x="2441713" y="1261797"/>
                  <a:pt x="2441713" y="1259975"/>
                </a:cubicBezTo>
                <a:cubicBezTo>
                  <a:pt x="2447180" y="1261797"/>
                  <a:pt x="2443536" y="1267263"/>
                  <a:pt x="2439891" y="1270908"/>
                </a:cubicBezTo>
                <a:lnTo>
                  <a:pt x="2449002" y="1270908"/>
                </a:lnTo>
                <a:cubicBezTo>
                  <a:pt x="2450824" y="1267263"/>
                  <a:pt x="2456291" y="1261797"/>
                  <a:pt x="2459935" y="1265441"/>
                </a:cubicBezTo>
                <a:cubicBezTo>
                  <a:pt x="2461757" y="1267263"/>
                  <a:pt x="2461757" y="1269085"/>
                  <a:pt x="2459935" y="1270908"/>
                </a:cubicBezTo>
                <a:lnTo>
                  <a:pt x="2465402" y="1270908"/>
                </a:lnTo>
                <a:cubicBezTo>
                  <a:pt x="2467224" y="1269085"/>
                  <a:pt x="2469046" y="1265441"/>
                  <a:pt x="2469046" y="1261797"/>
                </a:cubicBezTo>
                <a:cubicBezTo>
                  <a:pt x="2459935" y="1261797"/>
                  <a:pt x="2454469" y="1250864"/>
                  <a:pt x="2445358" y="1247219"/>
                </a:cubicBezTo>
                <a:close/>
                <a:moveTo>
                  <a:pt x="2432603" y="1247219"/>
                </a:moveTo>
                <a:cubicBezTo>
                  <a:pt x="2430780" y="1250864"/>
                  <a:pt x="2430780" y="1254508"/>
                  <a:pt x="2432603" y="1258152"/>
                </a:cubicBezTo>
                <a:cubicBezTo>
                  <a:pt x="2434425" y="1256330"/>
                  <a:pt x="2432603" y="1252686"/>
                  <a:pt x="2436247" y="1250864"/>
                </a:cubicBezTo>
                <a:cubicBezTo>
                  <a:pt x="2438069" y="1247219"/>
                  <a:pt x="2432603" y="1249042"/>
                  <a:pt x="2432603" y="1247219"/>
                </a:cubicBezTo>
                <a:close/>
                <a:moveTo>
                  <a:pt x="1324721" y="1247219"/>
                </a:moveTo>
                <a:cubicBezTo>
                  <a:pt x="1322899" y="1250864"/>
                  <a:pt x="1321077" y="1254508"/>
                  <a:pt x="1321077" y="1258152"/>
                </a:cubicBezTo>
                <a:cubicBezTo>
                  <a:pt x="1326543" y="1256330"/>
                  <a:pt x="1321077" y="1252686"/>
                  <a:pt x="1326543" y="1249042"/>
                </a:cubicBezTo>
                <a:cubicBezTo>
                  <a:pt x="1326543" y="1249042"/>
                  <a:pt x="1324721" y="1247219"/>
                  <a:pt x="1324721" y="1247219"/>
                </a:cubicBezTo>
                <a:close/>
                <a:moveTo>
                  <a:pt x="1257300" y="1247219"/>
                </a:moveTo>
                <a:cubicBezTo>
                  <a:pt x="1253656" y="1250864"/>
                  <a:pt x="1255478" y="1254508"/>
                  <a:pt x="1255478" y="1258152"/>
                </a:cubicBezTo>
                <a:cubicBezTo>
                  <a:pt x="1262767" y="1259975"/>
                  <a:pt x="1268233" y="1270908"/>
                  <a:pt x="1275522" y="1263619"/>
                </a:cubicBezTo>
                <a:cubicBezTo>
                  <a:pt x="1273700" y="1258152"/>
                  <a:pt x="1270511" y="1255419"/>
                  <a:pt x="1267095" y="1253369"/>
                </a:cubicBezTo>
                <a:lnTo>
                  <a:pt x="1263487" y="1251104"/>
                </a:lnTo>
                <a:lnTo>
                  <a:pt x="1268233" y="1252686"/>
                </a:lnTo>
                <a:cubicBezTo>
                  <a:pt x="1269144" y="1251775"/>
                  <a:pt x="1268233" y="1250864"/>
                  <a:pt x="1266867" y="1250408"/>
                </a:cubicBezTo>
                <a:lnTo>
                  <a:pt x="1263054" y="1250832"/>
                </a:lnTo>
                <a:close/>
                <a:moveTo>
                  <a:pt x="1058683" y="1247219"/>
                </a:moveTo>
                <a:cubicBezTo>
                  <a:pt x="1053217" y="1252686"/>
                  <a:pt x="1042284" y="1254508"/>
                  <a:pt x="1047750" y="1261797"/>
                </a:cubicBezTo>
                <a:cubicBezTo>
                  <a:pt x="1055040" y="1256330"/>
                  <a:pt x="1064151" y="1263619"/>
                  <a:pt x="1069616" y="1258152"/>
                </a:cubicBezTo>
                <a:cubicBezTo>
                  <a:pt x="1065972" y="1252686"/>
                  <a:pt x="1062328" y="1250864"/>
                  <a:pt x="1058683" y="1247219"/>
                </a:cubicBezTo>
                <a:close/>
                <a:moveTo>
                  <a:pt x="1042284" y="1247219"/>
                </a:moveTo>
                <a:cubicBezTo>
                  <a:pt x="1038639" y="1245397"/>
                  <a:pt x="1036818" y="1250864"/>
                  <a:pt x="1033173" y="1252686"/>
                </a:cubicBezTo>
                <a:cubicBezTo>
                  <a:pt x="1034995" y="1254508"/>
                  <a:pt x="1040462" y="1254508"/>
                  <a:pt x="1038639" y="1256330"/>
                </a:cubicBezTo>
                <a:cubicBezTo>
                  <a:pt x="1042284" y="1256330"/>
                  <a:pt x="1049573" y="1254508"/>
                  <a:pt x="1047750" y="1250864"/>
                </a:cubicBezTo>
                <a:cubicBezTo>
                  <a:pt x="1044106" y="1252686"/>
                  <a:pt x="1042284" y="1250864"/>
                  <a:pt x="1040462" y="1252686"/>
                </a:cubicBezTo>
                <a:cubicBezTo>
                  <a:pt x="1040462" y="1250864"/>
                  <a:pt x="1044106" y="1250864"/>
                  <a:pt x="1044106" y="1249042"/>
                </a:cubicBezTo>
                <a:cubicBezTo>
                  <a:pt x="1042284" y="1249042"/>
                  <a:pt x="1042284" y="1247219"/>
                  <a:pt x="1042284" y="1247219"/>
                </a:cubicBezTo>
                <a:close/>
                <a:moveTo>
                  <a:pt x="754380" y="1247219"/>
                </a:moveTo>
                <a:cubicBezTo>
                  <a:pt x="752558" y="1249042"/>
                  <a:pt x="758025" y="1252686"/>
                  <a:pt x="758025" y="1254508"/>
                </a:cubicBezTo>
                <a:cubicBezTo>
                  <a:pt x="758025" y="1252686"/>
                  <a:pt x="756203" y="1250864"/>
                  <a:pt x="758025" y="1249042"/>
                </a:cubicBezTo>
                <a:cubicBezTo>
                  <a:pt x="756203" y="1249042"/>
                  <a:pt x="756203" y="1247219"/>
                  <a:pt x="754380" y="1247219"/>
                </a:cubicBezTo>
                <a:close/>
                <a:moveTo>
                  <a:pt x="604963" y="1247219"/>
                </a:moveTo>
                <a:cubicBezTo>
                  <a:pt x="603140" y="1247219"/>
                  <a:pt x="603140" y="1249042"/>
                  <a:pt x="601318" y="1250864"/>
                </a:cubicBezTo>
                <a:cubicBezTo>
                  <a:pt x="603140" y="1252686"/>
                  <a:pt x="606784" y="1249042"/>
                  <a:pt x="604963" y="1247219"/>
                </a:cubicBezTo>
                <a:close/>
                <a:moveTo>
                  <a:pt x="524786" y="1247219"/>
                </a:moveTo>
                <a:cubicBezTo>
                  <a:pt x="521142" y="1249042"/>
                  <a:pt x="526609" y="1250864"/>
                  <a:pt x="526609" y="1250864"/>
                </a:cubicBezTo>
                <a:cubicBezTo>
                  <a:pt x="526609" y="1249042"/>
                  <a:pt x="524786" y="1247219"/>
                  <a:pt x="524786" y="1247219"/>
                </a:cubicBezTo>
                <a:close/>
                <a:moveTo>
                  <a:pt x="335280" y="1247219"/>
                </a:moveTo>
                <a:cubicBezTo>
                  <a:pt x="344391" y="1252686"/>
                  <a:pt x="349858" y="1250864"/>
                  <a:pt x="355324" y="1247219"/>
                </a:cubicBezTo>
                <a:cubicBezTo>
                  <a:pt x="348037" y="1245397"/>
                  <a:pt x="340747" y="1245397"/>
                  <a:pt x="335280" y="1247219"/>
                </a:cubicBezTo>
                <a:close/>
                <a:moveTo>
                  <a:pt x="264216" y="1247219"/>
                </a:moveTo>
                <a:cubicBezTo>
                  <a:pt x="266038" y="1252686"/>
                  <a:pt x="271504" y="1247219"/>
                  <a:pt x="275149" y="1249042"/>
                </a:cubicBezTo>
                <a:cubicBezTo>
                  <a:pt x="273327" y="1247219"/>
                  <a:pt x="267860" y="1249042"/>
                  <a:pt x="264216" y="1247219"/>
                </a:cubicBezTo>
                <a:close/>
                <a:moveTo>
                  <a:pt x="3113185" y="1246764"/>
                </a:moveTo>
                <a:cubicBezTo>
                  <a:pt x="3109541" y="1246764"/>
                  <a:pt x="3105896" y="1248131"/>
                  <a:pt x="3103163" y="1250864"/>
                </a:cubicBezTo>
                <a:cubicBezTo>
                  <a:pt x="3101340" y="1254508"/>
                  <a:pt x="3104985" y="1254508"/>
                  <a:pt x="3104985" y="1256330"/>
                </a:cubicBezTo>
                <a:cubicBezTo>
                  <a:pt x="3101340" y="1258152"/>
                  <a:pt x="3095874" y="1261797"/>
                  <a:pt x="3095874" y="1267263"/>
                </a:cubicBezTo>
                <a:cubicBezTo>
                  <a:pt x="3103163" y="1269085"/>
                  <a:pt x="3110451" y="1261797"/>
                  <a:pt x="3119562" y="1261797"/>
                </a:cubicBezTo>
                <a:cubicBezTo>
                  <a:pt x="3117740" y="1258152"/>
                  <a:pt x="3119562" y="1256330"/>
                  <a:pt x="3121384" y="1256330"/>
                </a:cubicBezTo>
                <a:cubicBezTo>
                  <a:pt x="3123206" y="1252686"/>
                  <a:pt x="3114096" y="1256330"/>
                  <a:pt x="3114096" y="1252686"/>
                </a:cubicBezTo>
                <a:cubicBezTo>
                  <a:pt x="3115918" y="1249042"/>
                  <a:pt x="3119562" y="1254508"/>
                  <a:pt x="3123206" y="1250864"/>
                </a:cubicBezTo>
                <a:cubicBezTo>
                  <a:pt x="3120473" y="1248131"/>
                  <a:pt x="3116829" y="1246764"/>
                  <a:pt x="3113185" y="1246764"/>
                </a:cubicBezTo>
                <a:close/>
                <a:moveTo>
                  <a:pt x="361018" y="1246536"/>
                </a:moveTo>
                <a:cubicBezTo>
                  <a:pt x="358513" y="1246764"/>
                  <a:pt x="356236" y="1248130"/>
                  <a:pt x="355324" y="1250864"/>
                </a:cubicBezTo>
                <a:cubicBezTo>
                  <a:pt x="366257" y="1250864"/>
                  <a:pt x="375368" y="1254508"/>
                  <a:pt x="384479" y="1256330"/>
                </a:cubicBezTo>
                <a:cubicBezTo>
                  <a:pt x="379012" y="1252686"/>
                  <a:pt x="377190" y="1245397"/>
                  <a:pt x="368079" y="1249042"/>
                </a:cubicBezTo>
                <a:cubicBezTo>
                  <a:pt x="366257" y="1247220"/>
                  <a:pt x="363524" y="1246308"/>
                  <a:pt x="361018" y="1246536"/>
                </a:cubicBezTo>
                <a:close/>
                <a:moveTo>
                  <a:pt x="3502219" y="1245397"/>
                </a:moveTo>
                <a:cubicBezTo>
                  <a:pt x="3496752" y="1254508"/>
                  <a:pt x="3511330" y="1258152"/>
                  <a:pt x="3514974" y="1265441"/>
                </a:cubicBezTo>
                <a:cubicBezTo>
                  <a:pt x="3511330" y="1267263"/>
                  <a:pt x="3507685" y="1269085"/>
                  <a:pt x="3504041" y="1270908"/>
                </a:cubicBezTo>
                <a:cubicBezTo>
                  <a:pt x="3502219" y="1267263"/>
                  <a:pt x="3505863" y="1265441"/>
                  <a:pt x="3507685" y="1263619"/>
                </a:cubicBezTo>
                <a:cubicBezTo>
                  <a:pt x="3502219" y="1261797"/>
                  <a:pt x="3494930" y="1261797"/>
                  <a:pt x="3493108" y="1269085"/>
                </a:cubicBezTo>
                <a:cubicBezTo>
                  <a:pt x="3493108" y="1267263"/>
                  <a:pt x="3493108" y="1267263"/>
                  <a:pt x="3493108" y="1265441"/>
                </a:cubicBezTo>
                <a:cubicBezTo>
                  <a:pt x="3489463" y="1267263"/>
                  <a:pt x="3485819" y="1267263"/>
                  <a:pt x="3485819" y="1270908"/>
                </a:cubicBezTo>
                <a:cubicBezTo>
                  <a:pt x="3485819" y="1270908"/>
                  <a:pt x="3487641" y="1270908"/>
                  <a:pt x="3489463" y="1270908"/>
                </a:cubicBezTo>
                <a:cubicBezTo>
                  <a:pt x="3493108" y="1278196"/>
                  <a:pt x="3489463" y="1285485"/>
                  <a:pt x="3500397" y="1283663"/>
                </a:cubicBezTo>
                <a:cubicBezTo>
                  <a:pt x="3494930" y="1287307"/>
                  <a:pt x="3494930" y="1292774"/>
                  <a:pt x="3493108" y="1298240"/>
                </a:cubicBezTo>
                <a:cubicBezTo>
                  <a:pt x="3491286" y="1294596"/>
                  <a:pt x="3487641" y="1289129"/>
                  <a:pt x="3485819" y="1287307"/>
                </a:cubicBezTo>
                <a:cubicBezTo>
                  <a:pt x="3480353" y="1283663"/>
                  <a:pt x="3471242" y="1280018"/>
                  <a:pt x="3463953" y="1285485"/>
                </a:cubicBezTo>
                <a:lnTo>
                  <a:pt x="3461290" y="1287307"/>
                </a:lnTo>
                <a:lnTo>
                  <a:pt x="3460309" y="1287307"/>
                </a:lnTo>
                <a:cubicBezTo>
                  <a:pt x="3473064" y="1254508"/>
                  <a:pt x="3454842" y="1287307"/>
                  <a:pt x="3467597" y="1256330"/>
                </a:cubicBezTo>
                <a:lnTo>
                  <a:pt x="3480353" y="1267263"/>
                </a:lnTo>
                <a:cubicBezTo>
                  <a:pt x="3489463" y="1261797"/>
                  <a:pt x="3494930" y="1252686"/>
                  <a:pt x="3502219" y="1245397"/>
                </a:cubicBezTo>
                <a:close/>
                <a:moveTo>
                  <a:pt x="3408149" y="1245397"/>
                </a:moveTo>
                <a:cubicBezTo>
                  <a:pt x="3406555" y="1244942"/>
                  <a:pt x="3404732" y="1245397"/>
                  <a:pt x="3403821" y="1247219"/>
                </a:cubicBezTo>
                <a:cubicBezTo>
                  <a:pt x="3405643" y="1252686"/>
                  <a:pt x="3407466" y="1247219"/>
                  <a:pt x="3411110" y="1249042"/>
                </a:cubicBezTo>
                <a:cubicBezTo>
                  <a:pt x="3411110" y="1247220"/>
                  <a:pt x="3409744" y="1245853"/>
                  <a:pt x="3408149" y="1245397"/>
                </a:cubicBezTo>
                <a:close/>
                <a:moveTo>
                  <a:pt x="3022987" y="1245397"/>
                </a:moveTo>
                <a:cubicBezTo>
                  <a:pt x="3019343" y="1247219"/>
                  <a:pt x="3012054" y="1245397"/>
                  <a:pt x="3012054" y="1252686"/>
                </a:cubicBezTo>
                <a:cubicBezTo>
                  <a:pt x="3017521" y="1252686"/>
                  <a:pt x="3022987" y="1250864"/>
                  <a:pt x="3022987" y="1245397"/>
                </a:cubicBezTo>
                <a:close/>
                <a:moveTo>
                  <a:pt x="566697" y="1245397"/>
                </a:moveTo>
                <a:cubicBezTo>
                  <a:pt x="559408" y="1250864"/>
                  <a:pt x="561230" y="1259975"/>
                  <a:pt x="555763" y="1265441"/>
                </a:cubicBezTo>
                <a:cubicBezTo>
                  <a:pt x="564874" y="1267263"/>
                  <a:pt x="572163" y="1265441"/>
                  <a:pt x="579452" y="1263619"/>
                </a:cubicBezTo>
                <a:cubicBezTo>
                  <a:pt x="572163" y="1259975"/>
                  <a:pt x="575808" y="1247219"/>
                  <a:pt x="566697" y="1245397"/>
                </a:cubicBezTo>
                <a:close/>
                <a:moveTo>
                  <a:pt x="311592" y="1245397"/>
                </a:moveTo>
                <a:cubicBezTo>
                  <a:pt x="309771" y="1247219"/>
                  <a:pt x="307948" y="1245397"/>
                  <a:pt x="307948" y="1247219"/>
                </a:cubicBezTo>
                <a:cubicBezTo>
                  <a:pt x="309771" y="1250864"/>
                  <a:pt x="315236" y="1247219"/>
                  <a:pt x="311592" y="1245397"/>
                </a:cubicBezTo>
                <a:close/>
                <a:moveTo>
                  <a:pt x="158529" y="1243617"/>
                </a:moveTo>
                <a:cubicBezTo>
                  <a:pt x="167641" y="1250906"/>
                  <a:pt x="174930" y="1260017"/>
                  <a:pt x="184041" y="1267306"/>
                </a:cubicBezTo>
                <a:cubicBezTo>
                  <a:pt x="173108" y="1260017"/>
                  <a:pt x="163996" y="1250906"/>
                  <a:pt x="151241" y="1250906"/>
                </a:cubicBezTo>
                <a:cubicBezTo>
                  <a:pt x="154885" y="1250906"/>
                  <a:pt x="154885" y="1249083"/>
                  <a:pt x="158529" y="1247261"/>
                </a:cubicBezTo>
                <a:close/>
                <a:moveTo>
                  <a:pt x="3028453" y="1243575"/>
                </a:moveTo>
                <a:cubicBezTo>
                  <a:pt x="3026631" y="1247219"/>
                  <a:pt x="3024809" y="1249042"/>
                  <a:pt x="3024809" y="1252686"/>
                </a:cubicBezTo>
                <a:cubicBezTo>
                  <a:pt x="3030276" y="1252686"/>
                  <a:pt x="3030276" y="1250864"/>
                  <a:pt x="3033920" y="1252686"/>
                </a:cubicBezTo>
                <a:cubicBezTo>
                  <a:pt x="3032098" y="1249042"/>
                  <a:pt x="3028453" y="1249042"/>
                  <a:pt x="3028453" y="1243575"/>
                </a:cubicBezTo>
                <a:close/>
                <a:moveTo>
                  <a:pt x="1310143" y="1243575"/>
                </a:moveTo>
                <a:cubicBezTo>
                  <a:pt x="1306499" y="1247219"/>
                  <a:pt x="1302855" y="1243575"/>
                  <a:pt x="1299210" y="1245397"/>
                </a:cubicBezTo>
                <a:cubicBezTo>
                  <a:pt x="1301033" y="1249042"/>
                  <a:pt x="1304677" y="1263619"/>
                  <a:pt x="1311966" y="1254508"/>
                </a:cubicBezTo>
                <a:cubicBezTo>
                  <a:pt x="1311966" y="1252686"/>
                  <a:pt x="1311966" y="1250864"/>
                  <a:pt x="1311966" y="1249042"/>
                </a:cubicBezTo>
                <a:cubicBezTo>
                  <a:pt x="1313788" y="1250864"/>
                  <a:pt x="1315610" y="1256330"/>
                  <a:pt x="1315610" y="1258152"/>
                </a:cubicBezTo>
                <a:cubicBezTo>
                  <a:pt x="1321077" y="1256330"/>
                  <a:pt x="1321077" y="1249042"/>
                  <a:pt x="1324721" y="1243575"/>
                </a:cubicBezTo>
                <a:cubicBezTo>
                  <a:pt x="1319254" y="1239931"/>
                  <a:pt x="1313788" y="1239931"/>
                  <a:pt x="1310143" y="1243575"/>
                </a:cubicBezTo>
                <a:close/>
                <a:moveTo>
                  <a:pt x="1020418" y="1243575"/>
                </a:moveTo>
                <a:cubicBezTo>
                  <a:pt x="1018596" y="1243575"/>
                  <a:pt x="1018596" y="1245397"/>
                  <a:pt x="1018596" y="1249042"/>
                </a:cubicBezTo>
                <a:cubicBezTo>
                  <a:pt x="1020418" y="1249042"/>
                  <a:pt x="1022240" y="1250864"/>
                  <a:pt x="1025884" y="1249042"/>
                </a:cubicBezTo>
                <a:cubicBezTo>
                  <a:pt x="1024062" y="1247219"/>
                  <a:pt x="1022240" y="1243575"/>
                  <a:pt x="1020418" y="1243575"/>
                </a:cubicBezTo>
                <a:close/>
                <a:moveTo>
                  <a:pt x="510209" y="1243575"/>
                </a:moveTo>
                <a:lnTo>
                  <a:pt x="508387" y="1247220"/>
                </a:lnTo>
                <a:lnTo>
                  <a:pt x="508387" y="1247219"/>
                </a:lnTo>
                <a:cubicBezTo>
                  <a:pt x="506565" y="1249042"/>
                  <a:pt x="508387" y="1249042"/>
                  <a:pt x="506565" y="1250864"/>
                </a:cubicBezTo>
                <a:lnTo>
                  <a:pt x="508387" y="1247220"/>
                </a:lnTo>
                <a:lnTo>
                  <a:pt x="508387" y="1257014"/>
                </a:lnTo>
                <a:cubicBezTo>
                  <a:pt x="509298" y="1259519"/>
                  <a:pt x="511120" y="1260886"/>
                  <a:pt x="513853" y="1259975"/>
                </a:cubicBezTo>
                <a:cubicBezTo>
                  <a:pt x="513853" y="1259975"/>
                  <a:pt x="515676" y="1258152"/>
                  <a:pt x="517498" y="1258152"/>
                </a:cubicBezTo>
                <a:cubicBezTo>
                  <a:pt x="516587" y="1260886"/>
                  <a:pt x="517498" y="1263163"/>
                  <a:pt x="519092" y="1264985"/>
                </a:cubicBezTo>
                <a:lnTo>
                  <a:pt x="519940" y="1265596"/>
                </a:lnTo>
                <a:lnTo>
                  <a:pt x="519320" y="1265441"/>
                </a:lnTo>
                <a:cubicBezTo>
                  <a:pt x="519320" y="1267263"/>
                  <a:pt x="521142" y="1268630"/>
                  <a:pt x="522964" y="1269085"/>
                </a:cubicBezTo>
                <a:lnTo>
                  <a:pt x="524040" y="1268547"/>
                </a:lnTo>
                <a:lnTo>
                  <a:pt x="524786" y="1269085"/>
                </a:lnTo>
                <a:cubicBezTo>
                  <a:pt x="530253" y="1270908"/>
                  <a:pt x="541186" y="1276374"/>
                  <a:pt x="543008" y="1267263"/>
                </a:cubicBezTo>
                <a:cubicBezTo>
                  <a:pt x="541186" y="1265441"/>
                  <a:pt x="535719" y="1261797"/>
                  <a:pt x="532075" y="1259975"/>
                </a:cubicBezTo>
                <a:lnTo>
                  <a:pt x="533897" y="1258152"/>
                </a:lnTo>
                <a:cubicBezTo>
                  <a:pt x="530253" y="1254508"/>
                  <a:pt x="526609" y="1252686"/>
                  <a:pt x="522964" y="1254508"/>
                </a:cubicBezTo>
                <a:cubicBezTo>
                  <a:pt x="524786" y="1254508"/>
                  <a:pt x="526609" y="1258152"/>
                  <a:pt x="526609" y="1258152"/>
                </a:cubicBezTo>
                <a:cubicBezTo>
                  <a:pt x="522964" y="1265441"/>
                  <a:pt x="522964" y="1250864"/>
                  <a:pt x="519320" y="1254508"/>
                </a:cubicBezTo>
                <a:cubicBezTo>
                  <a:pt x="517498" y="1254508"/>
                  <a:pt x="517498" y="1256330"/>
                  <a:pt x="517498" y="1256330"/>
                </a:cubicBezTo>
                <a:cubicBezTo>
                  <a:pt x="519320" y="1250864"/>
                  <a:pt x="519320" y="1241753"/>
                  <a:pt x="510209" y="1243575"/>
                </a:cubicBezTo>
                <a:close/>
                <a:moveTo>
                  <a:pt x="484700" y="1243575"/>
                </a:moveTo>
                <a:cubicBezTo>
                  <a:pt x="479232" y="1252686"/>
                  <a:pt x="486521" y="1247219"/>
                  <a:pt x="488343" y="1247219"/>
                </a:cubicBezTo>
                <a:cubicBezTo>
                  <a:pt x="486521" y="1245397"/>
                  <a:pt x="486521" y="1243575"/>
                  <a:pt x="484700" y="1243575"/>
                </a:cubicBezTo>
                <a:close/>
                <a:moveTo>
                  <a:pt x="399056" y="1243575"/>
                </a:moveTo>
                <a:cubicBezTo>
                  <a:pt x="404523" y="1249042"/>
                  <a:pt x="411812" y="1245397"/>
                  <a:pt x="417278" y="1243575"/>
                </a:cubicBezTo>
                <a:cubicBezTo>
                  <a:pt x="411812" y="1243575"/>
                  <a:pt x="406345" y="1247219"/>
                  <a:pt x="399056" y="1243575"/>
                </a:cubicBezTo>
                <a:close/>
                <a:moveTo>
                  <a:pt x="393590" y="1243575"/>
                </a:moveTo>
                <a:cubicBezTo>
                  <a:pt x="391768" y="1247219"/>
                  <a:pt x="389946" y="1247219"/>
                  <a:pt x="389946" y="1249042"/>
                </a:cubicBezTo>
                <a:cubicBezTo>
                  <a:pt x="388123" y="1249042"/>
                  <a:pt x="384479" y="1249042"/>
                  <a:pt x="382657" y="1250864"/>
                </a:cubicBezTo>
                <a:cubicBezTo>
                  <a:pt x="380835" y="1252686"/>
                  <a:pt x="388123" y="1256330"/>
                  <a:pt x="388123" y="1254508"/>
                </a:cubicBezTo>
                <a:cubicBezTo>
                  <a:pt x="386301" y="1252686"/>
                  <a:pt x="384479" y="1252686"/>
                  <a:pt x="382657" y="1250864"/>
                </a:cubicBezTo>
                <a:cubicBezTo>
                  <a:pt x="384479" y="1250864"/>
                  <a:pt x="388123" y="1254508"/>
                  <a:pt x="389946" y="1254508"/>
                </a:cubicBezTo>
                <a:cubicBezTo>
                  <a:pt x="391768" y="1252686"/>
                  <a:pt x="391768" y="1250864"/>
                  <a:pt x="389946" y="1249042"/>
                </a:cubicBezTo>
                <a:cubicBezTo>
                  <a:pt x="393590" y="1249042"/>
                  <a:pt x="397234" y="1247219"/>
                  <a:pt x="395412" y="1247219"/>
                </a:cubicBezTo>
                <a:cubicBezTo>
                  <a:pt x="397234" y="1245397"/>
                  <a:pt x="395412" y="1245397"/>
                  <a:pt x="393590" y="1243575"/>
                </a:cubicBezTo>
                <a:close/>
                <a:moveTo>
                  <a:pt x="273327" y="1243575"/>
                </a:moveTo>
                <a:cubicBezTo>
                  <a:pt x="273327" y="1249042"/>
                  <a:pt x="278793" y="1243575"/>
                  <a:pt x="280615" y="1247219"/>
                </a:cubicBezTo>
                <a:cubicBezTo>
                  <a:pt x="276971" y="1245397"/>
                  <a:pt x="275149" y="1243575"/>
                  <a:pt x="273327" y="1243575"/>
                </a:cubicBezTo>
                <a:close/>
                <a:moveTo>
                  <a:pt x="3036426" y="1243120"/>
                </a:moveTo>
                <a:cubicBezTo>
                  <a:pt x="3034832" y="1243120"/>
                  <a:pt x="3033009" y="1243575"/>
                  <a:pt x="3032098" y="1243575"/>
                </a:cubicBezTo>
                <a:cubicBezTo>
                  <a:pt x="3033920" y="1245397"/>
                  <a:pt x="3033920" y="1247219"/>
                  <a:pt x="3033920" y="1249042"/>
                </a:cubicBezTo>
                <a:cubicBezTo>
                  <a:pt x="3037564" y="1249042"/>
                  <a:pt x="3037564" y="1247219"/>
                  <a:pt x="3039387" y="1245397"/>
                </a:cubicBezTo>
                <a:cubicBezTo>
                  <a:pt x="3039387" y="1243575"/>
                  <a:pt x="3038020" y="1243120"/>
                  <a:pt x="3036426" y="1243120"/>
                </a:cubicBezTo>
                <a:close/>
                <a:moveTo>
                  <a:pt x="322297" y="1242892"/>
                </a:moveTo>
                <a:cubicBezTo>
                  <a:pt x="319336" y="1243120"/>
                  <a:pt x="317058" y="1245398"/>
                  <a:pt x="315236" y="1249042"/>
                </a:cubicBezTo>
                <a:cubicBezTo>
                  <a:pt x="320703" y="1252686"/>
                  <a:pt x="326169" y="1250864"/>
                  <a:pt x="333458" y="1249042"/>
                </a:cubicBezTo>
                <a:cubicBezTo>
                  <a:pt x="328903" y="1244486"/>
                  <a:pt x="325258" y="1242664"/>
                  <a:pt x="322297" y="1242892"/>
                </a:cubicBezTo>
                <a:close/>
                <a:moveTo>
                  <a:pt x="303165" y="1242208"/>
                </a:moveTo>
                <a:cubicBezTo>
                  <a:pt x="301570" y="1242208"/>
                  <a:pt x="299748" y="1242664"/>
                  <a:pt x="298837" y="1243575"/>
                </a:cubicBezTo>
                <a:cubicBezTo>
                  <a:pt x="302481" y="1245397"/>
                  <a:pt x="304303" y="1243575"/>
                  <a:pt x="306126" y="1243575"/>
                </a:cubicBezTo>
                <a:cubicBezTo>
                  <a:pt x="306126" y="1242664"/>
                  <a:pt x="304759" y="1242208"/>
                  <a:pt x="303165" y="1242208"/>
                </a:cubicBezTo>
                <a:close/>
                <a:moveTo>
                  <a:pt x="1257300" y="1241753"/>
                </a:moveTo>
                <a:cubicBezTo>
                  <a:pt x="1257300" y="1241753"/>
                  <a:pt x="1255478" y="1243575"/>
                  <a:pt x="1255478" y="1243575"/>
                </a:cubicBezTo>
                <a:cubicBezTo>
                  <a:pt x="1259123" y="1247219"/>
                  <a:pt x="1260945" y="1247219"/>
                  <a:pt x="1264589" y="1247219"/>
                </a:cubicBezTo>
                <a:cubicBezTo>
                  <a:pt x="1264589" y="1245397"/>
                  <a:pt x="1264589" y="1243575"/>
                  <a:pt x="1262767" y="1241753"/>
                </a:cubicBezTo>
                <a:cubicBezTo>
                  <a:pt x="1260945" y="1241753"/>
                  <a:pt x="1259123" y="1245397"/>
                  <a:pt x="1257300" y="1241753"/>
                </a:cubicBezTo>
                <a:close/>
                <a:moveTo>
                  <a:pt x="1142503" y="1241753"/>
                </a:moveTo>
                <a:cubicBezTo>
                  <a:pt x="1140681" y="1243575"/>
                  <a:pt x="1140681" y="1249042"/>
                  <a:pt x="1142503" y="1252686"/>
                </a:cubicBezTo>
                <a:cubicBezTo>
                  <a:pt x="1144326" y="1250864"/>
                  <a:pt x="1146148" y="1250864"/>
                  <a:pt x="1146148" y="1249042"/>
                </a:cubicBezTo>
                <a:cubicBezTo>
                  <a:pt x="1142503" y="1245397"/>
                  <a:pt x="1144326" y="1245397"/>
                  <a:pt x="1142503" y="1241753"/>
                </a:cubicBezTo>
                <a:close/>
                <a:moveTo>
                  <a:pt x="579452" y="1241753"/>
                </a:moveTo>
                <a:cubicBezTo>
                  <a:pt x="581274" y="1243575"/>
                  <a:pt x="579452" y="1245397"/>
                  <a:pt x="581274" y="1245397"/>
                </a:cubicBezTo>
                <a:cubicBezTo>
                  <a:pt x="583096" y="1243575"/>
                  <a:pt x="581274" y="1243575"/>
                  <a:pt x="583096" y="1241753"/>
                </a:cubicBezTo>
                <a:cubicBezTo>
                  <a:pt x="581274" y="1239931"/>
                  <a:pt x="579452" y="1239931"/>
                  <a:pt x="579452" y="1241753"/>
                </a:cubicBezTo>
                <a:close/>
                <a:moveTo>
                  <a:pt x="462832" y="1241753"/>
                </a:moveTo>
                <a:cubicBezTo>
                  <a:pt x="459188" y="1241753"/>
                  <a:pt x="455544" y="1243575"/>
                  <a:pt x="451899" y="1243575"/>
                </a:cubicBezTo>
                <a:cubicBezTo>
                  <a:pt x="457367" y="1247219"/>
                  <a:pt x="459188" y="1243575"/>
                  <a:pt x="462832" y="1241753"/>
                </a:cubicBezTo>
                <a:close/>
                <a:moveTo>
                  <a:pt x="125730" y="1241753"/>
                </a:moveTo>
                <a:lnTo>
                  <a:pt x="147165" y="1258681"/>
                </a:lnTo>
                <a:lnTo>
                  <a:pt x="147596" y="1259975"/>
                </a:lnTo>
                <a:cubicBezTo>
                  <a:pt x="136663" y="1258152"/>
                  <a:pt x="134841" y="1245397"/>
                  <a:pt x="125730" y="1241753"/>
                </a:cubicBezTo>
                <a:close/>
                <a:moveTo>
                  <a:pt x="1125872" y="1241695"/>
                </a:moveTo>
                <a:lnTo>
                  <a:pt x="1126104" y="1241753"/>
                </a:lnTo>
                <a:lnTo>
                  <a:pt x="1125834" y="1242293"/>
                </a:lnTo>
                <a:close/>
                <a:moveTo>
                  <a:pt x="2525533" y="1240003"/>
                </a:moveTo>
                <a:lnTo>
                  <a:pt x="2541933" y="1254580"/>
                </a:lnTo>
                <a:lnTo>
                  <a:pt x="2525533" y="1256403"/>
                </a:lnTo>
                <a:close/>
                <a:moveTo>
                  <a:pt x="3392888" y="1239931"/>
                </a:moveTo>
                <a:cubicBezTo>
                  <a:pt x="3389244" y="1239931"/>
                  <a:pt x="3387422" y="1241753"/>
                  <a:pt x="3387422" y="1245397"/>
                </a:cubicBezTo>
                <a:cubicBezTo>
                  <a:pt x="3389244" y="1243575"/>
                  <a:pt x="3391066" y="1245397"/>
                  <a:pt x="3392888" y="1245397"/>
                </a:cubicBezTo>
                <a:cubicBezTo>
                  <a:pt x="3394710" y="1241753"/>
                  <a:pt x="3392888" y="1241753"/>
                  <a:pt x="3392888" y="1239931"/>
                </a:cubicBezTo>
                <a:close/>
                <a:moveTo>
                  <a:pt x="3298135" y="1239931"/>
                </a:moveTo>
                <a:cubicBezTo>
                  <a:pt x="3283558" y="1243575"/>
                  <a:pt x="3296313" y="1245397"/>
                  <a:pt x="3292669" y="1250864"/>
                </a:cubicBezTo>
                <a:cubicBezTo>
                  <a:pt x="3292669" y="1252686"/>
                  <a:pt x="3294491" y="1252686"/>
                  <a:pt x="3296313" y="1252686"/>
                </a:cubicBezTo>
                <a:cubicBezTo>
                  <a:pt x="3294491" y="1261797"/>
                  <a:pt x="3296313" y="1269085"/>
                  <a:pt x="3299957" y="1274552"/>
                </a:cubicBezTo>
                <a:cubicBezTo>
                  <a:pt x="3296313" y="1281841"/>
                  <a:pt x="3298135" y="1278196"/>
                  <a:pt x="3290847" y="1278196"/>
                </a:cubicBezTo>
                <a:cubicBezTo>
                  <a:pt x="3292669" y="1280018"/>
                  <a:pt x="3292669" y="1283663"/>
                  <a:pt x="3294491" y="1285485"/>
                </a:cubicBezTo>
                <a:cubicBezTo>
                  <a:pt x="3296313" y="1289129"/>
                  <a:pt x="3296313" y="1278196"/>
                  <a:pt x="3299957" y="1281841"/>
                </a:cubicBezTo>
                <a:cubicBezTo>
                  <a:pt x="3299957" y="1278196"/>
                  <a:pt x="3299957" y="1276374"/>
                  <a:pt x="3299957" y="1274552"/>
                </a:cubicBezTo>
                <a:cubicBezTo>
                  <a:pt x="3301780" y="1280018"/>
                  <a:pt x="3307246" y="1283663"/>
                  <a:pt x="3309068" y="1289129"/>
                </a:cubicBezTo>
                <a:cubicBezTo>
                  <a:pt x="3309068" y="1283663"/>
                  <a:pt x="3316357" y="1283663"/>
                  <a:pt x="3314535" y="1280018"/>
                </a:cubicBezTo>
                <a:cubicBezTo>
                  <a:pt x="3310890" y="1270908"/>
                  <a:pt x="3303602" y="1259975"/>
                  <a:pt x="3301780" y="1249042"/>
                </a:cubicBezTo>
                <a:cubicBezTo>
                  <a:pt x="3299957" y="1249042"/>
                  <a:pt x="3298135" y="1250864"/>
                  <a:pt x="3296313" y="1250864"/>
                </a:cubicBezTo>
                <a:cubicBezTo>
                  <a:pt x="3292669" y="1247219"/>
                  <a:pt x="3298135" y="1243575"/>
                  <a:pt x="3298135" y="1239931"/>
                </a:cubicBezTo>
                <a:close/>
                <a:moveTo>
                  <a:pt x="3121384" y="1239931"/>
                </a:moveTo>
                <a:cubicBezTo>
                  <a:pt x="3117740" y="1239931"/>
                  <a:pt x="3123206" y="1241753"/>
                  <a:pt x="3121384" y="1245397"/>
                </a:cubicBezTo>
                <a:cubicBezTo>
                  <a:pt x="3126851" y="1241753"/>
                  <a:pt x="3126851" y="1250864"/>
                  <a:pt x="3126851" y="1256330"/>
                </a:cubicBezTo>
                <a:cubicBezTo>
                  <a:pt x="3128673" y="1254508"/>
                  <a:pt x="3130495" y="1254508"/>
                  <a:pt x="3132317" y="1254508"/>
                </a:cubicBezTo>
                <a:cubicBezTo>
                  <a:pt x="3130495" y="1252686"/>
                  <a:pt x="3130495" y="1247219"/>
                  <a:pt x="3128673" y="1243575"/>
                </a:cubicBezTo>
                <a:cubicBezTo>
                  <a:pt x="3125029" y="1243575"/>
                  <a:pt x="3123206" y="1241753"/>
                  <a:pt x="3121384" y="1239931"/>
                </a:cubicBezTo>
                <a:close/>
                <a:moveTo>
                  <a:pt x="1297388" y="1239931"/>
                </a:moveTo>
                <a:cubicBezTo>
                  <a:pt x="1297388" y="1241753"/>
                  <a:pt x="1297388" y="1241753"/>
                  <a:pt x="1301033" y="1243575"/>
                </a:cubicBezTo>
                <a:cubicBezTo>
                  <a:pt x="1301033" y="1243575"/>
                  <a:pt x="1302855" y="1241753"/>
                  <a:pt x="1302855" y="1241753"/>
                </a:cubicBezTo>
                <a:cubicBezTo>
                  <a:pt x="1304677" y="1245397"/>
                  <a:pt x="1310143" y="1243575"/>
                  <a:pt x="1311966" y="1241753"/>
                </a:cubicBezTo>
                <a:cubicBezTo>
                  <a:pt x="1308321" y="1239931"/>
                  <a:pt x="1304677" y="1241753"/>
                  <a:pt x="1302855" y="1239931"/>
                </a:cubicBezTo>
                <a:cubicBezTo>
                  <a:pt x="1302855" y="1239931"/>
                  <a:pt x="1301033" y="1241753"/>
                  <a:pt x="1301033" y="1241753"/>
                </a:cubicBezTo>
                <a:cubicBezTo>
                  <a:pt x="1301033" y="1239931"/>
                  <a:pt x="1299210" y="1239931"/>
                  <a:pt x="1297388" y="1239931"/>
                </a:cubicBezTo>
                <a:close/>
                <a:moveTo>
                  <a:pt x="1231790" y="1239931"/>
                </a:moveTo>
                <a:cubicBezTo>
                  <a:pt x="1229969" y="1241753"/>
                  <a:pt x="1231790" y="1243575"/>
                  <a:pt x="1233612" y="1245397"/>
                </a:cubicBezTo>
                <a:cubicBezTo>
                  <a:pt x="1235434" y="1243575"/>
                  <a:pt x="1237256" y="1247219"/>
                  <a:pt x="1239080" y="1245397"/>
                </a:cubicBezTo>
                <a:cubicBezTo>
                  <a:pt x="1239080" y="1239931"/>
                  <a:pt x="1233612" y="1241753"/>
                  <a:pt x="1231790" y="1239931"/>
                </a:cubicBezTo>
                <a:close/>
                <a:moveTo>
                  <a:pt x="1051395" y="1239931"/>
                </a:moveTo>
                <a:cubicBezTo>
                  <a:pt x="1047750" y="1241753"/>
                  <a:pt x="1047750" y="1245397"/>
                  <a:pt x="1044106" y="1243575"/>
                </a:cubicBezTo>
                <a:cubicBezTo>
                  <a:pt x="1045929" y="1245397"/>
                  <a:pt x="1044106" y="1245397"/>
                  <a:pt x="1045929" y="1247219"/>
                </a:cubicBezTo>
                <a:cubicBezTo>
                  <a:pt x="1047750" y="1247219"/>
                  <a:pt x="1047750" y="1245397"/>
                  <a:pt x="1047750" y="1245397"/>
                </a:cubicBezTo>
                <a:cubicBezTo>
                  <a:pt x="1049573" y="1245397"/>
                  <a:pt x="1049573" y="1247219"/>
                  <a:pt x="1051395" y="1249042"/>
                </a:cubicBezTo>
                <a:cubicBezTo>
                  <a:pt x="1053217" y="1250864"/>
                  <a:pt x="1056861" y="1247219"/>
                  <a:pt x="1056861" y="1245397"/>
                </a:cubicBezTo>
                <a:cubicBezTo>
                  <a:pt x="1055040" y="1243575"/>
                  <a:pt x="1053217" y="1241753"/>
                  <a:pt x="1051395" y="1239931"/>
                </a:cubicBezTo>
                <a:close/>
                <a:moveTo>
                  <a:pt x="1223590" y="1238792"/>
                </a:moveTo>
                <a:cubicBezTo>
                  <a:pt x="1222679" y="1238108"/>
                  <a:pt x="1221768" y="1238108"/>
                  <a:pt x="1220858" y="1239931"/>
                </a:cubicBezTo>
                <a:cubicBezTo>
                  <a:pt x="1222679" y="1241753"/>
                  <a:pt x="1224501" y="1243575"/>
                  <a:pt x="1226323" y="1241753"/>
                </a:cubicBezTo>
                <a:cubicBezTo>
                  <a:pt x="1225412" y="1240842"/>
                  <a:pt x="1224501" y="1239475"/>
                  <a:pt x="1223590" y="1238792"/>
                </a:cubicBezTo>
                <a:close/>
                <a:moveTo>
                  <a:pt x="1275522" y="1238109"/>
                </a:moveTo>
                <a:cubicBezTo>
                  <a:pt x="1273700" y="1237653"/>
                  <a:pt x="1271878" y="1238108"/>
                  <a:pt x="1270056" y="1241753"/>
                </a:cubicBezTo>
                <a:cubicBezTo>
                  <a:pt x="1271878" y="1256330"/>
                  <a:pt x="1290100" y="1256330"/>
                  <a:pt x="1295566" y="1245397"/>
                </a:cubicBezTo>
                <a:cubicBezTo>
                  <a:pt x="1295566" y="1245397"/>
                  <a:pt x="1293744" y="1250864"/>
                  <a:pt x="1290100" y="1252686"/>
                </a:cubicBezTo>
                <a:cubicBezTo>
                  <a:pt x="1290100" y="1256330"/>
                  <a:pt x="1291922" y="1252686"/>
                  <a:pt x="1293744" y="1254508"/>
                </a:cubicBezTo>
                <a:cubicBezTo>
                  <a:pt x="1293744" y="1258152"/>
                  <a:pt x="1290100" y="1252686"/>
                  <a:pt x="1288277" y="1256330"/>
                </a:cubicBezTo>
                <a:cubicBezTo>
                  <a:pt x="1290099" y="1259974"/>
                  <a:pt x="1292377" y="1259974"/>
                  <a:pt x="1294656" y="1259519"/>
                </a:cubicBezTo>
                <a:lnTo>
                  <a:pt x="1297388" y="1259714"/>
                </a:lnTo>
                <a:lnTo>
                  <a:pt x="1297388" y="1261797"/>
                </a:lnTo>
                <a:cubicBezTo>
                  <a:pt x="1301033" y="1263619"/>
                  <a:pt x="1302855" y="1261797"/>
                  <a:pt x="1302855" y="1265441"/>
                </a:cubicBezTo>
                <a:cubicBezTo>
                  <a:pt x="1304677" y="1263619"/>
                  <a:pt x="1302855" y="1261797"/>
                  <a:pt x="1302855" y="1259975"/>
                </a:cubicBezTo>
                <a:lnTo>
                  <a:pt x="1300867" y="1259312"/>
                </a:lnTo>
                <a:lnTo>
                  <a:pt x="1299210" y="1252686"/>
                </a:lnTo>
                <a:cubicBezTo>
                  <a:pt x="1299210" y="1252686"/>
                  <a:pt x="1297388" y="1254508"/>
                  <a:pt x="1295566" y="1254508"/>
                </a:cubicBezTo>
                <a:cubicBezTo>
                  <a:pt x="1297388" y="1250864"/>
                  <a:pt x="1297388" y="1249042"/>
                  <a:pt x="1295566" y="1245397"/>
                </a:cubicBezTo>
                <a:cubicBezTo>
                  <a:pt x="1290100" y="1238108"/>
                  <a:pt x="1282811" y="1239931"/>
                  <a:pt x="1277344" y="1243575"/>
                </a:cubicBezTo>
                <a:cubicBezTo>
                  <a:pt x="1277344" y="1239931"/>
                  <a:pt x="1279166" y="1241753"/>
                  <a:pt x="1280989" y="1239931"/>
                </a:cubicBezTo>
                <a:cubicBezTo>
                  <a:pt x="1279166" y="1239931"/>
                  <a:pt x="1277344" y="1238564"/>
                  <a:pt x="1275522" y="1238109"/>
                </a:cubicBezTo>
                <a:close/>
                <a:moveTo>
                  <a:pt x="2133766" y="1238108"/>
                </a:moveTo>
                <a:cubicBezTo>
                  <a:pt x="2130122" y="1238108"/>
                  <a:pt x="2130122" y="1241753"/>
                  <a:pt x="2130122" y="1243575"/>
                </a:cubicBezTo>
                <a:cubicBezTo>
                  <a:pt x="2131944" y="1243575"/>
                  <a:pt x="2131944" y="1243575"/>
                  <a:pt x="2133766" y="1241753"/>
                </a:cubicBezTo>
                <a:close/>
                <a:moveTo>
                  <a:pt x="1244545" y="1238108"/>
                </a:moveTo>
                <a:cubicBezTo>
                  <a:pt x="1240901" y="1239931"/>
                  <a:pt x="1240901" y="1241753"/>
                  <a:pt x="1242723" y="1243575"/>
                </a:cubicBezTo>
                <a:cubicBezTo>
                  <a:pt x="1244545" y="1241753"/>
                  <a:pt x="1244545" y="1241753"/>
                  <a:pt x="1246367" y="1239931"/>
                </a:cubicBezTo>
                <a:cubicBezTo>
                  <a:pt x="1246367" y="1239931"/>
                  <a:pt x="1244545" y="1238108"/>
                  <a:pt x="1244545" y="1238108"/>
                </a:cubicBezTo>
                <a:close/>
                <a:moveTo>
                  <a:pt x="544603" y="1237653"/>
                </a:moveTo>
                <a:lnTo>
                  <a:pt x="541495" y="1239004"/>
                </a:lnTo>
                <a:lnTo>
                  <a:pt x="539364" y="1239931"/>
                </a:lnTo>
                <a:cubicBezTo>
                  <a:pt x="539364" y="1243575"/>
                  <a:pt x="539364" y="1243575"/>
                  <a:pt x="537542" y="1245397"/>
                </a:cubicBezTo>
                <a:cubicBezTo>
                  <a:pt x="543008" y="1245397"/>
                  <a:pt x="548475" y="1243575"/>
                  <a:pt x="548475" y="1238108"/>
                </a:cubicBezTo>
                <a:cubicBezTo>
                  <a:pt x="547564" y="1235375"/>
                  <a:pt x="546197" y="1236286"/>
                  <a:pt x="544603" y="1237653"/>
                </a:cubicBezTo>
                <a:close/>
                <a:moveTo>
                  <a:pt x="579451" y="1236741"/>
                </a:moveTo>
                <a:cubicBezTo>
                  <a:pt x="577630" y="1237197"/>
                  <a:pt x="575808" y="1238108"/>
                  <a:pt x="573985" y="1238108"/>
                </a:cubicBezTo>
                <a:cubicBezTo>
                  <a:pt x="575808" y="1238108"/>
                  <a:pt x="575808" y="1239931"/>
                  <a:pt x="575808" y="1241753"/>
                </a:cubicBezTo>
                <a:cubicBezTo>
                  <a:pt x="579452" y="1239931"/>
                  <a:pt x="581274" y="1238108"/>
                  <a:pt x="584919" y="1238108"/>
                </a:cubicBezTo>
                <a:cubicBezTo>
                  <a:pt x="583096" y="1236286"/>
                  <a:pt x="581274" y="1236286"/>
                  <a:pt x="579451" y="1236741"/>
                </a:cubicBezTo>
                <a:close/>
                <a:moveTo>
                  <a:pt x="3115918" y="1236286"/>
                </a:moveTo>
                <a:cubicBezTo>
                  <a:pt x="3114096" y="1236286"/>
                  <a:pt x="3114096" y="1238108"/>
                  <a:pt x="3114096" y="1238108"/>
                </a:cubicBezTo>
                <a:cubicBezTo>
                  <a:pt x="3114096" y="1239931"/>
                  <a:pt x="3110451" y="1239931"/>
                  <a:pt x="3108629" y="1239931"/>
                </a:cubicBezTo>
                <a:cubicBezTo>
                  <a:pt x="3110451" y="1241753"/>
                  <a:pt x="3112274" y="1241753"/>
                  <a:pt x="3115918" y="1241753"/>
                </a:cubicBezTo>
                <a:cubicBezTo>
                  <a:pt x="3115918" y="1239931"/>
                  <a:pt x="3115918" y="1238108"/>
                  <a:pt x="3115918" y="1236286"/>
                </a:cubicBezTo>
                <a:close/>
                <a:moveTo>
                  <a:pt x="1328365" y="1236286"/>
                </a:moveTo>
                <a:cubicBezTo>
                  <a:pt x="1326543" y="1238108"/>
                  <a:pt x="1326543" y="1239931"/>
                  <a:pt x="1328365" y="1241753"/>
                </a:cubicBezTo>
                <a:cubicBezTo>
                  <a:pt x="1332009" y="1241753"/>
                  <a:pt x="1330188" y="1236286"/>
                  <a:pt x="1328365" y="1236286"/>
                </a:cubicBezTo>
                <a:close/>
                <a:moveTo>
                  <a:pt x="1253656" y="1236286"/>
                </a:moveTo>
                <a:cubicBezTo>
                  <a:pt x="1251834" y="1234464"/>
                  <a:pt x="1248189" y="1238108"/>
                  <a:pt x="1251834" y="1239931"/>
                </a:cubicBezTo>
                <a:cubicBezTo>
                  <a:pt x="1253656" y="1239931"/>
                  <a:pt x="1253656" y="1238108"/>
                  <a:pt x="1253656" y="1236286"/>
                </a:cubicBezTo>
                <a:close/>
                <a:moveTo>
                  <a:pt x="1100593" y="1236286"/>
                </a:moveTo>
                <a:cubicBezTo>
                  <a:pt x="1100593" y="1239931"/>
                  <a:pt x="1093305" y="1241753"/>
                  <a:pt x="1095127" y="1243575"/>
                </a:cubicBezTo>
                <a:cubicBezTo>
                  <a:pt x="1098771" y="1250864"/>
                  <a:pt x="1106060" y="1249042"/>
                  <a:pt x="1111526" y="1249042"/>
                </a:cubicBezTo>
                <a:cubicBezTo>
                  <a:pt x="1107882" y="1243575"/>
                  <a:pt x="1106060" y="1238108"/>
                  <a:pt x="1100593" y="1236286"/>
                </a:cubicBezTo>
                <a:close/>
                <a:moveTo>
                  <a:pt x="1045929" y="1236286"/>
                </a:moveTo>
                <a:cubicBezTo>
                  <a:pt x="1045929" y="1238108"/>
                  <a:pt x="1045929" y="1241753"/>
                  <a:pt x="1042284" y="1243575"/>
                </a:cubicBezTo>
                <a:cubicBezTo>
                  <a:pt x="1044106" y="1245397"/>
                  <a:pt x="1047750" y="1241753"/>
                  <a:pt x="1049573" y="1239931"/>
                </a:cubicBezTo>
                <a:cubicBezTo>
                  <a:pt x="1047750" y="1238108"/>
                  <a:pt x="1047750" y="1236286"/>
                  <a:pt x="1045929" y="1236286"/>
                </a:cubicBezTo>
                <a:close/>
                <a:moveTo>
                  <a:pt x="572163" y="1236286"/>
                </a:moveTo>
                <a:cubicBezTo>
                  <a:pt x="570341" y="1238108"/>
                  <a:pt x="568519" y="1238108"/>
                  <a:pt x="568519" y="1238108"/>
                </a:cubicBezTo>
                <a:cubicBezTo>
                  <a:pt x="568519" y="1243575"/>
                  <a:pt x="570341" y="1247219"/>
                  <a:pt x="573985" y="1249042"/>
                </a:cubicBezTo>
                <a:cubicBezTo>
                  <a:pt x="575808" y="1243575"/>
                  <a:pt x="575808" y="1243575"/>
                  <a:pt x="572163" y="1236286"/>
                </a:cubicBezTo>
                <a:close/>
                <a:moveTo>
                  <a:pt x="430262" y="1235375"/>
                </a:moveTo>
                <a:cubicBezTo>
                  <a:pt x="427756" y="1234464"/>
                  <a:pt x="425478" y="1234464"/>
                  <a:pt x="424567" y="1236286"/>
                </a:cubicBezTo>
                <a:cubicBezTo>
                  <a:pt x="430034" y="1238108"/>
                  <a:pt x="433678" y="1239931"/>
                  <a:pt x="437322" y="1239931"/>
                </a:cubicBezTo>
                <a:cubicBezTo>
                  <a:pt x="435500" y="1238108"/>
                  <a:pt x="432767" y="1236286"/>
                  <a:pt x="430262" y="1235375"/>
                </a:cubicBezTo>
                <a:close/>
                <a:moveTo>
                  <a:pt x="3405643" y="1234893"/>
                </a:moveTo>
                <a:lnTo>
                  <a:pt x="3405643" y="1236286"/>
                </a:lnTo>
                <a:lnTo>
                  <a:pt x="3400934" y="1235837"/>
                </a:lnTo>
                <a:lnTo>
                  <a:pt x="3403594" y="1235375"/>
                </a:lnTo>
                <a:close/>
                <a:moveTo>
                  <a:pt x="3307246" y="1234464"/>
                </a:moveTo>
                <a:cubicBezTo>
                  <a:pt x="3299957" y="1238108"/>
                  <a:pt x="3305424" y="1241753"/>
                  <a:pt x="3305424" y="1245397"/>
                </a:cubicBezTo>
                <a:cubicBezTo>
                  <a:pt x="3307246" y="1245397"/>
                  <a:pt x="3312713" y="1249042"/>
                  <a:pt x="3314535" y="1243575"/>
                </a:cubicBezTo>
                <a:cubicBezTo>
                  <a:pt x="3310890" y="1245397"/>
                  <a:pt x="3309068" y="1243575"/>
                  <a:pt x="3307246" y="1243575"/>
                </a:cubicBezTo>
                <a:cubicBezTo>
                  <a:pt x="3309068" y="1239931"/>
                  <a:pt x="3307246" y="1236286"/>
                  <a:pt x="3307246" y="1234464"/>
                </a:cubicBezTo>
                <a:close/>
                <a:moveTo>
                  <a:pt x="3137784" y="1234464"/>
                </a:moveTo>
                <a:cubicBezTo>
                  <a:pt x="3135962" y="1236286"/>
                  <a:pt x="3134140" y="1236286"/>
                  <a:pt x="3134140" y="1239931"/>
                </a:cubicBezTo>
                <a:cubicBezTo>
                  <a:pt x="3135962" y="1239931"/>
                  <a:pt x="3137784" y="1239931"/>
                  <a:pt x="3139606" y="1239931"/>
                </a:cubicBezTo>
                <a:cubicBezTo>
                  <a:pt x="3139606" y="1236286"/>
                  <a:pt x="3137784" y="1236286"/>
                  <a:pt x="3137784" y="1234464"/>
                </a:cubicBezTo>
                <a:close/>
                <a:moveTo>
                  <a:pt x="2117366" y="1234464"/>
                </a:moveTo>
                <a:cubicBezTo>
                  <a:pt x="2108256" y="1238108"/>
                  <a:pt x="2119189" y="1250864"/>
                  <a:pt x="2126477" y="1245397"/>
                </a:cubicBezTo>
                <a:cubicBezTo>
                  <a:pt x="2124655" y="1241753"/>
                  <a:pt x="2117366" y="1241753"/>
                  <a:pt x="2117366" y="1234464"/>
                </a:cubicBezTo>
                <a:close/>
                <a:moveTo>
                  <a:pt x="1321077" y="1234464"/>
                </a:moveTo>
                <a:cubicBezTo>
                  <a:pt x="1321077" y="1236286"/>
                  <a:pt x="1322899" y="1239931"/>
                  <a:pt x="1324721" y="1241753"/>
                </a:cubicBezTo>
                <a:cubicBezTo>
                  <a:pt x="1326543" y="1239931"/>
                  <a:pt x="1326543" y="1234464"/>
                  <a:pt x="1321077" y="1234464"/>
                </a:cubicBezTo>
                <a:close/>
                <a:moveTo>
                  <a:pt x="1319254" y="1234464"/>
                </a:moveTo>
                <a:cubicBezTo>
                  <a:pt x="1313788" y="1236286"/>
                  <a:pt x="1306499" y="1236286"/>
                  <a:pt x="1301033" y="1238108"/>
                </a:cubicBezTo>
                <a:cubicBezTo>
                  <a:pt x="1304677" y="1239931"/>
                  <a:pt x="1308321" y="1238108"/>
                  <a:pt x="1311966" y="1239931"/>
                </a:cubicBezTo>
                <a:cubicBezTo>
                  <a:pt x="1313788" y="1239931"/>
                  <a:pt x="1311966" y="1238108"/>
                  <a:pt x="1313788" y="1238108"/>
                </a:cubicBezTo>
                <a:cubicBezTo>
                  <a:pt x="1315610" y="1236286"/>
                  <a:pt x="1313788" y="1239931"/>
                  <a:pt x="1315610" y="1241753"/>
                </a:cubicBezTo>
                <a:cubicBezTo>
                  <a:pt x="1317432" y="1239931"/>
                  <a:pt x="1319254" y="1241753"/>
                  <a:pt x="1321077" y="1239931"/>
                </a:cubicBezTo>
                <a:cubicBezTo>
                  <a:pt x="1319254" y="1238108"/>
                  <a:pt x="1321077" y="1236286"/>
                  <a:pt x="1319254" y="1234464"/>
                </a:cubicBezTo>
                <a:close/>
                <a:moveTo>
                  <a:pt x="1183112" y="1234464"/>
                </a:moveTo>
                <a:lnTo>
                  <a:pt x="1184414" y="1234464"/>
                </a:lnTo>
                <a:cubicBezTo>
                  <a:pt x="1181680" y="1238108"/>
                  <a:pt x="1180313" y="1242664"/>
                  <a:pt x="1178719" y="1246992"/>
                </a:cubicBezTo>
                <a:lnTo>
                  <a:pt x="1177125" y="1249511"/>
                </a:lnTo>
                <a:lnTo>
                  <a:pt x="1177125" y="1247447"/>
                </a:lnTo>
                <a:cubicBezTo>
                  <a:pt x="1177580" y="1246308"/>
                  <a:pt x="1178036" y="1245397"/>
                  <a:pt x="1177125" y="1245397"/>
                </a:cubicBezTo>
                <a:lnTo>
                  <a:pt x="1175081" y="1246624"/>
                </a:lnTo>
                <a:lnTo>
                  <a:pt x="1175303" y="1245397"/>
                </a:lnTo>
                <a:close/>
                <a:moveTo>
                  <a:pt x="1065972" y="1234464"/>
                </a:moveTo>
                <a:cubicBezTo>
                  <a:pt x="1062328" y="1238108"/>
                  <a:pt x="1064151" y="1241753"/>
                  <a:pt x="1058683" y="1243575"/>
                </a:cubicBezTo>
                <a:cubicBezTo>
                  <a:pt x="1062328" y="1247219"/>
                  <a:pt x="1065972" y="1250864"/>
                  <a:pt x="1071439" y="1256330"/>
                </a:cubicBezTo>
                <a:cubicBezTo>
                  <a:pt x="1073262" y="1254508"/>
                  <a:pt x="1075083" y="1254508"/>
                  <a:pt x="1076905" y="1252686"/>
                </a:cubicBezTo>
                <a:cubicBezTo>
                  <a:pt x="1075083" y="1250864"/>
                  <a:pt x="1075083" y="1243575"/>
                  <a:pt x="1071439" y="1243575"/>
                </a:cubicBezTo>
                <a:cubicBezTo>
                  <a:pt x="1073262" y="1239931"/>
                  <a:pt x="1067794" y="1238108"/>
                  <a:pt x="1065972" y="1234464"/>
                </a:cubicBezTo>
                <a:close/>
                <a:moveTo>
                  <a:pt x="557586" y="1234464"/>
                </a:moveTo>
                <a:cubicBezTo>
                  <a:pt x="557586" y="1234464"/>
                  <a:pt x="557586" y="1236286"/>
                  <a:pt x="555763" y="1236286"/>
                </a:cubicBezTo>
                <a:cubicBezTo>
                  <a:pt x="550297" y="1247219"/>
                  <a:pt x="537542" y="1243575"/>
                  <a:pt x="533897" y="1252686"/>
                </a:cubicBezTo>
                <a:cubicBezTo>
                  <a:pt x="541186" y="1259975"/>
                  <a:pt x="546653" y="1254508"/>
                  <a:pt x="550297" y="1252686"/>
                </a:cubicBezTo>
                <a:cubicBezTo>
                  <a:pt x="559408" y="1250864"/>
                  <a:pt x="555763" y="1241753"/>
                  <a:pt x="557586" y="1234464"/>
                </a:cubicBezTo>
                <a:close/>
                <a:moveTo>
                  <a:pt x="451899" y="1234464"/>
                </a:moveTo>
                <a:cubicBezTo>
                  <a:pt x="450077" y="1236286"/>
                  <a:pt x="450077" y="1236286"/>
                  <a:pt x="450077" y="1238108"/>
                </a:cubicBezTo>
                <a:cubicBezTo>
                  <a:pt x="451899" y="1238108"/>
                  <a:pt x="453722" y="1239931"/>
                  <a:pt x="455544" y="1238108"/>
                </a:cubicBezTo>
                <a:cubicBezTo>
                  <a:pt x="455544" y="1236286"/>
                  <a:pt x="453722" y="1236286"/>
                  <a:pt x="451899" y="1234464"/>
                </a:cubicBezTo>
                <a:close/>
                <a:moveTo>
                  <a:pt x="326169" y="1234464"/>
                </a:moveTo>
                <a:cubicBezTo>
                  <a:pt x="324347" y="1236286"/>
                  <a:pt x="324347" y="1238108"/>
                  <a:pt x="322525" y="1239931"/>
                </a:cubicBezTo>
                <a:cubicBezTo>
                  <a:pt x="327993" y="1243575"/>
                  <a:pt x="331636" y="1245397"/>
                  <a:pt x="337102" y="1245397"/>
                </a:cubicBezTo>
                <a:cubicBezTo>
                  <a:pt x="338926" y="1243575"/>
                  <a:pt x="337102" y="1243575"/>
                  <a:pt x="335280" y="1241753"/>
                </a:cubicBezTo>
                <a:cubicBezTo>
                  <a:pt x="337102" y="1239931"/>
                  <a:pt x="340747" y="1243575"/>
                  <a:pt x="342569" y="1241753"/>
                </a:cubicBezTo>
                <a:cubicBezTo>
                  <a:pt x="335280" y="1238108"/>
                  <a:pt x="329814" y="1243575"/>
                  <a:pt x="326169" y="1234464"/>
                </a:cubicBezTo>
                <a:close/>
                <a:moveTo>
                  <a:pt x="934775" y="1233781"/>
                </a:moveTo>
                <a:cubicBezTo>
                  <a:pt x="932498" y="1234464"/>
                  <a:pt x="930220" y="1236286"/>
                  <a:pt x="929309" y="1239931"/>
                </a:cubicBezTo>
                <a:cubicBezTo>
                  <a:pt x="927487" y="1239931"/>
                  <a:pt x="929309" y="1238108"/>
                  <a:pt x="927487" y="1236286"/>
                </a:cubicBezTo>
                <a:cubicBezTo>
                  <a:pt x="923843" y="1238108"/>
                  <a:pt x="922020" y="1239931"/>
                  <a:pt x="922020" y="1243575"/>
                </a:cubicBezTo>
                <a:cubicBezTo>
                  <a:pt x="923843" y="1245397"/>
                  <a:pt x="931131" y="1245397"/>
                  <a:pt x="932953" y="1239931"/>
                </a:cubicBezTo>
                <a:cubicBezTo>
                  <a:pt x="938420" y="1241753"/>
                  <a:pt x="945709" y="1241753"/>
                  <a:pt x="940242" y="1234464"/>
                </a:cubicBezTo>
                <a:cubicBezTo>
                  <a:pt x="939331" y="1233553"/>
                  <a:pt x="937053" y="1233097"/>
                  <a:pt x="934775" y="1233781"/>
                </a:cubicBezTo>
                <a:close/>
                <a:moveTo>
                  <a:pt x="3294491" y="1232642"/>
                </a:moveTo>
                <a:cubicBezTo>
                  <a:pt x="3290847" y="1234464"/>
                  <a:pt x="3290847" y="1239931"/>
                  <a:pt x="3296313" y="1238108"/>
                </a:cubicBezTo>
                <a:cubicBezTo>
                  <a:pt x="3296313" y="1236286"/>
                  <a:pt x="3296313" y="1234464"/>
                  <a:pt x="3294491" y="1232642"/>
                </a:cubicBezTo>
                <a:close/>
                <a:moveTo>
                  <a:pt x="3188805" y="1232642"/>
                </a:moveTo>
                <a:cubicBezTo>
                  <a:pt x="3188805" y="1238108"/>
                  <a:pt x="3190627" y="1239931"/>
                  <a:pt x="3196093" y="1239931"/>
                </a:cubicBezTo>
                <a:cubicBezTo>
                  <a:pt x="3196093" y="1236286"/>
                  <a:pt x="3196093" y="1234464"/>
                  <a:pt x="3196093" y="1232642"/>
                </a:cubicBezTo>
                <a:cubicBezTo>
                  <a:pt x="3192449" y="1232642"/>
                  <a:pt x="3190627" y="1232642"/>
                  <a:pt x="3188805" y="1232642"/>
                </a:cubicBezTo>
                <a:close/>
                <a:moveTo>
                  <a:pt x="3044853" y="1232642"/>
                </a:moveTo>
                <a:cubicBezTo>
                  <a:pt x="3041209" y="1232642"/>
                  <a:pt x="3039387" y="1243575"/>
                  <a:pt x="3035742" y="1234464"/>
                </a:cubicBezTo>
                <a:cubicBezTo>
                  <a:pt x="3032098" y="1236286"/>
                  <a:pt x="3037564" y="1239931"/>
                  <a:pt x="3041209" y="1239931"/>
                </a:cubicBezTo>
                <a:cubicBezTo>
                  <a:pt x="3041209" y="1238108"/>
                  <a:pt x="3044853" y="1238108"/>
                  <a:pt x="3046675" y="1236286"/>
                </a:cubicBezTo>
                <a:cubicBezTo>
                  <a:pt x="3044853" y="1236286"/>
                  <a:pt x="3044853" y="1234464"/>
                  <a:pt x="3044853" y="1232642"/>
                </a:cubicBezTo>
                <a:close/>
                <a:moveTo>
                  <a:pt x="1226323" y="1232642"/>
                </a:moveTo>
                <a:cubicBezTo>
                  <a:pt x="1226323" y="1232642"/>
                  <a:pt x="1226323" y="1234464"/>
                  <a:pt x="1226323" y="1236286"/>
                </a:cubicBezTo>
                <a:cubicBezTo>
                  <a:pt x="1231790" y="1234464"/>
                  <a:pt x="1235434" y="1239931"/>
                  <a:pt x="1240901" y="1239931"/>
                </a:cubicBezTo>
                <a:cubicBezTo>
                  <a:pt x="1235434" y="1236286"/>
                  <a:pt x="1231790" y="1234464"/>
                  <a:pt x="1226323" y="1232642"/>
                </a:cubicBezTo>
                <a:close/>
                <a:moveTo>
                  <a:pt x="1104238" y="1232642"/>
                </a:moveTo>
                <a:cubicBezTo>
                  <a:pt x="1102416" y="1236286"/>
                  <a:pt x="1115171" y="1247219"/>
                  <a:pt x="1118815" y="1249042"/>
                </a:cubicBezTo>
                <a:cubicBezTo>
                  <a:pt x="1120637" y="1247219"/>
                  <a:pt x="1118815" y="1249042"/>
                  <a:pt x="1118815" y="1247219"/>
                </a:cubicBezTo>
                <a:cubicBezTo>
                  <a:pt x="1120637" y="1245397"/>
                  <a:pt x="1120637" y="1247219"/>
                  <a:pt x="1122459" y="1249042"/>
                </a:cubicBezTo>
                <a:lnTo>
                  <a:pt x="1125834" y="1242293"/>
                </a:lnTo>
                <a:lnTo>
                  <a:pt x="1125648" y="1245169"/>
                </a:lnTo>
                <a:cubicBezTo>
                  <a:pt x="1124737" y="1247219"/>
                  <a:pt x="1123370" y="1249042"/>
                  <a:pt x="1122459" y="1250864"/>
                </a:cubicBezTo>
                <a:cubicBezTo>
                  <a:pt x="1124282" y="1250864"/>
                  <a:pt x="1127926" y="1254508"/>
                  <a:pt x="1129748" y="1254508"/>
                </a:cubicBezTo>
                <a:cubicBezTo>
                  <a:pt x="1133393" y="1252686"/>
                  <a:pt x="1135215" y="1247219"/>
                  <a:pt x="1137037" y="1241753"/>
                </a:cubicBezTo>
                <a:cubicBezTo>
                  <a:pt x="1133393" y="1232642"/>
                  <a:pt x="1124282" y="1232642"/>
                  <a:pt x="1116993" y="1232642"/>
                </a:cubicBezTo>
                <a:cubicBezTo>
                  <a:pt x="1116993" y="1234464"/>
                  <a:pt x="1116993" y="1234464"/>
                  <a:pt x="1116993" y="1236286"/>
                </a:cubicBezTo>
                <a:cubicBezTo>
                  <a:pt x="1120637" y="1238108"/>
                  <a:pt x="1122459" y="1238108"/>
                  <a:pt x="1126104" y="1238108"/>
                </a:cubicBezTo>
                <a:lnTo>
                  <a:pt x="1125872" y="1241695"/>
                </a:lnTo>
                <a:lnTo>
                  <a:pt x="1118815" y="1239931"/>
                </a:lnTo>
                <a:cubicBezTo>
                  <a:pt x="1116993" y="1238108"/>
                  <a:pt x="1115171" y="1234464"/>
                  <a:pt x="1115171" y="1232642"/>
                </a:cubicBezTo>
                <a:cubicBezTo>
                  <a:pt x="1111526" y="1232642"/>
                  <a:pt x="1107882" y="1234464"/>
                  <a:pt x="1104238" y="1232642"/>
                </a:cubicBezTo>
                <a:close/>
                <a:moveTo>
                  <a:pt x="1065972" y="1232642"/>
                </a:moveTo>
                <a:cubicBezTo>
                  <a:pt x="1067794" y="1232642"/>
                  <a:pt x="1069616" y="1236286"/>
                  <a:pt x="1071439" y="1238108"/>
                </a:cubicBezTo>
                <a:cubicBezTo>
                  <a:pt x="1071439" y="1236286"/>
                  <a:pt x="1067794" y="1228998"/>
                  <a:pt x="1065972" y="1232642"/>
                </a:cubicBezTo>
                <a:close/>
                <a:moveTo>
                  <a:pt x="396096" y="1232414"/>
                </a:moveTo>
                <a:cubicBezTo>
                  <a:pt x="394957" y="1232187"/>
                  <a:pt x="393590" y="1232642"/>
                  <a:pt x="391768" y="1234464"/>
                </a:cubicBezTo>
                <a:cubicBezTo>
                  <a:pt x="397234" y="1234464"/>
                  <a:pt x="404523" y="1238108"/>
                  <a:pt x="409989" y="1236286"/>
                </a:cubicBezTo>
                <a:cubicBezTo>
                  <a:pt x="408167" y="1236286"/>
                  <a:pt x="406345" y="1234920"/>
                  <a:pt x="404523" y="1234008"/>
                </a:cubicBezTo>
                <a:cubicBezTo>
                  <a:pt x="402701" y="1233097"/>
                  <a:pt x="400878" y="1232642"/>
                  <a:pt x="399056" y="1234464"/>
                </a:cubicBezTo>
                <a:cubicBezTo>
                  <a:pt x="398145" y="1233553"/>
                  <a:pt x="397234" y="1232642"/>
                  <a:pt x="396096" y="1232414"/>
                </a:cubicBezTo>
                <a:close/>
                <a:moveTo>
                  <a:pt x="1332693" y="1232414"/>
                </a:moveTo>
                <a:cubicBezTo>
                  <a:pt x="1329732" y="1233098"/>
                  <a:pt x="1328365" y="1235376"/>
                  <a:pt x="1332009" y="1239931"/>
                </a:cubicBezTo>
                <a:cubicBezTo>
                  <a:pt x="1335654" y="1238108"/>
                  <a:pt x="1339299" y="1238108"/>
                  <a:pt x="1342942" y="1234464"/>
                </a:cubicBezTo>
                <a:cubicBezTo>
                  <a:pt x="1340209" y="1232642"/>
                  <a:pt x="1335654" y="1231731"/>
                  <a:pt x="1332693" y="1232414"/>
                </a:cubicBezTo>
                <a:close/>
                <a:moveTo>
                  <a:pt x="456911" y="1231275"/>
                </a:moveTo>
                <a:cubicBezTo>
                  <a:pt x="455088" y="1231275"/>
                  <a:pt x="453722" y="1231731"/>
                  <a:pt x="453722" y="1232642"/>
                </a:cubicBezTo>
                <a:cubicBezTo>
                  <a:pt x="457367" y="1236286"/>
                  <a:pt x="464655" y="1230820"/>
                  <a:pt x="462832" y="1232642"/>
                </a:cubicBezTo>
                <a:cubicBezTo>
                  <a:pt x="461010" y="1231731"/>
                  <a:pt x="458732" y="1231275"/>
                  <a:pt x="456911" y="1231275"/>
                </a:cubicBezTo>
                <a:close/>
                <a:moveTo>
                  <a:pt x="2133766" y="1230820"/>
                </a:moveTo>
                <a:cubicBezTo>
                  <a:pt x="2131944" y="1230820"/>
                  <a:pt x="2130122" y="1230820"/>
                  <a:pt x="2130122" y="1232642"/>
                </a:cubicBezTo>
                <a:cubicBezTo>
                  <a:pt x="2128300" y="1234464"/>
                  <a:pt x="2131944" y="1236286"/>
                  <a:pt x="2133766" y="1234464"/>
                </a:cubicBezTo>
                <a:close/>
                <a:moveTo>
                  <a:pt x="1339299" y="1230820"/>
                </a:moveTo>
                <a:cubicBezTo>
                  <a:pt x="1341120" y="1232642"/>
                  <a:pt x="1344765" y="1234464"/>
                  <a:pt x="1346587" y="1232642"/>
                </a:cubicBezTo>
                <a:cubicBezTo>
                  <a:pt x="1346587" y="1232642"/>
                  <a:pt x="1344765" y="1230820"/>
                  <a:pt x="1346587" y="1230820"/>
                </a:cubicBezTo>
                <a:cubicBezTo>
                  <a:pt x="1342942" y="1227175"/>
                  <a:pt x="1341120" y="1227175"/>
                  <a:pt x="1339299" y="1230820"/>
                </a:cubicBezTo>
                <a:close/>
                <a:moveTo>
                  <a:pt x="1328365" y="1230820"/>
                </a:moveTo>
                <a:cubicBezTo>
                  <a:pt x="1328365" y="1230820"/>
                  <a:pt x="1326543" y="1232642"/>
                  <a:pt x="1326543" y="1232642"/>
                </a:cubicBezTo>
                <a:cubicBezTo>
                  <a:pt x="1326543" y="1234464"/>
                  <a:pt x="1328365" y="1234464"/>
                  <a:pt x="1328365" y="1234464"/>
                </a:cubicBezTo>
                <a:cubicBezTo>
                  <a:pt x="1330188" y="1232642"/>
                  <a:pt x="1332009" y="1232642"/>
                  <a:pt x="1332009" y="1230820"/>
                </a:cubicBezTo>
                <a:cubicBezTo>
                  <a:pt x="1330188" y="1228998"/>
                  <a:pt x="1330188" y="1232642"/>
                  <a:pt x="1328365" y="1230820"/>
                </a:cubicBezTo>
                <a:close/>
                <a:moveTo>
                  <a:pt x="1291922" y="1230820"/>
                </a:moveTo>
                <a:cubicBezTo>
                  <a:pt x="1288277" y="1228998"/>
                  <a:pt x="1282811" y="1234464"/>
                  <a:pt x="1279166" y="1234464"/>
                </a:cubicBezTo>
                <a:cubicBezTo>
                  <a:pt x="1280989" y="1239931"/>
                  <a:pt x="1288277" y="1236286"/>
                  <a:pt x="1291922" y="1234464"/>
                </a:cubicBezTo>
                <a:cubicBezTo>
                  <a:pt x="1293744" y="1234464"/>
                  <a:pt x="1290100" y="1232642"/>
                  <a:pt x="1291922" y="1230820"/>
                </a:cubicBezTo>
                <a:close/>
                <a:moveTo>
                  <a:pt x="1273016" y="1230820"/>
                </a:moveTo>
                <a:cubicBezTo>
                  <a:pt x="1270967" y="1230820"/>
                  <a:pt x="1269144" y="1231731"/>
                  <a:pt x="1268233" y="1234464"/>
                </a:cubicBezTo>
                <a:cubicBezTo>
                  <a:pt x="1271878" y="1236286"/>
                  <a:pt x="1275522" y="1236286"/>
                  <a:pt x="1279166" y="1232642"/>
                </a:cubicBezTo>
                <a:cubicBezTo>
                  <a:pt x="1277344" y="1231731"/>
                  <a:pt x="1275066" y="1230820"/>
                  <a:pt x="1273016" y="1230820"/>
                </a:cubicBezTo>
                <a:close/>
                <a:moveTo>
                  <a:pt x="1169836" y="1230820"/>
                </a:moveTo>
                <a:cubicBezTo>
                  <a:pt x="1166192" y="1232642"/>
                  <a:pt x="1166192" y="1234464"/>
                  <a:pt x="1166192" y="1236286"/>
                </a:cubicBezTo>
                <a:cubicBezTo>
                  <a:pt x="1166192" y="1238108"/>
                  <a:pt x="1168014" y="1236286"/>
                  <a:pt x="1168014" y="1236286"/>
                </a:cubicBezTo>
                <a:cubicBezTo>
                  <a:pt x="1168014" y="1238108"/>
                  <a:pt x="1164370" y="1238108"/>
                  <a:pt x="1164370" y="1239931"/>
                </a:cubicBezTo>
                <a:cubicBezTo>
                  <a:pt x="1164370" y="1241753"/>
                  <a:pt x="1168014" y="1241753"/>
                  <a:pt x="1173481" y="1243575"/>
                </a:cubicBezTo>
                <a:cubicBezTo>
                  <a:pt x="1171658" y="1245397"/>
                  <a:pt x="1169836" y="1241753"/>
                  <a:pt x="1168014" y="1243575"/>
                </a:cubicBezTo>
                <a:cubicBezTo>
                  <a:pt x="1166192" y="1245397"/>
                  <a:pt x="1166192" y="1249042"/>
                  <a:pt x="1168014" y="1250864"/>
                </a:cubicBezTo>
                <a:lnTo>
                  <a:pt x="1175081" y="1246624"/>
                </a:lnTo>
                <a:lnTo>
                  <a:pt x="1174559" y="1249488"/>
                </a:lnTo>
                <a:lnTo>
                  <a:pt x="1166192" y="1254508"/>
                </a:lnTo>
                <a:cubicBezTo>
                  <a:pt x="1168014" y="1256330"/>
                  <a:pt x="1169836" y="1258152"/>
                  <a:pt x="1171658" y="1258152"/>
                </a:cubicBezTo>
                <a:lnTo>
                  <a:pt x="1173082" y="1255900"/>
                </a:lnTo>
                <a:lnTo>
                  <a:pt x="1169836" y="1267263"/>
                </a:lnTo>
                <a:cubicBezTo>
                  <a:pt x="1178947" y="1269085"/>
                  <a:pt x="1195346" y="1283663"/>
                  <a:pt x="1206279" y="1272730"/>
                </a:cubicBezTo>
                <a:cubicBezTo>
                  <a:pt x="1204457" y="1270908"/>
                  <a:pt x="1204457" y="1270908"/>
                  <a:pt x="1202636" y="1272730"/>
                </a:cubicBezTo>
                <a:cubicBezTo>
                  <a:pt x="1202636" y="1272730"/>
                  <a:pt x="1200814" y="1270908"/>
                  <a:pt x="1200814" y="1269085"/>
                </a:cubicBezTo>
                <a:cubicBezTo>
                  <a:pt x="1202636" y="1267263"/>
                  <a:pt x="1200814" y="1272730"/>
                  <a:pt x="1202636" y="1270908"/>
                </a:cubicBezTo>
                <a:cubicBezTo>
                  <a:pt x="1204457" y="1269085"/>
                  <a:pt x="1204457" y="1267263"/>
                  <a:pt x="1202636" y="1265441"/>
                </a:cubicBezTo>
                <a:cubicBezTo>
                  <a:pt x="1208102" y="1263619"/>
                  <a:pt x="1204457" y="1270908"/>
                  <a:pt x="1208102" y="1272730"/>
                </a:cubicBezTo>
                <a:cubicBezTo>
                  <a:pt x="1211747" y="1270908"/>
                  <a:pt x="1215390" y="1272730"/>
                  <a:pt x="1215390" y="1269085"/>
                </a:cubicBezTo>
                <a:cubicBezTo>
                  <a:pt x="1213568" y="1269085"/>
                  <a:pt x="1211747" y="1265441"/>
                  <a:pt x="1209925" y="1263619"/>
                </a:cubicBezTo>
                <a:cubicBezTo>
                  <a:pt x="1213568" y="1265441"/>
                  <a:pt x="1215390" y="1269085"/>
                  <a:pt x="1219036" y="1269085"/>
                </a:cubicBezTo>
                <a:cubicBezTo>
                  <a:pt x="1220858" y="1269996"/>
                  <a:pt x="1221312" y="1271363"/>
                  <a:pt x="1222679" y="1272958"/>
                </a:cubicBezTo>
                <a:lnTo>
                  <a:pt x="1225934" y="1274829"/>
                </a:lnTo>
                <a:lnTo>
                  <a:pt x="1224729" y="1275691"/>
                </a:lnTo>
                <a:cubicBezTo>
                  <a:pt x="1224956" y="1276374"/>
                  <a:pt x="1225412" y="1277285"/>
                  <a:pt x="1224501" y="1278196"/>
                </a:cubicBezTo>
                <a:cubicBezTo>
                  <a:pt x="1222679" y="1276374"/>
                  <a:pt x="1222679" y="1270908"/>
                  <a:pt x="1219036" y="1270908"/>
                </a:cubicBezTo>
                <a:cubicBezTo>
                  <a:pt x="1213568" y="1278196"/>
                  <a:pt x="1208102" y="1278196"/>
                  <a:pt x="1200814" y="1281841"/>
                </a:cubicBezTo>
                <a:cubicBezTo>
                  <a:pt x="1206279" y="1285485"/>
                  <a:pt x="1209925" y="1287307"/>
                  <a:pt x="1215390" y="1290951"/>
                </a:cubicBezTo>
                <a:cubicBezTo>
                  <a:pt x="1217213" y="1285485"/>
                  <a:pt x="1209925" y="1283663"/>
                  <a:pt x="1213568" y="1280018"/>
                </a:cubicBezTo>
                <a:cubicBezTo>
                  <a:pt x="1215390" y="1285485"/>
                  <a:pt x="1215390" y="1294596"/>
                  <a:pt x="1222679" y="1294596"/>
                </a:cubicBezTo>
                <a:cubicBezTo>
                  <a:pt x="1224501" y="1294596"/>
                  <a:pt x="1226323" y="1292774"/>
                  <a:pt x="1228146" y="1290951"/>
                </a:cubicBezTo>
                <a:cubicBezTo>
                  <a:pt x="1228146" y="1290951"/>
                  <a:pt x="1224501" y="1292774"/>
                  <a:pt x="1224501" y="1294596"/>
                </a:cubicBezTo>
                <a:cubicBezTo>
                  <a:pt x="1226323" y="1296418"/>
                  <a:pt x="1228146" y="1296418"/>
                  <a:pt x="1229969" y="1294596"/>
                </a:cubicBezTo>
                <a:cubicBezTo>
                  <a:pt x="1229969" y="1292774"/>
                  <a:pt x="1229969" y="1292774"/>
                  <a:pt x="1228146" y="1290951"/>
                </a:cubicBezTo>
                <a:cubicBezTo>
                  <a:pt x="1226323" y="1287307"/>
                  <a:pt x="1226323" y="1283663"/>
                  <a:pt x="1224501" y="1280018"/>
                </a:cubicBezTo>
                <a:cubicBezTo>
                  <a:pt x="1228146" y="1280018"/>
                  <a:pt x="1226323" y="1285485"/>
                  <a:pt x="1229969" y="1283663"/>
                </a:cubicBezTo>
                <a:cubicBezTo>
                  <a:pt x="1228146" y="1287307"/>
                  <a:pt x="1228146" y="1290951"/>
                  <a:pt x="1233612" y="1294596"/>
                </a:cubicBezTo>
                <a:lnTo>
                  <a:pt x="1239229" y="1289878"/>
                </a:lnTo>
                <a:lnTo>
                  <a:pt x="1240901" y="1298240"/>
                </a:lnTo>
                <a:cubicBezTo>
                  <a:pt x="1244545" y="1296418"/>
                  <a:pt x="1246367" y="1292774"/>
                  <a:pt x="1242723" y="1290951"/>
                </a:cubicBezTo>
                <a:lnTo>
                  <a:pt x="1242723" y="1289129"/>
                </a:lnTo>
                <a:cubicBezTo>
                  <a:pt x="1240901" y="1289129"/>
                  <a:pt x="1240901" y="1287307"/>
                  <a:pt x="1239080" y="1289129"/>
                </a:cubicBezTo>
                <a:lnTo>
                  <a:pt x="1239173" y="1289602"/>
                </a:lnTo>
                <a:lnTo>
                  <a:pt x="1235434" y="1283663"/>
                </a:lnTo>
                <a:lnTo>
                  <a:pt x="1235434" y="1281841"/>
                </a:lnTo>
                <a:lnTo>
                  <a:pt x="1228548" y="1276332"/>
                </a:lnTo>
                <a:lnTo>
                  <a:pt x="1231790" y="1278196"/>
                </a:lnTo>
                <a:cubicBezTo>
                  <a:pt x="1235434" y="1274552"/>
                  <a:pt x="1235434" y="1276374"/>
                  <a:pt x="1237256" y="1272730"/>
                </a:cubicBezTo>
                <a:cubicBezTo>
                  <a:pt x="1237256" y="1276374"/>
                  <a:pt x="1235434" y="1280018"/>
                  <a:pt x="1237256" y="1283663"/>
                </a:cubicBezTo>
                <a:cubicBezTo>
                  <a:pt x="1242723" y="1285485"/>
                  <a:pt x="1240901" y="1270908"/>
                  <a:pt x="1237256" y="1270908"/>
                </a:cubicBezTo>
                <a:cubicBezTo>
                  <a:pt x="1237256" y="1272730"/>
                  <a:pt x="1237256" y="1272730"/>
                  <a:pt x="1237256" y="1272730"/>
                </a:cubicBezTo>
                <a:cubicBezTo>
                  <a:pt x="1235434" y="1269085"/>
                  <a:pt x="1233612" y="1267263"/>
                  <a:pt x="1231790" y="1269085"/>
                </a:cubicBezTo>
                <a:cubicBezTo>
                  <a:pt x="1231790" y="1267263"/>
                  <a:pt x="1233612" y="1263619"/>
                  <a:pt x="1235434" y="1265441"/>
                </a:cubicBezTo>
                <a:cubicBezTo>
                  <a:pt x="1235434" y="1258152"/>
                  <a:pt x="1226323" y="1247219"/>
                  <a:pt x="1219036" y="1245397"/>
                </a:cubicBezTo>
                <a:cubicBezTo>
                  <a:pt x="1219036" y="1245397"/>
                  <a:pt x="1220858" y="1252686"/>
                  <a:pt x="1222679" y="1250864"/>
                </a:cubicBezTo>
                <a:cubicBezTo>
                  <a:pt x="1220858" y="1250864"/>
                  <a:pt x="1220858" y="1254508"/>
                  <a:pt x="1222679" y="1258152"/>
                </a:cubicBezTo>
                <a:cubicBezTo>
                  <a:pt x="1219036" y="1256330"/>
                  <a:pt x="1220858" y="1249042"/>
                  <a:pt x="1215390" y="1243575"/>
                </a:cubicBezTo>
                <a:cubicBezTo>
                  <a:pt x="1209925" y="1245397"/>
                  <a:pt x="1206279" y="1239931"/>
                  <a:pt x="1202636" y="1243575"/>
                </a:cubicBezTo>
                <a:cubicBezTo>
                  <a:pt x="1208102" y="1249042"/>
                  <a:pt x="1208102" y="1252686"/>
                  <a:pt x="1208102" y="1252686"/>
                </a:cubicBezTo>
                <a:cubicBezTo>
                  <a:pt x="1200814" y="1250864"/>
                  <a:pt x="1202636" y="1243575"/>
                  <a:pt x="1198991" y="1238108"/>
                </a:cubicBezTo>
                <a:cubicBezTo>
                  <a:pt x="1193525" y="1236286"/>
                  <a:pt x="1189880" y="1236286"/>
                  <a:pt x="1184414" y="1232642"/>
                </a:cubicBezTo>
                <a:lnTo>
                  <a:pt x="1183112" y="1234464"/>
                </a:lnTo>
                <a:lnTo>
                  <a:pt x="1173481" y="1234464"/>
                </a:lnTo>
                <a:cubicBezTo>
                  <a:pt x="1171658" y="1232642"/>
                  <a:pt x="1171658" y="1232642"/>
                  <a:pt x="1169836" y="1230820"/>
                </a:cubicBezTo>
                <a:close/>
                <a:moveTo>
                  <a:pt x="998552" y="1230820"/>
                </a:moveTo>
                <a:cubicBezTo>
                  <a:pt x="996729" y="1236286"/>
                  <a:pt x="991263" y="1241753"/>
                  <a:pt x="989441" y="1245397"/>
                </a:cubicBezTo>
                <a:cubicBezTo>
                  <a:pt x="993085" y="1245397"/>
                  <a:pt x="994907" y="1245397"/>
                  <a:pt x="994907" y="1243575"/>
                </a:cubicBezTo>
                <a:cubicBezTo>
                  <a:pt x="994907" y="1241753"/>
                  <a:pt x="994907" y="1241753"/>
                  <a:pt x="993085" y="1239931"/>
                </a:cubicBezTo>
                <a:cubicBezTo>
                  <a:pt x="996729" y="1241753"/>
                  <a:pt x="1002196" y="1241753"/>
                  <a:pt x="1004018" y="1239931"/>
                </a:cubicBezTo>
                <a:cubicBezTo>
                  <a:pt x="1004018" y="1238108"/>
                  <a:pt x="1004018" y="1238108"/>
                  <a:pt x="1004018" y="1236286"/>
                </a:cubicBezTo>
                <a:cubicBezTo>
                  <a:pt x="1007663" y="1236286"/>
                  <a:pt x="1009485" y="1236286"/>
                  <a:pt x="1011307" y="1234464"/>
                </a:cubicBezTo>
                <a:cubicBezTo>
                  <a:pt x="1009485" y="1230820"/>
                  <a:pt x="1005840" y="1232642"/>
                  <a:pt x="1007663" y="1234464"/>
                </a:cubicBezTo>
                <a:cubicBezTo>
                  <a:pt x="1005840" y="1234464"/>
                  <a:pt x="1005840" y="1234464"/>
                  <a:pt x="1004018" y="1234464"/>
                </a:cubicBezTo>
                <a:cubicBezTo>
                  <a:pt x="1004018" y="1232642"/>
                  <a:pt x="1007663" y="1234464"/>
                  <a:pt x="1007663" y="1232642"/>
                </a:cubicBezTo>
                <a:cubicBezTo>
                  <a:pt x="1004018" y="1230820"/>
                  <a:pt x="1002196" y="1230820"/>
                  <a:pt x="998552" y="1230820"/>
                </a:cubicBezTo>
                <a:close/>
                <a:moveTo>
                  <a:pt x="920198" y="1230820"/>
                </a:moveTo>
                <a:cubicBezTo>
                  <a:pt x="918376" y="1232642"/>
                  <a:pt x="916555" y="1234464"/>
                  <a:pt x="914732" y="1236286"/>
                </a:cubicBezTo>
                <a:cubicBezTo>
                  <a:pt x="916555" y="1234464"/>
                  <a:pt x="922020" y="1236286"/>
                  <a:pt x="920198" y="1230820"/>
                </a:cubicBezTo>
                <a:close/>
                <a:moveTo>
                  <a:pt x="836378" y="1230820"/>
                </a:moveTo>
                <a:cubicBezTo>
                  <a:pt x="834556" y="1232642"/>
                  <a:pt x="838200" y="1236286"/>
                  <a:pt x="836378" y="1234464"/>
                </a:cubicBezTo>
                <a:cubicBezTo>
                  <a:pt x="838200" y="1238108"/>
                  <a:pt x="843667" y="1238108"/>
                  <a:pt x="847311" y="1238108"/>
                </a:cubicBezTo>
                <a:cubicBezTo>
                  <a:pt x="845489" y="1232642"/>
                  <a:pt x="840022" y="1232642"/>
                  <a:pt x="836378" y="1230820"/>
                </a:cubicBezTo>
                <a:close/>
                <a:moveTo>
                  <a:pt x="597673" y="1230820"/>
                </a:moveTo>
                <a:cubicBezTo>
                  <a:pt x="590385" y="1228998"/>
                  <a:pt x="588562" y="1241753"/>
                  <a:pt x="581274" y="1247219"/>
                </a:cubicBezTo>
                <a:cubicBezTo>
                  <a:pt x="581274" y="1249042"/>
                  <a:pt x="583096" y="1250864"/>
                  <a:pt x="584919" y="1252686"/>
                </a:cubicBezTo>
                <a:cubicBezTo>
                  <a:pt x="579452" y="1249042"/>
                  <a:pt x="581274" y="1249042"/>
                  <a:pt x="575808" y="1250864"/>
                </a:cubicBezTo>
                <a:cubicBezTo>
                  <a:pt x="579452" y="1254508"/>
                  <a:pt x="579452" y="1265441"/>
                  <a:pt x="583096" y="1261797"/>
                </a:cubicBezTo>
                <a:cubicBezTo>
                  <a:pt x="594030" y="1258152"/>
                  <a:pt x="604963" y="1245397"/>
                  <a:pt x="597673" y="1230820"/>
                </a:cubicBezTo>
                <a:close/>
                <a:moveTo>
                  <a:pt x="231416" y="1230820"/>
                </a:moveTo>
                <a:lnTo>
                  <a:pt x="239589" y="1242261"/>
                </a:lnTo>
                <a:lnTo>
                  <a:pt x="239389" y="1242209"/>
                </a:lnTo>
                <a:cubicBezTo>
                  <a:pt x="235972" y="1239931"/>
                  <a:pt x="233239" y="1236287"/>
                  <a:pt x="231416" y="1230820"/>
                </a:cubicBezTo>
                <a:close/>
                <a:moveTo>
                  <a:pt x="1160356" y="1230750"/>
                </a:moveTo>
                <a:lnTo>
                  <a:pt x="1160497" y="1231275"/>
                </a:lnTo>
                <a:lnTo>
                  <a:pt x="1157162" y="1233306"/>
                </a:lnTo>
                <a:close/>
                <a:moveTo>
                  <a:pt x="3405643" y="1230684"/>
                </a:moveTo>
                <a:lnTo>
                  <a:pt x="3407466" y="1234464"/>
                </a:lnTo>
                <a:lnTo>
                  <a:pt x="3405643" y="1234893"/>
                </a:lnTo>
                <a:close/>
                <a:moveTo>
                  <a:pt x="1358782" y="1229558"/>
                </a:moveTo>
                <a:lnTo>
                  <a:pt x="1359041" y="1229660"/>
                </a:lnTo>
                <a:lnTo>
                  <a:pt x="1357065" y="1234008"/>
                </a:lnTo>
                <a:cubicBezTo>
                  <a:pt x="1355242" y="1235375"/>
                  <a:pt x="1352964" y="1236286"/>
                  <a:pt x="1352053" y="1236286"/>
                </a:cubicBezTo>
                <a:close/>
                <a:moveTo>
                  <a:pt x="3405643" y="1228998"/>
                </a:moveTo>
                <a:lnTo>
                  <a:pt x="3405643" y="1230684"/>
                </a:lnTo>
                <a:lnTo>
                  <a:pt x="3405028" y="1229408"/>
                </a:lnTo>
                <a:close/>
                <a:moveTo>
                  <a:pt x="3207027" y="1228998"/>
                </a:moveTo>
                <a:cubicBezTo>
                  <a:pt x="3203382" y="1232642"/>
                  <a:pt x="3199738" y="1232642"/>
                  <a:pt x="3197916" y="1230820"/>
                </a:cubicBezTo>
                <a:cubicBezTo>
                  <a:pt x="3197916" y="1232642"/>
                  <a:pt x="3203382" y="1239931"/>
                  <a:pt x="3205204" y="1241753"/>
                </a:cubicBezTo>
                <a:cubicBezTo>
                  <a:pt x="3201560" y="1243575"/>
                  <a:pt x="3201560" y="1243575"/>
                  <a:pt x="3199738" y="1249042"/>
                </a:cubicBezTo>
                <a:cubicBezTo>
                  <a:pt x="3203382" y="1254508"/>
                  <a:pt x="3210671" y="1245397"/>
                  <a:pt x="3207027" y="1241753"/>
                </a:cubicBezTo>
                <a:cubicBezTo>
                  <a:pt x="3208849" y="1238108"/>
                  <a:pt x="3210671" y="1241753"/>
                  <a:pt x="3214315" y="1241753"/>
                </a:cubicBezTo>
                <a:cubicBezTo>
                  <a:pt x="3214315" y="1239931"/>
                  <a:pt x="3214315" y="1239931"/>
                  <a:pt x="3214315" y="1238108"/>
                </a:cubicBezTo>
                <a:cubicBezTo>
                  <a:pt x="3212493" y="1234464"/>
                  <a:pt x="3208849" y="1234464"/>
                  <a:pt x="3207027" y="1228998"/>
                </a:cubicBezTo>
                <a:close/>
                <a:moveTo>
                  <a:pt x="2173854" y="1228998"/>
                </a:moveTo>
                <a:cubicBezTo>
                  <a:pt x="2170210" y="1228998"/>
                  <a:pt x="2168387" y="1230820"/>
                  <a:pt x="2168387" y="1232642"/>
                </a:cubicBezTo>
                <a:lnTo>
                  <a:pt x="2173854" y="1232642"/>
                </a:lnTo>
                <a:cubicBezTo>
                  <a:pt x="2173854" y="1232642"/>
                  <a:pt x="2175676" y="1230820"/>
                  <a:pt x="2173854" y="1228998"/>
                </a:cubicBezTo>
                <a:close/>
                <a:moveTo>
                  <a:pt x="2106433" y="1228998"/>
                </a:moveTo>
                <a:cubicBezTo>
                  <a:pt x="2102790" y="1230820"/>
                  <a:pt x="2100967" y="1230820"/>
                  <a:pt x="2097323" y="1230820"/>
                </a:cubicBezTo>
                <a:cubicBezTo>
                  <a:pt x="2099145" y="1234464"/>
                  <a:pt x="2099145" y="1236286"/>
                  <a:pt x="2099145" y="1239931"/>
                </a:cubicBezTo>
                <a:lnTo>
                  <a:pt x="2099145" y="1241753"/>
                </a:lnTo>
                <a:cubicBezTo>
                  <a:pt x="2100967" y="1243575"/>
                  <a:pt x="2102790" y="1245397"/>
                  <a:pt x="2106433" y="1245397"/>
                </a:cubicBezTo>
                <a:cubicBezTo>
                  <a:pt x="2110078" y="1243575"/>
                  <a:pt x="2106433" y="1238108"/>
                  <a:pt x="2111900" y="1238108"/>
                </a:cubicBezTo>
                <a:cubicBezTo>
                  <a:pt x="2104611" y="1236286"/>
                  <a:pt x="2104611" y="1236286"/>
                  <a:pt x="2106433" y="1228998"/>
                </a:cubicBezTo>
                <a:close/>
                <a:moveTo>
                  <a:pt x="1319254" y="1228998"/>
                </a:moveTo>
                <a:cubicBezTo>
                  <a:pt x="1319254" y="1232642"/>
                  <a:pt x="1322899" y="1228998"/>
                  <a:pt x="1324721" y="1230820"/>
                </a:cubicBezTo>
                <a:cubicBezTo>
                  <a:pt x="1324721" y="1228998"/>
                  <a:pt x="1321077" y="1227175"/>
                  <a:pt x="1319254" y="1228998"/>
                </a:cubicBezTo>
                <a:close/>
                <a:moveTo>
                  <a:pt x="1313788" y="1228998"/>
                </a:moveTo>
                <a:cubicBezTo>
                  <a:pt x="1306499" y="1230820"/>
                  <a:pt x="1301033" y="1227175"/>
                  <a:pt x="1293744" y="1230820"/>
                </a:cubicBezTo>
                <a:cubicBezTo>
                  <a:pt x="1295566" y="1232642"/>
                  <a:pt x="1295566" y="1234464"/>
                  <a:pt x="1297388" y="1236286"/>
                </a:cubicBezTo>
                <a:cubicBezTo>
                  <a:pt x="1301033" y="1234464"/>
                  <a:pt x="1315610" y="1238108"/>
                  <a:pt x="1313788" y="1228998"/>
                </a:cubicBezTo>
                <a:close/>
                <a:moveTo>
                  <a:pt x="1277344" y="1228998"/>
                </a:moveTo>
                <a:cubicBezTo>
                  <a:pt x="1277344" y="1232642"/>
                  <a:pt x="1286455" y="1230820"/>
                  <a:pt x="1290100" y="1228998"/>
                </a:cubicBezTo>
                <a:cubicBezTo>
                  <a:pt x="1284633" y="1227175"/>
                  <a:pt x="1280989" y="1228998"/>
                  <a:pt x="1277344" y="1228998"/>
                </a:cubicBezTo>
                <a:close/>
                <a:moveTo>
                  <a:pt x="1233612" y="1228998"/>
                </a:moveTo>
                <a:cubicBezTo>
                  <a:pt x="1233612" y="1232642"/>
                  <a:pt x="1240901" y="1234464"/>
                  <a:pt x="1242723" y="1236286"/>
                </a:cubicBezTo>
                <a:cubicBezTo>
                  <a:pt x="1242723" y="1230820"/>
                  <a:pt x="1248189" y="1236286"/>
                  <a:pt x="1250012" y="1234464"/>
                </a:cubicBezTo>
                <a:cubicBezTo>
                  <a:pt x="1244545" y="1228998"/>
                  <a:pt x="1239080" y="1230820"/>
                  <a:pt x="1233612" y="1228998"/>
                </a:cubicBezTo>
                <a:close/>
                <a:moveTo>
                  <a:pt x="1206279" y="1228998"/>
                </a:moveTo>
                <a:cubicBezTo>
                  <a:pt x="1204457" y="1230820"/>
                  <a:pt x="1211747" y="1238108"/>
                  <a:pt x="1213568" y="1236286"/>
                </a:cubicBezTo>
                <a:cubicBezTo>
                  <a:pt x="1211747" y="1234464"/>
                  <a:pt x="1208102" y="1232642"/>
                  <a:pt x="1206279" y="1228998"/>
                </a:cubicBezTo>
                <a:close/>
                <a:moveTo>
                  <a:pt x="1091484" y="1228998"/>
                </a:moveTo>
                <a:cubicBezTo>
                  <a:pt x="1091484" y="1228998"/>
                  <a:pt x="1089660" y="1230820"/>
                  <a:pt x="1089660" y="1230820"/>
                </a:cubicBezTo>
                <a:cubicBezTo>
                  <a:pt x="1089660" y="1234464"/>
                  <a:pt x="1091484" y="1236286"/>
                  <a:pt x="1093305" y="1238108"/>
                </a:cubicBezTo>
                <a:cubicBezTo>
                  <a:pt x="1095127" y="1234464"/>
                  <a:pt x="1095127" y="1228998"/>
                  <a:pt x="1091484" y="1228998"/>
                </a:cubicBezTo>
                <a:close/>
                <a:moveTo>
                  <a:pt x="1073262" y="1228998"/>
                </a:moveTo>
                <a:cubicBezTo>
                  <a:pt x="1078727" y="1234464"/>
                  <a:pt x="1076905" y="1238108"/>
                  <a:pt x="1078727" y="1241753"/>
                </a:cubicBezTo>
                <a:cubicBezTo>
                  <a:pt x="1080549" y="1239931"/>
                  <a:pt x="1080549" y="1241753"/>
                  <a:pt x="1082373" y="1241753"/>
                </a:cubicBezTo>
                <a:cubicBezTo>
                  <a:pt x="1084194" y="1243575"/>
                  <a:pt x="1080549" y="1241753"/>
                  <a:pt x="1078727" y="1243575"/>
                </a:cubicBezTo>
                <a:cubicBezTo>
                  <a:pt x="1078727" y="1247219"/>
                  <a:pt x="1078727" y="1249042"/>
                  <a:pt x="1080549" y="1252686"/>
                </a:cubicBezTo>
                <a:cubicBezTo>
                  <a:pt x="1084194" y="1250864"/>
                  <a:pt x="1080549" y="1249042"/>
                  <a:pt x="1082373" y="1247219"/>
                </a:cubicBezTo>
                <a:cubicBezTo>
                  <a:pt x="1082373" y="1249042"/>
                  <a:pt x="1082373" y="1249042"/>
                  <a:pt x="1082373" y="1250864"/>
                </a:cubicBezTo>
                <a:cubicBezTo>
                  <a:pt x="1089660" y="1249042"/>
                  <a:pt x="1082373" y="1225353"/>
                  <a:pt x="1073262" y="1228998"/>
                </a:cubicBezTo>
                <a:close/>
                <a:moveTo>
                  <a:pt x="854600" y="1228998"/>
                </a:moveTo>
                <a:cubicBezTo>
                  <a:pt x="852778" y="1230820"/>
                  <a:pt x="852778" y="1228998"/>
                  <a:pt x="850956" y="1230820"/>
                </a:cubicBezTo>
                <a:cubicBezTo>
                  <a:pt x="852778" y="1232642"/>
                  <a:pt x="852778" y="1228998"/>
                  <a:pt x="854600" y="1232642"/>
                </a:cubicBezTo>
                <a:cubicBezTo>
                  <a:pt x="856422" y="1230820"/>
                  <a:pt x="854600" y="1230820"/>
                  <a:pt x="854600" y="1228998"/>
                </a:cubicBezTo>
                <a:close/>
                <a:moveTo>
                  <a:pt x="543008" y="1228998"/>
                </a:moveTo>
                <a:cubicBezTo>
                  <a:pt x="537542" y="1225353"/>
                  <a:pt x="524786" y="1238108"/>
                  <a:pt x="522964" y="1241753"/>
                </a:cubicBezTo>
                <a:cubicBezTo>
                  <a:pt x="526609" y="1243575"/>
                  <a:pt x="528431" y="1249042"/>
                  <a:pt x="533897" y="1247219"/>
                </a:cubicBezTo>
                <a:cubicBezTo>
                  <a:pt x="532075" y="1245397"/>
                  <a:pt x="530253" y="1247219"/>
                  <a:pt x="530253" y="1245397"/>
                </a:cubicBezTo>
                <a:cubicBezTo>
                  <a:pt x="543008" y="1247219"/>
                  <a:pt x="535719" y="1232642"/>
                  <a:pt x="543008" y="1232642"/>
                </a:cubicBezTo>
                <a:cubicBezTo>
                  <a:pt x="548475" y="1234464"/>
                  <a:pt x="553941" y="1238108"/>
                  <a:pt x="559408" y="1230820"/>
                </a:cubicBezTo>
                <a:cubicBezTo>
                  <a:pt x="553941" y="1230820"/>
                  <a:pt x="548475" y="1227175"/>
                  <a:pt x="543008" y="1232642"/>
                </a:cubicBezTo>
                <a:lnTo>
                  <a:pt x="539364" y="1232642"/>
                </a:lnTo>
                <a:cubicBezTo>
                  <a:pt x="541186" y="1232642"/>
                  <a:pt x="543008" y="1230820"/>
                  <a:pt x="543008" y="1228998"/>
                </a:cubicBezTo>
                <a:close/>
                <a:moveTo>
                  <a:pt x="532075" y="1228998"/>
                </a:moveTo>
                <a:cubicBezTo>
                  <a:pt x="530253" y="1227175"/>
                  <a:pt x="526609" y="1232642"/>
                  <a:pt x="522964" y="1232642"/>
                </a:cubicBezTo>
                <a:cubicBezTo>
                  <a:pt x="522964" y="1234464"/>
                  <a:pt x="524786" y="1234464"/>
                  <a:pt x="524786" y="1236286"/>
                </a:cubicBezTo>
                <a:cubicBezTo>
                  <a:pt x="526609" y="1234464"/>
                  <a:pt x="532075" y="1232642"/>
                  <a:pt x="532075" y="1228998"/>
                </a:cubicBezTo>
                <a:close/>
                <a:moveTo>
                  <a:pt x="440398" y="1228570"/>
                </a:moveTo>
                <a:cubicBezTo>
                  <a:pt x="439714" y="1228713"/>
                  <a:pt x="439601" y="1229567"/>
                  <a:pt x="439601" y="1230592"/>
                </a:cubicBezTo>
                <a:cubicBezTo>
                  <a:pt x="439601" y="1232642"/>
                  <a:pt x="440055" y="1235375"/>
                  <a:pt x="437322" y="1234464"/>
                </a:cubicBezTo>
                <a:cubicBezTo>
                  <a:pt x="431856" y="1232642"/>
                  <a:pt x="437322" y="1230820"/>
                  <a:pt x="437322" y="1230820"/>
                </a:cubicBezTo>
                <a:cubicBezTo>
                  <a:pt x="437322" y="1228998"/>
                  <a:pt x="433678" y="1232642"/>
                  <a:pt x="431856" y="1232642"/>
                </a:cubicBezTo>
                <a:cubicBezTo>
                  <a:pt x="437322" y="1232642"/>
                  <a:pt x="442789" y="1245397"/>
                  <a:pt x="440966" y="1238108"/>
                </a:cubicBezTo>
                <a:cubicBezTo>
                  <a:pt x="440966" y="1232642"/>
                  <a:pt x="451899" y="1234464"/>
                  <a:pt x="444611" y="1230820"/>
                </a:cubicBezTo>
                <a:cubicBezTo>
                  <a:pt x="442333" y="1228998"/>
                  <a:pt x="441081" y="1228428"/>
                  <a:pt x="440398" y="1228570"/>
                </a:cubicBezTo>
                <a:close/>
                <a:moveTo>
                  <a:pt x="1353875" y="1227631"/>
                </a:moveTo>
                <a:cubicBezTo>
                  <a:pt x="1349776" y="1228086"/>
                  <a:pt x="1347497" y="1230819"/>
                  <a:pt x="1352053" y="1236286"/>
                </a:cubicBezTo>
                <a:cubicBezTo>
                  <a:pt x="1353876" y="1241753"/>
                  <a:pt x="1362987" y="1239931"/>
                  <a:pt x="1366632" y="1232642"/>
                </a:cubicBezTo>
                <a:lnTo>
                  <a:pt x="1359041" y="1229660"/>
                </a:lnTo>
                <a:lnTo>
                  <a:pt x="1359342" y="1228998"/>
                </a:lnTo>
                <a:lnTo>
                  <a:pt x="1358782" y="1229558"/>
                </a:lnTo>
                <a:close/>
                <a:moveTo>
                  <a:pt x="3213632" y="1227175"/>
                </a:moveTo>
                <a:cubicBezTo>
                  <a:pt x="3212949" y="1228087"/>
                  <a:pt x="3212493" y="1229909"/>
                  <a:pt x="3212493" y="1230820"/>
                </a:cubicBezTo>
                <a:cubicBezTo>
                  <a:pt x="3212493" y="1232642"/>
                  <a:pt x="3214315" y="1232642"/>
                  <a:pt x="3214315" y="1234464"/>
                </a:cubicBezTo>
                <a:lnTo>
                  <a:pt x="3221604" y="1232642"/>
                </a:lnTo>
                <a:cubicBezTo>
                  <a:pt x="3219782" y="1230820"/>
                  <a:pt x="3216137" y="1228998"/>
                  <a:pt x="3216137" y="1228998"/>
                </a:cubicBezTo>
                <a:cubicBezTo>
                  <a:pt x="3215226" y="1226264"/>
                  <a:pt x="3214315" y="1226264"/>
                  <a:pt x="3213632" y="1227175"/>
                </a:cubicBezTo>
                <a:close/>
                <a:moveTo>
                  <a:pt x="2068168" y="1227175"/>
                </a:moveTo>
                <a:lnTo>
                  <a:pt x="2064524" y="1230820"/>
                </a:lnTo>
                <a:cubicBezTo>
                  <a:pt x="2066346" y="1230820"/>
                  <a:pt x="2066346" y="1230820"/>
                  <a:pt x="2068168" y="1230820"/>
                </a:cubicBezTo>
                <a:cubicBezTo>
                  <a:pt x="2069990" y="1230820"/>
                  <a:pt x="2069990" y="1228998"/>
                  <a:pt x="2068168" y="1227175"/>
                </a:cubicBezTo>
                <a:close/>
                <a:moveTo>
                  <a:pt x="1406719" y="1227175"/>
                </a:moveTo>
                <a:cubicBezTo>
                  <a:pt x="1406719" y="1227175"/>
                  <a:pt x="1408541" y="1227175"/>
                  <a:pt x="1408541" y="1227175"/>
                </a:cubicBezTo>
                <a:cubicBezTo>
                  <a:pt x="1410363" y="1225353"/>
                  <a:pt x="1408541" y="1227175"/>
                  <a:pt x="1408541" y="1228998"/>
                </a:cubicBezTo>
                <a:cubicBezTo>
                  <a:pt x="1408541" y="1228998"/>
                  <a:pt x="1404896" y="1227175"/>
                  <a:pt x="1406719" y="1227175"/>
                </a:cubicBezTo>
                <a:close/>
                <a:moveTo>
                  <a:pt x="1004018" y="1227175"/>
                </a:moveTo>
                <a:cubicBezTo>
                  <a:pt x="1004018" y="1227175"/>
                  <a:pt x="1005840" y="1227175"/>
                  <a:pt x="1005840" y="1228998"/>
                </a:cubicBezTo>
                <a:lnTo>
                  <a:pt x="1006752" y="1228998"/>
                </a:lnTo>
                <a:lnTo>
                  <a:pt x="1008491" y="1230157"/>
                </a:lnTo>
                <a:lnTo>
                  <a:pt x="1005840" y="1230820"/>
                </a:lnTo>
                <a:cubicBezTo>
                  <a:pt x="1007663" y="1228998"/>
                  <a:pt x="1011307" y="1232642"/>
                  <a:pt x="1009485" y="1230820"/>
                </a:cubicBezTo>
                <a:lnTo>
                  <a:pt x="1008491" y="1230157"/>
                </a:lnTo>
                <a:lnTo>
                  <a:pt x="1013129" y="1228998"/>
                </a:lnTo>
                <a:lnTo>
                  <a:pt x="1006752" y="1228998"/>
                </a:lnTo>
                <a:close/>
                <a:moveTo>
                  <a:pt x="996729" y="1227175"/>
                </a:moveTo>
                <a:cubicBezTo>
                  <a:pt x="993085" y="1230820"/>
                  <a:pt x="991263" y="1232642"/>
                  <a:pt x="989441" y="1234464"/>
                </a:cubicBezTo>
                <a:cubicBezTo>
                  <a:pt x="989441" y="1232642"/>
                  <a:pt x="989441" y="1232642"/>
                  <a:pt x="989441" y="1232642"/>
                </a:cubicBezTo>
                <a:lnTo>
                  <a:pt x="988348" y="1234828"/>
                </a:lnTo>
                <a:lnTo>
                  <a:pt x="986708" y="1235375"/>
                </a:lnTo>
                <a:lnTo>
                  <a:pt x="982152" y="1230820"/>
                </a:lnTo>
                <a:cubicBezTo>
                  <a:pt x="978508" y="1234464"/>
                  <a:pt x="980330" y="1239931"/>
                  <a:pt x="983974" y="1239931"/>
                </a:cubicBezTo>
                <a:cubicBezTo>
                  <a:pt x="983063" y="1237198"/>
                  <a:pt x="983974" y="1236286"/>
                  <a:pt x="985341" y="1235831"/>
                </a:cubicBezTo>
                <a:lnTo>
                  <a:pt x="986708" y="1235375"/>
                </a:lnTo>
                <a:lnTo>
                  <a:pt x="987619" y="1236286"/>
                </a:lnTo>
                <a:lnTo>
                  <a:pt x="988348" y="1234828"/>
                </a:lnTo>
                <a:lnTo>
                  <a:pt x="989441" y="1234464"/>
                </a:lnTo>
                <a:cubicBezTo>
                  <a:pt x="991263" y="1234464"/>
                  <a:pt x="993085" y="1232642"/>
                  <a:pt x="998552" y="1228998"/>
                </a:cubicBezTo>
                <a:cubicBezTo>
                  <a:pt x="998552" y="1228998"/>
                  <a:pt x="996729" y="1227175"/>
                  <a:pt x="996729" y="1227175"/>
                </a:cubicBezTo>
                <a:close/>
                <a:moveTo>
                  <a:pt x="929309" y="1227175"/>
                </a:moveTo>
                <a:cubicBezTo>
                  <a:pt x="927487" y="1227175"/>
                  <a:pt x="922020" y="1232642"/>
                  <a:pt x="925666" y="1232642"/>
                </a:cubicBezTo>
                <a:cubicBezTo>
                  <a:pt x="927487" y="1230820"/>
                  <a:pt x="927487" y="1228998"/>
                  <a:pt x="929309" y="1227175"/>
                </a:cubicBezTo>
                <a:close/>
                <a:moveTo>
                  <a:pt x="909265" y="1227175"/>
                </a:moveTo>
                <a:cubicBezTo>
                  <a:pt x="907444" y="1227175"/>
                  <a:pt x="905621" y="1228998"/>
                  <a:pt x="903799" y="1230820"/>
                </a:cubicBezTo>
                <a:cubicBezTo>
                  <a:pt x="905621" y="1232642"/>
                  <a:pt x="903799" y="1236286"/>
                  <a:pt x="907444" y="1236286"/>
                </a:cubicBezTo>
                <a:cubicBezTo>
                  <a:pt x="905621" y="1234464"/>
                  <a:pt x="909265" y="1230820"/>
                  <a:pt x="909265" y="1227175"/>
                </a:cubicBezTo>
                <a:close/>
                <a:moveTo>
                  <a:pt x="847311" y="1227175"/>
                </a:moveTo>
                <a:cubicBezTo>
                  <a:pt x="845489" y="1227175"/>
                  <a:pt x="841845" y="1227175"/>
                  <a:pt x="838200" y="1228998"/>
                </a:cubicBezTo>
                <a:cubicBezTo>
                  <a:pt x="840022" y="1232642"/>
                  <a:pt x="843667" y="1230820"/>
                  <a:pt x="847311" y="1234464"/>
                </a:cubicBezTo>
                <a:cubicBezTo>
                  <a:pt x="850956" y="1232642"/>
                  <a:pt x="847311" y="1228998"/>
                  <a:pt x="847311" y="1227175"/>
                </a:cubicBezTo>
                <a:close/>
                <a:moveTo>
                  <a:pt x="637761" y="1227175"/>
                </a:moveTo>
                <a:cubicBezTo>
                  <a:pt x="637761" y="1228998"/>
                  <a:pt x="630472" y="1230820"/>
                  <a:pt x="634117" y="1234464"/>
                </a:cubicBezTo>
                <a:cubicBezTo>
                  <a:pt x="634117" y="1232642"/>
                  <a:pt x="632296" y="1232642"/>
                  <a:pt x="632296" y="1228998"/>
                </a:cubicBezTo>
                <a:cubicBezTo>
                  <a:pt x="623185" y="1230820"/>
                  <a:pt x="617717" y="1238108"/>
                  <a:pt x="623185" y="1243575"/>
                </a:cubicBezTo>
                <a:cubicBezTo>
                  <a:pt x="623185" y="1243575"/>
                  <a:pt x="626828" y="1243575"/>
                  <a:pt x="628650" y="1241753"/>
                </a:cubicBezTo>
                <a:cubicBezTo>
                  <a:pt x="626828" y="1239931"/>
                  <a:pt x="625006" y="1238108"/>
                  <a:pt x="626828" y="1234464"/>
                </a:cubicBezTo>
                <a:cubicBezTo>
                  <a:pt x="625006" y="1245397"/>
                  <a:pt x="637761" y="1238108"/>
                  <a:pt x="646872" y="1239931"/>
                </a:cubicBezTo>
                <a:cubicBezTo>
                  <a:pt x="643228" y="1234464"/>
                  <a:pt x="641407" y="1230820"/>
                  <a:pt x="637761" y="1227175"/>
                </a:cubicBezTo>
                <a:close/>
                <a:moveTo>
                  <a:pt x="608606" y="1227175"/>
                </a:moveTo>
                <a:cubicBezTo>
                  <a:pt x="606784" y="1227175"/>
                  <a:pt x="610429" y="1232642"/>
                  <a:pt x="610429" y="1230820"/>
                </a:cubicBezTo>
                <a:cubicBezTo>
                  <a:pt x="610429" y="1228998"/>
                  <a:pt x="608606" y="1228998"/>
                  <a:pt x="608606" y="1227175"/>
                </a:cubicBezTo>
                <a:close/>
                <a:moveTo>
                  <a:pt x="595852" y="1227175"/>
                </a:moveTo>
                <a:cubicBezTo>
                  <a:pt x="588562" y="1225353"/>
                  <a:pt x="581274" y="1228998"/>
                  <a:pt x="575808" y="1230820"/>
                </a:cubicBezTo>
                <a:cubicBezTo>
                  <a:pt x="577630" y="1230820"/>
                  <a:pt x="577630" y="1230820"/>
                  <a:pt x="577630" y="1232642"/>
                </a:cubicBezTo>
                <a:cubicBezTo>
                  <a:pt x="584919" y="1232642"/>
                  <a:pt x="590385" y="1228998"/>
                  <a:pt x="595852" y="1227175"/>
                </a:cubicBezTo>
                <a:close/>
                <a:moveTo>
                  <a:pt x="406345" y="1227175"/>
                </a:moveTo>
                <a:cubicBezTo>
                  <a:pt x="402701" y="1232642"/>
                  <a:pt x="409989" y="1227175"/>
                  <a:pt x="409989" y="1230820"/>
                </a:cubicBezTo>
                <a:cubicBezTo>
                  <a:pt x="409989" y="1228998"/>
                  <a:pt x="408167" y="1228998"/>
                  <a:pt x="406345" y="1227175"/>
                </a:cubicBezTo>
                <a:close/>
                <a:moveTo>
                  <a:pt x="1419618" y="1227111"/>
                </a:moveTo>
                <a:lnTo>
                  <a:pt x="1419579" y="1227192"/>
                </a:lnTo>
                <a:lnTo>
                  <a:pt x="1419474" y="1227175"/>
                </a:lnTo>
                <a:close/>
                <a:moveTo>
                  <a:pt x="343040" y="1226411"/>
                </a:moveTo>
                <a:lnTo>
                  <a:pt x="356780" y="1228860"/>
                </a:lnTo>
                <a:lnTo>
                  <a:pt x="354869" y="1229453"/>
                </a:lnTo>
                <a:close/>
                <a:moveTo>
                  <a:pt x="1213569" y="1226264"/>
                </a:moveTo>
                <a:cubicBezTo>
                  <a:pt x="1211746" y="1225809"/>
                  <a:pt x="1209925" y="1226264"/>
                  <a:pt x="1208102" y="1227175"/>
                </a:cubicBezTo>
                <a:cubicBezTo>
                  <a:pt x="1209925" y="1228998"/>
                  <a:pt x="1213568" y="1232642"/>
                  <a:pt x="1215390" y="1234464"/>
                </a:cubicBezTo>
                <a:cubicBezTo>
                  <a:pt x="1217213" y="1232642"/>
                  <a:pt x="1217213" y="1232642"/>
                  <a:pt x="1219036" y="1230820"/>
                </a:cubicBezTo>
                <a:cubicBezTo>
                  <a:pt x="1217213" y="1228087"/>
                  <a:pt x="1215391" y="1226720"/>
                  <a:pt x="1213569" y="1226264"/>
                </a:cubicBezTo>
                <a:close/>
                <a:moveTo>
                  <a:pt x="1066200" y="1226264"/>
                </a:moveTo>
                <a:cubicBezTo>
                  <a:pt x="1064605" y="1225353"/>
                  <a:pt x="1062328" y="1225353"/>
                  <a:pt x="1060506" y="1227175"/>
                </a:cubicBezTo>
                <a:cubicBezTo>
                  <a:pt x="1064151" y="1230820"/>
                  <a:pt x="1065972" y="1230820"/>
                  <a:pt x="1067794" y="1230820"/>
                </a:cubicBezTo>
                <a:cubicBezTo>
                  <a:pt x="1068705" y="1228997"/>
                  <a:pt x="1067794" y="1227175"/>
                  <a:pt x="1066200" y="1226264"/>
                </a:cubicBezTo>
                <a:close/>
                <a:moveTo>
                  <a:pt x="3285380" y="1225353"/>
                </a:moveTo>
                <a:cubicBezTo>
                  <a:pt x="3285380" y="1227175"/>
                  <a:pt x="3281736" y="1228998"/>
                  <a:pt x="3283558" y="1230820"/>
                </a:cubicBezTo>
                <a:cubicBezTo>
                  <a:pt x="3283558" y="1230820"/>
                  <a:pt x="3285380" y="1230820"/>
                  <a:pt x="3285380" y="1230820"/>
                </a:cubicBezTo>
                <a:cubicBezTo>
                  <a:pt x="3281736" y="1232642"/>
                  <a:pt x="3276269" y="1236286"/>
                  <a:pt x="3278091" y="1238108"/>
                </a:cubicBezTo>
                <a:cubicBezTo>
                  <a:pt x="3281736" y="1245397"/>
                  <a:pt x="3283558" y="1234464"/>
                  <a:pt x="3287202" y="1234464"/>
                </a:cubicBezTo>
                <a:cubicBezTo>
                  <a:pt x="3287202" y="1228998"/>
                  <a:pt x="3285380" y="1228998"/>
                  <a:pt x="3285380" y="1225353"/>
                </a:cubicBezTo>
                <a:close/>
                <a:moveTo>
                  <a:pt x="3238003" y="1225353"/>
                </a:moveTo>
                <a:cubicBezTo>
                  <a:pt x="3238003" y="1225353"/>
                  <a:pt x="3239826" y="1227175"/>
                  <a:pt x="3239826" y="1227175"/>
                </a:cubicBezTo>
                <a:lnTo>
                  <a:pt x="3241648" y="1227175"/>
                </a:lnTo>
                <a:cubicBezTo>
                  <a:pt x="3241648" y="1225353"/>
                  <a:pt x="3239826" y="1225353"/>
                  <a:pt x="3238003" y="1225353"/>
                </a:cubicBezTo>
                <a:close/>
                <a:moveTo>
                  <a:pt x="2423492" y="1225353"/>
                </a:moveTo>
                <a:cubicBezTo>
                  <a:pt x="2423492" y="1227175"/>
                  <a:pt x="2427136" y="1225353"/>
                  <a:pt x="2428958" y="1227175"/>
                </a:cubicBezTo>
                <a:cubicBezTo>
                  <a:pt x="2428958" y="1225353"/>
                  <a:pt x="2430780" y="1225353"/>
                  <a:pt x="2430780" y="1225353"/>
                </a:cubicBezTo>
                <a:close/>
                <a:moveTo>
                  <a:pt x="2246741" y="1225353"/>
                </a:moveTo>
                <a:cubicBezTo>
                  <a:pt x="2246741" y="1227175"/>
                  <a:pt x="2244919" y="1230820"/>
                  <a:pt x="2244919" y="1234464"/>
                </a:cubicBezTo>
                <a:lnTo>
                  <a:pt x="2255852" y="1232642"/>
                </a:lnTo>
                <a:close/>
                <a:moveTo>
                  <a:pt x="1364809" y="1225353"/>
                </a:moveTo>
                <a:cubicBezTo>
                  <a:pt x="1362987" y="1225353"/>
                  <a:pt x="1362987" y="1227175"/>
                  <a:pt x="1362987" y="1227175"/>
                </a:cubicBezTo>
                <a:cubicBezTo>
                  <a:pt x="1364809" y="1228998"/>
                  <a:pt x="1366632" y="1230820"/>
                  <a:pt x="1368453" y="1230820"/>
                </a:cubicBezTo>
                <a:cubicBezTo>
                  <a:pt x="1372097" y="1228998"/>
                  <a:pt x="1366632" y="1227175"/>
                  <a:pt x="1364809" y="1225353"/>
                </a:cubicBezTo>
                <a:close/>
                <a:moveTo>
                  <a:pt x="1158903" y="1225353"/>
                </a:moveTo>
                <a:cubicBezTo>
                  <a:pt x="1157081" y="1228998"/>
                  <a:pt x="1155259" y="1232642"/>
                  <a:pt x="1155259" y="1234464"/>
                </a:cubicBezTo>
                <a:lnTo>
                  <a:pt x="1157162" y="1233306"/>
                </a:lnTo>
                <a:lnTo>
                  <a:pt x="1153436" y="1236286"/>
                </a:lnTo>
                <a:cubicBezTo>
                  <a:pt x="1155259" y="1239931"/>
                  <a:pt x="1158903" y="1239931"/>
                  <a:pt x="1160725" y="1239931"/>
                </a:cubicBezTo>
                <a:cubicBezTo>
                  <a:pt x="1160725" y="1241753"/>
                  <a:pt x="1157081" y="1241753"/>
                  <a:pt x="1157081" y="1243575"/>
                </a:cubicBezTo>
                <a:cubicBezTo>
                  <a:pt x="1164370" y="1247219"/>
                  <a:pt x="1160725" y="1232642"/>
                  <a:pt x="1162547" y="1228998"/>
                </a:cubicBezTo>
                <a:lnTo>
                  <a:pt x="1160356" y="1230750"/>
                </a:lnTo>
                <a:close/>
                <a:moveTo>
                  <a:pt x="1142503" y="1225353"/>
                </a:moveTo>
                <a:cubicBezTo>
                  <a:pt x="1140681" y="1227175"/>
                  <a:pt x="1144326" y="1230820"/>
                  <a:pt x="1144326" y="1232642"/>
                </a:cubicBezTo>
                <a:cubicBezTo>
                  <a:pt x="1142503" y="1232642"/>
                  <a:pt x="1140681" y="1232642"/>
                  <a:pt x="1140681" y="1234464"/>
                </a:cubicBezTo>
                <a:cubicBezTo>
                  <a:pt x="1140681" y="1234464"/>
                  <a:pt x="1142503" y="1236286"/>
                  <a:pt x="1142503" y="1236286"/>
                </a:cubicBezTo>
                <a:cubicBezTo>
                  <a:pt x="1147970" y="1232642"/>
                  <a:pt x="1147970" y="1228998"/>
                  <a:pt x="1151614" y="1227175"/>
                </a:cubicBezTo>
                <a:cubicBezTo>
                  <a:pt x="1147970" y="1225353"/>
                  <a:pt x="1146148" y="1225353"/>
                  <a:pt x="1142503" y="1225353"/>
                </a:cubicBezTo>
                <a:close/>
                <a:moveTo>
                  <a:pt x="1131570" y="1225353"/>
                </a:moveTo>
                <a:cubicBezTo>
                  <a:pt x="1129748" y="1227175"/>
                  <a:pt x="1129748" y="1228998"/>
                  <a:pt x="1129748" y="1230820"/>
                </a:cubicBezTo>
                <a:cubicBezTo>
                  <a:pt x="1131570" y="1232642"/>
                  <a:pt x="1133393" y="1234464"/>
                  <a:pt x="1135215" y="1232642"/>
                </a:cubicBezTo>
                <a:cubicBezTo>
                  <a:pt x="1135215" y="1228998"/>
                  <a:pt x="1133393" y="1227175"/>
                  <a:pt x="1131570" y="1225353"/>
                </a:cubicBezTo>
                <a:close/>
                <a:moveTo>
                  <a:pt x="1034995" y="1225353"/>
                </a:moveTo>
                <a:cubicBezTo>
                  <a:pt x="1031351" y="1227175"/>
                  <a:pt x="1033173" y="1228998"/>
                  <a:pt x="1033173" y="1230820"/>
                </a:cubicBezTo>
                <a:cubicBezTo>
                  <a:pt x="1029529" y="1230820"/>
                  <a:pt x="1024062" y="1230820"/>
                  <a:pt x="1020418" y="1236286"/>
                </a:cubicBezTo>
                <a:cubicBezTo>
                  <a:pt x="1020418" y="1238108"/>
                  <a:pt x="1024062" y="1245397"/>
                  <a:pt x="1025884" y="1241753"/>
                </a:cubicBezTo>
                <a:cubicBezTo>
                  <a:pt x="1027707" y="1241753"/>
                  <a:pt x="1025884" y="1247219"/>
                  <a:pt x="1029529" y="1249042"/>
                </a:cubicBezTo>
                <a:cubicBezTo>
                  <a:pt x="1034995" y="1250864"/>
                  <a:pt x="1036818" y="1241753"/>
                  <a:pt x="1040462" y="1241753"/>
                </a:cubicBezTo>
                <a:cubicBezTo>
                  <a:pt x="1038639" y="1239931"/>
                  <a:pt x="1036818" y="1238108"/>
                  <a:pt x="1036818" y="1236286"/>
                </a:cubicBezTo>
                <a:cubicBezTo>
                  <a:pt x="1038639" y="1236286"/>
                  <a:pt x="1042284" y="1239931"/>
                  <a:pt x="1040462" y="1239931"/>
                </a:cubicBezTo>
                <a:cubicBezTo>
                  <a:pt x="1042284" y="1239931"/>
                  <a:pt x="1042284" y="1236286"/>
                  <a:pt x="1044106" y="1234464"/>
                </a:cubicBezTo>
                <a:cubicBezTo>
                  <a:pt x="1040462" y="1230820"/>
                  <a:pt x="1038639" y="1227175"/>
                  <a:pt x="1034995" y="1225353"/>
                </a:cubicBezTo>
                <a:close/>
                <a:moveTo>
                  <a:pt x="931131" y="1225353"/>
                </a:moveTo>
                <a:cubicBezTo>
                  <a:pt x="931131" y="1225353"/>
                  <a:pt x="929309" y="1228998"/>
                  <a:pt x="931131" y="1230820"/>
                </a:cubicBezTo>
                <a:cubicBezTo>
                  <a:pt x="932953" y="1228998"/>
                  <a:pt x="934777" y="1228998"/>
                  <a:pt x="936598" y="1227175"/>
                </a:cubicBezTo>
                <a:cubicBezTo>
                  <a:pt x="934777" y="1223531"/>
                  <a:pt x="931131" y="1228998"/>
                  <a:pt x="931131" y="1225353"/>
                </a:cubicBezTo>
                <a:close/>
                <a:moveTo>
                  <a:pt x="322525" y="1225353"/>
                </a:moveTo>
                <a:cubicBezTo>
                  <a:pt x="320703" y="1227175"/>
                  <a:pt x="320703" y="1228998"/>
                  <a:pt x="322525" y="1230820"/>
                </a:cubicBezTo>
                <a:cubicBezTo>
                  <a:pt x="322525" y="1228998"/>
                  <a:pt x="324347" y="1228998"/>
                  <a:pt x="324347" y="1227175"/>
                </a:cubicBezTo>
                <a:cubicBezTo>
                  <a:pt x="322525" y="1225353"/>
                  <a:pt x="322525" y="1225353"/>
                  <a:pt x="322525" y="1225353"/>
                </a:cubicBezTo>
                <a:close/>
                <a:moveTo>
                  <a:pt x="318882" y="1225353"/>
                </a:moveTo>
                <a:cubicBezTo>
                  <a:pt x="317059" y="1228998"/>
                  <a:pt x="311592" y="1230820"/>
                  <a:pt x="313414" y="1232642"/>
                </a:cubicBezTo>
                <a:cubicBezTo>
                  <a:pt x="317059" y="1239931"/>
                  <a:pt x="317059" y="1227175"/>
                  <a:pt x="320703" y="1232642"/>
                </a:cubicBezTo>
                <a:cubicBezTo>
                  <a:pt x="318882" y="1230820"/>
                  <a:pt x="320703" y="1228998"/>
                  <a:pt x="318882" y="1225353"/>
                </a:cubicBezTo>
                <a:close/>
                <a:moveTo>
                  <a:pt x="1426432" y="1224083"/>
                </a:moveTo>
                <a:lnTo>
                  <a:pt x="1423118" y="1227175"/>
                </a:lnTo>
                <a:lnTo>
                  <a:pt x="1422099" y="1226009"/>
                </a:lnTo>
                <a:close/>
                <a:moveTo>
                  <a:pt x="1426763" y="1223936"/>
                </a:moveTo>
                <a:lnTo>
                  <a:pt x="1426432" y="1224083"/>
                </a:lnTo>
                <a:lnTo>
                  <a:pt x="1426536" y="1223987"/>
                </a:lnTo>
                <a:close/>
                <a:moveTo>
                  <a:pt x="3345512" y="1223531"/>
                </a:moveTo>
                <a:cubicBezTo>
                  <a:pt x="3343690" y="1223531"/>
                  <a:pt x="3343690" y="1225353"/>
                  <a:pt x="3341867" y="1225353"/>
                </a:cubicBezTo>
                <a:cubicBezTo>
                  <a:pt x="3341867" y="1228998"/>
                  <a:pt x="3343690" y="1228998"/>
                  <a:pt x="3347334" y="1228998"/>
                </a:cubicBezTo>
                <a:cubicBezTo>
                  <a:pt x="3347334" y="1225353"/>
                  <a:pt x="3345512" y="1225353"/>
                  <a:pt x="3345512" y="1223531"/>
                </a:cubicBezTo>
                <a:close/>
                <a:moveTo>
                  <a:pt x="3157828" y="1223531"/>
                </a:moveTo>
                <a:cubicBezTo>
                  <a:pt x="3156006" y="1223531"/>
                  <a:pt x="3154184" y="1227175"/>
                  <a:pt x="3150539" y="1225353"/>
                </a:cubicBezTo>
                <a:cubicBezTo>
                  <a:pt x="3150539" y="1227175"/>
                  <a:pt x="3150539" y="1228998"/>
                  <a:pt x="3150539" y="1230820"/>
                </a:cubicBezTo>
                <a:cubicBezTo>
                  <a:pt x="3152361" y="1228998"/>
                  <a:pt x="3157828" y="1228998"/>
                  <a:pt x="3157828" y="1223531"/>
                </a:cubicBezTo>
                <a:close/>
                <a:moveTo>
                  <a:pt x="1421296" y="1223531"/>
                </a:moveTo>
                <a:cubicBezTo>
                  <a:pt x="1422208" y="1223531"/>
                  <a:pt x="1421752" y="1224442"/>
                  <a:pt x="1421524" y="1225353"/>
                </a:cubicBezTo>
                <a:lnTo>
                  <a:pt x="1422099" y="1226009"/>
                </a:lnTo>
                <a:lnTo>
                  <a:pt x="1419618" y="1227111"/>
                </a:lnTo>
                <a:close/>
                <a:moveTo>
                  <a:pt x="1131570" y="1223531"/>
                </a:moveTo>
                <a:cubicBezTo>
                  <a:pt x="1133393" y="1225353"/>
                  <a:pt x="1135215" y="1227175"/>
                  <a:pt x="1137037" y="1230820"/>
                </a:cubicBezTo>
                <a:cubicBezTo>
                  <a:pt x="1138859" y="1228998"/>
                  <a:pt x="1138859" y="1223531"/>
                  <a:pt x="1135215" y="1223531"/>
                </a:cubicBezTo>
                <a:cubicBezTo>
                  <a:pt x="1133393" y="1225353"/>
                  <a:pt x="1133393" y="1223531"/>
                  <a:pt x="1131570" y="1223531"/>
                </a:cubicBezTo>
                <a:close/>
                <a:moveTo>
                  <a:pt x="1051395" y="1223531"/>
                </a:moveTo>
                <a:cubicBezTo>
                  <a:pt x="1049573" y="1227175"/>
                  <a:pt x="1044106" y="1230820"/>
                  <a:pt x="1045929" y="1234464"/>
                </a:cubicBezTo>
                <a:cubicBezTo>
                  <a:pt x="1049573" y="1236286"/>
                  <a:pt x="1049573" y="1234464"/>
                  <a:pt x="1051395" y="1238108"/>
                </a:cubicBezTo>
                <a:cubicBezTo>
                  <a:pt x="1055040" y="1236286"/>
                  <a:pt x="1055040" y="1232642"/>
                  <a:pt x="1056861" y="1232642"/>
                </a:cubicBezTo>
                <a:cubicBezTo>
                  <a:pt x="1060506" y="1236286"/>
                  <a:pt x="1058683" y="1238108"/>
                  <a:pt x="1060506" y="1239931"/>
                </a:cubicBezTo>
                <a:cubicBezTo>
                  <a:pt x="1065972" y="1234464"/>
                  <a:pt x="1058683" y="1223531"/>
                  <a:pt x="1051395" y="1223531"/>
                </a:cubicBezTo>
                <a:close/>
                <a:moveTo>
                  <a:pt x="1044106" y="1223531"/>
                </a:moveTo>
                <a:cubicBezTo>
                  <a:pt x="1045929" y="1225353"/>
                  <a:pt x="1045929" y="1227175"/>
                  <a:pt x="1047750" y="1227175"/>
                </a:cubicBezTo>
                <a:cubicBezTo>
                  <a:pt x="1049573" y="1227175"/>
                  <a:pt x="1049573" y="1225353"/>
                  <a:pt x="1049573" y="1223531"/>
                </a:cubicBezTo>
                <a:cubicBezTo>
                  <a:pt x="1047750" y="1223531"/>
                  <a:pt x="1045929" y="1221709"/>
                  <a:pt x="1044106" y="1223531"/>
                </a:cubicBezTo>
                <a:close/>
                <a:moveTo>
                  <a:pt x="1036818" y="1223531"/>
                </a:moveTo>
                <a:cubicBezTo>
                  <a:pt x="1040462" y="1227175"/>
                  <a:pt x="1040462" y="1227175"/>
                  <a:pt x="1044106" y="1230820"/>
                </a:cubicBezTo>
                <a:cubicBezTo>
                  <a:pt x="1045929" y="1228998"/>
                  <a:pt x="1045929" y="1227175"/>
                  <a:pt x="1044106" y="1225353"/>
                </a:cubicBezTo>
                <a:cubicBezTo>
                  <a:pt x="1042284" y="1225353"/>
                  <a:pt x="1040462" y="1221709"/>
                  <a:pt x="1036818" y="1223531"/>
                </a:cubicBezTo>
                <a:close/>
                <a:moveTo>
                  <a:pt x="923843" y="1223531"/>
                </a:moveTo>
                <a:cubicBezTo>
                  <a:pt x="923843" y="1225353"/>
                  <a:pt x="923843" y="1230820"/>
                  <a:pt x="927487" y="1227175"/>
                </a:cubicBezTo>
                <a:cubicBezTo>
                  <a:pt x="927487" y="1223531"/>
                  <a:pt x="923843" y="1225353"/>
                  <a:pt x="923843" y="1223531"/>
                </a:cubicBezTo>
                <a:close/>
                <a:moveTo>
                  <a:pt x="920198" y="1223531"/>
                </a:moveTo>
                <a:cubicBezTo>
                  <a:pt x="918376" y="1225353"/>
                  <a:pt x="916555" y="1225353"/>
                  <a:pt x="916555" y="1227175"/>
                </a:cubicBezTo>
                <a:cubicBezTo>
                  <a:pt x="918376" y="1227175"/>
                  <a:pt x="920198" y="1228998"/>
                  <a:pt x="922020" y="1227175"/>
                </a:cubicBezTo>
                <a:cubicBezTo>
                  <a:pt x="920198" y="1227175"/>
                  <a:pt x="922020" y="1225353"/>
                  <a:pt x="920198" y="1223531"/>
                </a:cubicBezTo>
                <a:close/>
                <a:moveTo>
                  <a:pt x="352819" y="1221937"/>
                </a:moveTo>
                <a:cubicBezTo>
                  <a:pt x="348037" y="1221709"/>
                  <a:pt x="343480" y="1222620"/>
                  <a:pt x="338926" y="1225353"/>
                </a:cubicBezTo>
                <a:lnTo>
                  <a:pt x="343040" y="1226411"/>
                </a:lnTo>
                <a:lnTo>
                  <a:pt x="337102" y="1225353"/>
                </a:lnTo>
                <a:cubicBezTo>
                  <a:pt x="331636" y="1223531"/>
                  <a:pt x="329814" y="1230820"/>
                  <a:pt x="329814" y="1232642"/>
                </a:cubicBezTo>
                <a:cubicBezTo>
                  <a:pt x="349858" y="1241753"/>
                  <a:pt x="373546" y="1247219"/>
                  <a:pt x="388123" y="1238108"/>
                </a:cubicBezTo>
                <a:cubicBezTo>
                  <a:pt x="386301" y="1238108"/>
                  <a:pt x="386301" y="1236286"/>
                  <a:pt x="386301" y="1236286"/>
                </a:cubicBezTo>
                <a:cubicBezTo>
                  <a:pt x="386301" y="1236286"/>
                  <a:pt x="382657" y="1236286"/>
                  <a:pt x="382657" y="1236286"/>
                </a:cubicBezTo>
                <a:cubicBezTo>
                  <a:pt x="386301" y="1232642"/>
                  <a:pt x="384479" y="1230820"/>
                  <a:pt x="389946" y="1232642"/>
                </a:cubicBezTo>
                <a:cubicBezTo>
                  <a:pt x="388123" y="1230820"/>
                  <a:pt x="388123" y="1230820"/>
                  <a:pt x="386301" y="1228998"/>
                </a:cubicBezTo>
                <a:cubicBezTo>
                  <a:pt x="388123" y="1228998"/>
                  <a:pt x="391768" y="1228998"/>
                  <a:pt x="393590" y="1230820"/>
                </a:cubicBezTo>
                <a:cubicBezTo>
                  <a:pt x="389945" y="1227175"/>
                  <a:pt x="386757" y="1226264"/>
                  <a:pt x="383797" y="1226036"/>
                </a:cubicBezTo>
                <a:lnTo>
                  <a:pt x="378021" y="1225568"/>
                </a:lnTo>
                <a:lnTo>
                  <a:pt x="379012" y="1225353"/>
                </a:lnTo>
                <a:cubicBezTo>
                  <a:pt x="377190" y="1227175"/>
                  <a:pt x="375368" y="1225353"/>
                  <a:pt x="375368" y="1225353"/>
                </a:cubicBezTo>
                <a:lnTo>
                  <a:pt x="378021" y="1225568"/>
                </a:lnTo>
                <a:lnTo>
                  <a:pt x="360107" y="1229453"/>
                </a:lnTo>
                <a:lnTo>
                  <a:pt x="356780" y="1228860"/>
                </a:lnTo>
                <a:lnTo>
                  <a:pt x="368079" y="1225353"/>
                </a:lnTo>
                <a:cubicBezTo>
                  <a:pt x="362612" y="1223531"/>
                  <a:pt x="357602" y="1222164"/>
                  <a:pt x="352819" y="1221937"/>
                </a:cubicBezTo>
                <a:close/>
                <a:moveTo>
                  <a:pt x="3272625" y="1221709"/>
                </a:moveTo>
                <a:cubicBezTo>
                  <a:pt x="3272625" y="1223531"/>
                  <a:pt x="3265336" y="1223531"/>
                  <a:pt x="3267158" y="1228998"/>
                </a:cubicBezTo>
                <a:cubicBezTo>
                  <a:pt x="3274447" y="1225353"/>
                  <a:pt x="3272625" y="1232642"/>
                  <a:pt x="3278091" y="1228998"/>
                </a:cubicBezTo>
                <a:cubicBezTo>
                  <a:pt x="3278091" y="1225353"/>
                  <a:pt x="3274447" y="1225353"/>
                  <a:pt x="3272625" y="1221709"/>
                </a:cubicBezTo>
                <a:close/>
                <a:moveTo>
                  <a:pt x="3267158" y="1221709"/>
                </a:moveTo>
                <a:cubicBezTo>
                  <a:pt x="3261692" y="1227175"/>
                  <a:pt x="3252581" y="1223531"/>
                  <a:pt x="3256225" y="1230820"/>
                </a:cubicBezTo>
                <a:cubicBezTo>
                  <a:pt x="3250759" y="1232642"/>
                  <a:pt x="3252581" y="1227175"/>
                  <a:pt x="3252581" y="1225353"/>
                </a:cubicBezTo>
                <a:cubicBezTo>
                  <a:pt x="3248937" y="1227175"/>
                  <a:pt x="3245292" y="1225353"/>
                  <a:pt x="3243470" y="1225353"/>
                </a:cubicBezTo>
                <a:lnTo>
                  <a:pt x="3245292" y="1228998"/>
                </a:lnTo>
                <a:cubicBezTo>
                  <a:pt x="3245292" y="1227175"/>
                  <a:pt x="3247114" y="1227175"/>
                  <a:pt x="3247114" y="1227175"/>
                </a:cubicBezTo>
                <a:cubicBezTo>
                  <a:pt x="3247114" y="1230820"/>
                  <a:pt x="3247114" y="1232642"/>
                  <a:pt x="3247114" y="1234464"/>
                </a:cubicBezTo>
                <a:lnTo>
                  <a:pt x="3247114" y="1236286"/>
                </a:lnTo>
                <a:cubicBezTo>
                  <a:pt x="3250759" y="1234464"/>
                  <a:pt x="3254403" y="1234464"/>
                  <a:pt x="3256225" y="1232642"/>
                </a:cubicBezTo>
                <a:cubicBezTo>
                  <a:pt x="3256225" y="1236286"/>
                  <a:pt x="3256225" y="1241753"/>
                  <a:pt x="3254403" y="1243575"/>
                </a:cubicBezTo>
                <a:cubicBezTo>
                  <a:pt x="3263514" y="1250864"/>
                  <a:pt x="3270803" y="1239931"/>
                  <a:pt x="3274447" y="1232642"/>
                </a:cubicBezTo>
                <a:cubicBezTo>
                  <a:pt x="3268980" y="1228998"/>
                  <a:pt x="3261692" y="1232642"/>
                  <a:pt x="3263514" y="1239931"/>
                </a:cubicBezTo>
                <a:cubicBezTo>
                  <a:pt x="3259869" y="1238108"/>
                  <a:pt x="3256225" y="1232642"/>
                  <a:pt x="3259869" y="1228998"/>
                </a:cubicBezTo>
                <a:cubicBezTo>
                  <a:pt x="3265336" y="1227175"/>
                  <a:pt x="3268980" y="1228998"/>
                  <a:pt x="3267158" y="1221709"/>
                </a:cubicBezTo>
                <a:close/>
                <a:moveTo>
                  <a:pt x="3135962" y="1221709"/>
                </a:moveTo>
                <a:cubicBezTo>
                  <a:pt x="3134140" y="1221709"/>
                  <a:pt x="3135962" y="1225353"/>
                  <a:pt x="3134140" y="1225353"/>
                </a:cubicBezTo>
                <a:cubicBezTo>
                  <a:pt x="3134140" y="1228998"/>
                  <a:pt x="3137784" y="1227175"/>
                  <a:pt x="3141428" y="1228998"/>
                </a:cubicBezTo>
                <a:cubicBezTo>
                  <a:pt x="3143250" y="1225353"/>
                  <a:pt x="3135962" y="1227175"/>
                  <a:pt x="3135962" y="1221709"/>
                </a:cubicBezTo>
                <a:close/>
                <a:moveTo>
                  <a:pt x="2381582" y="1221709"/>
                </a:moveTo>
                <a:cubicBezTo>
                  <a:pt x="2379760" y="1227175"/>
                  <a:pt x="2377937" y="1230820"/>
                  <a:pt x="2374293" y="1234464"/>
                </a:cubicBezTo>
                <a:cubicBezTo>
                  <a:pt x="2372471" y="1228998"/>
                  <a:pt x="2368827" y="1227175"/>
                  <a:pt x="2365182" y="1228998"/>
                </a:cubicBezTo>
                <a:cubicBezTo>
                  <a:pt x="2361538" y="1239931"/>
                  <a:pt x="2363360" y="1234464"/>
                  <a:pt x="2361538" y="1230820"/>
                </a:cubicBezTo>
                <a:cubicBezTo>
                  <a:pt x="2359716" y="1230820"/>
                  <a:pt x="2359716" y="1232642"/>
                  <a:pt x="2357893" y="1232642"/>
                </a:cubicBezTo>
                <a:cubicBezTo>
                  <a:pt x="2354249" y="1234464"/>
                  <a:pt x="2350605" y="1236286"/>
                  <a:pt x="2348782" y="1238108"/>
                </a:cubicBezTo>
                <a:cubicBezTo>
                  <a:pt x="2348782" y="1238108"/>
                  <a:pt x="2346960" y="1239931"/>
                  <a:pt x="2346960" y="1239931"/>
                </a:cubicBezTo>
                <a:cubicBezTo>
                  <a:pt x="2346960" y="1239931"/>
                  <a:pt x="2348782" y="1241753"/>
                  <a:pt x="2348782" y="1243575"/>
                </a:cubicBezTo>
                <a:cubicBezTo>
                  <a:pt x="2361538" y="1249042"/>
                  <a:pt x="2350605" y="1247219"/>
                  <a:pt x="2368827" y="1241753"/>
                </a:cubicBezTo>
                <a:lnTo>
                  <a:pt x="2372471" y="1252686"/>
                </a:lnTo>
                <a:cubicBezTo>
                  <a:pt x="2372471" y="1252686"/>
                  <a:pt x="2374293" y="1254508"/>
                  <a:pt x="2376115" y="1252686"/>
                </a:cubicBezTo>
                <a:cubicBezTo>
                  <a:pt x="2381582" y="1249042"/>
                  <a:pt x="2368827" y="1250864"/>
                  <a:pt x="2374293" y="1247219"/>
                </a:cubicBezTo>
                <a:cubicBezTo>
                  <a:pt x="2376115" y="1245397"/>
                  <a:pt x="2379760" y="1243575"/>
                  <a:pt x="2383404" y="1243575"/>
                </a:cubicBezTo>
                <a:cubicBezTo>
                  <a:pt x="2383404" y="1245397"/>
                  <a:pt x="2377937" y="1247219"/>
                  <a:pt x="2379760" y="1250864"/>
                </a:cubicBezTo>
                <a:cubicBezTo>
                  <a:pt x="2382493" y="1249042"/>
                  <a:pt x="2386593" y="1249042"/>
                  <a:pt x="2390693" y="1248586"/>
                </a:cubicBezTo>
                <a:lnTo>
                  <a:pt x="2397920" y="1245274"/>
                </a:lnTo>
                <a:lnTo>
                  <a:pt x="2397981" y="1245397"/>
                </a:lnTo>
                <a:lnTo>
                  <a:pt x="2398079" y="1245200"/>
                </a:lnTo>
                <a:lnTo>
                  <a:pt x="2401626" y="1243575"/>
                </a:lnTo>
                <a:lnTo>
                  <a:pt x="2399803" y="1241753"/>
                </a:lnTo>
                <a:lnTo>
                  <a:pt x="2398079" y="1245200"/>
                </a:lnTo>
                <a:lnTo>
                  <a:pt x="2397920" y="1245274"/>
                </a:lnTo>
                <a:lnTo>
                  <a:pt x="2396159" y="1241753"/>
                </a:lnTo>
                <a:lnTo>
                  <a:pt x="2381582" y="1241753"/>
                </a:lnTo>
                <a:close/>
                <a:moveTo>
                  <a:pt x="2073634" y="1221709"/>
                </a:moveTo>
                <a:lnTo>
                  <a:pt x="2069990" y="1225353"/>
                </a:lnTo>
                <a:cubicBezTo>
                  <a:pt x="2073634" y="1228998"/>
                  <a:pt x="2077279" y="1228998"/>
                  <a:pt x="2086390" y="1227175"/>
                </a:cubicBezTo>
                <a:cubicBezTo>
                  <a:pt x="2084568" y="1230820"/>
                  <a:pt x="2080923" y="1227175"/>
                  <a:pt x="2079101" y="1230820"/>
                </a:cubicBezTo>
                <a:lnTo>
                  <a:pt x="2082745" y="1230820"/>
                </a:lnTo>
                <a:cubicBezTo>
                  <a:pt x="2084568" y="1230820"/>
                  <a:pt x="2088212" y="1228998"/>
                  <a:pt x="2090034" y="1228998"/>
                </a:cubicBezTo>
                <a:lnTo>
                  <a:pt x="2084568" y="1221709"/>
                </a:lnTo>
                <a:cubicBezTo>
                  <a:pt x="2080923" y="1221709"/>
                  <a:pt x="2077279" y="1221709"/>
                  <a:pt x="2073634" y="1221709"/>
                </a:cubicBezTo>
                <a:close/>
                <a:moveTo>
                  <a:pt x="1262767" y="1221709"/>
                </a:moveTo>
                <a:cubicBezTo>
                  <a:pt x="1260945" y="1219887"/>
                  <a:pt x="1259123" y="1223531"/>
                  <a:pt x="1259123" y="1225353"/>
                </a:cubicBezTo>
                <a:cubicBezTo>
                  <a:pt x="1260945" y="1225353"/>
                  <a:pt x="1264589" y="1221709"/>
                  <a:pt x="1262767" y="1221709"/>
                </a:cubicBezTo>
                <a:close/>
                <a:moveTo>
                  <a:pt x="1257300" y="1221709"/>
                </a:moveTo>
                <a:cubicBezTo>
                  <a:pt x="1257300" y="1221709"/>
                  <a:pt x="1255478" y="1221709"/>
                  <a:pt x="1253656" y="1223531"/>
                </a:cubicBezTo>
                <a:cubicBezTo>
                  <a:pt x="1255478" y="1227175"/>
                  <a:pt x="1260945" y="1225353"/>
                  <a:pt x="1257300" y="1221709"/>
                </a:cubicBezTo>
                <a:close/>
                <a:moveTo>
                  <a:pt x="901976" y="1221709"/>
                </a:moveTo>
                <a:cubicBezTo>
                  <a:pt x="900154" y="1223531"/>
                  <a:pt x="903799" y="1225353"/>
                  <a:pt x="900154" y="1228998"/>
                </a:cubicBezTo>
                <a:cubicBezTo>
                  <a:pt x="901976" y="1230820"/>
                  <a:pt x="903799" y="1227175"/>
                  <a:pt x="905621" y="1225353"/>
                </a:cubicBezTo>
                <a:cubicBezTo>
                  <a:pt x="903799" y="1223531"/>
                  <a:pt x="901976" y="1225353"/>
                  <a:pt x="901976" y="1221709"/>
                </a:cubicBezTo>
                <a:close/>
                <a:moveTo>
                  <a:pt x="892866" y="1221709"/>
                </a:moveTo>
                <a:cubicBezTo>
                  <a:pt x="887399" y="1227175"/>
                  <a:pt x="892866" y="1227175"/>
                  <a:pt x="894688" y="1228998"/>
                </a:cubicBezTo>
                <a:cubicBezTo>
                  <a:pt x="894688" y="1227175"/>
                  <a:pt x="894688" y="1225353"/>
                  <a:pt x="892866" y="1221709"/>
                </a:cubicBezTo>
                <a:close/>
                <a:moveTo>
                  <a:pt x="413555" y="1219965"/>
                </a:moveTo>
                <a:lnTo>
                  <a:pt x="412722" y="1222392"/>
                </a:lnTo>
                <a:lnTo>
                  <a:pt x="410870" y="1222649"/>
                </a:lnTo>
                <a:close/>
                <a:moveTo>
                  <a:pt x="3037564" y="1219887"/>
                </a:moveTo>
                <a:cubicBezTo>
                  <a:pt x="3037564" y="1223531"/>
                  <a:pt x="3041209" y="1225353"/>
                  <a:pt x="3044853" y="1227175"/>
                </a:cubicBezTo>
                <a:cubicBezTo>
                  <a:pt x="3043031" y="1225353"/>
                  <a:pt x="3043031" y="1218065"/>
                  <a:pt x="3037564" y="1219887"/>
                </a:cubicBezTo>
                <a:close/>
                <a:moveTo>
                  <a:pt x="2414381" y="1219887"/>
                </a:moveTo>
                <a:cubicBezTo>
                  <a:pt x="2410737" y="1219887"/>
                  <a:pt x="2410737" y="1225353"/>
                  <a:pt x="2410737" y="1227175"/>
                </a:cubicBezTo>
                <a:lnTo>
                  <a:pt x="2414381" y="1225353"/>
                </a:lnTo>
                <a:lnTo>
                  <a:pt x="2414381" y="1223531"/>
                </a:lnTo>
                <a:cubicBezTo>
                  <a:pt x="2414381" y="1221709"/>
                  <a:pt x="2414381" y="1221709"/>
                  <a:pt x="2414381" y="1219887"/>
                </a:cubicBezTo>
                <a:close/>
                <a:moveTo>
                  <a:pt x="1435873" y="1219887"/>
                </a:moveTo>
                <a:cubicBezTo>
                  <a:pt x="1438606" y="1225353"/>
                  <a:pt x="1434962" y="1228087"/>
                  <a:pt x="1430407" y="1228998"/>
                </a:cubicBezTo>
                <a:lnTo>
                  <a:pt x="1423422" y="1227833"/>
                </a:lnTo>
                <a:lnTo>
                  <a:pt x="1428585" y="1223531"/>
                </a:lnTo>
                <a:lnTo>
                  <a:pt x="1426763" y="1223936"/>
                </a:lnTo>
                <a:close/>
                <a:moveTo>
                  <a:pt x="1414007" y="1219887"/>
                </a:moveTo>
                <a:lnTo>
                  <a:pt x="1412185" y="1220570"/>
                </a:lnTo>
                <a:lnTo>
                  <a:pt x="1412185" y="1220201"/>
                </a:lnTo>
                <a:close/>
                <a:moveTo>
                  <a:pt x="1186236" y="1219887"/>
                </a:moveTo>
                <a:cubicBezTo>
                  <a:pt x="1184414" y="1223531"/>
                  <a:pt x="1184414" y="1227175"/>
                  <a:pt x="1184414" y="1230820"/>
                </a:cubicBezTo>
                <a:cubicBezTo>
                  <a:pt x="1188058" y="1230820"/>
                  <a:pt x="1186236" y="1230820"/>
                  <a:pt x="1191703" y="1228998"/>
                </a:cubicBezTo>
                <a:cubicBezTo>
                  <a:pt x="1195346" y="1236286"/>
                  <a:pt x="1204457" y="1238108"/>
                  <a:pt x="1209925" y="1239931"/>
                </a:cubicBezTo>
                <a:cubicBezTo>
                  <a:pt x="1204457" y="1230820"/>
                  <a:pt x="1198991" y="1216242"/>
                  <a:pt x="1186236" y="1219887"/>
                </a:cubicBezTo>
                <a:close/>
                <a:moveTo>
                  <a:pt x="1184414" y="1219887"/>
                </a:moveTo>
                <a:cubicBezTo>
                  <a:pt x="1178947" y="1219887"/>
                  <a:pt x="1173481" y="1219887"/>
                  <a:pt x="1168014" y="1223531"/>
                </a:cubicBezTo>
                <a:cubicBezTo>
                  <a:pt x="1173481" y="1227175"/>
                  <a:pt x="1178947" y="1227175"/>
                  <a:pt x="1182592" y="1230820"/>
                </a:cubicBezTo>
                <a:cubicBezTo>
                  <a:pt x="1184414" y="1227175"/>
                  <a:pt x="1186236" y="1223531"/>
                  <a:pt x="1184414" y="1219887"/>
                </a:cubicBezTo>
                <a:close/>
                <a:moveTo>
                  <a:pt x="825445" y="1219887"/>
                </a:moveTo>
                <a:cubicBezTo>
                  <a:pt x="821801" y="1221709"/>
                  <a:pt x="827267" y="1227175"/>
                  <a:pt x="829089" y="1223531"/>
                </a:cubicBezTo>
                <a:cubicBezTo>
                  <a:pt x="827267" y="1221709"/>
                  <a:pt x="825445" y="1219887"/>
                  <a:pt x="825445" y="1219887"/>
                </a:cubicBezTo>
                <a:close/>
                <a:moveTo>
                  <a:pt x="626828" y="1219887"/>
                </a:moveTo>
                <a:cubicBezTo>
                  <a:pt x="625006" y="1220798"/>
                  <a:pt x="623185" y="1222620"/>
                  <a:pt x="621362" y="1223531"/>
                </a:cubicBezTo>
                <a:cubicBezTo>
                  <a:pt x="626828" y="1232642"/>
                  <a:pt x="628650" y="1218065"/>
                  <a:pt x="632296" y="1221709"/>
                </a:cubicBezTo>
                <a:cubicBezTo>
                  <a:pt x="630472" y="1218975"/>
                  <a:pt x="628650" y="1218975"/>
                  <a:pt x="626828" y="1219887"/>
                </a:cubicBezTo>
                <a:close/>
                <a:moveTo>
                  <a:pt x="614074" y="1219887"/>
                </a:moveTo>
                <a:cubicBezTo>
                  <a:pt x="614074" y="1221709"/>
                  <a:pt x="610429" y="1223531"/>
                  <a:pt x="612251" y="1225353"/>
                </a:cubicBezTo>
                <a:cubicBezTo>
                  <a:pt x="610429" y="1228998"/>
                  <a:pt x="617717" y="1228998"/>
                  <a:pt x="617717" y="1225353"/>
                </a:cubicBezTo>
                <a:cubicBezTo>
                  <a:pt x="617717" y="1223531"/>
                  <a:pt x="614074" y="1227175"/>
                  <a:pt x="612251" y="1225353"/>
                </a:cubicBezTo>
                <a:cubicBezTo>
                  <a:pt x="614074" y="1221709"/>
                  <a:pt x="617717" y="1225353"/>
                  <a:pt x="617717" y="1221709"/>
                </a:cubicBezTo>
                <a:cubicBezTo>
                  <a:pt x="617717" y="1218065"/>
                  <a:pt x="615895" y="1221709"/>
                  <a:pt x="614074" y="1219887"/>
                </a:cubicBezTo>
                <a:close/>
                <a:moveTo>
                  <a:pt x="561230" y="1219887"/>
                </a:moveTo>
                <a:cubicBezTo>
                  <a:pt x="559408" y="1218065"/>
                  <a:pt x="557586" y="1219887"/>
                  <a:pt x="555763" y="1221709"/>
                </a:cubicBezTo>
                <a:cubicBezTo>
                  <a:pt x="557586" y="1225353"/>
                  <a:pt x="559408" y="1221709"/>
                  <a:pt x="561230" y="1219887"/>
                </a:cubicBezTo>
                <a:close/>
                <a:moveTo>
                  <a:pt x="297015" y="1219887"/>
                </a:moveTo>
                <a:lnTo>
                  <a:pt x="298837" y="1221709"/>
                </a:lnTo>
                <a:cubicBezTo>
                  <a:pt x="295193" y="1221709"/>
                  <a:pt x="291549" y="1219887"/>
                  <a:pt x="291549" y="1221709"/>
                </a:cubicBezTo>
                <a:cubicBezTo>
                  <a:pt x="297015" y="1230820"/>
                  <a:pt x="313414" y="1234464"/>
                  <a:pt x="317059" y="1225353"/>
                </a:cubicBezTo>
                <a:cubicBezTo>
                  <a:pt x="313414" y="1227175"/>
                  <a:pt x="307948" y="1223531"/>
                  <a:pt x="306126" y="1227175"/>
                </a:cubicBezTo>
                <a:cubicBezTo>
                  <a:pt x="304303" y="1227175"/>
                  <a:pt x="302481" y="1225353"/>
                  <a:pt x="298837" y="1225353"/>
                </a:cubicBezTo>
                <a:cubicBezTo>
                  <a:pt x="300660" y="1219887"/>
                  <a:pt x="306126" y="1221709"/>
                  <a:pt x="309771" y="1221709"/>
                </a:cubicBezTo>
                <a:cubicBezTo>
                  <a:pt x="306126" y="1221709"/>
                  <a:pt x="300660" y="1219887"/>
                  <a:pt x="297015" y="1219887"/>
                </a:cubicBezTo>
                <a:close/>
                <a:moveTo>
                  <a:pt x="2503668" y="1218166"/>
                </a:moveTo>
                <a:lnTo>
                  <a:pt x="2525535" y="1218166"/>
                </a:lnTo>
                <a:cubicBezTo>
                  <a:pt x="2514601" y="1234566"/>
                  <a:pt x="2525535" y="1227277"/>
                  <a:pt x="2503668" y="1232744"/>
                </a:cubicBezTo>
                <a:close/>
                <a:moveTo>
                  <a:pt x="3305424" y="1218065"/>
                </a:moveTo>
                <a:cubicBezTo>
                  <a:pt x="3307246" y="1219887"/>
                  <a:pt x="3310890" y="1219887"/>
                  <a:pt x="3312713" y="1223531"/>
                </a:cubicBezTo>
                <a:cubicBezTo>
                  <a:pt x="3318179" y="1223531"/>
                  <a:pt x="3310890" y="1219887"/>
                  <a:pt x="3314535" y="1219887"/>
                </a:cubicBezTo>
                <a:cubicBezTo>
                  <a:pt x="3310890" y="1218065"/>
                  <a:pt x="3309068" y="1218065"/>
                  <a:pt x="3305424" y="1218065"/>
                </a:cubicBezTo>
                <a:close/>
                <a:moveTo>
                  <a:pt x="3052142" y="1218065"/>
                </a:moveTo>
                <a:cubicBezTo>
                  <a:pt x="3052142" y="1219887"/>
                  <a:pt x="3052142" y="1221709"/>
                  <a:pt x="3052142" y="1223531"/>
                </a:cubicBezTo>
                <a:cubicBezTo>
                  <a:pt x="3053964" y="1225353"/>
                  <a:pt x="3055786" y="1223531"/>
                  <a:pt x="3059430" y="1221709"/>
                </a:cubicBezTo>
                <a:cubicBezTo>
                  <a:pt x="3057608" y="1219887"/>
                  <a:pt x="3055786" y="1218065"/>
                  <a:pt x="3052142" y="1218065"/>
                </a:cubicBezTo>
                <a:close/>
                <a:moveTo>
                  <a:pt x="2640330" y="1218065"/>
                </a:moveTo>
                <a:cubicBezTo>
                  <a:pt x="2640330" y="1218065"/>
                  <a:pt x="2640330" y="1219887"/>
                  <a:pt x="2640330" y="1219887"/>
                </a:cubicBezTo>
                <a:cubicBezTo>
                  <a:pt x="2642153" y="1219887"/>
                  <a:pt x="2643975" y="1218065"/>
                  <a:pt x="2643975" y="1218065"/>
                </a:cubicBezTo>
                <a:cubicBezTo>
                  <a:pt x="2642153" y="1218065"/>
                  <a:pt x="2642153" y="1218065"/>
                  <a:pt x="2640330" y="1218065"/>
                </a:cubicBezTo>
                <a:close/>
                <a:moveTo>
                  <a:pt x="2133766" y="1218065"/>
                </a:moveTo>
                <a:cubicBezTo>
                  <a:pt x="2130122" y="1221709"/>
                  <a:pt x="2126477" y="1223531"/>
                  <a:pt x="2124655" y="1227175"/>
                </a:cubicBezTo>
                <a:cubicBezTo>
                  <a:pt x="2126477" y="1228998"/>
                  <a:pt x="2131944" y="1227175"/>
                  <a:pt x="2131944" y="1228998"/>
                </a:cubicBezTo>
                <a:cubicBezTo>
                  <a:pt x="2133766" y="1225353"/>
                  <a:pt x="2133766" y="1223531"/>
                  <a:pt x="2133766" y="1221709"/>
                </a:cubicBezTo>
                <a:close/>
                <a:moveTo>
                  <a:pt x="2099145" y="1218065"/>
                </a:moveTo>
                <a:cubicBezTo>
                  <a:pt x="2099145" y="1221709"/>
                  <a:pt x="2099145" y="1225353"/>
                  <a:pt x="2099145" y="1227175"/>
                </a:cubicBezTo>
                <a:cubicBezTo>
                  <a:pt x="2100967" y="1225353"/>
                  <a:pt x="2104611" y="1225353"/>
                  <a:pt x="2106433" y="1223531"/>
                </a:cubicBezTo>
                <a:cubicBezTo>
                  <a:pt x="2104611" y="1219887"/>
                  <a:pt x="2100967" y="1219887"/>
                  <a:pt x="2099145" y="1218065"/>
                </a:cubicBezTo>
                <a:close/>
                <a:moveTo>
                  <a:pt x="1240901" y="1218065"/>
                </a:moveTo>
                <a:cubicBezTo>
                  <a:pt x="1240901" y="1218976"/>
                  <a:pt x="1241812" y="1218976"/>
                  <a:pt x="1242495" y="1218976"/>
                </a:cubicBezTo>
                <a:lnTo>
                  <a:pt x="1242723" y="1219887"/>
                </a:lnTo>
                <a:close/>
                <a:moveTo>
                  <a:pt x="1240901" y="1218065"/>
                </a:moveTo>
                <a:cubicBezTo>
                  <a:pt x="1239080" y="1219887"/>
                  <a:pt x="1237256" y="1219887"/>
                  <a:pt x="1235434" y="1221709"/>
                </a:cubicBezTo>
                <a:cubicBezTo>
                  <a:pt x="1237256" y="1223531"/>
                  <a:pt x="1240901" y="1223531"/>
                  <a:pt x="1244545" y="1221709"/>
                </a:cubicBezTo>
                <a:lnTo>
                  <a:pt x="1242723" y="1219887"/>
                </a:lnTo>
                <a:lnTo>
                  <a:pt x="1244545" y="1218292"/>
                </a:lnTo>
                <a:cubicBezTo>
                  <a:pt x="1244089" y="1217153"/>
                  <a:pt x="1242723" y="1216243"/>
                  <a:pt x="1240901" y="1218065"/>
                </a:cubicBezTo>
                <a:close/>
                <a:moveTo>
                  <a:pt x="994907" y="1218065"/>
                </a:moveTo>
                <a:cubicBezTo>
                  <a:pt x="991263" y="1223531"/>
                  <a:pt x="989441" y="1225353"/>
                  <a:pt x="989441" y="1230820"/>
                </a:cubicBezTo>
                <a:cubicBezTo>
                  <a:pt x="991263" y="1230820"/>
                  <a:pt x="996729" y="1221709"/>
                  <a:pt x="994907" y="1218065"/>
                </a:cubicBezTo>
                <a:close/>
                <a:moveTo>
                  <a:pt x="927487" y="1218065"/>
                </a:moveTo>
                <a:cubicBezTo>
                  <a:pt x="927487" y="1223531"/>
                  <a:pt x="932953" y="1221709"/>
                  <a:pt x="934777" y="1223531"/>
                </a:cubicBezTo>
                <a:cubicBezTo>
                  <a:pt x="934777" y="1219887"/>
                  <a:pt x="929309" y="1219887"/>
                  <a:pt x="927487" y="1218065"/>
                </a:cubicBezTo>
                <a:close/>
                <a:moveTo>
                  <a:pt x="524786" y="1218065"/>
                </a:moveTo>
                <a:cubicBezTo>
                  <a:pt x="524786" y="1216242"/>
                  <a:pt x="519320" y="1221709"/>
                  <a:pt x="521142" y="1223531"/>
                </a:cubicBezTo>
                <a:cubicBezTo>
                  <a:pt x="521142" y="1221709"/>
                  <a:pt x="524786" y="1219887"/>
                  <a:pt x="524786" y="1218065"/>
                </a:cubicBezTo>
                <a:close/>
                <a:moveTo>
                  <a:pt x="419100" y="1218065"/>
                </a:moveTo>
                <a:cubicBezTo>
                  <a:pt x="422745" y="1218065"/>
                  <a:pt x="426389" y="1225353"/>
                  <a:pt x="428211" y="1228998"/>
                </a:cubicBezTo>
                <a:cubicBezTo>
                  <a:pt x="424567" y="1225353"/>
                  <a:pt x="420923" y="1221709"/>
                  <a:pt x="419100" y="1218065"/>
                </a:cubicBezTo>
                <a:close/>
                <a:moveTo>
                  <a:pt x="382657" y="1218065"/>
                </a:moveTo>
                <a:cubicBezTo>
                  <a:pt x="380835" y="1219887"/>
                  <a:pt x="377190" y="1219887"/>
                  <a:pt x="384479" y="1223531"/>
                </a:cubicBezTo>
                <a:cubicBezTo>
                  <a:pt x="384479" y="1223531"/>
                  <a:pt x="384479" y="1223531"/>
                  <a:pt x="384479" y="1221709"/>
                </a:cubicBezTo>
                <a:cubicBezTo>
                  <a:pt x="384479" y="1219887"/>
                  <a:pt x="384479" y="1219887"/>
                  <a:pt x="382657" y="1218065"/>
                </a:cubicBezTo>
                <a:close/>
                <a:moveTo>
                  <a:pt x="1025884" y="1218064"/>
                </a:moveTo>
                <a:lnTo>
                  <a:pt x="1027138" y="1219317"/>
                </a:lnTo>
                <a:lnTo>
                  <a:pt x="1025884" y="1219887"/>
                </a:lnTo>
                <a:close/>
                <a:moveTo>
                  <a:pt x="2342405" y="1217153"/>
                </a:moveTo>
                <a:cubicBezTo>
                  <a:pt x="2340127" y="1216698"/>
                  <a:pt x="2337850" y="1217153"/>
                  <a:pt x="2336027" y="1219887"/>
                </a:cubicBezTo>
                <a:cubicBezTo>
                  <a:pt x="2336027" y="1221709"/>
                  <a:pt x="2336027" y="1221709"/>
                  <a:pt x="2336027" y="1223531"/>
                </a:cubicBezTo>
                <a:lnTo>
                  <a:pt x="2346960" y="1221709"/>
                </a:lnTo>
                <a:cubicBezTo>
                  <a:pt x="2348782" y="1221709"/>
                  <a:pt x="2348782" y="1219887"/>
                  <a:pt x="2348782" y="1219887"/>
                </a:cubicBezTo>
                <a:cubicBezTo>
                  <a:pt x="2346960" y="1218976"/>
                  <a:pt x="2344683" y="1217609"/>
                  <a:pt x="2342405" y="1217153"/>
                </a:cubicBezTo>
                <a:close/>
                <a:moveTo>
                  <a:pt x="1382119" y="1216698"/>
                </a:moveTo>
                <a:cubicBezTo>
                  <a:pt x="1381208" y="1216242"/>
                  <a:pt x="1380297" y="1216242"/>
                  <a:pt x="1379386" y="1218065"/>
                </a:cubicBezTo>
                <a:cubicBezTo>
                  <a:pt x="1381208" y="1218065"/>
                  <a:pt x="1381208" y="1218065"/>
                  <a:pt x="1383030" y="1218065"/>
                </a:cubicBezTo>
                <a:cubicBezTo>
                  <a:pt x="1383030" y="1219887"/>
                  <a:pt x="1379386" y="1219887"/>
                  <a:pt x="1379386" y="1221709"/>
                </a:cubicBezTo>
                <a:cubicBezTo>
                  <a:pt x="1381208" y="1223531"/>
                  <a:pt x="1383030" y="1221709"/>
                  <a:pt x="1384854" y="1218065"/>
                </a:cubicBezTo>
                <a:cubicBezTo>
                  <a:pt x="1383941" y="1218065"/>
                  <a:pt x="1383030" y="1217154"/>
                  <a:pt x="1382119" y="1216698"/>
                </a:cubicBezTo>
                <a:close/>
                <a:moveTo>
                  <a:pt x="3174227" y="1216242"/>
                </a:moveTo>
                <a:cubicBezTo>
                  <a:pt x="3170583" y="1221709"/>
                  <a:pt x="3185160" y="1219887"/>
                  <a:pt x="3183338" y="1227175"/>
                </a:cubicBezTo>
                <a:cubicBezTo>
                  <a:pt x="3190627" y="1225353"/>
                  <a:pt x="3179694" y="1216242"/>
                  <a:pt x="3188805" y="1216242"/>
                </a:cubicBezTo>
                <a:cubicBezTo>
                  <a:pt x="3183338" y="1210776"/>
                  <a:pt x="3177872" y="1223531"/>
                  <a:pt x="3174227" y="1216242"/>
                </a:cubicBezTo>
                <a:close/>
                <a:moveTo>
                  <a:pt x="2824370" y="1216242"/>
                </a:moveTo>
                <a:cubicBezTo>
                  <a:pt x="2822548" y="1223531"/>
                  <a:pt x="2829837" y="1221709"/>
                  <a:pt x="2831659" y="1225353"/>
                </a:cubicBezTo>
                <a:cubicBezTo>
                  <a:pt x="2833481" y="1223531"/>
                  <a:pt x="2833481" y="1221709"/>
                  <a:pt x="2833481" y="1218065"/>
                </a:cubicBezTo>
                <a:cubicBezTo>
                  <a:pt x="2829837" y="1218065"/>
                  <a:pt x="2828014" y="1216242"/>
                  <a:pt x="2824370" y="1216242"/>
                </a:cubicBezTo>
                <a:close/>
                <a:moveTo>
                  <a:pt x="1393963" y="1216242"/>
                </a:moveTo>
                <a:cubicBezTo>
                  <a:pt x="1388497" y="1214420"/>
                  <a:pt x="1384854" y="1218065"/>
                  <a:pt x="1383030" y="1221709"/>
                </a:cubicBezTo>
                <a:cubicBezTo>
                  <a:pt x="1386676" y="1225353"/>
                  <a:pt x="1390319" y="1223531"/>
                  <a:pt x="1393963" y="1219887"/>
                </a:cubicBezTo>
                <a:cubicBezTo>
                  <a:pt x="1392141" y="1218065"/>
                  <a:pt x="1392141" y="1219887"/>
                  <a:pt x="1390319" y="1218065"/>
                </a:cubicBezTo>
                <a:cubicBezTo>
                  <a:pt x="1393963" y="1218065"/>
                  <a:pt x="1392141" y="1218065"/>
                  <a:pt x="1393963" y="1216242"/>
                </a:cubicBezTo>
                <a:close/>
                <a:moveTo>
                  <a:pt x="1286455" y="1216242"/>
                </a:moveTo>
                <a:cubicBezTo>
                  <a:pt x="1279166" y="1214420"/>
                  <a:pt x="1270056" y="1218065"/>
                  <a:pt x="1264589" y="1223531"/>
                </a:cubicBezTo>
                <a:cubicBezTo>
                  <a:pt x="1271878" y="1227175"/>
                  <a:pt x="1280989" y="1223531"/>
                  <a:pt x="1286455" y="1216242"/>
                </a:cubicBezTo>
                <a:close/>
                <a:moveTo>
                  <a:pt x="358969" y="1216242"/>
                </a:moveTo>
                <a:cubicBezTo>
                  <a:pt x="358969" y="1216242"/>
                  <a:pt x="357146" y="1218065"/>
                  <a:pt x="357146" y="1218065"/>
                </a:cubicBezTo>
                <a:cubicBezTo>
                  <a:pt x="358969" y="1218065"/>
                  <a:pt x="362613" y="1219887"/>
                  <a:pt x="364435" y="1219887"/>
                </a:cubicBezTo>
                <a:cubicBezTo>
                  <a:pt x="362613" y="1218065"/>
                  <a:pt x="360791" y="1216242"/>
                  <a:pt x="358969" y="1216242"/>
                </a:cubicBezTo>
                <a:close/>
                <a:moveTo>
                  <a:pt x="326169" y="1216242"/>
                </a:moveTo>
                <a:cubicBezTo>
                  <a:pt x="327993" y="1223531"/>
                  <a:pt x="335280" y="1216242"/>
                  <a:pt x="337102" y="1216242"/>
                </a:cubicBezTo>
                <a:cubicBezTo>
                  <a:pt x="333458" y="1214420"/>
                  <a:pt x="329814" y="1216242"/>
                  <a:pt x="326169" y="1216242"/>
                </a:cubicBezTo>
                <a:close/>
                <a:moveTo>
                  <a:pt x="1348410" y="1214420"/>
                </a:moveTo>
                <a:lnTo>
                  <a:pt x="1335868" y="1219994"/>
                </a:lnTo>
                <a:lnTo>
                  <a:pt x="1335654" y="1219887"/>
                </a:lnTo>
                <a:lnTo>
                  <a:pt x="1335654" y="1220089"/>
                </a:lnTo>
                <a:lnTo>
                  <a:pt x="1332009" y="1221709"/>
                </a:lnTo>
                <a:cubicBezTo>
                  <a:pt x="1332009" y="1225353"/>
                  <a:pt x="1333832" y="1221709"/>
                  <a:pt x="1335654" y="1223531"/>
                </a:cubicBezTo>
                <a:lnTo>
                  <a:pt x="1335654" y="1220089"/>
                </a:lnTo>
                <a:lnTo>
                  <a:pt x="1335868" y="1219994"/>
                </a:lnTo>
                <a:lnTo>
                  <a:pt x="1339299" y="1221709"/>
                </a:lnTo>
                <a:cubicBezTo>
                  <a:pt x="1342942" y="1219887"/>
                  <a:pt x="1346587" y="1219887"/>
                  <a:pt x="1350231" y="1218065"/>
                </a:cubicBezTo>
                <a:cubicBezTo>
                  <a:pt x="1348410" y="1216242"/>
                  <a:pt x="1350231" y="1216242"/>
                  <a:pt x="1348410" y="1214420"/>
                </a:cubicBezTo>
                <a:close/>
                <a:moveTo>
                  <a:pt x="1297388" y="1214420"/>
                </a:moveTo>
                <a:cubicBezTo>
                  <a:pt x="1293744" y="1216242"/>
                  <a:pt x="1290100" y="1218065"/>
                  <a:pt x="1293744" y="1221709"/>
                </a:cubicBezTo>
                <a:cubicBezTo>
                  <a:pt x="1295566" y="1223531"/>
                  <a:pt x="1299210" y="1221709"/>
                  <a:pt x="1301033" y="1219887"/>
                </a:cubicBezTo>
                <a:cubicBezTo>
                  <a:pt x="1304677" y="1219887"/>
                  <a:pt x="1306499" y="1223531"/>
                  <a:pt x="1310143" y="1219887"/>
                </a:cubicBezTo>
                <a:cubicBezTo>
                  <a:pt x="1304677" y="1218065"/>
                  <a:pt x="1301033" y="1218065"/>
                  <a:pt x="1297388" y="1214420"/>
                </a:cubicBezTo>
                <a:close/>
                <a:moveTo>
                  <a:pt x="1288277" y="1214420"/>
                </a:moveTo>
                <a:cubicBezTo>
                  <a:pt x="1286455" y="1216242"/>
                  <a:pt x="1288277" y="1218065"/>
                  <a:pt x="1288277" y="1219887"/>
                </a:cubicBezTo>
                <a:cubicBezTo>
                  <a:pt x="1290100" y="1218065"/>
                  <a:pt x="1288277" y="1218065"/>
                  <a:pt x="1291922" y="1216242"/>
                </a:cubicBezTo>
                <a:cubicBezTo>
                  <a:pt x="1291922" y="1212598"/>
                  <a:pt x="1290100" y="1218065"/>
                  <a:pt x="1288277" y="1214420"/>
                </a:cubicBezTo>
                <a:close/>
                <a:moveTo>
                  <a:pt x="1262767" y="1214420"/>
                </a:moveTo>
                <a:cubicBezTo>
                  <a:pt x="1257300" y="1214420"/>
                  <a:pt x="1250012" y="1214420"/>
                  <a:pt x="1244545" y="1218065"/>
                </a:cubicBezTo>
                <a:cubicBezTo>
                  <a:pt x="1250012" y="1225353"/>
                  <a:pt x="1257300" y="1219887"/>
                  <a:pt x="1262767" y="1214420"/>
                </a:cubicBezTo>
                <a:close/>
                <a:moveTo>
                  <a:pt x="1075083" y="1214420"/>
                </a:moveTo>
                <a:cubicBezTo>
                  <a:pt x="1075083" y="1216242"/>
                  <a:pt x="1078727" y="1221709"/>
                  <a:pt x="1082373" y="1219887"/>
                </a:cubicBezTo>
                <a:cubicBezTo>
                  <a:pt x="1080549" y="1218065"/>
                  <a:pt x="1076905" y="1214420"/>
                  <a:pt x="1075083" y="1214420"/>
                </a:cubicBezTo>
                <a:close/>
                <a:moveTo>
                  <a:pt x="1004018" y="1214420"/>
                </a:moveTo>
                <a:cubicBezTo>
                  <a:pt x="1004018" y="1214420"/>
                  <a:pt x="1002196" y="1216242"/>
                  <a:pt x="1004018" y="1216242"/>
                </a:cubicBezTo>
                <a:cubicBezTo>
                  <a:pt x="1004018" y="1218065"/>
                  <a:pt x="1005840" y="1219887"/>
                  <a:pt x="1007663" y="1221709"/>
                </a:cubicBezTo>
                <a:cubicBezTo>
                  <a:pt x="1007663" y="1221709"/>
                  <a:pt x="1009485" y="1219887"/>
                  <a:pt x="1009485" y="1219887"/>
                </a:cubicBezTo>
                <a:cubicBezTo>
                  <a:pt x="1009485" y="1218065"/>
                  <a:pt x="1005840" y="1218065"/>
                  <a:pt x="1004018" y="1214420"/>
                </a:cubicBezTo>
                <a:close/>
                <a:moveTo>
                  <a:pt x="470121" y="1214420"/>
                </a:moveTo>
                <a:cubicBezTo>
                  <a:pt x="468299" y="1214420"/>
                  <a:pt x="468299" y="1216242"/>
                  <a:pt x="470121" y="1218065"/>
                </a:cubicBezTo>
                <a:cubicBezTo>
                  <a:pt x="470121" y="1216242"/>
                  <a:pt x="471943" y="1218065"/>
                  <a:pt x="471943" y="1216242"/>
                </a:cubicBezTo>
                <a:cubicBezTo>
                  <a:pt x="471943" y="1216242"/>
                  <a:pt x="471943" y="1214420"/>
                  <a:pt x="470121" y="1214420"/>
                </a:cubicBezTo>
                <a:close/>
                <a:moveTo>
                  <a:pt x="411812" y="1214420"/>
                </a:moveTo>
                <a:cubicBezTo>
                  <a:pt x="408167" y="1214420"/>
                  <a:pt x="408167" y="1219887"/>
                  <a:pt x="404523" y="1223531"/>
                </a:cubicBezTo>
                <a:lnTo>
                  <a:pt x="410870" y="1222649"/>
                </a:lnTo>
                <a:lnTo>
                  <a:pt x="408167" y="1225353"/>
                </a:lnTo>
                <a:cubicBezTo>
                  <a:pt x="413634" y="1228998"/>
                  <a:pt x="419100" y="1234464"/>
                  <a:pt x="420923" y="1230820"/>
                </a:cubicBezTo>
                <a:cubicBezTo>
                  <a:pt x="417278" y="1227175"/>
                  <a:pt x="413634" y="1228998"/>
                  <a:pt x="411812" y="1225353"/>
                </a:cubicBezTo>
                <a:cubicBezTo>
                  <a:pt x="417278" y="1223531"/>
                  <a:pt x="424567" y="1232642"/>
                  <a:pt x="428211" y="1228998"/>
                </a:cubicBezTo>
                <a:cubicBezTo>
                  <a:pt x="430034" y="1230820"/>
                  <a:pt x="431856" y="1227175"/>
                  <a:pt x="433678" y="1225353"/>
                </a:cubicBezTo>
                <a:cubicBezTo>
                  <a:pt x="430034" y="1221709"/>
                  <a:pt x="424567" y="1216242"/>
                  <a:pt x="419100" y="1214420"/>
                </a:cubicBezTo>
                <a:lnTo>
                  <a:pt x="413555" y="1219965"/>
                </a:lnTo>
                <a:lnTo>
                  <a:pt x="415456" y="1214420"/>
                </a:lnTo>
                <a:cubicBezTo>
                  <a:pt x="411812" y="1216242"/>
                  <a:pt x="413634" y="1218065"/>
                  <a:pt x="411812" y="1219887"/>
                </a:cubicBezTo>
                <a:cubicBezTo>
                  <a:pt x="408167" y="1216242"/>
                  <a:pt x="413634" y="1216242"/>
                  <a:pt x="411812" y="1214420"/>
                </a:cubicBezTo>
                <a:close/>
                <a:moveTo>
                  <a:pt x="386301" y="1214420"/>
                </a:moveTo>
                <a:cubicBezTo>
                  <a:pt x="386301" y="1219887"/>
                  <a:pt x="389946" y="1219887"/>
                  <a:pt x="393590" y="1219887"/>
                </a:cubicBezTo>
                <a:cubicBezTo>
                  <a:pt x="393590" y="1216242"/>
                  <a:pt x="388123" y="1216242"/>
                  <a:pt x="386301" y="1214420"/>
                </a:cubicBezTo>
                <a:close/>
                <a:moveTo>
                  <a:pt x="984886" y="1213965"/>
                </a:moveTo>
                <a:cubicBezTo>
                  <a:pt x="983519" y="1213965"/>
                  <a:pt x="982152" y="1214420"/>
                  <a:pt x="980330" y="1216242"/>
                </a:cubicBezTo>
                <a:cubicBezTo>
                  <a:pt x="982152" y="1218065"/>
                  <a:pt x="980330" y="1221709"/>
                  <a:pt x="982152" y="1223531"/>
                </a:cubicBezTo>
                <a:cubicBezTo>
                  <a:pt x="982152" y="1223531"/>
                  <a:pt x="983974" y="1221709"/>
                  <a:pt x="983974" y="1219887"/>
                </a:cubicBezTo>
                <a:cubicBezTo>
                  <a:pt x="985796" y="1221709"/>
                  <a:pt x="983974" y="1221709"/>
                  <a:pt x="985796" y="1223531"/>
                </a:cubicBezTo>
                <a:cubicBezTo>
                  <a:pt x="987619" y="1221709"/>
                  <a:pt x="987619" y="1219887"/>
                  <a:pt x="985796" y="1218065"/>
                </a:cubicBezTo>
                <a:cubicBezTo>
                  <a:pt x="987619" y="1216242"/>
                  <a:pt x="987619" y="1219887"/>
                  <a:pt x="989441" y="1219887"/>
                </a:cubicBezTo>
                <a:cubicBezTo>
                  <a:pt x="989441" y="1218065"/>
                  <a:pt x="991263" y="1216242"/>
                  <a:pt x="989441" y="1214420"/>
                </a:cubicBezTo>
                <a:cubicBezTo>
                  <a:pt x="987619" y="1214420"/>
                  <a:pt x="986252" y="1213965"/>
                  <a:pt x="984886" y="1213965"/>
                </a:cubicBezTo>
                <a:close/>
                <a:moveTo>
                  <a:pt x="364663" y="1213965"/>
                </a:moveTo>
                <a:cubicBezTo>
                  <a:pt x="363069" y="1213965"/>
                  <a:pt x="361702" y="1214420"/>
                  <a:pt x="360791" y="1216242"/>
                </a:cubicBezTo>
                <a:cubicBezTo>
                  <a:pt x="364435" y="1216242"/>
                  <a:pt x="371724" y="1221709"/>
                  <a:pt x="369902" y="1214420"/>
                </a:cubicBezTo>
                <a:cubicBezTo>
                  <a:pt x="368080" y="1214420"/>
                  <a:pt x="366258" y="1213965"/>
                  <a:pt x="364663" y="1213965"/>
                </a:cubicBezTo>
                <a:close/>
                <a:moveTo>
                  <a:pt x="1166951" y="1213813"/>
                </a:moveTo>
                <a:lnTo>
                  <a:pt x="1166426" y="1218013"/>
                </a:lnTo>
                <a:lnTo>
                  <a:pt x="1166192" y="1218065"/>
                </a:lnTo>
                <a:close/>
                <a:moveTo>
                  <a:pt x="1311966" y="1213509"/>
                </a:moveTo>
                <a:cubicBezTo>
                  <a:pt x="1311056" y="1212598"/>
                  <a:pt x="1309232" y="1212598"/>
                  <a:pt x="1306499" y="1214420"/>
                </a:cubicBezTo>
                <a:cubicBezTo>
                  <a:pt x="1308321" y="1216242"/>
                  <a:pt x="1310143" y="1218065"/>
                  <a:pt x="1311966" y="1218065"/>
                </a:cubicBezTo>
                <a:cubicBezTo>
                  <a:pt x="1312878" y="1216242"/>
                  <a:pt x="1312878" y="1214420"/>
                  <a:pt x="1311966" y="1213509"/>
                </a:cubicBezTo>
                <a:close/>
                <a:moveTo>
                  <a:pt x="3298135" y="1212598"/>
                </a:moveTo>
                <a:cubicBezTo>
                  <a:pt x="3294491" y="1212598"/>
                  <a:pt x="3296313" y="1218065"/>
                  <a:pt x="3290847" y="1216242"/>
                </a:cubicBezTo>
                <a:cubicBezTo>
                  <a:pt x="3292669" y="1219887"/>
                  <a:pt x="3294491" y="1219887"/>
                  <a:pt x="3298135" y="1219887"/>
                </a:cubicBezTo>
                <a:cubicBezTo>
                  <a:pt x="3298135" y="1218065"/>
                  <a:pt x="3298135" y="1214420"/>
                  <a:pt x="3298135" y="1212598"/>
                </a:cubicBezTo>
                <a:close/>
                <a:moveTo>
                  <a:pt x="1324721" y="1212598"/>
                </a:moveTo>
                <a:cubicBezTo>
                  <a:pt x="1321077" y="1214420"/>
                  <a:pt x="1322899" y="1216242"/>
                  <a:pt x="1321077" y="1218065"/>
                </a:cubicBezTo>
                <a:cubicBezTo>
                  <a:pt x="1322899" y="1219887"/>
                  <a:pt x="1322899" y="1216242"/>
                  <a:pt x="1324721" y="1218065"/>
                </a:cubicBezTo>
                <a:cubicBezTo>
                  <a:pt x="1324721" y="1216242"/>
                  <a:pt x="1326543" y="1214420"/>
                  <a:pt x="1324721" y="1212598"/>
                </a:cubicBezTo>
                <a:close/>
                <a:moveTo>
                  <a:pt x="1027707" y="1212598"/>
                </a:moveTo>
                <a:cubicBezTo>
                  <a:pt x="1027707" y="1214420"/>
                  <a:pt x="1029529" y="1214420"/>
                  <a:pt x="1025884" y="1216242"/>
                </a:cubicBezTo>
                <a:lnTo>
                  <a:pt x="1025884" y="1218064"/>
                </a:lnTo>
                <a:lnTo>
                  <a:pt x="1024062" y="1216242"/>
                </a:lnTo>
                <a:cubicBezTo>
                  <a:pt x="1022240" y="1218065"/>
                  <a:pt x="1022240" y="1219887"/>
                  <a:pt x="1020418" y="1221709"/>
                </a:cubicBezTo>
                <a:cubicBezTo>
                  <a:pt x="1022240" y="1223531"/>
                  <a:pt x="1024062" y="1221709"/>
                  <a:pt x="1027707" y="1219887"/>
                </a:cubicBezTo>
                <a:lnTo>
                  <a:pt x="1027138" y="1219317"/>
                </a:lnTo>
                <a:lnTo>
                  <a:pt x="1030895" y="1217609"/>
                </a:lnTo>
                <a:cubicBezTo>
                  <a:pt x="1031806" y="1216242"/>
                  <a:pt x="1032262" y="1214420"/>
                  <a:pt x="1033173" y="1212598"/>
                </a:cubicBezTo>
                <a:cubicBezTo>
                  <a:pt x="1031351" y="1210776"/>
                  <a:pt x="1029529" y="1214420"/>
                  <a:pt x="1027707" y="1212598"/>
                </a:cubicBezTo>
                <a:close/>
                <a:moveTo>
                  <a:pt x="446433" y="1212598"/>
                </a:moveTo>
                <a:cubicBezTo>
                  <a:pt x="446433" y="1212598"/>
                  <a:pt x="448256" y="1214420"/>
                  <a:pt x="448256" y="1214420"/>
                </a:cubicBezTo>
                <a:lnTo>
                  <a:pt x="447211" y="1214153"/>
                </a:lnTo>
                <a:close/>
                <a:moveTo>
                  <a:pt x="388123" y="1212598"/>
                </a:moveTo>
                <a:cubicBezTo>
                  <a:pt x="391768" y="1218065"/>
                  <a:pt x="404523" y="1223531"/>
                  <a:pt x="406345" y="1214420"/>
                </a:cubicBezTo>
                <a:cubicBezTo>
                  <a:pt x="399056" y="1212598"/>
                  <a:pt x="393590" y="1210776"/>
                  <a:pt x="388123" y="1212598"/>
                </a:cubicBezTo>
                <a:close/>
                <a:moveTo>
                  <a:pt x="701993" y="1212143"/>
                </a:moveTo>
                <a:cubicBezTo>
                  <a:pt x="697437" y="1211687"/>
                  <a:pt x="692426" y="1212598"/>
                  <a:pt x="688782" y="1212598"/>
                </a:cubicBezTo>
                <a:cubicBezTo>
                  <a:pt x="686960" y="1218065"/>
                  <a:pt x="696071" y="1221709"/>
                  <a:pt x="690604" y="1227175"/>
                </a:cubicBezTo>
                <a:cubicBezTo>
                  <a:pt x="694249" y="1228998"/>
                  <a:pt x="697893" y="1227175"/>
                  <a:pt x="701537" y="1225353"/>
                </a:cubicBezTo>
                <a:cubicBezTo>
                  <a:pt x="701537" y="1223531"/>
                  <a:pt x="701537" y="1223531"/>
                  <a:pt x="699715" y="1221709"/>
                </a:cubicBezTo>
                <a:cubicBezTo>
                  <a:pt x="707004" y="1228998"/>
                  <a:pt x="710648" y="1218065"/>
                  <a:pt x="714293" y="1219887"/>
                </a:cubicBezTo>
                <a:cubicBezTo>
                  <a:pt x="714293" y="1219887"/>
                  <a:pt x="721581" y="1212598"/>
                  <a:pt x="712470" y="1219887"/>
                </a:cubicBezTo>
                <a:cubicBezTo>
                  <a:pt x="710648" y="1214420"/>
                  <a:pt x="706548" y="1212598"/>
                  <a:pt x="701993" y="1212143"/>
                </a:cubicBezTo>
                <a:close/>
                <a:moveTo>
                  <a:pt x="3199738" y="1210776"/>
                </a:moveTo>
                <a:cubicBezTo>
                  <a:pt x="3201560" y="1214420"/>
                  <a:pt x="3203382" y="1214420"/>
                  <a:pt x="3201560" y="1219887"/>
                </a:cubicBezTo>
                <a:cubicBezTo>
                  <a:pt x="3203382" y="1219887"/>
                  <a:pt x="3207027" y="1219887"/>
                  <a:pt x="3208849" y="1221709"/>
                </a:cubicBezTo>
                <a:cubicBezTo>
                  <a:pt x="3210671" y="1219887"/>
                  <a:pt x="3207027" y="1216242"/>
                  <a:pt x="3214315" y="1218065"/>
                </a:cubicBezTo>
                <a:cubicBezTo>
                  <a:pt x="3214315" y="1210776"/>
                  <a:pt x="3205204" y="1210776"/>
                  <a:pt x="3199738" y="1210776"/>
                </a:cubicBezTo>
                <a:close/>
                <a:moveTo>
                  <a:pt x="3022987" y="1210776"/>
                </a:moveTo>
                <a:cubicBezTo>
                  <a:pt x="3022987" y="1216242"/>
                  <a:pt x="3033920" y="1219887"/>
                  <a:pt x="3033920" y="1212598"/>
                </a:cubicBezTo>
                <a:cubicBezTo>
                  <a:pt x="3028453" y="1212598"/>
                  <a:pt x="3028453" y="1208954"/>
                  <a:pt x="3022987" y="1210776"/>
                </a:cubicBezTo>
                <a:close/>
                <a:moveTo>
                  <a:pt x="2427136" y="1210776"/>
                </a:moveTo>
                <a:cubicBezTo>
                  <a:pt x="2425314" y="1210776"/>
                  <a:pt x="2423492" y="1210776"/>
                  <a:pt x="2423492" y="1212598"/>
                </a:cubicBezTo>
                <a:lnTo>
                  <a:pt x="2425314" y="1214420"/>
                </a:lnTo>
                <a:cubicBezTo>
                  <a:pt x="2425314" y="1212598"/>
                  <a:pt x="2425314" y="1210776"/>
                  <a:pt x="2427136" y="1210776"/>
                </a:cubicBezTo>
                <a:close/>
                <a:moveTo>
                  <a:pt x="2414381" y="1210776"/>
                </a:moveTo>
                <a:cubicBezTo>
                  <a:pt x="2408914" y="1212598"/>
                  <a:pt x="2408914" y="1218065"/>
                  <a:pt x="2414381" y="1216242"/>
                </a:cubicBezTo>
                <a:cubicBezTo>
                  <a:pt x="2414381" y="1214420"/>
                  <a:pt x="2414381" y="1212598"/>
                  <a:pt x="2414381" y="1210776"/>
                </a:cubicBezTo>
                <a:close/>
                <a:moveTo>
                  <a:pt x="2405270" y="1210776"/>
                </a:moveTo>
                <a:cubicBezTo>
                  <a:pt x="2401626" y="1212598"/>
                  <a:pt x="2401626" y="1214420"/>
                  <a:pt x="2397981" y="1214420"/>
                </a:cubicBezTo>
                <a:cubicBezTo>
                  <a:pt x="2397981" y="1221709"/>
                  <a:pt x="2401626" y="1223531"/>
                  <a:pt x="2407092" y="1225353"/>
                </a:cubicBezTo>
                <a:cubicBezTo>
                  <a:pt x="2410737" y="1219887"/>
                  <a:pt x="2405270" y="1221709"/>
                  <a:pt x="2407092" y="1214420"/>
                </a:cubicBezTo>
                <a:cubicBezTo>
                  <a:pt x="2405270" y="1214420"/>
                  <a:pt x="2403448" y="1214420"/>
                  <a:pt x="2401626" y="1214420"/>
                </a:cubicBezTo>
                <a:cubicBezTo>
                  <a:pt x="2399803" y="1212598"/>
                  <a:pt x="2407092" y="1214420"/>
                  <a:pt x="2405270" y="1210776"/>
                </a:cubicBezTo>
                <a:close/>
                <a:moveTo>
                  <a:pt x="2394337" y="1210776"/>
                </a:moveTo>
                <a:cubicBezTo>
                  <a:pt x="2388871" y="1212598"/>
                  <a:pt x="2385226" y="1216242"/>
                  <a:pt x="2383404" y="1218065"/>
                </a:cubicBezTo>
                <a:lnTo>
                  <a:pt x="2399803" y="1230820"/>
                </a:lnTo>
                <a:lnTo>
                  <a:pt x="2405270" y="1228998"/>
                </a:lnTo>
                <a:cubicBezTo>
                  <a:pt x="2399803" y="1225353"/>
                  <a:pt x="2388871" y="1219887"/>
                  <a:pt x="2394337" y="1210776"/>
                </a:cubicBezTo>
                <a:close/>
                <a:moveTo>
                  <a:pt x="2057235" y="1210776"/>
                </a:moveTo>
                <a:cubicBezTo>
                  <a:pt x="2055413" y="1210776"/>
                  <a:pt x="2055413" y="1214420"/>
                  <a:pt x="2057235" y="1216242"/>
                </a:cubicBezTo>
                <a:lnTo>
                  <a:pt x="2059057" y="1214420"/>
                </a:lnTo>
                <a:cubicBezTo>
                  <a:pt x="2059057" y="1212598"/>
                  <a:pt x="2057235" y="1212598"/>
                  <a:pt x="2057235" y="1210776"/>
                </a:cubicBezTo>
                <a:close/>
                <a:moveTo>
                  <a:pt x="1239080" y="1210776"/>
                </a:moveTo>
                <a:cubicBezTo>
                  <a:pt x="1235434" y="1212598"/>
                  <a:pt x="1226323" y="1210776"/>
                  <a:pt x="1226323" y="1216242"/>
                </a:cubicBezTo>
                <a:cubicBezTo>
                  <a:pt x="1222679" y="1214420"/>
                  <a:pt x="1220858" y="1216242"/>
                  <a:pt x="1217213" y="1218065"/>
                </a:cubicBezTo>
                <a:cubicBezTo>
                  <a:pt x="1224501" y="1225353"/>
                  <a:pt x="1233612" y="1219887"/>
                  <a:pt x="1242723" y="1216242"/>
                </a:cubicBezTo>
                <a:cubicBezTo>
                  <a:pt x="1240901" y="1214420"/>
                  <a:pt x="1240901" y="1212598"/>
                  <a:pt x="1239080" y="1210776"/>
                </a:cubicBezTo>
                <a:close/>
                <a:moveTo>
                  <a:pt x="1055040" y="1210776"/>
                </a:moveTo>
                <a:cubicBezTo>
                  <a:pt x="1055040" y="1212598"/>
                  <a:pt x="1053217" y="1210776"/>
                  <a:pt x="1051395" y="1214420"/>
                </a:cubicBezTo>
                <a:cubicBezTo>
                  <a:pt x="1055040" y="1214420"/>
                  <a:pt x="1056861" y="1216242"/>
                  <a:pt x="1060506" y="1214420"/>
                </a:cubicBezTo>
                <a:cubicBezTo>
                  <a:pt x="1058683" y="1210776"/>
                  <a:pt x="1056861" y="1212598"/>
                  <a:pt x="1055040" y="1210776"/>
                </a:cubicBezTo>
                <a:close/>
                <a:moveTo>
                  <a:pt x="1788956" y="1209303"/>
                </a:moveTo>
                <a:lnTo>
                  <a:pt x="1790286" y="1210347"/>
                </a:lnTo>
                <a:cubicBezTo>
                  <a:pt x="1791197" y="1212625"/>
                  <a:pt x="1791197" y="1215358"/>
                  <a:pt x="1791197" y="1218091"/>
                </a:cubicBezTo>
                <a:close/>
                <a:moveTo>
                  <a:pt x="305822" y="1209258"/>
                </a:moveTo>
                <a:lnTo>
                  <a:pt x="306809" y="1209637"/>
                </a:lnTo>
                <a:lnTo>
                  <a:pt x="306854" y="1209682"/>
                </a:lnTo>
                <a:lnTo>
                  <a:pt x="305795" y="1209285"/>
                </a:lnTo>
                <a:close/>
                <a:moveTo>
                  <a:pt x="3145073" y="1208954"/>
                </a:moveTo>
                <a:cubicBezTo>
                  <a:pt x="3141428" y="1207132"/>
                  <a:pt x="3141428" y="1218065"/>
                  <a:pt x="3145073" y="1216242"/>
                </a:cubicBezTo>
                <a:cubicBezTo>
                  <a:pt x="3145073" y="1212598"/>
                  <a:pt x="3145073" y="1210776"/>
                  <a:pt x="3145073" y="1208954"/>
                </a:cubicBezTo>
                <a:close/>
                <a:moveTo>
                  <a:pt x="2722328" y="1208954"/>
                </a:moveTo>
                <a:cubicBezTo>
                  <a:pt x="2716862" y="1210776"/>
                  <a:pt x="2718684" y="1218065"/>
                  <a:pt x="2711395" y="1218065"/>
                </a:cubicBezTo>
                <a:cubicBezTo>
                  <a:pt x="2709573" y="1218065"/>
                  <a:pt x="2709573" y="1216242"/>
                  <a:pt x="2709573" y="1216242"/>
                </a:cubicBezTo>
                <a:cubicBezTo>
                  <a:pt x="2709573" y="1218065"/>
                  <a:pt x="2713217" y="1225353"/>
                  <a:pt x="2718684" y="1225353"/>
                </a:cubicBezTo>
                <a:cubicBezTo>
                  <a:pt x="2716862" y="1219887"/>
                  <a:pt x="2729617" y="1227175"/>
                  <a:pt x="2733261" y="1227175"/>
                </a:cubicBezTo>
                <a:cubicBezTo>
                  <a:pt x="2729617" y="1221709"/>
                  <a:pt x="2733261" y="1223531"/>
                  <a:pt x="2735084" y="1219887"/>
                </a:cubicBezTo>
                <a:cubicBezTo>
                  <a:pt x="2736906" y="1221709"/>
                  <a:pt x="2735084" y="1225353"/>
                  <a:pt x="2740550" y="1225353"/>
                </a:cubicBezTo>
                <a:cubicBezTo>
                  <a:pt x="2736906" y="1221709"/>
                  <a:pt x="2735084" y="1218065"/>
                  <a:pt x="2733261" y="1214420"/>
                </a:cubicBezTo>
                <a:cubicBezTo>
                  <a:pt x="2731439" y="1216242"/>
                  <a:pt x="2731439" y="1216242"/>
                  <a:pt x="2729617" y="1218065"/>
                </a:cubicBezTo>
                <a:cubicBezTo>
                  <a:pt x="2725973" y="1214420"/>
                  <a:pt x="2718684" y="1214420"/>
                  <a:pt x="2722328" y="1208954"/>
                </a:cubicBezTo>
                <a:close/>
                <a:moveTo>
                  <a:pt x="2439891" y="1208954"/>
                </a:moveTo>
                <a:cubicBezTo>
                  <a:pt x="2434425" y="1210776"/>
                  <a:pt x="2432603" y="1214420"/>
                  <a:pt x="2430780" y="1218065"/>
                </a:cubicBezTo>
                <a:lnTo>
                  <a:pt x="2434425" y="1221709"/>
                </a:lnTo>
                <a:cubicBezTo>
                  <a:pt x="2436247" y="1218065"/>
                  <a:pt x="2438069" y="1216242"/>
                  <a:pt x="2439891" y="1208954"/>
                </a:cubicBezTo>
                <a:close/>
                <a:moveTo>
                  <a:pt x="1324721" y="1208954"/>
                </a:moveTo>
                <a:cubicBezTo>
                  <a:pt x="1321077" y="1207132"/>
                  <a:pt x="1317432" y="1210776"/>
                  <a:pt x="1313788" y="1210776"/>
                </a:cubicBezTo>
                <a:cubicBezTo>
                  <a:pt x="1311966" y="1212598"/>
                  <a:pt x="1313788" y="1216242"/>
                  <a:pt x="1315610" y="1218065"/>
                </a:cubicBezTo>
                <a:cubicBezTo>
                  <a:pt x="1317432" y="1218065"/>
                  <a:pt x="1317432" y="1214420"/>
                  <a:pt x="1319254" y="1218065"/>
                </a:cubicBezTo>
                <a:cubicBezTo>
                  <a:pt x="1322899" y="1214420"/>
                  <a:pt x="1321077" y="1212598"/>
                  <a:pt x="1324721" y="1208954"/>
                </a:cubicBezTo>
                <a:close/>
                <a:moveTo>
                  <a:pt x="1297388" y="1208954"/>
                </a:moveTo>
                <a:cubicBezTo>
                  <a:pt x="1301033" y="1214420"/>
                  <a:pt x="1304677" y="1208954"/>
                  <a:pt x="1306499" y="1212598"/>
                </a:cubicBezTo>
                <a:cubicBezTo>
                  <a:pt x="1308321" y="1212598"/>
                  <a:pt x="1310143" y="1212598"/>
                  <a:pt x="1311966" y="1208954"/>
                </a:cubicBezTo>
                <a:cubicBezTo>
                  <a:pt x="1313788" y="1212598"/>
                  <a:pt x="1315610" y="1208954"/>
                  <a:pt x="1319254" y="1208954"/>
                </a:cubicBezTo>
                <a:cubicBezTo>
                  <a:pt x="1317432" y="1208954"/>
                  <a:pt x="1313788" y="1207132"/>
                  <a:pt x="1311966" y="1208954"/>
                </a:cubicBezTo>
                <a:cubicBezTo>
                  <a:pt x="1308321" y="1205309"/>
                  <a:pt x="1302855" y="1205309"/>
                  <a:pt x="1297388" y="1208954"/>
                </a:cubicBezTo>
                <a:close/>
                <a:moveTo>
                  <a:pt x="911087" y="1208954"/>
                </a:moveTo>
                <a:cubicBezTo>
                  <a:pt x="911087" y="1210776"/>
                  <a:pt x="911087" y="1214420"/>
                  <a:pt x="911087" y="1214420"/>
                </a:cubicBezTo>
                <a:cubicBezTo>
                  <a:pt x="912909" y="1221709"/>
                  <a:pt x="914732" y="1210776"/>
                  <a:pt x="916555" y="1214420"/>
                </a:cubicBezTo>
                <a:cubicBezTo>
                  <a:pt x="916555" y="1210776"/>
                  <a:pt x="912909" y="1210776"/>
                  <a:pt x="911087" y="1208954"/>
                </a:cubicBezTo>
                <a:close/>
                <a:moveTo>
                  <a:pt x="3002943" y="1207132"/>
                </a:moveTo>
                <a:cubicBezTo>
                  <a:pt x="2995654" y="1208954"/>
                  <a:pt x="3004765" y="1214420"/>
                  <a:pt x="3002943" y="1219887"/>
                </a:cubicBezTo>
                <a:cubicBezTo>
                  <a:pt x="3006587" y="1218065"/>
                  <a:pt x="3010232" y="1214420"/>
                  <a:pt x="3008410" y="1221709"/>
                </a:cubicBezTo>
                <a:cubicBezTo>
                  <a:pt x="3012054" y="1223531"/>
                  <a:pt x="3010232" y="1219887"/>
                  <a:pt x="3012054" y="1218065"/>
                </a:cubicBezTo>
                <a:cubicBezTo>
                  <a:pt x="3015698" y="1218065"/>
                  <a:pt x="3012054" y="1223531"/>
                  <a:pt x="3017521" y="1221709"/>
                </a:cubicBezTo>
                <a:cubicBezTo>
                  <a:pt x="3017521" y="1225353"/>
                  <a:pt x="3017521" y="1227175"/>
                  <a:pt x="3017521" y="1228998"/>
                </a:cubicBezTo>
                <a:cubicBezTo>
                  <a:pt x="3019343" y="1228998"/>
                  <a:pt x="3022987" y="1228998"/>
                  <a:pt x="3024809" y="1228998"/>
                </a:cubicBezTo>
                <a:cubicBezTo>
                  <a:pt x="3021165" y="1225353"/>
                  <a:pt x="3021165" y="1219887"/>
                  <a:pt x="3019343" y="1214420"/>
                </a:cubicBezTo>
                <a:cubicBezTo>
                  <a:pt x="3015698" y="1214420"/>
                  <a:pt x="3008410" y="1214420"/>
                  <a:pt x="3006587" y="1216242"/>
                </a:cubicBezTo>
                <a:cubicBezTo>
                  <a:pt x="3004765" y="1210776"/>
                  <a:pt x="3012054" y="1214420"/>
                  <a:pt x="3010232" y="1208954"/>
                </a:cubicBezTo>
                <a:cubicBezTo>
                  <a:pt x="3004765" y="1212598"/>
                  <a:pt x="3004765" y="1212598"/>
                  <a:pt x="3002943" y="1207132"/>
                </a:cubicBezTo>
                <a:close/>
                <a:moveTo>
                  <a:pt x="2744194" y="1207132"/>
                </a:moveTo>
                <a:cubicBezTo>
                  <a:pt x="2742372" y="1210776"/>
                  <a:pt x="2740550" y="1227175"/>
                  <a:pt x="2751483" y="1227175"/>
                </a:cubicBezTo>
                <a:cubicBezTo>
                  <a:pt x="2749661" y="1218065"/>
                  <a:pt x="2749661" y="1212598"/>
                  <a:pt x="2749661" y="1207132"/>
                </a:cubicBezTo>
                <a:cubicBezTo>
                  <a:pt x="2746016" y="1208954"/>
                  <a:pt x="2747839" y="1208954"/>
                  <a:pt x="2747839" y="1212598"/>
                </a:cubicBezTo>
                <a:cubicBezTo>
                  <a:pt x="2744194" y="1212598"/>
                  <a:pt x="2746016" y="1208954"/>
                  <a:pt x="2744194" y="1207132"/>
                </a:cubicBezTo>
                <a:close/>
                <a:moveTo>
                  <a:pt x="1341120" y="1207132"/>
                </a:moveTo>
                <a:cubicBezTo>
                  <a:pt x="1339299" y="1208954"/>
                  <a:pt x="1337476" y="1208954"/>
                  <a:pt x="1337476" y="1210776"/>
                </a:cubicBezTo>
                <a:cubicBezTo>
                  <a:pt x="1339299" y="1212598"/>
                  <a:pt x="1341120" y="1212598"/>
                  <a:pt x="1342942" y="1216242"/>
                </a:cubicBezTo>
                <a:cubicBezTo>
                  <a:pt x="1342942" y="1212598"/>
                  <a:pt x="1346587" y="1214420"/>
                  <a:pt x="1348410" y="1212598"/>
                </a:cubicBezTo>
                <a:cubicBezTo>
                  <a:pt x="1346587" y="1208954"/>
                  <a:pt x="1342942" y="1208954"/>
                  <a:pt x="1341120" y="1207132"/>
                </a:cubicBezTo>
                <a:close/>
                <a:moveTo>
                  <a:pt x="1013129" y="1207132"/>
                </a:moveTo>
                <a:cubicBezTo>
                  <a:pt x="1013129" y="1208954"/>
                  <a:pt x="1013584" y="1210776"/>
                  <a:pt x="1013584" y="1212598"/>
                </a:cubicBezTo>
                <a:lnTo>
                  <a:pt x="1013345" y="1213174"/>
                </a:lnTo>
                <a:close/>
                <a:moveTo>
                  <a:pt x="1013129" y="1207132"/>
                </a:moveTo>
                <a:cubicBezTo>
                  <a:pt x="1011307" y="1207132"/>
                  <a:pt x="1011307" y="1207132"/>
                  <a:pt x="1009485" y="1208954"/>
                </a:cubicBezTo>
                <a:cubicBezTo>
                  <a:pt x="1009485" y="1210776"/>
                  <a:pt x="1011307" y="1210776"/>
                  <a:pt x="1011307" y="1210776"/>
                </a:cubicBezTo>
                <a:cubicBezTo>
                  <a:pt x="1009485" y="1212598"/>
                  <a:pt x="1007663" y="1208954"/>
                  <a:pt x="1005840" y="1210776"/>
                </a:cubicBezTo>
                <a:cubicBezTo>
                  <a:pt x="1004018" y="1214420"/>
                  <a:pt x="1007663" y="1216242"/>
                  <a:pt x="1011307" y="1218065"/>
                </a:cubicBezTo>
                <a:lnTo>
                  <a:pt x="1013345" y="1213174"/>
                </a:lnTo>
                <a:lnTo>
                  <a:pt x="1013357" y="1213509"/>
                </a:lnTo>
                <a:lnTo>
                  <a:pt x="1013432" y="1213813"/>
                </a:lnTo>
                <a:lnTo>
                  <a:pt x="1013129" y="1214420"/>
                </a:lnTo>
                <a:lnTo>
                  <a:pt x="1013584" y="1214420"/>
                </a:lnTo>
                <a:lnTo>
                  <a:pt x="1014170" y="1216763"/>
                </a:lnTo>
                <a:lnTo>
                  <a:pt x="1014951" y="1219887"/>
                </a:lnTo>
                <a:cubicBezTo>
                  <a:pt x="1016774" y="1218065"/>
                  <a:pt x="1018596" y="1216242"/>
                  <a:pt x="1018596" y="1214420"/>
                </a:cubicBezTo>
                <a:lnTo>
                  <a:pt x="1014951" y="1214420"/>
                </a:lnTo>
                <a:lnTo>
                  <a:pt x="1013584" y="1214420"/>
                </a:lnTo>
                <a:lnTo>
                  <a:pt x="1013432" y="1213813"/>
                </a:lnTo>
                <a:lnTo>
                  <a:pt x="1014951" y="1210776"/>
                </a:lnTo>
                <a:cubicBezTo>
                  <a:pt x="1014951" y="1208954"/>
                  <a:pt x="1013129" y="1208954"/>
                  <a:pt x="1013129" y="1207132"/>
                </a:cubicBezTo>
                <a:close/>
                <a:moveTo>
                  <a:pt x="929309" y="1207132"/>
                </a:moveTo>
                <a:cubicBezTo>
                  <a:pt x="929309" y="1207132"/>
                  <a:pt x="927487" y="1208954"/>
                  <a:pt x="927487" y="1208954"/>
                </a:cubicBezTo>
                <a:cubicBezTo>
                  <a:pt x="929309" y="1212598"/>
                  <a:pt x="931131" y="1208954"/>
                  <a:pt x="932953" y="1212598"/>
                </a:cubicBezTo>
                <a:lnTo>
                  <a:pt x="931131" y="1212598"/>
                </a:lnTo>
                <a:cubicBezTo>
                  <a:pt x="931131" y="1216242"/>
                  <a:pt x="936598" y="1221709"/>
                  <a:pt x="938420" y="1218065"/>
                </a:cubicBezTo>
                <a:cubicBezTo>
                  <a:pt x="938420" y="1214420"/>
                  <a:pt x="934777" y="1214420"/>
                  <a:pt x="936598" y="1212598"/>
                </a:cubicBezTo>
                <a:lnTo>
                  <a:pt x="932953" y="1212598"/>
                </a:lnTo>
                <a:cubicBezTo>
                  <a:pt x="932953" y="1210776"/>
                  <a:pt x="931131" y="1207132"/>
                  <a:pt x="929309" y="1207132"/>
                </a:cubicBezTo>
                <a:close/>
                <a:moveTo>
                  <a:pt x="840022" y="1207132"/>
                </a:moveTo>
                <a:cubicBezTo>
                  <a:pt x="836378" y="1208954"/>
                  <a:pt x="840022" y="1216242"/>
                  <a:pt x="843667" y="1212598"/>
                </a:cubicBezTo>
                <a:cubicBezTo>
                  <a:pt x="843667" y="1210776"/>
                  <a:pt x="841845" y="1208954"/>
                  <a:pt x="840022" y="1207132"/>
                </a:cubicBezTo>
                <a:close/>
                <a:moveTo>
                  <a:pt x="674205" y="1207132"/>
                </a:moveTo>
                <a:cubicBezTo>
                  <a:pt x="668738" y="1214420"/>
                  <a:pt x="674205" y="1219887"/>
                  <a:pt x="676027" y="1225353"/>
                </a:cubicBezTo>
                <a:cubicBezTo>
                  <a:pt x="674205" y="1223531"/>
                  <a:pt x="672383" y="1221709"/>
                  <a:pt x="670560" y="1219887"/>
                </a:cubicBezTo>
                <a:cubicBezTo>
                  <a:pt x="672383" y="1214420"/>
                  <a:pt x="666916" y="1214420"/>
                  <a:pt x="668738" y="1210776"/>
                </a:cubicBezTo>
                <a:cubicBezTo>
                  <a:pt x="659627" y="1214420"/>
                  <a:pt x="655983" y="1225353"/>
                  <a:pt x="666916" y="1230820"/>
                </a:cubicBezTo>
                <a:cubicBezTo>
                  <a:pt x="686960" y="1236286"/>
                  <a:pt x="674205" y="1214420"/>
                  <a:pt x="674205" y="1207132"/>
                </a:cubicBezTo>
                <a:close/>
                <a:moveTo>
                  <a:pt x="1199218" y="1205993"/>
                </a:moveTo>
                <a:cubicBezTo>
                  <a:pt x="1198080" y="1205309"/>
                  <a:pt x="1196257" y="1205309"/>
                  <a:pt x="1195346" y="1207132"/>
                </a:cubicBezTo>
                <a:cubicBezTo>
                  <a:pt x="1197169" y="1208954"/>
                  <a:pt x="1197169" y="1207132"/>
                  <a:pt x="1198991" y="1208954"/>
                </a:cubicBezTo>
                <a:cubicBezTo>
                  <a:pt x="1200814" y="1208043"/>
                  <a:pt x="1200357" y="1206676"/>
                  <a:pt x="1199218" y="1205993"/>
                </a:cubicBezTo>
                <a:close/>
                <a:moveTo>
                  <a:pt x="1293097" y="1205721"/>
                </a:moveTo>
                <a:lnTo>
                  <a:pt x="1292599" y="1206038"/>
                </a:lnTo>
                <a:lnTo>
                  <a:pt x="1292833" y="1205765"/>
                </a:lnTo>
                <a:close/>
                <a:moveTo>
                  <a:pt x="2144699" y="1205309"/>
                </a:moveTo>
                <a:cubicBezTo>
                  <a:pt x="2141055" y="1205309"/>
                  <a:pt x="2139233" y="1207132"/>
                  <a:pt x="2135588" y="1208954"/>
                </a:cubicBezTo>
                <a:lnTo>
                  <a:pt x="2133766" y="1210776"/>
                </a:lnTo>
                <a:cubicBezTo>
                  <a:pt x="2133766" y="1210776"/>
                  <a:pt x="2135588" y="1212598"/>
                  <a:pt x="2135588" y="1212598"/>
                </a:cubicBezTo>
                <a:cubicBezTo>
                  <a:pt x="2139233" y="1210776"/>
                  <a:pt x="2142877" y="1208954"/>
                  <a:pt x="2144699" y="1205309"/>
                </a:cubicBezTo>
                <a:close/>
                <a:moveTo>
                  <a:pt x="1355698" y="1205309"/>
                </a:moveTo>
                <a:cubicBezTo>
                  <a:pt x="1353876" y="1205309"/>
                  <a:pt x="1352053" y="1205309"/>
                  <a:pt x="1350231" y="1207132"/>
                </a:cubicBezTo>
                <a:cubicBezTo>
                  <a:pt x="1350231" y="1207132"/>
                  <a:pt x="1352053" y="1208954"/>
                  <a:pt x="1352053" y="1208954"/>
                </a:cubicBezTo>
                <a:cubicBezTo>
                  <a:pt x="1353876" y="1208954"/>
                  <a:pt x="1353876" y="1207132"/>
                  <a:pt x="1355698" y="1205309"/>
                </a:cubicBezTo>
                <a:close/>
                <a:moveTo>
                  <a:pt x="1273700" y="1205309"/>
                </a:moveTo>
                <a:cubicBezTo>
                  <a:pt x="1270056" y="1207132"/>
                  <a:pt x="1270056" y="1210776"/>
                  <a:pt x="1268233" y="1212598"/>
                </a:cubicBezTo>
                <a:cubicBezTo>
                  <a:pt x="1273700" y="1214420"/>
                  <a:pt x="1279166" y="1214420"/>
                  <a:pt x="1284633" y="1212598"/>
                </a:cubicBezTo>
                <a:cubicBezTo>
                  <a:pt x="1282811" y="1207132"/>
                  <a:pt x="1275522" y="1208954"/>
                  <a:pt x="1273700" y="1205309"/>
                </a:cubicBezTo>
                <a:close/>
                <a:moveTo>
                  <a:pt x="1206279" y="1205309"/>
                </a:moveTo>
                <a:cubicBezTo>
                  <a:pt x="1206279" y="1207132"/>
                  <a:pt x="1202636" y="1208954"/>
                  <a:pt x="1204457" y="1210776"/>
                </a:cubicBezTo>
                <a:cubicBezTo>
                  <a:pt x="1204457" y="1210776"/>
                  <a:pt x="1206279" y="1210776"/>
                  <a:pt x="1208102" y="1207132"/>
                </a:cubicBezTo>
                <a:cubicBezTo>
                  <a:pt x="1208102" y="1207132"/>
                  <a:pt x="1206279" y="1205309"/>
                  <a:pt x="1206279" y="1205309"/>
                </a:cubicBezTo>
                <a:close/>
                <a:moveTo>
                  <a:pt x="1168014" y="1205309"/>
                </a:moveTo>
                <a:cubicBezTo>
                  <a:pt x="1162547" y="1210776"/>
                  <a:pt x="1164370" y="1216242"/>
                  <a:pt x="1160725" y="1219887"/>
                </a:cubicBezTo>
                <a:cubicBezTo>
                  <a:pt x="1162547" y="1221709"/>
                  <a:pt x="1164370" y="1221709"/>
                  <a:pt x="1166192" y="1219887"/>
                </a:cubicBezTo>
                <a:lnTo>
                  <a:pt x="1166426" y="1218013"/>
                </a:lnTo>
                <a:lnTo>
                  <a:pt x="1182592" y="1214420"/>
                </a:lnTo>
                <a:cubicBezTo>
                  <a:pt x="1182592" y="1212598"/>
                  <a:pt x="1182592" y="1216242"/>
                  <a:pt x="1184414" y="1216242"/>
                </a:cubicBezTo>
                <a:cubicBezTo>
                  <a:pt x="1188058" y="1208954"/>
                  <a:pt x="1175303" y="1207132"/>
                  <a:pt x="1169836" y="1205309"/>
                </a:cubicBezTo>
                <a:cubicBezTo>
                  <a:pt x="1168014" y="1207131"/>
                  <a:pt x="1167558" y="1209409"/>
                  <a:pt x="1167331" y="1211687"/>
                </a:cubicBezTo>
                <a:lnTo>
                  <a:pt x="1166951" y="1213813"/>
                </a:lnTo>
                <a:close/>
                <a:moveTo>
                  <a:pt x="1160725" y="1205309"/>
                </a:moveTo>
                <a:cubicBezTo>
                  <a:pt x="1158903" y="1208954"/>
                  <a:pt x="1158903" y="1210776"/>
                  <a:pt x="1160725" y="1214420"/>
                </a:cubicBezTo>
                <a:cubicBezTo>
                  <a:pt x="1160725" y="1212598"/>
                  <a:pt x="1162547" y="1208954"/>
                  <a:pt x="1162547" y="1207132"/>
                </a:cubicBezTo>
                <a:cubicBezTo>
                  <a:pt x="1162547" y="1207132"/>
                  <a:pt x="1160725" y="1205309"/>
                  <a:pt x="1160725" y="1205309"/>
                </a:cubicBezTo>
                <a:close/>
                <a:moveTo>
                  <a:pt x="1122459" y="1205309"/>
                </a:moveTo>
                <a:cubicBezTo>
                  <a:pt x="1122459" y="1207132"/>
                  <a:pt x="1126104" y="1210776"/>
                  <a:pt x="1122459" y="1212598"/>
                </a:cubicBezTo>
                <a:cubicBezTo>
                  <a:pt x="1118815" y="1212598"/>
                  <a:pt x="1118815" y="1216242"/>
                  <a:pt x="1122459" y="1219887"/>
                </a:cubicBezTo>
                <a:cubicBezTo>
                  <a:pt x="1124282" y="1218065"/>
                  <a:pt x="1124282" y="1219887"/>
                  <a:pt x="1126104" y="1218065"/>
                </a:cubicBezTo>
                <a:cubicBezTo>
                  <a:pt x="1135215" y="1218065"/>
                  <a:pt x="1129748" y="1208954"/>
                  <a:pt x="1122459" y="1205309"/>
                </a:cubicBezTo>
                <a:close/>
                <a:moveTo>
                  <a:pt x="654161" y="1205309"/>
                </a:moveTo>
                <a:cubicBezTo>
                  <a:pt x="654161" y="1208954"/>
                  <a:pt x="655983" y="1212598"/>
                  <a:pt x="657805" y="1207132"/>
                </a:cubicBezTo>
                <a:cubicBezTo>
                  <a:pt x="657805" y="1203487"/>
                  <a:pt x="655983" y="1208954"/>
                  <a:pt x="654161" y="1205309"/>
                </a:cubicBezTo>
                <a:close/>
                <a:moveTo>
                  <a:pt x="455544" y="1205309"/>
                </a:moveTo>
                <a:cubicBezTo>
                  <a:pt x="455544" y="1208954"/>
                  <a:pt x="455544" y="1212598"/>
                  <a:pt x="451899" y="1216242"/>
                </a:cubicBezTo>
                <a:cubicBezTo>
                  <a:pt x="459188" y="1219887"/>
                  <a:pt x="466478" y="1218065"/>
                  <a:pt x="466478" y="1212598"/>
                </a:cubicBezTo>
                <a:cubicBezTo>
                  <a:pt x="462832" y="1208954"/>
                  <a:pt x="459188" y="1207132"/>
                  <a:pt x="455544" y="1205309"/>
                </a:cubicBezTo>
                <a:close/>
                <a:moveTo>
                  <a:pt x="1290555" y="1204170"/>
                </a:moveTo>
                <a:cubicBezTo>
                  <a:pt x="1289644" y="1204398"/>
                  <a:pt x="1289188" y="1205309"/>
                  <a:pt x="1290100" y="1207132"/>
                </a:cubicBezTo>
                <a:cubicBezTo>
                  <a:pt x="1290100" y="1208043"/>
                  <a:pt x="1290556" y="1207587"/>
                  <a:pt x="1291239" y="1206904"/>
                </a:cubicBezTo>
                <a:lnTo>
                  <a:pt x="1292599" y="1206038"/>
                </a:lnTo>
                <a:lnTo>
                  <a:pt x="1290100" y="1208954"/>
                </a:lnTo>
                <a:cubicBezTo>
                  <a:pt x="1291922" y="1210776"/>
                  <a:pt x="1295566" y="1207132"/>
                  <a:pt x="1295566" y="1205309"/>
                </a:cubicBezTo>
                <a:lnTo>
                  <a:pt x="1293097" y="1205721"/>
                </a:lnTo>
                <a:lnTo>
                  <a:pt x="1293744" y="1205309"/>
                </a:lnTo>
                <a:cubicBezTo>
                  <a:pt x="1292834" y="1204398"/>
                  <a:pt x="1291466" y="1203943"/>
                  <a:pt x="1290555" y="1204170"/>
                </a:cubicBezTo>
                <a:close/>
                <a:moveTo>
                  <a:pt x="1281444" y="1204170"/>
                </a:moveTo>
                <a:cubicBezTo>
                  <a:pt x="1280077" y="1203487"/>
                  <a:pt x="1278255" y="1203487"/>
                  <a:pt x="1277344" y="1205309"/>
                </a:cubicBezTo>
                <a:cubicBezTo>
                  <a:pt x="1279166" y="1207132"/>
                  <a:pt x="1280989" y="1205309"/>
                  <a:pt x="1282811" y="1207132"/>
                </a:cubicBezTo>
                <a:cubicBezTo>
                  <a:pt x="1283723" y="1206221"/>
                  <a:pt x="1282811" y="1204854"/>
                  <a:pt x="1281444" y="1204170"/>
                </a:cubicBezTo>
                <a:close/>
                <a:moveTo>
                  <a:pt x="363752" y="1204170"/>
                </a:moveTo>
                <a:cubicBezTo>
                  <a:pt x="362613" y="1204854"/>
                  <a:pt x="361702" y="1206221"/>
                  <a:pt x="360791" y="1207132"/>
                </a:cubicBezTo>
                <a:cubicBezTo>
                  <a:pt x="362613" y="1207132"/>
                  <a:pt x="366257" y="1205309"/>
                  <a:pt x="368079" y="1205309"/>
                </a:cubicBezTo>
                <a:cubicBezTo>
                  <a:pt x="366257" y="1203487"/>
                  <a:pt x="364891" y="1203487"/>
                  <a:pt x="363752" y="1204170"/>
                </a:cubicBezTo>
                <a:close/>
                <a:moveTo>
                  <a:pt x="2981077" y="1203487"/>
                </a:moveTo>
                <a:cubicBezTo>
                  <a:pt x="2975610" y="1203487"/>
                  <a:pt x="2979255" y="1208954"/>
                  <a:pt x="2979255" y="1210776"/>
                </a:cubicBezTo>
                <a:cubicBezTo>
                  <a:pt x="2982899" y="1210776"/>
                  <a:pt x="2979255" y="1205309"/>
                  <a:pt x="2981077" y="1203487"/>
                </a:cubicBezTo>
                <a:close/>
                <a:moveTo>
                  <a:pt x="2849880" y="1203487"/>
                </a:moveTo>
                <a:cubicBezTo>
                  <a:pt x="2848058" y="1205309"/>
                  <a:pt x="2848058" y="1207132"/>
                  <a:pt x="2848058" y="1210776"/>
                </a:cubicBezTo>
                <a:cubicBezTo>
                  <a:pt x="2849880" y="1210776"/>
                  <a:pt x="2851703" y="1210776"/>
                  <a:pt x="2853525" y="1210776"/>
                </a:cubicBezTo>
                <a:cubicBezTo>
                  <a:pt x="2853525" y="1207132"/>
                  <a:pt x="2849880" y="1207132"/>
                  <a:pt x="2849880" y="1203487"/>
                </a:cubicBezTo>
                <a:close/>
                <a:moveTo>
                  <a:pt x="2055413" y="1203487"/>
                </a:moveTo>
                <a:cubicBezTo>
                  <a:pt x="2051768" y="1203487"/>
                  <a:pt x="2048124" y="1205309"/>
                  <a:pt x="2046302" y="1207132"/>
                </a:cubicBezTo>
                <a:lnTo>
                  <a:pt x="2049946" y="1210776"/>
                </a:lnTo>
                <a:cubicBezTo>
                  <a:pt x="2051768" y="1208954"/>
                  <a:pt x="2049946" y="1205309"/>
                  <a:pt x="2055413" y="1203487"/>
                </a:cubicBezTo>
                <a:close/>
                <a:moveTo>
                  <a:pt x="1417652" y="1203487"/>
                </a:moveTo>
                <a:cubicBezTo>
                  <a:pt x="1415829" y="1205309"/>
                  <a:pt x="1412185" y="1207132"/>
                  <a:pt x="1410363" y="1208954"/>
                </a:cubicBezTo>
                <a:cubicBezTo>
                  <a:pt x="1412185" y="1208954"/>
                  <a:pt x="1419474" y="1207132"/>
                  <a:pt x="1417652" y="1203487"/>
                </a:cubicBezTo>
                <a:close/>
                <a:moveTo>
                  <a:pt x="1361164" y="1203487"/>
                </a:moveTo>
                <a:cubicBezTo>
                  <a:pt x="1357521" y="1203487"/>
                  <a:pt x="1353876" y="1207132"/>
                  <a:pt x="1352053" y="1210776"/>
                </a:cubicBezTo>
                <a:cubicBezTo>
                  <a:pt x="1353876" y="1212598"/>
                  <a:pt x="1353876" y="1210776"/>
                  <a:pt x="1355698" y="1212598"/>
                </a:cubicBezTo>
                <a:cubicBezTo>
                  <a:pt x="1357521" y="1208954"/>
                  <a:pt x="1361164" y="1207132"/>
                  <a:pt x="1361164" y="1203487"/>
                </a:cubicBezTo>
                <a:close/>
                <a:moveTo>
                  <a:pt x="1257300" y="1203487"/>
                </a:moveTo>
                <a:lnTo>
                  <a:pt x="1257466" y="1203515"/>
                </a:lnTo>
                <a:lnTo>
                  <a:pt x="1253656" y="1207132"/>
                </a:lnTo>
                <a:lnTo>
                  <a:pt x="1246833" y="1206976"/>
                </a:lnTo>
                <a:close/>
                <a:moveTo>
                  <a:pt x="1151614" y="1203487"/>
                </a:moveTo>
                <a:cubicBezTo>
                  <a:pt x="1153436" y="1207132"/>
                  <a:pt x="1155259" y="1208954"/>
                  <a:pt x="1157081" y="1210776"/>
                </a:cubicBezTo>
                <a:cubicBezTo>
                  <a:pt x="1158903" y="1210776"/>
                  <a:pt x="1158903" y="1208954"/>
                  <a:pt x="1158903" y="1205309"/>
                </a:cubicBezTo>
                <a:cubicBezTo>
                  <a:pt x="1157081" y="1203487"/>
                  <a:pt x="1153436" y="1203487"/>
                  <a:pt x="1151614" y="1203487"/>
                </a:cubicBezTo>
                <a:close/>
                <a:moveTo>
                  <a:pt x="1014951" y="1203487"/>
                </a:moveTo>
                <a:cubicBezTo>
                  <a:pt x="1018596" y="1207132"/>
                  <a:pt x="1020418" y="1210776"/>
                  <a:pt x="1024062" y="1208954"/>
                </a:cubicBezTo>
                <a:cubicBezTo>
                  <a:pt x="1024062" y="1210776"/>
                  <a:pt x="1022240" y="1210776"/>
                  <a:pt x="1024062" y="1214420"/>
                </a:cubicBezTo>
                <a:cubicBezTo>
                  <a:pt x="1025884" y="1212598"/>
                  <a:pt x="1025884" y="1210776"/>
                  <a:pt x="1027707" y="1208954"/>
                </a:cubicBezTo>
                <a:cubicBezTo>
                  <a:pt x="1024062" y="1205309"/>
                  <a:pt x="1020418" y="1201665"/>
                  <a:pt x="1014951" y="1203487"/>
                </a:cubicBezTo>
                <a:close/>
                <a:moveTo>
                  <a:pt x="240527" y="1203487"/>
                </a:moveTo>
                <a:cubicBezTo>
                  <a:pt x="238705" y="1203487"/>
                  <a:pt x="240527" y="1205309"/>
                  <a:pt x="240527" y="1205309"/>
                </a:cubicBezTo>
                <a:cubicBezTo>
                  <a:pt x="242349" y="1207132"/>
                  <a:pt x="245994" y="1205309"/>
                  <a:pt x="245994" y="1205309"/>
                </a:cubicBezTo>
                <a:cubicBezTo>
                  <a:pt x="244172" y="1203487"/>
                  <a:pt x="242349" y="1205309"/>
                  <a:pt x="240527" y="1203487"/>
                </a:cubicBezTo>
                <a:close/>
                <a:moveTo>
                  <a:pt x="2838036" y="1202804"/>
                </a:moveTo>
                <a:cubicBezTo>
                  <a:pt x="2837125" y="1203487"/>
                  <a:pt x="2836214" y="1204398"/>
                  <a:pt x="2835303" y="1203487"/>
                </a:cubicBezTo>
                <a:cubicBezTo>
                  <a:pt x="2835303" y="1207132"/>
                  <a:pt x="2835303" y="1208954"/>
                  <a:pt x="2835303" y="1212598"/>
                </a:cubicBezTo>
                <a:cubicBezTo>
                  <a:pt x="2840769" y="1214420"/>
                  <a:pt x="2837125" y="1205309"/>
                  <a:pt x="2840769" y="1203487"/>
                </a:cubicBezTo>
                <a:cubicBezTo>
                  <a:pt x="2839858" y="1201665"/>
                  <a:pt x="2838947" y="1202121"/>
                  <a:pt x="2838036" y="1202804"/>
                </a:cubicBezTo>
                <a:close/>
                <a:moveTo>
                  <a:pt x="1134987" y="1202719"/>
                </a:moveTo>
                <a:cubicBezTo>
                  <a:pt x="1132596" y="1202007"/>
                  <a:pt x="1130204" y="1202121"/>
                  <a:pt x="1127926" y="1203487"/>
                </a:cubicBezTo>
                <a:cubicBezTo>
                  <a:pt x="1127926" y="1205309"/>
                  <a:pt x="1129748" y="1207132"/>
                  <a:pt x="1131570" y="1208954"/>
                </a:cubicBezTo>
                <a:cubicBezTo>
                  <a:pt x="1133393" y="1207132"/>
                  <a:pt x="1133393" y="1207132"/>
                  <a:pt x="1133393" y="1205309"/>
                </a:cubicBezTo>
                <a:cubicBezTo>
                  <a:pt x="1135215" y="1203487"/>
                  <a:pt x="1135215" y="1207132"/>
                  <a:pt x="1133393" y="1208954"/>
                </a:cubicBezTo>
                <a:cubicBezTo>
                  <a:pt x="1135215" y="1210776"/>
                  <a:pt x="1142503" y="1212598"/>
                  <a:pt x="1138859" y="1216242"/>
                </a:cubicBezTo>
                <a:cubicBezTo>
                  <a:pt x="1144326" y="1218065"/>
                  <a:pt x="1149792" y="1219887"/>
                  <a:pt x="1153436" y="1219887"/>
                </a:cubicBezTo>
                <a:cubicBezTo>
                  <a:pt x="1149337" y="1214420"/>
                  <a:pt x="1142162" y="1204854"/>
                  <a:pt x="1134987" y="1202719"/>
                </a:cubicBezTo>
                <a:close/>
                <a:moveTo>
                  <a:pt x="3211355" y="1201893"/>
                </a:moveTo>
                <a:cubicBezTo>
                  <a:pt x="3208849" y="1201665"/>
                  <a:pt x="3205205" y="1202576"/>
                  <a:pt x="3203382" y="1203487"/>
                </a:cubicBezTo>
                <a:cubicBezTo>
                  <a:pt x="3207027" y="1205309"/>
                  <a:pt x="3205204" y="1210776"/>
                  <a:pt x="3208849" y="1210776"/>
                </a:cubicBezTo>
                <a:cubicBezTo>
                  <a:pt x="3208849" y="1207132"/>
                  <a:pt x="3208849" y="1205309"/>
                  <a:pt x="3208849" y="1203487"/>
                </a:cubicBezTo>
                <a:cubicBezTo>
                  <a:pt x="3210671" y="1203487"/>
                  <a:pt x="3212493" y="1205309"/>
                  <a:pt x="3212493" y="1207132"/>
                </a:cubicBezTo>
                <a:cubicBezTo>
                  <a:pt x="3215227" y="1203487"/>
                  <a:pt x="3213860" y="1202121"/>
                  <a:pt x="3211355" y="1201893"/>
                </a:cubicBezTo>
                <a:close/>
                <a:moveTo>
                  <a:pt x="2359716" y="1201665"/>
                </a:moveTo>
                <a:cubicBezTo>
                  <a:pt x="2356071" y="1205309"/>
                  <a:pt x="2345138" y="1205309"/>
                  <a:pt x="2345138" y="1214420"/>
                </a:cubicBezTo>
                <a:cubicBezTo>
                  <a:pt x="2352427" y="1208954"/>
                  <a:pt x="2354249" y="1214420"/>
                  <a:pt x="2356071" y="1219887"/>
                </a:cubicBezTo>
                <a:lnTo>
                  <a:pt x="2367004" y="1218065"/>
                </a:lnTo>
                <a:cubicBezTo>
                  <a:pt x="2367004" y="1216242"/>
                  <a:pt x="2365182" y="1216242"/>
                  <a:pt x="2361538" y="1218065"/>
                </a:cubicBezTo>
                <a:cubicBezTo>
                  <a:pt x="2367004" y="1210776"/>
                  <a:pt x="2354249" y="1210776"/>
                  <a:pt x="2354249" y="1205309"/>
                </a:cubicBezTo>
                <a:cubicBezTo>
                  <a:pt x="2357893" y="1203487"/>
                  <a:pt x="2354249" y="1208954"/>
                  <a:pt x="2359716" y="1207132"/>
                </a:cubicBezTo>
                <a:cubicBezTo>
                  <a:pt x="2359716" y="1205309"/>
                  <a:pt x="2363360" y="1203487"/>
                  <a:pt x="2363360" y="1201665"/>
                </a:cubicBezTo>
                <a:cubicBezTo>
                  <a:pt x="2361538" y="1201665"/>
                  <a:pt x="2361538" y="1201665"/>
                  <a:pt x="2359716" y="1201665"/>
                </a:cubicBezTo>
                <a:close/>
                <a:moveTo>
                  <a:pt x="2213942" y="1201665"/>
                </a:moveTo>
                <a:lnTo>
                  <a:pt x="2210297" y="1210776"/>
                </a:lnTo>
                <a:lnTo>
                  <a:pt x="2224875" y="1227175"/>
                </a:lnTo>
                <a:lnTo>
                  <a:pt x="2228519" y="1225353"/>
                </a:lnTo>
                <a:cubicBezTo>
                  <a:pt x="2226697" y="1214420"/>
                  <a:pt x="2223053" y="1201665"/>
                  <a:pt x="2213942" y="1201665"/>
                </a:cubicBezTo>
                <a:close/>
                <a:moveTo>
                  <a:pt x="1235434" y="1201665"/>
                </a:moveTo>
                <a:cubicBezTo>
                  <a:pt x="1240901" y="1199843"/>
                  <a:pt x="1244545" y="1203487"/>
                  <a:pt x="1248189" y="1203487"/>
                </a:cubicBezTo>
                <a:lnTo>
                  <a:pt x="1240783" y="1206450"/>
                </a:lnTo>
                <a:lnTo>
                  <a:pt x="1238368" y="1206066"/>
                </a:lnTo>
                <a:close/>
                <a:moveTo>
                  <a:pt x="843667" y="1201665"/>
                </a:moveTo>
                <a:cubicBezTo>
                  <a:pt x="843667" y="1201665"/>
                  <a:pt x="841845" y="1203487"/>
                  <a:pt x="841845" y="1205309"/>
                </a:cubicBezTo>
                <a:cubicBezTo>
                  <a:pt x="843667" y="1201665"/>
                  <a:pt x="843667" y="1208954"/>
                  <a:pt x="847311" y="1205309"/>
                </a:cubicBezTo>
                <a:cubicBezTo>
                  <a:pt x="845489" y="1203487"/>
                  <a:pt x="845489" y="1203487"/>
                  <a:pt x="843667" y="1201665"/>
                </a:cubicBezTo>
                <a:close/>
                <a:moveTo>
                  <a:pt x="457367" y="1201665"/>
                </a:moveTo>
                <a:cubicBezTo>
                  <a:pt x="457367" y="1205309"/>
                  <a:pt x="464655" y="1207132"/>
                  <a:pt x="462832" y="1203487"/>
                </a:cubicBezTo>
                <a:cubicBezTo>
                  <a:pt x="461010" y="1205309"/>
                  <a:pt x="457367" y="1201665"/>
                  <a:pt x="457367" y="1201665"/>
                </a:cubicBezTo>
                <a:close/>
                <a:moveTo>
                  <a:pt x="371724" y="1201665"/>
                </a:moveTo>
                <a:cubicBezTo>
                  <a:pt x="369902" y="1201665"/>
                  <a:pt x="368079" y="1201665"/>
                  <a:pt x="368079" y="1203487"/>
                </a:cubicBezTo>
                <a:cubicBezTo>
                  <a:pt x="369902" y="1205309"/>
                  <a:pt x="373546" y="1201665"/>
                  <a:pt x="371724" y="1201665"/>
                </a:cubicBezTo>
                <a:close/>
                <a:moveTo>
                  <a:pt x="362613" y="1201665"/>
                </a:moveTo>
                <a:cubicBezTo>
                  <a:pt x="355324" y="1199843"/>
                  <a:pt x="351680" y="1201665"/>
                  <a:pt x="348037" y="1205309"/>
                </a:cubicBezTo>
                <a:cubicBezTo>
                  <a:pt x="344391" y="1207132"/>
                  <a:pt x="337102" y="1207132"/>
                  <a:pt x="335280" y="1210776"/>
                </a:cubicBezTo>
                <a:cubicBezTo>
                  <a:pt x="348037" y="1212598"/>
                  <a:pt x="355324" y="1205309"/>
                  <a:pt x="362613" y="1201665"/>
                </a:cubicBezTo>
                <a:close/>
                <a:moveTo>
                  <a:pt x="286082" y="1201665"/>
                </a:moveTo>
                <a:cubicBezTo>
                  <a:pt x="291549" y="1201665"/>
                  <a:pt x="293370" y="1201665"/>
                  <a:pt x="295193" y="1205309"/>
                </a:cubicBezTo>
                <a:lnTo>
                  <a:pt x="305795" y="1209285"/>
                </a:lnTo>
                <a:lnTo>
                  <a:pt x="302481" y="1212598"/>
                </a:lnTo>
                <a:cubicBezTo>
                  <a:pt x="306126" y="1212598"/>
                  <a:pt x="309771" y="1216242"/>
                  <a:pt x="311592" y="1214420"/>
                </a:cubicBezTo>
                <a:lnTo>
                  <a:pt x="306854" y="1209682"/>
                </a:lnTo>
                <a:lnTo>
                  <a:pt x="309771" y="1210776"/>
                </a:lnTo>
                <a:lnTo>
                  <a:pt x="306809" y="1209637"/>
                </a:lnTo>
                <a:lnTo>
                  <a:pt x="306126" y="1208954"/>
                </a:lnTo>
                <a:lnTo>
                  <a:pt x="305822" y="1209258"/>
                </a:lnTo>
                <a:close/>
                <a:moveTo>
                  <a:pt x="307036" y="1201437"/>
                </a:moveTo>
                <a:cubicBezTo>
                  <a:pt x="304759" y="1201209"/>
                  <a:pt x="302481" y="1201665"/>
                  <a:pt x="300660" y="1201665"/>
                </a:cubicBezTo>
                <a:cubicBezTo>
                  <a:pt x="306126" y="1207132"/>
                  <a:pt x="309771" y="1207132"/>
                  <a:pt x="313414" y="1205309"/>
                </a:cubicBezTo>
                <a:cubicBezTo>
                  <a:pt x="311592" y="1202576"/>
                  <a:pt x="309315" y="1201665"/>
                  <a:pt x="307036" y="1201437"/>
                </a:cubicBezTo>
                <a:close/>
                <a:moveTo>
                  <a:pt x="241211" y="1201209"/>
                </a:moveTo>
                <a:cubicBezTo>
                  <a:pt x="239616" y="1200754"/>
                  <a:pt x="237795" y="1200754"/>
                  <a:pt x="236883" y="1201665"/>
                </a:cubicBezTo>
                <a:cubicBezTo>
                  <a:pt x="240527" y="1203487"/>
                  <a:pt x="242349" y="1201665"/>
                  <a:pt x="244172" y="1203487"/>
                </a:cubicBezTo>
                <a:cubicBezTo>
                  <a:pt x="244172" y="1202576"/>
                  <a:pt x="242805" y="1201665"/>
                  <a:pt x="241211" y="1201209"/>
                </a:cubicBezTo>
                <a:close/>
                <a:moveTo>
                  <a:pt x="484987" y="1200642"/>
                </a:moveTo>
                <a:lnTo>
                  <a:pt x="486521" y="1201665"/>
                </a:lnTo>
                <a:lnTo>
                  <a:pt x="484236" y="1201121"/>
                </a:lnTo>
                <a:lnTo>
                  <a:pt x="485041" y="1200754"/>
                </a:lnTo>
                <a:close/>
                <a:moveTo>
                  <a:pt x="2623931" y="1200526"/>
                </a:moveTo>
                <a:cubicBezTo>
                  <a:pt x="2622565" y="1199843"/>
                  <a:pt x="2621198" y="1199843"/>
                  <a:pt x="2620287" y="1201665"/>
                </a:cubicBezTo>
                <a:cubicBezTo>
                  <a:pt x="2620287" y="1201665"/>
                  <a:pt x="2620287" y="1203487"/>
                  <a:pt x="2620287" y="1203487"/>
                </a:cubicBezTo>
                <a:cubicBezTo>
                  <a:pt x="2622109" y="1203487"/>
                  <a:pt x="2623931" y="1203487"/>
                  <a:pt x="2627575" y="1203487"/>
                </a:cubicBezTo>
                <a:cubicBezTo>
                  <a:pt x="2626664" y="1202576"/>
                  <a:pt x="2625298" y="1201209"/>
                  <a:pt x="2623931" y="1200526"/>
                </a:cubicBezTo>
                <a:close/>
                <a:moveTo>
                  <a:pt x="1230697" y="1200207"/>
                </a:moveTo>
                <a:lnTo>
                  <a:pt x="1231790" y="1203487"/>
                </a:lnTo>
                <a:lnTo>
                  <a:pt x="1219036" y="1205309"/>
                </a:lnTo>
                <a:lnTo>
                  <a:pt x="1226323" y="1201665"/>
                </a:lnTo>
                <a:close/>
                <a:moveTo>
                  <a:pt x="2408914" y="1199843"/>
                </a:moveTo>
                <a:cubicBezTo>
                  <a:pt x="2405270" y="1203487"/>
                  <a:pt x="2399803" y="1205309"/>
                  <a:pt x="2397981" y="1208954"/>
                </a:cubicBezTo>
                <a:cubicBezTo>
                  <a:pt x="2407092" y="1207132"/>
                  <a:pt x="2407092" y="1208954"/>
                  <a:pt x="2414381" y="1208954"/>
                </a:cubicBezTo>
                <a:cubicBezTo>
                  <a:pt x="2414381" y="1203487"/>
                  <a:pt x="2410737" y="1203487"/>
                  <a:pt x="2408914" y="1199843"/>
                </a:cubicBezTo>
                <a:close/>
                <a:moveTo>
                  <a:pt x="1299210" y="1199843"/>
                </a:moveTo>
                <a:lnTo>
                  <a:pt x="1309436" y="1201547"/>
                </a:lnTo>
                <a:lnTo>
                  <a:pt x="1304904" y="1202121"/>
                </a:lnTo>
                <a:lnTo>
                  <a:pt x="1300239" y="1201993"/>
                </a:lnTo>
                <a:lnTo>
                  <a:pt x="1299666" y="1201665"/>
                </a:lnTo>
                <a:cubicBezTo>
                  <a:pt x="1298755" y="1201209"/>
                  <a:pt x="1298299" y="1200754"/>
                  <a:pt x="1299210" y="1199843"/>
                </a:cubicBezTo>
                <a:close/>
                <a:moveTo>
                  <a:pt x="1231790" y="1199843"/>
                </a:moveTo>
                <a:lnTo>
                  <a:pt x="1234601" y="1205466"/>
                </a:lnTo>
                <a:lnTo>
                  <a:pt x="1233612" y="1205309"/>
                </a:lnTo>
                <a:lnTo>
                  <a:pt x="1231010" y="1200103"/>
                </a:lnTo>
                <a:close/>
                <a:moveTo>
                  <a:pt x="883755" y="1199843"/>
                </a:moveTo>
                <a:cubicBezTo>
                  <a:pt x="881933" y="1201665"/>
                  <a:pt x="885577" y="1205309"/>
                  <a:pt x="885577" y="1207132"/>
                </a:cubicBezTo>
                <a:cubicBezTo>
                  <a:pt x="887399" y="1205309"/>
                  <a:pt x="885577" y="1203487"/>
                  <a:pt x="887399" y="1201665"/>
                </a:cubicBezTo>
                <a:cubicBezTo>
                  <a:pt x="885577" y="1201665"/>
                  <a:pt x="885577" y="1199843"/>
                  <a:pt x="883755" y="1199843"/>
                </a:cubicBezTo>
                <a:close/>
                <a:moveTo>
                  <a:pt x="810868" y="1199843"/>
                </a:moveTo>
                <a:cubicBezTo>
                  <a:pt x="805401" y="1201665"/>
                  <a:pt x="812690" y="1203487"/>
                  <a:pt x="812690" y="1207132"/>
                </a:cubicBezTo>
                <a:cubicBezTo>
                  <a:pt x="814512" y="1205309"/>
                  <a:pt x="810868" y="1201665"/>
                  <a:pt x="810868" y="1199843"/>
                </a:cubicBezTo>
                <a:close/>
                <a:moveTo>
                  <a:pt x="413634" y="1199843"/>
                </a:moveTo>
                <a:cubicBezTo>
                  <a:pt x="413634" y="1199843"/>
                  <a:pt x="411812" y="1201665"/>
                  <a:pt x="409989" y="1201665"/>
                </a:cubicBezTo>
                <a:cubicBezTo>
                  <a:pt x="411812" y="1203487"/>
                  <a:pt x="417278" y="1205309"/>
                  <a:pt x="419100" y="1203487"/>
                </a:cubicBezTo>
                <a:cubicBezTo>
                  <a:pt x="417278" y="1201665"/>
                  <a:pt x="415456" y="1201665"/>
                  <a:pt x="413634" y="1199843"/>
                </a:cubicBezTo>
                <a:close/>
                <a:moveTo>
                  <a:pt x="275604" y="1199160"/>
                </a:moveTo>
                <a:cubicBezTo>
                  <a:pt x="271504" y="1198932"/>
                  <a:pt x="267860" y="1199843"/>
                  <a:pt x="266038" y="1201665"/>
                </a:cubicBezTo>
                <a:cubicBezTo>
                  <a:pt x="275149" y="1203487"/>
                  <a:pt x="286082" y="1212598"/>
                  <a:pt x="293370" y="1210776"/>
                </a:cubicBezTo>
                <a:lnTo>
                  <a:pt x="291549" y="1208954"/>
                </a:lnTo>
                <a:cubicBezTo>
                  <a:pt x="293370" y="1210776"/>
                  <a:pt x="297015" y="1214420"/>
                  <a:pt x="300660" y="1214420"/>
                </a:cubicBezTo>
                <a:cubicBezTo>
                  <a:pt x="298837" y="1208954"/>
                  <a:pt x="297015" y="1208954"/>
                  <a:pt x="291549" y="1207132"/>
                </a:cubicBezTo>
                <a:cubicBezTo>
                  <a:pt x="291549" y="1207132"/>
                  <a:pt x="291549" y="1208954"/>
                  <a:pt x="291549" y="1208954"/>
                </a:cubicBezTo>
                <a:cubicBezTo>
                  <a:pt x="287904" y="1205309"/>
                  <a:pt x="284259" y="1205309"/>
                  <a:pt x="278793" y="1201665"/>
                </a:cubicBezTo>
                <a:lnTo>
                  <a:pt x="283279" y="1201860"/>
                </a:lnTo>
                <a:lnTo>
                  <a:pt x="287904" y="1203487"/>
                </a:lnTo>
                <a:cubicBezTo>
                  <a:pt x="286993" y="1204398"/>
                  <a:pt x="285626" y="1203031"/>
                  <a:pt x="284032" y="1201893"/>
                </a:cubicBezTo>
                <a:lnTo>
                  <a:pt x="283279" y="1201860"/>
                </a:lnTo>
                <a:close/>
                <a:moveTo>
                  <a:pt x="437777" y="1199159"/>
                </a:moveTo>
                <a:cubicBezTo>
                  <a:pt x="435044" y="1201209"/>
                  <a:pt x="432766" y="1204398"/>
                  <a:pt x="430034" y="1205309"/>
                </a:cubicBezTo>
                <a:cubicBezTo>
                  <a:pt x="433677" y="1206221"/>
                  <a:pt x="435955" y="1209409"/>
                  <a:pt x="438461" y="1211915"/>
                </a:cubicBezTo>
                <a:lnTo>
                  <a:pt x="447211" y="1214153"/>
                </a:lnTo>
                <a:lnTo>
                  <a:pt x="448256" y="1216242"/>
                </a:lnTo>
                <a:cubicBezTo>
                  <a:pt x="453722" y="1207132"/>
                  <a:pt x="450077" y="1203487"/>
                  <a:pt x="442789" y="1199843"/>
                </a:cubicBezTo>
                <a:cubicBezTo>
                  <a:pt x="444611" y="1199843"/>
                  <a:pt x="444611" y="1199843"/>
                  <a:pt x="448256" y="1199843"/>
                </a:cubicBezTo>
                <a:cubicBezTo>
                  <a:pt x="443699" y="1196198"/>
                  <a:pt x="440511" y="1197109"/>
                  <a:pt x="437777" y="1199159"/>
                </a:cubicBezTo>
                <a:close/>
                <a:moveTo>
                  <a:pt x="3367164" y="1199093"/>
                </a:moveTo>
                <a:lnTo>
                  <a:pt x="3368627" y="1200068"/>
                </a:lnTo>
                <a:lnTo>
                  <a:pt x="3365556" y="1207132"/>
                </a:lnTo>
                <a:cubicBezTo>
                  <a:pt x="3362823" y="1207132"/>
                  <a:pt x="3364645" y="1204854"/>
                  <a:pt x="3366467" y="1202577"/>
                </a:cubicBezTo>
                <a:close/>
                <a:moveTo>
                  <a:pt x="1028468" y="1198646"/>
                </a:moveTo>
                <a:lnTo>
                  <a:pt x="1030212" y="1199615"/>
                </a:lnTo>
                <a:lnTo>
                  <a:pt x="1030027" y="1201665"/>
                </a:lnTo>
                <a:lnTo>
                  <a:pt x="1029529" y="1201665"/>
                </a:lnTo>
                <a:cubicBezTo>
                  <a:pt x="1031351" y="1203487"/>
                  <a:pt x="1029529" y="1205309"/>
                  <a:pt x="1029529" y="1207132"/>
                </a:cubicBezTo>
                <a:close/>
                <a:moveTo>
                  <a:pt x="3367378" y="1198021"/>
                </a:moveTo>
                <a:lnTo>
                  <a:pt x="3367164" y="1199093"/>
                </a:lnTo>
                <a:lnTo>
                  <a:pt x="3366446" y="1198614"/>
                </a:lnTo>
                <a:close/>
                <a:moveTo>
                  <a:pt x="3303602" y="1198021"/>
                </a:moveTo>
                <a:cubicBezTo>
                  <a:pt x="3299957" y="1198021"/>
                  <a:pt x="3298135" y="1199843"/>
                  <a:pt x="3296313" y="1201665"/>
                </a:cubicBezTo>
                <a:cubicBezTo>
                  <a:pt x="3301780" y="1198021"/>
                  <a:pt x="3301780" y="1205309"/>
                  <a:pt x="3305424" y="1207132"/>
                </a:cubicBezTo>
                <a:cubicBezTo>
                  <a:pt x="3303602" y="1205309"/>
                  <a:pt x="3303602" y="1201665"/>
                  <a:pt x="3303602" y="1198021"/>
                </a:cubicBezTo>
                <a:close/>
                <a:moveTo>
                  <a:pt x="3165116" y="1198021"/>
                </a:moveTo>
                <a:cubicBezTo>
                  <a:pt x="3163294" y="1198021"/>
                  <a:pt x="3165116" y="1199843"/>
                  <a:pt x="3165116" y="1201665"/>
                </a:cubicBezTo>
                <a:cubicBezTo>
                  <a:pt x="3165116" y="1203487"/>
                  <a:pt x="3161472" y="1203487"/>
                  <a:pt x="3163294" y="1207132"/>
                </a:cubicBezTo>
                <a:cubicBezTo>
                  <a:pt x="3165116" y="1207132"/>
                  <a:pt x="3165116" y="1207132"/>
                  <a:pt x="3166939" y="1207132"/>
                </a:cubicBezTo>
                <a:cubicBezTo>
                  <a:pt x="3165116" y="1205309"/>
                  <a:pt x="3165116" y="1203487"/>
                  <a:pt x="3166939" y="1205309"/>
                </a:cubicBezTo>
                <a:cubicBezTo>
                  <a:pt x="3168761" y="1199843"/>
                  <a:pt x="3165116" y="1199843"/>
                  <a:pt x="3165116" y="1198021"/>
                </a:cubicBezTo>
                <a:close/>
                <a:moveTo>
                  <a:pt x="2186609" y="1198021"/>
                </a:moveTo>
                <a:cubicBezTo>
                  <a:pt x="2179320" y="1196199"/>
                  <a:pt x="2161099" y="1198021"/>
                  <a:pt x="2161099" y="1207132"/>
                </a:cubicBezTo>
                <a:cubicBezTo>
                  <a:pt x="2151988" y="1205309"/>
                  <a:pt x="2144699" y="1207132"/>
                  <a:pt x="2137410" y="1212598"/>
                </a:cubicBezTo>
                <a:lnTo>
                  <a:pt x="2141055" y="1216242"/>
                </a:lnTo>
                <a:cubicBezTo>
                  <a:pt x="2161099" y="1203487"/>
                  <a:pt x="2148344" y="1212598"/>
                  <a:pt x="2155632" y="1216242"/>
                </a:cubicBezTo>
                <a:cubicBezTo>
                  <a:pt x="2157454" y="1219887"/>
                  <a:pt x="2159277" y="1221709"/>
                  <a:pt x="2161099" y="1221709"/>
                </a:cubicBezTo>
                <a:cubicBezTo>
                  <a:pt x="2161099" y="1223531"/>
                  <a:pt x="2159277" y="1223531"/>
                  <a:pt x="2159277" y="1225353"/>
                </a:cubicBezTo>
                <a:cubicBezTo>
                  <a:pt x="2164743" y="1227175"/>
                  <a:pt x="2170210" y="1223531"/>
                  <a:pt x="2166565" y="1219887"/>
                </a:cubicBezTo>
                <a:cubicBezTo>
                  <a:pt x="2168387" y="1219887"/>
                  <a:pt x="2170210" y="1218065"/>
                  <a:pt x="2172032" y="1218065"/>
                </a:cubicBezTo>
                <a:lnTo>
                  <a:pt x="2173854" y="1218065"/>
                </a:lnTo>
                <a:cubicBezTo>
                  <a:pt x="2179320" y="1216242"/>
                  <a:pt x="2184787" y="1212598"/>
                  <a:pt x="2190253" y="1208954"/>
                </a:cubicBezTo>
                <a:cubicBezTo>
                  <a:pt x="2186609" y="1203487"/>
                  <a:pt x="2188431" y="1208954"/>
                  <a:pt x="2190253" y="1199843"/>
                </a:cubicBezTo>
                <a:cubicBezTo>
                  <a:pt x="2190253" y="1199843"/>
                  <a:pt x="2188431" y="1201665"/>
                  <a:pt x="2188431" y="1203487"/>
                </a:cubicBezTo>
                <a:cubicBezTo>
                  <a:pt x="2186609" y="1201665"/>
                  <a:pt x="2182965" y="1198021"/>
                  <a:pt x="2186609" y="1198021"/>
                </a:cubicBezTo>
                <a:close/>
                <a:moveTo>
                  <a:pt x="1415829" y="1198021"/>
                </a:moveTo>
                <a:cubicBezTo>
                  <a:pt x="1401252" y="1198021"/>
                  <a:pt x="1381208" y="1201665"/>
                  <a:pt x="1364809" y="1219887"/>
                </a:cubicBezTo>
                <a:cubicBezTo>
                  <a:pt x="1368453" y="1221709"/>
                  <a:pt x="1373920" y="1218065"/>
                  <a:pt x="1379386" y="1212598"/>
                </a:cubicBezTo>
                <a:cubicBezTo>
                  <a:pt x="1381208" y="1214420"/>
                  <a:pt x="1379386" y="1214420"/>
                  <a:pt x="1377564" y="1216242"/>
                </a:cubicBezTo>
                <a:cubicBezTo>
                  <a:pt x="1379386" y="1218065"/>
                  <a:pt x="1384854" y="1216242"/>
                  <a:pt x="1384854" y="1214420"/>
                </a:cubicBezTo>
                <a:cubicBezTo>
                  <a:pt x="1386676" y="1212598"/>
                  <a:pt x="1386676" y="1216242"/>
                  <a:pt x="1388497" y="1216242"/>
                </a:cubicBezTo>
                <a:cubicBezTo>
                  <a:pt x="1397608" y="1210776"/>
                  <a:pt x="1406719" y="1212598"/>
                  <a:pt x="1415829" y="1201665"/>
                </a:cubicBezTo>
                <a:cubicBezTo>
                  <a:pt x="1415829" y="1199843"/>
                  <a:pt x="1415829" y="1199843"/>
                  <a:pt x="1415829" y="1198021"/>
                </a:cubicBezTo>
                <a:close/>
                <a:moveTo>
                  <a:pt x="1229969" y="1198021"/>
                </a:moveTo>
                <a:lnTo>
                  <a:pt x="1231010" y="1200103"/>
                </a:lnTo>
                <a:lnTo>
                  <a:pt x="1230697" y="1200207"/>
                </a:lnTo>
                <a:close/>
                <a:moveTo>
                  <a:pt x="1005840" y="1198021"/>
                </a:moveTo>
                <a:cubicBezTo>
                  <a:pt x="1004018" y="1199843"/>
                  <a:pt x="1002196" y="1205309"/>
                  <a:pt x="1005840" y="1207132"/>
                </a:cubicBezTo>
                <a:cubicBezTo>
                  <a:pt x="1007663" y="1207132"/>
                  <a:pt x="1005840" y="1205309"/>
                  <a:pt x="1007663" y="1203487"/>
                </a:cubicBezTo>
                <a:cubicBezTo>
                  <a:pt x="1009485" y="1201665"/>
                  <a:pt x="1011307" y="1205309"/>
                  <a:pt x="1013129" y="1201665"/>
                </a:cubicBezTo>
                <a:cubicBezTo>
                  <a:pt x="1011307" y="1199843"/>
                  <a:pt x="1011307" y="1199843"/>
                  <a:pt x="1009485" y="1198021"/>
                </a:cubicBezTo>
                <a:cubicBezTo>
                  <a:pt x="1007663" y="1198021"/>
                  <a:pt x="1007663" y="1199843"/>
                  <a:pt x="1005840" y="1198021"/>
                </a:cubicBezTo>
                <a:close/>
                <a:moveTo>
                  <a:pt x="996729" y="1198021"/>
                </a:moveTo>
                <a:lnTo>
                  <a:pt x="995727" y="1204034"/>
                </a:lnTo>
                <a:lnTo>
                  <a:pt x="994907" y="1203487"/>
                </a:lnTo>
                <a:cubicBezTo>
                  <a:pt x="996729" y="1205309"/>
                  <a:pt x="996729" y="1207132"/>
                  <a:pt x="994907" y="1208954"/>
                </a:cubicBezTo>
                <a:lnTo>
                  <a:pt x="995727" y="1204034"/>
                </a:lnTo>
                <a:lnTo>
                  <a:pt x="996957" y="1204854"/>
                </a:lnTo>
                <a:cubicBezTo>
                  <a:pt x="997641" y="1205765"/>
                  <a:pt x="998552" y="1206221"/>
                  <a:pt x="1000374" y="1203487"/>
                </a:cubicBezTo>
                <a:cubicBezTo>
                  <a:pt x="996729" y="1203487"/>
                  <a:pt x="998552" y="1199843"/>
                  <a:pt x="996729" y="1198021"/>
                </a:cubicBezTo>
                <a:close/>
                <a:moveTo>
                  <a:pt x="940242" y="1198021"/>
                </a:moveTo>
                <a:lnTo>
                  <a:pt x="936646" y="1200418"/>
                </a:lnTo>
                <a:lnTo>
                  <a:pt x="936598" y="1199843"/>
                </a:lnTo>
                <a:cubicBezTo>
                  <a:pt x="934777" y="1199843"/>
                  <a:pt x="934777" y="1201665"/>
                  <a:pt x="934777" y="1201665"/>
                </a:cubicBezTo>
                <a:lnTo>
                  <a:pt x="936646" y="1200418"/>
                </a:lnTo>
                <a:lnTo>
                  <a:pt x="936826" y="1202576"/>
                </a:lnTo>
                <a:cubicBezTo>
                  <a:pt x="936598" y="1203487"/>
                  <a:pt x="936598" y="1204398"/>
                  <a:pt x="938420" y="1205309"/>
                </a:cubicBezTo>
                <a:cubicBezTo>
                  <a:pt x="938420" y="1203487"/>
                  <a:pt x="940242" y="1201665"/>
                  <a:pt x="940242" y="1198021"/>
                </a:cubicBezTo>
                <a:close/>
                <a:moveTo>
                  <a:pt x="513853" y="1198021"/>
                </a:moveTo>
                <a:cubicBezTo>
                  <a:pt x="522964" y="1214420"/>
                  <a:pt x="541186" y="1210776"/>
                  <a:pt x="550297" y="1205309"/>
                </a:cubicBezTo>
                <a:cubicBezTo>
                  <a:pt x="544830" y="1201665"/>
                  <a:pt x="537542" y="1210776"/>
                  <a:pt x="533897" y="1205309"/>
                </a:cubicBezTo>
                <a:cubicBezTo>
                  <a:pt x="537542" y="1207132"/>
                  <a:pt x="541186" y="1205309"/>
                  <a:pt x="543008" y="1203487"/>
                </a:cubicBezTo>
                <a:cubicBezTo>
                  <a:pt x="535719" y="1201665"/>
                  <a:pt x="522964" y="1196199"/>
                  <a:pt x="513853" y="1198021"/>
                </a:cubicBezTo>
                <a:close/>
                <a:moveTo>
                  <a:pt x="417278" y="1198021"/>
                </a:moveTo>
                <a:cubicBezTo>
                  <a:pt x="419100" y="1199843"/>
                  <a:pt x="419100" y="1199843"/>
                  <a:pt x="420923" y="1199843"/>
                </a:cubicBezTo>
                <a:cubicBezTo>
                  <a:pt x="422745" y="1199843"/>
                  <a:pt x="419100" y="1196199"/>
                  <a:pt x="417278" y="1198021"/>
                </a:cubicBezTo>
                <a:close/>
                <a:moveTo>
                  <a:pt x="488542" y="1197558"/>
                </a:moveTo>
                <a:lnTo>
                  <a:pt x="488570" y="1197565"/>
                </a:lnTo>
                <a:cubicBezTo>
                  <a:pt x="488798" y="1199387"/>
                  <a:pt x="488343" y="1201665"/>
                  <a:pt x="490165" y="1201665"/>
                </a:cubicBezTo>
                <a:cubicBezTo>
                  <a:pt x="490165" y="1200754"/>
                  <a:pt x="489254" y="1199387"/>
                  <a:pt x="488571" y="1198021"/>
                </a:cubicBezTo>
                <a:close/>
                <a:moveTo>
                  <a:pt x="170602" y="1197338"/>
                </a:moveTo>
                <a:lnTo>
                  <a:pt x="170857" y="1197378"/>
                </a:lnTo>
                <a:lnTo>
                  <a:pt x="167640" y="1198021"/>
                </a:lnTo>
                <a:cubicBezTo>
                  <a:pt x="168551" y="1198932"/>
                  <a:pt x="169463" y="1198021"/>
                  <a:pt x="170602" y="1197338"/>
                </a:cubicBezTo>
                <a:close/>
                <a:moveTo>
                  <a:pt x="3236181" y="1196199"/>
                </a:moveTo>
                <a:cubicBezTo>
                  <a:pt x="3234359" y="1196199"/>
                  <a:pt x="3234359" y="1198021"/>
                  <a:pt x="3232537" y="1198021"/>
                </a:cubicBezTo>
                <a:cubicBezTo>
                  <a:pt x="3232537" y="1201665"/>
                  <a:pt x="3234359" y="1201665"/>
                  <a:pt x="3238003" y="1201665"/>
                </a:cubicBezTo>
                <a:cubicBezTo>
                  <a:pt x="3238003" y="1198021"/>
                  <a:pt x="3236181" y="1198021"/>
                  <a:pt x="3236181" y="1196199"/>
                </a:cubicBezTo>
                <a:close/>
                <a:moveTo>
                  <a:pt x="3194271" y="1196199"/>
                </a:moveTo>
                <a:cubicBezTo>
                  <a:pt x="3197916" y="1198021"/>
                  <a:pt x="3192449" y="1207132"/>
                  <a:pt x="3201560" y="1207132"/>
                </a:cubicBezTo>
                <a:cubicBezTo>
                  <a:pt x="3201560" y="1201665"/>
                  <a:pt x="3197916" y="1199843"/>
                  <a:pt x="3199738" y="1196199"/>
                </a:cubicBezTo>
                <a:cubicBezTo>
                  <a:pt x="3197916" y="1196199"/>
                  <a:pt x="3196093" y="1196199"/>
                  <a:pt x="3194271" y="1196199"/>
                </a:cubicBezTo>
                <a:close/>
                <a:moveTo>
                  <a:pt x="2416203" y="1196199"/>
                </a:moveTo>
                <a:cubicBezTo>
                  <a:pt x="2412559" y="1198021"/>
                  <a:pt x="2416203" y="1201665"/>
                  <a:pt x="2414381" y="1205309"/>
                </a:cubicBezTo>
                <a:cubicBezTo>
                  <a:pt x="2421669" y="1203487"/>
                  <a:pt x="2419847" y="1196199"/>
                  <a:pt x="2416203" y="1196199"/>
                </a:cubicBezTo>
                <a:close/>
                <a:moveTo>
                  <a:pt x="2368827" y="1196199"/>
                </a:moveTo>
                <a:cubicBezTo>
                  <a:pt x="2367004" y="1198021"/>
                  <a:pt x="2367004" y="1199843"/>
                  <a:pt x="2365182" y="1199843"/>
                </a:cubicBezTo>
                <a:cubicBezTo>
                  <a:pt x="2363360" y="1205309"/>
                  <a:pt x="2365182" y="1210776"/>
                  <a:pt x="2367004" y="1216242"/>
                </a:cubicBezTo>
                <a:cubicBezTo>
                  <a:pt x="2374293" y="1214420"/>
                  <a:pt x="2372471" y="1207132"/>
                  <a:pt x="2374293" y="1201665"/>
                </a:cubicBezTo>
                <a:cubicBezTo>
                  <a:pt x="2372471" y="1199843"/>
                  <a:pt x="2368827" y="1199843"/>
                  <a:pt x="2368827" y="1196199"/>
                </a:cubicBezTo>
                <a:close/>
                <a:moveTo>
                  <a:pt x="2053590" y="1196199"/>
                </a:moveTo>
                <a:cubicBezTo>
                  <a:pt x="2051768" y="1198021"/>
                  <a:pt x="2049946" y="1198021"/>
                  <a:pt x="2046302" y="1198021"/>
                </a:cubicBezTo>
                <a:cubicBezTo>
                  <a:pt x="2051768" y="1198021"/>
                  <a:pt x="2046302" y="1203487"/>
                  <a:pt x="2051768" y="1203487"/>
                </a:cubicBezTo>
                <a:cubicBezTo>
                  <a:pt x="2053590" y="1199843"/>
                  <a:pt x="2053590" y="1198021"/>
                  <a:pt x="2053590" y="1196199"/>
                </a:cubicBezTo>
                <a:close/>
                <a:moveTo>
                  <a:pt x="1346587" y="1196199"/>
                </a:moveTo>
                <a:cubicBezTo>
                  <a:pt x="1348410" y="1196199"/>
                  <a:pt x="1350231" y="1194376"/>
                  <a:pt x="1353876" y="1196199"/>
                </a:cubicBezTo>
                <a:cubicBezTo>
                  <a:pt x="1352053" y="1196199"/>
                  <a:pt x="1348410" y="1199843"/>
                  <a:pt x="1346587" y="1196199"/>
                </a:cubicBezTo>
                <a:close/>
                <a:moveTo>
                  <a:pt x="1341120" y="1196199"/>
                </a:moveTo>
                <a:cubicBezTo>
                  <a:pt x="1341120" y="1199843"/>
                  <a:pt x="1335654" y="1198021"/>
                  <a:pt x="1332009" y="1201665"/>
                </a:cubicBezTo>
                <a:lnTo>
                  <a:pt x="1339298" y="1199843"/>
                </a:lnTo>
                <a:lnTo>
                  <a:pt x="1339298" y="1199843"/>
                </a:lnTo>
                <a:lnTo>
                  <a:pt x="1337704" y="1201665"/>
                </a:lnTo>
                <a:cubicBezTo>
                  <a:pt x="1336565" y="1202121"/>
                  <a:pt x="1335654" y="1202576"/>
                  <a:pt x="1337476" y="1203487"/>
                </a:cubicBezTo>
                <a:lnTo>
                  <a:pt x="1339298" y="1199843"/>
                </a:lnTo>
                <a:lnTo>
                  <a:pt x="1339299" y="1199843"/>
                </a:lnTo>
                <a:lnTo>
                  <a:pt x="1339298" y="1199843"/>
                </a:lnTo>
                <a:close/>
                <a:moveTo>
                  <a:pt x="1089660" y="1196199"/>
                </a:moveTo>
                <a:cubicBezTo>
                  <a:pt x="1086016" y="1203487"/>
                  <a:pt x="1089660" y="1212598"/>
                  <a:pt x="1086016" y="1216242"/>
                </a:cubicBezTo>
                <a:cubicBezTo>
                  <a:pt x="1089660" y="1218065"/>
                  <a:pt x="1089660" y="1223531"/>
                  <a:pt x="1095127" y="1223531"/>
                </a:cubicBezTo>
                <a:cubicBezTo>
                  <a:pt x="1095127" y="1214420"/>
                  <a:pt x="1091484" y="1205309"/>
                  <a:pt x="1089660" y="1196199"/>
                </a:cubicBezTo>
                <a:close/>
                <a:moveTo>
                  <a:pt x="1036818" y="1196199"/>
                </a:moveTo>
                <a:cubicBezTo>
                  <a:pt x="1036818" y="1199843"/>
                  <a:pt x="1034995" y="1203487"/>
                  <a:pt x="1034995" y="1207132"/>
                </a:cubicBezTo>
                <a:cubicBezTo>
                  <a:pt x="1038639" y="1208954"/>
                  <a:pt x="1042284" y="1210776"/>
                  <a:pt x="1045929" y="1210776"/>
                </a:cubicBezTo>
                <a:cubicBezTo>
                  <a:pt x="1044106" y="1205309"/>
                  <a:pt x="1038639" y="1199843"/>
                  <a:pt x="1036818" y="1196199"/>
                </a:cubicBezTo>
                <a:close/>
                <a:moveTo>
                  <a:pt x="829089" y="1196199"/>
                </a:moveTo>
                <a:cubicBezTo>
                  <a:pt x="830912" y="1201665"/>
                  <a:pt x="829089" y="1207132"/>
                  <a:pt x="836378" y="1203487"/>
                </a:cubicBezTo>
                <a:cubicBezTo>
                  <a:pt x="838200" y="1198021"/>
                  <a:pt x="832734" y="1196199"/>
                  <a:pt x="829089" y="1196199"/>
                </a:cubicBezTo>
                <a:close/>
                <a:moveTo>
                  <a:pt x="437322" y="1196199"/>
                </a:moveTo>
                <a:cubicBezTo>
                  <a:pt x="430034" y="1192554"/>
                  <a:pt x="424567" y="1198021"/>
                  <a:pt x="426389" y="1203487"/>
                </a:cubicBezTo>
                <a:cubicBezTo>
                  <a:pt x="431856" y="1205309"/>
                  <a:pt x="433678" y="1199843"/>
                  <a:pt x="437322" y="1196199"/>
                </a:cubicBezTo>
                <a:close/>
                <a:moveTo>
                  <a:pt x="307948" y="1196199"/>
                </a:moveTo>
                <a:cubicBezTo>
                  <a:pt x="306126" y="1196199"/>
                  <a:pt x="304303" y="1196199"/>
                  <a:pt x="302481" y="1198021"/>
                </a:cubicBezTo>
                <a:cubicBezTo>
                  <a:pt x="306126" y="1199843"/>
                  <a:pt x="307948" y="1199843"/>
                  <a:pt x="311592" y="1199843"/>
                </a:cubicBezTo>
                <a:cubicBezTo>
                  <a:pt x="309771" y="1198021"/>
                  <a:pt x="309771" y="1198021"/>
                  <a:pt x="307948" y="1196199"/>
                </a:cubicBezTo>
                <a:close/>
                <a:moveTo>
                  <a:pt x="1420840" y="1194832"/>
                </a:moveTo>
                <a:cubicBezTo>
                  <a:pt x="1419474" y="1195288"/>
                  <a:pt x="1417651" y="1196199"/>
                  <a:pt x="1415829" y="1196199"/>
                </a:cubicBezTo>
                <a:cubicBezTo>
                  <a:pt x="1417652" y="1198021"/>
                  <a:pt x="1415829" y="1198021"/>
                  <a:pt x="1417652" y="1199843"/>
                </a:cubicBezTo>
                <a:cubicBezTo>
                  <a:pt x="1419474" y="1196199"/>
                  <a:pt x="1419474" y="1196199"/>
                  <a:pt x="1423118" y="1196199"/>
                </a:cubicBezTo>
                <a:cubicBezTo>
                  <a:pt x="1423118" y="1194376"/>
                  <a:pt x="1422208" y="1194376"/>
                  <a:pt x="1420840" y="1194832"/>
                </a:cubicBezTo>
                <a:close/>
                <a:moveTo>
                  <a:pt x="998552" y="1194376"/>
                </a:moveTo>
                <a:cubicBezTo>
                  <a:pt x="998552" y="1194376"/>
                  <a:pt x="996729" y="1196199"/>
                  <a:pt x="996729" y="1196199"/>
                </a:cubicBezTo>
                <a:cubicBezTo>
                  <a:pt x="996729" y="1198021"/>
                  <a:pt x="998552" y="1199843"/>
                  <a:pt x="998552" y="1199843"/>
                </a:cubicBezTo>
                <a:cubicBezTo>
                  <a:pt x="1002196" y="1198021"/>
                  <a:pt x="1000374" y="1194376"/>
                  <a:pt x="998552" y="1194376"/>
                </a:cubicBezTo>
                <a:close/>
                <a:moveTo>
                  <a:pt x="931131" y="1194376"/>
                </a:moveTo>
                <a:cubicBezTo>
                  <a:pt x="931131" y="1194376"/>
                  <a:pt x="929309" y="1196199"/>
                  <a:pt x="929309" y="1196199"/>
                </a:cubicBezTo>
                <a:cubicBezTo>
                  <a:pt x="929309" y="1198021"/>
                  <a:pt x="932953" y="1194376"/>
                  <a:pt x="931131" y="1194376"/>
                </a:cubicBezTo>
                <a:close/>
                <a:moveTo>
                  <a:pt x="794468" y="1194376"/>
                </a:moveTo>
                <a:cubicBezTo>
                  <a:pt x="794468" y="1201665"/>
                  <a:pt x="801757" y="1212598"/>
                  <a:pt x="809046" y="1212598"/>
                </a:cubicBezTo>
                <a:cubicBezTo>
                  <a:pt x="807223" y="1214420"/>
                  <a:pt x="810868" y="1218065"/>
                  <a:pt x="812690" y="1216242"/>
                </a:cubicBezTo>
                <a:cubicBezTo>
                  <a:pt x="810868" y="1212598"/>
                  <a:pt x="810868" y="1214420"/>
                  <a:pt x="809046" y="1212598"/>
                </a:cubicBezTo>
                <a:cubicBezTo>
                  <a:pt x="810868" y="1203487"/>
                  <a:pt x="799935" y="1199843"/>
                  <a:pt x="794468" y="1194376"/>
                </a:cubicBezTo>
                <a:close/>
                <a:moveTo>
                  <a:pt x="508387" y="1194376"/>
                </a:moveTo>
                <a:cubicBezTo>
                  <a:pt x="491987" y="1194376"/>
                  <a:pt x="510209" y="1208954"/>
                  <a:pt x="519320" y="1207132"/>
                </a:cubicBezTo>
                <a:cubicBezTo>
                  <a:pt x="521142" y="1203487"/>
                  <a:pt x="512031" y="1198021"/>
                  <a:pt x="508387" y="1194376"/>
                </a:cubicBezTo>
                <a:close/>
                <a:moveTo>
                  <a:pt x="488343" y="1194376"/>
                </a:moveTo>
                <a:lnTo>
                  <a:pt x="488542" y="1197558"/>
                </a:lnTo>
                <a:lnTo>
                  <a:pt x="482876" y="1196199"/>
                </a:lnTo>
                <a:lnTo>
                  <a:pt x="484987" y="1200642"/>
                </a:lnTo>
                <a:lnTo>
                  <a:pt x="481054" y="1198021"/>
                </a:lnTo>
                <a:cubicBezTo>
                  <a:pt x="480143" y="1198021"/>
                  <a:pt x="480598" y="1199387"/>
                  <a:pt x="481737" y="1200526"/>
                </a:cubicBezTo>
                <a:lnTo>
                  <a:pt x="484236" y="1201121"/>
                </a:lnTo>
                <a:lnTo>
                  <a:pt x="481054" y="1202576"/>
                </a:lnTo>
                <a:cubicBezTo>
                  <a:pt x="477410" y="1203487"/>
                  <a:pt x="472854" y="1204399"/>
                  <a:pt x="473766" y="1208954"/>
                </a:cubicBezTo>
                <a:cubicBezTo>
                  <a:pt x="475589" y="1210776"/>
                  <a:pt x="477410" y="1210776"/>
                  <a:pt x="479232" y="1210776"/>
                </a:cubicBezTo>
                <a:cubicBezTo>
                  <a:pt x="475589" y="1210776"/>
                  <a:pt x="473766" y="1214420"/>
                  <a:pt x="479232" y="1216242"/>
                </a:cubicBezTo>
                <a:cubicBezTo>
                  <a:pt x="491987" y="1218065"/>
                  <a:pt x="501098" y="1212598"/>
                  <a:pt x="499276" y="1201665"/>
                </a:cubicBezTo>
                <a:cubicBezTo>
                  <a:pt x="501098" y="1201665"/>
                  <a:pt x="497454" y="1192554"/>
                  <a:pt x="488343" y="1194376"/>
                </a:cubicBezTo>
                <a:close/>
                <a:moveTo>
                  <a:pt x="468299" y="1194376"/>
                </a:moveTo>
                <a:cubicBezTo>
                  <a:pt x="464655" y="1198021"/>
                  <a:pt x="462832" y="1201665"/>
                  <a:pt x="468299" y="1205309"/>
                </a:cubicBezTo>
                <a:cubicBezTo>
                  <a:pt x="471943" y="1205309"/>
                  <a:pt x="473766" y="1201665"/>
                  <a:pt x="473766" y="1199843"/>
                </a:cubicBezTo>
                <a:cubicBezTo>
                  <a:pt x="471943" y="1198021"/>
                  <a:pt x="470121" y="1196199"/>
                  <a:pt x="468299" y="1194376"/>
                </a:cubicBezTo>
                <a:close/>
                <a:moveTo>
                  <a:pt x="1288547" y="1193948"/>
                </a:moveTo>
                <a:lnTo>
                  <a:pt x="1289188" y="1194376"/>
                </a:lnTo>
                <a:cubicBezTo>
                  <a:pt x="1290100" y="1195743"/>
                  <a:pt x="1291011" y="1197110"/>
                  <a:pt x="1291922" y="1196199"/>
                </a:cubicBezTo>
                <a:cubicBezTo>
                  <a:pt x="1291922" y="1194376"/>
                  <a:pt x="1290100" y="1196199"/>
                  <a:pt x="1288277" y="1194376"/>
                </a:cubicBezTo>
                <a:close/>
                <a:moveTo>
                  <a:pt x="412723" y="1193921"/>
                </a:moveTo>
                <a:cubicBezTo>
                  <a:pt x="411812" y="1193921"/>
                  <a:pt x="410901" y="1194376"/>
                  <a:pt x="409989" y="1194376"/>
                </a:cubicBezTo>
                <a:cubicBezTo>
                  <a:pt x="409989" y="1196199"/>
                  <a:pt x="415456" y="1198021"/>
                  <a:pt x="415456" y="1196199"/>
                </a:cubicBezTo>
                <a:cubicBezTo>
                  <a:pt x="414545" y="1194377"/>
                  <a:pt x="413634" y="1193921"/>
                  <a:pt x="412723" y="1193921"/>
                </a:cubicBezTo>
                <a:close/>
                <a:moveTo>
                  <a:pt x="2118148" y="1193205"/>
                </a:moveTo>
                <a:lnTo>
                  <a:pt x="2122833" y="1194376"/>
                </a:lnTo>
                <a:cubicBezTo>
                  <a:pt x="2119189" y="1196199"/>
                  <a:pt x="2122833" y="1199843"/>
                  <a:pt x="2121011" y="1199843"/>
                </a:cubicBezTo>
                <a:cubicBezTo>
                  <a:pt x="2117367" y="1200754"/>
                  <a:pt x="2116911" y="1198932"/>
                  <a:pt x="2117367" y="1196426"/>
                </a:cubicBezTo>
                <a:close/>
                <a:moveTo>
                  <a:pt x="2979255" y="1192554"/>
                </a:moveTo>
                <a:cubicBezTo>
                  <a:pt x="2981077" y="1196199"/>
                  <a:pt x="2979255" y="1196199"/>
                  <a:pt x="2975610" y="1196199"/>
                </a:cubicBezTo>
                <a:cubicBezTo>
                  <a:pt x="2975610" y="1198021"/>
                  <a:pt x="2977432" y="1198021"/>
                  <a:pt x="2977432" y="1198021"/>
                </a:cubicBezTo>
                <a:cubicBezTo>
                  <a:pt x="2977432" y="1198021"/>
                  <a:pt x="2977432" y="1199843"/>
                  <a:pt x="2977432" y="1199843"/>
                </a:cubicBezTo>
                <a:cubicBezTo>
                  <a:pt x="2984721" y="1192554"/>
                  <a:pt x="2981077" y="1205309"/>
                  <a:pt x="2984721" y="1210776"/>
                </a:cubicBezTo>
                <a:cubicBezTo>
                  <a:pt x="2986543" y="1210776"/>
                  <a:pt x="2986543" y="1207132"/>
                  <a:pt x="2986543" y="1205309"/>
                </a:cubicBezTo>
                <a:cubicBezTo>
                  <a:pt x="2992010" y="1205309"/>
                  <a:pt x="2988366" y="1212598"/>
                  <a:pt x="2993832" y="1210776"/>
                </a:cubicBezTo>
                <a:cubicBezTo>
                  <a:pt x="2993832" y="1205309"/>
                  <a:pt x="2995654" y="1205309"/>
                  <a:pt x="2995654" y="1201665"/>
                </a:cubicBezTo>
                <a:cubicBezTo>
                  <a:pt x="2999299" y="1201665"/>
                  <a:pt x="2997477" y="1205309"/>
                  <a:pt x="3001121" y="1203487"/>
                </a:cubicBezTo>
                <a:cubicBezTo>
                  <a:pt x="2999299" y="1196199"/>
                  <a:pt x="2993832" y="1199843"/>
                  <a:pt x="2988366" y="1198021"/>
                </a:cubicBezTo>
                <a:cubicBezTo>
                  <a:pt x="2986543" y="1194376"/>
                  <a:pt x="2986543" y="1188910"/>
                  <a:pt x="2979255" y="1192554"/>
                </a:cubicBezTo>
                <a:close/>
                <a:moveTo>
                  <a:pt x="2463580" y="1192554"/>
                </a:moveTo>
                <a:cubicBezTo>
                  <a:pt x="2461757" y="1198021"/>
                  <a:pt x="2461757" y="1203487"/>
                  <a:pt x="2458113" y="1207132"/>
                </a:cubicBezTo>
                <a:cubicBezTo>
                  <a:pt x="2458113" y="1210776"/>
                  <a:pt x="2465402" y="1207132"/>
                  <a:pt x="2467224" y="1208954"/>
                </a:cubicBezTo>
                <a:cubicBezTo>
                  <a:pt x="2467224" y="1205309"/>
                  <a:pt x="2459935" y="1208954"/>
                  <a:pt x="2461757" y="1201665"/>
                </a:cubicBezTo>
                <a:cubicBezTo>
                  <a:pt x="2461757" y="1199843"/>
                  <a:pt x="2465402" y="1198021"/>
                  <a:pt x="2469046" y="1198021"/>
                </a:cubicBezTo>
                <a:cubicBezTo>
                  <a:pt x="2469046" y="1196199"/>
                  <a:pt x="2469046" y="1196199"/>
                  <a:pt x="2469046" y="1196199"/>
                </a:cubicBezTo>
                <a:cubicBezTo>
                  <a:pt x="2467224" y="1194376"/>
                  <a:pt x="2465402" y="1194376"/>
                  <a:pt x="2463580" y="1192554"/>
                </a:cubicBezTo>
                <a:close/>
                <a:moveTo>
                  <a:pt x="2397981" y="1192554"/>
                </a:moveTo>
                <a:cubicBezTo>
                  <a:pt x="2396159" y="1198021"/>
                  <a:pt x="2390693" y="1201665"/>
                  <a:pt x="2387048" y="1196199"/>
                </a:cubicBezTo>
                <a:cubicBezTo>
                  <a:pt x="2385226" y="1203487"/>
                  <a:pt x="2381582" y="1201665"/>
                  <a:pt x="2376115" y="1198021"/>
                </a:cubicBezTo>
                <a:cubicBezTo>
                  <a:pt x="2376115" y="1199843"/>
                  <a:pt x="2376115" y="1205309"/>
                  <a:pt x="2376115" y="1207132"/>
                </a:cubicBezTo>
                <a:cubicBezTo>
                  <a:pt x="2377937" y="1207132"/>
                  <a:pt x="2377937" y="1205309"/>
                  <a:pt x="2379760" y="1205309"/>
                </a:cubicBezTo>
                <a:cubicBezTo>
                  <a:pt x="2381582" y="1207132"/>
                  <a:pt x="2381582" y="1207132"/>
                  <a:pt x="2381582" y="1208954"/>
                </a:cubicBezTo>
                <a:cubicBezTo>
                  <a:pt x="2387048" y="1203487"/>
                  <a:pt x="2394337" y="1203487"/>
                  <a:pt x="2399803" y="1198021"/>
                </a:cubicBezTo>
                <a:cubicBezTo>
                  <a:pt x="2399803" y="1194376"/>
                  <a:pt x="2399803" y="1194376"/>
                  <a:pt x="2397981" y="1192554"/>
                </a:cubicBezTo>
                <a:close/>
                <a:moveTo>
                  <a:pt x="1351370" y="1192554"/>
                </a:moveTo>
                <a:cubicBezTo>
                  <a:pt x="1349320" y="1192554"/>
                  <a:pt x="1347498" y="1193465"/>
                  <a:pt x="1346587" y="1196199"/>
                </a:cubicBezTo>
                <a:cubicBezTo>
                  <a:pt x="1342942" y="1198021"/>
                  <a:pt x="1342942" y="1201665"/>
                  <a:pt x="1344765" y="1207132"/>
                </a:cubicBezTo>
                <a:cubicBezTo>
                  <a:pt x="1346587" y="1208954"/>
                  <a:pt x="1350231" y="1207132"/>
                  <a:pt x="1350231" y="1205309"/>
                </a:cubicBezTo>
                <a:cubicBezTo>
                  <a:pt x="1353876" y="1207132"/>
                  <a:pt x="1362987" y="1203487"/>
                  <a:pt x="1362987" y="1198021"/>
                </a:cubicBezTo>
                <a:cubicBezTo>
                  <a:pt x="1364809" y="1196199"/>
                  <a:pt x="1364809" y="1199843"/>
                  <a:pt x="1364809" y="1201665"/>
                </a:cubicBezTo>
                <a:cubicBezTo>
                  <a:pt x="1366632" y="1203487"/>
                  <a:pt x="1366632" y="1199843"/>
                  <a:pt x="1366632" y="1198021"/>
                </a:cubicBezTo>
                <a:cubicBezTo>
                  <a:pt x="1362987" y="1194376"/>
                  <a:pt x="1359342" y="1194376"/>
                  <a:pt x="1355698" y="1196199"/>
                </a:cubicBezTo>
                <a:cubicBezTo>
                  <a:pt x="1353876" y="1194376"/>
                  <a:pt x="1357521" y="1196199"/>
                  <a:pt x="1357521" y="1194376"/>
                </a:cubicBezTo>
                <a:cubicBezTo>
                  <a:pt x="1355698" y="1193465"/>
                  <a:pt x="1353420" y="1192554"/>
                  <a:pt x="1351370" y="1192554"/>
                </a:cubicBezTo>
                <a:close/>
                <a:moveTo>
                  <a:pt x="1282811" y="1192554"/>
                </a:moveTo>
                <a:lnTo>
                  <a:pt x="1282626" y="1193727"/>
                </a:lnTo>
                <a:lnTo>
                  <a:pt x="1282360" y="1192798"/>
                </a:lnTo>
                <a:close/>
                <a:moveTo>
                  <a:pt x="916555" y="1192554"/>
                </a:moveTo>
                <a:cubicBezTo>
                  <a:pt x="912909" y="1194376"/>
                  <a:pt x="912909" y="1196199"/>
                  <a:pt x="912909" y="1198021"/>
                </a:cubicBezTo>
                <a:cubicBezTo>
                  <a:pt x="914732" y="1199843"/>
                  <a:pt x="916555" y="1194376"/>
                  <a:pt x="916555" y="1192554"/>
                </a:cubicBezTo>
                <a:close/>
                <a:moveTo>
                  <a:pt x="891043" y="1192554"/>
                </a:moveTo>
                <a:cubicBezTo>
                  <a:pt x="881933" y="1192554"/>
                  <a:pt x="887399" y="1203487"/>
                  <a:pt x="894688" y="1199843"/>
                </a:cubicBezTo>
                <a:cubicBezTo>
                  <a:pt x="894688" y="1198021"/>
                  <a:pt x="892866" y="1194376"/>
                  <a:pt x="891043" y="1192554"/>
                </a:cubicBezTo>
                <a:close/>
                <a:moveTo>
                  <a:pt x="856422" y="1192554"/>
                </a:moveTo>
                <a:cubicBezTo>
                  <a:pt x="854600" y="1196199"/>
                  <a:pt x="854600" y="1201665"/>
                  <a:pt x="860066" y="1201665"/>
                </a:cubicBezTo>
                <a:cubicBezTo>
                  <a:pt x="860066" y="1201665"/>
                  <a:pt x="861889" y="1199843"/>
                  <a:pt x="863711" y="1199843"/>
                </a:cubicBezTo>
                <a:cubicBezTo>
                  <a:pt x="860066" y="1196199"/>
                  <a:pt x="858244" y="1194376"/>
                  <a:pt x="856422" y="1192554"/>
                </a:cubicBezTo>
                <a:close/>
                <a:moveTo>
                  <a:pt x="818156" y="1192554"/>
                </a:moveTo>
                <a:lnTo>
                  <a:pt x="818156" y="1201893"/>
                </a:lnTo>
                <a:cubicBezTo>
                  <a:pt x="820890" y="1206676"/>
                  <a:pt x="825445" y="1210776"/>
                  <a:pt x="829089" y="1212598"/>
                </a:cubicBezTo>
                <a:cubicBezTo>
                  <a:pt x="830000" y="1208953"/>
                  <a:pt x="829545" y="1205309"/>
                  <a:pt x="827723" y="1201893"/>
                </a:cubicBezTo>
                <a:close/>
                <a:moveTo>
                  <a:pt x="380835" y="1192554"/>
                </a:moveTo>
                <a:cubicBezTo>
                  <a:pt x="382657" y="1194376"/>
                  <a:pt x="384479" y="1198021"/>
                  <a:pt x="386301" y="1192554"/>
                </a:cubicBezTo>
                <a:cubicBezTo>
                  <a:pt x="384479" y="1190732"/>
                  <a:pt x="382657" y="1190732"/>
                  <a:pt x="380835" y="1192554"/>
                </a:cubicBezTo>
                <a:close/>
                <a:moveTo>
                  <a:pt x="284259" y="1192554"/>
                </a:moveTo>
                <a:cubicBezTo>
                  <a:pt x="282438" y="1192554"/>
                  <a:pt x="280615" y="1192554"/>
                  <a:pt x="280615" y="1194376"/>
                </a:cubicBezTo>
                <a:cubicBezTo>
                  <a:pt x="282438" y="1198021"/>
                  <a:pt x="287904" y="1196199"/>
                  <a:pt x="284259" y="1192554"/>
                </a:cubicBezTo>
                <a:close/>
                <a:moveTo>
                  <a:pt x="1188438" y="1191650"/>
                </a:moveTo>
                <a:lnTo>
                  <a:pt x="1188513" y="1192554"/>
                </a:lnTo>
                <a:lnTo>
                  <a:pt x="1188251" y="1193184"/>
                </a:lnTo>
                <a:lnTo>
                  <a:pt x="1188285" y="1192326"/>
                </a:lnTo>
                <a:close/>
                <a:moveTo>
                  <a:pt x="1138859" y="1191415"/>
                </a:moveTo>
                <a:cubicBezTo>
                  <a:pt x="1137949" y="1190732"/>
                  <a:pt x="1137037" y="1190732"/>
                  <a:pt x="1137037" y="1192554"/>
                </a:cubicBezTo>
                <a:cubicBezTo>
                  <a:pt x="1138859" y="1194376"/>
                  <a:pt x="1138859" y="1192554"/>
                  <a:pt x="1140681" y="1194376"/>
                </a:cubicBezTo>
                <a:cubicBezTo>
                  <a:pt x="1140681" y="1193465"/>
                  <a:pt x="1139770" y="1192098"/>
                  <a:pt x="1138859" y="1191415"/>
                </a:cubicBezTo>
                <a:close/>
                <a:moveTo>
                  <a:pt x="1153664" y="1190960"/>
                </a:moveTo>
                <a:cubicBezTo>
                  <a:pt x="1150703" y="1190276"/>
                  <a:pt x="1147060" y="1190732"/>
                  <a:pt x="1144326" y="1192554"/>
                </a:cubicBezTo>
                <a:cubicBezTo>
                  <a:pt x="1147970" y="1196199"/>
                  <a:pt x="1155259" y="1196199"/>
                  <a:pt x="1158903" y="1196199"/>
                </a:cubicBezTo>
                <a:cubicBezTo>
                  <a:pt x="1158903" y="1193465"/>
                  <a:pt x="1156625" y="1191643"/>
                  <a:pt x="1153664" y="1190960"/>
                </a:cubicBezTo>
                <a:close/>
                <a:moveTo>
                  <a:pt x="3374666" y="1190732"/>
                </a:moveTo>
                <a:cubicBezTo>
                  <a:pt x="3374666" y="1194376"/>
                  <a:pt x="3371022" y="1196199"/>
                  <a:pt x="3371022" y="1201665"/>
                </a:cubicBezTo>
                <a:lnTo>
                  <a:pt x="3368627" y="1200068"/>
                </a:lnTo>
                <a:lnTo>
                  <a:pt x="3370111" y="1196654"/>
                </a:lnTo>
                <a:lnTo>
                  <a:pt x="3369318" y="1195011"/>
                </a:lnTo>
                <a:close/>
                <a:moveTo>
                  <a:pt x="3181516" y="1190732"/>
                </a:moveTo>
                <a:cubicBezTo>
                  <a:pt x="3181516" y="1194376"/>
                  <a:pt x="3181516" y="1196199"/>
                  <a:pt x="3183338" y="1198021"/>
                </a:cubicBezTo>
                <a:cubicBezTo>
                  <a:pt x="3183338" y="1196199"/>
                  <a:pt x="3186982" y="1196199"/>
                  <a:pt x="3186982" y="1192554"/>
                </a:cubicBezTo>
                <a:cubicBezTo>
                  <a:pt x="3185160" y="1192554"/>
                  <a:pt x="3183338" y="1192554"/>
                  <a:pt x="3181516" y="1190732"/>
                </a:cubicBezTo>
                <a:close/>
                <a:moveTo>
                  <a:pt x="1368453" y="1190732"/>
                </a:moveTo>
                <a:cubicBezTo>
                  <a:pt x="1366632" y="1194376"/>
                  <a:pt x="1364809" y="1192554"/>
                  <a:pt x="1362987" y="1194376"/>
                </a:cubicBezTo>
                <a:cubicBezTo>
                  <a:pt x="1364809" y="1196199"/>
                  <a:pt x="1364809" y="1194376"/>
                  <a:pt x="1364809" y="1196199"/>
                </a:cubicBezTo>
                <a:cubicBezTo>
                  <a:pt x="1368453" y="1194376"/>
                  <a:pt x="1370275" y="1192554"/>
                  <a:pt x="1368453" y="1190732"/>
                </a:cubicBezTo>
                <a:close/>
                <a:moveTo>
                  <a:pt x="1129748" y="1190732"/>
                </a:moveTo>
                <a:cubicBezTo>
                  <a:pt x="1131570" y="1192554"/>
                  <a:pt x="1137037" y="1194376"/>
                  <a:pt x="1137037" y="1190732"/>
                </a:cubicBezTo>
                <a:cubicBezTo>
                  <a:pt x="1133393" y="1188910"/>
                  <a:pt x="1131570" y="1190732"/>
                  <a:pt x="1129748" y="1190732"/>
                </a:cubicBezTo>
                <a:close/>
                <a:moveTo>
                  <a:pt x="1049573" y="1190732"/>
                </a:moveTo>
                <a:cubicBezTo>
                  <a:pt x="1045929" y="1190732"/>
                  <a:pt x="1042284" y="1192554"/>
                  <a:pt x="1038639" y="1192554"/>
                </a:cubicBezTo>
                <a:cubicBezTo>
                  <a:pt x="1038639" y="1198021"/>
                  <a:pt x="1045929" y="1207132"/>
                  <a:pt x="1049573" y="1210776"/>
                </a:cubicBezTo>
                <a:cubicBezTo>
                  <a:pt x="1051395" y="1210776"/>
                  <a:pt x="1053217" y="1207132"/>
                  <a:pt x="1055040" y="1203487"/>
                </a:cubicBezTo>
                <a:cubicBezTo>
                  <a:pt x="1055040" y="1199843"/>
                  <a:pt x="1051395" y="1194376"/>
                  <a:pt x="1049573" y="1190732"/>
                </a:cubicBezTo>
                <a:close/>
                <a:moveTo>
                  <a:pt x="850956" y="1190732"/>
                </a:moveTo>
                <a:cubicBezTo>
                  <a:pt x="845489" y="1207132"/>
                  <a:pt x="850956" y="1199843"/>
                  <a:pt x="854600" y="1198021"/>
                </a:cubicBezTo>
                <a:cubicBezTo>
                  <a:pt x="854600" y="1196199"/>
                  <a:pt x="854600" y="1194376"/>
                  <a:pt x="854600" y="1192554"/>
                </a:cubicBezTo>
                <a:cubicBezTo>
                  <a:pt x="854600" y="1190732"/>
                  <a:pt x="852778" y="1194376"/>
                  <a:pt x="850956" y="1190732"/>
                </a:cubicBezTo>
                <a:close/>
                <a:moveTo>
                  <a:pt x="799935" y="1190732"/>
                </a:moveTo>
                <a:cubicBezTo>
                  <a:pt x="799935" y="1194376"/>
                  <a:pt x="807223" y="1203487"/>
                  <a:pt x="809046" y="1198021"/>
                </a:cubicBezTo>
                <a:cubicBezTo>
                  <a:pt x="805401" y="1192554"/>
                  <a:pt x="803579" y="1194376"/>
                  <a:pt x="799935" y="1190732"/>
                </a:cubicBezTo>
                <a:close/>
                <a:moveTo>
                  <a:pt x="395412" y="1190732"/>
                </a:moveTo>
                <a:cubicBezTo>
                  <a:pt x="393590" y="1192554"/>
                  <a:pt x="399056" y="1194376"/>
                  <a:pt x="400879" y="1196199"/>
                </a:cubicBezTo>
                <a:cubicBezTo>
                  <a:pt x="400879" y="1194376"/>
                  <a:pt x="400879" y="1194376"/>
                  <a:pt x="402701" y="1192554"/>
                </a:cubicBezTo>
                <a:cubicBezTo>
                  <a:pt x="400879" y="1188910"/>
                  <a:pt x="399056" y="1194376"/>
                  <a:pt x="395412" y="1190732"/>
                </a:cubicBezTo>
                <a:close/>
                <a:moveTo>
                  <a:pt x="331636" y="1190732"/>
                </a:moveTo>
                <a:cubicBezTo>
                  <a:pt x="329814" y="1190732"/>
                  <a:pt x="327993" y="1190732"/>
                  <a:pt x="327993" y="1192554"/>
                </a:cubicBezTo>
                <a:cubicBezTo>
                  <a:pt x="329814" y="1194376"/>
                  <a:pt x="335280" y="1192554"/>
                  <a:pt x="331636" y="1190732"/>
                </a:cubicBezTo>
                <a:close/>
                <a:moveTo>
                  <a:pt x="2118866" y="1190244"/>
                </a:moveTo>
                <a:lnTo>
                  <a:pt x="2118148" y="1193205"/>
                </a:lnTo>
                <a:lnTo>
                  <a:pt x="2115544" y="1192554"/>
                </a:lnTo>
                <a:close/>
                <a:moveTo>
                  <a:pt x="1214753" y="1189815"/>
                </a:moveTo>
                <a:lnTo>
                  <a:pt x="1217213" y="1190732"/>
                </a:lnTo>
                <a:lnTo>
                  <a:pt x="1216808" y="1191542"/>
                </a:lnTo>
                <a:lnTo>
                  <a:pt x="1213568" y="1190732"/>
                </a:lnTo>
                <a:close/>
                <a:moveTo>
                  <a:pt x="3243470" y="1188910"/>
                </a:moveTo>
                <a:cubicBezTo>
                  <a:pt x="3243470" y="1194376"/>
                  <a:pt x="3247114" y="1192554"/>
                  <a:pt x="3247114" y="1196199"/>
                </a:cubicBezTo>
                <a:cubicBezTo>
                  <a:pt x="3252581" y="1194376"/>
                  <a:pt x="3247114" y="1185266"/>
                  <a:pt x="3243470" y="1188910"/>
                </a:cubicBezTo>
                <a:close/>
                <a:moveTo>
                  <a:pt x="3168761" y="1188910"/>
                </a:moveTo>
                <a:cubicBezTo>
                  <a:pt x="3168761" y="1190732"/>
                  <a:pt x="3168761" y="1192554"/>
                  <a:pt x="3166939" y="1192554"/>
                </a:cubicBezTo>
                <a:cubicBezTo>
                  <a:pt x="3168761" y="1199843"/>
                  <a:pt x="3170583" y="1201665"/>
                  <a:pt x="3177872" y="1199843"/>
                </a:cubicBezTo>
                <a:cubicBezTo>
                  <a:pt x="3179694" y="1194376"/>
                  <a:pt x="3179694" y="1194376"/>
                  <a:pt x="3179694" y="1188910"/>
                </a:cubicBezTo>
                <a:cubicBezTo>
                  <a:pt x="3174227" y="1188910"/>
                  <a:pt x="3172405" y="1187088"/>
                  <a:pt x="3168761" y="1188910"/>
                </a:cubicBezTo>
                <a:close/>
                <a:moveTo>
                  <a:pt x="2615428" y="1188910"/>
                </a:moveTo>
                <a:lnTo>
                  <a:pt x="2616642" y="1188910"/>
                </a:lnTo>
                <a:cubicBezTo>
                  <a:pt x="2617553" y="1189821"/>
                  <a:pt x="2617098" y="1190732"/>
                  <a:pt x="2616642" y="1192098"/>
                </a:cubicBezTo>
                <a:lnTo>
                  <a:pt x="2616642" y="1192554"/>
                </a:lnTo>
                <a:close/>
                <a:moveTo>
                  <a:pt x="1162547" y="1188910"/>
                </a:moveTo>
                <a:cubicBezTo>
                  <a:pt x="1158903" y="1190732"/>
                  <a:pt x="1158903" y="1194376"/>
                  <a:pt x="1160725" y="1196199"/>
                </a:cubicBezTo>
                <a:cubicBezTo>
                  <a:pt x="1164370" y="1196199"/>
                  <a:pt x="1166192" y="1196199"/>
                  <a:pt x="1169836" y="1194376"/>
                </a:cubicBezTo>
                <a:cubicBezTo>
                  <a:pt x="1168014" y="1192554"/>
                  <a:pt x="1164370" y="1188910"/>
                  <a:pt x="1162547" y="1188910"/>
                </a:cubicBezTo>
                <a:close/>
                <a:moveTo>
                  <a:pt x="909265" y="1188910"/>
                </a:moveTo>
                <a:cubicBezTo>
                  <a:pt x="905621" y="1190732"/>
                  <a:pt x="900154" y="1190732"/>
                  <a:pt x="905621" y="1196199"/>
                </a:cubicBezTo>
                <a:cubicBezTo>
                  <a:pt x="907444" y="1194376"/>
                  <a:pt x="909265" y="1192554"/>
                  <a:pt x="909265" y="1188910"/>
                </a:cubicBezTo>
                <a:close/>
                <a:moveTo>
                  <a:pt x="819979" y="1188910"/>
                </a:moveTo>
                <a:cubicBezTo>
                  <a:pt x="827267" y="1187088"/>
                  <a:pt x="827267" y="1199843"/>
                  <a:pt x="832734" y="1194376"/>
                </a:cubicBezTo>
                <a:cubicBezTo>
                  <a:pt x="836378" y="1190732"/>
                  <a:pt x="832734" y="1190732"/>
                  <a:pt x="832734" y="1188910"/>
                </a:cubicBezTo>
                <a:cubicBezTo>
                  <a:pt x="829089" y="1190732"/>
                  <a:pt x="825445" y="1187088"/>
                  <a:pt x="819979" y="1188910"/>
                </a:cubicBezTo>
                <a:close/>
                <a:moveTo>
                  <a:pt x="768959" y="1188910"/>
                </a:moveTo>
                <a:cubicBezTo>
                  <a:pt x="768959" y="1188910"/>
                  <a:pt x="754380" y="1203487"/>
                  <a:pt x="772602" y="1190732"/>
                </a:cubicBezTo>
                <a:cubicBezTo>
                  <a:pt x="770781" y="1188910"/>
                  <a:pt x="768959" y="1190732"/>
                  <a:pt x="768959" y="1188910"/>
                </a:cubicBezTo>
                <a:close/>
                <a:moveTo>
                  <a:pt x="324347" y="1188910"/>
                </a:moveTo>
                <a:cubicBezTo>
                  <a:pt x="317059" y="1185266"/>
                  <a:pt x="313414" y="1192554"/>
                  <a:pt x="309771" y="1192554"/>
                </a:cubicBezTo>
                <a:cubicBezTo>
                  <a:pt x="317059" y="1207132"/>
                  <a:pt x="337102" y="1201665"/>
                  <a:pt x="348037" y="1198021"/>
                </a:cubicBezTo>
                <a:cubicBezTo>
                  <a:pt x="338926" y="1192554"/>
                  <a:pt x="327993" y="1190732"/>
                  <a:pt x="318882" y="1196199"/>
                </a:cubicBezTo>
                <a:cubicBezTo>
                  <a:pt x="318882" y="1192554"/>
                  <a:pt x="322525" y="1190732"/>
                  <a:pt x="324347" y="1188910"/>
                </a:cubicBezTo>
                <a:close/>
                <a:moveTo>
                  <a:pt x="302481" y="1188910"/>
                </a:moveTo>
                <a:cubicBezTo>
                  <a:pt x="306126" y="1192554"/>
                  <a:pt x="307948" y="1187088"/>
                  <a:pt x="309771" y="1188910"/>
                </a:cubicBezTo>
                <a:cubicBezTo>
                  <a:pt x="307948" y="1188910"/>
                  <a:pt x="306126" y="1188910"/>
                  <a:pt x="302481" y="1188910"/>
                </a:cubicBezTo>
                <a:close/>
                <a:moveTo>
                  <a:pt x="163996" y="1188910"/>
                </a:moveTo>
                <a:lnTo>
                  <a:pt x="164710" y="1189318"/>
                </a:lnTo>
                <a:lnTo>
                  <a:pt x="163996" y="1189342"/>
                </a:lnTo>
                <a:close/>
                <a:moveTo>
                  <a:pt x="1776619" y="1187113"/>
                </a:moveTo>
                <a:cubicBezTo>
                  <a:pt x="1780265" y="1190759"/>
                  <a:pt x="1789374" y="1187113"/>
                  <a:pt x="1789374" y="1194403"/>
                </a:cubicBezTo>
                <a:cubicBezTo>
                  <a:pt x="1789374" y="1194403"/>
                  <a:pt x="1783908" y="1194403"/>
                  <a:pt x="1783908" y="1196225"/>
                </a:cubicBezTo>
                <a:cubicBezTo>
                  <a:pt x="1783908" y="1199869"/>
                  <a:pt x="1786186" y="1203058"/>
                  <a:pt x="1788236" y="1206475"/>
                </a:cubicBezTo>
                <a:lnTo>
                  <a:pt x="1788956" y="1209303"/>
                </a:lnTo>
                <a:lnTo>
                  <a:pt x="1783908" y="1205336"/>
                </a:lnTo>
                <a:close/>
                <a:moveTo>
                  <a:pt x="3156006" y="1187088"/>
                </a:moveTo>
                <a:cubicBezTo>
                  <a:pt x="3150539" y="1188910"/>
                  <a:pt x="3148717" y="1192554"/>
                  <a:pt x="3148717" y="1198021"/>
                </a:cubicBezTo>
                <a:cubicBezTo>
                  <a:pt x="3159650" y="1199843"/>
                  <a:pt x="3148717" y="1190732"/>
                  <a:pt x="3156006" y="1190732"/>
                </a:cubicBezTo>
                <a:cubicBezTo>
                  <a:pt x="3156006" y="1188910"/>
                  <a:pt x="3156006" y="1188910"/>
                  <a:pt x="3156006" y="1187088"/>
                </a:cubicBezTo>
                <a:close/>
                <a:moveTo>
                  <a:pt x="2740550" y="1187088"/>
                </a:moveTo>
                <a:cubicBezTo>
                  <a:pt x="2733261" y="1188910"/>
                  <a:pt x="2747839" y="1199843"/>
                  <a:pt x="2747839" y="1190732"/>
                </a:cubicBezTo>
                <a:cubicBezTo>
                  <a:pt x="2746016" y="1190732"/>
                  <a:pt x="2744194" y="1190732"/>
                  <a:pt x="2742372" y="1190732"/>
                </a:cubicBezTo>
                <a:cubicBezTo>
                  <a:pt x="2742372" y="1188910"/>
                  <a:pt x="2740550" y="1188910"/>
                  <a:pt x="2740550" y="1187088"/>
                </a:cubicBezTo>
                <a:close/>
                <a:moveTo>
                  <a:pt x="2715040" y="1187088"/>
                </a:moveTo>
                <a:cubicBezTo>
                  <a:pt x="2711395" y="1190732"/>
                  <a:pt x="2716862" y="1199843"/>
                  <a:pt x="2718684" y="1201665"/>
                </a:cubicBezTo>
                <a:cubicBezTo>
                  <a:pt x="2718684" y="1198021"/>
                  <a:pt x="2716862" y="1192554"/>
                  <a:pt x="2715040" y="1187088"/>
                </a:cubicBezTo>
                <a:close/>
                <a:moveTo>
                  <a:pt x="2680418" y="1187088"/>
                </a:moveTo>
                <a:cubicBezTo>
                  <a:pt x="2676774" y="1196199"/>
                  <a:pt x="2674952" y="1205309"/>
                  <a:pt x="2687707" y="1205309"/>
                </a:cubicBezTo>
                <a:cubicBezTo>
                  <a:pt x="2685885" y="1201665"/>
                  <a:pt x="2682240" y="1199843"/>
                  <a:pt x="2682240" y="1196199"/>
                </a:cubicBezTo>
                <a:cubicBezTo>
                  <a:pt x="2684063" y="1196199"/>
                  <a:pt x="2684063" y="1194376"/>
                  <a:pt x="2684063" y="1192554"/>
                </a:cubicBezTo>
                <a:cubicBezTo>
                  <a:pt x="2687707" y="1196199"/>
                  <a:pt x="2685885" y="1203487"/>
                  <a:pt x="2691351" y="1203487"/>
                </a:cubicBezTo>
                <a:cubicBezTo>
                  <a:pt x="2689529" y="1199843"/>
                  <a:pt x="2682240" y="1194376"/>
                  <a:pt x="2689529" y="1192554"/>
                </a:cubicBezTo>
                <a:cubicBezTo>
                  <a:pt x="2685885" y="1190732"/>
                  <a:pt x="2684063" y="1188910"/>
                  <a:pt x="2680418" y="1187088"/>
                </a:cubicBezTo>
                <a:close/>
                <a:moveTo>
                  <a:pt x="2432603" y="1187088"/>
                </a:moveTo>
                <a:cubicBezTo>
                  <a:pt x="2428958" y="1188910"/>
                  <a:pt x="2427136" y="1190732"/>
                  <a:pt x="2421669" y="1192554"/>
                </a:cubicBezTo>
                <a:cubicBezTo>
                  <a:pt x="2423492" y="1194376"/>
                  <a:pt x="2423492" y="1196199"/>
                  <a:pt x="2425314" y="1198021"/>
                </a:cubicBezTo>
                <a:cubicBezTo>
                  <a:pt x="2428958" y="1196199"/>
                  <a:pt x="2432603" y="1192554"/>
                  <a:pt x="2432603" y="1187088"/>
                </a:cubicBezTo>
                <a:close/>
                <a:moveTo>
                  <a:pt x="1058683" y="1187088"/>
                </a:moveTo>
                <a:cubicBezTo>
                  <a:pt x="1060506" y="1192554"/>
                  <a:pt x="1058683" y="1201665"/>
                  <a:pt x="1067794" y="1205309"/>
                </a:cubicBezTo>
                <a:cubicBezTo>
                  <a:pt x="1067794" y="1199843"/>
                  <a:pt x="1060506" y="1192554"/>
                  <a:pt x="1058683" y="1187088"/>
                </a:cubicBezTo>
                <a:close/>
                <a:moveTo>
                  <a:pt x="878029" y="1187088"/>
                </a:moveTo>
                <a:lnTo>
                  <a:pt x="878288" y="1187088"/>
                </a:lnTo>
                <a:lnTo>
                  <a:pt x="878288" y="1188910"/>
                </a:lnTo>
                <a:close/>
                <a:moveTo>
                  <a:pt x="493809" y="1187088"/>
                </a:moveTo>
                <a:cubicBezTo>
                  <a:pt x="493809" y="1190732"/>
                  <a:pt x="502920" y="1192554"/>
                  <a:pt x="502920" y="1188910"/>
                </a:cubicBezTo>
                <a:cubicBezTo>
                  <a:pt x="499276" y="1187088"/>
                  <a:pt x="497454" y="1188910"/>
                  <a:pt x="493809" y="1187088"/>
                </a:cubicBezTo>
                <a:close/>
                <a:moveTo>
                  <a:pt x="297015" y="1187088"/>
                </a:moveTo>
                <a:cubicBezTo>
                  <a:pt x="297015" y="1188910"/>
                  <a:pt x="295193" y="1190732"/>
                  <a:pt x="291549" y="1190732"/>
                </a:cubicBezTo>
                <a:cubicBezTo>
                  <a:pt x="295193" y="1190732"/>
                  <a:pt x="300660" y="1198021"/>
                  <a:pt x="306126" y="1192554"/>
                </a:cubicBezTo>
                <a:cubicBezTo>
                  <a:pt x="302481" y="1190732"/>
                  <a:pt x="298837" y="1188910"/>
                  <a:pt x="297015" y="1187088"/>
                </a:cubicBezTo>
                <a:close/>
                <a:moveTo>
                  <a:pt x="245994" y="1187088"/>
                </a:moveTo>
                <a:cubicBezTo>
                  <a:pt x="242349" y="1196199"/>
                  <a:pt x="247816" y="1188910"/>
                  <a:pt x="249638" y="1190732"/>
                </a:cubicBezTo>
                <a:cubicBezTo>
                  <a:pt x="247816" y="1187088"/>
                  <a:pt x="247816" y="1188910"/>
                  <a:pt x="245994" y="1187088"/>
                </a:cubicBezTo>
                <a:close/>
                <a:moveTo>
                  <a:pt x="202262" y="1187088"/>
                </a:moveTo>
                <a:cubicBezTo>
                  <a:pt x="204084" y="1188910"/>
                  <a:pt x="213195" y="1198021"/>
                  <a:pt x="205906" y="1187088"/>
                </a:cubicBezTo>
                <a:cubicBezTo>
                  <a:pt x="204084" y="1185266"/>
                  <a:pt x="204084" y="1187088"/>
                  <a:pt x="202262" y="1187088"/>
                </a:cubicBezTo>
                <a:close/>
                <a:moveTo>
                  <a:pt x="191329" y="1187088"/>
                </a:moveTo>
                <a:cubicBezTo>
                  <a:pt x="193151" y="1196199"/>
                  <a:pt x="204084" y="1198021"/>
                  <a:pt x="205906" y="1192554"/>
                </a:cubicBezTo>
                <a:cubicBezTo>
                  <a:pt x="200439" y="1188910"/>
                  <a:pt x="196795" y="1188910"/>
                  <a:pt x="191329" y="1187088"/>
                </a:cubicBezTo>
                <a:close/>
                <a:moveTo>
                  <a:pt x="2097551" y="1186860"/>
                </a:moveTo>
                <a:cubicBezTo>
                  <a:pt x="2094590" y="1186633"/>
                  <a:pt x="2091856" y="1187088"/>
                  <a:pt x="2090034" y="1188910"/>
                </a:cubicBezTo>
                <a:cubicBezTo>
                  <a:pt x="2088212" y="1188910"/>
                  <a:pt x="2088212" y="1190732"/>
                  <a:pt x="2086390" y="1190732"/>
                </a:cubicBezTo>
                <a:lnTo>
                  <a:pt x="2106433" y="1203487"/>
                </a:lnTo>
                <a:cubicBezTo>
                  <a:pt x="2104611" y="1208954"/>
                  <a:pt x="2102790" y="1214420"/>
                  <a:pt x="2102790" y="1218065"/>
                </a:cubicBezTo>
                <a:cubicBezTo>
                  <a:pt x="2108256" y="1219887"/>
                  <a:pt x="2113722" y="1219887"/>
                  <a:pt x="2117366" y="1218065"/>
                </a:cubicBezTo>
                <a:lnTo>
                  <a:pt x="2126477" y="1196199"/>
                </a:lnTo>
                <a:cubicBezTo>
                  <a:pt x="2124655" y="1196199"/>
                  <a:pt x="2124655" y="1198021"/>
                  <a:pt x="2124655" y="1198021"/>
                </a:cubicBezTo>
                <a:cubicBezTo>
                  <a:pt x="2124655" y="1196199"/>
                  <a:pt x="2122833" y="1196199"/>
                  <a:pt x="2122833" y="1194376"/>
                </a:cubicBezTo>
                <a:lnTo>
                  <a:pt x="2124655" y="1190732"/>
                </a:lnTo>
                <a:cubicBezTo>
                  <a:pt x="2123744" y="1189821"/>
                  <a:pt x="2122378" y="1188910"/>
                  <a:pt x="2120783" y="1188910"/>
                </a:cubicBezTo>
                <a:lnTo>
                  <a:pt x="2118866" y="1190244"/>
                </a:lnTo>
                <a:lnTo>
                  <a:pt x="2119189" y="1188910"/>
                </a:lnTo>
                <a:cubicBezTo>
                  <a:pt x="2117366" y="1188910"/>
                  <a:pt x="2113722" y="1188910"/>
                  <a:pt x="2113722" y="1190732"/>
                </a:cubicBezTo>
                <a:cubicBezTo>
                  <a:pt x="2113722" y="1192554"/>
                  <a:pt x="2113722" y="1194376"/>
                  <a:pt x="2115544" y="1196199"/>
                </a:cubicBezTo>
                <a:cubicBezTo>
                  <a:pt x="2111900" y="1190732"/>
                  <a:pt x="2108256" y="1198021"/>
                  <a:pt x="2104611" y="1194376"/>
                </a:cubicBezTo>
                <a:cubicBezTo>
                  <a:pt x="2100967" y="1190732"/>
                  <a:pt x="2110078" y="1190732"/>
                  <a:pt x="2106433" y="1188910"/>
                </a:cubicBezTo>
                <a:cubicBezTo>
                  <a:pt x="2103700" y="1187999"/>
                  <a:pt x="2100512" y="1187088"/>
                  <a:pt x="2097551" y="1186860"/>
                </a:cubicBezTo>
                <a:close/>
                <a:moveTo>
                  <a:pt x="1989342" y="1186261"/>
                </a:moveTo>
                <a:lnTo>
                  <a:pt x="1987478" y="1189290"/>
                </a:lnTo>
                <a:lnTo>
                  <a:pt x="1988220" y="1186405"/>
                </a:lnTo>
                <a:close/>
                <a:moveTo>
                  <a:pt x="1402117" y="1185448"/>
                </a:moveTo>
                <a:lnTo>
                  <a:pt x="1397089" y="1188071"/>
                </a:lnTo>
                <a:lnTo>
                  <a:pt x="1400113" y="1186176"/>
                </a:lnTo>
                <a:close/>
                <a:moveTo>
                  <a:pt x="3186982" y="1185266"/>
                </a:moveTo>
                <a:cubicBezTo>
                  <a:pt x="3183338" y="1185266"/>
                  <a:pt x="3181516" y="1185266"/>
                  <a:pt x="3179694" y="1187088"/>
                </a:cubicBezTo>
                <a:cubicBezTo>
                  <a:pt x="3179694" y="1190732"/>
                  <a:pt x="3183338" y="1188910"/>
                  <a:pt x="3188805" y="1188910"/>
                </a:cubicBezTo>
                <a:cubicBezTo>
                  <a:pt x="3186982" y="1188910"/>
                  <a:pt x="3186982" y="1187088"/>
                  <a:pt x="3186982" y="1185266"/>
                </a:cubicBezTo>
                <a:close/>
                <a:moveTo>
                  <a:pt x="2971966" y="1185266"/>
                </a:moveTo>
                <a:cubicBezTo>
                  <a:pt x="2968322" y="1181621"/>
                  <a:pt x="2968322" y="1192554"/>
                  <a:pt x="2971966" y="1192554"/>
                </a:cubicBezTo>
                <a:cubicBezTo>
                  <a:pt x="2971966" y="1188910"/>
                  <a:pt x="2971966" y="1187088"/>
                  <a:pt x="2971966" y="1185266"/>
                </a:cubicBezTo>
                <a:close/>
                <a:moveTo>
                  <a:pt x="2944634" y="1185266"/>
                </a:moveTo>
                <a:cubicBezTo>
                  <a:pt x="2940989" y="1192554"/>
                  <a:pt x="2944634" y="1201665"/>
                  <a:pt x="2939167" y="1203487"/>
                </a:cubicBezTo>
                <a:cubicBezTo>
                  <a:pt x="2940989" y="1208954"/>
                  <a:pt x="2942811" y="1212598"/>
                  <a:pt x="2944634" y="1218065"/>
                </a:cubicBezTo>
                <a:cubicBezTo>
                  <a:pt x="2933700" y="1230820"/>
                  <a:pt x="2926412" y="1247219"/>
                  <a:pt x="2917301" y="1261797"/>
                </a:cubicBezTo>
                <a:cubicBezTo>
                  <a:pt x="2930056" y="1263619"/>
                  <a:pt x="2948278" y="1247219"/>
                  <a:pt x="2959211" y="1259975"/>
                </a:cubicBezTo>
                <a:cubicBezTo>
                  <a:pt x="2964677" y="1258152"/>
                  <a:pt x="2968322" y="1256330"/>
                  <a:pt x="2970144" y="1252686"/>
                </a:cubicBezTo>
                <a:cubicBezTo>
                  <a:pt x="2971966" y="1252686"/>
                  <a:pt x="2970144" y="1254508"/>
                  <a:pt x="2970144" y="1256330"/>
                </a:cubicBezTo>
                <a:cubicBezTo>
                  <a:pt x="2975611" y="1256330"/>
                  <a:pt x="2977888" y="1254508"/>
                  <a:pt x="2979939" y="1252914"/>
                </a:cubicBezTo>
                <a:lnTo>
                  <a:pt x="2981142" y="1252621"/>
                </a:lnTo>
                <a:lnTo>
                  <a:pt x="2979255" y="1254508"/>
                </a:lnTo>
                <a:cubicBezTo>
                  <a:pt x="2982899" y="1250864"/>
                  <a:pt x="2988366" y="1256330"/>
                  <a:pt x="2992010" y="1256330"/>
                </a:cubicBezTo>
                <a:cubicBezTo>
                  <a:pt x="2993832" y="1254508"/>
                  <a:pt x="2993832" y="1252686"/>
                  <a:pt x="2993832" y="1249042"/>
                </a:cubicBezTo>
                <a:cubicBezTo>
                  <a:pt x="2995655" y="1251775"/>
                  <a:pt x="2997477" y="1251775"/>
                  <a:pt x="2999299" y="1250864"/>
                </a:cubicBezTo>
                <a:cubicBezTo>
                  <a:pt x="3002943" y="1250864"/>
                  <a:pt x="3008410" y="1249042"/>
                  <a:pt x="3006587" y="1252686"/>
                </a:cubicBezTo>
                <a:cubicBezTo>
                  <a:pt x="3008410" y="1252686"/>
                  <a:pt x="3006587" y="1247219"/>
                  <a:pt x="3006587" y="1247219"/>
                </a:cubicBezTo>
                <a:lnTo>
                  <a:pt x="3003577" y="1248011"/>
                </a:lnTo>
                <a:lnTo>
                  <a:pt x="3004765" y="1247219"/>
                </a:lnTo>
                <a:cubicBezTo>
                  <a:pt x="3004765" y="1243575"/>
                  <a:pt x="2999299" y="1236286"/>
                  <a:pt x="3006587" y="1236286"/>
                </a:cubicBezTo>
                <a:cubicBezTo>
                  <a:pt x="3002943" y="1234464"/>
                  <a:pt x="3001121" y="1228998"/>
                  <a:pt x="2999299" y="1225353"/>
                </a:cubicBezTo>
                <a:cubicBezTo>
                  <a:pt x="2997477" y="1232642"/>
                  <a:pt x="2999299" y="1236286"/>
                  <a:pt x="2997477" y="1243575"/>
                </a:cubicBezTo>
                <a:cubicBezTo>
                  <a:pt x="2993832" y="1243575"/>
                  <a:pt x="2995654" y="1238108"/>
                  <a:pt x="2992010" y="1241753"/>
                </a:cubicBezTo>
                <a:cubicBezTo>
                  <a:pt x="2993832" y="1232642"/>
                  <a:pt x="2992010" y="1230820"/>
                  <a:pt x="2990188" y="1223531"/>
                </a:cubicBezTo>
                <a:cubicBezTo>
                  <a:pt x="2988366" y="1223531"/>
                  <a:pt x="2986543" y="1223531"/>
                  <a:pt x="2986543" y="1227175"/>
                </a:cubicBezTo>
                <a:cubicBezTo>
                  <a:pt x="2984721" y="1227175"/>
                  <a:pt x="2984721" y="1223531"/>
                  <a:pt x="2984721" y="1221709"/>
                </a:cubicBezTo>
                <a:cubicBezTo>
                  <a:pt x="2981077" y="1221709"/>
                  <a:pt x="2979255" y="1225353"/>
                  <a:pt x="2979255" y="1228998"/>
                </a:cubicBezTo>
                <a:cubicBezTo>
                  <a:pt x="2975610" y="1227175"/>
                  <a:pt x="2971966" y="1225353"/>
                  <a:pt x="2966500" y="1227175"/>
                </a:cubicBezTo>
                <a:cubicBezTo>
                  <a:pt x="2966500" y="1230820"/>
                  <a:pt x="2970144" y="1232642"/>
                  <a:pt x="2966500" y="1234464"/>
                </a:cubicBezTo>
                <a:cubicBezTo>
                  <a:pt x="2962855" y="1230820"/>
                  <a:pt x="2968322" y="1225353"/>
                  <a:pt x="2966500" y="1219887"/>
                </a:cubicBezTo>
                <a:cubicBezTo>
                  <a:pt x="2961033" y="1223531"/>
                  <a:pt x="2961033" y="1218065"/>
                  <a:pt x="2962855" y="1212598"/>
                </a:cubicBezTo>
                <a:cubicBezTo>
                  <a:pt x="2966500" y="1212598"/>
                  <a:pt x="2968322" y="1214420"/>
                  <a:pt x="2970144" y="1212598"/>
                </a:cubicBezTo>
                <a:cubicBezTo>
                  <a:pt x="2971966" y="1208954"/>
                  <a:pt x="2968322" y="1208954"/>
                  <a:pt x="2968322" y="1207132"/>
                </a:cubicBezTo>
                <a:cubicBezTo>
                  <a:pt x="2968322" y="1210776"/>
                  <a:pt x="2964677" y="1207132"/>
                  <a:pt x="2966500" y="1205309"/>
                </a:cubicBezTo>
                <a:cubicBezTo>
                  <a:pt x="2966500" y="1203487"/>
                  <a:pt x="2959211" y="1207132"/>
                  <a:pt x="2961033" y="1199843"/>
                </a:cubicBezTo>
                <a:cubicBezTo>
                  <a:pt x="2955566" y="1199843"/>
                  <a:pt x="2955566" y="1196199"/>
                  <a:pt x="2950100" y="1196199"/>
                </a:cubicBezTo>
                <a:cubicBezTo>
                  <a:pt x="2950100" y="1194376"/>
                  <a:pt x="2951922" y="1192554"/>
                  <a:pt x="2951922" y="1190732"/>
                </a:cubicBezTo>
                <a:cubicBezTo>
                  <a:pt x="2953744" y="1190732"/>
                  <a:pt x="2953744" y="1192554"/>
                  <a:pt x="2955566" y="1192554"/>
                </a:cubicBezTo>
                <a:cubicBezTo>
                  <a:pt x="2953744" y="1188910"/>
                  <a:pt x="2950100" y="1185266"/>
                  <a:pt x="2944634" y="1185266"/>
                </a:cubicBezTo>
                <a:close/>
                <a:moveTo>
                  <a:pt x="488343" y="1185266"/>
                </a:moveTo>
                <a:cubicBezTo>
                  <a:pt x="482876" y="1187088"/>
                  <a:pt x="488343" y="1188910"/>
                  <a:pt x="490165" y="1188910"/>
                </a:cubicBezTo>
                <a:cubicBezTo>
                  <a:pt x="491987" y="1188910"/>
                  <a:pt x="490165" y="1187088"/>
                  <a:pt x="488343" y="1185266"/>
                </a:cubicBezTo>
                <a:close/>
                <a:moveTo>
                  <a:pt x="266038" y="1185266"/>
                </a:moveTo>
                <a:cubicBezTo>
                  <a:pt x="267860" y="1190732"/>
                  <a:pt x="276971" y="1190732"/>
                  <a:pt x="278793" y="1188910"/>
                </a:cubicBezTo>
                <a:cubicBezTo>
                  <a:pt x="273327" y="1185266"/>
                  <a:pt x="271504" y="1188910"/>
                  <a:pt x="266038" y="1185266"/>
                </a:cubicBezTo>
                <a:close/>
                <a:moveTo>
                  <a:pt x="3303602" y="1183443"/>
                </a:moveTo>
                <a:cubicBezTo>
                  <a:pt x="3301780" y="1185266"/>
                  <a:pt x="3299957" y="1187088"/>
                  <a:pt x="3298135" y="1188910"/>
                </a:cubicBezTo>
                <a:cubicBezTo>
                  <a:pt x="3294491" y="1190732"/>
                  <a:pt x="3303602" y="1188910"/>
                  <a:pt x="3305424" y="1187088"/>
                </a:cubicBezTo>
                <a:cubicBezTo>
                  <a:pt x="3305424" y="1185266"/>
                  <a:pt x="3303602" y="1185266"/>
                  <a:pt x="3303602" y="1183443"/>
                </a:cubicBezTo>
                <a:close/>
                <a:moveTo>
                  <a:pt x="2931878" y="1183443"/>
                </a:moveTo>
                <a:cubicBezTo>
                  <a:pt x="2922767" y="1185266"/>
                  <a:pt x="2935523" y="1192554"/>
                  <a:pt x="2937345" y="1198021"/>
                </a:cubicBezTo>
                <a:cubicBezTo>
                  <a:pt x="2940989" y="1192554"/>
                  <a:pt x="2931878" y="1188910"/>
                  <a:pt x="2931878" y="1183443"/>
                </a:cubicBezTo>
                <a:close/>
                <a:moveTo>
                  <a:pt x="1373920" y="1183443"/>
                </a:moveTo>
                <a:cubicBezTo>
                  <a:pt x="1366632" y="1185266"/>
                  <a:pt x="1361164" y="1185266"/>
                  <a:pt x="1355698" y="1188910"/>
                </a:cubicBezTo>
                <a:cubicBezTo>
                  <a:pt x="1357521" y="1190732"/>
                  <a:pt x="1359342" y="1192554"/>
                  <a:pt x="1361164" y="1192554"/>
                </a:cubicBezTo>
                <a:cubicBezTo>
                  <a:pt x="1362987" y="1188910"/>
                  <a:pt x="1372097" y="1192554"/>
                  <a:pt x="1372097" y="1187088"/>
                </a:cubicBezTo>
                <a:cubicBezTo>
                  <a:pt x="1372097" y="1187088"/>
                  <a:pt x="1373920" y="1187088"/>
                  <a:pt x="1373920" y="1187088"/>
                </a:cubicBezTo>
                <a:cubicBezTo>
                  <a:pt x="1375743" y="1187088"/>
                  <a:pt x="1375743" y="1185266"/>
                  <a:pt x="1373920" y="1183443"/>
                </a:cubicBezTo>
                <a:close/>
                <a:moveTo>
                  <a:pt x="1184414" y="1183443"/>
                </a:moveTo>
                <a:cubicBezTo>
                  <a:pt x="1182592" y="1181621"/>
                  <a:pt x="1182592" y="1187088"/>
                  <a:pt x="1180769" y="1185266"/>
                </a:cubicBezTo>
                <a:lnTo>
                  <a:pt x="1180769" y="1190732"/>
                </a:lnTo>
                <a:cubicBezTo>
                  <a:pt x="1178947" y="1188910"/>
                  <a:pt x="1177125" y="1187088"/>
                  <a:pt x="1175303" y="1188910"/>
                </a:cubicBezTo>
                <a:cubicBezTo>
                  <a:pt x="1175303" y="1190732"/>
                  <a:pt x="1180769" y="1194376"/>
                  <a:pt x="1180769" y="1190732"/>
                </a:cubicBezTo>
                <a:lnTo>
                  <a:pt x="1180769" y="1194376"/>
                </a:lnTo>
                <a:cubicBezTo>
                  <a:pt x="1180769" y="1194376"/>
                  <a:pt x="1182592" y="1196199"/>
                  <a:pt x="1182592" y="1196199"/>
                </a:cubicBezTo>
                <a:cubicBezTo>
                  <a:pt x="1184414" y="1194376"/>
                  <a:pt x="1182592" y="1192554"/>
                  <a:pt x="1184414" y="1188910"/>
                </a:cubicBezTo>
                <a:cubicBezTo>
                  <a:pt x="1186236" y="1192554"/>
                  <a:pt x="1182592" y="1196199"/>
                  <a:pt x="1186236" y="1198021"/>
                </a:cubicBezTo>
                <a:lnTo>
                  <a:pt x="1188251" y="1193184"/>
                </a:lnTo>
                <a:lnTo>
                  <a:pt x="1188058" y="1198021"/>
                </a:lnTo>
                <a:cubicBezTo>
                  <a:pt x="1191703" y="1199843"/>
                  <a:pt x="1195346" y="1201665"/>
                  <a:pt x="1198991" y="1199843"/>
                </a:cubicBezTo>
                <a:cubicBezTo>
                  <a:pt x="1197169" y="1198021"/>
                  <a:pt x="1197169" y="1190732"/>
                  <a:pt x="1191703" y="1192554"/>
                </a:cubicBezTo>
                <a:cubicBezTo>
                  <a:pt x="1191703" y="1192554"/>
                  <a:pt x="1193525" y="1190732"/>
                  <a:pt x="1193525" y="1190732"/>
                </a:cubicBezTo>
                <a:cubicBezTo>
                  <a:pt x="1191703" y="1188910"/>
                  <a:pt x="1193525" y="1187088"/>
                  <a:pt x="1191703" y="1185266"/>
                </a:cubicBezTo>
                <a:cubicBezTo>
                  <a:pt x="1191703" y="1185266"/>
                  <a:pt x="1189880" y="1185266"/>
                  <a:pt x="1189880" y="1185266"/>
                </a:cubicBezTo>
                <a:lnTo>
                  <a:pt x="1188438" y="1191650"/>
                </a:lnTo>
                <a:lnTo>
                  <a:pt x="1188058" y="1187088"/>
                </a:lnTo>
                <a:cubicBezTo>
                  <a:pt x="1188058" y="1187088"/>
                  <a:pt x="1186236" y="1187088"/>
                  <a:pt x="1184414" y="1188910"/>
                </a:cubicBezTo>
                <a:cubicBezTo>
                  <a:pt x="1182592" y="1187088"/>
                  <a:pt x="1182592" y="1183443"/>
                  <a:pt x="1184414" y="1183443"/>
                </a:cubicBezTo>
                <a:close/>
                <a:moveTo>
                  <a:pt x="1126104" y="1183443"/>
                </a:moveTo>
                <a:cubicBezTo>
                  <a:pt x="1126104" y="1185266"/>
                  <a:pt x="1126104" y="1187088"/>
                  <a:pt x="1127926" y="1187088"/>
                </a:cubicBezTo>
                <a:cubicBezTo>
                  <a:pt x="1127926" y="1187088"/>
                  <a:pt x="1129748" y="1187088"/>
                  <a:pt x="1131570" y="1185266"/>
                </a:cubicBezTo>
                <a:cubicBezTo>
                  <a:pt x="1129748" y="1185266"/>
                  <a:pt x="1127926" y="1185266"/>
                  <a:pt x="1126104" y="1183443"/>
                </a:cubicBezTo>
                <a:close/>
                <a:moveTo>
                  <a:pt x="1014951" y="1183443"/>
                </a:moveTo>
                <a:cubicBezTo>
                  <a:pt x="1013129" y="1183443"/>
                  <a:pt x="1013129" y="1185266"/>
                  <a:pt x="1011307" y="1185266"/>
                </a:cubicBezTo>
                <a:cubicBezTo>
                  <a:pt x="1011307" y="1187088"/>
                  <a:pt x="1013129" y="1185266"/>
                  <a:pt x="1013129" y="1187088"/>
                </a:cubicBezTo>
                <a:cubicBezTo>
                  <a:pt x="1007663" y="1190732"/>
                  <a:pt x="1007663" y="1196199"/>
                  <a:pt x="1014951" y="1201665"/>
                </a:cubicBezTo>
                <a:cubicBezTo>
                  <a:pt x="1020418" y="1199843"/>
                  <a:pt x="1016774" y="1194376"/>
                  <a:pt x="1020418" y="1194376"/>
                </a:cubicBezTo>
                <a:cubicBezTo>
                  <a:pt x="1020418" y="1198021"/>
                  <a:pt x="1018596" y="1199843"/>
                  <a:pt x="1016774" y="1201665"/>
                </a:cubicBezTo>
                <a:cubicBezTo>
                  <a:pt x="1020418" y="1203487"/>
                  <a:pt x="1025884" y="1205309"/>
                  <a:pt x="1029529" y="1207132"/>
                </a:cubicBezTo>
                <a:lnTo>
                  <a:pt x="1030027" y="1201665"/>
                </a:lnTo>
                <a:lnTo>
                  <a:pt x="1033173" y="1201665"/>
                </a:lnTo>
                <a:cubicBezTo>
                  <a:pt x="1034995" y="1199843"/>
                  <a:pt x="1033173" y="1198021"/>
                  <a:pt x="1034995" y="1196199"/>
                </a:cubicBezTo>
                <a:cubicBezTo>
                  <a:pt x="1031351" y="1194376"/>
                  <a:pt x="1029529" y="1192554"/>
                  <a:pt x="1027707" y="1192554"/>
                </a:cubicBezTo>
                <a:lnTo>
                  <a:pt x="1028468" y="1198646"/>
                </a:lnTo>
                <a:lnTo>
                  <a:pt x="1024062" y="1196199"/>
                </a:lnTo>
                <a:cubicBezTo>
                  <a:pt x="1022240" y="1196199"/>
                  <a:pt x="1022240" y="1194376"/>
                  <a:pt x="1022240" y="1194376"/>
                </a:cubicBezTo>
                <a:cubicBezTo>
                  <a:pt x="1024062" y="1194376"/>
                  <a:pt x="1025884" y="1194376"/>
                  <a:pt x="1027707" y="1196199"/>
                </a:cubicBezTo>
                <a:cubicBezTo>
                  <a:pt x="1029529" y="1188910"/>
                  <a:pt x="1018596" y="1190732"/>
                  <a:pt x="1014951" y="1183443"/>
                </a:cubicBezTo>
                <a:close/>
                <a:moveTo>
                  <a:pt x="696071" y="1183443"/>
                </a:moveTo>
                <a:cubicBezTo>
                  <a:pt x="686960" y="1192554"/>
                  <a:pt x="696071" y="1185266"/>
                  <a:pt x="697893" y="1187088"/>
                </a:cubicBezTo>
                <a:cubicBezTo>
                  <a:pt x="699715" y="1185266"/>
                  <a:pt x="696071" y="1185266"/>
                  <a:pt x="696071" y="1183443"/>
                </a:cubicBezTo>
                <a:close/>
                <a:moveTo>
                  <a:pt x="276971" y="1183443"/>
                </a:moveTo>
                <a:cubicBezTo>
                  <a:pt x="297015" y="1201665"/>
                  <a:pt x="278793" y="1183443"/>
                  <a:pt x="280615" y="1183443"/>
                </a:cubicBezTo>
                <a:cubicBezTo>
                  <a:pt x="278793" y="1183443"/>
                  <a:pt x="278793" y="1183443"/>
                  <a:pt x="276971" y="1183443"/>
                </a:cubicBezTo>
                <a:close/>
                <a:moveTo>
                  <a:pt x="205906" y="1183443"/>
                </a:moveTo>
                <a:cubicBezTo>
                  <a:pt x="209550" y="1188910"/>
                  <a:pt x="216839" y="1192554"/>
                  <a:pt x="218661" y="1190732"/>
                </a:cubicBezTo>
                <a:cubicBezTo>
                  <a:pt x="213195" y="1185266"/>
                  <a:pt x="209550" y="1185266"/>
                  <a:pt x="205906" y="1183443"/>
                </a:cubicBezTo>
                <a:close/>
                <a:moveTo>
                  <a:pt x="321842" y="1182988"/>
                </a:moveTo>
                <a:cubicBezTo>
                  <a:pt x="320703" y="1182988"/>
                  <a:pt x="319792" y="1183443"/>
                  <a:pt x="318882" y="1183443"/>
                </a:cubicBezTo>
                <a:cubicBezTo>
                  <a:pt x="318882" y="1187088"/>
                  <a:pt x="324347" y="1187088"/>
                  <a:pt x="326169" y="1185266"/>
                </a:cubicBezTo>
                <a:cubicBezTo>
                  <a:pt x="324347" y="1183444"/>
                  <a:pt x="322981" y="1182988"/>
                  <a:pt x="321842" y="1182988"/>
                </a:cubicBezTo>
                <a:close/>
                <a:moveTo>
                  <a:pt x="2986460" y="1182697"/>
                </a:moveTo>
                <a:lnTo>
                  <a:pt x="2990188" y="1183443"/>
                </a:lnTo>
                <a:lnTo>
                  <a:pt x="2986543" y="1183443"/>
                </a:lnTo>
                <a:close/>
                <a:moveTo>
                  <a:pt x="436639" y="1182532"/>
                </a:moveTo>
                <a:cubicBezTo>
                  <a:pt x="433678" y="1182077"/>
                  <a:pt x="430944" y="1182532"/>
                  <a:pt x="430034" y="1185266"/>
                </a:cubicBezTo>
                <a:cubicBezTo>
                  <a:pt x="431856" y="1187088"/>
                  <a:pt x="431856" y="1187088"/>
                  <a:pt x="433678" y="1187088"/>
                </a:cubicBezTo>
                <a:cubicBezTo>
                  <a:pt x="433678" y="1185266"/>
                  <a:pt x="431856" y="1185266"/>
                  <a:pt x="431856" y="1185266"/>
                </a:cubicBezTo>
                <a:cubicBezTo>
                  <a:pt x="435500" y="1188910"/>
                  <a:pt x="440966" y="1190732"/>
                  <a:pt x="444611" y="1185266"/>
                </a:cubicBezTo>
                <a:cubicBezTo>
                  <a:pt x="442788" y="1184354"/>
                  <a:pt x="439601" y="1182988"/>
                  <a:pt x="436639" y="1182532"/>
                </a:cubicBezTo>
                <a:close/>
                <a:moveTo>
                  <a:pt x="417734" y="1181621"/>
                </a:moveTo>
                <a:cubicBezTo>
                  <a:pt x="415912" y="1182077"/>
                  <a:pt x="414545" y="1183444"/>
                  <a:pt x="413634" y="1185266"/>
                </a:cubicBezTo>
                <a:cubicBezTo>
                  <a:pt x="420923" y="1190732"/>
                  <a:pt x="422745" y="1185266"/>
                  <a:pt x="424567" y="1183443"/>
                </a:cubicBezTo>
                <a:cubicBezTo>
                  <a:pt x="421834" y="1181621"/>
                  <a:pt x="419556" y="1181166"/>
                  <a:pt x="417734" y="1181621"/>
                </a:cubicBezTo>
                <a:close/>
                <a:moveTo>
                  <a:pt x="3258047" y="1181621"/>
                </a:moveTo>
                <a:cubicBezTo>
                  <a:pt x="3256225" y="1183443"/>
                  <a:pt x="3254403" y="1187088"/>
                  <a:pt x="3258047" y="1188910"/>
                </a:cubicBezTo>
                <a:cubicBezTo>
                  <a:pt x="3263514" y="1190732"/>
                  <a:pt x="3261692" y="1181621"/>
                  <a:pt x="3265336" y="1185266"/>
                </a:cubicBezTo>
                <a:cubicBezTo>
                  <a:pt x="3265336" y="1181621"/>
                  <a:pt x="3259869" y="1183443"/>
                  <a:pt x="3258047" y="1181621"/>
                </a:cubicBezTo>
                <a:close/>
                <a:moveTo>
                  <a:pt x="3201560" y="1181621"/>
                </a:moveTo>
                <a:cubicBezTo>
                  <a:pt x="3205204" y="1185266"/>
                  <a:pt x="3205204" y="1188910"/>
                  <a:pt x="3208849" y="1188910"/>
                </a:cubicBezTo>
                <a:cubicBezTo>
                  <a:pt x="3208849" y="1187088"/>
                  <a:pt x="3208849" y="1185266"/>
                  <a:pt x="3208849" y="1183443"/>
                </a:cubicBezTo>
                <a:cubicBezTo>
                  <a:pt x="3208849" y="1181621"/>
                  <a:pt x="3205204" y="1181621"/>
                  <a:pt x="3201560" y="1181621"/>
                </a:cubicBezTo>
                <a:close/>
                <a:moveTo>
                  <a:pt x="2667663" y="1181621"/>
                </a:moveTo>
                <a:cubicBezTo>
                  <a:pt x="2665841" y="1181621"/>
                  <a:pt x="2665841" y="1183443"/>
                  <a:pt x="2664019" y="1183443"/>
                </a:cubicBezTo>
                <a:cubicBezTo>
                  <a:pt x="2665841" y="1188910"/>
                  <a:pt x="2667663" y="1190732"/>
                  <a:pt x="2667663" y="1196199"/>
                </a:cubicBezTo>
                <a:lnTo>
                  <a:pt x="2669485" y="1196199"/>
                </a:lnTo>
                <a:cubicBezTo>
                  <a:pt x="2671307" y="1198021"/>
                  <a:pt x="2671307" y="1198021"/>
                  <a:pt x="2673130" y="1199843"/>
                </a:cubicBezTo>
                <a:cubicBezTo>
                  <a:pt x="2673130" y="1198021"/>
                  <a:pt x="2673130" y="1194376"/>
                  <a:pt x="2674952" y="1192554"/>
                </a:cubicBezTo>
                <a:cubicBezTo>
                  <a:pt x="2671307" y="1192554"/>
                  <a:pt x="2671307" y="1185266"/>
                  <a:pt x="2667663" y="1181621"/>
                </a:cubicBezTo>
                <a:close/>
                <a:moveTo>
                  <a:pt x="2612998" y="1181621"/>
                </a:moveTo>
                <a:lnTo>
                  <a:pt x="2615428" y="1188910"/>
                </a:lnTo>
                <a:lnTo>
                  <a:pt x="2611176" y="1188910"/>
                </a:lnTo>
                <a:cubicBezTo>
                  <a:pt x="2611176" y="1194376"/>
                  <a:pt x="2611176" y="1198021"/>
                  <a:pt x="2616642" y="1198021"/>
                </a:cubicBezTo>
                <a:lnTo>
                  <a:pt x="2616642" y="1192554"/>
                </a:lnTo>
                <a:lnTo>
                  <a:pt x="2618464" y="1198021"/>
                </a:lnTo>
                <a:cubicBezTo>
                  <a:pt x="2623931" y="1198021"/>
                  <a:pt x="2620287" y="1190732"/>
                  <a:pt x="2623931" y="1188910"/>
                </a:cubicBezTo>
                <a:cubicBezTo>
                  <a:pt x="2622109" y="1185266"/>
                  <a:pt x="2618464" y="1181621"/>
                  <a:pt x="2612998" y="1181621"/>
                </a:cubicBezTo>
                <a:close/>
                <a:moveTo>
                  <a:pt x="1279166" y="1181621"/>
                </a:moveTo>
                <a:cubicBezTo>
                  <a:pt x="1277344" y="1183443"/>
                  <a:pt x="1277344" y="1183443"/>
                  <a:pt x="1277344" y="1185266"/>
                </a:cubicBezTo>
                <a:lnTo>
                  <a:pt x="1277344" y="1183546"/>
                </a:lnTo>
                <a:close/>
                <a:moveTo>
                  <a:pt x="1279166" y="1181621"/>
                </a:moveTo>
                <a:cubicBezTo>
                  <a:pt x="1280988" y="1183443"/>
                  <a:pt x="1281444" y="1185266"/>
                  <a:pt x="1281216" y="1187088"/>
                </a:cubicBezTo>
                <a:lnTo>
                  <a:pt x="1280939" y="1187827"/>
                </a:lnTo>
                <a:close/>
                <a:moveTo>
                  <a:pt x="936598" y="1181621"/>
                </a:moveTo>
                <a:cubicBezTo>
                  <a:pt x="934777" y="1183443"/>
                  <a:pt x="932953" y="1183443"/>
                  <a:pt x="932953" y="1185266"/>
                </a:cubicBezTo>
                <a:cubicBezTo>
                  <a:pt x="934777" y="1187088"/>
                  <a:pt x="938420" y="1183443"/>
                  <a:pt x="936598" y="1181621"/>
                </a:cubicBezTo>
                <a:close/>
                <a:moveTo>
                  <a:pt x="683316" y="1181621"/>
                </a:moveTo>
                <a:cubicBezTo>
                  <a:pt x="681493" y="1185266"/>
                  <a:pt x="685138" y="1187088"/>
                  <a:pt x="688782" y="1183443"/>
                </a:cubicBezTo>
                <a:cubicBezTo>
                  <a:pt x="686960" y="1181621"/>
                  <a:pt x="685138" y="1183443"/>
                  <a:pt x="683316" y="1181621"/>
                </a:cubicBezTo>
                <a:close/>
                <a:moveTo>
                  <a:pt x="473766" y="1181621"/>
                </a:moveTo>
                <a:cubicBezTo>
                  <a:pt x="470121" y="1183443"/>
                  <a:pt x="477410" y="1188910"/>
                  <a:pt x="481054" y="1185266"/>
                </a:cubicBezTo>
                <a:cubicBezTo>
                  <a:pt x="477410" y="1183443"/>
                  <a:pt x="475589" y="1183443"/>
                  <a:pt x="473766" y="1181621"/>
                </a:cubicBezTo>
                <a:close/>
                <a:moveTo>
                  <a:pt x="300660" y="1181621"/>
                </a:moveTo>
                <a:cubicBezTo>
                  <a:pt x="298837" y="1188910"/>
                  <a:pt x="304303" y="1187088"/>
                  <a:pt x="307948" y="1187088"/>
                </a:cubicBezTo>
                <a:cubicBezTo>
                  <a:pt x="307948" y="1183443"/>
                  <a:pt x="304303" y="1185266"/>
                  <a:pt x="300660" y="1181621"/>
                </a:cubicBezTo>
                <a:close/>
                <a:moveTo>
                  <a:pt x="249638" y="1181621"/>
                </a:moveTo>
                <a:cubicBezTo>
                  <a:pt x="253282" y="1188910"/>
                  <a:pt x="264216" y="1192554"/>
                  <a:pt x="269682" y="1190732"/>
                </a:cubicBezTo>
                <a:cubicBezTo>
                  <a:pt x="260571" y="1185266"/>
                  <a:pt x="255105" y="1181621"/>
                  <a:pt x="249638" y="1181621"/>
                </a:cubicBezTo>
                <a:close/>
                <a:moveTo>
                  <a:pt x="149419" y="1181621"/>
                </a:moveTo>
                <a:cubicBezTo>
                  <a:pt x="153063" y="1183443"/>
                  <a:pt x="156707" y="1187088"/>
                  <a:pt x="160352" y="1188910"/>
                </a:cubicBezTo>
                <a:cubicBezTo>
                  <a:pt x="158529" y="1187088"/>
                  <a:pt x="154885" y="1183443"/>
                  <a:pt x="151241" y="1181621"/>
                </a:cubicBezTo>
                <a:cubicBezTo>
                  <a:pt x="154885" y="1183443"/>
                  <a:pt x="158985" y="1187088"/>
                  <a:pt x="163312" y="1189366"/>
                </a:cubicBezTo>
                <a:lnTo>
                  <a:pt x="163996" y="1189342"/>
                </a:lnTo>
                <a:lnTo>
                  <a:pt x="163996" y="1190732"/>
                </a:lnTo>
                <a:cubicBezTo>
                  <a:pt x="160352" y="1192554"/>
                  <a:pt x="154885" y="1188910"/>
                  <a:pt x="153063" y="1188910"/>
                </a:cubicBezTo>
                <a:cubicBezTo>
                  <a:pt x="153063" y="1187088"/>
                  <a:pt x="154885" y="1188910"/>
                  <a:pt x="156707" y="1187088"/>
                </a:cubicBezTo>
                <a:cubicBezTo>
                  <a:pt x="153063" y="1185266"/>
                  <a:pt x="151241" y="1185266"/>
                  <a:pt x="149419" y="1181621"/>
                </a:cubicBezTo>
                <a:close/>
                <a:moveTo>
                  <a:pt x="1451714" y="1181410"/>
                </a:moveTo>
                <a:lnTo>
                  <a:pt x="1450761" y="1181827"/>
                </a:lnTo>
                <a:lnTo>
                  <a:pt x="1450451" y="1181621"/>
                </a:lnTo>
                <a:close/>
                <a:moveTo>
                  <a:pt x="2753305" y="1181165"/>
                </a:moveTo>
                <a:cubicBezTo>
                  <a:pt x="2751939" y="1182076"/>
                  <a:pt x="2750572" y="1183443"/>
                  <a:pt x="2749661" y="1183443"/>
                </a:cubicBezTo>
                <a:cubicBezTo>
                  <a:pt x="2747839" y="1181621"/>
                  <a:pt x="2753305" y="1187088"/>
                  <a:pt x="2756950" y="1185266"/>
                </a:cubicBezTo>
                <a:cubicBezTo>
                  <a:pt x="2756950" y="1183443"/>
                  <a:pt x="2756950" y="1183443"/>
                  <a:pt x="2756950" y="1181621"/>
                </a:cubicBezTo>
                <a:cubicBezTo>
                  <a:pt x="2756039" y="1179799"/>
                  <a:pt x="2754672" y="1180254"/>
                  <a:pt x="2753305" y="1181165"/>
                </a:cubicBezTo>
                <a:close/>
                <a:moveTo>
                  <a:pt x="2044529" y="1179992"/>
                </a:moveTo>
                <a:lnTo>
                  <a:pt x="2048352" y="1182076"/>
                </a:lnTo>
                <a:lnTo>
                  <a:pt x="2049946" y="1185266"/>
                </a:lnTo>
                <a:cubicBezTo>
                  <a:pt x="2045391" y="1185266"/>
                  <a:pt x="2044024" y="1182532"/>
                  <a:pt x="2044480" y="1180027"/>
                </a:cubicBezTo>
                <a:close/>
                <a:moveTo>
                  <a:pt x="3367378" y="1179799"/>
                </a:moveTo>
                <a:cubicBezTo>
                  <a:pt x="3367378" y="1181621"/>
                  <a:pt x="3367378" y="1181621"/>
                  <a:pt x="3369200" y="1183443"/>
                </a:cubicBezTo>
                <a:cubicBezTo>
                  <a:pt x="3368289" y="1184354"/>
                  <a:pt x="3366467" y="1184810"/>
                  <a:pt x="3364872" y="1184810"/>
                </a:cubicBezTo>
                <a:lnTo>
                  <a:pt x="3364257" y="1184526"/>
                </a:lnTo>
                <a:lnTo>
                  <a:pt x="3363734" y="1183443"/>
                </a:lnTo>
                <a:cubicBezTo>
                  <a:pt x="3364645" y="1182532"/>
                  <a:pt x="3366012" y="1182076"/>
                  <a:pt x="3366923" y="1181393"/>
                </a:cubicBezTo>
                <a:lnTo>
                  <a:pt x="3367112" y="1179977"/>
                </a:lnTo>
                <a:close/>
                <a:moveTo>
                  <a:pt x="3316357" y="1179799"/>
                </a:moveTo>
                <a:cubicBezTo>
                  <a:pt x="3316357" y="1179799"/>
                  <a:pt x="3314535" y="1181621"/>
                  <a:pt x="3312713" y="1181621"/>
                </a:cubicBezTo>
                <a:cubicBezTo>
                  <a:pt x="3310890" y="1187088"/>
                  <a:pt x="3318179" y="1183443"/>
                  <a:pt x="3318179" y="1185266"/>
                </a:cubicBezTo>
                <a:cubicBezTo>
                  <a:pt x="3320001" y="1185266"/>
                  <a:pt x="3318179" y="1181621"/>
                  <a:pt x="3316357" y="1179799"/>
                </a:cubicBezTo>
                <a:close/>
                <a:moveTo>
                  <a:pt x="1091484" y="1179799"/>
                </a:moveTo>
                <a:cubicBezTo>
                  <a:pt x="1084194" y="1192554"/>
                  <a:pt x="1095127" y="1207132"/>
                  <a:pt x="1095127" y="1221709"/>
                </a:cubicBezTo>
                <a:cubicBezTo>
                  <a:pt x="1096949" y="1223531"/>
                  <a:pt x="1098771" y="1223531"/>
                  <a:pt x="1100593" y="1223531"/>
                </a:cubicBezTo>
                <a:cubicBezTo>
                  <a:pt x="1100593" y="1223531"/>
                  <a:pt x="1098771" y="1221709"/>
                  <a:pt x="1098771" y="1221709"/>
                </a:cubicBezTo>
                <a:cubicBezTo>
                  <a:pt x="1102416" y="1223531"/>
                  <a:pt x="1106060" y="1221709"/>
                  <a:pt x="1106060" y="1225353"/>
                </a:cubicBezTo>
                <a:cubicBezTo>
                  <a:pt x="1109704" y="1223531"/>
                  <a:pt x="1107882" y="1221709"/>
                  <a:pt x="1107882" y="1219887"/>
                </a:cubicBezTo>
                <a:cubicBezTo>
                  <a:pt x="1107882" y="1219887"/>
                  <a:pt x="1109704" y="1221709"/>
                  <a:pt x="1109704" y="1221709"/>
                </a:cubicBezTo>
                <a:cubicBezTo>
                  <a:pt x="1111526" y="1219887"/>
                  <a:pt x="1113349" y="1219887"/>
                  <a:pt x="1111526" y="1218065"/>
                </a:cubicBezTo>
                <a:cubicBezTo>
                  <a:pt x="1111526" y="1218065"/>
                  <a:pt x="1113349" y="1219887"/>
                  <a:pt x="1113349" y="1219887"/>
                </a:cubicBezTo>
                <a:cubicBezTo>
                  <a:pt x="1116993" y="1216242"/>
                  <a:pt x="1113349" y="1212598"/>
                  <a:pt x="1115171" y="1208954"/>
                </a:cubicBezTo>
                <a:cubicBezTo>
                  <a:pt x="1118815" y="1208954"/>
                  <a:pt x="1115171" y="1214420"/>
                  <a:pt x="1116993" y="1216242"/>
                </a:cubicBezTo>
                <a:cubicBezTo>
                  <a:pt x="1120637" y="1212598"/>
                  <a:pt x="1120637" y="1207132"/>
                  <a:pt x="1120637" y="1201665"/>
                </a:cubicBezTo>
                <a:cubicBezTo>
                  <a:pt x="1113349" y="1192554"/>
                  <a:pt x="1104238" y="1185266"/>
                  <a:pt x="1093305" y="1181621"/>
                </a:cubicBezTo>
                <a:cubicBezTo>
                  <a:pt x="1091484" y="1181621"/>
                  <a:pt x="1091484" y="1179799"/>
                  <a:pt x="1091484" y="1179799"/>
                </a:cubicBezTo>
                <a:close/>
                <a:moveTo>
                  <a:pt x="1073262" y="1179799"/>
                </a:moveTo>
                <a:cubicBezTo>
                  <a:pt x="1073262" y="1181621"/>
                  <a:pt x="1073262" y="1183443"/>
                  <a:pt x="1075083" y="1185266"/>
                </a:cubicBezTo>
                <a:cubicBezTo>
                  <a:pt x="1073262" y="1187088"/>
                  <a:pt x="1073262" y="1185266"/>
                  <a:pt x="1071439" y="1183443"/>
                </a:cubicBezTo>
                <a:cubicBezTo>
                  <a:pt x="1069616" y="1185266"/>
                  <a:pt x="1069616" y="1188910"/>
                  <a:pt x="1067794" y="1190732"/>
                </a:cubicBezTo>
                <a:cubicBezTo>
                  <a:pt x="1067794" y="1187088"/>
                  <a:pt x="1069616" y="1185266"/>
                  <a:pt x="1067794" y="1183443"/>
                </a:cubicBezTo>
                <a:cubicBezTo>
                  <a:pt x="1065972" y="1181621"/>
                  <a:pt x="1062328" y="1181621"/>
                  <a:pt x="1058683" y="1183443"/>
                </a:cubicBezTo>
                <a:cubicBezTo>
                  <a:pt x="1062328" y="1187088"/>
                  <a:pt x="1062328" y="1190732"/>
                  <a:pt x="1065972" y="1194376"/>
                </a:cubicBezTo>
                <a:cubicBezTo>
                  <a:pt x="1067794" y="1190732"/>
                  <a:pt x="1064151" y="1188910"/>
                  <a:pt x="1064151" y="1185266"/>
                </a:cubicBezTo>
                <a:cubicBezTo>
                  <a:pt x="1069616" y="1192554"/>
                  <a:pt x="1067794" y="1198021"/>
                  <a:pt x="1073262" y="1207132"/>
                </a:cubicBezTo>
                <a:cubicBezTo>
                  <a:pt x="1075083" y="1207132"/>
                  <a:pt x="1076905" y="1207132"/>
                  <a:pt x="1076905" y="1205309"/>
                </a:cubicBezTo>
                <a:cubicBezTo>
                  <a:pt x="1075083" y="1208954"/>
                  <a:pt x="1080549" y="1212598"/>
                  <a:pt x="1084194" y="1214420"/>
                </a:cubicBezTo>
                <a:cubicBezTo>
                  <a:pt x="1084194" y="1208954"/>
                  <a:pt x="1089660" y="1199843"/>
                  <a:pt x="1082373" y="1194376"/>
                </a:cubicBezTo>
                <a:cubicBezTo>
                  <a:pt x="1093305" y="1188910"/>
                  <a:pt x="1078727" y="1179799"/>
                  <a:pt x="1073262" y="1179799"/>
                </a:cubicBezTo>
                <a:close/>
                <a:moveTo>
                  <a:pt x="885577" y="1179799"/>
                </a:moveTo>
                <a:cubicBezTo>
                  <a:pt x="883755" y="1181621"/>
                  <a:pt x="883755" y="1183443"/>
                  <a:pt x="883755" y="1187088"/>
                </a:cubicBezTo>
                <a:cubicBezTo>
                  <a:pt x="887399" y="1185266"/>
                  <a:pt x="887399" y="1183443"/>
                  <a:pt x="887399" y="1181621"/>
                </a:cubicBezTo>
                <a:cubicBezTo>
                  <a:pt x="887399" y="1179799"/>
                  <a:pt x="885577" y="1181621"/>
                  <a:pt x="885577" y="1179799"/>
                </a:cubicBezTo>
                <a:close/>
                <a:moveTo>
                  <a:pt x="809046" y="1179799"/>
                </a:moveTo>
                <a:cubicBezTo>
                  <a:pt x="809046" y="1183443"/>
                  <a:pt x="809046" y="1185266"/>
                  <a:pt x="810868" y="1188910"/>
                </a:cubicBezTo>
                <a:cubicBezTo>
                  <a:pt x="812690" y="1188910"/>
                  <a:pt x="814512" y="1187088"/>
                  <a:pt x="816334" y="1185266"/>
                </a:cubicBezTo>
                <a:cubicBezTo>
                  <a:pt x="814512" y="1183443"/>
                  <a:pt x="810868" y="1181621"/>
                  <a:pt x="809046" y="1179799"/>
                </a:cubicBezTo>
                <a:close/>
                <a:moveTo>
                  <a:pt x="652339" y="1179799"/>
                </a:moveTo>
                <a:cubicBezTo>
                  <a:pt x="648694" y="1179799"/>
                  <a:pt x="646872" y="1181621"/>
                  <a:pt x="641407" y="1183443"/>
                </a:cubicBezTo>
                <a:cubicBezTo>
                  <a:pt x="646872" y="1185266"/>
                  <a:pt x="650516" y="1187088"/>
                  <a:pt x="655983" y="1185266"/>
                </a:cubicBezTo>
                <a:cubicBezTo>
                  <a:pt x="654161" y="1181621"/>
                  <a:pt x="652339" y="1183443"/>
                  <a:pt x="650516" y="1183443"/>
                </a:cubicBezTo>
                <a:cubicBezTo>
                  <a:pt x="650516" y="1179799"/>
                  <a:pt x="652339" y="1181621"/>
                  <a:pt x="652339" y="1179799"/>
                </a:cubicBezTo>
                <a:close/>
                <a:moveTo>
                  <a:pt x="491987" y="1179799"/>
                </a:moveTo>
                <a:cubicBezTo>
                  <a:pt x="490165" y="1181621"/>
                  <a:pt x="493809" y="1187088"/>
                  <a:pt x="497454" y="1185266"/>
                </a:cubicBezTo>
                <a:cubicBezTo>
                  <a:pt x="495632" y="1181621"/>
                  <a:pt x="491987" y="1181621"/>
                  <a:pt x="491987" y="1179799"/>
                </a:cubicBezTo>
                <a:close/>
                <a:moveTo>
                  <a:pt x="453722" y="1179799"/>
                </a:moveTo>
                <a:cubicBezTo>
                  <a:pt x="455544" y="1183443"/>
                  <a:pt x="468299" y="1187088"/>
                  <a:pt x="473766" y="1185266"/>
                </a:cubicBezTo>
                <a:cubicBezTo>
                  <a:pt x="469210" y="1181621"/>
                  <a:pt x="465566" y="1180255"/>
                  <a:pt x="462377" y="1179799"/>
                </a:cubicBezTo>
                <a:cubicBezTo>
                  <a:pt x="459188" y="1179343"/>
                  <a:pt x="456455" y="1179799"/>
                  <a:pt x="453722" y="1179799"/>
                </a:cubicBezTo>
                <a:close/>
                <a:moveTo>
                  <a:pt x="302481" y="1179799"/>
                </a:moveTo>
                <a:cubicBezTo>
                  <a:pt x="306126" y="1183443"/>
                  <a:pt x="317059" y="1188910"/>
                  <a:pt x="317059" y="1183443"/>
                </a:cubicBezTo>
                <a:cubicBezTo>
                  <a:pt x="311592" y="1179799"/>
                  <a:pt x="307948" y="1181621"/>
                  <a:pt x="302481" y="1179799"/>
                </a:cubicBezTo>
                <a:close/>
                <a:moveTo>
                  <a:pt x="2939623" y="1179343"/>
                </a:moveTo>
                <a:cubicBezTo>
                  <a:pt x="2937800" y="1179343"/>
                  <a:pt x="2935523" y="1179799"/>
                  <a:pt x="2933700" y="1179799"/>
                </a:cubicBezTo>
                <a:cubicBezTo>
                  <a:pt x="2933700" y="1183443"/>
                  <a:pt x="2935523" y="1183443"/>
                  <a:pt x="2935523" y="1187088"/>
                </a:cubicBezTo>
                <a:cubicBezTo>
                  <a:pt x="2939167" y="1187088"/>
                  <a:pt x="2937345" y="1181621"/>
                  <a:pt x="2942811" y="1181621"/>
                </a:cubicBezTo>
                <a:cubicBezTo>
                  <a:pt x="2942811" y="1179799"/>
                  <a:pt x="2941445" y="1179343"/>
                  <a:pt x="2939623" y="1179343"/>
                </a:cubicBezTo>
                <a:close/>
                <a:moveTo>
                  <a:pt x="1492911" y="1178877"/>
                </a:moveTo>
                <a:lnTo>
                  <a:pt x="1490539" y="1179799"/>
                </a:lnTo>
                <a:lnTo>
                  <a:pt x="1490734" y="1179409"/>
                </a:lnTo>
                <a:lnTo>
                  <a:pt x="1491677" y="1179116"/>
                </a:lnTo>
                <a:close/>
                <a:moveTo>
                  <a:pt x="3004765" y="1177977"/>
                </a:moveTo>
                <a:cubicBezTo>
                  <a:pt x="2997477" y="1176155"/>
                  <a:pt x="3001121" y="1188910"/>
                  <a:pt x="2997477" y="1181621"/>
                </a:cubicBezTo>
                <a:cubicBezTo>
                  <a:pt x="2993832" y="1187088"/>
                  <a:pt x="3001121" y="1194376"/>
                  <a:pt x="3006587" y="1194376"/>
                </a:cubicBezTo>
                <a:cubicBezTo>
                  <a:pt x="3006587" y="1192554"/>
                  <a:pt x="3004765" y="1190732"/>
                  <a:pt x="3004765" y="1188910"/>
                </a:cubicBezTo>
                <a:cubicBezTo>
                  <a:pt x="3008410" y="1188910"/>
                  <a:pt x="3008410" y="1192554"/>
                  <a:pt x="3010232" y="1196199"/>
                </a:cubicBezTo>
                <a:cubicBezTo>
                  <a:pt x="3010232" y="1198021"/>
                  <a:pt x="3006587" y="1198021"/>
                  <a:pt x="3004765" y="1198021"/>
                </a:cubicBezTo>
                <a:cubicBezTo>
                  <a:pt x="3006587" y="1199843"/>
                  <a:pt x="3006587" y="1201665"/>
                  <a:pt x="3010232" y="1201665"/>
                </a:cubicBezTo>
                <a:cubicBezTo>
                  <a:pt x="3010232" y="1199843"/>
                  <a:pt x="3010232" y="1199843"/>
                  <a:pt x="3010232" y="1198021"/>
                </a:cubicBezTo>
                <a:cubicBezTo>
                  <a:pt x="3015698" y="1199843"/>
                  <a:pt x="3024809" y="1198021"/>
                  <a:pt x="3024809" y="1205309"/>
                </a:cubicBezTo>
                <a:cubicBezTo>
                  <a:pt x="3028453" y="1207132"/>
                  <a:pt x="3030276" y="1203487"/>
                  <a:pt x="3035742" y="1203487"/>
                </a:cubicBezTo>
                <a:cubicBezTo>
                  <a:pt x="3032098" y="1198021"/>
                  <a:pt x="3035742" y="1194376"/>
                  <a:pt x="3039387" y="1192554"/>
                </a:cubicBezTo>
                <a:cubicBezTo>
                  <a:pt x="3035742" y="1190732"/>
                  <a:pt x="3033920" y="1192554"/>
                  <a:pt x="3030276" y="1188910"/>
                </a:cubicBezTo>
                <a:cubicBezTo>
                  <a:pt x="3030276" y="1192554"/>
                  <a:pt x="3030276" y="1196199"/>
                  <a:pt x="3030276" y="1199843"/>
                </a:cubicBezTo>
                <a:cubicBezTo>
                  <a:pt x="3024809" y="1198021"/>
                  <a:pt x="3026631" y="1187088"/>
                  <a:pt x="3022987" y="1183443"/>
                </a:cubicBezTo>
                <a:cubicBezTo>
                  <a:pt x="3019343" y="1185266"/>
                  <a:pt x="3022987" y="1190732"/>
                  <a:pt x="3022987" y="1190732"/>
                </a:cubicBezTo>
                <a:cubicBezTo>
                  <a:pt x="3019343" y="1192554"/>
                  <a:pt x="3021165" y="1188910"/>
                  <a:pt x="3019343" y="1187088"/>
                </a:cubicBezTo>
                <a:cubicBezTo>
                  <a:pt x="3015698" y="1188910"/>
                  <a:pt x="3021165" y="1190732"/>
                  <a:pt x="3017521" y="1192554"/>
                </a:cubicBezTo>
                <a:cubicBezTo>
                  <a:pt x="3013876" y="1192554"/>
                  <a:pt x="3015698" y="1185266"/>
                  <a:pt x="3015698" y="1181621"/>
                </a:cubicBezTo>
                <a:cubicBezTo>
                  <a:pt x="3012054" y="1181621"/>
                  <a:pt x="3012054" y="1183443"/>
                  <a:pt x="3012054" y="1187088"/>
                </a:cubicBezTo>
                <a:cubicBezTo>
                  <a:pt x="3008410" y="1187088"/>
                  <a:pt x="3010232" y="1183443"/>
                  <a:pt x="3008410" y="1181621"/>
                </a:cubicBezTo>
                <a:cubicBezTo>
                  <a:pt x="3006587" y="1183443"/>
                  <a:pt x="3006587" y="1185266"/>
                  <a:pt x="3006587" y="1188910"/>
                </a:cubicBezTo>
                <a:cubicBezTo>
                  <a:pt x="3002943" y="1188910"/>
                  <a:pt x="3006587" y="1183443"/>
                  <a:pt x="3004765" y="1177977"/>
                </a:cubicBezTo>
                <a:close/>
                <a:moveTo>
                  <a:pt x="2292295" y="1177977"/>
                </a:moveTo>
                <a:cubicBezTo>
                  <a:pt x="2286829" y="1183443"/>
                  <a:pt x="2279540" y="1190732"/>
                  <a:pt x="2272251" y="1196199"/>
                </a:cubicBezTo>
                <a:lnTo>
                  <a:pt x="2286829" y="1212598"/>
                </a:lnTo>
                <a:lnTo>
                  <a:pt x="2297762" y="1203487"/>
                </a:lnTo>
                <a:cubicBezTo>
                  <a:pt x="2295940" y="1201665"/>
                  <a:pt x="2294117" y="1201665"/>
                  <a:pt x="2292295" y="1199843"/>
                </a:cubicBezTo>
                <a:cubicBezTo>
                  <a:pt x="2285007" y="1194376"/>
                  <a:pt x="2286829" y="1185266"/>
                  <a:pt x="2297762" y="1183443"/>
                </a:cubicBezTo>
                <a:cubicBezTo>
                  <a:pt x="2294117" y="1185266"/>
                  <a:pt x="2290473" y="1181621"/>
                  <a:pt x="2292295" y="1177977"/>
                </a:cubicBezTo>
                <a:close/>
                <a:moveTo>
                  <a:pt x="2090034" y="1177977"/>
                </a:moveTo>
                <a:cubicBezTo>
                  <a:pt x="2091856" y="1177977"/>
                  <a:pt x="2088212" y="1179799"/>
                  <a:pt x="2088212" y="1181621"/>
                </a:cubicBezTo>
                <a:lnTo>
                  <a:pt x="2089118" y="1177997"/>
                </a:lnTo>
                <a:close/>
                <a:moveTo>
                  <a:pt x="821801" y="1177977"/>
                </a:moveTo>
                <a:cubicBezTo>
                  <a:pt x="818156" y="1185266"/>
                  <a:pt x="825445" y="1187088"/>
                  <a:pt x="829089" y="1187088"/>
                </a:cubicBezTo>
                <a:cubicBezTo>
                  <a:pt x="832734" y="1181621"/>
                  <a:pt x="823623" y="1177977"/>
                  <a:pt x="821801" y="1177977"/>
                </a:cubicBezTo>
                <a:close/>
                <a:moveTo>
                  <a:pt x="1756575" y="1176180"/>
                </a:moveTo>
                <a:lnTo>
                  <a:pt x="1783908" y="1205336"/>
                </a:lnTo>
                <a:lnTo>
                  <a:pt x="1783908" y="1214448"/>
                </a:lnTo>
                <a:cubicBezTo>
                  <a:pt x="1774797" y="1201692"/>
                  <a:pt x="1763864" y="1188936"/>
                  <a:pt x="1756575" y="1176180"/>
                </a:cubicBezTo>
                <a:close/>
                <a:moveTo>
                  <a:pt x="3267158" y="1176155"/>
                </a:moveTo>
                <a:cubicBezTo>
                  <a:pt x="3265336" y="1181621"/>
                  <a:pt x="3272625" y="1177977"/>
                  <a:pt x="3270803" y="1183443"/>
                </a:cubicBezTo>
                <a:cubicBezTo>
                  <a:pt x="3279913" y="1179799"/>
                  <a:pt x="3270803" y="1176155"/>
                  <a:pt x="3267158" y="1176155"/>
                </a:cubicBezTo>
                <a:close/>
                <a:moveTo>
                  <a:pt x="2142877" y="1176155"/>
                </a:moveTo>
                <a:cubicBezTo>
                  <a:pt x="2137410" y="1177977"/>
                  <a:pt x="2131944" y="1181621"/>
                  <a:pt x="2126477" y="1185266"/>
                </a:cubicBezTo>
                <a:cubicBezTo>
                  <a:pt x="2128300" y="1185266"/>
                  <a:pt x="2131944" y="1185266"/>
                  <a:pt x="2133766" y="1185266"/>
                </a:cubicBezTo>
                <a:cubicBezTo>
                  <a:pt x="2133766" y="1187088"/>
                  <a:pt x="2131944" y="1188910"/>
                  <a:pt x="2131944" y="1188910"/>
                </a:cubicBezTo>
                <a:lnTo>
                  <a:pt x="2133766" y="1190732"/>
                </a:lnTo>
                <a:cubicBezTo>
                  <a:pt x="2133766" y="1190732"/>
                  <a:pt x="2133766" y="1188910"/>
                  <a:pt x="2133766" y="1187088"/>
                </a:cubicBezTo>
                <a:cubicBezTo>
                  <a:pt x="2133766" y="1185266"/>
                  <a:pt x="2133766" y="1185266"/>
                  <a:pt x="2133766" y="1185266"/>
                </a:cubicBezTo>
                <a:cubicBezTo>
                  <a:pt x="2139233" y="1187088"/>
                  <a:pt x="2141055" y="1194376"/>
                  <a:pt x="2148344" y="1192554"/>
                </a:cubicBezTo>
                <a:cubicBezTo>
                  <a:pt x="2144699" y="1194376"/>
                  <a:pt x="2142877" y="1194376"/>
                  <a:pt x="2141055" y="1192554"/>
                </a:cubicBezTo>
                <a:cubicBezTo>
                  <a:pt x="2142877" y="1194376"/>
                  <a:pt x="2141055" y="1201665"/>
                  <a:pt x="2142877" y="1201665"/>
                </a:cubicBezTo>
                <a:cubicBezTo>
                  <a:pt x="2159277" y="1198021"/>
                  <a:pt x="2177498" y="1201665"/>
                  <a:pt x="2188431" y="1187088"/>
                </a:cubicBezTo>
                <a:lnTo>
                  <a:pt x="2186609" y="1181621"/>
                </a:lnTo>
                <a:cubicBezTo>
                  <a:pt x="2182965" y="1183443"/>
                  <a:pt x="2181143" y="1181621"/>
                  <a:pt x="2177498" y="1179799"/>
                </a:cubicBezTo>
                <a:lnTo>
                  <a:pt x="2175676" y="1179799"/>
                </a:lnTo>
                <a:cubicBezTo>
                  <a:pt x="2173854" y="1187088"/>
                  <a:pt x="2168387" y="1185266"/>
                  <a:pt x="2162921" y="1185266"/>
                </a:cubicBezTo>
                <a:cubicBezTo>
                  <a:pt x="2164743" y="1185266"/>
                  <a:pt x="2164743" y="1183443"/>
                  <a:pt x="2164743" y="1183443"/>
                </a:cubicBezTo>
                <a:lnTo>
                  <a:pt x="2142877" y="1179799"/>
                </a:lnTo>
                <a:close/>
                <a:moveTo>
                  <a:pt x="1506938" y="1176155"/>
                </a:moveTo>
                <a:lnTo>
                  <a:pt x="1492911" y="1178877"/>
                </a:lnTo>
                <a:lnTo>
                  <a:pt x="1498739" y="1176610"/>
                </a:lnTo>
                <a:cubicBezTo>
                  <a:pt x="1501472" y="1175699"/>
                  <a:pt x="1504205" y="1175244"/>
                  <a:pt x="1506938" y="1176155"/>
                </a:cubicBezTo>
                <a:close/>
                <a:moveTo>
                  <a:pt x="1277344" y="1176155"/>
                </a:moveTo>
                <a:cubicBezTo>
                  <a:pt x="1278255" y="1177977"/>
                  <a:pt x="1277799" y="1179343"/>
                  <a:pt x="1277344" y="1180710"/>
                </a:cubicBezTo>
                <a:lnTo>
                  <a:pt x="1277344" y="1183546"/>
                </a:lnTo>
                <a:lnTo>
                  <a:pt x="1267095" y="1194376"/>
                </a:lnTo>
                <a:lnTo>
                  <a:pt x="1262440" y="1198794"/>
                </a:lnTo>
                <a:lnTo>
                  <a:pt x="1255478" y="1198021"/>
                </a:lnTo>
                <a:cubicBezTo>
                  <a:pt x="1262767" y="1190732"/>
                  <a:pt x="1270056" y="1183443"/>
                  <a:pt x="1277344" y="1176155"/>
                </a:cubicBezTo>
                <a:close/>
                <a:moveTo>
                  <a:pt x="1197169" y="1176155"/>
                </a:moveTo>
                <a:cubicBezTo>
                  <a:pt x="1195346" y="1177977"/>
                  <a:pt x="1195346" y="1179799"/>
                  <a:pt x="1193525" y="1181621"/>
                </a:cubicBezTo>
                <a:cubicBezTo>
                  <a:pt x="1195346" y="1177977"/>
                  <a:pt x="1191703" y="1179799"/>
                  <a:pt x="1189880" y="1181621"/>
                </a:cubicBezTo>
                <a:cubicBezTo>
                  <a:pt x="1191703" y="1183443"/>
                  <a:pt x="1191703" y="1181621"/>
                  <a:pt x="1193525" y="1183443"/>
                </a:cubicBezTo>
                <a:cubicBezTo>
                  <a:pt x="1197169" y="1181621"/>
                  <a:pt x="1198991" y="1181621"/>
                  <a:pt x="1200814" y="1179799"/>
                </a:cubicBezTo>
                <a:cubicBezTo>
                  <a:pt x="1200814" y="1176155"/>
                  <a:pt x="1198991" y="1176155"/>
                  <a:pt x="1197169" y="1176155"/>
                </a:cubicBezTo>
                <a:close/>
                <a:moveTo>
                  <a:pt x="1102416" y="1176155"/>
                </a:moveTo>
                <a:cubicBezTo>
                  <a:pt x="1109704" y="1179799"/>
                  <a:pt x="1116993" y="1181621"/>
                  <a:pt x="1124282" y="1187088"/>
                </a:cubicBezTo>
                <a:cubicBezTo>
                  <a:pt x="1122459" y="1179799"/>
                  <a:pt x="1109704" y="1176155"/>
                  <a:pt x="1102416" y="1176155"/>
                </a:cubicBezTo>
                <a:close/>
                <a:moveTo>
                  <a:pt x="896510" y="1176155"/>
                </a:moveTo>
                <a:cubicBezTo>
                  <a:pt x="894688" y="1176155"/>
                  <a:pt x="892866" y="1181621"/>
                  <a:pt x="891043" y="1183443"/>
                </a:cubicBezTo>
                <a:cubicBezTo>
                  <a:pt x="894688" y="1183443"/>
                  <a:pt x="896510" y="1185266"/>
                  <a:pt x="896510" y="1187088"/>
                </a:cubicBezTo>
                <a:cubicBezTo>
                  <a:pt x="896510" y="1183443"/>
                  <a:pt x="896510" y="1179799"/>
                  <a:pt x="896510" y="1176155"/>
                </a:cubicBezTo>
                <a:close/>
                <a:moveTo>
                  <a:pt x="812690" y="1176155"/>
                </a:moveTo>
                <a:cubicBezTo>
                  <a:pt x="812690" y="1177977"/>
                  <a:pt x="816334" y="1181621"/>
                  <a:pt x="818156" y="1181621"/>
                </a:cubicBezTo>
                <a:cubicBezTo>
                  <a:pt x="819979" y="1179799"/>
                  <a:pt x="816334" y="1177977"/>
                  <a:pt x="818156" y="1176155"/>
                </a:cubicBezTo>
                <a:cubicBezTo>
                  <a:pt x="816334" y="1176155"/>
                  <a:pt x="814512" y="1176155"/>
                  <a:pt x="812690" y="1176155"/>
                </a:cubicBezTo>
                <a:close/>
                <a:moveTo>
                  <a:pt x="284259" y="1176155"/>
                </a:moveTo>
                <a:cubicBezTo>
                  <a:pt x="284259" y="1177977"/>
                  <a:pt x="289726" y="1181621"/>
                  <a:pt x="291549" y="1177977"/>
                </a:cubicBezTo>
                <a:cubicBezTo>
                  <a:pt x="287904" y="1176155"/>
                  <a:pt x="286082" y="1177977"/>
                  <a:pt x="284259" y="1176155"/>
                </a:cubicBezTo>
                <a:close/>
                <a:moveTo>
                  <a:pt x="1394631" y="1175890"/>
                </a:moveTo>
                <a:lnTo>
                  <a:pt x="1391686" y="1178204"/>
                </a:lnTo>
                <a:lnTo>
                  <a:pt x="1386365" y="1179682"/>
                </a:lnTo>
                <a:lnTo>
                  <a:pt x="1389636" y="1177066"/>
                </a:lnTo>
                <a:close/>
                <a:moveTo>
                  <a:pt x="3205204" y="1174332"/>
                </a:moveTo>
                <a:cubicBezTo>
                  <a:pt x="3205204" y="1177977"/>
                  <a:pt x="3207027" y="1179799"/>
                  <a:pt x="3207027" y="1181621"/>
                </a:cubicBezTo>
                <a:cubicBezTo>
                  <a:pt x="3210671" y="1179799"/>
                  <a:pt x="3210671" y="1174332"/>
                  <a:pt x="3205204" y="1174332"/>
                </a:cubicBezTo>
                <a:close/>
                <a:moveTo>
                  <a:pt x="2899079" y="1174332"/>
                </a:moveTo>
                <a:cubicBezTo>
                  <a:pt x="2897257" y="1177977"/>
                  <a:pt x="2891790" y="1176155"/>
                  <a:pt x="2891790" y="1181621"/>
                </a:cubicBezTo>
                <a:cubicBezTo>
                  <a:pt x="2880857" y="1179799"/>
                  <a:pt x="2869924" y="1188910"/>
                  <a:pt x="2860813" y="1194376"/>
                </a:cubicBezTo>
                <a:cubicBezTo>
                  <a:pt x="2862636" y="1196199"/>
                  <a:pt x="2862636" y="1199843"/>
                  <a:pt x="2864458" y="1201665"/>
                </a:cubicBezTo>
                <a:cubicBezTo>
                  <a:pt x="2862636" y="1203487"/>
                  <a:pt x="2857169" y="1203487"/>
                  <a:pt x="2857169" y="1208954"/>
                </a:cubicBezTo>
                <a:cubicBezTo>
                  <a:pt x="2864458" y="1207132"/>
                  <a:pt x="2857169" y="1216242"/>
                  <a:pt x="2858991" y="1219887"/>
                </a:cubicBezTo>
                <a:cubicBezTo>
                  <a:pt x="2862636" y="1212598"/>
                  <a:pt x="2864458" y="1230820"/>
                  <a:pt x="2860813" y="1234464"/>
                </a:cubicBezTo>
                <a:cubicBezTo>
                  <a:pt x="2857169" y="1230820"/>
                  <a:pt x="2851703" y="1227175"/>
                  <a:pt x="2853525" y="1219887"/>
                </a:cubicBezTo>
                <a:cubicBezTo>
                  <a:pt x="2849880" y="1219887"/>
                  <a:pt x="2849880" y="1225353"/>
                  <a:pt x="2851703" y="1228998"/>
                </a:cubicBezTo>
                <a:cubicBezTo>
                  <a:pt x="2851703" y="1230820"/>
                  <a:pt x="2846236" y="1228998"/>
                  <a:pt x="2846236" y="1230820"/>
                </a:cubicBezTo>
                <a:cubicBezTo>
                  <a:pt x="2842592" y="1228998"/>
                  <a:pt x="2842592" y="1225353"/>
                  <a:pt x="2838947" y="1225353"/>
                </a:cubicBezTo>
                <a:cubicBezTo>
                  <a:pt x="2837125" y="1228998"/>
                  <a:pt x="2844414" y="1241753"/>
                  <a:pt x="2835303" y="1241753"/>
                </a:cubicBezTo>
                <a:cubicBezTo>
                  <a:pt x="2833481" y="1232642"/>
                  <a:pt x="2824370" y="1236286"/>
                  <a:pt x="2829837" y="1228998"/>
                </a:cubicBezTo>
                <a:cubicBezTo>
                  <a:pt x="2824370" y="1228998"/>
                  <a:pt x="2824370" y="1225353"/>
                  <a:pt x="2818903" y="1227175"/>
                </a:cubicBezTo>
                <a:cubicBezTo>
                  <a:pt x="2818903" y="1230820"/>
                  <a:pt x="2818903" y="1232642"/>
                  <a:pt x="2815259" y="1232642"/>
                </a:cubicBezTo>
                <a:cubicBezTo>
                  <a:pt x="2820726" y="1239931"/>
                  <a:pt x="2820726" y="1252686"/>
                  <a:pt x="2838947" y="1247219"/>
                </a:cubicBezTo>
                <a:cubicBezTo>
                  <a:pt x="2833481" y="1250864"/>
                  <a:pt x="2828014" y="1249042"/>
                  <a:pt x="2822548" y="1250864"/>
                </a:cubicBezTo>
                <a:cubicBezTo>
                  <a:pt x="2820726" y="1250864"/>
                  <a:pt x="2818903" y="1247219"/>
                  <a:pt x="2818903" y="1243575"/>
                </a:cubicBezTo>
                <a:cubicBezTo>
                  <a:pt x="2815259" y="1243575"/>
                  <a:pt x="2813437" y="1245397"/>
                  <a:pt x="2809793" y="1245397"/>
                </a:cubicBezTo>
                <a:cubicBezTo>
                  <a:pt x="2813437" y="1249952"/>
                  <a:pt x="2815259" y="1255419"/>
                  <a:pt x="2816854" y="1261569"/>
                </a:cubicBezTo>
                <a:lnTo>
                  <a:pt x="2818398" y="1267066"/>
                </a:lnTo>
                <a:lnTo>
                  <a:pt x="2814804" y="1265669"/>
                </a:lnTo>
                <a:cubicBezTo>
                  <a:pt x="2814804" y="1262708"/>
                  <a:pt x="2815259" y="1258152"/>
                  <a:pt x="2813437" y="1254508"/>
                </a:cubicBezTo>
                <a:cubicBezTo>
                  <a:pt x="2807971" y="1258152"/>
                  <a:pt x="2807971" y="1267263"/>
                  <a:pt x="2811615" y="1274552"/>
                </a:cubicBezTo>
                <a:lnTo>
                  <a:pt x="2818552" y="1267614"/>
                </a:lnTo>
                <a:lnTo>
                  <a:pt x="2822548" y="1281841"/>
                </a:lnTo>
                <a:cubicBezTo>
                  <a:pt x="2824370" y="1281841"/>
                  <a:pt x="2824370" y="1280018"/>
                  <a:pt x="2824370" y="1278196"/>
                </a:cubicBezTo>
                <a:cubicBezTo>
                  <a:pt x="2829837" y="1281841"/>
                  <a:pt x="2829837" y="1289129"/>
                  <a:pt x="2835303" y="1292774"/>
                </a:cubicBezTo>
                <a:cubicBezTo>
                  <a:pt x="2840769" y="1289129"/>
                  <a:pt x="2851703" y="1289129"/>
                  <a:pt x="2855347" y="1281841"/>
                </a:cubicBezTo>
                <a:cubicBezTo>
                  <a:pt x="2853525" y="1280018"/>
                  <a:pt x="2853525" y="1280018"/>
                  <a:pt x="2853525" y="1274552"/>
                </a:cubicBezTo>
                <a:cubicBezTo>
                  <a:pt x="2857169" y="1276374"/>
                  <a:pt x="2858991" y="1280018"/>
                  <a:pt x="2858991" y="1285485"/>
                </a:cubicBezTo>
                <a:cubicBezTo>
                  <a:pt x="2864458" y="1283663"/>
                  <a:pt x="2860813" y="1290951"/>
                  <a:pt x="2866280" y="1289129"/>
                </a:cubicBezTo>
                <a:cubicBezTo>
                  <a:pt x="2864458" y="1278196"/>
                  <a:pt x="2871747" y="1290951"/>
                  <a:pt x="2869924" y="1280018"/>
                </a:cubicBezTo>
                <a:cubicBezTo>
                  <a:pt x="2875391" y="1287307"/>
                  <a:pt x="2879035" y="1280018"/>
                  <a:pt x="2886324" y="1278196"/>
                </a:cubicBezTo>
                <a:cubicBezTo>
                  <a:pt x="2884502" y="1270908"/>
                  <a:pt x="2880857" y="1259975"/>
                  <a:pt x="2873569" y="1269085"/>
                </a:cubicBezTo>
                <a:cubicBezTo>
                  <a:pt x="2869924" y="1265441"/>
                  <a:pt x="2873569" y="1263619"/>
                  <a:pt x="2871747" y="1258152"/>
                </a:cubicBezTo>
                <a:cubicBezTo>
                  <a:pt x="2862636" y="1263619"/>
                  <a:pt x="2858991" y="1252686"/>
                  <a:pt x="2855347" y="1247219"/>
                </a:cubicBezTo>
                <a:cubicBezTo>
                  <a:pt x="2858991" y="1249042"/>
                  <a:pt x="2866280" y="1252686"/>
                  <a:pt x="2862636" y="1254508"/>
                </a:cubicBezTo>
                <a:cubicBezTo>
                  <a:pt x="2866280" y="1259975"/>
                  <a:pt x="2877213" y="1252686"/>
                  <a:pt x="2877213" y="1256330"/>
                </a:cubicBezTo>
                <a:cubicBezTo>
                  <a:pt x="2879035" y="1250864"/>
                  <a:pt x="2871747" y="1243575"/>
                  <a:pt x="2868102" y="1243575"/>
                </a:cubicBezTo>
                <a:cubicBezTo>
                  <a:pt x="2868102" y="1238108"/>
                  <a:pt x="2871747" y="1236286"/>
                  <a:pt x="2873569" y="1234464"/>
                </a:cubicBezTo>
                <a:cubicBezTo>
                  <a:pt x="2875391" y="1236286"/>
                  <a:pt x="2877213" y="1239931"/>
                  <a:pt x="2871747" y="1239931"/>
                </a:cubicBezTo>
                <a:cubicBezTo>
                  <a:pt x="2873569" y="1241753"/>
                  <a:pt x="2873569" y="1245397"/>
                  <a:pt x="2875391" y="1247219"/>
                </a:cubicBezTo>
                <a:cubicBezTo>
                  <a:pt x="2879035" y="1247219"/>
                  <a:pt x="2873569" y="1239931"/>
                  <a:pt x="2879035" y="1241753"/>
                </a:cubicBezTo>
                <a:cubicBezTo>
                  <a:pt x="2879035" y="1247219"/>
                  <a:pt x="2879035" y="1249042"/>
                  <a:pt x="2880857" y="1256330"/>
                </a:cubicBezTo>
                <a:cubicBezTo>
                  <a:pt x="2884502" y="1256330"/>
                  <a:pt x="2886324" y="1259975"/>
                  <a:pt x="2888146" y="1261797"/>
                </a:cubicBezTo>
                <a:cubicBezTo>
                  <a:pt x="2889968" y="1265441"/>
                  <a:pt x="2886324" y="1265441"/>
                  <a:pt x="2886324" y="1270908"/>
                </a:cubicBezTo>
                <a:cubicBezTo>
                  <a:pt x="2888146" y="1270908"/>
                  <a:pt x="2889968" y="1272730"/>
                  <a:pt x="2893613" y="1272730"/>
                </a:cubicBezTo>
                <a:cubicBezTo>
                  <a:pt x="2893613" y="1269085"/>
                  <a:pt x="2895435" y="1265441"/>
                  <a:pt x="2897257" y="1261797"/>
                </a:cubicBezTo>
                <a:cubicBezTo>
                  <a:pt x="2899079" y="1263619"/>
                  <a:pt x="2900901" y="1263619"/>
                  <a:pt x="2902724" y="1265441"/>
                </a:cubicBezTo>
                <a:cubicBezTo>
                  <a:pt x="2911834" y="1261797"/>
                  <a:pt x="2926412" y="1241753"/>
                  <a:pt x="2931878" y="1234464"/>
                </a:cubicBezTo>
                <a:cubicBezTo>
                  <a:pt x="2939167" y="1219887"/>
                  <a:pt x="2944634" y="1203487"/>
                  <a:pt x="2920945" y="1201665"/>
                </a:cubicBezTo>
                <a:cubicBezTo>
                  <a:pt x="2920945" y="1196199"/>
                  <a:pt x="2926412" y="1192554"/>
                  <a:pt x="2922767" y="1187088"/>
                </a:cubicBezTo>
                <a:cubicBezTo>
                  <a:pt x="2920945" y="1187088"/>
                  <a:pt x="2920945" y="1188910"/>
                  <a:pt x="2920945" y="1192554"/>
                </a:cubicBezTo>
                <a:cubicBezTo>
                  <a:pt x="2913656" y="1192554"/>
                  <a:pt x="2913656" y="1185266"/>
                  <a:pt x="2910012" y="1183443"/>
                </a:cubicBezTo>
                <a:cubicBezTo>
                  <a:pt x="2911834" y="1185266"/>
                  <a:pt x="2911834" y="1187088"/>
                  <a:pt x="2911834" y="1190732"/>
                </a:cubicBezTo>
                <a:cubicBezTo>
                  <a:pt x="2915479" y="1192554"/>
                  <a:pt x="2915479" y="1190732"/>
                  <a:pt x="2919123" y="1192554"/>
                </a:cubicBezTo>
                <a:cubicBezTo>
                  <a:pt x="2919123" y="1194376"/>
                  <a:pt x="2917301" y="1192554"/>
                  <a:pt x="2917301" y="1192554"/>
                </a:cubicBezTo>
                <a:cubicBezTo>
                  <a:pt x="2915479" y="1192554"/>
                  <a:pt x="2915479" y="1198021"/>
                  <a:pt x="2919123" y="1196199"/>
                </a:cubicBezTo>
                <a:cubicBezTo>
                  <a:pt x="2917301" y="1198021"/>
                  <a:pt x="2906368" y="1196199"/>
                  <a:pt x="2906368" y="1203487"/>
                </a:cubicBezTo>
                <a:cubicBezTo>
                  <a:pt x="2900901" y="1203487"/>
                  <a:pt x="2899079" y="1199843"/>
                  <a:pt x="2899079" y="1194376"/>
                </a:cubicBezTo>
                <a:cubicBezTo>
                  <a:pt x="2899079" y="1194376"/>
                  <a:pt x="2897257" y="1196199"/>
                  <a:pt x="2897257" y="1198021"/>
                </a:cubicBezTo>
                <a:cubicBezTo>
                  <a:pt x="2891790" y="1192554"/>
                  <a:pt x="2897257" y="1179799"/>
                  <a:pt x="2899079" y="1174332"/>
                </a:cubicBezTo>
                <a:close/>
                <a:moveTo>
                  <a:pt x="2441713" y="1174332"/>
                </a:moveTo>
                <a:cubicBezTo>
                  <a:pt x="2434425" y="1174332"/>
                  <a:pt x="2427136" y="1179799"/>
                  <a:pt x="2427136" y="1187088"/>
                </a:cubicBezTo>
                <a:cubicBezTo>
                  <a:pt x="2438069" y="1187088"/>
                  <a:pt x="2443536" y="1177977"/>
                  <a:pt x="2441713" y="1174332"/>
                </a:cubicBezTo>
                <a:close/>
                <a:moveTo>
                  <a:pt x="626828" y="1174332"/>
                </a:moveTo>
                <a:cubicBezTo>
                  <a:pt x="625006" y="1176155"/>
                  <a:pt x="623185" y="1172510"/>
                  <a:pt x="621362" y="1176155"/>
                </a:cubicBezTo>
                <a:cubicBezTo>
                  <a:pt x="623185" y="1181621"/>
                  <a:pt x="625006" y="1181621"/>
                  <a:pt x="628650" y="1179799"/>
                </a:cubicBezTo>
                <a:cubicBezTo>
                  <a:pt x="628650" y="1177977"/>
                  <a:pt x="628650" y="1176155"/>
                  <a:pt x="626828" y="1174332"/>
                </a:cubicBezTo>
                <a:close/>
                <a:moveTo>
                  <a:pt x="497454" y="1174332"/>
                </a:moveTo>
                <a:cubicBezTo>
                  <a:pt x="495632" y="1174332"/>
                  <a:pt x="493809" y="1174332"/>
                  <a:pt x="491987" y="1177977"/>
                </a:cubicBezTo>
                <a:cubicBezTo>
                  <a:pt x="499276" y="1185266"/>
                  <a:pt x="506565" y="1188910"/>
                  <a:pt x="512031" y="1188910"/>
                </a:cubicBezTo>
                <a:cubicBezTo>
                  <a:pt x="510209" y="1183443"/>
                  <a:pt x="504743" y="1181621"/>
                  <a:pt x="497454" y="1174332"/>
                </a:cubicBezTo>
                <a:close/>
                <a:moveTo>
                  <a:pt x="276971" y="1174332"/>
                </a:moveTo>
                <a:cubicBezTo>
                  <a:pt x="275149" y="1176155"/>
                  <a:pt x="282438" y="1179799"/>
                  <a:pt x="284259" y="1179799"/>
                </a:cubicBezTo>
                <a:cubicBezTo>
                  <a:pt x="280615" y="1177977"/>
                  <a:pt x="278793" y="1174332"/>
                  <a:pt x="276971" y="1174332"/>
                </a:cubicBezTo>
                <a:close/>
                <a:moveTo>
                  <a:pt x="1379893" y="1174032"/>
                </a:moveTo>
                <a:lnTo>
                  <a:pt x="1381208" y="1177977"/>
                </a:lnTo>
                <a:lnTo>
                  <a:pt x="1379386" y="1178705"/>
                </a:lnTo>
                <a:lnTo>
                  <a:pt x="1379386" y="1174560"/>
                </a:lnTo>
                <a:close/>
                <a:moveTo>
                  <a:pt x="2966272" y="1173877"/>
                </a:moveTo>
                <a:lnTo>
                  <a:pt x="2966377" y="1174087"/>
                </a:lnTo>
                <a:lnTo>
                  <a:pt x="2965515" y="1174785"/>
                </a:lnTo>
                <a:close/>
                <a:moveTo>
                  <a:pt x="456455" y="1173876"/>
                </a:moveTo>
                <a:cubicBezTo>
                  <a:pt x="454177" y="1173877"/>
                  <a:pt x="452810" y="1174332"/>
                  <a:pt x="453722" y="1176155"/>
                </a:cubicBezTo>
                <a:cubicBezTo>
                  <a:pt x="457367" y="1177977"/>
                  <a:pt x="466478" y="1177977"/>
                  <a:pt x="464655" y="1174332"/>
                </a:cubicBezTo>
                <a:cubicBezTo>
                  <a:pt x="461921" y="1174332"/>
                  <a:pt x="458732" y="1173876"/>
                  <a:pt x="456455" y="1173876"/>
                </a:cubicBezTo>
                <a:close/>
                <a:moveTo>
                  <a:pt x="696555" y="1173535"/>
                </a:moveTo>
                <a:cubicBezTo>
                  <a:pt x="694477" y="1172852"/>
                  <a:pt x="691971" y="1172966"/>
                  <a:pt x="688782" y="1174332"/>
                </a:cubicBezTo>
                <a:cubicBezTo>
                  <a:pt x="692426" y="1179799"/>
                  <a:pt x="703359" y="1188910"/>
                  <a:pt x="710648" y="1188910"/>
                </a:cubicBezTo>
                <a:cubicBezTo>
                  <a:pt x="705182" y="1184810"/>
                  <a:pt x="702790" y="1175585"/>
                  <a:pt x="696555" y="1173535"/>
                </a:cubicBezTo>
                <a:close/>
                <a:moveTo>
                  <a:pt x="1178263" y="1173193"/>
                </a:moveTo>
                <a:cubicBezTo>
                  <a:pt x="1176669" y="1173877"/>
                  <a:pt x="1175302" y="1175243"/>
                  <a:pt x="1177125" y="1176155"/>
                </a:cubicBezTo>
                <a:cubicBezTo>
                  <a:pt x="1177125" y="1172510"/>
                  <a:pt x="1178947" y="1174332"/>
                  <a:pt x="1180769" y="1174332"/>
                </a:cubicBezTo>
                <a:cubicBezTo>
                  <a:pt x="1181680" y="1172510"/>
                  <a:pt x="1179858" y="1172510"/>
                  <a:pt x="1178263" y="1173193"/>
                </a:cubicBezTo>
                <a:close/>
                <a:moveTo>
                  <a:pt x="1458367" y="1172517"/>
                </a:moveTo>
                <a:lnTo>
                  <a:pt x="1459562" y="1177977"/>
                </a:lnTo>
                <a:lnTo>
                  <a:pt x="1458158" y="1178591"/>
                </a:lnTo>
                <a:close/>
                <a:moveTo>
                  <a:pt x="3022987" y="1172510"/>
                </a:moveTo>
                <a:cubicBezTo>
                  <a:pt x="3022987" y="1174332"/>
                  <a:pt x="3021165" y="1174332"/>
                  <a:pt x="3019343" y="1174332"/>
                </a:cubicBezTo>
                <a:cubicBezTo>
                  <a:pt x="3019343" y="1177977"/>
                  <a:pt x="3022987" y="1179799"/>
                  <a:pt x="3026631" y="1179799"/>
                </a:cubicBezTo>
                <a:cubicBezTo>
                  <a:pt x="3028453" y="1176155"/>
                  <a:pt x="3022987" y="1179799"/>
                  <a:pt x="3022987" y="1172510"/>
                </a:cubicBezTo>
                <a:close/>
                <a:moveTo>
                  <a:pt x="1419474" y="1172510"/>
                </a:moveTo>
                <a:lnTo>
                  <a:pt x="1419988" y="1173949"/>
                </a:lnTo>
                <a:lnTo>
                  <a:pt x="1419474" y="1174332"/>
                </a:lnTo>
                <a:lnTo>
                  <a:pt x="1418664" y="1174130"/>
                </a:lnTo>
                <a:close/>
                <a:moveTo>
                  <a:pt x="639583" y="1172510"/>
                </a:moveTo>
                <a:cubicBezTo>
                  <a:pt x="639583" y="1176155"/>
                  <a:pt x="639583" y="1181621"/>
                  <a:pt x="643228" y="1179799"/>
                </a:cubicBezTo>
                <a:cubicBezTo>
                  <a:pt x="646872" y="1179799"/>
                  <a:pt x="643228" y="1174332"/>
                  <a:pt x="643228" y="1172510"/>
                </a:cubicBezTo>
                <a:cubicBezTo>
                  <a:pt x="641407" y="1172510"/>
                  <a:pt x="641407" y="1172510"/>
                  <a:pt x="639583" y="1172510"/>
                </a:cubicBezTo>
                <a:close/>
                <a:moveTo>
                  <a:pt x="586741" y="1172510"/>
                </a:moveTo>
                <a:cubicBezTo>
                  <a:pt x="583096" y="1177977"/>
                  <a:pt x="588562" y="1183443"/>
                  <a:pt x="594030" y="1179799"/>
                </a:cubicBezTo>
                <a:cubicBezTo>
                  <a:pt x="594030" y="1176155"/>
                  <a:pt x="588562" y="1172510"/>
                  <a:pt x="586741" y="1172510"/>
                </a:cubicBezTo>
                <a:close/>
                <a:moveTo>
                  <a:pt x="552119" y="1172510"/>
                </a:moveTo>
                <a:cubicBezTo>
                  <a:pt x="548475" y="1174332"/>
                  <a:pt x="553941" y="1177977"/>
                  <a:pt x="555763" y="1176155"/>
                </a:cubicBezTo>
                <a:cubicBezTo>
                  <a:pt x="553941" y="1174332"/>
                  <a:pt x="552119" y="1174332"/>
                  <a:pt x="552119" y="1172510"/>
                </a:cubicBezTo>
                <a:close/>
                <a:moveTo>
                  <a:pt x="249638" y="1172510"/>
                </a:moveTo>
                <a:cubicBezTo>
                  <a:pt x="249638" y="1174332"/>
                  <a:pt x="256927" y="1179799"/>
                  <a:pt x="258749" y="1177977"/>
                </a:cubicBezTo>
                <a:cubicBezTo>
                  <a:pt x="255105" y="1174332"/>
                  <a:pt x="253282" y="1174332"/>
                  <a:pt x="249638" y="1172510"/>
                </a:cubicBezTo>
                <a:close/>
                <a:moveTo>
                  <a:pt x="224378" y="1172484"/>
                </a:moveTo>
                <a:lnTo>
                  <a:pt x="224957" y="1172986"/>
                </a:lnTo>
                <a:lnTo>
                  <a:pt x="224128" y="1172510"/>
                </a:lnTo>
                <a:close/>
                <a:moveTo>
                  <a:pt x="477638" y="1171143"/>
                </a:moveTo>
                <a:cubicBezTo>
                  <a:pt x="476043" y="1171599"/>
                  <a:pt x="474677" y="1172510"/>
                  <a:pt x="473766" y="1172510"/>
                </a:cubicBezTo>
                <a:cubicBezTo>
                  <a:pt x="475589" y="1174332"/>
                  <a:pt x="481054" y="1172510"/>
                  <a:pt x="482876" y="1172510"/>
                </a:cubicBezTo>
                <a:cubicBezTo>
                  <a:pt x="481054" y="1170688"/>
                  <a:pt x="479232" y="1170688"/>
                  <a:pt x="477638" y="1171143"/>
                </a:cubicBezTo>
                <a:close/>
                <a:moveTo>
                  <a:pt x="3248937" y="1170688"/>
                </a:moveTo>
                <a:cubicBezTo>
                  <a:pt x="3250759" y="1174332"/>
                  <a:pt x="3247114" y="1179799"/>
                  <a:pt x="3254403" y="1179799"/>
                </a:cubicBezTo>
                <a:cubicBezTo>
                  <a:pt x="3252581" y="1176155"/>
                  <a:pt x="3256225" y="1176155"/>
                  <a:pt x="3256225" y="1170688"/>
                </a:cubicBezTo>
                <a:cubicBezTo>
                  <a:pt x="3252581" y="1172510"/>
                  <a:pt x="3254403" y="1168866"/>
                  <a:pt x="3248937" y="1170688"/>
                </a:cubicBezTo>
                <a:close/>
                <a:moveTo>
                  <a:pt x="3044853" y="1170688"/>
                </a:moveTo>
                <a:cubicBezTo>
                  <a:pt x="3044853" y="1174332"/>
                  <a:pt x="3046675" y="1174332"/>
                  <a:pt x="3046675" y="1177977"/>
                </a:cubicBezTo>
                <a:cubicBezTo>
                  <a:pt x="3043031" y="1177977"/>
                  <a:pt x="3044853" y="1172510"/>
                  <a:pt x="3041209" y="1172510"/>
                </a:cubicBezTo>
                <a:cubicBezTo>
                  <a:pt x="3037564" y="1172510"/>
                  <a:pt x="3039387" y="1177977"/>
                  <a:pt x="3039387" y="1181621"/>
                </a:cubicBezTo>
                <a:cubicBezTo>
                  <a:pt x="3043031" y="1183443"/>
                  <a:pt x="3041209" y="1177977"/>
                  <a:pt x="3041209" y="1176155"/>
                </a:cubicBezTo>
                <a:cubicBezTo>
                  <a:pt x="3044853" y="1176155"/>
                  <a:pt x="3043031" y="1181621"/>
                  <a:pt x="3046675" y="1177977"/>
                </a:cubicBezTo>
                <a:cubicBezTo>
                  <a:pt x="3046675" y="1181621"/>
                  <a:pt x="3043031" y="1181621"/>
                  <a:pt x="3044853" y="1185266"/>
                </a:cubicBezTo>
                <a:cubicBezTo>
                  <a:pt x="3046675" y="1185266"/>
                  <a:pt x="3048497" y="1185266"/>
                  <a:pt x="3050319" y="1185266"/>
                </a:cubicBezTo>
                <a:cubicBezTo>
                  <a:pt x="3053964" y="1179799"/>
                  <a:pt x="3052142" y="1170688"/>
                  <a:pt x="3044853" y="1170688"/>
                </a:cubicBezTo>
                <a:close/>
                <a:moveTo>
                  <a:pt x="1998925" y="1170688"/>
                </a:moveTo>
                <a:cubicBezTo>
                  <a:pt x="1998925" y="1176155"/>
                  <a:pt x="1995281" y="1179799"/>
                  <a:pt x="1997103" y="1185266"/>
                </a:cubicBezTo>
                <a:lnTo>
                  <a:pt x="1989342" y="1186261"/>
                </a:lnTo>
                <a:close/>
                <a:moveTo>
                  <a:pt x="1862262" y="1170688"/>
                </a:moveTo>
                <a:lnTo>
                  <a:pt x="1863809" y="1171668"/>
                </a:lnTo>
                <a:lnTo>
                  <a:pt x="1865906" y="1183443"/>
                </a:lnTo>
                <a:cubicBezTo>
                  <a:pt x="1867729" y="1198021"/>
                  <a:pt x="1871373" y="1210776"/>
                  <a:pt x="1875017" y="1225353"/>
                </a:cubicBezTo>
                <a:lnTo>
                  <a:pt x="1869795" y="1228617"/>
                </a:lnTo>
                <a:lnTo>
                  <a:pt x="1864767" y="1204170"/>
                </a:lnTo>
                <a:cubicBezTo>
                  <a:pt x="1863628" y="1193009"/>
                  <a:pt x="1863174" y="1181621"/>
                  <a:pt x="1862262" y="1170688"/>
                </a:cubicBezTo>
                <a:close/>
                <a:moveTo>
                  <a:pt x="1401252" y="1170688"/>
                </a:moveTo>
                <a:lnTo>
                  <a:pt x="1401252" y="1172054"/>
                </a:lnTo>
                <a:lnTo>
                  <a:pt x="1401252" y="1174332"/>
                </a:lnTo>
                <a:lnTo>
                  <a:pt x="1394631" y="1175890"/>
                </a:lnTo>
                <a:close/>
                <a:moveTo>
                  <a:pt x="1224501" y="1170688"/>
                </a:moveTo>
                <a:cubicBezTo>
                  <a:pt x="1217213" y="1176155"/>
                  <a:pt x="1209925" y="1176155"/>
                  <a:pt x="1202636" y="1177977"/>
                </a:cubicBezTo>
                <a:cubicBezTo>
                  <a:pt x="1204457" y="1181621"/>
                  <a:pt x="1204457" y="1181621"/>
                  <a:pt x="1208102" y="1181621"/>
                </a:cubicBezTo>
                <a:cubicBezTo>
                  <a:pt x="1202636" y="1181621"/>
                  <a:pt x="1200814" y="1181621"/>
                  <a:pt x="1197169" y="1185266"/>
                </a:cubicBezTo>
                <a:cubicBezTo>
                  <a:pt x="1200814" y="1185266"/>
                  <a:pt x="1204457" y="1187088"/>
                  <a:pt x="1209925" y="1183443"/>
                </a:cubicBezTo>
                <a:cubicBezTo>
                  <a:pt x="1209925" y="1183443"/>
                  <a:pt x="1208102" y="1181621"/>
                  <a:pt x="1208102" y="1181621"/>
                </a:cubicBezTo>
                <a:cubicBezTo>
                  <a:pt x="1213568" y="1183443"/>
                  <a:pt x="1220858" y="1177977"/>
                  <a:pt x="1224501" y="1170688"/>
                </a:cubicBezTo>
                <a:close/>
                <a:moveTo>
                  <a:pt x="1220858" y="1170688"/>
                </a:moveTo>
                <a:cubicBezTo>
                  <a:pt x="1213568" y="1167044"/>
                  <a:pt x="1208102" y="1172510"/>
                  <a:pt x="1202636" y="1176155"/>
                </a:cubicBezTo>
                <a:cubicBezTo>
                  <a:pt x="1208102" y="1176155"/>
                  <a:pt x="1213568" y="1176155"/>
                  <a:pt x="1220858" y="1170688"/>
                </a:cubicBezTo>
                <a:close/>
                <a:moveTo>
                  <a:pt x="861889" y="1170688"/>
                </a:moveTo>
                <a:lnTo>
                  <a:pt x="861889" y="1174880"/>
                </a:lnTo>
                <a:lnTo>
                  <a:pt x="861223" y="1172019"/>
                </a:lnTo>
                <a:close/>
                <a:moveTo>
                  <a:pt x="841845" y="1170688"/>
                </a:moveTo>
                <a:cubicBezTo>
                  <a:pt x="840022" y="1170688"/>
                  <a:pt x="840022" y="1176155"/>
                  <a:pt x="840022" y="1176155"/>
                </a:cubicBezTo>
                <a:cubicBezTo>
                  <a:pt x="843667" y="1177977"/>
                  <a:pt x="840022" y="1172510"/>
                  <a:pt x="841845" y="1170688"/>
                </a:cubicBezTo>
                <a:close/>
                <a:moveTo>
                  <a:pt x="630472" y="1170688"/>
                </a:moveTo>
                <a:cubicBezTo>
                  <a:pt x="628650" y="1174332"/>
                  <a:pt x="630472" y="1179799"/>
                  <a:pt x="634117" y="1179799"/>
                </a:cubicBezTo>
                <a:cubicBezTo>
                  <a:pt x="637761" y="1176155"/>
                  <a:pt x="634117" y="1172510"/>
                  <a:pt x="630472" y="1170688"/>
                </a:cubicBezTo>
                <a:close/>
                <a:moveTo>
                  <a:pt x="588562" y="1170688"/>
                </a:moveTo>
                <a:cubicBezTo>
                  <a:pt x="590385" y="1172510"/>
                  <a:pt x="594030" y="1172510"/>
                  <a:pt x="594030" y="1176155"/>
                </a:cubicBezTo>
                <a:cubicBezTo>
                  <a:pt x="595852" y="1174332"/>
                  <a:pt x="597673" y="1172510"/>
                  <a:pt x="595852" y="1170688"/>
                </a:cubicBezTo>
                <a:cubicBezTo>
                  <a:pt x="594030" y="1168866"/>
                  <a:pt x="590385" y="1170688"/>
                  <a:pt x="588562" y="1170688"/>
                </a:cubicBezTo>
                <a:close/>
                <a:moveTo>
                  <a:pt x="286082" y="1170688"/>
                </a:moveTo>
                <a:cubicBezTo>
                  <a:pt x="287904" y="1172510"/>
                  <a:pt x="293370" y="1179799"/>
                  <a:pt x="298837" y="1172510"/>
                </a:cubicBezTo>
                <a:cubicBezTo>
                  <a:pt x="293370" y="1172510"/>
                  <a:pt x="289726" y="1172510"/>
                  <a:pt x="286082" y="1170688"/>
                </a:cubicBezTo>
                <a:close/>
                <a:moveTo>
                  <a:pt x="209550" y="1170688"/>
                </a:moveTo>
                <a:cubicBezTo>
                  <a:pt x="211372" y="1177977"/>
                  <a:pt x="224128" y="1185266"/>
                  <a:pt x="231416" y="1190732"/>
                </a:cubicBezTo>
                <a:cubicBezTo>
                  <a:pt x="225950" y="1183443"/>
                  <a:pt x="215017" y="1176155"/>
                  <a:pt x="209550" y="1170688"/>
                </a:cubicBezTo>
                <a:close/>
                <a:moveTo>
                  <a:pt x="3303109" y="1169021"/>
                </a:moveTo>
                <a:lnTo>
                  <a:pt x="3304416" y="1169962"/>
                </a:lnTo>
                <a:lnTo>
                  <a:pt x="3299957" y="1172510"/>
                </a:lnTo>
                <a:close/>
                <a:moveTo>
                  <a:pt x="1483250" y="1168866"/>
                </a:moveTo>
                <a:cubicBezTo>
                  <a:pt x="1479606" y="1174332"/>
                  <a:pt x="1474139" y="1187088"/>
                  <a:pt x="1465028" y="1183443"/>
                </a:cubicBezTo>
                <a:cubicBezTo>
                  <a:pt x="1465028" y="1183443"/>
                  <a:pt x="1466850" y="1181621"/>
                  <a:pt x="1466850" y="1181621"/>
                </a:cubicBezTo>
                <a:cubicBezTo>
                  <a:pt x="1465028" y="1183443"/>
                  <a:pt x="1463206" y="1183443"/>
                  <a:pt x="1461384" y="1181621"/>
                </a:cubicBezTo>
                <a:cubicBezTo>
                  <a:pt x="1468673" y="1176155"/>
                  <a:pt x="1475961" y="1168866"/>
                  <a:pt x="1483250" y="1168866"/>
                </a:cubicBezTo>
                <a:close/>
                <a:moveTo>
                  <a:pt x="1157081" y="1168866"/>
                </a:moveTo>
                <a:cubicBezTo>
                  <a:pt x="1155259" y="1170688"/>
                  <a:pt x="1153436" y="1168866"/>
                  <a:pt x="1149792" y="1172510"/>
                </a:cubicBezTo>
                <a:cubicBezTo>
                  <a:pt x="1151614" y="1176155"/>
                  <a:pt x="1151614" y="1177977"/>
                  <a:pt x="1155259" y="1177977"/>
                </a:cubicBezTo>
                <a:cubicBezTo>
                  <a:pt x="1157081" y="1172510"/>
                  <a:pt x="1162547" y="1172510"/>
                  <a:pt x="1157081" y="1168866"/>
                </a:cubicBezTo>
                <a:close/>
                <a:moveTo>
                  <a:pt x="929309" y="1168866"/>
                </a:moveTo>
                <a:cubicBezTo>
                  <a:pt x="925666" y="1170688"/>
                  <a:pt x="923843" y="1177977"/>
                  <a:pt x="920198" y="1179799"/>
                </a:cubicBezTo>
                <a:cubicBezTo>
                  <a:pt x="925666" y="1179799"/>
                  <a:pt x="929309" y="1176155"/>
                  <a:pt x="931131" y="1172510"/>
                </a:cubicBezTo>
                <a:cubicBezTo>
                  <a:pt x="931131" y="1170688"/>
                  <a:pt x="929309" y="1170688"/>
                  <a:pt x="929309" y="1168866"/>
                </a:cubicBezTo>
                <a:close/>
                <a:moveTo>
                  <a:pt x="843667" y="1168866"/>
                </a:moveTo>
                <a:cubicBezTo>
                  <a:pt x="843667" y="1176155"/>
                  <a:pt x="840022" y="1185266"/>
                  <a:pt x="845489" y="1190732"/>
                </a:cubicBezTo>
                <a:cubicBezTo>
                  <a:pt x="849133" y="1187088"/>
                  <a:pt x="849133" y="1181621"/>
                  <a:pt x="845489" y="1179799"/>
                </a:cubicBezTo>
                <a:cubicBezTo>
                  <a:pt x="843667" y="1177977"/>
                  <a:pt x="847311" y="1177977"/>
                  <a:pt x="847311" y="1176155"/>
                </a:cubicBezTo>
                <a:cubicBezTo>
                  <a:pt x="847311" y="1172510"/>
                  <a:pt x="845489" y="1170688"/>
                  <a:pt x="843667" y="1168866"/>
                </a:cubicBezTo>
                <a:close/>
                <a:moveTo>
                  <a:pt x="705182" y="1168866"/>
                </a:moveTo>
                <a:cubicBezTo>
                  <a:pt x="705182" y="1177977"/>
                  <a:pt x="717937" y="1188910"/>
                  <a:pt x="727048" y="1190732"/>
                </a:cubicBezTo>
                <a:cubicBezTo>
                  <a:pt x="721581" y="1179799"/>
                  <a:pt x="712470" y="1177977"/>
                  <a:pt x="705182" y="1168866"/>
                </a:cubicBezTo>
                <a:close/>
                <a:moveTo>
                  <a:pt x="697893" y="1168866"/>
                </a:moveTo>
                <a:cubicBezTo>
                  <a:pt x="697893" y="1172510"/>
                  <a:pt x="703359" y="1176155"/>
                  <a:pt x="705182" y="1174332"/>
                </a:cubicBezTo>
                <a:cubicBezTo>
                  <a:pt x="703359" y="1172510"/>
                  <a:pt x="703359" y="1170688"/>
                  <a:pt x="701537" y="1168866"/>
                </a:cubicBezTo>
                <a:cubicBezTo>
                  <a:pt x="699715" y="1168866"/>
                  <a:pt x="699715" y="1170688"/>
                  <a:pt x="697893" y="1168866"/>
                </a:cubicBezTo>
                <a:close/>
                <a:moveTo>
                  <a:pt x="191329" y="1168866"/>
                </a:moveTo>
                <a:cubicBezTo>
                  <a:pt x="198617" y="1177977"/>
                  <a:pt x="211372" y="1187088"/>
                  <a:pt x="220483" y="1187088"/>
                </a:cubicBezTo>
                <a:cubicBezTo>
                  <a:pt x="211372" y="1176155"/>
                  <a:pt x="200439" y="1170688"/>
                  <a:pt x="191329" y="1168866"/>
                </a:cubicBezTo>
                <a:close/>
                <a:moveTo>
                  <a:pt x="169462" y="1168866"/>
                </a:moveTo>
                <a:cubicBezTo>
                  <a:pt x="163996" y="1168866"/>
                  <a:pt x="174929" y="1177977"/>
                  <a:pt x="180396" y="1179799"/>
                </a:cubicBezTo>
                <a:cubicBezTo>
                  <a:pt x="178573" y="1177977"/>
                  <a:pt x="169462" y="1170688"/>
                  <a:pt x="169462" y="1168866"/>
                </a:cubicBezTo>
                <a:close/>
                <a:moveTo>
                  <a:pt x="475361" y="1168183"/>
                </a:moveTo>
                <a:cubicBezTo>
                  <a:pt x="474677" y="1168866"/>
                  <a:pt x="473765" y="1169777"/>
                  <a:pt x="471943" y="1168866"/>
                </a:cubicBezTo>
                <a:cubicBezTo>
                  <a:pt x="471943" y="1170688"/>
                  <a:pt x="477410" y="1170688"/>
                  <a:pt x="477410" y="1168866"/>
                </a:cubicBezTo>
                <a:cubicBezTo>
                  <a:pt x="476499" y="1167044"/>
                  <a:pt x="476043" y="1167499"/>
                  <a:pt x="475361" y="1168183"/>
                </a:cubicBezTo>
                <a:close/>
                <a:moveTo>
                  <a:pt x="213088" y="1167616"/>
                </a:moveTo>
                <a:lnTo>
                  <a:pt x="213802" y="1167854"/>
                </a:lnTo>
                <a:lnTo>
                  <a:pt x="215017" y="1168866"/>
                </a:lnTo>
                <a:close/>
                <a:moveTo>
                  <a:pt x="2412559" y="1167044"/>
                </a:moveTo>
                <a:cubicBezTo>
                  <a:pt x="2403448" y="1174332"/>
                  <a:pt x="2397981" y="1179799"/>
                  <a:pt x="2405270" y="1190732"/>
                </a:cubicBezTo>
                <a:cubicBezTo>
                  <a:pt x="2405270" y="1192554"/>
                  <a:pt x="2410737" y="1190732"/>
                  <a:pt x="2412559" y="1190732"/>
                </a:cubicBezTo>
                <a:cubicBezTo>
                  <a:pt x="2405270" y="1187088"/>
                  <a:pt x="2414381" y="1183443"/>
                  <a:pt x="2416203" y="1176155"/>
                </a:cubicBezTo>
                <a:cubicBezTo>
                  <a:pt x="2412559" y="1176155"/>
                  <a:pt x="2410737" y="1176155"/>
                  <a:pt x="2410737" y="1177977"/>
                </a:cubicBezTo>
                <a:cubicBezTo>
                  <a:pt x="2414381" y="1172510"/>
                  <a:pt x="2416203" y="1172510"/>
                  <a:pt x="2412559" y="1167044"/>
                </a:cubicBezTo>
                <a:close/>
                <a:moveTo>
                  <a:pt x="2210297" y="1167044"/>
                </a:moveTo>
                <a:cubicBezTo>
                  <a:pt x="2210297" y="1168866"/>
                  <a:pt x="2210297" y="1170688"/>
                  <a:pt x="2210297" y="1172510"/>
                </a:cubicBezTo>
                <a:cubicBezTo>
                  <a:pt x="2213942" y="1172510"/>
                  <a:pt x="2215764" y="1172510"/>
                  <a:pt x="2217586" y="1172510"/>
                </a:cubicBezTo>
                <a:cubicBezTo>
                  <a:pt x="2215764" y="1168866"/>
                  <a:pt x="2213942" y="1168866"/>
                  <a:pt x="2210297" y="1167044"/>
                </a:cubicBezTo>
                <a:close/>
                <a:moveTo>
                  <a:pt x="2060879" y="1167044"/>
                </a:moveTo>
                <a:cubicBezTo>
                  <a:pt x="2059057" y="1170688"/>
                  <a:pt x="2059057" y="1174332"/>
                  <a:pt x="2059057" y="1177977"/>
                </a:cubicBezTo>
                <a:cubicBezTo>
                  <a:pt x="2064524" y="1176155"/>
                  <a:pt x="2069990" y="1172510"/>
                  <a:pt x="2075457" y="1170688"/>
                </a:cubicBezTo>
                <a:close/>
                <a:moveTo>
                  <a:pt x="1140681" y="1167044"/>
                </a:moveTo>
                <a:cubicBezTo>
                  <a:pt x="1142503" y="1170688"/>
                  <a:pt x="1138859" y="1168866"/>
                  <a:pt x="1137037" y="1170688"/>
                </a:cubicBezTo>
                <a:cubicBezTo>
                  <a:pt x="1138859" y="1172510"/>
                  <a:pt x="1142503" y="1174332"/>
                  <a:pt x="1144326" y="1176155"/>
                </a:cubicBezTo>
                <a:cubicBezTo>
                  <a:pt x="1146148" y="1174332"/>
                  <a:pt x="1147970" y="1172510"/>
                  <a:pt x="1149792" y="1170688"/>
                </a:cubicBezTo>
                <a:cubicBezTo>
                  <a:pt x="1147970" y="1167044"/>
                  <a:pt x="1142503" y="1170688"/>
                  <a:pt x="1144326" y="1167044"/>
                </a:cubicBezTo>
                <a:cubicBezTo>
                  <a:pt x="1144326" y="1165222"/>
                  <a:pt x="1142503" y="1168866"/>
                  <a:pt x="1140681" y="1167044"/>
                </a:cubicBezTo>
                <a:close/>
                <a:moveTo>
                  <a:pt x="1111526" y="1167044"/>
                </a:moveTo>
                <a:cubicBezTo>
                  <a:pt x="1115171" y="1168866"/>
                  <a:pt x="1120637" y="1172510"/>
                  <a:pt x="1124282" y="1170688"/>
                </a:cubicBezTo>
                <a:cubicBezTo>
                  <a:pt x="1124282" y="1177977"/>
                  <a:pt x="1135215" y="1176155"/>
                  <a:pt x="1138859" y="1181621"/>
                </a:cubicBezTo>
                <a:cubicBezTo>
                  <a:pt x="1140681" y="1179799"/>
                  <a:pt x="1144326" y="1181621"/>
                  <a:pt x="1147970" y="1179799"/>
                </a:cubicBezTo>
                <a:cubicBezTo>
                  <a:pt x="1144326" y="1177977"/>
                  <a:pt x="1140681" y="1177977"/>
                  <a:pt x="1137037" y="1174332"/>
                </a:cubicBezTo>
                <a:cubicBezTo>
                  <a:pt x="1135215" y="1176155"/>
                  <a:pt x="1140681" y="1177977"/>
                  <a:pt x="1137037" y="1177977"/>
                </a:cubicBezTo>
                <a:cubicBezTo>
                  <a:pt x="1135215" y="1177977"/>
                  <a:pt x="1135215" y="1176155"/>
                  <a:pt x="1133393" y="1174332"/>
                </a:cubicBezTo>
                <a:cubicBezTo>
                  <a:pt x="1133393" y="1172510"/>
                  <a:pt x="1135215" y="1174332"/>
                  <a:pt x="1135215" y="1172510"/>
                </a:cubicBezTo>
                <a:cubicBezTo>
                  <a:pt x="1127926" y="1165222"/>
                  <a:pt x="1120637" y="1167044"/>
                  <a:pt x="1111526" y="1167044"/>
                </a:cubicBezTo>
                <a:close/>
                <a:moveTo>
                  <a:pt x="867355" y="1167044"/>
                </a:moveTo>
                <a:cubicBezTo>
                  <a:pt x="869177" y="1169777"/>
                  <a:pt x="869177" y="1172966"/>
                  <a:pt x="868721" y="1176154"/>
                </a:cubicBezTo>
                <a:lnTo>
                  <a:pt x="868641" y="1176691"/>
                </a:lnTo>
                <a:close/>
                <a:moveTo>
                  <a:pt x="479232" y="1167044"/>
                </a:moveTo>
                <a:cubicBezTo>
                  <a:pt x="482876" y="1170688"/>
                  <a:pt x="486521" y="1174332"/>
                  <a:pt x="490165" y="1168866"/>
                </a:cubicBezTo>
                <a:cubicBezTo>
                  <a:pt x="484700" y="1167044"/>
                  <a:pt x="482876" y="1168866"/>
                  <a:pt x="479232" y="1167044"/>
                </a:cubicBezTo>
                <a:close/>
                <a:moveTo>
                  <a:pt x="200439" y="1167044"/>
                </a:moveTo>
                <a:cubicBezTo>
                  <a:pt x="202262" y="1168866"/>
                  <a:pt x="207728" y="1174332"/>
                  <a:pt x="211372" y="1174332"/>
                </a:cubicBezTo>
                <a:cubicBezTo>
                  <a:pt x="209550" y="1172510"/>
                  <a:pt x="204084" y="1168866"/>
                  <a:pt x="204084" y="1167044"/>
                </a:cubicBezTo>
                <a:cubicBezTo>
                  <a:pt x="204084" y="1167044"/>
                  <a:pt x="202262" y="1165222"/>
                  <a:pt x="200439" y="1167044"/>
                </a:cubicBezTo>
                <a:close/>
                <a:moveTo>
                  <a:pt x="2922347" y="1166278"/>
                </a:moveTo>
                <a:lnTo>
                  <a:pt x="2924590" y="1168866"/>
                </a:lnTo>
                <a:lnTo>
                  <a:pt x="2920703" y="1166491"/>
                </a:lnTo>
                <a:close/>
                <a:moveTo>
                  <a:pt x="4185533" y="1165311"/>
                </a:moveTo>
                <a:lnTo>
                  <a:pt x="4201933" y="1179889"/>
                </a:lnTo>
                <a:lnTo>
                  <a:pt x="4185533" y="1188999"/>
                </a:lnTo>
                <a:close/>
                <a:moveTo>
                  <a:pt x="2026468" y="1165264"/>
                </a:moveTo>
                <a:lnTo>
                  <a:pt x="2034802" y="1166930"/>
                </a:lnTo>
                <a:lnTo>
                  <a:pt x="2034427" y="1168600"/>
                </a:lnTo>
                <a:lnTo>
                  <a:pt x="2032595" y="1171620"/>
                </a:lnTo>
                <a:lnTo>
                  <a:pt x="2026486" y="1165905"/>
                </a:lnTo>
                <a:close/>
                <a:moveTo>
                  <a:pt x="3329112" y="1165222"/>
                </a:moveTo>
                <a:lnTo>
                  <a:pt x="3329112" y="1165677"/>
                </a:lnTo>
                <a:lnTo>
                  <a:pt x="3327290" y="1167044"/>
                </a:lnTo>
                <a:close/>
                <a:moveTo>
                  <a:pt x="2913656" y="1165222"/>
                </a:moveTo>
                <a:cubicBezTo>
                  <a:pt x="2917301" y="1164310"/>
                  <a:pt x="2919123" y="1165221"/>
                  <a:pt x="2920490" y="1166360"/>
                </a:cubicBezTo>
                <a:lnTo>
                  <a:pt x="2920703" y="1166491"/>
                </a:lnTo>
                <a:lnTo>
                  <a:pt x="2914881" y="1167243"/>
                </a:lnTo>
                <a:lnTo>
                  <a:pt x="2914365" y="1167412"/>
                </a:lnTo>
                <a:close/>
                <a:moveTo>
                  <a:pt x="2478157" y="1165222"/>
                </a:moveTo>
                <a:lnTo>
                  <a:pt x="2483624" y="1188910"/>
                </a:lnTo>
                <a:lnTo>
                  <a:pt x="2478157" y="1203487"/>
                </a:lnTo>
                <a:cubicBezTo>
                  <a:pt x="2478157" y="1203487"/>
                  <a:pt x="2476335" y="1201665"/>
                  <a:pt x="2474513" y="1201665"/>
                </a:cubicBezTo>
                <a:cubicBezTo>
                  <a:pt x="2474513" y="1210776"/>
                  <a:pt x="2470868" y="1219887"/>
                  <a:pt x="2469046" y="1227175"/>
                </a:cubicBezTo>
                <a:cubicBezTo>
                  <a:pt x="2461757" y="1225353"/>
                  <a:pt x="2470868" y="1216242"/>
                  <a:pt x="2465402" y="1214420"/>
                </a:cubicBezTo>
                <a:cubicBezTo>
                  <a:pt x="2461757" y="1212598"/>
                  <a:pt x="2465402" y="1218065"/>
                  <a:pt x="2463580" y="1219887"/>
                </a:cubicBezTo>
                <a:cubicBezTo>
                  <a:pt x="2459935" y="1219887"/>
                  <a:pt x="2459935" y="1216242"/>
                  <a:pt x="2458113" y="1214420"/>
                </a:cubicBezTo>
                <a:cubicBezTo>
                  <a:pt x="2459935" y="1221709"/>
                  <a:pt x="2456291" y="1230820"/>
                  <a:pt x="2458113" y="1236286"/>
                </a:cubicBezTo>
                <a:lnTo>
                  <a:pt x="2465402" y="1241753"/>
                </a:lnTo>
                <a:lnTo>
                  <a:pt x="2450824" y="1243575"/>
                </a:lnTo>
                <a:cubicBezTo>
                  <a:pt x="2454469" y="1254508"/>
                  <a:pt x="2463580" y="1261797"/>
                  <a:pt x="2474513" y="1259975"/>
                </a:cubicBezTo>
                <a:lnTo>
                  <a:pt x="2477505" y="1267453"/>
                </a:lnTo>
                <a:lnTo>
                  <a:pt x="2477018" y="1267491"/>
                </a:lnTo>
                <a:cubicBezTo>
                  <a:pt x="2475424" y="1267718"/>
                  <a:pt x="2473602" y="1268174"/>
                  <a:pt x="2472690" y="1269085"/>
                </a:cubicBezTo>
                <a:cubicBezTo>
                  <a:pt x="2472690" y="1270908"/>
                  <a:pt x="2470868" y="1270908"/>
                  <a:pt x="2470868" y="1270908"/>
                </a:cubicBezTo>
                <a:lnTo>
                  <a:pt x="2481801" y="1269085"/>
                </a:lnTo>
                <a:lnTo>
                  <a:pt x="2479979" y="1267263"/>
                </a:lnTo>
                <a:lnTo>
                  <a:pt x="2477611" y="1267445"/>
                </a:lnTo>
                <a:lnTo>
                  <a:pt x="2472690" y="1252686"/>
                </a:lnTo>
                <a:lnTo>
                  <a:pt x="2478157" y="1245397"/>
                </a:lnTo>
                <a:lnTo>
                  <a:pt x="2509134" y="1250864"/>
                </a:lnTo>
                <a:cubicBezTo>
                  <a:pt x="2505490" y="1256330"/>
                  <a:pt x="2496379" y="1265441"/>
                  <a:pt x="2490912" y="1272730"/>
                </a:cubicBezTo>
                <a:cubicBezTo>
                  <a:pt x="2492734" y="1274552"/>
                  <a:pt x="2492734" y="1278196"/>
                  <a:pt x="2489090" y="1281841"/>
                </a:cubicBezTo>
                <a:cubicBezTo>
                  <a:pt x="2489090" y="1281841"/>
                  <a:pt x="2487268" y="1281841"/>
                  <a:pt x="2487268" y="1281841"/>
                </a:cubicBezTo>
                <a:cubicBezTo>
                  <a:pt x="2487268" y="1300062"/>
                  <a:pt x="2490912" y="1294596"/>
                  <a:pt x="2503667" y="1301885"/>
                </a:cubicBezTo>
                <a:lnTo>
                  <a:pt x="2494556" y="1280018"/>
                </a:lnTo>
                <a:cubicBezTo>
                  <a:pt x="2520067" y="1285485"/>
                  <a:pt x="2507312" y="1287307"/>
                  <a:pt x="2525534" y="1280018"/>
                </a:cubicBezTo>
                <a:lnTo>
                  <a:pt x="2525534" y="1301885"/>
                </a:lnTo>
                <a:cubicBezTo>
                  <a:pt x="2549222" y="1303707"/>
                  <a:pt x="2549222" y="1300062"/>
                  <a:pt x="2554688" y="1314640"/>
                </a:cubicBezTo>
                <a:cubicBezTo>
                  <a:pt x="2558332" y="1312818"/>
                  <a:pt x="2560155" y="1309173"/>
                  <a:pt x="2563799" y="1307351"/>
                </a:cubicBezTo>
                <a:cubicBezTo>
                  <a:pt x="2561977" y="1307351"/>
                  <a:pt x="2561977" y="1305529"/>
                  <a:pt x="2561977" y="1303707"/>
                </a:cubicBezTo>
                <a:cubicBezTo>
                  <a:pt x="2567443" y="1305529"/>
                  <a:pt x="2589310" y="1303707"/>
                  <a:pt x="2578377" y="1294596"/>
                </a:cubicBezTo>
                <a:cubicBezTo>
                  <a:pt x="2580199" y="1292774"/>
                  <a:pt x="2582021" y="1294596"/>
                  <a:pt x="2585665" y="1292774"/>
                </a:cubicBezTo>
                <a:cubicBezTo>
                  <a:pt x="2585665" y="1289129"/>
                  <a:pt x="2585665" y="1287307"/>
                  <a:pt x="2582021" y="1285485"/>
                </a:cubicBezTo>
                <a:lnTo>
                  <a:pt x="2576429" y="1285485"/>
                </a:lnTo>
                <a:lnTo>
                  <a:pt x="2576555" y="1285612"/>
                </a:lnTo>
                <a:cubicBezTo>
                  <a:pt x="2571089" y="1292900"/>
                  <a:pt x="2585666" y="1292900"/>
                  <a:pt x="2554689" y="1292900"/>
                </a:cubicBezTo>
                <a:cubicBezTo>
                  <a:pt x="2534646" y="1292900"/>
                  <a:pt x="2541934" y="1291077"/>
                  <a:pt x="2532823" y="1278323"/>
                </a:cubicBezTo>
                <a:lnTo>
                  <a:pt x="2556512" y="1281967"/>
                </a:lnTo>
                <a:lnTo>
                  <a:pt x="2569267" y="1278323"/>
                </a:lnTo>
                <a:lnTo>
                  <a:pt x="2575298" y="1284354"/>
                </a:lnTo>
                <a:lnTo>
                  <a:pt x="2582021" y="1270908"/>
                </a:lnTo>
                <a:lnTo>
                  <a:pt x="2594776" y="1272730"/>
                </a:lnTo>
                <a:cubicBezTo>
                  <a:pt x="2594776" y="1272730"/>
                  <a:pt x="2596598" y="1270908"/>
                  <a:pt x="2596598" y="1270908"/>
                </a:cubicBezTo>
                <a:cubicBezTo>
                  <a:pt x="2594776" y="1261797"/>
                  <a:pt x="2591132" y="1256330"/>
                  <a:pt x="2585665" y="1250864"/>
                </a:cubicBezTo>
                <a:cubicBezTo>
                  <a:pt x="2585665" y="1241753"/>
                  <a:pt x="2582021" y="1234464"/>
                  <a:pt x="2572910" y="1234464"/>
                </a:cubicBezTo>
                <a:cubicBezTo>
                  <a:pt x="2571088" y="1216242"/>
                  <a:pt x="2552866" y="1214420"/>
                  <a:pt x="2543755" y="1201665"/>
                </a:cubicBezTo>
                <a:cubicBezTo>
                  <a:pt x="2532822" y="1205309"/>
                  <a:pt x="2531000" y="1192554"/>
                  <a:pt x="2525534" y="1185266"/>
                </a:cubicBezTo>
                <a:cubicBezTo>
                  <a:pt x="2520067" y="1174332"/>
                  <a:pt x="2505490" y="1177977"/>
                  <a:pt x="2496379" y="1168866"/>
                </a:cubicBezTo>
                <a:cubicBezTo>
                  <a:pt x="2490912" y="1170688"/>
                  <a:pt x="2498201" y="1170688"/>
                  <a:pt x="2494556" y="1176155"/>
                </a:cubicBezTo>
                <a:cubicBezTo>
                  <a:pt x="2492734" y="1167044"/>
                  <a:pt x="2485446" y="1167044"/>
                  <a:pt x="2478157" y="1165222"/>
                </a:cubicBezTo>
                <a:close/>
                <a:moveTo>
                  <a:pt x="2252207" y="1165222"/>
                </a:moveTo>
                <a:cubicBezTo>
                  <a:pt x="2237630" y="1172510"/>
                  <a:pt x="2235808" y="1187088"/>
                  <a:pt x="2235808" y="1201665"/>
                </a:cubicBezTo>
                <a:cubicBezTo>
                  <a:pt x="2230341" y="1198021"/>
                  <a:pt x="2233986" y="1190732"/>
                  <a:pt x="2232163" y="1187088"/>
                </a:cubicBezTo>
                <a:cubicBezTo>
                  <a:pt x="2215764" y="1196199"/>
                  <a:pt x="2232163" y="1210776"/>
                  <a:pt x="2237630" y="1223531"/>
                </a:cubicBezTo>
                <a:cubicBezTo>
                  <a:pt x="2239452" y="1219887"/>
                  <a:pt x="2243096" y="1216242"/>
                  <a:pt x="2246741" y="1212598"/>
                </a:cubicBezTo>
                <a:lnTo>
                  <a:pt x="2250385" y="1203487"/>
                </a:lnTo>
                <a:cubicBezTo>
                  <a:pt x="2247652" y="1200754"/>
                  <a:pt x="2245830" y="1195743"/>
                  <a:pt x="2245830" y="1190960"/>
                </a:cubicBezTo>
                <a:lnTo>
                  <a:pt x="2250882" y="1182118"/>
                </a:lnTo>
                <a:lnTo>
                  <a:pt x="2252207" y="1179799"/>
                </a:lnTo>
                <a:lnTo>
                  <a:pt x="2248563" y="1174332"/>
                </a:lnTo>
                <a:lnTo>
                  <a:pt x="2250385" y="1174332"/>
                </a:lnTo>
                <a:cubicBezTo>
                  <a:pt x="2248563" y="1170688"/>
                  <a:pt x="2248563" y="1168866"/>
                  <a:pt x="2252207" y="1165222"/>
                </a:cubicBezTo>
                <a:close/>
                <a:moveTo>
                  <a:pt x="2203009" y="1165222"/>
                </a:moveTo>
                <a:cubicBezTo>
                  <a:pt x="2199364" y="1165222"/>
                  <a:pt x="2197542" y="1167044"/>
                  <a:pt x="2197542" y="1168866"/>
                </a:cubicBezTo>
                <a:cubicBezTo>
                  <a:pt x="2197542" y="1168866"/>
                  <a:pt x="2199364" y="1170688"/>
                  <a:pt x="2201187" y="1170688"/>
                </a:cubicBezTo>
                <a:cubicBezTo>
                  <a:pt x="2201187" y="1168866"/>
                  <a:pt x="2201187" y="1167044"/>
                  <a:pt x="2203009" y="1165222"/>
                </a:cubicBezTo>
                <a:close/>
                <a:moveTo>
                  <a:pt x="1053217" y="1165222"/>
                </a:moveTo>
                <a:cubicBezTo>
                  <a:pt x="1049573" y="1170688"/>
                  <a:pt x="1056861" y="1170688"/>
                  <a:pt x="1058683" y="1170688"/>
                </a:cubicBezTo>
                <a:cubicBezTo>
                  <a:pt x="1060506" y="1168866"/>
                  <a:pt x="1055040" y="1165222"/>
                  <a:pt x="1053217" y="1165222"/>
                </a:cubicBezTo>
                <a:close/>
                <a:moveTo>
                  <a:pt x="781713" y="1165222"/>
                </a:moveTo>
                <a:cubicBezTo>
                  <a:pt x="779892" y="1168866"/>
                  <a:pt x="785357" y="1170688"/>
                  <a:pt x="785357" y="1172510"/>
                </a:cubicBezTo>
                <a:cubicBezTo>
                  <a:pt x="787179" y="1170688"/>
                  <a:pt x="783535" y="1165222"/>
                  <a:pt x="781713" y="1165222"/>
                </a:cubicBezTo>
                <a:close/>
                <a:moveTo>
                  <a:pt x="717937" y="1165222"/>
                </a:moveTo>
                <a:cubicBezTo>
                  <a:pt x="717937" y="1170688"/>
                  <a:pt x="719759" y="1168866"/>
                  <a:pt x="721581" y="1172510"/>
                </a:cubicBezTo>
                <a:cubicBezTo>
                  <a:pt x="721581" y="1168866"/>
                  <a:pt x="719759" y="1167044"/>
                  <a:pt x="717937" y="1165222"/>
                </a:cubicBezTo>
                <a:close/>
                <a:moveTo>
                  <a:pt x="686960" y="1165222"/>
                </a:moveTo>
                <a:cubicBezTo>
                  <a:pt x="686960" y="1167044"/>
                  <a:pt x="685138" y="1167044"/>
                  <a:pt x="685138" y="1168866"/>
                </a:cubicBezTo>
                <a:cubicBezTo>
                  <a:pt x="685138" y="1170688"/>
                  <a:pt x="686960" y="1167044"/>
                  <a:pt x="688782" y="1168866"/>
                </a:cubicBezTo>
                <a:cubicBezTo>
                  <a:pt x="688782" y="1167044"/>
                  <a:pt x="686960" y="1167044"/>
                  <a:pt x="686960" y="1165222"/>
                </a:cubicBezTo>
                <a:close/>
                <a:moveTo>
                  <a:pt x="428211" y="1165222"/>
                </a:moveTo>
                <a:cubicBezTo>
                  <a:pt x="428211" y="1165222"/>
                  <a:pt x="426389" y="1165222"/>
                  <a:pt x="426389" y="1167044"/>
                </a:cubicBezTo>
                <a:cubicBezTo>
                  <a:pt x="426389" y="1163399"/>
                  <a:pt x="431856" y="1170688"/>
                  <a:pt x="433678" y="1168866"/>
                </a:cubicBezTo>
                <a:cubicBezTo>
                  <a:pt x="433678" y="1168866"/>
                  <a:pt x="431856" y="1167044"/>
                  <a:pt x="428211" y="1165222"/>
                </a:cubicBezTo>
                <a:close/>
                <a:moveTo>
                  <a:pt x="3017749" y="1164310"/>
                </a:moveTo>
                <a:cubicBezTo>
                  <a:pt x="3016154" y="1164310"/>
                  <a:pt x="3014787" y="1165221"/>
                  <a:pt x="3015698" y="1167044"/>
                </a:cubicBezTo>
                <a:cubicBezTo>
                  <a:pt x="3017521" y="1167044"/>
                  <a:pt x="3019343" y="1167044"/>
                  <a:pt x="3021165" y="1167044"/>
                </a:cubicBezTo>
                <a:cubicBezTo>
                  <a:pt x="3021165" y="1165221"/>
                  <a:pt x="3019343" y="1164310"/>
                  <a:pt x="3017749" y="1164310"/>
                </a:cubicBezTo>
                <a:close/>
                <a:moveTo>
                  <a:pt x="3044853" y="1163399"/>
                </a:moveTo>
                <a:cubicBezTo>
                  <a:pt x="3039387" y="1161577"/>
                  <a:pt x="3041209" y="1168866"/>
                  <a:pt x="3039387" y="1168866"/>
                </a:cubicBezTo>
                <a:cubicBezTo>
                  <a:pt x="3043031" y="1172510"/>
                  <a:pt x="3044853" y="1167044"/>
                  <a:pt x="3044853" y="1163399"/>
                </a:cubicBezTo>
                <a:close/>
                <a:moveTo>
                  <a:pt x="1457739" y="1163399"/>
                </a:moveTo>
                <a:cubicBezTo>
                  <a:pt x="1458650" y="1165221"/>
                  <a:pt x="1458650" y="1167044"/>
                  <a:pt x="1458422" y="1170916"/>
                </a:cubicBezTo>
                <a:lnTo>
                  <a:pt x="1458367" y="1172517"/>
                </a:lnTo>
                <a:lnTo>
                  <a:pt x="1457968" y="1170688"/>
                </a:lnTo>
                <a:cubicBezTo>
                  <a:pt x="1457284" y="1168410"/>
                  <a:pt x="1456828" y="1166132"/>
                  <a:pt x="1457739" y="1163399"/>
                </a:cubicBezTo>
                <a:close/>
                <a:moveTo>
                  <a:pt x="1044106" y="1163399"/>
                </a:moveTo>
                <a:cubicBezTo>
                  <a:pt x="1044106" y="1165222"/>
                  <a:pt x="1047750" y="1165222"/>
                  <a:pt x="1047750" y="1167044"/>
                </a:cubicBezTo>
                <a:cubicBezTo>
                  <a:pt x="1047750" y="1167044"/>
                  <a:pt x="1049573" y="1165222"/>
                  <a:pt x="1049573" y="1165222"/>
                </a:cubicBezTo>
                <a:cubicBezTo>
                  <a:pt x="1049573" y="1163399"/>
                  <a:pt x="1047750" y="1165222"/>
                  <a:pt x="1044106" y="1163399"/>
                </a:cubicBezTo>
                <a:close/>
                <a:moveTo>
                  <a:pt x="1033173" y="1163399"/>
                </a:moveTo>
                <a:cubicBezTo>
                  <a:pt x="1022240" y="1163399"/>
                  <a:pt x="1033173" y="1179799"/>
                  <a:pt x="1042284" y="1174332"/>
                </a:cubicBezTo>
                <a:cubicBezTo>
                  <a:pt x="1040462" y="1168866"/>
                  <a:pt x="1036818" y="1163399"/>
                  <a:pt x="1033173" y="1163399"/>
                </a:cubicBezTo>
                <a:close/>
                <a:moveTo>
                  <a:pt x="805401" y="1163399"/>
                </a:moveTo>
                <a:cubicBezTo>
                  <a:pt x="803579" y="1172510"/>
                  <a:pt x="812690" y="1177977"/>
                  <a:pt x="818156" y="1172510"/>
                </a:cubicBezTo>
                <a:cubicBezTo>
                  <a:pt x="816334" y="1168866"/>
                  <a:pt x="810868" y="1174332"/>
                  <a:pt x="809046" y="1170688"/>
                </a:cubicBezTo>
                <a:cubicBezTo>
                  <a:pt x="809046" y="1167044"/>
                  <a:pt x="810868" y="1172510"/>
                  <a:pt x="812690" y="1168866"/>
                </a:cubicBezTo>
                <a:cubicBezTo>
                  <a:pt x="809046" y="1167044"/>
                  <a:pt x="805401" y="1168866"/>
                  <a:pt x="805401" y="1163399"/>
                </a:cubicBezTo>
                <a:close/>
                <a:moveTo>
                  <a:pt x="798112" y="1163399"/>
                </a:moveTo>
                <a:cubicBezTo>
                  <a:pt x="798112" y="1172510"/>
                  <a:pt x="789003" y="1185266"/>
                  <a:pt x="801757" y="1187088"/>
                </a:cubicBezTo>
                <a:cubicBezTo>
                  <a:pt x="799935" y="1187088"/>
                  <a:pt x="798112" y="1185266"/>
                  <a:pt x="799935" y="1183443"/>
                </a:cubicBezTo>
                <a:cubicBezTo>
                  <a:pt x="801757" y="1185266"/>
                  <a:pt x="803579" y="1190732"/>
                  <a:pt x="807223" y="1187088"/>
                </a:cubicBezTo>
                <a:cubicBezTo>
                  <a:pt x="807223" y="1181621"/>
                  <a:pt x="805401" y="1172510"/>
                  <a:pt x="799935" y="1168866"/>
                </a:cubicBezTo>
                <a:cubicBezTo>
                  <a:pt x="805401" y="1165222"/>
                  <a:pt x="799935" y="1165222"/>
                  <a:pt x="798112" y="1163399"/>
                </a:cubicBezTo>
                <a:close/>
                <a:moveTo>
                  <a:pt x="533897" y="1163399"/>
                </a:moveTo>
                <a:cubicBezTo>
                  <a:pt x="532075" y="1165222"/>
                  <a:pt x="532075" y="1165222"/>
                  <a:pt x="530253" y="1167044"/>
                </a:cubicBezTo>
                <a:cubicBezTo>
                  <a:pt x="537542" y="1168866"/>
                  <a:pt x="543008" y="1174332"/>
                  <a:pt x="548475" y="1174332"/>
                </a:cubicBezTo>
                <a:cubicBezTo>
                  <a:pt x="543008" y="1168866"/>
                  <a:pt x="539364" y="1167044"/>
                  <a:pt x="533897" y="1163399"/>
                </a:cubicBezTo>
                <a:close/>
                <a:moveTo>
                  <a:pt x="404523" y="1163399"/>
                </a:moveTo>
                <a:cubicBezTo>
                  <a:pt x="402701" y="1163399"/>
                  <a:pt x="400879" y="1165222"/>
                  <a:pt x="399056" y="1165222"/>
                </a:cubicBezTo>
                <a:cubicBezTo>
                  <a:pt x="400879" y="1167044"/>
                  <a:pt x="408167" y="1167044"/>
                  <a:pt x="409989" y="1167044"/>
                </a:cubicBezTo>
                <a:cubicBezTo>
                  <a:pt x="408167" y="1165222"/>
                  <a:pt x="406345" y="1165222"/>
                  <a:pt x="404523" y="1163399"/>
                </a:cubicBezTo>
                <a:close/>
                <a:moveTo>
                  <a:pt x="879745" y="1163034"/>
                </a:moveTo>
                <a:lnTo>
                  <a:pt x="880111" y="1165222"/>
                </a:lnTo>
                <a:lnTo>
                  <a:pt x="879630" y="1163495"/>
                </a:lnTo>
                <a:close/>
                <a:moveTo>
                  <a:pt x="2095443" y="1162529"/>
                </a:moveTo>
                <a:cubicBezTo>
                  <a:pt x="2096297" y="1163894"/>
                  <a:pt x="2090489" y="1170381"/>
                  <a:pt x="2091855" y="1163549"/>
                </a:cubicBezTo>
                <a:cubicBezTo>
                  <a:pt x="2094133" y="1162182"/>
                  <a:pt x="2095158" y="1162072"/>
                  <a:pt x="2095443" y="1162529"/>
                </a:cubicBezTo>
                <a:close/>
                <a:moveTo>
                  <a:pt x="879980" y="1162098"/>
                </a:moveTo>
                <a:lnTo>
                  <a:pt x="879745" y="1163034"/>
                </a:lnTo>
                <a:lnTo>
                  <a:pt x="879655" y="1162488"/>
                </a:lnTo>
                <a:close/>
                <a:moveTo>
                  <a:pt x="2766060" y="1161577"/>
                </a:moveTo>
                <a:cubicBezTo>
                  <a:pt x="2764238" y="1163399"/>
                  <a:pt x="2762416" y="1163399"/>
                  <a:pt x="2760594" y="1163399"/>
                </a:cubicBezTo>
                <a:cubicBezTo>
                  <a:pt x="2758772" y="1168866"/>
                  <a:pt x="2762416" y="1168866"/>
                  <a:pt x="2762416" y="1170688"/>
                </a:cubicBezTo>
                <a:cubicBezTo>
                  <a:pt x="2766060" y="1170688"/>
                  <a:pt x="2764238" y="1167044"/>
                  <a:pt x="2766060" y="1161577"/>
                </a:cubicBezTo>
                <a:close/>
                <a:moveTo>
                  <a:pt x="1273700" y="1161577"/>
                </a:moveTo>
                <a:cubicBezTo>
                  <a:pt x="1279166" y="1167044"/>
                  <a:pt x="1277344" y="1172510"/>
                  <a:pt x="1279166" y="1179799"/>
                </a:cubicBezTo>
                <a:cubicBezTo>
                  <a:pt x="1282811" y="1179799"/>
                  <a:pt x="1286455" y="1172510"/>
                  <a:pt x="1290100" y="1170688"/>
                </a:cubicBezTo>
                <a:cubicBezTo>
                  <a:pt x="1286455" y="1174332"/>
                  <a:pt x="1284633" y="1179799"/>
                  <a:pt x="1279166" y="1181621"/>
                </a:cubicBezTo>
                <a:cubicBezTo>
                  <a:pt x="1275522" y="1174332"/>
                  <a:pt x="1277344" y="1168866"/>
                  <a:pt x="1273700" y="1161577"/>
                </a:cubicBezTo>
                <a:close/>
                <a:moveTo>
                  <a:pt x="1166192" y="1161577"/>
                </a:moveTo>
                <a:cubicBezTo>
                  <a:pt x="1164370" y="1161577"/>
                  <a:pt x="1160725" y="1165222"/>
                  <a:pt x="1162547" y="1167044"/>
                </a:cubicBezTo>
                <a:cubicBezTo>
                  <a:pt x="1164370" y="1168866"/>
                  <a:pt x="1164370" y="1167044"/>
                  <a:pt x="1166192" y="1167044"/>
                </a:cubicBezTo>
                <a:cubicBezTo>
                  <a:pt x="1166192" y="1170688"/>
                  <a:pt x="1160725" y="1172510"/>
                  <a:pt x="1160725" y="1176155"/>
                </a:cubicBezTo>
                <a:cubicBezTo>
                  <a:pt x="1164370" y="1176155"/>
                  <a:pt x="1166192" y="1176155"/>
                  <a:pt x="1169836" y="1177977"/>
                </a:cubicBezTo>
                <a:cubicBezTo>
                  <a:pt x="1171658" y="1176155"/>
                  <a:pt x="1171658" y="1174332"/>
                  <a:pt x="1173481" y="1176155"/>
                </a:cubicBezTo>
                <a:cubicBezTo>
                  <a:pt x="1171658" y="1170688"/>
                  <a:pt x="1169836" y="1167044"/>
                  <a:pt x="1166192" y="1161577"/>
                </a:cubicBezTo>
                <a:close/>
                <a:moveTo>
                  <a:pt x="1144326" y="1161577"/>
                </a:moveTo>
                <a:cubicBezTo>
                  <a:pt x="1144326" y="1163399"/>
                  <a:pt x="1147970" y="1163399"/>
                  <a:pt x="1144326" y="1165222"/>
                </a:cubicBezTo>
                <a:cubicBezTo>
                  <a:pt x="1144326" y="1165222"/>
                  <a:pt x="1146148" y="1167044"/>
                  <a:pt x="1146148" y="1167044"/>
                </a:cubicBezTo>
                <a:cubicBezTo>
                  <a:pt x="1147970" y="1165222"/>
                  <a:pt x="1146148" y="1163399"/>
                  <a:pt x="1147970" y="1161577"/>
                </a:cubicBezTo>
                <a:cubicBezTo>
                  <a:pt x="1146148" y="1159755"/>
                  <a:pt x="1144326" y="1159755"/>
                  <a:pt x="1144326" y="1161577"/>
                </a:cubicBezTo>
                <a:close/>
                <a:moveTo>
                  <a:pt x="901976" y="1161577"/>
                </a:moveTo>
                <a:cubicBezTo>
                  <a:pt x="898333" y="1165222"/>
                  <a:pt x="903799" y="1170688"/>
                  <a:pt x="907444" y="1174332"/>
                </a:cubicBezTo>
                <a:cubicBezTo>
                  <a:pt x="905621" y="1168866"/>
                  <a:pt x="901976" y="1165222"/>
                  <a:pt x="901976" y="1161577"/>
                </a:cubicBezTo>
                <a:close/>
                <a:moveTo>
                  <a:pt x="880111" y="1161577"/>
                </a:moveTo>
                <a:lnTo>
                  <a:pt x="880276" y="1161743"/>
                </a:lnTo>
                <a:lnTo>
                  <a:pt x="879980" y="1162098"/>
                </a:lnTo>
                <a:close/>
                <a:moveTo>
                  <a:pt x="834556" y="1161577"/>
                </a:moveTo>
                <a:cubicBezTo>
                  <a:pt x="834556" y="1168866"/>
                  <a:pt x="834556" y="1177977"/>
                  <a:pt x="840022" y="1187088"/>
                </a:cubicBezTo>
                <a:cubicBezTo>
                  <a:pt x="838200" y="1177977"/>
                  <a:pt x="841845" y="1170688"/>
                  <a:pt x="834556" y="1161577"/>
                </a:cubicBezTo>
                <a:close/>
                <a:moveTo>
                  <a:pt x="814512" y="1161577"/>
                </a:moveTo>
                <a:cubicBezTo>
                  <a:pt x="814512" y="1163399"/>
                  <a:pt x="814512" y="1165222"/>
                  <a:pt x="816334" y="1167044"/>
                </a:cubicBezTo>
                <a:cubicBezTo>
                  <a:pt x="816334" y="1167044"/>
                  <a:pt x="816334" y="1167044"/>
                  <a:pt x="818156" y="1165222"/>
                </a:cubicBezTo>
                <a:cubicBezTo>
                  <a:pt x="816334" y="1163399"/>
                  <a:pt x="816334" y="1163399"/>
                  <a:pt x="814512" y="1161577"/>
                </a:cubicBezTo>
                <a:close/>
                <a:moveTo>
                  <a:pt x="790824" y="1161577"/>
                </a:moveTo>
                <a:cubicBezTo>
                  <a:pt x="789003" y="1165222"/>
                  <a:pt x="790824" y="1168866"/>
                  <a:pt x="792646" y="1172510"/>
                </a:cubicBezTo>
                <a:cubicBezTo>
                  <a:pt x="796290" y="1168866"/>
                  <a:pt x="792646" y="1165222"/>
                  <a:pt x="796290" y="1163399"/>
                </a:cubicBezTo>
                <a:cubicBezTo>
                  <a:pt x="794468" y="1161577"/>
                  <a:pt x="792646" y="1163399"/>
                  <a:pt x="790824" y="1161577"/>
                </a:cubicBezTo>
                <a:close/>
                <a:moveTo>
                  <a:pt x="697893" y="1161577"/>
                </a:moveTo>
                <a:cubicBezTo>
                  <a:pt x="696071" y="1163399"/>
                  <a:pt x="696071" y="1165222"/>
                  <a:pt x="697893" y="1167044"/>
                </a:cubicBezTo>
                <a:cubicBezTo>
                  <a:pt x="697893" y="1167044"/>
                  <a:pt x="699715" y="1167044"/>
                  <a:pt x="701537" y="1165222"/>
                </a:cubicBezTo>
                <a:cubicBezTo>
                  <a:pt x="701537" y="1165222"/>
                  <a:pt x="699715" y="1161577"/>
                  <a:pt x="697893" y="1161577"/>
                </a:cubicBezTo>
                <a:close/>
                <a:moveTo>
                  <a:pt x="435500" y="1161577"/>
                </a:moveTo>
                <a:cubicBezTo>
                  <a:pt x="433678" y="1161577"/>
                  <a:pt x="431856" y="1163399"/>
                  <a:pt x="428211" y="1163399"/>
                </a:cubicBezTo>
                <a:cubicBezTo>
                  <a:pt x="430034" y="1167044"/>
                  <a:pt x="433678" y="1163399"/>
                  <a:pt x="435500" y="1161577"/>
                </a:cubicBezTo>
                <a:close/>
                <a:moveTo>
                  <a:pt x="240527" y="1161577"/>
                </a:moveTo>
                <a:cubicBezTo>
                  <a:pt x="238705" y="1168866"/>
                  <a:pt x="244172" y="1163399"/>
                  <a:pt x="247816" y="1165222"/>
                </a:cubicBezTo>
                <a:cubicBezTo>
                  <a:pt x="245994" y="1163399"/>
                  <a:pt x="242349" y="1163399"/>
                  <a:pt x="240527" y="1161577"/>
                </a:cubicBezTo>
                <a:close/>
                <a:moveTo>
                  <a:pt x="2943961" y="1161381"/>
                </a:moveTo>
                <a:lnTo>
                  <a:pt x="2944634" y="1163399"/>
                </a:lnTo>
                <a:lnTo>
                  <a:pt x="2922347" y="1166278"/>
                </a:lnTo>
                <a:lnTo>
                  <a:pt x="2921629" y="1165450"/>
                </a:lnTo>
                <a:cubicBezTo>
                  <a:pt x="2920945" y="1164766"/>
                  <a:pt x="2920945" y="1164310"/>
                  <a:pt x="2922767" y="1163399"/>
                </a:cubicBezTo>
                <a:close/>
                <a:moveTo>
                  <a:pt x="3039614" y="1160666"/>
                </a:moveTo>
                <a:cubicBezTo>
                  <a:pt x="3038476" y="1161577"/>
                  <a:pt x="3037564" y="1163399"/>
                  <a:pt x="3037564" y="1165222"/>
                </a:cubicBezTo>
                <a:cubicBezTo>
                  <a:pt x="3041209" y="1167044"/>
                  <a:pt x="3039387" y="1161577"/>
                  <a:pt x="3043031" y="1161577"/>
                </a:cubicBezTo>
                <a:cubicBezTo>
                  <a:pt x="3042120" y="1159755"/>
                  <a:pt x="3040754" y="1159755"/>
                  <a:pt x="3039614" y="1160666"/>
                </a:cubicBezTo>
                <a:close/>
                <a:moveTo>
                  <a:pt x="2590221" y="1160666"/>
                </a:moveTo>
                <a:cubicBezTo>
                  <a:pt x="2587943" y="1161121"/>
                  <a:pt x="2585665" y="1162488"/>
                  <a:pt x="2585665" y="1163399"/>
                </a:cubicBezTo>
                <a:cubicBezTo>
                  <a:pt x="2587487" y="1167044"/>
                  <a:pt x="2591132" y="1161577"/>
                  <a:pt x="2594776" y="1163399"/>
                </a:cubicBezTo>
                <a:cubicBezTo>
                  <a:pt x="2594776" y="1160666"/>
                  <a:pt x="2592498" y="1160210"/>
                  <a:pt x="2590221" y="1160666"/>
                </a:cubicBezTo>
                <a:close/>
                <a:moveTo>
                  <a:pt x="2334205" y="1159755"/>
                </a:moveTo>
                <a:cubicBezTo>
                  <a:pt x="2321450" y="1165222"/>
                  <a:pt x="2301406" y="1159755"/>
                  <a:pt x="2308695" y="1179799"/>
                </a:cubicBezTo>
                <a:cubicBezTo>
                  <a:pt x="2312339" y="1176155"/>
                  <a:pt x="2312339" y="1168866"/>
                  <a:pt x="2314161" y="1168866"/>
                </a:cubicBezTo>
                <a:cubicBezTo>
                  <a:pt x="2323272" y="1168866"/>
                  <a:pt x="2319628" y="1179799"/>
                  <a:pt x="2325094" y="1187088"/>
                </a:cubicBezTo>
                <a:cubicBezTo>
                  <a:pt x="2323272" y="1185266"/>
                  <a:pt x="2321450" y="1185266"/>
                  <a:pt x="2319628" y="1187088"/>
                </a:cubicBezTo>
                <a:cubicBezTo>
                  <a:pt x="2315983" y="1192554"/>
                  <a:pt x="2315983" y="1199843"/>
                  <a:pt x="2308695" y="1196199"/>
                </a:cubicBezTo>
                <a:cubicBezTo>
                  <a:pt x="2308695" y="1198021"/>
                  <a:pt x="2308695" y="1198021"/>
                  <a:pt x="2308695" y="1199843"/>
                </a:cubicBezTo>
                <a:lnTo>
                  <a:pt x="2326916" y="1219887"/>
                </a:lnTo>
                <a:cubicBezTo>
                  <a:pt x="2330561" y="1214420"/>
                  <a:pt x="2332383" y="1208954"/>
                  <a:pt x="2334205" y="1199843"/>
                </a:cubicBezTo>
                <a:cubicBezTo>
                  <a:pt x="2337850" y="1201665"/>
                  <a:pt x="2336027" y="1203487"/>
                  <a:pt x="2336027" y="1205309"/>
                </a:cubicBezTo>
                <a:cubicBezTo>
                  <a:pt x="2339672" y="1201665"/>
                  <a:pt x="2337850" y="1198021"/>
                  <a:pt x="2339672" y="1194376"/>
                </a:cubicBezTo>
                <a:cubicBezTo>
                  <a:pt x="2343316" y="1199843"/>
                  <a:pt x="2348782" y="1198021"/>
                  <a:pt x="2350605" y="1201665"/>
                </a:cubicBezTo>
                <a:cubicBezTo>
                  <a:pt x="2350605" y="1201665"/>
                  <a:pt x="2352427" y="1199843"/>
                  <a:pt x="2352427" y="1199843"/>
                </a:cubicBezTo>
                <a:lnTo>
                  <a:pt x="2352427" y="1187088"/>
                </a:lnTo>
                <a:lnTo>
                  <a:pt x="2374293" y="1187088"/>
                </a:lnTo>
                <a:cubicBezTo>
                  <a:pt x="2376115" y="1185266"/>
                  <a:pt x="2376115" y="1183443"/>
                  <a:pt x="2376115" y="1179799"/>
                </a:cubicBezTo>
                <a:cubicBezTo>
                  <a:pt x="2387048" y="1181621"/>
                  <a:pt x="2376115" y="1187088"/>
                  <a:pt x="2379760" y="1188910"/>
                </a:cubicBezTo>
                <a:cubicBezTo>
                  <a:pt x="2379760" y="1183443"/>
                  <a:pt x="2387048" y="1188910"/>
                  <a:pt x="2387048" y="1183443"/>
                </a:cubicBezTo>
                <a:cubicBezTo>
                  <a:pt x="2387048" y="1183443"/>
                  <a:pt x="2387048" y="1183443"/>
                  <a:pt x="2385226" y="1181621"/>
                </a:cubicBezTo>
                <a:cubicBezTo>
                  <a:pt x="2388871" y="1179799"/>
                  <a:pt x="2392515" y="1179799"/>
                  <a:pt x="2394337" y="1176155"/>
                </a:cubicBezTo>
                <a:cubicBezTo>
                  <a:pt x="2394337" y="1172510"/>
                  <a:pt x="2390693" y="1170688"/>
                  <a:pt x="2388871" y="1168866"/>
                </a:cubicBezTo>
                <a:cubicBezTo>
                  <a:pt x="2385226" y="1168866"/>
                  <a:pt x="2390693" y="1176155"/>
                  <a:pt x="2387048" y="1174332"/>
                </a:cubicBezTo>
                <a:cubicBezTo>
                  <a:pt x="2383404" y="1174332"/>
                  <a:pt x="2379760" y="1174332"/>
                  <a:pt x="2379760" y="1168866"/>
                </a:cubicBezTo>
                <a:cubicBezTo>
                  <a:pt x="2374293" y="1168866"/>
                  <a:pt x="2377937" y="1177977"/>
                  <a:pt x="2374293" y="1174332"/>
                </a:cubicBezTo>
                <a:cubicBezTo>
                  <a:pt x="2376115" y="1181621"/>
                  <a:pt x="2368827" y="1181621"/>
                  <a:pt x="2367004" y="1183443"/>
                </a:cubicBezTo>
                <a:cubicBezTo>
                  <a:pt x="2359716" y="1179799"/>
                  <a:pt x="2368827" y="1174332"/>
                  <a:pt x="2367004" y="1172510"/>
                </a:cubicBezTo>
                <a:cubicBezTo>
                  <a:pt x="2367004" y="1170688"/>
                  <a:pt x="2361538" y="1174332"/>
                  <a:pt x="2359716" y="1172510"/>
                </a:cubicBezTo>
                <a:cubicBezTo>
                  <a:pt x="2356071" y="1168866"/>
                  <a:pt x="2352427" y="1163399"/>
                  <a:pt x="2346960" y="1161577"/>
                </a:cubicBezTo>
                <a:cubicBezTo>
                  <a:pt x="2343316" y="1170688"/>
                  <a:pt x="2334205" y="1168866"/>
                  <a:pt x="2326916" y="1174332"/>
                </a:cubicBezTo>
                <a:cubicBezTo>
                  <a:pt x="2325094" y="1174332"/>
                  <a:pt x="2325094" y="1172510"/>
                  <a:pt x="2325094" y="1170688"/>
                </a:cubicBezTo>
                <a:cubicBezTo>
                  <a:pt x="2326916" y="1167044"/>
                  <a:pt x="2332383" y="1167044"/>
                  <a:pt x="2336027" y="1167044"/>
                </a:cubicBezTo>
                <a:cubicBezTo>
                  <a:pt x="2334205" y="1165222"/>
                  <a:pt x="2334205" y="1161577"/>
                  <a:pt x="2334205" y="1159755"/>
                </a:cubicBezTo>
                <a:close/>
                <a:moveTo>
                  <a:pt x="2277718" y="1159755"/>
                </a:moveTo>
                <a:cubicBezTo>
                  <a:pt x="2272251" y="1163399"/>
                  <a:pt x="2268607" y="1167044"/>
                  <a:pt x="2268607" y="1172510"/>
                </a:cubicBezTo>
                <a:lnTo>
                  <a:pt x="2270429" y="1172510"/>
                </a:lnTo>
                <a:lnTo>
                  <a:pt x="2270429" y="1179799"/>
                </a:lnTo>
                <a:cubicBezTo>
                  <a:pt x="2272251" y="1176155"/>
                  <a:pt x="2274074" y="1172510"/>
                  <a:pt x="2277718" y="1172510"/>
                </a:cubicBezTo>
                <a:cubicBezTo>
                  <a:pt x="2277718" y="1167044"/>
                  <a:pt x="2279540" y="1163399"/>
                  <a:pt x="2277718" y="1159755"/>
                </a:cubicBezTo>
                <a:close/>
                <a:moveTo>
                  <a:pt x="748914" y="1159755"/>
                </a:moveTo>
                <a:cubicBezTo>
                  <a:pt x="743447" y="1157933"/>
                  <a:pt x="745269" y="1170688"/>
                  <a:pt x="750737" y="1170688"/>
                </a:cubicBezTo>
                <a:cubicBezTo>
                  <a:pt x="752558" y="1165222"/>
                  <a:pt x="747092" y="1163399"/>
                  <a:pt x="748914" y="1159755"/>
                </a:cubicBezTo>
                <a:close/>
                <a:moveTo>
                  <a:pt x="679671" y="1159755"/>
                </a:moveTo>
                <a:cubicBezTo>
                  <a:pt x="677849" y="1163399"/>
                  <a:pt x="679671" y="1167044"/>
                  <a:pt x="681493" y="1170688"/>
                </a:cubicBezTo>
                <a:cubicBezTo>
                  <a:pt x="683316" y="1168866"/>
                  <a:pt x="681493" y="1165222"/>
                  <a:pt x="683316" y="1163399"/>
                </a:cubicBezTo>
                <a:cubicBezTo>
                  <a:pt x="683316" y="1159755"/>
                  <a:pt x="681493" y="1159755"/>
                  <a:pt x="679671" y="1159755"/>
                </a:cubicBezTo>
                <a:close/>
                <a:moveTo>
                  <a:pt x="1124281" y="1159754"/>
                </a:moveTo>
                <a:lnTo>
                  <a:pt x="1131570" y="1162670"/>
                </a:lnTo>
                <a:lnTo>
                  <a:pt x="1131570" y="1163399"/>
                </a:lnTo>
                <a:lnTo>
                  <a:pt x="1124281" y="1159755"/>
                </a:lnTo>
                <a:close/>
                <a:moveTo>
                  <a:pt x="828179" y="1159527"/>
                </a:moveTo>
                <a:lnTo>
                  <a:pt x="828529" y="1159615"/>
                </a:lnTo>
                <a:lnTo>
                  <a:pt x="827267" y="1163399"/>
                </a:lnTo>
                <a:cubicBezTo>
                  <a:pt x="827267" y="1162488"/>
                  <a:pt x="827723" y="1160666"/>
                  <a:pt x="828179" y="1159527"/>
                </a:cubicBezTo>
                <a:close/>
                <a:moveTo>
                  <a:pt x="516131" y="1159527"/>
                </a:moveTo>
                <a:cubicBezTo>
                  <a:pt x="515220" y="1160666"/>
                  <a:pt x="514764" y="1162488"/>
                  <a:pt x="515676" y="1163399"/>
                </a:cubicBezTo>
                <a:cubicBezTo>
                  <a:pt x="517498" y="1161577"/>
                  <a:pt x="517498" y="1159755"/>
                  <a:pt x="519320" y="1159755"/>
                </a:cubicBezTo>
                <a:cubicBezTo>
                  <a:pt x="518409" y="1157933"/>
                  <a:pt x="517042" y="1158388"/>
                  <a:pt x="516131" y="1159527"/>
                </a:cubicBezTo>
                <a:close/>
                <a:moveTo>
                  <a:pt x="585373" y="1159072"/>
                </a:moveTo>
                <a:cubicBezTo>
                  <a:pt x="584462" y="1159299"/>
                  <a:pt x="584007" y="1159755"/>
                  <a:pt x="584919" y="1159755"/>
                </a:cubicBezTo>
                <a:cubicBezTo>
                  <a:pt x="584919" y="1163399"/>
                  <a:pt x="586741" y="1159755"/>
                  <a:pt x="588562" y="1163399"/>
                </a:cubicBezTo>
                <a:cubicBezTo>
                  <a:pt x="592207" y="1163399"/>
                  <a:pt x="586741" y="1161577"/>
                  <a:pt x="588562" y="1159755"/>
                </a:cubicBezTo>
                <a:cubicBezTo>
                  <a:pt x="587651" y="1158844"/>
                  <a:pt x="586285" y="1158844"/>
                  <a:pt x="585373" y="1159072"/>
                </a:cubicBezTo>
                <a:close/>
                <a:moveTo>
                  <a:pt x="872821" y="1157970"/>
                </a:moveTo>
                <a:cubicBezTo>
                  <a:pt x="872821" y="1157970"/>
                  <a:pt x="874643" y="1159792"/>
                  <a:pt x="874643" y="1159792"/>
                </a:cubicBezTo>
                <a:cubicBezTo>
                  <a:pt x="869177" y="1163437"/>
                  <a:pt x="869177" y="1163437"/>
                  <a:pt x="872821" y="1157970"/>
                </a:cubicBezTo>
                <a:close/>
                <a:moveTo>
                  <a:pt x="3081297" y="1157933"/>
                </a:moveTo>
                <a:cubicBezTo>
                  <a:pt x="3074008" y="1157933"/>
                  <a:pt x="3070363" y="1159755"/>
                  <a:pt x="3063075" y="1163399"/>
                </a:cubicBezTo>
                <a:cubicBezTo>
                  <a:pt x="3066719" y="1172510"/>
                  <a:pt x="3063075" y="1179799"/>
                  <a:pt x="3070363" y="1183443"/>
                </a:cubicBezTo>
                <a:cubicBezTo>
                  <a:pt x="3070363" y="1185266"/>
                  <a:pt x="3068541" y="1185266"/>
                  <a:pt x="3068541" y="1187088"/>
                </a:cubicBezTo>
                <a:cubicBezTo>
                  <a:pt x="3070363" y="1190732"/>
                  <a:pt x="3072186" y="1192554"/>
                  <a:pt x="3074008" y="1194376"/>
                </a:cubicBezTo>
                <a:cubicBezTo>
                  <a:pt x="3077652" y="1194376"/>
                  <a:pt x="3074008" y="1188910"/>
                  <a:pt x="3074008" y="1187088"/>
                </a:cubicBezTo>
                <a:cubicBezTo>
                  <a:pt x="3079474" y="1185266"/>
                  <a:pt x="3075830" y="1190732"/>
                  <a:pt x="3081297" y="1188910"/>
                </a:cubicBezTo>
                <a:cubicBezTo>
                  <a:pt x="3079474" y="1185266"/>
                  <a:pt x="3075830" y="1185266"/>
                  <a:pt x="3075830" y="1179799"/>
                </a:cubicBezTo>
                <a:cubicBezTo>
                  <a:pt x="3079474" y="1183443"/>
                  <a:pt x="3079474" y="1185266"/>
                  <a:pt x="3083119" y="1187088"/>
                </a:cubicBezTo>
                <a:cubicBezTo>
                  <a:pt x="3088585" y="1187088"/>
                  <a:pt x="3088585" y="1181621"/>
                  <a:pt x="3094052" y="1185266"/>
                </a:cubicBezTo>
                <a:cubicBezTo>
                  <a:pt x="3094052" y="1179799"/>
                  <a:pt x="3101340" y="1179799"/>
                  <a:pt x="3103163" y="1174332"/>
                </a:cubicBezTo>
                <a:cubicBezTo>
                  <a:pt x="3101340" y="1172510"/>
                  <a:pt x="3101340" y="1174332"/>
                  <a:pt x="3101340" y="1176155"/>
                </a:cubicBezTo>
                <a:cubicBezTo>
                  <a:pt x="3095874" y="1165222"/>
                  <a:pt x="3084941" y="1168866"/>
                  <a:pt x="3081297" y="1157933"/>
                </a:cubicBezTo>
                <a:close/>
                <a:moveTo>
                  <a:pt x="3048497" y="1157933"/>
                </a:moveTo>
                <a:cubicBezTo>
                  <a:pt x="3046675" y="1159755"/>
                  <a:pt x="3046675" y="1161577"/>
                  <a:pt x="3046675" y="1165222"/>
                </a:cubicBezTo>
                <a:cubicBezTo>
                  <a:pt x="3052142" y="1165222"/>
                  <a:pt x="3050319" y="1161577"/>
                  <a:pt x="3052142" y="1157933"/>
                </a:cubicBezTo>
                <a:cubicBezTo>
                  <a:pt x="3050319" y="1157933"/>
                  <a:pt x="3048497" y="1157933"/>
                  <a:pt x="3048497" y="1157933"/>
                </a:cubicBezTo>
                <a:close/>
                <a:moveTo>
                  <a:pt x="2649441" y="1157933"/>
                </a:moveTo>
                <a:cubicBezTo>
                  <a:pt x="2647619" y="1157933"/>
                  <a:pt x="2649441" y="1163399"/>
                  <a:pt x="2651263" y="1163399"/>
                </a:cubicBezTo>
                <a:cubicBezTo>
                  <a:pt x="2651263" y="1163399"/>
                  <a:pt x="2653086" y="1163399"/>
                  <a:pt x="2653086" y="1161577"/>
                </a:cubicBezTo>
                <a:cubicBezTo>
                  <a:pt x="2653086" y="1159755"/>
                  <a:pt x="2653086" y="1159755"/>
                  <a:pt x="2653086" y="1159755"/>
                </a:cubicBezTo>
                <a:cubicBezTo>
                  <a:pt x="2651263" y="1159755"/>
                  <a:pt x="2649441" y="1159755"/>
                  <a:pt x="2649441" y="1157933"/>
                </a:cubicBezTo>
                <a:close/>
                <a:moveTo>
                  <a:pt x="2642153" y="1157933"/>
                </a:moveTo>
                <a:cubicBezTo>
                  <a:pt x="2640330" y="1159755"/>
                  <a:pt x="2643975" y="1165222"/>
                  <a:pt x="2645797" y="1163399"/>
                </a:cubicBezTo>
                <a:cubicBezTo>
                  <a:pt x="2649441" y="1156111"/>
                  <a:pt x="2643975" y="1159755"/>
                  <a:pt x="2642153" y="1157933"/>
                </a:cubicBezTo>
                <a:close/>
                <a:moveTo>
                  <a:pt x="1208102" y="1157933"/>
                </a:moveTo>
                <a:cubicBezTo>
                  <a:pt x="1200814" y="1161577"/>
                  <a:pt x="1193525" y="1167044"/>
                  <a:pt x="1188058" y="1168866"/>
                </a:cubicBezTo>
                <a:cubicBezTo>
                  <a:pt x="1197169" y="1176155"/>
                  <a:pt x="1208102" y="1168866"/>
                  <a:pt x="1208102" y="1157933"/>
                </a:cubicBezTo>
                <a:close/>
                <a:moveTo>
                  <a:pt x="1175303" y="1157933"/>
                </a:moveTo>
                <a:lnTo>
                  <a:pt x="1173481" y="1163399"/>
                </a:lnTo>
                <a:lnTo>
                  <a:pt x="1172341" y="1159299"/>
                </a:lnTo>
                <a:cubicBezTo>
                  <a:pt x="1173025" y="1157933"/>
                  <a:pt x="1174391" y="1157022"/>
                  <a:pt x="1175303" y="1157933"/>
                </a:cubicBezTo>
                <a:close/>
                <a:moveTo>
                  <a:pt x="1154264" y="1157933"/>
                </a:moveTo>
                <a:lnTo>
                  <a:pt x="1155834" y="1157933"/>
                </a:lnTo>
                <a:lnTo>
                  <a:pt x="1155259" y="1158616"/>
                </a:lnTo>
                <a:close/>
                <a:moveTo>
                  <a:pt x="1137037" y="1157933"/>
                </a:moveTo>
                <a:lnTo>
                  <a:pt x="1138859" y="1158020"/>
                </a:lnTo>
                <a:lnTo>
                  <a:pt x="1138859" y="1159755"/>
                </a:lnTo>
                <a:cubicBezTo>
                  <a:pt x="1138859" y="1159755"/>
                  <a:pt x="1137037" y="1157933"/>
                  <a:pt x="1137037" y="1157933"/>
                </a:cubicBezTo>
                <a:close/>
                <a:moveTo>
                  <a:pt x="1095127" y="1157933"/>
                </a:moveTo>
                <a:cubicBezTo>
                  <a:pt x="1093305" y="1156111"/>
                  <a:pt x="1095127" y="1161577"/>
                  <a:pt x="1091484" y="1161577"/>
                </a:cubicBezTo>
                <a:cubicBezTo>
                  <a:pt x="1093305" y="1161577"/>
                  <a:pt x="1093305" y="1163399"/>
                  <a:pt x="1093305" y="1163399"/>
                </a:cubicBezTo>
                <a:cubicBezTo>
                  <a:pt x="1095127" y="1163399"/>
                  <a:pt x="1095127" y="1159755"/>
                  <a:pt x="1095127" y="1157933"/>
                </a:cubicBezTo>
                <a:close/>
                <a:moveTo>
                  <a:pt x="923843" y="1157933"/>
                </a:moveTo>
                <a:cubicBezTo>
                  <a:pt x="923843" y="1159755"/>
                  <a:pt x="922020" y="1159755"/>
                  <a:pt x="922020" y="1163399"/>
                </a:cubicBezTo>
                <a:cubicBezTo>
                  <a:pt x="923843" y="1165222"/>
                  <a:pt x="927487" y="1168866"/>
                  <a:pt x="927487" y="1163399"/>
                </a:cubicBezTo>
                <a:cubicBezTo>
                  <a:pt x="925666" y="1161577"/>
                  <a:pt x="925666" y="1159755"/>
                  <a:pt x="923843" y="1157933"/>
                </a:cubicBezTo>
                <a:close/>
                <a:moveTo>
                  <a:pt x="686960" y="1157933"/>
                </a:moveTo>
                <a:cubicBezTo>
                  <a:pt x="683316" y="1165222"/>
                  <a:pt x="694249" y="1161577"/>
                  <a:pt x="694249" y="1167044"/>
                </a:cubicBezTo>
                <a:cubicBezTo>
                  <a:pt x="696071" y="1161577"/>
                  <a:pt x="690604" y="1159755"/>
                  <a:pt x="686960" y="1157933"/>
                </a:cubicBezTo>
                <a:close/>
                <a:moveTo>
                  <a:pt x="663272" y="1157933"/>
                </a:moveTo>
                <a:cubicBezTo>
                  <a:pt x="661449" y="1159755"/>
                  <a:pt x="659627" y="1161577"/>
                  <a:pt x="657805" y="1163399"/>
                </a:cubicBezTo>
                <a:cubicBezTo>
                  <a:pt x="654161" y="1167044"/>
                  <a:pt x="655983" y="1167044"/>
                  <a:pt x="665094" y="1159755"/>
                </a:cubicBezTo>
                <a:cubicBezTo>
                  <a:pt x="665094" y="1157933"/>
                  <a:pt x="663272" y="1159755"/>
                  <a:pt x="663272" y="1157933"/>
                </a:cubicBezTo>
                <a:close/>
                <a:moveTo>
                  <a:pt x="650516" y="1157933"/>
                </a:moveTo>
                <a:cubicBezTo>
                  <a:pt x="646872" y="1161577"/>
                  <a:pt x="645050" y="1156111"/>
                  <a:pt x="643228" y="1159755"/>
                </a:cubicBezTo>
                <a:cubicBezTo>
                  <a:pt x="646872" y="1159755"/>
                  <a:pt x="646872" y="1167044"/>
                  <a:pt x="652339" y="1165222"/>
                </a:cubicBezTo>
                <a:cubicBezTo>
                  <a:pt x="657805" y="1163399"/>
                  <a:pt x="652339" y="1159755"/>
                  <a:pt x="650516" y="1157933"/>
                </a:cubicBezTo>
                <a:close/>
                <a:moveTo>
                  <a:pt x="539364" y="1157933"/>
                </a:moveTo>
                <a:cubicBezTo>
                  <a:pt x="541186" y="1167044"/>
                  <a:pt x="550297" y="1168866"/>
                  <a:pt x="555763" y="1170688"/>
                </a:cubicBezTo>
                <a:cubicBezTo>
                  <a:pt x="555763" y="1165222"/>
                  <a:pt x="544830" y="1157933"/>
                  <a:pt x="539364" y="1157933"/>
                </a:cubicBezTo>
                <a:close/>
                <a:moveTo>
                  <a:pt x="521142" y="1157933"/>
                </a:moveTo>
                <a:cubicBezTo>
                  <a:pt x="522964" y="1159755"/>
                  <a:pt x="513853" y="1161577"/>
                  <a:pt x="521142" y="1165222"/>
                </a:cubicBezTo>
                <a:cubicBezTo>
                  <a:pt x="521142" y="1163399"/>
                  <a:pt x="524786" y="1161577"/>
                  <a:pt x="528431" y="1161577"/>
                </a:cubicBezTo>
                <a:cubicBezTo>
                  <a:pt x="526609" y="1159755"/>
                  <a:pt x="524786" y="1159755"/>
                  <a:pt x="521142" y="1157933"/>
                </a:cubicBezTo>
                <a:close/>
                <a:moveTo>
                  <a:pt x="399056" y="1157933"/>
                </a:moveTo>
                <a:cubicBezTo>
                  <a:pt x="395412" y="1156111"/>
                  <a:pt x="399056" y="1161577"/>
                  <a:pt x="395412" y="1163399"/>
                </a:cubicBezTo>
                <a:cubicBezTo>
                  <a:pt x="399056" y="1163399"/>
                  <a:pt x="399056" y="1159755"/>
                  <a:pt x="399056" y="1157933"/>
                </a:cubicBezTo>
                <a:close/>
                <a:moveTo>
                  <a:pt x="182218" y="1157933"/>
                </a:moveTo>
                <a:lnTo>
                  <a:pt x="183259" y="1158453"/>
                </a:lnTo>
                <a:lnTo>
                  <a:pt x="184040" y="1159755"/>
                </a:lnTo>
                <a:close/>
                <a:moveTo>
                  <a:pt x="393134" y="1157249"/>
                </a:moveTo>
                <a:cubicBezTo>
                  <a:pt x="391768" y="1157022"/>
                  <a:pt x="390857" y="1157022"/>
                  <a:pt x="391768" y="1157933"/>
                </a:cubicBezTo>
                <a:cubicBezTo>
                  <a:pt x="393590" y="1159755"/>
                  <a:pt x="395412" y="1159755"/>
                  <a:pt x="397234" y="1157933"/>
                </a:cubicBezTo>
                <a:cubicBezTo>
                  <a:pt x="396323" y="1157933"/>
                  <a:pt x="394501" y="1157478"/>
                  <a:pt x="393134" y="1157249"/>
                </a:cubicBezTo>
                <a:close/>
                <a:moveTo>
                  <a:pt x="1131570" y="1156111"/>
                </a:moveTo>
                <a:cubicBezTo>
                  <a:pt x="1135215" y="1156111"/>
                  <a:pt x="1133393" y="1159755"/>
                  <a:pt x="1135215" y="1161577"/>
                </a:cubicBezTo>
                <a:cubicBezTo>
                  <a:pt x="1135215" y="1161577"/>
                  <a:pt x="1133393" y="1163399"/>
                  <a:pt x="1133393" y="1163399"/>
                </a:cubicBezTo>
                <a:lnTo>
                  <a:pt x="1131570" y="1162670"/>
                </a:lnTo>
                <a:close/>
                <a:moveTo>
                  <a:pt x="1080549" y="1156111"/>
                </a:moveTo>
                <a:cubicBezTo>
                  <a:pt x="1078727" y="1157933"/>
                  <a:pt x="1078727" y="1157933"/>
                  <a:pt x="1078727" y="1159755"/>
                </a:cubicBezTo>
                <a:cubicBezTo>
                  <a:pt x="1078727" y="1161577"/>
                  <a:pt x="1082373" y="1157933"/>
                  <a:pt x="1080549" y="1156111"/>
                </a:cubicBezTo>
                <a:close/>
                <a:moveTo>
                  <a:pt x="705182" y="1156111"/>
                </a:moveTo>
                <a:cubicBezTo>
                  <a:pt x="707004" y="1157933"/>
                  <a:pt x="712470" y="1165222"/>
                  <a:pt x="716115" y="1163399"/>
                </a:cubicBezTo>
                <a:cubicBezTo>
                  <a:pt x="714293" y="1157933"/>
                  <a:pt x="708826" y="1157933"/>
                  <a:pt x="705182" y="1156111"/>
                </a:cubicBezTo>
                <a:close/>
                <a:moveTo>
                  <a:pt x="362613" y="1156111"/>
                </a:moveTo>
                <a:cubicBezTo>
                  <a:pt x="360791" y="1157933"/>
                  <a:pt x="358969" y="1156111"/>
                  <a:pt x="357146" y="1157933"/>
                </a:cubicBezTo>
                <a:cubicBezTo>
                  <a:pt x="358969" y="1159755"/>
                  <a:pt x="360791" y="1157933"/>
                  <a:pt x="364435" y="1159755"/>
                </a:cubicBezTo>
                <a:cubicBezTo>
                  <a:pt x="366257" y="1157933"/>
                  <a:pt x="362613" y="1157933"/>
                  <a:pt x="362613" y="1156111"/>
                </a:cubicBezTo>
                <a:close/>
                <a:moveTo>
                  <a:pt x="3063530" y="1154288"/>
                </a:moveTo>
                <a:cubicBezTo>
                  <a:pt x="3061708" y="1154743"/>
                  <a:pt x="3060342" y="1156110"/>
                  <a:pt x="3061253" y="1157933"/>
                </a:cubicBezTo>
                <a:cubicBezTo>
                  <a:pt x="3066719" y="1159755"/>
                  <a:pt x="3066719" y="1156111"/>
                  <a:pt x="3068541" y="1156111"/>
                </a:cubicBezTo>
                <a:cubicBezTo>
                  <a:pt x="3067630" y="1154288"/>
                  <a:pt x="3065353" y="1153833"/>
                  <a:pt x="3063530" y="1154288"/>
                </a:cubicBezTo>
                <a:close/>
                <a:moveTo>
                  <a:pt x="3030276" y="1154288"/>
                </a:moveTo>
                <a:cubicBezTo>
                  <a:pt x="3030276" y="1157933"/>
                  <a:pt x="3032098" y="1159755"/>
                  <a:pt x="3035742" y="1159755"/>
                </a:cubicBezTo>
                <a:cubicBezTo>
                  <a:pt x="3035742" y="1157933"/>
                  <a:pt x="3035742" y="1156111"/>
                  <a:pt x="3035742" y="1154288"/>
                </a:cubicBezTo>
                <a:cubicBezTo>
                  <a:pt x="3033920" y="1154288"/>
                  <a:pt x="3032098" y="1154288"/>
                  <a:pt x="3030276" y="1154288"/>
                </a:cubicBezTo>
                <a:close/>
                <a:moveTo>
                  <a:pt x="799935" y="1154288"/>
                </a:moveTo>
                <a:cubicBezTo>
                  <a:pt x="796290" y="1163399"/>
                  <a:pt x="807223" y="1159755"/>
                  <a:pt x="809046" y="1163399"/>
                </a:cubicBezTo>
                <a:cubicBezTo>
                  <a:pt x="809046" y="1157933"/>
                  <a:pt x="803579" y="1156111"/>
                  <a:pt x="799935" y="1154288"/>
                </a:cubicBezTo>
                <a:close/>
                <a:moveTo>
                  <a:pt x="1154803" y="1153984"/>
                </a:moveTo>
                <a:lnTo>
                  <a:pt x="1155259" y="1154288"/>
                </a:lnTo>
                <a:lnTo>
                  <a:pt x="1153437" y="1154895"/>
                </a:lnTo>
                <a:close/>
                <a:moveTo>
                  <a:pt x="682177" y="1153833"/>
                </a:moveTo>
                <a:cubicBezTo>
                  <a:pt x="681494" y="1153833"/>
                  <a:pt x="680582" y="1154288"/>
                  <a:pt x="679671" y="1154288"/>
                </a:cubicBezTo>
                <a:cubicBezTo>
                  <a:pt x="677849" y="1154288"/>
                  <a:pt x="681493" y="1157933"/>
                  <a:pt x="683316" y="1156111"/>
                </a:cubicBezTo>
                <a:cubicBezTo>
                  <a:pt x="683316" y="1154289"/>
                  <a:pt x="682861" y="1153833"/>
                  <a:pt x="682177" y="1153833"/>
                </a:cubicBezTo>
                <a:close/>
                <a:moveTo>
                  <a:pt x="2574732" y="1152466"/>
                </a:moveTo>
                <a:cubicBezTo>
                  <a:pt x="2574732" y="1156111"/>
                  <a:pt x="2580199" y="1154288"/>
                  <a:pt x="2578377" y="1157933"/>
                </a:cubicBezTo>
                <a:cubicBezTo>
                  <a:pt x="2582021" y="1157933"/>
                  <a:pt x="2585665" y="1157933"/>
                  <a:pt x="2589310" y="1157933"/>
                </a:cubicBezTo>
                <a:cubicBezTo>
                  <a:pt x="2587487" y="1152466"/>
                  <a:pt x="2580199" y="1154288"/>
                  <a:pt x="2574732" y="1152466"/>
                </a:cubicBezTo>
                <a:close/>
                <a:moveTo>
                  <a:pt x="2343316" y="1152466"/>
                </a:moveTo>
                <a:cubicBezTo>
                  <a:pt x="2341494" y="1148822"/>
                  <a:pt x="2334205" y="1154288"/>
                  <a:pt x="2337850" y="1157933"/>
                </a:cubicBezTo>
                <a:cubicBezTo>
                  <a:pt x="2337850" y="1156111"/>
                  <a:pt x="2343316" y="1156111"/>
                  <a:pt x="2343316" y="1152466"/>
                </a:cubicBezTo>
                <a:close/>
                <a:moveTo>
                  <a:pt x="1075083" y="1152466"/>
                </a:moveTo>
                <a:cubicBezTo>
                  <a:pt x="1073262" y="1154288"/>
                  <a:pt x="1073262" y="1156111"/>
                  <a:pt x="1075083" y="1159755"/>
                </a:cubicBezTo>
                <a:cubicBezTo>
                  <a:pt x="1076905" y="1156111"/>
                  <a:pt x="1080549" y="1154288"/>
                  <a:pt x="1075083" y="1152466"/>
                </a:cubicBezTo>
                <a:close/>
                <a:moveTo>
                  <a:pt x="1033173" y="1152466"/>
                </a:moveTo>
                <a:cubicBezTo>
                  <a:pt x="1033173" y="1156111"/>
                  <a:pt x="1036818" y="1154288"/>
                  <a:pt x="1038639" y="1156111"/>
                </a:cubicBezTo>
                <a:cubicBezTo>
                  <a:pt x="1038639" y="1154288"/>
                  <a:pt x="1036818" y="1154288"/>
                  <a:pt x="1036818" y="1152466"/>
                </a:cubicBezTo>
                <a:cubicBezTo>
                  <a:pt x="1034995" y="1154288"/>
                  <a:pt x="1034995" y="1152466"/>
                  <a:pt x="1033173" y="1152466"/>
                </a:cubicBezTo>
                <a:close/>
                <a:moveTo>
                  <a:pt x="834556" y="1152466"/>
                </a:moveTo>
                <a:cubicBezTo>
                  <a:pt x="830912" y="1156111"/>
                  <a:pt x="836378" y="1159755"/>
                  <a:pt x="840022" y="1161577"/>
                </a:cubicBezTo>
                <a:cubicBezTo>
                  <a:pt x="840022" y="1157933"/>
                  <a:pt x="834556" y="1156111"/>
                  <a:pt x="834556" y="1152466"/>
                </a:cubicBezTo>
                <a:close/>
                <a:moveTo>
                  <a:pt x="743447" y="1152466"/>
                </a:moveTo>
                <a:cubicBezTo>
                  <a:pt x="743447" y="1154288"/>
                  <a:pt x="745269" y="1159755"/>
                  <a:pt x="747092" y="1154288"/>
                </a:cubicBezTo>
                <a:cubicBezTo>
                  <a:pt x="747092" y="1152466"/>
                  <a:pt x="745269" y="1154288"/>
                  <a:pt x="743447" y="1152466"/>
                </a:cubicBezTo>
                <a:close/>
                <a:moveTo>
                  <a:pt x="430034" y="1152466"/>
                </a:moveTo>
                <a:cubicBezTo>
                  <a:pt x="430034" y="1154288"/>
                  <a:pt x="424567" y="1156111"/>
                  <a:pt x="426389" y="1161577"/>
                </a:cubicBezTo>
                <a:cubicBezTo>
                  <a:pt x="430034" y="1163399"/>
                  <a:pt x="430034" y="1157933"/>
                  <a:pt x="435500" y="1159755"/>
                </a:cubicBezTo>
                <a:cubicBezTo>
                  <a:pt x="435500" y="1157933"/>
                  <a:pt x="431856" y="1152466"/>
                  <a:pt x="430034" y="1152466"/>
                </a:cubicBezTo>
                <a:close/>
                <a:moveTo>
                  <a:pt x="408167" y="1152466"/>
                </a:moveTo>
                <a:cubicBezTo>
                  <a:pt x="408167" y="1157933"/>
                  <a:pt x="411812" y="1156111"/>
                  <a:pt x="411812" y="1154288"/>
                </a:cubicBezTo>
                <a:cubicBezTo>
                  <a:pt x="409989" y="1154288"/>
                  <a:pt x="409989" y="1152466"/>
                  <a:pt x="408167" y="1152466"/>
                </a:cubicBezTo>
                <a:close/>
                <a:moveTo>
                  <a:pt x="368079" y="1152466"/>
                </a:moveTo>
                <a:cubicBezTo>
                  <a:pt x="368079" y="1156111"/>
                  <a:pt x="366257" y="1154288"/>
                  <a:pt x="364435" y="1156111"/>
                </a:cubicBezTo>
                <a:cubicBezTo>
                  <a:pt x="368079" y="1157933"/>
                  <a:pt x="371724" y="1159755"/>
                  <a:pt x="375368" y="1156111"/>
                </a:cubicBezTo>
                <a:cubicBezTo>
                  <a:pt x="371724" y="1154288"/>
                  <a:pt x="369902" y="1154288"/>
                  <a:pt x="368079" y="1152466"/>
                </a:cubicBezTo>
                <a:close/>
                <a:moveTo>
                  <a:pt x="266038" y="1152466"/>
                </a:moveTo>
                <a:cubicBezTo>
                  <a:pt x="269682" y="1157933"/>
                  <a:pt x="275149" y="1154288"/>
                  <a:pt x="276971" y="1156111"/>
                </a:cubicBezTo>
                <a:cubicBezTo>
                  <a:pt x="273327" y="1152466"/>
                  <a:pt x="269682" y="1152466"/>
                  <a:pt x="266038" y="1152466"/>
                </a:cubicBezTo>
                <a:close/>
                <a:moveTo>
                  <a:pt x="145774" y="1152466"/>
                </a:moveTo>
                <a:cubicBezTo>
                  <a:pt x="151241" y="1161577"/>
                  <a:pt x="158529" y="1177977"/>
                  <a:pt x="174929" y="1179799"/>
                </a:cubicBezTo>
                <a:cubicBezTo>
                  <a:pt x="171285" y="1174332"/>
                  <a:pt x="162174" y="1174332"/>
                  <a:pt x="165818" y="1167044"/>
                </a:cubicBezTo>
                <a:cubicBezTo>
                  <a:pt x="158529" y="1161577"/>
                  <a:pt x="151241" y="1156111"/>
                  <a:pt x="145774" y="1152466"/>
                </a:cubicBezTo>
                <a:close/>
                <a:moveTo>
                  <a:pt x="3161472" y="1150644"/>
                </a:moveTo>
                <a:cubicBezTo>
                  <a:pt x="3159650" y="1157933"/>
                  <a:pt x="3159650" y="1167044"/>
                  <a:pt x="3157828" y="1176155"/>
                </a:cubicBezTo>
                <a:cubicBezTo>
                  <a:pt x="3163294" y="1176155"/>
                  <a:pt x="3166939" y="1176155"/>
                  <a:pt x="3168761" y="1174332"/>
                </a:cubicBezTo>
                <a:cubicBezTo>
                  <a:pt x="3172405" y="1174332"/>
                  <a:pt x="3168761" y="1179799"/>
                  <a:pt x="3174227" y="1177977"/>
                </a:cubicBezTo>
                <a:cubicBezTo>
                  <a:pt x="3172405" y="1181621"/>
                  <a:pt x="3172405" y="1179799"/>
                  <a:pt x="3168761" y="1181621"/>
                </a:cubicBezTo>
                <a:cubicBezTo>
                  <a:pt x="3168761" y="1179799"/>
                  <a:pt x="3168761" y="1177977"/>
                  <a:pt x="3168761" y="1176155"/>
                </a:cubicBezTo>
                <a:cubicBezTo>
                  <a:pt x="3165116" y="1177977"/>
                  <a:pt x="3166939" y="1179799"/>
                  <a:pt x="3161472" y="1177977"/>
                </a:cubicBezTo>
                <a:cubicBezTo>
                  <a:pt x="3159650" y="1181621"/>
                  <a:pt x="3166939" y="1179799"/>
                  <a:pt x="3168761" y="1181621"/>
                </a:cubicBezTo>
                <a:cubicBezTo>
                  <a:pt x="3172405" y="1183443"/>
                  <a:pt x="3174227" y="1185266"/>
                  <a:pt x="3177872" y="1185266"/>
                </a:cubicBezTo>
                <a:cubicBezTo>
                  <a:pt x="3179694" y="1179799"/>
                  <a:pt x="3181516" y="1176155"/>
                  <a:pt x="3186982" y="1179799"/>
                </a:cubicBezTo>
                <a:cubicBezTo>
                  <a:pt x="3185160" y="1167044"/>
                  <a:pt x="3174227" y="1156111"/>
                  <a:pt x="3161472" y="1150644"/>
                </a:cubicBezTo>
                <a:close/>
                <a:moveTo>
                  <a:pt x="2441713" y="1150644"/>
                </a:moveTo>
                <a:cubicBezTo>
                  <a:pt x="2441713" y="1150644"/>
                  <a:pt x="2441713" y="1152466"/>
                  <a:pt x="2441713" y="1152466"/>
                </a:cubicBezTo>
                <a:lnTo>
                  <a:pt x="2441258" y="1152010"/>
                </a:lnTo>
                <a:close/>
                <a:moveTo>
                  <a:pt x="2199364" y="1150644"/>
                </a:moveTo>
                <a:cubicBezTo>
                  <a:pt x="2199364" y="1154288"/>
                  <a:pt x="2197542" y="1157933"/>
                  <a:pt x="2195720" y="1161577"/>
                </a:cubicBezTo>
                <a:cubicBezTo>
                  <a:pt x="2197542" y="1161577"/>
                  <a:pt x="2197542" y="1163399"/>
                  <a:pt x="2199364" y="1163399"/>
                </a:cubicBezTo>
                <a:cubicBezTo>
                  <a:pt x="2203009" y="1159755"/>
                  <a:pt x="2203009" y="1154288"/>
                  <a:pt x="2199364" y="1150644"/>
                </a:cubicBezTo>
                <a:close/>
                <a:moveTo>
                  <a:pt x="2095500" y="1150644"/>
                </a:moveTo>
                <a:cubicBezTo>
                  <a:pt x="2093679" y="1157933"/>
                  <a:pt x="2091856" y="1161577"/>
                  <a:pt x="2091856" y="1163399"/>
                </a:cubicBezTo>
                <a:cubicBezTo>
                  <a:pt x="2090034" y="1163399"/>
                  <a:pt x="2088212" y="1167044"/>
                  <a:pt x="2084568" y="1168866"/>
                </a:cubicBezTo>
                <a:cubicBezTo>
                  <a:pt x="2086390" y="1168866"/>
                  <a:pt x="2088212" y="1170688"/>
                  <a:pt x="2090034" y="1174332"/>
                </a:cubicBezTo>
                <a:lnTo>
                  <a:pt x="2089118" y="1177997"/>
                </a:lnTo>
                <a:lnTo>
                  <a:pt x="2079784" y="1178205"/>
                </a:lnTo>
                <a:cubicBezTo>
                  <a:pt x="2076368" y="1179344"/>
                  <a:pt x="2073634" y="1181621"/>
                  <a:pt x="2073634" y="1185266"/>
                </a:cubicBezTo>
                <a:cubicBezTo>
                  <a:pt x="2082745" y="1185266"/>
                  <a:pt x="2090034" y="1188910"/>
                  <a:pt x="2097323" y="1183443"/>
                </a:cubicBezTo>
                <a:cubicBezTo>
                  <a:pt x="2097323" y="1181621"/>
                  <a:pt x="2097323" y="1181621"/>
                  <a:pt x="2095500" y="1179799"/>
                </a:cubicBezTo>
                <a:cubicBezTo>
                  <a:pt x="2100967" y="1179799"/>
                  <a:pt x="2095500" y="1187088"/>
                  <a:pt x="2099145" y="1187088"/>
                </a:cubicBezTo>
                <a:cubicBezTo>
                  <a:pt x="2100967" y="1187088"/>
                  <a:pt x="2102790" y="1187088"/>
                  <a:pt x="2102790" y="1185266"/>
                </a:cubicBezTo>
                <a:cubicBezTo>
                  <a:pt x="2095500" y="1176155"/>
                  <a:pt x="2108256" y="1172510"/>
                  <a:pt x="2104611" y="1165222"/>
                </a:cubicBezTo>
                <a:cubicBezTo>
                  <a:pt x="2104611" y="1167044"/>
                  <a:pt x="2104611" y="1168866"/>
                  <a:pt x="2102790" y="1170688"/>
                </a:cubicBezTo>
                <a:cubicBezTo>
                  <a:pt x="2100967" y="1168866"/>
                  <a:pt x="2100967" y="1167044"/>
                  <a:pt x="2102790" y="1165222"/>
                </a:cubicBezTo>
                <a:cubicBezTo>
                  <a:pt x="2100967" y="1165222"/>
                  <a:pt x="2099145" y="1165222"/>
                  <a:pt x="2099145" y="1165222"/>
                </a:cubicBezTo>
                <a:cubicBezTo>
                  <a:pt x="2097323" y="1159755"/>
                  <a:pt x="2102790" y="1157933"/>
                  <a:pt x="2106433" y="1156111"/>
                </a:cubicBezTo>
                <a:close/>
                <a:moveTo>
                  <a:pt x="1049573" y="1150644"/>
                </a:moveTo>
                <a:cubicBezTo>
                  <a:pt x="1047750" y="1152466"/>
                  <a:pt x="1051395" y="1157933"/>
                  <a:pt x="1053217" y="1154288"/>
                </a:cubicBezTo>
                <a:cubicBezTo>
                  <a:pt x="1053217" y="1152466"/>
                  <a:pt x="1051395" y="1152466"/>
                  <a:pt x="1049573" y="1150644"/>
                </a:cubicBezTo>
                <a:close/>
                <a:moveTo>
                  <a:pt x="1031351" y="1150644"/>
                </a:moveTo>
                <a:cubicBezTo>
                  <a:pt x="1027707" y="1152466"/>
                  <a:pt x="1027707" y="1152466"/>
                  <a:pt x="1025884" y="1154288"/>
                </a:cubicBezTo>
                <a:cubicBezTo>
                  <a:pt x="1025884" y="1156111"/>
                  <a:pt x="1027707" y="1154288"/>
                  <a:pt x="1027707" y="1156111"/>
                </a:cubicBezTo>
                <a:cubicBezTo>
                  <a:pt x="1031351" y="1154288"/>
                  <a:pt x="1031351" y="1150644"/>
                  <a:pt x="1031351" y="1150644"/>
                </a:cubicBezTo>
                <a:close/>
                <a:moveTo>
                  <a:pt x="916555" y="1150644"/>
                </a:moveTo>
                <a:cubicBezTo>
                  <a:pt x="912909" y="1153377"/>
                  <a:pt x="911087" y="1156566"/>
                  <a:pt x="911087" y="1159755"/>
                </a:cubicBezTo>
                <a:lnTo>
                  <a:pt x="916555" y="1168866"/>
                </a:lnTo>
                <a:cubicBezTo>
                  <a:pt x="914732" y="1167044"/>
                  <a:pt x="914732" y="1167044"/>
                  <a:pt x="912909" y="1167044"/>
                </a:cubicBezTo>
                <a:cubicBezTo>
                  <a:pt x="909265" y="1168866"/>
                  <a:pt x="912909" y="1172510"/>
                  <a:pt x="912909" y="1174332"/>
                </a:cubicBezTo>
                <a:cubicBezTo>
                  <a:pt x="914732" y="1174332"/>
                  <a:pt x="916555" y="1174332"/>
                  <a:pt x="918376" y="1170688"/>
                </a:cubicBezTo>
                <a:lnTo>
                  <a:pt x="916555" y="1168866"/>
                </a:lnTo>
                <a:lnTo>
                  <a:pt x="917465" y="1160438"/>
                </a:lnTo>
                <a:cubicBezTo>
                  <a:pt x="918831" y="1157477"/>
                  <a:pt x="920198" y="1154288"/>
                  <a:pt x="918376" y="1150644"/>
                </a:cubicBezTo>
                <a:cubicBezTo>
                  <a:pt x="916555" y="1154288"/>
                  <a:pt x="916555" y="1150644"/>
                  <a:pt x="916555" y="1150644"/>
                </a:cubicBezTo>
                <a:close/>
                <a:moveTo>
                  <a:pt x="850956" y="1150644"/>
                </a:moveTo>
                <a:cubicBezTo>
                  <a:pt x="849133" y="1152466"/>
                  <a:pt x="852778" y="1154288"/>
                  <a:pt x="850956" y="1156111"/>
                </a:cubicBezTo>
                <a:cubicBezTo>
                  <a:pt x="852778" y="1156111"/>
                  <a:pt x="852778" y="1150644"/>
                  <a:pt x="850956" y="1150644"/>
                </a:cubicBezTo>
                <a:close/>
                <a:moveTo>
                  <a:pt x="827267" y="1150644"/>
                </a:moveTo>
                <a:cubicBezTo>
                  <a:pt x="821801" y="1154288"/>
                  <a:pt x="821801" y="1159755"/>
                  <a:pt x="827267" y="1163399"/>
                </a:cubicBezTo>
                <a:cubicBezTo>
                  <a:pt x="819979" y="1165222"/>
                  <a:pt x="830912" y="1168866"/>
                  <a:pt x="829089" y="1172510"/>
                </a:cubicBezTo>
                <a:cubicBezTo>
                  <a:pt x="832734" y="1168866"/>
                  <a:pt x="830912" y="1165222"/>
                  <a:pt x="827267" y="1163399"/>
                </a:cubicBezTo>
                <a:cubicBezTo>
                  <a:pt x="830912" y="1165222"/>
                  <a:pt x="829089" y="1159755"/>
                  <a:pt x="829089" y="1159755"/>
                </a:cubicBezTo>
                <a:lnTo>
                  <a:pt x="828529" y="1159615"/>
                </a:lnTo>
                <a:lnTo>
                  <a:pt x="830912" y="1152466"/>
                </a:lnTo>
                <a:cubicBezTo>
                  <a:pt x="829089" y="1150644"/>
                  <a:pt x="829089" y="1150644"/>
                  <a:pt x="827267" y="1150644"/>
                </a:cubicBezTo>
                <a:close/>
                <a:moveTo>
                  <a:pt x="612251" y="1150644"/>
                </a:moveTo>
                <a:cubicBezTo>
                  <a:pt x="608606" y="1152466"/>
                  <a:pt x="610429" y="1157933"/>
                  <a:pt x="614074" y="1156111"/>
                </a:cubicBezTo>
                <a:cubicBezTo>
                  <a:pt x="615895" y="1154288"/>
                  <a:pt x="614074" y="1152466"/>
                  <a:pt x="612251" y="1150644"/>
                </a:cubicBezTo>
                <a:close/>
                <a:moveTo>
                  <a:pt x="610429" y="1150644"/>
                </a:moveTo>
                <a:cubicBezTo>
                  <a:pt x="606784" y="1150644"/>
                  <a:pt x="606784" y="1154288"/>
                  <a:pt x="604963" y="1156111"/>
                </a:cubicBezTo>
                <a:cubicBezTo>
                  <a:pt x="608606" y="1159755"/>
                  <a:pt x="608606" y="1152466"/>
                  <a:pt x="610429" y="1150644"/>
                </a:cubicBezTo>
                <a:close/>
                <a:moveTo>
                  <a:pt x="231416" y="1150644"/>
                </a:moveTo>
                <a:cubicBezTo>
                  <a:pt x="233239" y="1154288"/>
                  <a:pt x="242349" y="1159755"/>
                  <a:pt x="244172" y="1156111"/>
                </a:cubicBezTo>
                <a:cubicBezTo>
                  <a:pt x="238705" y="1152466"/>
                  <a:pt x="236883" y="1154288"/>
                  <a:pt x="231416" y="1150644"/>
                </a:cubicBezTo>
                <a:close/>
                <a:moveTo>
                  <a:pt x="859659" y="1149665"/>
                </a:moveTo>
                <a:lnTo>
                  <a:pt x="859620" y="1150273"/>
                </a:lnTo>
                <a:lnTo>
                  <a:pt x="859610" y="1149961"/>
                </a:lnTo>
                <a:close/>
                <a:moveTo>
                  <a:pt x="3021848" y="1149505"/>
                </a:moveTo>
                <a:cubicBezTo>
                  <a:pt x="3020710" y="1150644"/>
                  <a:pt x="3019343" y="1152466"/>
                  <a:pt x="3017521" y="1152466"/>
                </a:cubicBezTo>
                <a:cubicBezTo>
                  <a:pt x="3019343" y="1157933"/>
                  <a:pt x="3021165" y="1159755"/>
                  <a:pt x="3024809" y="1159755"/>
                </a:cubicBezTo>
                <a:cubicBezTo>
                  <a:pt x="3024809" y="1156111"/>
                  <a:pt x="3022987" y="1156111"/>
                  <a:pt x="3022987" y="1150644"/>
                </a:cubicBezTo>
                <a:cubicBezTo>
                  <a:pt x="3022987" y="1150644"/>
                  <a:pt x="3024809" y="1150644"/>
                  <a:pt x="3024809" y="1150644"/>
                </a:cubicBezTo>
                <a:cubicBezTo>
                  <a:pt x="3023898" y="1147911"/>
                  <a:pt x="3022987" y="1148366"/>
                  <a:pt x="3021848" y="1149505"/>
                </a:cubicBezTo>
                <a:close/>
                <a:moveTo>
                  <a:pt x="223900" y="1149049"/>
                </a:moveTo>
                <a:cubicBezTo>
                  <a:pt x="222761" y="1149733"/>
                  <a:pt x="222306" y="1151555"/>
                  <a:pt x="222306" y="1152466"/>
                </a:cubicBezTo>
                <a:cubicBezTo>
                  <a:pt x="222306" y="1152466"/>
                  <a:pt x="222306" y="1152466"/>
                  <a:pt x="224128" y="1154288"/>
                </a:cubicBezTo>
                <a:cubicBezTo>
                  <a:pt x="225950" y="1152466"/>
                  <a:pt x="225950" y="1152466"/>
                  <a:pt x="229594" y="1152466"/>
                </a:cubicBezTo>
                <a:cubicBezTo>
                  <a:pt x="226862" y="1148822"/>
                  <a:pt x="225039" y="1148366"/>
                  <a:pt x="223900" y="1149049"/>
                </a:cubicBezTo>
                <a:close/>
                <a:moveTo>
                  <a:pt x="3114096" y="1148822"/>
                </a:moveTo>
                <a:cubicBezTo>
                  <a:pt x="3108629" y="1157933"/>
                  <a:pt x="3103163" y="1161577"/>
                  <a:pt x="3106807" y="1172510"/>
                </a:cubicBezTo>
                <a:cubicBezTo>
                  <a:pt x="3110451" y="1167044"/>
                  <a:pt x="3119562" y="1157933"/>
                  <a:pt x="3117740" y="1148822"/>
                </a:cubicBezTo>
                <a:cubicBezTo>
                  <a:pt x="3115918" y="1148822"/>
                  <a:pt x="3115918" y="1148822"/>
                  <a:pt x="3114096" y="1148822"/>
                </a:cubicBezTo>
                <a:close/>
                <a:moveTo>
                  <a:pt x="2233986" y="1148822"/>
                </a:moveTo>
                <a:cubicBezTo>
                  <a:pt x="2235808" y="1152466"/>
                  <a:pt x="2228519" y="1154288"/>
                  <a:pt x="2230341" y="1156111"/>
                </a:cubicBezTo>
                <a:cubicBezTo>
                  <a:pt x="2235808" y="1152466"/>
                  <a:pt x="2233986" y="1152466"/>
                  <a:pt x="2239452" y="1156111"/>
                </a:cubicBezTo>
                <a:cubicBezTo>
                  <a:pt x="2239452" y="1152466"/>
                  <a:pt x="2239452" y="1150644"/>
                  <a:pt x="2237630" y="1148822"/>
                </a:cubicBezTo>
                <a:close/>
                <a:moveTo>
                  <a:pt x="2044479" y="1148822"/>
                </a:moveTo>
                <a:lnTo>
                  <a:pt x="2035369" y="1154288"/>
                </a:lnTo>
                <a:cubicBezTo>
                  <a:pt x="2037191" y="1156111"/>
                  <a:pt x="2039013" y="1157933"/>
                  <a:pt x="2042657" y="1154288"/>
                </a:cubicBezTo>
                <a:cubicBezTo>
                  <a:pt x="2044479" y="1156111"/>
                  <a:pt x="2046302" y="1156111"/>
                  <a:pt x="2046302" y="1157933"/>
                </a:cubicBezTo>
                <a:cubicBezTo>
                  <a:pt x="2046302" y="1163399"/>
                  <a:pt x="2035369" y="1165222"/>
                  <a:pt x="2040835" y="1170688"/>
                </a:cubicBezTo>
                <a:cubicBezTo>
                  <a:pt x="2042657" y="1170688"/>
                  <a:pt x="2042657" y="1170688"/>
                  <a:pt x="2044479" y="1170688"/>
                </a:cubicBezTo>
                <a:cubicBezTo>
                  <a:pt x="2046302" y="1170688"/>
                  <a:pt x="2042657" y="1167044"/>
                  <a:pt x="2048124" y="1165222"/>
                </a:cubicBezTo>
                <a:cubicBezTo>
                  <a:pt x="2051768" y="1163399"/>
                  <a:pt x="2057235" y="1165222"/>
                  <a:pt x="2059057" y="1168866"/>
                </a:cubicBezTo>
                <a:cubicBezTo>
                  <a:pt x="2059057" y="1167044"/>
                  <a:pt x="2059057" y="1167044"/>
                  <a:pt x="2059057" y="1165222"/>
                </a:cubicBezTo>
                <a:lnTo>
                  <a:pt x="2053590" y="1163399"/>
                </a:lnTo>
                <a:close/>
                <a:moveTo>
                  <a:pt x="1158903" y="1148822"/>
                </a:moveTo>
                <a:cubicBezTo>
                  <a:pt x="1160725" y="1150644"/>
                  <a:pt x="1160725" y="1152466"/>
                  <a:pt x="1158903" y="1154288"/>
                </a:cubicBezTo>
                <a:cubicBezTo>
                  <a:pt x="1158903" y="1154288"/>
                  <a:pt x="1157081" y="1152466"/>
                  <a:pt x="1157081" y="1152466"/>
                </a:cubicBezTo>
                <a:cubicBezTo>
                  <a:pt x="1158903" y="1152466"/>
                  <a:pt x="1157081" y="1150644"/>
                  <a:pt x="1158903" y="1148822"/>
                </a:cubicBezTo>
                <a:close/>
                <a:moveTo>
                  <a:pt x="809046" y="1148822"/>
                </a:moveTo>
                <a:cubicBezTo>
                  <a:pt x="810868" y="1154288"/>
                  <a:pt x="812690" y="1154288"/>
                  <a:pt x="812690" y="1159755"/>
                </a:cubicBezTo>
                <a:cubicBezTo>
                  <a:pt x="816334" y="1159755"/>
                  <a:pt x="812690" y="1156111"/>
                  <a:pt x="816334" y="1156111"/>
                </a:cubicBezTo>
                <a:cubicBezTo>
                  <a:pt x="814512" y="1152466"/>
                  <a:pt x="810868" y="1148822"/>
                  <a:pt x="809046" y="1148822"/>
                </a:cubicBezTo>
                <a:close/>
                <a:moveTo>
                  <a:pt x="470121" y="1148822"/>
                </a:moveTo>
                <a:cubicBezTo>
                  <a:pt x="470121" y="1150644"/>
                  <a:pt x="473766" y="1150644"/>
                  <a:pt x="475589" y="1154288"/>
                </a:cubicBezTo>
                <a:cubicBezTo>
                  <a:pt x="475589" y="1152466"/>
                  <a:pt x="475589" y="1152466"/>
                  <a:pt x="475589" y="1150644"/>
                </a:cubicBezTo>
                <a:cubicBezTo>
                  <a:pt x="473766" y="1148822"/>
                  <a:pt x="471943" y="1150644"/>
                  <a:pt x="470121" y="1148822"/>
                </a:cubicBezTo>
                <a:close/>
                <a:moveTo>
                  <a:pt x="459188" y="1148822"/>
                </a:moveTo>
                <a:cubicBezTo>
                  <a:pt x="461010" y="1150644"/>
                  <a:pt x="457367" y="1150644"/>
                  <a:pt x="455544" y="1150644"/>
                </a:cubicBezTo>
                <a:cubicBezTo>
                  <a:pt x="459188" y="1152466"/>
                  <a:pt x="464655" y="1156111"/>
                  <a:pt x="466478" y="1152466"/>
                </a:cubicBezTo>
                <a:cubicBezTo>
                  <a:pt x="464655" y="1152466"/>
                  <a:pt x="461010" y="1150644"/>
                  <a:pt x="459188" y="1148822"/>
                </a:cubicBezTo>
                <a:close/>
                <a:moveTo>
                  <a:pt x="202262" y="1148822"/>
                </a:moveTo>
                <a:cubicBezTo>
                  <a:pt x="213195" y="1157933"/>
                  <a:pt x="225950" y="1156111"/>
                  <a:pt x="236883" y="1163399"/>
                </a:cubicBezTo>
                <a:cubicBezTo>
                  <a:pt x="238705" y="1163399"/>
                  <a:pt x="233239" y="1157933"/>
                  <a:pt x="236883" y="1159755"/>
                </a:cubicBezTo>
                <a:cubicBezTo>
                  <a:pt x="229594" y="1154288"/>
                  <a:pt x="220483" y="1156111"/>
                  <a:pt x="215017" y="1148822"/>
                </a:cubicBezTo>
                <a:close/>
                <a:moveTo>
                  <a:pt x="193151" y="1148822"/>
                </a:moveTo>
                <a:cubicBezTo>
                  <a:pt x="194062" y="1152466"/>
                  <a:pt x="198162" y="1157022"/>
                  <a:pt x="202717" y="1160894"/>
                </a:cubicBezTo>
                <a:lnTo>
                  <a:pt x="213088" y="1167616"/>
                </a:lnTo>
                <a:lnTo>
                  <a:pt x="211372" y="1167044"/>
                </a:lnTo>
                <a:cubicBezTo>
                  <a:pt x="220483" y="1176155"/>
                  <a:pt x="229594" y="1185266"/>
                  <a:pt x="238705" y="1192554"/>
                </a:cubicBezTo>
                <a:cubicBezTo>
                  <a:pt x="240527" y="1190732"/>
                  <a:pt x="240527" y="1187088"/>
                  <a:pt x="236883" y="1183443"/>
                </a:cubicBezTo>
                <a:cubicBezTo>
                  <a:pt x="238705" y="1185266"/>
                  <a:pt x="242349" y="1188910"/>
                  <a:pt x="244172" y="1187088"/>
                </a:cubicBezTo>
                <a:cubicBezTo>
                  <a:pt x="242349" y="1182532"/>
                  <a:pt x="237339" y="1181166"/>
                  <a:pt x="232555" y="1179571"/>
                </a:cubicBezTo>
                <a:lnTo>
                  <a:pt x="224957" y="1172986"/>
                </a:lnTo>
                <a:lnTo>
                  <a:pt x="238022" y="1180482"/>
                </a:lnTo>
                <a:cubicBezTo>
                  <a:pt x="243260" y="1182532"/>
                  <a:pt x="248727" y="1184354"/>
                  <a:pt x="253282" y="1187088"/>
                </a:cubicBezTo>
                <a:cubicBezTo>
                  <a:pt x="251460" y="1185266"/>
                  <a:pt x="244172" y="1181621"/>
                  <a:pt x="244172" y="1177977"/>
                </a:cubicBezTo>
                <a:cubicBezTo>
                  <a:pt x="245994" y="1177977"/>
                  <a:pt x="249638" y="1177977"/>
                  <a:pt x="253282" y="1177977"/>
                </a:cubicBezTo>
                <a:cubicBezTo>
                  <a:pt x="247815" y="1173421"/>
                  <a:pt x="242349" y="1171599"/>
                  <a:pt x="237339" y="1171144"/>
                </a:cubicBezTo>
                <a:lnTo>
                  <a:pt x="224378" y="1172484"/>
                </a:lnTo>
                <a:lnTo>
                  <a:pt x="222306" y="1170688"/>
                </a:lnTo>
                <a:lnTo>
                  <a:pt x="213802" y="1167854"/>
                </a:lnTo>
                <a:lnTo>
                  <a:pt x="204084" y="1159755"/>
                </a:lnTo>
                <a:cubicBezTo>
                  <a:pt x="215017" y="1165222"/>
                  <a:pt x="225950" y="1172510"/>
                  <a:pt x="235061" y="1170688"/>
                </a:cubicBezTo>
                <a:cubicBezTo>
                  <a:pt x="235061" y="1167044"/>
                  <a:pt x="227772" y="1168866"/>
                  <a:pt x="227772" y="1165222"/>
                </a:cubicBezTo>
                <a:cubicBezTo>
                  <a:pt x="216839" y="1163399"/>
                  <a:pt x="205906" y="1154288"/>
                  <a:pt x="193151" y="1148822"/>
                </a:cubicBezTo>
                <a:close/>
                <a:moveTo>
                  <a:pt x="2955351" y="1148585"/>
                </a:moveTo>
                <a:lnTo>
                  <a:pt x="2955795" y="1149733"/>
                </a:lnTo>
                <a:lnTo>
                  <a:pt x="2952322" y="1155844"/>
                </a:lnTo>
                <a:lnTo>
                  <a:pt x="2951922" y="1156111"/>
                </a:lnTo>
                <a:cubicBezTo>
                  <a:pt x="2952833" y="1154288"/>
                  <a:pt x="2952833" y="1152011"/>
                  <a:pt x="2953289" y="1150188"/>
                </a:cubicBezTo>
                <a:close/>
                <a:moveTo>
                  <a:pt x="867355" y="1147037"/>
                </a:moveTo>
                <a:cubicBezTo>
                  <a:pt x="871000" y="1148860"/>
                  <a:pt x="872822" y="1154327"/>
                  <a:pt x="874644" y="1156149"/>
                </a:cubicBezTo>
                <a:cubicBezTo>
                  <a:pt x="874644" y="1156149"/>
                  <a:pt x="872822" y="1157971"/>
                  <a:pt x="872822" y="1157971"/>
                </a:cubicBezTo>
                <a:cubicBezTo>
                  <a:pt x="872822" y="1156149"/>
                  <a:pt x="871000" y="1156149"/>
                  <a:pt x="869177" y="1154327"/>
                </a:cubicBezTo>
                <a:cubicBezTo>
                  <a:pt x="869177" y="1154327"/>
                  <a:pt x="865533" y="1156149"/>
                  <a:pt x="865533" y="1159793"/>
                </a:cubicBezTo>
                <a:cubicBezTo>
                  <a:pt x="863711" y="1154327"/>
                  <a:pt x="865533" y="1150683"/>
                  <a:pt x="867355" y="1147037"/>
                </a:cubicBezTo>
                <a:close/>
                <a:moveTo>
                  <a:pt x="2643975" y="1147000"/>
                </a:moveTo>
                <a:cubicBezTo>
                  <a:pt x="2633042" y="1141533"/>
                  <a:pt x="2620287" y="1150644"/>
                  <a:pt x="2633042" y="1156111"/>
                </a:cubicBezTo>
                <a:cubicBezTo>
                  <a:pt x="2638508" y="1156111"/>
                  <a:pt x="2638508" y="1152466"/>
                  <a:pt x="2645797" y="1154288"/>
                </a:cubicBezTo>
                <a:cubicBezTo>
                  <a:pt x="2643975" y="1152466"/>
                  <a:pt x="2643975" y="1150644"/>
                  <a:pt x="2643975" y="1147000"/>
                </a:cubicBezTo>
                <a:close/>
                <a:moveTo>
                  <a:pt x="2330561" y="1147000"/>
                </a:moveTo>
                <a:cubicBezTo>
                  <a:pt x="2323272" y="1147000"/>
                  <a:pt x="2323272" y="1150644"/>
                  <a:pt x="2323272" y="1156111"/>
                </a:cubicBezTo>
                <a:cubicBezTo>
                  <a:pt x="2326916" y="1156111"/>
                  <a:pt x="2328739" y="1154288"/>
                  <a:pt x="2332383" y="1154288"/>
                </a:cubicBezTo>
                <a:cubicBezTo>
                  <a:pt x="2332383" y="1150644"/>
                  <a:pt x="2328739" y="1150644"/>
                  <a:pt x="2330561" y="1147000"/>
                </a:cubicBezTo>
                <a:close/>
                <a:moveTo>
                  <a:pt x="2223053" y="1147000"/>
                </a:moveTo>
                <a:cubicBezTo>
                  <a:pt x="2213942" y="1148822"/>
                  <a:pt x="2212120" y="1156111"/>
                  <a:pt x="2204831" y="1159755"/>
                </a:cubicBezTo>
                <a:cubicBezTo>
                  <a:pt x="2210297" y="1163399"/>
                  <a:pt x="2213942" y="1154288"/>
                  <a:pt x="2221230" y="1156111"/>
                </a:cubicBezTo>
                <a:cubicBezTo>
                  <a:pt x="2221230" y="1152466"/>
                  <a:pt x="2223053" y="1150644"/>
                  <a:pt x="2223053" y="1147000"/>
                </a:cubicBezTo>
                <a:close/>
                <a:moveTo>
                  <a:pt x="1005840" y="1147000"/>
                </a:moveTo>
                <a:cubicBezTo>
                  <a:pt x="1004018" y="1148822"/>
                  <a:pt x="1004018" y="1152466"/>
                  <a:pt x="1004018" y="1154288"/>
                </a:cubicBezTo>
                <a:cubicBezTo>
                  <a:pt x="1007663" y="1157933"/>
                  <a:pt x="1013129" y="1154288"/>
                  <a:pt x="1016774" y="1154288"/>
                </a:cubicBezTo>
                <a:cubicBezTo>
                  <a:pt x="1013129" y="1152466"/>
                  <a:pt x="1009485" y="1152466"/>
                  <a:pt x="1005840" y="1147000"/>
                </a:cubicBezTo>
                <a:close/>
                <a:moveTo>
                  <a:pt x="707004" y="1147000"/>
                </a:moveTo>
                <a:cubicBezTo>
                  <a:pt x="705182" y="1147000"/>
                  <a:pt x="703359" y="1148822"/>
                  <a:pt x="701537" y="1148822"/>
                </a:cubicBezTo>
                <a:cubicBezTo>
                  <a:pt x="703359" y="1152466"/>
                  <a:pt x="708826" y="1154288"/>
                  <a:pt x="712470" y="1154288"/>
                </a:cubicBezTo>
                <a:cubicBezTo>
                  <a:pt x="710648" y="1152466"/>
                  <a:pt x="708826" y="1148822"/>
                  <a:pt x="707004" y="1147000"/>
                </a:cubicBezTo>
                <a:close/>
                <a:moveTo>
                  <a:pt x="491987" y="1147000"/>
                </a:moveTo>
                <a:cubicBezTo>
                  <a:pt x="486521" y="1156111"/>
                  <a:pt x="486521" y="1156111"/>
                  <a:pt x="497454" y="1150644"/>
                </a:cubicBezTo>
                <a:cubicBezTo>
                  <a:pt x="493809" y="1148822"/>
                  <a:pt x="491987" y="1150644"/>
                  <a:pt x="491987" y="1147000"/>
                </a:cubicBezTo>
                <a:close/>
                <a:moveTo>
                  <a:pt x="368079" y="1147000"/>
                </a:moveTo>
                <a:cubicBezTo>
                  <a:pt x="368079" y="1148822"/>
                  <a:pt x="371724" y="1150644"/>
                  <a:pt x="371724" y="1148822"/>
                </a:cubicBezTo>
                <a:cubicBezTo>
                  <a:pt x="369902" y="1145178"/>
                  <a:pt x="369902" y="1148822"/>
                  <a:pt x="368079" y="1147000"/>
                </a:cubicBezTo>
                <a:close/>
                <a:moveTo>
                  <a:pt x="349858" y="1147000"/>
                </a:moveTo>
                <a:cubicBezTo>
                  <a:pt x="355324" y="1150644"/>
                  <a:pt x="360791" y="1156111"/>
                  <a:pt x="364435" y="1152466"/>
                </a:cubicBezTo>
                <a:cubicBezTo>
                  <a:pt x="364435" y="1150644"/>
                  <a:pt x="358969" y="1154288"/>
                  <a:pt x="357146" y="1148822"/>
                </a:cubicBezTo>
                <a:cubicBezTo>
                  <a:pt x="355324" y="1147000"/>
                  <a:pt x="351680" y="1145178"/>
                  <a:pt x="349858" y="1147000"/>
                </a:cubicBezTo>
                <a:close/>
                <a:moveTo>
                  <a:pt x="297015" y="1147000"/>
                </a:moveTo>
                <a:cubicBezTo>
                  <a:pt x="295193" y="1147000"/>
                  <a:pt x="300660" y="1150644"/>
                  <a:pt x="300660" y="1150644"/>
                </a:cubicBezTo>
                <a:cubicBezTo>
                  <a:pt x="298837" y="1147000"/>
                  <a:pt x="298837" y="1148822"/>
                  <a:pt x="297015" y="1147000"/>
                </a:cubicBezTo>
                <a:close/>
                <a:moveTo>
                  <a:pt x="601317" y="1146544"/>
                </a:moveTo>
                <a:cubicBezTo>
                  <a:pt x="599495" y="1147000"/>
                  <a:pt x="598584" y="1148822"/>
                  <a:pt x="601318" y="1152466"/>
                </a:cubicBezTo>
                <a:cubicBezTo>
                  <a:pt x="603140" y="1152466"/>
                  <a:pt x="604963" y="1150644"/>
                  <a:pt x="606784" y="1148822"/>
                </a:cubicBezTo>
                <a:cubicBezTo>
                  <a:pt x="605873" y="1147000"/>
                  <a:pt x="603140" y="1146089"/>
                  <a:pt x="601317" y="1146544"/>
                </a:cubicBezTo>
                <a:close/>
                <a:moveTo>
                  <a:pt x="3356445" y="1145178"/>
                </a:moveTo>
                <a:lnTo>
                  <a:pt x="3360374" y="1147692"/>
                </a:lnTo>
                <a:lnTo>
                  <a:pt x="3358495" y="1148366"/>
                </a:lnTo>
                <a:lnTo>
                  <a:pt x="3356142" y="1148509"/>
                </a:lnTo>
                <a:close/>
                <a:moveTo>
                  <a:pt x="3106807" y="1145178"/>
                </a:moveTo>
                <a:cubicBezTo>
                  <a:pt x="3103163" y="1145178"/>
                  <a:pt x="3101340" y="1147000"/>
                  <a:pt x="3099518" y="1148822"/>
                </a:cubicBezTo>
                <a:cubicBezTo>
                  <a:pt x="3099518" y="1154288"/>
                  <a:pt x="3097696" y="1157933"/>
                  <a:pt x="3101340" y="1159755"/>
                </a:cubicBezTo>
                <a:cubicBezTo>
                  <a:pt x="3099518" y="1159755"/>
                  <a:pt x="3095874" y="1159755"/>
                  <a:pt x="3095874" y="1159755"/>
                </a:cubicBezTo>
                <a:cubicBezTo>
                  <a:pt x="3095874" y="1156111"/>
                  <a:pt x="3097696" y="1156111"/>
                  <a:pt x="3097696" y="1150644"/>
                </a:cubicBezTo>
                <a:cubicBezTo>
                  <a:pt x="3094052" y="1148822"/>
                  <a:pt x="3086763" y="1150644"/>
                  <a:pt x="3081297" y="1152466"/>
                </a:cubicBezTo>
                <a:cubicBezTo>
                  <a:pt x="3086763" y="1159755"/>
                  <a:pt x="3092230" y="1168866"/>
                  <a:pt x="3104985" y="1170688"/>
                </a:cubicBezTo>
                <a:cubicBezTo>
                  <a:pt x="3104985" y="1165222"/>
                  <a:pt x="3103163" y="1163399"/>
                  <a:pt x="3101340" y="1159755"/>
                </a:cubicBezTo>
                <a:cubicBezTo>
                  <a:pt x="3103163" y="1156111"/>
                  <a:pt x="3104985" y="1152466"/>
                  <a:pt x="3106807" y="1145178"/>
                </a:cubicBezTo>
                <a:close/>
                <a:moveTo>
                  <a:pt x="2286829" y="1145178"/>
                </a:moveTo>
                <a:cubicBezTo>
                  <a:pt x="2285007" y="1150644"/>
                  <a:pt x="2288651" y="1157933"/>
                  <a:pt x="2281362" y="1163399"/>
                </a:cubicBezTo>
                <a:cubicBezTo>
                  <a:pt x="2285007" y="1165222"/>
                  <a:pt x="2286829" y="1163399"/>
                  <a:pt x="2290473" y="1161577"/>
                </a:cubicBezTo>
                <a:cubicBezTo>
                  <a:pt x="2290473" y="1154288"/>
                  <a:pt x="2292295" y="1147000"/>
                  <a:pt x="2286829" y="1145178"/>
                </a:cubicBezTo>
                <a:close/>
                <a:moveTo>
                  <a:pt x="1082373" y="1145178"/>
                </a:moveTo>
                <a:cubicBezTo>
                  <a:pt x="1082373" y="1148822"/>
                  <a:pt x="1080549" y="1152466"/>
                  <a:pt x="1082373" y="1156111"/>
                </a:cubicBezTo>
                <a:cubicBezTo>
                  <a:pt x="1084194" y="1152466"/>
                  <a:pt x="1086016" y="1148822"/>
                  <a:pt x="1089660" y="1145178"/>
                </a:cubicBezTo>
                <a:cubicBezTo>
                  <a:pt x="1087838" y="1145178"/>
                  <a:pt x="1084194" y="1147000"/>
                  <a:pt x="1082373" y="1145178"/>
                </a:cubicBezTo>
                <a:close/>
                <a:moveTo>
                  <a:pt x="1036818" y="1145178"/>
                </a:moveTo>
                <a:cubicBezTo>
                  <a:pt x="1034995" y="1147000"/>
                  <a:pt x="1034995" y="1148822"/>
                  <a:pt x="1034995" y="1148822"/>
                </a:cubicBezTo>
                <a:cubicBezTo>
                  <a:pt x="1034995" y="1150644"/>
                  <a:pt x="1038639" y="1147000"/>
                  <a:pt x="1036818" y="1145178"/>
                </a:cubicBezTo>
                <a:close/>
                <a:moveTo>
                  <a:pt x="1000374" y="1145178"/>
                </a:moveTo>
                <a:cubicBezTo>
                  <a:pt x="996729" y="1147000"/>
                  <a:pt x="1000374" y="1150644"/>
                  <a:pt x="996729" y="1152466"/>
                </a:cubicBezTo>
                <a:cubicBezTo>
                  <a:pt x="998552" y="1154288"/>
                  <a:pt x="998552" y="1156111"/>
                  <a:pt x="1000374" y="1154288"/>
                </a:cubicBezTo>
                <a:cubicBezTo>
                  <a:pt x="1000374" y="1154288"/>
                  <a:pt x="998552" y="1152466"/>
                  <a:pt x="998552" y="1152466"/>
                </a:cubicBezTo>
                <a:cubicBezTo>
                  <a:pt x="1000374" y="1152466"/>
                  <a:pt x="1000374" y="1154288"/>
                  <a:pt x="1002196" y="1154288"/>
                </a:cubicBezTo>
                <a:cubicBezTo>
                  <a:pt x="1004018" y="1152466"/>
                  <a:pt x="1004018" y="1148822"/>
                  <a:pt x="1004018" y="1147000"/>
                </a:cubicBezTo>
                <a:cubicBezTo>
                  <a:pt x="1002196" y="1145178"/>
                  <a:pt x="1002196" y="1147000"/>
                  <a:pt x="1000374" y="1145178"/>
                </a:cubicBezTo>
                <a:close/>
                <a:moveTo>
                  <a:pt x="799935" y="1145178"/>
                </a:moveTo>
                <a:cubicBezTo>
                  <a:pt x="794468" y="1154288"/>
                  <a:pt x="805401" y="1154288"/>
                  <a:pt x="809046" y="1157933"/>
                </a:cubicBezTo>
                <a:cubicBezTo>
                  <a:pt x="810868" y="1154288"/>
                  <a:pt x="803579" y="1147000"/>
                  <a:pt x="799935" y="1145178"/>
                </a:cubicBezTo>
                <a:close/>
                <a:moveTo>
                  <a:pt x="650516" y="1145178"/>
                </a:moveTo>
                <a:cubicBezTo>
                  <a:pt x="652339" y="1148822"/>
                  <a:pt x="655983" y="1152466"/>
                  <a:pt x="659627" y="1152466"/>
                </a:cubicBezTo>
                <a:cubicBezTo>
                  <a:pt x="661449" y="1148822"/>
                  <a:pt x="654161" y="1141533"/>
                  <a:pt x="650516" y="1145178"/>
                </a:cubicBezTo>
                <a:close/>
                <a:moveTo>
                  <a:pt x="292460" y="1144722"/>
                </a:moveTo>
                <a:cubicBezTo>
                  <a:pt x="291548" y="1144722"/>
                  <a:pt x="290637" y="1145178"/>
                  <a:pt x="289726" y="1145178"/>
                </a:cubicBezTo>
                <a:cubicBezTo>
                  <a:pt x="289726" y="1145178"/>
                  <a:pt x="295193" y="1148822"/>
                  <a:pt x="295193" y="1147000"/>
                </a:cubicBezTo>
                <a:cubicBezTo>
                  <a:pt x="294282" y="1145178"/>
                  <a:pt x="293371" y="1144722"/>
                  <a:pt x="292460" y="1144722"/>
                </a:cubicBezTo>
                <a:close/>
                <a:moveTo>
                  <a:pt x="694932" y="1144722"/>
                </a:moveTo>
                <a:cubicBezTo>
                  <a:pt x="693338" y="1143811"/>
                  <a:pt x="691515" y="1143355"/>
                  <a:pt x="688782" y="1145178"/>
                </a:cubicBezTo>
                <a:cubicBezTo>
                  <a:pt x="692426" y="1147000"/>
                  <a:pt x="696071" y="1150644"/>
                  <a:pt x="699715" y="1147000"/>
                </a:cubicBezTo>
                <a:cubicBezTo>
                  <a:pt x="697893" y="1147000"/>
                  <a:pt x="696527" y="1145633"/>
                  <a:pt x="694932" y="1144722"/>
                </a:cubicBezTo>
                <a:close/>
                <a:moveTo>
                  <a:pt x="3381955" y="1143355"/>
                </a:moveTo>
                <a:lnTo>
                  <a:pt x="3381506" y="1145039"/>
                </a:lnTo>
                <a:lnTo>
                  <a:pt x="3378311" y="1145178"/>
                </a:lnTo>
                <a:lnTo>
                  <a:pt x="3377304" y="1144130"/>
                </a:lnTo>
                <a:close/>
                <a:moveTo>
                  <a:pt x="2334205" y="1143355"/>
                </a:moveTo>
                <a:cubicBezTo>
                  <a:pt x="2328739" y="1143355"/>
                  <a:pt x="2332383" y="1148822"/>
                  <a:pt x="2336027" y="1148822"/>
                </a:cubicBezTo>
                <a:cubicBezTo>
                  <a:pt x="2336027" y="1147000"/>
                  <a:pt x="2336027" y="1145178"/>
                  <a:pt x="2334205" y="1143355"/>
                </a:cubicBezTo>
                <a:close/>
                <a:moveTo>
                  <a:pt x="852778" y="1143355"/>
                </a:moveTo>
                <a:cubicBezTo>
                  <a:pt x="852778" y="1147000"/>
                  <a:pt x="850956" y="1147000"/>
                  <a:pt x="849133" y="1148822"/>
                </a:cubicBezTo>
                <a:cubicBezTo>
                  <a:pt x="854600" y="1150644"/>
                  <a:pt x="856422" y="1147000"/>
                  <a:pt x="854600" y="1145178"/>
                </a:cubicBezTo>
                <a:cubicBezTo>
                  <a:pt x="854600" y="1145178"/>
                  <a:pt x="852778" y="1145178"/>
                  <a:pt x="852778" y="1143355"/>
                </a:cubicBezTo>
                <a:close/>
                <a:moveTo>
                  <a:pt x="794468" y="1143355"/>
                </a:moveTo>
                <a:lnTo>
                  <a:pt x="794832" y="1145906"/>
                </a:lnTo>
                <a:lnTo>
                  <a:pt x="793947" y="1144136"/>
                </a:lnTo>
                <a:close/>
                <a:moveTo>
                  <a:pt x="637761" y="1143355"/>
                </a:moveTo>
                <a:cubicBezTo>
                  <a:pt x="634117" y="1152466"/>
                  <a:pt x="641407" y="1152466"/>
                  <a:pt x="645050" y="1152466"/>
                </a:cubicBezTo>
                <a:cubicBezTo>
                  <a:pt x="645050" y="1147000"/>
                  <a:pt x="641407" y="1148822"/>
                  <a:pt x="637761" y="1143355"/>
                </a:cubicBezTo>
                <a:close/>
                <a:moveTo>
                  <a:pt x="561230" y="1143355"/>
                </a:moveTo>
                <a:cubicBezTo>
                  <a:pt x="563052" y="1145178"/>
                  <a:pt x="553941" y="1148822"/>
                  <a:pt x="563052" y="1147000"/>
                </a:cubicBezTo>
                <a:cubicBezTo>
                  <a:pt x="563052" y="1145178"/>
                  <a:pt x="563052" y="1145178"/>
                  <a:pt x="561230" y="1143355"/>
                </a:cubicBezTo>
                <a:close/>
                <a:moveTo>
                  <a:pt x="342569" y="1143355"/>
                </a:moveTo>
                <a:cubicBezTo>
                  <a:pt x="335280" y="1139711"/>
                  <a:pt x="337102" y="1145178"/>
                  <a:pt x="338926" y="1148822"/>
                </a:cubicBezTo>
                <a:cubicBezTo>
                  <a:pt x="342569" y="1152466"/>
                  <a:pt x="346213" y="1150644"/>
                  <a:pt x="348037" y="1156111"/>
                </a:cubicBezTo>
                <a:cubicBezTo>
                  <a:pt x="351680" y="1156111"/>
                  <a:pt x="353502" y="1154288"/>
                  <a:pt x="357146" y="1154288"/>
                </a:cubicBezTo>
                <a:cubicBezTo>
                  <a:pt x="351680" y="1150644"/>
                  <a:pt x="348037" y="1147000"/>
                  <a:pt x="342569" y="1143355"/>
                </a:cubicBezTo>
                <a:close/>
                <a:moveTo>
                  <a:pt x="2840769" y="1141533"/>
                </a:moveTo>
                <a:cubicBezTo>
                  <a:pt x="2842592" y="1150644"/>
                  <a:pt x="2838947" y="1147000"/>
                  <a:pt x="2835303" y="1148822"/>
                </a:cubicBezTo>
                <a:cubicBezTo>
                  <a:pt x="2833481" y="1152466"/>
                  <a:pt x="2837125" y="1152466"/>
                  <a:pt x="2838947" y="1150644"/>
                </a:cubicBezTo>
                <a:cubicBezTo>
                  <a:pt x="2838947" y="1156111"/>
                  <a:pt x="2835303" y="1156111"/>
                  <a:pt x="2829837" y="1156111"/>
                </a:cubicBezTo>
                <a:cubicBezTo>
                  <a:pt x="2829837" y="1163399"/>
                  <a:pt x="2822548" y="1176155"/>
                  <a:pt x="2828014" y="1181621"/>
                </a:cubicBezTo>
                <a:cubicBezTo>
                  <a:pt x="2837125" y="1170688"/>
                  <a:pt x="2844414" y="1157933"/>
                  <a:pt x="2853525" y="1147000"/>
                </a:cubicBezTo>
                <a:cubicBezTo>
                  <a:pt x="2851703" y="1143355"/>
                  <a:pt x="2846236" y="1141533"/>
                  <a:pt x="2840769" y="1141533"/>
                </a:cubicBezTo>
                <a:close/>
                <a:moveTo>
                  <a:pt x="934777" y="1141533"/>
                </a:moveTo>
                <a:cubicBezTo>
                  <a:pt x="934777" y="1143355"/>
                  <a:pt x="934777" y="1148822"/>
                  <a:pt x="940242" y="1143355"/>
                </a:cubicBezTo>
                <a:cubicBezTo>
                  <a:pt x="938420" y="1143355"/>
                  <a:pt x="936598" y="1141533"/>
                  <a:pt x="934777" y="1141533"/>
                </a:cubicBezTo>
                <a:close/>
                <a:moveTo>
                  <a:pt x="927487" y="1141533"/>
                </a:moveTo>
                <a:cubicBezTo>
                  <a:pt x="927487" y="1145178"/>
                  <a:pt x="923843" y="1152466"/>
                  <a:pt x="929309" y="1156111"/>
                </a:cubicBezTo>
                <a:cubicBezTo>
                  <a:pt x="931131" y="1150644"/>
                  <a:pt x="927487" y="1147000"/>
                  <a:pt x="927487" y="1141533"/>
                </a:cubicBezTo>
                <a:close/>
                <a:moveTo>
                  <a:pt x="845489" y="1141533"/>
                </a:moveTo>
                <a:cubicBezTo>
                  <a:pt x="840022" y="1145178"/>
                  <a:pt x="845489" y="1145178"/>
                  <a:pt x="847311" y="1147000"/>
                </a:cubicBezTo>
                <a:cubicBezTo>
                  <a:pt x="847311" y="1145178"/>
                  <a:pt x="845489" y="1143355"/>
                  <a:pt x="845489" y="1141533"/>
                </a:cubicBezTo>
                <a:close/>
                <a:moveTo>
                  <a:pt x="378101" y="1141077"/>
                </a:moveTo>
                <a:cubicBezTo>
                  <a:pt x="376735" y="1140622"/>
                  <a:pt x="375368" y="1140622"/>
                  <a:pt x="375368" y="1141533"/>
                </a:cubicBezTo>
                <a:cubicBezTo>
                  <a:pt x="379012" y="1143355"/>
                  <a:pt x="379012" y="1141533"/>
                  <a:pt x="380835" y="1143355"/>
                </a:cubicBezTo>
                <a:cubicBezTo>
                  <a:pt x="380835" y="1142444"/>
                  <a:pt x="379468" y="1141533"/>
                  <a:pt x="378101" y="1141077"/>
                </a:cubicBezTo>
                <a:close/>
                <a:moveTo>
                  <a:pt x="1085036" y="1140552"/>
                </a:moveTo>
                <a:lnTo>
                  <a:pt x="1087175" y="1142692"/>
                </a:lnTo>
                <a:lnTo>
                  <a:pt x="1084194" y="1143355"/>
                </a:lnTo>
                <a:close/>
                <a:moveTo>
                  <a:pt x="1476119" y="1139949"/>
                </a:moveTo>
                <a:lnTo>
                  <a:pt x="1472317" y="1141533"/>
                </a:lnTo>
                <a:lnTo>
                  <a:pt x="1473309" y="1140350"/>
                </a:lnTo>
                <a:close/>
                <a:moveTo>
                  <a:pt x="2219408" y="1139711"/>
                </a:moveTo>
                <a:cubicBezTo>
                  <a:pt x="2212120" y="1141533"/>
                  <a:pt x="2206653" y="1141533"/>
                  <a:pt x="2201187" y="1143355"/>
                </a:cubicBezTo>
                <a:cubicBezTo>
                  <a:pt x="2208475" y="1145178"/>
                  <a:pt x="2203009" y="1148822"/>
                  <a:pt x="2203009" y="1152466"/>
                </a:cubicBezTo>
                <a:cubicBezTo>
                  <a:pt x="2213942" y="1152466"/>
                  <a:pt x="2215764" y="1147000"/>
                  <a:pt x="2219408" y="1139711"/>
                </a:cubicBezTo>
                <a:close/>
                <a:moveTo>
                  <a:pt x="796290" y="1139711"/>
                </a:moveTo>
                <a:cubicBezTo>
                  <a:pt x="794468" y="1139711"/>
                  <a:pt x="794468" y="1139711"/>
                  <a:pt x="792646" y="1141533"/>
                </a:cubicBezTo>
                <a:lnTo>
                  <a:pt x="793947" y="1144136"/>
                </a:lnTo>
                <a:lnTo>
                  <a:pt x="790824" y="1148822"/>
                </a:lnTo>
                <a:cubicBezTo>
                  <a:pt x="790824" y="1148822"/>
                  <a:pt x="790824" y="1147000"/>
                  <a:pt x="790824" y="1147000"/>
                </a:cubicBezTo>
                <a:cubicBezTo>
                  <a:pt x="787179" y="1145178"/>
                  <a:pt x="787179" y="1150644"/>
                  <a:pt x="790824" y="1152466"/>
                </a:cubicBezTo>
                <a:cubicBezTo>
                  <a:pt x="792646" y="1154288"/>
                  <a:pt x="792646" y="1154288"/>
                  <a:pt x="796290" y="1156111"/>
                </a:cubicBezTo>
                <a:lnTo>
                  <a:pt x="794832" y="1145906"/>
                </a:lnTo>
                <a:lnTo>
                  <a:pt x="796290" y="1148822"/>
                </a:lnTo>
                <a:cubicBezTo>
                  <a:pt x="796290" y="1145178"/>
                  <a:pt x="796290" y="1143355"/>
                  <a:pt x="796290" y="1139711"/>
                </a:cubicBezTo>
                <a:close/>
                <a:moveTo>
                  <a:pt x="787179" y="1139711"/>
                </a:moveTo>
                <a:cubicBezTo>
                  <a:pt x="789003" y="1141533"/>
                  <a:pt x="787179" y="1143355"/>
                  <a:pt x="789003" y="1145178"/>
                </a:cubicBezTo>
                <a:cubicBezTo>
                  <a:pt x="792646" y="1143355"/>
                  <a:pt x="790824" y="1136067"/>
                  <a:pt x="787179" y="1139711"/>
                </a:cubicBezTo>
                <a:close/>
                <a:moveTo>
                  <a:pt x="641407" y="1139711"/>
                </a:moveTo>
                <a:cubicBezTo>
                  <a:pt x="639583" y="1143355"/>
                  <a:pt x="645050" y="1141533"/>
                  <a:pt x="645050" y="1145178"/>
                </a:cubicBezTo>
                <a:cubicBezTo>
                  <a:pt x="648694" y="1141533"/>
                  <a:pt x="645050" y="1141533"/>
                  <a:pt x="641407" y="1139711"/>
                </a:cubicBezTo>
                <a:close/>
                <a:moveTo>
                  <a:pt x="495632" y="1139711"/>
                </a:moveTo>
                <a:cubicBezTo>
                  <a:pt x="495632" y="1143355"/>
                  <a:pt x="504743" y="1143355"/>
                  <a:pt x="506565" y="1143355"/>
                </a:cubicBezTo>
                <a:cubicBezTo>
                  <a:pt x="504743" y="1139711"/>
                  <a:pt x="499276" y="1139711"/>
                  <a:pt x="495632" y="1139711"/>
                </a:cubicBezTo>
                <a:close/>
                <a:moveTo>
                  <a:pt x="98397" y="1137920"/>
                </a:moveTo>
                <a:cubicBezTo>
                  <a:pt x="107508" y="1139742"/>
                  <a:pt x="111152" y="1148853"/>
                  <a:pt x="116619" y="1152498"/>
                </a:cubicBezTo>
                <a:cubicBezTo>
                  <a:pt x="109330" y="1148853"/>
                  <a:pt x="103864" y="1143387"/>
                  <a:pt x="98397" y="1137920"/>
                </a:cubicBezTo>
                <a:close/>
                <a:moveTo>
                  <a:pt x="2294117" y="1137889"/>
                </a:moveTo>
                <a:cubicBezTo>
                  <a:pt x="2295940" y="1141533"/>
                  <a:pt x="2297762" y="1143355"/>
                  <a:pt x="2299584" y="1147000"/>
                </a:cubicBezTo>
                <a:cubicBezTo>
                  <a:pt x="2303228" y="1145178"/>
                  <a:pt x="2297762" y="1141533"/>
                  <a:pt x="2301406" y="1137889"/>
                </a:cubicBezTo>
                <a:cubicBezTo>
                  <a:pt x="2299584" y="1137889"/>
                  <a:pt x="2297762" y="1137889"/>
                  <a:pt x="2294117" y="1137889"/>
                </a:cubicBezTo>
                <a:close/>
                <a:moveTo>
                  <a:pt x="1047750" y="1137889"/>
                </a:moveTo>
                <a:cubicBezTo>
                  <a:pt x="1042284" y="1137889"/>
                  <a:pt x="1040462" y="1143355"/>
                  <a:pt x="1040462" y="1147000"/>
                </a:cubicBezTo>
                <a:cubicBezTo>
                  <a:pt x="1040462" y="1148822"/>
                  <a:pt x="1042284" y="1145178"/>
                  <a:pt x="1044106" y="1145178"/>
                </a:cubicBezTo>
                <a:cubicBezTo>
                  <a:pt x="1044106" y="1147000"/>
                  <a:pt x="1040462" y="1148822"/>
                  <a:pt x="1040462" y="1150644"/>
                </a:cubicBezTo>
                <a:cubicBezTo>
                  <a:pt x="1040462" y="1150644"/>
                  <a:pt x="1040462" y="1152466"/>
                  <a:pt x="1040462" y="1152466"/>
                </a:cubicBezTo>
                <a:cubicBezTo>
                  <a:pt x="1042284" y="1156111"/>
                  <a:pt x="1045929" y="1154288"/>
                  <a:pt x="1047750" y="1154288"/>
                </a:cubicBezTo>
                <a:cubicBezTo>
                  <a:pt x="1047750" y="1148822"/>
                  <a:pt x="1047750" y="1145178"/>
                  <a:pt x="1047750" y="1137889"/>
                </a:cubicBezTo>
                <a:close/>
                <a:moveTo>
                  <a:pt x="1013129" y="1137889"/>
                </a:moveTo>
                <a:cubicBezTo>
                  <a:pt x="1009485" y="1139711"/>
                  <a:pt x="1005840" y="1136067"/>
                  <a:pt x="1000374" y="1139711"/>
                </a:cubicBezTo>
                <a:cubicBezTo>
                  <a:pt x="1002196" y="1141533"/>
                  <a:pt x="1002196" y="1141533"/>
                  <a:pt x="1004018" y="1143355"/>
                </a:cubicBezTo>
                <a:cubicBezTo>
                  <a:pt x="1005840" y="1141533"/>
                  <a:pt x="1004018" y="1141533"/>
                  <a:pt x="1005840" y="1139711"/>
                </a:cubicBezTo>
                <a:cubicBezTo>
                  <a:pt x="1007663" y="1143355"/>
                  <a:pt x="1011307" y="1148822"/>
                  <a:pt x="1016774" y="1150644"/>
                </a:cubicBezTo>
                <a:cubicBezTo>
                  <a:pt x="1018596" y="1147000"/>
                  <a:pt x="1014951" y="1141533"/>
                  <a:pt x="1013129" y="1137889"/>
                </a:cubicBezTo>
                <a:close/>
                <a:moveTo>
                  <a:pt x="947531" y="1137889"/>
                </a:moveTo>
                <a:cubicBezTo>
                  <a:pt x="945709" y="1137889"/>
                  <a:pt x="942064" y="1148822"/>
                  <a:pt x="938420" y="1148822"/>
                </a:cubicBezTo>
                <a:cubicBezTo>
                  <a:pt x="942064" y="1150644"/>
                  <a:pt x="947531" y="1141533"/>
                  <a:pt x="947531" y="1137889"/>
                </a:cubicBezTo>
                <a:close/>
                <a:moveTo>
                  <a:pt x="770781" y="1137889"/>
                </a:moveTo>
                <a:cubicBezTo>
                  <a:pt x="768959" y="1145178"/>
                  <a:pt x="774424" y="1150644"/>
                  <a:pt x="776246" y="1154288"/>
                </a:cubicBezTo>
                <a:cubicBezTo>
                  <a:pt x="776246" y="1150644"/>
                  <a:pt x="776246" y="1148822"/>
                  <a:pt x="779892" y="1148822"/>
                </a:cubicBezTo>
                <a:cubicBezTo>
                  <a:pt x="776246" y="1147000"/>
                  <a:pt x="774424" y="1141533"/>
                  <a:pt x="770781" y="1137889"/>
                </a:cubicBezTo>
                <a:close/>
                <a:moveTo>
                  <a:pt x="513853" y="1137889"/>
                </a:moveTo>
                <a:cubicBezTo>
                  <a:pt x="513853" y="1141533"/>
                  <a:pt x="519320" y="1143355"/>
                  <a:pt x="522964" y="1139711"/>
                </a:cubicBezTo>
                <a:cubicBezTo>
                  <a:pt x="519320" y="1137889"/>
                  <a:pt x="517498" y="1137889"/>
                  <a:pt x="513853" y="1137889"/>
                </a:cubicBezTo>
                <a:close/>
                <a:moveTo>
                  <a:pt x="389946" y="1137889"/>
                </a:moveTo>
                <a:cubicBezTo>
                  <a:pt x="389946" y="1137889"/>
                  <a:pt x="388123" y="1139711"/>
                  <a:pt x="388123" y="1139711"/>
                </a:cubicBezTo>
                <a:cubicBezTo>
                  <a:pt x="384479" y="1145178"/>
                  <a:pt x="386301" y="1143355"/>
                  <a:pt x="393590" y="1139711"/>
                </a:cubicBezTo>
                <a:cubicBezTo>
                  <a:pt x="391768" y="1137889"/>
                  <a:pt x="391768" y="1137889"/>
                  <a:pt x="389946" y="1137889"/>
                </a:cubicBezTo>
                <a:close/>
                <a:moveTo>
                  <a:pt x="1116470" y="1137860"/>
                </a:moveTo>
                <a:lnTo>
                  <a:pt x="1116993" y="1137889"/>
                </a:lnTo>
                <a:lnTo>
                  <a:pt x="1114954" y="1139247"/>
                </a:lnTo>
                <a:lnTo>
                  <a:pt x="1114943" y="1139028"/>
                </a:lnTo>
                <a:close/>
                <a:moveTo>
                  <a:pt x="65598" y="1136114"/>
                </a:moveTo>
                <a:cubicBezTo>
                  <a:pt x="67420" y="1139759"/>
                  <a:pt x="69243" y="1139759"/>
                  <a:pt x="71065" y="1143403"/>
                </a:cubicBezTo>
                <a:lnTo>
                  <a:pt x="71065" y="1139759"/>
                </a:lnTo>
                <a:cubicBezTo>
                  <a:pt x="76531" y="1145225"/>
                  <a:pt x="80176" y="1148869"/>
                  <a:pt x="85642" y="1152514"/>
                </a:cubicBezTo>
                <a:cubicBezTo>
                  <a:pt x="76531" y="1150692"/>
                  <a:pt x="69243" y="1147047"/>
                  <a:pt x="65598" y="1136114"/>
                </a:cubicBezTo>
                <a:close/>
                <a:moveTo>
                  <a:pt x="1869551" y="1136067"/>
                </a:moveTo>
                <a:lnTo>
                  <a:pt x="1872144" y="1140388"/>
                </a:lnTo>
                <a:lnTo>
                  <a:pt x="1872983" y="1145516"/>
                </a:lnTo>
                <a:lnTo>
                  <a:pt x="1870917" y="1145861"/>
                </a:lnTo>
                <a:cubicBezTo>
                  <a:pt x="1869551" y="1146999"/>
                  <a:pt x="1868640" y="1148822"/>
                  <a:pt x="1869551" y="1150644"/>
                </a:cubicBezTo>
                <a:cubicBezTo>
                  <a:pt x="1865906" y="1145178"/>
                  <a:pt x="1869551" y="1141533"/>
                  <a:pt x="1869551" y="1136067"/>
                </a:cubicBezTo>
                <a:close/>
                <a:moveTo>
                  <a:pt x="1118815" y="1136067"/>
                </a:moveTo>
                <a:lnTo>
                  <a:pt x="1116470" y="1137860"/>
                </a:lnTo>
                <a:lnTo>
                  <a:pt x="1112893" y="1137661"/>
                </a:lnTo>
                <a:cubicBezTo>
                  <a:pt x="1111526" y="1138800"/>
                  <a:pt x="1110616" y="1140622"/>
                  <a:pt x="1111526" y="1141533"/>
                </a:cubicBezTo>
                <a:lnTo>
                  <a:pt x="1114954" y="1139247"/>
                </a:lnTo>
                <a:lnTo>
                  <a:pt x="1115171" y="1143355"/>
                </a:lnTo>
                <a:cubicBezTo>
                  <a:pt x="1116993" y="1143355"/>
                  <a:pt x="1116993" y="1141533"/>
                  <a:pt x="1118815" y="1139711"/>
                </a:cubicBezTo>
                <a:cubicBezTo>
                  <a:pt x="1120637" y="1141533"/>
                  <a:pt x="1115171" y="1143355"/>
                  <a:pt x="1118815" y="1145178"/>
                </a:cubicBezTo>
                <a:cubicBezTo>
                  <a:pt x="1116993" y="1147000"/>
                  <a:pt x="1116993" y="1148822"/>
                  <a:pt x="1115171" y="1150644"/>
                </a:cubicBezTo>
                <a:cubicBezTo>
                  <a:pt x="1115171" y="1148822"/>
                  <a:pt x="1118815" y="1147000"/>
                  <a:pt x="1116993" y="1145178"/>
                </a:cubicBezTo>
                <a:cubicBezTo>
                  <a:pt x="1106060" y="1139711"/>
                  <a:pt x="1093305" y="1154288"/>
                  <a:pt x="1095127" y="1165222"/>
                </a:cubicBezTo>
                <a:cubicBezTo>
                  <a:pt x="1096949" y="1159755"/>
                  <a:pt x="1102416" y="1163399"/>
                  <a:pt x="1104238" y="1165222"/>
                </a:cubicBezTo>
                <a:cubicBezTo>
                  <a:pt x="1107882" y="1163399"/>
                  <a:pt x="1113349" y="1157933"/>
                  <a:pt x="1111526" y="1154288"/>
                </a:cubicBezTo>
                <a:cubicBezTo>
                  <a:pt x="1113349" y="1152466"/>
                  <a:pt x="1115171" y="1152466"/>
                  <a:pt x="1113349" y="1154288"/>
                </a:cubicBezTo>
                <a:cubicBezTo>
                  <a:pt x="1111526" y="1157933"/>
                  <a:pt x="1109704" y="1159755"/>
                  <a:pt x="1109704" y="1163399"/>
                </a:cubicBezTo>
                <a:cubicBezTo>
                  <a:pt x="1113349" y="1157933"/>
                  <a:pt x="1116993" y="1161577"/>
                  <a:pt x="1120637" y="1157933"/>
                </a:cubicBezTo>
                <a:lnTo>
                  <a:pt x="1124281" y="1159755"/>
                </a:lnTo>
                <a:lnTo>
                  <a:pt x="1115171" y="1161577"/>
                </a:lnTo>
                <a:cubicBezTo>
                  <a:pt x="1113349" y="1163399"/>
                  <a:pt x="1113349" y="1163399"/>
                  <a:pt x="1109704" y="1165222"/>
                </a:cubicBezTo>
                <a:cubicBezTo>
                  <a:pt x="1118815" y="1167044"/>
                  <a:pt x="1126104" y="1167044"/>
                  <a:pt x="1135215" y="1167044"/>
                </a:cubicBezTo>
                <a:cubicBezTo>
                  <a:pt x="1133393" y="1165222"/>
                  <a:pt x="1133393" y="1165222"/>
                  <a:pt x="1131570" y="1165222"/>
                </a:cubicBezTo>
                <a:cubicBezTo>
                  <a:pt x="1133393" y="1165222"/>
                  <a:pt x="1135215" y="1165222"/>
                  <a:pt x="1137037" y="1165222"/>
                </a:cubicBezTo>
                <a:cubicBezTo>
                  <a:pt x="1138859" y="1163399"/>
                  <a:pt x="1137037" y="1159755"/>
                  <a:pt x="1137037" y="1157933"/>
                </a:cubicBezTo>
                <a:cubicBezTo>
                  <a:pt x="1138859" y="1157933"/>
                  <a:pt x="1138859" y="1161577"/>
                  <a:pt x="1138859" y="1161577"/>
                </a:cubicBezTo>
                <a:cubicBezTo>
                  <a:pt x="1140681" y="1163399"/>
                  <a:pt x="1140681" y="1159755"/>
                  <a:pt x="1142503" y="1159755"/>
                </a:cubicBezTo>
                <a:cubicBezTo>
                  <a:pt x="1142503" y="1158844"/>
                  <a:pt x="1142503" y="1158388"/>
                  <a:pt x="1141820" y="1158161"/>
                </a:cubicBezTo>
                <a:lnTo>
                  <a:pt x="1138859" y="1158020"/>
                </a:lnTo>
                <a:lnTo>
                  <a:pt x="1138859" y="1154288"/>
                </a:lnTo>
                <a:cubicBezTo>
                  <a:pt x="1138859" y="1154288"/>
                  <a:pt x="1137037" y="1156111"/>
                  <a:pt x="1137037" y="1156111"/>
                </a:cubicBezTo>
                <a:cubicBezTo>
                  <a:pt x="1137037" y="1147000"/>
                  <a:pt x="1126104" y="1141533"/>
                  <a:pt x="1122459" y="1137889"/>
                </a:cubicBezTo>
                <a:cubicBezTo>
                  <a:pt x="1120637" y="1137889"/>
                  <a:pt x="1120637" y="1139711"/>
                  <a:pt x="1120637" y="1139711"/>
                </a:cubicBezTo>
                <a:cubicBezTo>
                  <a:pt x="1118815" y="1137889"/>
                  <a:pt x="1122459" y="1136067"/>
                  <a:pt x="1118815" y="1136067"/>
                </a:cubicBezTo>
                <a:close/>
                <a:moveTo>
                  <a:pt x="920198" y="1136067"/>
                </a:moveTo>
                <a:cubicBezTo>
                  <a:pt x="916555" y="1139711"/>
                  <a:pt x="920198" y="1141533"/>
                  <a:pt x="922020" y="1143355"/>
                </a:cubicBezTo>
                <a:cubicBezTo>
                  <a:pt x="925666" y="1141533"/>
                  <a:pt x="923843" y="1139711"/>
                  <a:pt x="923843" y="1137889"/>
                </a:cubicBezTo>
                <a:cubicBezTo>
                  <a:pt x="922020" y="1136067"/>
                  <a:pt x="922020" y="1137889"/>
                  <a:pt x="920198" y="1136067"/>
                </a:cubicBezTo>
                <a:close/>
                <a:moveTo>
                  <a:pt x="901976" y="1136067"/>
                </a:moveTo>
                <a:cubicBezTo>
                  <a:pt x="900154" y="1139711"/>
                  <a:pt x="901976" y="1139711"/>
                  <a:pt x="898333" y="1141533"/>
                </a:cubicBezTo>
                <a:cubicBezTo>
                  <a:pt x="898333" y="1139711"/>
                  <a:pt x="900154" y="1139711"/>
                  <a:pt x="900154" y="1137889"/>
                </a:cubicBezTo>
                <a:cubicBezTo>
                  <a:pt x="896510" y="1136067"/>
                  <a:pt x="896510" y="1148822"/>
                  <a:pt x="900154" y="1145178"/>
                </a:cubicBezTo>
                <a:cubicBezTo>
                  <a:pt x="901976" y="1147000"/>
                  <a:pt x="896510" y="1150644"/>
                  <a:pt x="900154" y="1152466"/>
                </a:cubicBezTo>
                <a:cubicBezTo>
                  <a:pt x="901976" y="1147000"/>
                  <a:pt x="901976" y="1141533"/>
                  <a:pt x="901976" y="1136067"/>
                </a:cubicBezTo>
                <a:close/>
                <a:moveTo>
                  <a:pt x="779892" y="1136067"/>
                </a:moveTo>
                <a:lnTo>
                  <a:pt x="781106" y="1136067"/>
                </a:lnTo>
                <a:lnTo>
                  <a:pt x="780620" y="1136431"/>
                </a:lnTo>
                <a:close/>
                <a:moveTo>
                  <a:pt x="696071" y="1136067"/>
                </a:moveTo>
                <a:cubicBezTo>
                  <a:pt x="694249" y="1137889"/>
                  <a:pt x="694249" y="1139711"/>
                  <a:pt x="692426" y="1141533"/>
                </a:cubicBezTo>
                <a:cubicBezTo>
                  <a:pt x="694249" y="1143355"/>
                  <a:pt x="696071" y="1143355"/>
                  <a:pt x="697893" y="1145178"/>
                </a:cubicBezTo>
                <a:cubicBezTo>
                  <a:pt x="699715" y="1145178"/>
                  <a:pt x="697893" y="1143355"/>
                  <a:pt x="697893" y="1143355"/>
                </a:cubicBezTo>
                <a:cubicBezTo>
                  <a:pt x="699715" y="1143355"/>
                  <a:pt x="699715" y="1145178"/>
                  <a:pt x="701537" y="1145178"/>
                </a:cubicBezTo>
                <a:cubicBezTo>
                  <a:pt x="703359" y="1141533"/>
                  <a:pt x="697893" y="1139711"/>
                  <a:pt x="696071" y="1136067"/>
                </a:cubicBezTo>
                <a:close/>
                <a:moveTo>
                  <a:pt x="865988" y="1134928"/>
                </a:moveTo>
                <a:cubicBezTo>
                  <a:pt x="863711" y="1134244"/>
                  <a:pt x="861889" y="1134244"/>
                  <a:pt x="861889" y="1136067"/>
                </a:cubicBezTo>
                <a:lnTo>
                  <a:pt x="859659" y="1149665"/>
                </a:lnTo>
                <a:lnTo>
                  <a:pt x="860066" y="1143355"/>
                </a:lnTo>
                <a:cubicBezTo>
                  <a:pt x="854600" y="1150644"/>
                  <a:pt x="858244" y="1161577"/>
                  <a:pt x="852778" y="1168866"/>
                </a:cubicBezTo>
                <a:cubicBezTo>
                  <a:pt x="857333" y="1167044"/>
                  <a:pt x="858700" y="1162488"/>
                  <a:pt x="859155" y="1157477"/>
                </a:cubicBezTo>
                <a:lnTo>
                  <a:pt x="859620" y="1150273"/>
                </a:lnTo>
                <a:lnTo>
                  <a:pt x="860066" y="1165222"/>
                </a:lnTo>
                <a:cubicBezTo>
                  <a:pt x="861889" y="1163399"/>
                  <a:pt x="861889" y="1161577"/>
                  <a:pt x="860066" y="1159755"/>
                </a:cubicBezTo>
                <a:cubicBezTo>
                  <a:pt x="861889" y="1159755"/>
                  <a:pt x="861889" y="1161577"/>
                  <a:pt x="863711" y="1163399"/>
                </a:cubicBezTo>
                <a:cubicBezTo>
                  <a:pt x="863711" y="1165222"/>
                  <a:pt x="861889" y="1165222"/>
                  <a:pt x="860066" y="1167044"/>
                </a:cubicBezTo>
                <a:lnTo>
                  <a:pt x="861223" y="1172019"/>
                </a:lnTo>
                <a:lnTo>
                  <a:pt x="860522" y="1173421"/>
                </a:lnTo>
                <a:cubicBezTo>
                  <a:pt x="860979" y="1174332"/>
                  <a:pt x="861889" y="1175243"/>
                  <a:pt x="861889" y="1176155"/>
                </a:cubicBezTo>
                <a:lnTo>
                  <a:pt x="861889" y="1174880"/>
                </a:lnTo>
                <a:lnTo>
                  <a:pt x="862345" y="1176838"/>
                </a:lnTo>
                <a:cubicBezTo>
                  <a:pt x="863255" y="1179799"/>
                  <a:pt x="864622" y="1182532"/>
                  <a:pt x="867355" y="1185266"/>
                </a:cubicBezTo>
                <a:lnTo>
                  <a:pt x="868641" y="1176691"/>
                </a:lnTo>
                <a:lnTo>
                  <a:pt x="871000" y="1194376"/>
                </a:lnTo>
                <a:cubicBezTo>
                  <a:pt x="876466" y="1188910"/>
                  <a:pt x="872822" y="1181621"/>
                  <a:pt x="876466" y="1176155"/>
                </a:cubicBezTo>
                <a:lnTo>
                  <a:pt x="878029" y="1187088"/>
                </a:lnTo>
                <a:lnTo>
                  <a:pt x="876466" y="1187088"/>
                </a:lnTo>
                <a:cubicBezTo>
                  <a:pt x="878288" y="1190732"/>
                  <a:pt x="876466" y="1194376"/>
                  <a:pt x="880111" y="1194376"/>
                </a:cubicBezTo>
                <a:cubicBezTo>
                  <a:pt x="883755" y="1192554"/>
                  <a:pt x="878288" y="1188910"/>
                  <a:pt x="880111" y="1187088"/>
                </a:cubicBezTo>
                <a:lnTo>
                  <a:pt x="878288" y="1187088"/>
                </a:lnTo>
                <a:lnTo>
                  <a:pt x="878288" y="1172510"/>
                </a:lnTo>
                <a:cubicBezTo>
                  <a:pt x="878288" y="1172510"/>
                  <a:pt x="880111" y="1174332"/>
                  <a:pt x="880111" y="1176155"/>
                </a:cubicBezTo>
                <a:lnTo>
                  <a:pt x="878491" y="1168056"/>
                </a:lnTo>
                <a:lnTo>
                  <a:pt x="878735" y="1167078"/>
                </a:lnTo>
                <a:lnTo>
                  <a:pt x="881249" y="1167271"/>
                </a:lnTo>
                <a:cubicBezTo>
                  <a:pt x="882388" y="1168410"/>
                  <a:pt x="883755" y="1169777"/>
                  <a:pt x="885577" y="1168866"/>
                </a:cubicBezTo>
                <a:cubicBezTo>
                  <a:pt x="885577" y="1170688"/>
                  <a:pt x="883755" y="1174332"/>
                  <a:pt x="885577" y="1176155"/>
                </a:cubicBezTo>
                <a:cubicBezTo>
                  <a:pt x="885577" y="1176155"/>
                  <a:pt x="885577" y="1176155"/>
                  <a:pt x="883755" y="1177977"/>
                </a:cubicBezTo>
                <a:cubicBezTo>
                  <a:pt x="885577" y="1177977"/>
                  <a:pt x="891043" y="1179799"/>
                  <a:pt x="892866" y="1177977"/>
                </a:cubicBezTo>
                <a:cubicBezTo>
                  <a:pt x="894688" y="1165222"/>
                  <a:pt x="891043" y="1154288"/>
                  <a:pt x="887399" y="1143355"/>
                </a:cubicBezTo>
                <a:cubicBezTo>
                  <a:pt x="885577" y="1150644"/>
                  <a:pt x="880111" y="1154288"/>
                  <a:pt x="881933" y="1163399"/>
                </a:cubicBezTo>
                <a:lnTo>
                  <a:pt x="880276" y="1161743"/>
                </a:lnTo>
                <a:lnTo>
                  <a:pt x="881933" y="1159755"/>
                </a:lnTo>
                <a:cubicBezTo>
                  <a:pt x="880111" y="1158844"/>
                  <a:pt x="879199" y="1159755"/>
                  <a:pt x="878971" y="1161122"/>
                </a:cubicBezTo>
                <a:lnTo>
                  <a:pt x="879630" y="1163495"/>
                </a:lnTo>
                <a:lnTo>
                  <a:pt x="878735" y="1167078"/>
                </a:lnTo>
                <a:lnTo>
                  <a:pt x="878288" y="1167044"/>
                </a:lnTo>
                <a:lnTo>
                  <a:pt x="878491" y="1168056"/>
                </a:lnTo>
                <a:lnTo>
                  <a:pt x="878288" y="1168866"/>
                </a:lnTo>
                <a:cubicBezTo>
                  <a:pt x="878288" y="1167044"/>
                  <a:pt x="876466" y="1163399"/>
                  <a:pt x="874644" y="1161577"/>
                </a:cubicBezTo>
                <a:cubicBezTo>
                  <a:pt x="876466" y="1161577"/>
                  <a:pt x="876466" y="1161577"/>
                  <a:pt x="878288" y="1159755"/>
                </a:cubicBezTo>
                <a:cubicBezTo>
                  <a:pt x="878288" y="1157933"/>
                  <a:pt x="876466" y="1159755"/>
                  <a:pt x="874644" y="1157933"/>
                </a:cubicBezTo>
                <a:cubicBezTo>
                  <a:pt x="876466" y="1159755"/>
                  <a:pt x="878288" y="1159755"/>
                  <a:pt x="880111" y="1157933"/>
                </a:cubicBezTo>
                <a:cubicBezTo>
                  <a:pt x="887399" y="1152466"/>
                  <a:pt x="880111" y="1141533"/>
                  <a:pt x="872822" y="1137889"/>
                </a:cubicBezTo>
                <a:cubicBezTo>
                  <a:pt x="871000" y="1136978"/>
                  <a:pt x="868266" y="1135611"/>
                  <a:pt x="865988" y="1134928"/>
                </a:cubicBezTo>
                <a:close/>
                <a:moveTo>
                  <a:pt x="3108629" y="1134245"/>
                </a:moveTo>
                <a:cubicBezTo>
                  <a:pt x="3108629" y="1137889"/>
                  <a:pt x="3110451" y="1139711"/>
                  <a:pt x="3114096" y="1139711"/>
                </a:cubicBezTo>
                <a:cubicBezTo>
                  <a:pt x="3114096" y="1137889"/>
                  <a:pt x="3112274" y="1136067"/>
                  <a:pt x="3112274" y="1134245"/>
                </a:cubicBezTo>
                <a:cubicBezTo>
                  <a:pt x="3110451" y="1134245"/>
                  <a:pt x="3110451" y="1134245"/>
                  <a:pt x="3108629" y="1134245"/>
                </a:cubicBezTo>
                <a:close/>
                <a:moveTo>
                  <a:pt x="2131944" y="1134245"/>
                </a:moveTo>
                <a:lnTo>
                  <a:pt x="2111900" y="1157933"/>
                </a:lnTo>
                <a:lnTo>
                  <a:pt x="2108256" y="1156111"/>
                </a:lnTo>
                <a:cubicBezTo>
                  <a:pt x="2108256" y="1159755"/>
                  <a:pt x="2108256" y="1163399"/>
                  <a:pt x="2111900" y="1161577"/>
                </a:cubicBezTo>
                <a:cubicBezTo>
                  <a:pt x="2115544" y="1159755"/>
                  <a:pt x="2117366" y="1161577"/>
                  <a:pt x="2122833" y="1163399"/>
                </a:cubicBezTo>
                <a:cubicBezTo>
                  <a:pt x="2119189" y="1165222"/>
                  <a:pt x="2121011" y="1170688"/>
                  <a:pt x="2115544" y="1172510"/>
                </a:cubicBezTo>
                <a:cubicBezTo>
                  <a:pt x="2113722" y="1170688"/>
                  <a:pt x="2117366" y="1167044"/>
                  <a:pt x="2115544" y="1165222"/>
                </a:cubicBezTo>
                <a:cubicBezTo>
                  <a:pt x="2113722" y="1170688"/>
                  <a:pt x="2102790" y="1170688"/>
                  <a:pt x="2106433" y="1179799"/>
                </a:cubicBezTo>
                <a:cubicBezTo>
                  <a:pt x="2111900" y="1174332"/>
                  <a:pt x="2111900" y="1181621"/>
                  <a:pt x="2113722" y="1181621"/>
                </a:cubicBezTo>
                <a:cubicBezTo>
                  <a:pt x="2122833" y="1183443"/>
                  <a:pt x="2131944" y="1181621"/>
                  <a:pt x="2141055" y="1176155"/>
                </a:cubicBezTo>
                <a:lnTo>
                  <a:pt x="2133766" y="1157933"/>
                </a:lnTo>
                <a:cubicBezTo>
                  <a:pt x="2142877" y="1139711"/>
                  <a:pt x="2141055" y="1154288"/>
                  <a:pt x="2131944" y="1134245"/>
                </a:cubicBezTo>
                <a:close/>
                <a:moveTo>
                  <a:pt x="1089660" y="1134245"/>
                </a:moveTo>
                <a:lnTo>
                  <a:pt x="1089727" y="1134425"/>
                </a:lnTo>
                <a:lnTo>
                  <a:pt x="1089517" y="1134405"/>
                </a:lnTo>
                <a:close/>
                <a:moveTo>
                  <a:pt x="1031351" y="1134245"/>
                </a:moveTo>
                <a:cubicBezTo>
                  <a:pt x="1031351" y="1134245"/>
                  <a:pt x="1033173" y="1136067"/>
                  <a:pt x="1033173" y="1136067"/>
                </a:cubicBezTo>
                <a:lnTo>
                  <a:pt x="1029529" y="1136067"/>
                </a:lnTo>
                <a:cubicBezTo>
                  <a:pt x="1029529" y="1136067"/>
                  <a:pt x="1031351" y="1134245"/>
                  <a:pt x="1031351" y="1134245"/>
                </a:cubicBezTo>
                <a:close/>
                <a:moveTo>
                  <a:pt x="375368" y="1134245"/>
                </a:moveTo>
                <a:cubicBezTo>
                  <a:pt x="373546" y="1136067"/>
                  <a:pt x="373546" y="1136067"/>
                  <a:pt x="375368" y="1139711"/>
                </a:cubicBezTo>
                <a:cubicBezTo>
                  <a:pt x="375368" y="1136067"/>
                  <a:pt x="379012" y="1137889"/>
                  <a:pt x="382657" y="1139711"/>
                </a:cubicBezTo>
                <a:cubicBezTo>
                  <a:pt x="380835" y="1136067"/>
                  <a:pt x="377190" y="1137889"/>
                  <a:pt x="375368" y="1134245"/>
                </a:cubicBezTo>
                <a:close/>
                <a:moveTo>
                  <a:pt x="3503177" y="1133285"/>
                </a:moveTo>
                <a:lnTo>
                  <a:pt x="3520440" y="1137889"/>
                </a:lnTo>
                <a:cubicBezTo>
                  <a:pt x="3514974" y="1135155"/>
                  <a:pt x="3509507" y="1134700"/>
                  <a:pt x="3504269" y="1133789"/>
                </a:cubicBezTo>
                <a:close/>
                <a:moveTo>
                  <a:pt x="1494183" y="1132422"/>
                </a:moveTo>
                <a:cubicBezTo>
                  <a:pt x="1492361" y="1132422"/>
                  <a:pt x="1492361" y="1134245"/>
                  <a:pt x="1492361" y="1134245"/>
                </a:cubicBezTo>
                <a:lnTo>
                  <a:pt x="1493871" y="1132552"/>
                </a:lnTo>
                <a:close/>
                <a:moveTo>
                  <a:pt x="1044106" y="1132422"/>
                </a:moveTo>
                <a:cubicBezTo>
                  <a:pt x="1044106" y="1134245"/>
                  <a:pt x="1044106" y="1134245"/>
                  <a:pt x="1042284" y="1136067"/>
                </a:cubicBezTo>
                <a:cubicBezTo>
                  <a:pt x="1044106" y="1137889"/>
                  <a:pt x="1045929" y="1137889"/>
                  <a:pt x="1045929" y="1136067"/>
                </a:cubicBezTo>
                <a:cubicBezTo>
                  <a:pt x="1044106" y="1134245"/>
                  <a:pt x="1045929" y="1134245"/>
                  <a:pt x="1044106" y="1132422"/>
                </a:cubicBezTo>
                <a:close/>
                <a:moveTo>
                  <a:pt x="911087" y="1132422"/>
                </a:moveTo>
                <a:cubicBezTo>
                  <a:pt x="903799" y="1137889"/>
                  <a:pt x="914732" y="1136067"/>
                  <a:pt x="914732" y="1139711"/>
                </a:cubicBezTo>
                <a:cubicBezTo>
                  <a:pt x="916555" y="1136067"/>
                  <a:pt x="912909" y="1132422"/>
                  <a:pt x="911087" y="1132422"/>
                </a:cubicBezTo>
                <a:close/>
                <a:moveTo>
                  <a:pt x="905621" y="1132422"/>
                </a:moveTo>
                <a:cubicBezTo>
                  <a:pt x="903799" y="1141533"/>
                  <a:pt x="901976" y="1148822"/>
                  <a:pt x="901976" y="1157933"/>
                </a:cubicBezTo>
                <a:cubicBezTo>
                  <a:pt x="903799" y="1152466"/>
                  <a:pt x="912909" y="1150644"/>
                  <a:pt x="911087" y="1141533"/>
                </a:cubicBezTo>
                <a:cubicBezTo>
                  <a:pt x="912909" y="1143355"/>
                  <a:pt x="912909" y="1145178"/>
                  <a:pt x="914732" y="1143355"/>
                </a:cubicBezTo>
                <a:cubicBezTo>
                  <a:pt x="912909" y="1137889"/>
                  <a:pt x="909265" y="1136067"/>
                  <a:pt x="905621" y="1132422"/>
                </a:cubicBezTo>
                <a:close/>
                <a:moveTo>
                  <a:pt x="801757" y="1132422"/>
                </a:moveTo>
                <a:cubicBezTo>
                  <a:pt x="799935" y="1136067"/>
                  <a:pt x="798112" y="1137889"/>
                  <a:pt x="799935" y="1139711"/>
                </a:cubicBezTo>
                <a:cubicBezTo>
                  <a:pt x="805401" y="1141533"/>
                  <a:pt x="807223" y="1139711"/>
                  <a:pt x="807223" y="1143355"/>
                </a:cubicBezTo>
                <a:cubicBezTo>
                  <a:pt x="809046" y="1143355"/>
                  <a:pt x="809046" y="1145178"/>
                  <a:pt x="810868" y="1143355"/>
                </a:cubicBezTo>
                <a:cubicBezTo>
                  <a:pt x="807223" y="1141533"/>
                  <a:pt x="805401" y="1136067"/>
                  <a:pt x="801757" y="1132422"/>
                </a:cubicBezTo>
                <a:close/>
                <a:moveTo>
                  <a:pt x="670560" y="1132422"/>
                </a:moveTo>
                <a:cubicBezTo>
                  <a:pt x="672383" y="1139711"/>
                  <a:pt x="674205" y="1143355"/>
                  <a:pt x="679671" y="1139711"/>
                </a:cubicBezTo>
                <a:cubicBezTo>
                  <a:pt x="676027" y="1136067"/>
                  <a:pt x="677849" y="1130600"/>
                  <a:pt x="670560" y="1132422"/>
                </a:cubicBezTo>
                <a:close/>
                <a:moveTo>
                  <a:pt x="276971" y="1132422"/>
                </a:moveTo>
                <a:cubicBezTo>
                  <a:pt x="280615" y="1137889"/>
                  <a:pt x="284259" y="1136067"/>
                  <a:pt x="287904" y="1139711"/>
                </a:cubicBezTo>
                <a:cubicBezTo>
                  <a:pt x="282438" y="1139711"/>
                  <a:pt x="278793" y="1136067"/>
                  <a:pt x="276971" y="1132422"/>
                </a:cubicBezTo>
                <a:close/>
                <a:moveTo>
                  <a:pt x="933865" y="1132195"/>
                </a:moveTo>
                <a:cubicBezTo>
                  <a:pt x="932498" y="1131967"/>
                  <a:pt x="931131" y="1132423"/>
                  <a:pt x="929309" y="1134245"/>
                </a:cubicBezTo>
                <a:cubicBezTo>
                  <a:pt x="931131" y="1136067"/>
                  <a:pt x="934777" y="1137889"/>
                  <a:pt x="936598" y="1139711"/>
                </a:cubicBezTo>
                <a:cubicBezTo>
                  <a:pt x="940242" y="1137889"/>
                  <a:pt x="940242" y="1136067"/>
                  <a:pt x="938420" y="1134245"/>
                </a:cubicBezTo>
                <a:cubicBezTo>
                  <a:pt x="936598" y="1133334"/>
                  <a:pt x="935232" y="1132422"/>
                  <a:pt x="933865" y="1132195"/>
                </a:cubicBezTo>
                <a:close/>
                <a:moveTo>
                  <a:pt x="240299" y="1131283"/>
                </a:moveTo>
                <a:cubicBezTo>
                  <a:pt x="238705" y="1130600"/>
                  <a:pt x="236883" y="1130600"/>
                  <a:pt x="235061" y="1132422"/>
                </a:cubicBezTo>
                <a:cubicBezTo>
                  <a:pt x="238705" y="1132422"/>
                  <a:pt x="242349" y="1136067"/>
                  <a:pt x="244172" y="1134245"/>
                </a:cubicBezTo>
                <a:cubicBezTo>
                  <a:pt x="243260" y="1133333"/>
                  <a:pt x="241894" y="1131967"/>
                  <a:pt x="240299" y="1131283"/>
                </a:cubicBezTo>
                <a:close/>
                <a:moveTo>
                  <a:pt x="3405643" y="1130600"/>
                </a:moveTo>
                <a:cubicBezTo>
                  <a:pt x="3403821" y="1130600"/>
                  <a:pt x="3400177" y="1134245"/>
                  <a:pt x="3401999" y="1132422"/>
                </a:cubicBezTo>
                <a:cubicBezTo>
                  <a:pt x="3409288" y="1134245"/>
                  <a:pt x="3412932" y="1139711"/>
                  <a:pt x="3414754" y="1145178"/>
                </a:cubicBezTo>
                <a:cubicBezTo>
                  <a:pt x="3416577" y="1148822"/>
                  <a:pt x="3412932" y="1137889"/>
                  <a:pt x="3418399" y="1137889"/>
                </a:cubicBezTo>
                <a:cubicBezTo>
                  <a:pt x="3414754" y="1132422"/>
                  <a:pt x="3414754" y="1134245"/>
                  <a:pt x="3407466" y="1134245"/>
                </a:cubicBezTo>
                <a:cubicBezTo>
                  <a:pt x="3407466" y="1134245"/>
                  <a:pt x="3407466" y="1130600"/>
                  <a:pt x="3405643" y="1130600"/>
                </a:cubicBezTo>
                <a:close/>
                <a:moveTo>
                  <a:pt x="2264963" y="1130600"/>
                </a:moveTo>
                <a:cubicBezTo>
                  <a:pt x="2248563" y="1134245"/>
                  <a:pt x="2252207" y="1141533"/>
                  <a:pt x="2254030" y="1150644"/>
                </a:cubicBezTo>
                <a:cubicBezTo>
                  <a:pt x="2259496" y="1145178"/>
                  <a:pt x="2266785" y="1139711"/>
                  <a:pt x="2268607" y="1132422"/>
                </a:cubicBezTo>
                <a:cubicBezTo>
                  <a:pt x="2264963" y="1134245"/>
                  <a:pt x="2264963" y="1137889"/>
                  <a:pt x="2264963" y="1130600"/>
                </a:cubicBezTo>
                <a:close/>
                <a:moveTo>
                  <a:pt x="1521516" y="1130600"/>
                </a:moveTo>
                <a:cubicBezTo>
                  <a:pt x="1517871" y="1128778"/>
                  <a:pt x="1514228" y="1137889"/>
                  <a:pt x="1512405" y="1134245"/>
                </a:cubicBezTo>
                <a:lnTo>
                  <a:pt x="1513138" y="1133145"/>
                </a:lnTo>
                <a:close/>
                <a:moveTo>
                  <a:pt x="1253656" y="1130600"/>
                </a:moveTo>
                <a:cubicBezTo>
                  <a:pt x="1250012" y="1132422"/>
                  <a:pt x="1253656" y="1136067"/>
                  <a:pt x="1251834" y="1137889"/>
                </a:cubicBezTo>
                <a:cubicBezTo>
                  <a:pt x="1251834" y="1139711"/>
                  <a:pt x="1253656" y="1137889"/>
                  <a:pt x="1253656" y="1137889"/>
                </a:cubicBezTo>
                <a:cubicBezTo>
                  <a:pt x="1255478" y="1139711"/>
                  <a:pt x="1250012" y="1141533"/>
                  <a:pt x="1250012" y="1143355"/>
                </a:cubicBezTo>
                <a:cubicBezTo>
                  <a:pt x="1255478" y="1141533"/>
                  <a:pt x="1259123" y="1137889"/>
                  <a:pt x="1266411" y="1134245"/>
                </a:cubicBezTo>
                <a:cubicBezTo>
                  <a:pt x="1264589" y="1130600"/>
                  <a:pt x="1257300" y="1132422"/>
                  <a:pt x="1253656" y="1130600"/>
                </a:cubicBezTo>
                <a:close/>
                <a:moveTo>
                  <a:pt x="898333" y="1130600"/>
                </a:moveTo>
                <a:cubicBezTo>
                  <a:pt x="896510" y="1132422"/>
                  <a:pt x="896510" y="1134245"/>
                  <a:pt x="898333" y="1136067"/>
                </a:cubicBezTo>
                <a:cubicBezTo>
                  <a:pt x="900154" y="1134245"/>
                  <a:pt x="900154" y="1132422"/>
                  <a:pt x="901976" y="1130600"/>
                </a:cubicBezTo>
                <a:cubicBezTo>
                  <a:pt x="900154" y="1128778"/>
                  <a:pt x="900154" y="1132422"/>
                  <a:pt x="898333" y="1130600"/>
                </a:cubicBezTo>
                <a:close/>
                <a:moveTo>
                  <a:pt x="191329" y="1130600"/>
                </a:moveTo>
                <a:cubicBezTo>
                  <a:pt x="196795" y="1136067"/>
                  <a:pt x="207728" y="1145178"/>
                  <a:pt x="215017" y="1137889"/>
                </a:cubicBezTo>
                <a:cubicBezTo>
                  <a:pt x="205906" y="1132422"/>
                  <a:pt x="200439" y="1136067"/>
                  <a:pt x="191329" y="1130600"/>
                </a:cubicBezTo>
                <a:close/>
                <a:moveTo>
                  <a:pt x="3034972" y="1130380"/>
                </a:moveTo>
                <a:lnTo>
                  <a:pt x="3037564" y="1132422"/>
                </a:lnTo>
                <a:lnTo>
                  <a:pt x="3035742" y="1133151"/>
                </a:lnTo>
                <a:close/>
                <a:moveTo>
                  <a:pt x="850272" y="1130144"/>
                </a:moveTo>
                <a:cubicBezTo>
                  <a:pt x="848222" y="1130600"/>
                  <a:pt x="846400" y="1132422"/>
                  <a:pt x="845489" y="1136067"/>
                </a:cubicBezTo>
                <a:cubicBezTo>
                  <a:pt x="849133" y="1136067"/>
                  <a:pt x="841845" y="1139711"/>
                  <a:pt x="849133" y="1141533"/>
                </a:cubicBezTo>
                <a:cubicBezTo>
                  <a:pt x="852778" y="1141533"/>
                  <a:pt x="854600" y="1136067"/>
                  <a:pt x="856422" y="1132422"/>
                </a:cubicBezTo>
                <a:cubicBezTo>
                  <a:pt x="854600" y="1130600"/>
                  <a:pt x="852322" y="1129689"/>
                  <a:pt x="850272" y="1130144"/>
                </a:cubicBezTo>
                <a:close/>
                <a:moveTo>
                  <a:pt x="1026567" y="1129461"/>
                </a:moveTo>
                <a:cubicBezTo>
                  <a:pt x="1023151" y="1128778"/>
                  <a:pt x="1018596" y="1129689"/>
                  <a:pt x="1013129" y="1132422"/>
                </a:cubicBezTo>
                <a:cubicBezTo>
                  <a:pt x="1013129" y="1132422"/>
                  <a:pt x="1013129" y="1134245"/>
                  <a:pt x="1014951" y="1136067"/>
                </a:cubicBezTo>
                <a:cubicBezTo>
                  <a:pt x="1016774" y="1141533"/>
                  <a:pt x="1018596" y="1147000"/>
                  <a:pt x="1024062" y="1143355"/>
                </a:cubicBezTo>
                <a:cubicBezTo>
                  <a:pt x="1025884" y="1145178"/>
                  <a:pt x="1022240" y="1145178"/>
                  <a:pt x="1022240" y="1147000"/>
                </a:cubicBezTo>
                <a:cubicBezTo>
                  <a:pt x="1022240" y="1148822"/>
                  <a:pt x="1024062" y="1147000"/>
                  <a:pt x="1024062" y="1148822"/>
                </a:cubicBezTo>
                <a:cubicBezTo>
                  <a:pt x="1027707" y="1145178"/>
                  <a:pt x="1029529" y="1143355"/>
                  <a:pt x="1034995" y="1139711"/>
                </a:cubicBezTo>
                <a:cubicBezTo>
                  <a:pt x="1033173" y="1139711"/>
                  <a:pt x="1033173" y="1137889"/>
                  <a:pt x="1033173" y="1137889"/>
                </a:cubicBezTo>
                <a:cubicBezTo>
                  <a:pt x="1033173" y="1139711"/>
                  <a:pt x="1036818" y="1137889"/>
                  <a:pt x="1036818" y="1136067"/>
                </a:cubicBezTo>
                <a:lnTo>
                  <a:pt x="1033173" y="1136067"/>
                </a:lnTo>
                <a:cubicBezTo>
                  <a:pt x="1032262" y="1132422"/>
                  <a:pt x="1029984" y="1130145"/>
                  <a:pt x="1026567" y="1129461"/>
                </a:cubicBezTo>
                <a:close/>
                <a:moveTo>
                  <a:pt x="2319628" y="1128778"/>
                </a:moveTo>
                <a:cubicBezTo>
                  <a:pt x="2319628" y="1132422"/>
                  <a:pt x="2321450" y="1134245"/>
                  <a:pt x="2325094" y="1134245"/>
                </a:cubicBezTo>
                <a:cubicBezTo>
                  <a:pt x="2323272" y="1132422"/>
                  <a:pt x="2325094" y="1126956"/>
                  <a:pt x="2319628" y="1128778"/>
                </a:cubicBezTo>
                <a:close/>
                <a:moveTo>
                  <a:pt x="1042284" y="1128778"/>
                </a:moveTo>
                <a:cubicBezTo>
                  <a:pt x="1040462" y="1126956"/>
                  <a:pt x="1036818" y="1126956"/>
                  <a:pt x="1034995" y="1130600"/>
                </a:cubicBezTo>
                <a:cubicBezTo>
                  <a:pt x="1036818" y="1132422"/>
                  <a:pt x="1036818" y="1132422"/>
                  <a:pt x="1038639" y="1134245"/>
                </a:cubicBezTo>
                <a:cubicBezTo>
                  <a:pt x="1042284" y="1134245"/>
                  <a:pt x="1042284" y="1130600"/>
                  <a:pt x="1045929" y="1128778"/>
                </a:cubicBezTo>
                <a:cubicBezTo>
                  <a:pt x="1042284" y="1126956"/>
                  <a:pt x="1040462" y="1132422"/>
                  <a:pt x="1038639" y="1134245"/>
                </a:cubicBezTo>
                <a:cubicBezTo>
                  <a:pt x="1040462" y="1132422"/>
                  <a:pt x="1042284" y="1130600"/>
                  <a:pt x="1042284" y="1128778"/>
                </a:cubicBezTo>
                <a:close/>
                <a:moveTo>
                  <a:pt x="841845" y="1128778"/>
                </a:moveTo>
                <a:cubicBezTo>
                  <a:pt x="841845" y="1134245"/>
                  <a:pt x="841845" y="1132422"/>
                  <a:pt x="845489" y="1130600"/>
                </a:cubicBezTo>
                <a:cubicBezTo>
                  <a:pt x="845489" y="1128778"/>
                  <a:pt x="843667" y="1128778"/>
                  <a:pt x="841845" y="1128778"/>
                </a:cubicBezTo>
                <a:close/>
                <a:moveTo>
                  <a:pt x="138486" y="1128778"/>
                </a:moveTo>
                <a:lnTo>
                  <a:pt x="142076" y="1130573"/>
                </a:lnTo>
                <a:lnTo>
                  <a:pt x="146768" y="1134410"/>
                </a:lnTo>
                <a:close/>
                <a:moveTo>
                  <a:pt x="418872" y="1127867"/>
                </a:moveTo>
                <a:cubicBezTo>
                  <a:pt x="416367" y="1127867"/>
                  <a:pt x="415456" y="1129689"/>
                  <a:pt x="420923" y="1134245"/>
                </a:cubicBezTo>
                <a:cubicBezTo>
                  <a:pt x="422745" y="1132422"/>
                  <a:pt x="424567" y="1132422"/>
                  <a:pt x="426389" y="1132422"/>
                </a:cubicBezTo>
                <a:cubicBezTo>
                  <a:pt x="425478" y="1129689"/>
                  <a:pt x="421379" y="1127867"/>
                  <a:pt x="418872" y="1127867"/>
                </a:cubicBezTo>
                <a:close/>
                <a:moveTo>
                  <a:pt x="3358267" y="1126956"/>
                </a:moveTo>
                <a:lnTo>
                  <a:pt x="3357554" y="1128362"/>
                </a:lnTo>
                <a:lnTo>
                  <a:pt x="3356081" y="1127503"/>
                </a:lnTo>
                <a:close/>
                <a:moveTo>
                  <a:pt x="2935523" y="1126956"/>
                </a:moveTo>
                <a:lnTo>
                  <a:pt x="2936219" y="1128027"/>
                </a:lnTo>
                <a:lnTo>
                  <a:pt x="2935423" y="1127955"/>
                </a:lnTo>
                <a:close/>
                <a:moveTo>
                  <a:pt x="1516049" y="1126956"/>
                </a:moveTo>
                <a:cubicBezTo>
                  <a:pt x="1517871" y="1125134"/>
                  <a:pt x="1517871" y="1128778"/>
                  <a:pt x="1516049" y="1128778"/>
                </a:cubicBezTo>
                <a:lnTo>
                  <a:pt x="1513138" y="1133145"/>
                </a:lnTo>
                <a:lnTo>
                  <a:pt x="1503522" y="1136067"/>
                </a:lnTo>
                <a:cubicBezTo>
                  <a:pt x="1497372" y="1136067"/>
                  <a:pt x="1491449" y="1135156"/>
                  <a:pt x="1486895" y="1136067"/>
                </a:cubicBezTo>
                <a:cubicBezTo>
                  <a:pt x="1483250" y="1136067"/>
                  <a:pt x="1481428" y="1137889"/>
                  <a:pt x="1477784" y="1139711"/>
                </a:cubicBezTo>
                <a:lnTo>
                  <a:pt x="1476119" y="1139949"/>
                </a:lnTo>
                <a:lnTo>
                  <a:pt x="1493779" y="1132590"/>
                </a:lnTo>
                <a:lnTo>
                  <a:pt x="1492361" y="1134245"/>
                </a:lnTo>
                <a:cubicBezTo>
                  <a:pt x="1499650" y="1136067"/>
                  <a:pt x="1508760" y="1134245"/>
                  <a:pt x="1516049" y="1126956"/>
                </a:cubicBezTo>
                <a:close/>
                <a:moveTo>
                  <a:pt x="1056861" y="1126956"/>
                </a:moveTo>
                <a:cubicBezTo>
                  <a:pt x="1053217" y="1128778"/>
                  <a:pt x="1045929" y="1130600"/>
                  <a:pt x="1047750" y="1136067"/>
                </a:cubicBezTo>
                <a:cubicBezTo>
                  <a:pt x="1051395" y="1132422"/>
                  <a:pt x="1058683" y="1132422"/>
                  <a:pt x="1056861" y="1126956"/>
                </a:cubicBezTo>
                <a:close/>
                <a:moveTo>
                  <a:pt x="836378" y="1126956"/>
                </a:moveTo>
                <a:cubicBezTo>
                  <a:pt x="836378" y="1130600"/>
                  <a:pt x="838200" y="1132422"/>
                  <a:pt x="841845" y="1134245"/>
                </a:cubicBezTo>
                <a:cubicBezTo>
                  <a:pt x="843667" y="1132422"/>
                  <a:pt x="840022" y="1128778"/>
                  <a:pt x="840022" y="1126956"/>
                </a:cubicBezTo>
                <a:cubicBezTo>
                  <a:pt x="838200" y="1126956"/>
                  <a:pt x="838200" y="1128778"/>
                  <a:pt x="836378" y="1126956"/>
                </a:cubicBezTo>
                <a:close/>
                <a:moveTo>
                  <a:pt x="530253" y="1126956"/>
                </a:moveTo>
                <a:cubicBezTo>
                  <a:pt x="532075" y="1132422"/>
                  <a:pt x="541186" y="1132422"/>
                  <a:pt x="546653" y="1134245"/>
                </a:cubicBezTo>
                <a:cubicBezTo>
                  <a:pt x="544830" y="1128778"/>
                  <a:pt x="535719" y="1128778"/>
                  <a:pt x="530253" y="1126956"/>
                </a:cubicBezTo>
                <a:close/>
                <a:moveTo>
                  <a:pt x="521142" y="1126956"/>
                </a:moveTo>
                <a:cubicBezTo>
                  <a:pt x="521142" y="1128778"/>
                  <a:pt x="521142" y="1128778"/>
                  <a:pt x="519320" y="1128778"/>
                </a:cubicBezTo>
                <a:cubicBezTo>
                  <a:pt x="521142" y="1132422"/>
                  <a:pt x="528431" y="1134245"/>
                  <a:pt x="530253" y="1132422"/>
                </a:cubicBezTo>
                <a:cubicBezTo>
                  <a:pt x="526609" y="1130600"/>
                  <a:pt x="526609" y="1128778"/>
                  <a:pt x="521142" y="1126956"/>
                </a:cubicBezTo>
                <a:close/>
                <a:moveTo>
                  <a:pt x="373546" y="1126956"/>
                </a:moveTo>
                <a:cubicBezTo>
                  <a:pt x="379012" y="1128778"/>
                  <a:pt x="382657" y="1130600"/>
                  <a:pt x="386301" y="1130600"/>
                </a:cubicBezTo>
                <a:cubicBezTo>
                  <a:pt x="384479" y="1128778"/>
                  <a:pt x="375368" y="1125134"/>
                  <a:pt x="373546" y="1126956"/>
                </a:cubicBezTo>
                <a:close/>
                <a:moveTo>
                  <a:pt x="937964" y="1126728"/>
                </a:moveTo>
                <a:cubicBezTo>
                  <a:pt x="936143" y="1126045"/>
                  <a:pt x="933864" y="1126956"/>
                  <a:pt x="932953" y="1130600"/>
                </a:cubicBezTo>
                <a:cubicBezTo>
                  <a:pt x="936598" y="1132422"/>
                  <a:pt x="938420" y="1132422"/>
                  <a:pt x="940242" y="1132422"/>
                </a:cubicBezTo>
                <a:cubicBezTo>
                  <a:pt x="941153" y="1129689"/>
                  <a:pt x="939786" y="1127411"/>
                  <a:pt x="937964" y="1126728"/>
                </a:cubicBezTo>
                <a:close/>
                <a:moveTo>
                  <a:pt x="1499819" y="1125542"/>
                </a:moveTo>
                <a:lnTo>
                  <a:pt x="1499877" y="1125817"/>
                </a:lnTo>
                <a:lnTo>
                  <a:pt x="1493871" y="1132552"/>
                </a:lnTo>
                <a:lnTo>
                  <a:pt x="1493779" y="1132590"/>
                </a:lnTo>
                <a:close/>
                <a:moveTo>
                  <a:pt x="1231790" y="1125134"/>
                </a:moveTo>
                <a:cubicBezTo>
                  <a:pt x="1231790" y="1125134"/>
                  <a:pt x="1231790" y="1128778"/>
                  <a:pt x="1233612" y="1130600"/>
                </a:cubicBezTo>
                <a:cubicBezTo>
                  <a:pt x="1229969" y="1132422"/>
                  <a:pt x="1229969" y="1134245"/>
                  <a:pt x="1228146" y="1136067"/>
                </a:cubicBezTo>
                <a:cubicBezTo>
                  <a:pt x="1229969" y="1132422"/>
                  <a:pt x="1228146" y="1132422"/>
                  <a:pt x="1231790" y="1130600"/>
                </a:cubicBezTo>
                <a:cubicBezTo>
                  <a:pt x="1231790" y="1128778"/>
                  <a:pt x="1229969" y="1126956"/>
                  <a:pt x="1231790" y="1125134"/>
                </a:cubicBezTo>
                <a:close/>
                <a:moveTo>
                  <a:pt x="3414754" y="1123312"/>
                </a:moveTo>
                <a:cubicBezTo>
                  <a:pt x="3416577" y="1123312"/>
                  <a:pt x="3414754" y="1126956"/>
                  <a:pt x="3412932" y="1128778"/>
                </a:cubicBezTo>
                <a:cubicBezTo>
                  <a:pt x="3418399" y="1132422"/>
                  <a:pt x="3423865" y="1132422"/>
                  <a:pt x="3423865" y="1139711"/>
                </a:cubicBezTo>
                <a:cubicBezTo>
                  <a:pt x="3423865" y="1141533"/>
                  <a:pt x="3423865" y="1141533"/>
                  <a:pt x="3422043" y="1143355"/>
                </a:cubicBezTo>
                <a:cubicBezTo>
                  <a:pt x="3422043" y="1139711"/>
                  <a:pt x="3422043" y="1136067"/>
                  <a:pt x="3420221" y="1136067"/>
                </a:cubicBezTo>
                <a:cubicBezTo>
                  <a:pt x="3412932" y="1134245"/>
                  <a:pt x="3420221" y="1145178"/>
                  <a:pt x="3420221" y="1148822"/>
                </a:cubicBezTo>
                <a:cubicBezTo>
                  <a:pt x="3412932" y="1148822"/>
                  <a:pt x="3407466" y="1148822"/>
                  <a:pt x="3400177" y="1150644"/>
                </a:cubicBezTo>
                <a:cubicBezTo>
                  <a:pt x="3396532" y="1150644"/>
                  <a:pt x="3398355" y="1143355"/>
                  <a:pt x="3394710" y="1143355"/>
                </a:cubicBezTo>
                <a:cubicBezTo>
                  <a:pt x="3392888" y="1143355"/>
                  <a:pt x="3391066" y="1143355"/>
                  <a:pt x="3391066" y="1145178"/>
                </a:cubicBezTo>
                <a:cubicBezTo>
                  <a:pt x="3391066" y="1148822"/>
                  <a:pt x="3394710" y="1147000"/>
                  <a:pt x="3396532" y="1147000"/>
                </a:cubicBezTo>
                <a:cubicBezTo>
                  <a:pt x="3381955" y="1156111"/>
                  <a:pt x="3381955" y="1167044"/>
                  <a:pt x="3389244" y="1181621"/>
                </a:cubicBezTo>
                <a:cubicBezTo>
                  <a:pt x="3381955" y="1181621"/>
                  <a:pt x="3372844" y="1176155"/>
                  <a:pt x="3374666" y="1170688"/>
                </a:cubicBezTo>
                <a:lnTo>
                  <a:pt x="3381506" y="1145039"/>
                </a:lnTo>
                <a:lnTo>
                  <a:pt x="3383550" y="1144950"/>
                </a:lnTo>
                <a:cubicBezTo>
                  <a:pt x="3385600" y="1144722"/>
                  <a:pt x="3387422" y="1144266"/>
                  <a:pt x="3387422" y="1143355"/>
                </a:cubicBezTo>
                <a:cubicBezTo>
                  <a:pt x="3389244" y="1137889"/>
                  <a:pt x="3381955" y="1143355"/>
                  <a:pt x="3380133" y="1137889"/>
                </a:cubicBezTo>
                <a:cubicBezTo>
                  <a:pt x="3385600" y="1139711"/>
                  <a:pt x="3387422" y="1134245"/>
                  <a:pt x="3385600" y="1130600"/>
                </a:cubicBezTo>
                <a:cubicBezTo>
                  <a:pt x="3394710" y="1136067"/>
                  <a:pt x="3403821" y="1123312"/>
                  <a:pt x="3414754" y="1123312"/>
                </a:cubicBezTo>
                <a:close/>
                <a:moveTo>
                  <a:pt x="3363734" y="1123312"/>
                </a:moveTo>
                <a:cubicBezTo>
                  <a:pt x="3361911" y="1125134"/>
                  <a:pt x="3361911" y="1126956"/>
                  <a:pt x="3361911" y="1128778"/>
                </a:cubicBezTo>
                <a:cubicBezTo>
                  <a:pt x="3367378" y="1128778"/>
                  <a:pt x="3369200" y="1121489"/>
                  <a:pt x="3363734" y="1123312"/>
                </a:cubicBezTo>
                <a:close/>
                <a:moveTo>
                  <a:pt x="1126104" y="1123312"/>
                </a:moveTo>
                <a:cubicBezTo>
                  <a:pt x="1122459" y="1123312"/>
                  <a:pt x="1124282" y="1126956"/>
                  <a:pt x="1120637" y="1128778"/>
                </a:cubicBezTo>
                <a:cubicBezTo>
                  <a:pt x="1122459" y="1130600"/>
                  <a:pt x="1122459" y="1130600"/>
                  <a:pt x="1124282" y="1130600"/>
                </a:cubicBezTo>
                <a:cubicBezTo>
                  <a:pt x="1127926" y="1128778"/>
                  <a:pt x="1126104" y="1125134"/>
                  <a:pt x="1126104" y="1123312"/>
                </a:cubicBezTo>
                <a:close/>
                <a:moveTo>
                  <a:pt x="1031351" y="1123312"/>
                </a:moveTo>
                <a:cubicBezTo>
                  <a:pt x="1029529" y="1126956"/>
                  <a:pt x="1029529" y="1123312"/>
                  <a:pt x="1027707" y="1125134"/>
                </a:cubicBezTo>
                <a:cubicBezTo>
                  <a:pt x="1027707" y="1126956"/>
                  <a:pt x="1027707" y="1128778"/>
                  <a:pt x="1027707" y="1128778"/>
                </a:cubicBezTo>
                <a:cubicBezTo>
                  <a:pt x="1029529" y="1125134"/>
                  <a:pt x="1031351" y="1128778"/>
                  <a:pt x="1033173" y="1125134"/>
                </a:cubicBezTo>
                <a:cubicBezTo>
                  <a:pt x="1033173" y="1125134"/>
                  <a:pt x="1031351" y="1123312"/>
                  <a:pt x="1031351" y="1123312"/>
                </a:cubicBezTo>
                <a:close/>
                <a:moveTo>
                  <a:pt x="976686" y="1123312"/>
                </a:moveTo>
                <a:cubicBezTo>
                  <a:pt x="976686" y="1123312"/>
                  <a:pt x="974863" y="1125134"/>
                  <a:pt x="973041" y="1125134"/>
                </a:cubicBezTo>
                <a:cubicBezTo>
                  <a:pt x="974863" y="1126956"/>
                  <a:pt x="976686" y="1125134"/>
                  <a:pt x="976686" y="1126956"/>
                </a:cubicBezTo>
                <a:cubicBezTo>
                  <a:pt x="978508" y="1125134"/>
                  <a:pt x="974863" y="1123312"/>
                  <a:pt x="976686" y="1123312"/>
                </a:cubicBezTo>
                <a:close/>
                <a:moveTo>
                  <a:pt x="883755" y="1123312"/>
                </a:moveTo>
                <a:cubicBezTo>
                  <a:pt x="881933" y="1121489"/>
                  <a:pt x="880111" y="1125134"/>
                  <a:pt x="880111" y="1126956"/>
                </a:cubicBezTo>
                <a:cubicBezTo>
                  <a:pt x="881933" y="1128778"/>
                  <a:pt x="881933" y="1128778"/>
                  <a:pt x="883755" y="1128778"/>
                </a:cubicBezTo>
                <a:cubicBezTo>
                  <a:pt x="883755" y="1126956"/>
                  <a:pt x="881933" y="1125134"/>
                  <a:pt x="883755" y="1123312"/>
                </a:cubicBezTo>
                <a:close/>
                <a:moveTo>
                  <a:pt x="805401" y="1123312"/>
                </a:moveTo>
                <a:cubicBezTo>
                  <a:pt x="799935" y="1128778"/>
                  <a:pt x="809046" y="1134245"/>
                  <a:pt x="810868" y="1139711"/>
                </a:cubicBezTo>
                <a:cubicBezTo>
                  <a:pt x="810868" y="1139711"/>
                  <a:pt x="812690" y="1137889"/>
                  <a:pt x="814512" y="1136067"/>
                </a:cubicBezTo>
                <a:cubicBezTo>
                  <a:pt x="814512" y="1130600"/>
                  <a:pt x="809046" y="1125134"/>
                  <a:pt x="805401" y="1123312"/>
                </a:cubicBezTo>
                <a:close/>
                <a:moveTo>
                  <a:pt x="1225230" y="1122947"/>
                </a:moveTo>
                <a:lnTo>
                  <a:pt x="1226655" y="1123422"/>
                </a:lnTo>
                <a:lnTo>
                  <a:pt x="1224501" y="1123312"/>
                </a:lnTo>
                <a:close/>
                <a:moveTo>
                  <a:pt x="3068541" y="1121489"/>
                </a:moveTo>
                <a:lnTo>
                  <a:pt x="3070487" y="1123218"/>
                </a:lnTo>
                <a:lnTo>
                  <a:pt x="3070363" y="1125134"/>
                </a:lnTo>
                <a:cubicBezTo>
                  <a:pt x="3070363" y="1123312"/>
                  <a:pt x="3070363" y="1121489"/>
                  <a:pt x="3068541" y="1121489"/>
                </a:cubicBezTo>
                <a:close/>
                <a:moveTo>
                  <a:pt x="2314161" y="1121489"/>
                </a:moveTo>
                <a:cubicBezTo>
                  <a:pt x="2312339" y="1123312"/>
                  <a:pt x="2308695" y="1128778"/>
                  <a:pt x="2314161" y="1126956"/>
                </a:cubicBezTo>
                <a:cubicBezTo>
                  <a:pt x="2315983" y="1125134"/>
                  <a:pt x="2315983" y="1123312"/>
                  <a:pt x="2314161" y="1121489"/>
                </a:cubicBezTo>
                <a:close/>
                <a:moveTo>
                  <a:pt x="2223053" y="1121489"/>
                </a:moveTo>
                <a:cubicBezTo>
                  <a:pt x="2219408" y="1123312"/>
                  <a:pt x="2215764" y="1134245"/>
                  <a:pt x="2217586" y="1136067"/>
                </a:cubicBezTo>
                <a:cubicBezTo>
                  <a:pt x="2223053" y="1134245"/>
                  <a:pt x="2221230" y="1126956"/>
                  <a:pt x="2223053" y="1121489"/>
                </a:cubicBezTo>
                <a:close/>
                <a:moveTo>
                  <a:pt x="1291922" y="1121489"/>
                </a:moveTo>
                <a:cubicBezTo>
                  <a:pt x="1286455" y="1123312"/>
                  <a:pt x="1280989" y="1126956"/>
                  <a:pt x="1273700" y="1130600"/>
                </a:cubicBezTo>
                <a:cubicBezTo>
                  <a:pt x="1279166" y="1136067"/>
                  <a:pt x="1286455" y="1125134"/>
                  <a:pt x="1291922" y="1121489"/>
                </a:cubicBezTo>
                <a:close/>
                <a:moveTo>
                  <a:pt x="1084194" y="1121489"/>
                </a:moveTo>
                <a:lnTo>
                  <a:pt x="1084308" y="1123084"/>
                </a:lnTo>
                <a:lnTo>
                  <a:pt x="1082373" y="1126956"/>
                </a:lnTo>
                <a:lnTo>
                  <a:pt x="1080640" y="1127533"/>
                </a:lnTo>
                <a:lnTo>
                  <a:pt x="1080549" y="1127184"/>
                </a:lnTo>
                <a:cubicBezTo>
                  <a:pt x="1081461" y="1124678"/>
                  <a:pt x="1083283" y="1122400"/>
                  <a:pt x="1084194" y="1121489"/>
                </a:cubicBezTo>
                <a:close/>
                <a:moveTo>
                  <a:pt x="1034995" y="1121489"/>
                </a:moveTo>
                <a:cubicBezTo>
                  <a:pt x="1038639" y="1123312"/>
                  <a:pt x="1040462" y="1123312"/>
                  <a:pt x="1042284" y="1125134"/>
                </a:cubicBezTo>
                <a:cubicBezTo>
                  <a:pt x="1044106" y="1123312"/>
                  <a:pt x="1038639" y="1119667"/>
                  <a:pt x="1034995" y="1121489"/>
                </a:cubicBezTo>
                <a:close/>
                <a:moveTo>
                  <a:pt x="1033173" y="1121489"/>
                </a:moveTo>
                <a:cubicBezTo>
                  <a:pt x="1033173" y="1123312"/>
                  <a:pt x="1033173" y="1125134"/>
                  <a:pt x="1034995" y="1126956"/>
                </a:cubicBezTo>
                <a:cubicBezTo>
                  <a:pt x="1034995" y="1125134"/>
                  <a:pt x="1036818" y="1125134"/>
                  <a:pt x="1036818" y="1123312"/>
                </a:cubicBezTo>
                <a:cubicBezTo>
                  <a:pt x="1034995" y="1121489"/>
                  <a:pt x="1034995" y="1123312"/>
                  <a:pt x="1033173" y="1121489"/>
                </a:cubicBezTo>
                <a:close/>
                <a:moveTo>
                  <a:pt x="920198" y="1121489"/>
                </a:moveTo>
                <a:cubicBezTo>
                  <a:pt x="911087" y="1130600"/>
                  <a:pt x="920198" y="1123312"/>
                  <a:pt x="920198" y="1125134"/>
                </a:cubicBezTo>
                <a:cubicBezTo>
                  <a:pt x="920198" y="1125134"/>
                  <a:pt x="920198" y="1123312"/>
                  <a:pt x="920198" y="1121489"/>
                </a:cubicBezTo>
                <a:close/>
                <a:moveTo>
                  <a:pt x="790824" y="1121489"/>
                </a:moveTo>
                <a:cubicBezTo>
                  <a:pt x="790824" y="1125134"/>
                  <a:pt x="792646" y="1132422"/>
                  <a:pt x="796290" y="1132422"/>
                </a:cubicBezTo>
                <a:cubicBezTo>
                  <a:pt x="798112" y="1126956"/>
                  <a:pt x="794468" y="1125134"/>
                  <a:pt x="790824" y="1121489"/>
                </a:cubicBezTo>
                <a:close/>
                <a:moveTo>
                  <a:pt x="641407" y="1121489"/>
                </a:moveTo>
                <a:cubicBezTo>
                  <a:pt x="637761" y="1123312"/>
                  <a:pt x="637761" y="1125134"/>
                  <a:pt x="637761" y="1126956"/>
                </a:cubicBezTo>
                <a:cubicBezTo>
                  <a:pt x="641407" y="1130600"/>
                  <a:pt x="645050" y="1132422"/>
                  <a:pt x="648694" y="1128778"/>
                </a:cubicBezTo>
                <a:cubicBezTo>
                  <a:pt x="648694" y="1125134"/>
                  <a:pt x="643228" y="1125134"/>
                  <a:pt x="641407" y="1121489"/>
                </a:cubicBezTo>
                <a:close/>
                <a:moveTo>
                  <a:pt x="298837" y="1121489"/>
                </a:moveTo>
                <a:cubicBezTo>
                  <a:pt x="300660" y="1125134"/>
                  <a:pt x="307948" y="1130600"/>
                  <a:pt x="313414" y="1134245"/>
                </a:cubicBezTo>
                <a:cubicBezTo>
                  <a:pt x="311592" y="1126956"/>
                  <a:pt x="304303" y="1126956"/>
                  <a:pt x="298837" y="1121489"/>
                </a:cubicBezTo>
                <a:close/>
                <a:moveTo>
                  <a:pt x="3045945" y="1121257"/>
                </a:moveTo>
                <a:lnTo>
                  <a:pt x="3048497" y="1123312"/>
                </a:lnTo>
                <a:cubicBezTo>
                  <a:pt x="3046675" y="1125134"/>
                  <a:pt x="3047587" y="1129234"/>
                  <a:pt x="3048498" y="1133561"/>
                </a:cubicBezTo>
                <a:lnTo>
                  <a:pt x="3048498" y="1134245"/>
                </a:lnTo>
                <a:lnTo>
                  <a:pt x="3048497" y="1134245"/>
                </a:lnTo>
                <a:cubicBezTo>
                  <a:pt x="3049408" y="1128778"/>
                  <a:pt x="3047586" y="1125134"/>
                  <a:pt x="3045992" y="1121717"/>
                </a:cubicBezTo>
                <a:close/>
                <a:moveTo>
                  <a:pt x="1130963" y="1120882"/>
                </a:moveTo>
                <a:lnTo>
                  <a:pt x="1132709" y="1122628"/>
                </a:lnTo>
                <a:cubicBezTo>
                  <a:pt x="1133392" y="1123767"/>
                  <a:pt x="1134303" y="1125134"/>
                  <a:pt x="1137037" y="1126956"/>
                </a:cubicBezTo>
                <a:cubicBezTo>
                  <a:pt x="1138859" y="1130600"/>
                  <a:pt x="1144326" y="1136067"/>
                  <a:pt x="1142503" y="1139711"/>
                </a:cubicBezTo>
                <a:lnTo>
                  <a:pt x="1138003" y="1136898"/>
                </a:lnTo>
                <a:lnTo>
                  <a:pt x="1135670" y="1129234"/>
                </a:lnTo>
                <a:lnTo>
                  <a:pt x="1135275" y="1128717"/>
                </a:lnTo>
                <a:lnTo>
                  <a:pt x="1129748" y="1121489"/>
                </a:lnTo>
                <a:close/>
                <a:moveTo>
                  <a:pt x="3329112" y="1119667"/>
                </a:moveTo>
                <a:lnTo>
                  <a:pt x="3331299" y="1125134"/>
                </a:lnTo>
                <a:lnTo>
                  <a:pt x="3329112" y="1125134"/>
                </a:lnTo>
                <a:lnTo>
                  <a:pt x="3331542" y="1125741"/>
                </a:lnTo>
                <a:lnTo>
                  <a:pt x="3332425" y="1127950"/>
                </a:lnTo>
                <a:lnTo>
                  <a:pt x="3331797" y="1128107"/>
                </a:lnTo>
                <a:lnTo>
                  <a:pt x="3328325" y="1125675"/>
                </a:lnTo>
                <a:lnTo>
                  <a:pt x="3328239" y="1125341"/>
                </a:lnTo>
                <a:close/>
                <a:moveTo>
                  <a:pt x="2924590" y="1119667"/>
                </a:moveTo>
                <a:lnTo>
                  <a:pt x="2926379" y="1120043"/>
                </a:lnTo>
                <a:lnTo>
                  <a:pt x="2927337" y="1122671"/>
                </a:lnTo>
                <a:close/>
                <a:moveTo>
                  <a:pt x="2239452" y="1119667"/>
                </a:moveTo>
                <a:cubicBezTo>
                  <a:pt x="2239452" y="1125134"/>
                  <a:pt x="2239452" y="1128778"/>
                  <a:pt x="2243096" y="1126956"/>
                </a:cubicBezTo>
                <a:cubicBezTo>
                  <a:pt x="2243096" y="1121489"/>
                  <a:pt x="2244919" y="1125134"/>
                  <a:pt x="2248563" y="1125134"/>
                </a:cubicBezTo>
                <a:cubicBezTo>
                  <a:pt x="2250385" y="1123312"/>
                  <a:pt x="2250385" y="1121489"/>
                  <a:pt x="2248563" y="1119667"/>
                </a:cubicBezTo>
                <a:cubicBezTo>
                  <a:pt x="2243096" y="1125134"/>
                  <a:pt x="2246741" y="1119667"/>
                  <a:pt x="2239452" y="1119667"/>
                </a:cubicBezTo>
                <a:close/>
                <a:moveTo>
                  <a:pt x="1258895" y="1119667"/>
                </a:moveTo>
                <a:lnTo>
                  <a:pt x="1273275" y="1119667"/>
                </a:lnTo>
                <a:lnTo>
                  <a:pt x="1262083" y="1124678"/>
                </a:lnTo>
                <a:lnTo>
                  <a:pt x="1248953" y="1127458"/>
                </a:lnTo>
                <a:lnTo>
                  <a:pt x="1242723" y="1125134"/>
                </a:lnTo>
                <a:cubicBezTo>
                  <a:pt x="1247279" y="1123311"/>
                  <a:pt x="1253200" y="1121034"/>
                  <a:pt x="1258895" y="1119667"/>
                </a:cubicBezTo>
                <a:close/>
                <a:moveTo>
                  <a:pt x="1133393" y="1119667"/>
                </a:moveTo>
                <a:lnTo>
                  <a:pt x="1133890" y="1120660"/>
                </a:lnTo>
                <a:lnTo>
                  <a:pt x="1133393" y="1121489"/>
                </a:lnTo>
                <a:lnTo>
                  <a:pt x="1132513" y="1120107"/>
                </a:lnTo>
                <a:close/>
                <a:moveTo>
                  <a:pt x="1086016" y="1119667"/>
                </a:moveTo>
                <a:cubicBezTo>
                  <a:pt x="1073262" y="1121489"/>
                  <a:pt x="1062328" y="1134245"/>
                  <a:pt x="1049573" y="1141533"/>
                </a:cubicBezTo>
                <a:cubicBezTo>
                  <a:pt x="1051395" y="1143355"/>
                  <a:pt x="1051395" y="1147000"/>
                  <a:pt x="1051395" y="1150644"/>
                </a:cubicBezTo>
                <a:cubicBezTo>
                  <a:pt x="1053217" y="1148822"/>
                  <a:pt x="1055040" y="1154288"/>
                  <a:pt x="1058683" y="1157933"/>
                </a:cubicBezTo>
                <a:cubicBezTo>
                  <a:pt x="1062328" y="1156111"/>
                  <a:pt x="1064151" y="1159755"/>
                  <a:pt x="1067794" y="1157933"/>
                </a:cubicBezTo>
                <a:lnTo>
                  <a:pt x="1067794" y="1159755"/>
                </a:lnTo>
                <a:cubicBezTo>
                  <a:pt x="1069616" y="1159755"/>
                  <a:pt x="1071439" y="1159755"/>
                  <a:pt x="1073262" y="1159755"/>
                </a:cubicBezTo>
                <a:cubicBezTo>
                  <a:pt x="1073262" y="1156111"/>
                  <a:pt x="1075083" y="1154288"/>
                  <a:pt x="1075083" y="1150644"/>
                </a:cubicBezTo>
                <a:cubicBezTo>
                  <a:pt x="1076905" y="1150644"/>
                  <a:pt x="1076905" y="1150644"/>
                  <a:pt x="1078727" y="1152466"/>
                </a:cubicBezTo>
                <a:cubicBezTo>
                  <a:pt x="1080549" y="1147000"/>
                  <a:pt x="1082373" y="1141533"/>
                  <a:pt x="1087838" y="1143355"/>
                </a:cubicBezTo>
                <a:lnTo>
                  <a:pt x="1087175" y="1142692"/>
                </a:lnTo>
                <a:lnTo>
                  <a:pt x="1092394" y="1141533"/>
                </a:lnTo>
                <a:lnTo>
                  <a:pt x="1089727" y="1134425"/>
                </a:lnTo>
                <a:lnTo>
                  <a:pt x="1092621" y="1134700"/>
                </a:lnTo>
                <a:cubicBezTo>
                  <a:pt x="1093760" y="1135156"/>
                  <a:pt x="1094216" y="1136067"/>
                  <a:pt x="1093305" y="1137889"/>
                </a:cubicBezTo>
                <a:cubicBezTo>
                  <a:pt x="1100593" y="1134245"/>
                  <a:pt x="1100593" y="1123312"/>
                  <a:pt x="1089660" y="1119667"/>
                </a:cubicBezTo>
                <a:cubicBezTo>
                  <a:pt x="1089660" y="1121489"/>
                  <a:pt x="1087838" y="1125134"/>
                  <a:pt x="1089660" y="1126956"/>
                </a:cubicBezTo>
                <a:lnTo>
                  <a:pt x="1087838" y="1129324"/>
                </a:lnTo>
                <a:lnTo>
                  <a:pt x="1087382" y="1129917"/>
                </a:lnTo>
                <a:cubicBezTo>
                  <a:pt x="1087382" y="1131511"/>
                  <a:pt x="1087838" y="1133333"/>
                  <a:pt x="1087838" y="1134245"/>
                </a:cubicBezTo>
                <a:lnTo>
                  <a:pt x="1089517" y="1134405"/>
                </a:lnTo>
                <a:lnTo>
                  <a:pt x="1085560" y="1138800"/>
                </a:lnTo>
                <a:lnTo>
                  <a:pt x="1085036" y="1140552"/>
                </a:lnTo>
                <a:lnTo>
                  <a:pt x="1084194" y="1139711"/>
                </a:lnTo>
                <a:cubicBezTo>
                  <a:pt x="1080549" y="1141533"/>
                  <a:pt x="1084194" y="1145178"/>
                  <a:pt x="1080549" y="1147000"/>
                </a:cubicBezTo>
                <a:cubicBezTo>
                  <a:pt x="1078727" y="1141533"/>
                  <a:pt x="1084194" y="1137889"/>
                  <a:pt x="1080549" y="1134245"/>
                </a:cubicBezTo>
                <a:cubicBezTo>
                  <a:pt x="1076905" y="1139711"/>
                  <a:pt x="1069616" y="1137889"/>
                  <a:pt x="1067794" y="1145178"/>
                </a:cubicBezTo>
                <a:cubicBezTo>
                  <a:pt x="1065972" y="1141533"/>
                  <a:pt x="1064151" y="1145178"/>
                  <a:pt x="1060506" y="1147000"/>
                </a:cubicBezTo>
                <a:cubicBezTo>
                  <a:pt x="1058683" y="1145178"/>
                  <a:pt x="1062328" y="1143355"/>
                  <a:pt x="1064151" y="1143355"/>
                </a:cubicBezTo>
                <a:cubicBezTo>
                  <a:pt x="1064151" y="1143355"/>
                  <a:pt x="1064151" y="1141533"/>
                  <a:pt x="1062328" y="1139711"/>
                </a:cubicBezTo>
                <a:cubicBezTo>
                  <a:pt x="1064151" y="1137889"/>
                  <a:pt x="1064151" y="1143355"/>
                  <a:pt x="1065972" y="1141533"/>
                </a:cubicBezTo>
                <a:cubicBezTo>
                  <a:pt x="1067794" y="1139711"/>
                  <a:pt x="1065972" y="1137889"/>
                  <a:pt x="1065972" y="1136067"/>
                </a:cubicBezTo>
                <a:cubicBezTo>
                  <a:pt x="1067794" y="1134245"/>
                  <a:pt x="1067794" y="1136067"/>
                  <a:pt x="1069616" y="1134245"/>
                </a:cubicBezTo>
                <a:cubicBezTo>
                  <a:pt x="1071439" y="1136067"/>
                  <a:pt x="1067794" y="1136067"/>
                  <a:pt x="1067794" y="1137889"/>
                </a:cubicBezTo>
                <a:cubicBezTo>
                  <a:pt x="1073262" y="1136067"/>
                  <a:pt x="1076905" y="1132422"/>
                  <a:pt x="1078727" y="1130600"/>
                </a:cubicBezTo>
                <a:cubicBezTo>
                  <a:pt x="1076905" y="1130600"/>
                  <a:pt x="1075083" y="1130600"/>
                  <a:pt x="1075083" y="1132422"/>
                </a:cubicBezTo>
                <a:cubicBezTo>
                  <a:pt x="1075083" y="1128778"/>
                  <a:pt x="1076905" y="1128778"/>
                  <a:pt x="1075083" y="1126956"/>
                </a:cubicBezTo>
                <a:cubicBezTo>
                  <a:pt x="1076905" y="1125134"/>
                  <a:pt x="1075083" y="1128778"/>
                  <a:pt x="1076905" y="1128778"/>
                </a:cubicBezTo>
                <a:lnTo>
                  <a:pt x="1080640" y="1127533"/>
                </a:lnTo>
                <a:lnTo>
                  <a:pt x="1082373" y="1134245"/>
                </a:lnTo>
                <a:cubicBezTo>
                  <a:pt x="1084194" y="1132422"/>
                  <a:pt x="1084649" y="1130145"/>
                  <a:pt x="1084649" y="1127867"/>
                </a:cubicBezTo>
                <a:lnTo>
                  <a:pt x="1084308" y="1123084"/>
                </a:lnTo>
                <a:close/>
                <a:moveTo>
                  <a:pt x="967575" y="1119667"/>
                </a:moveTo>
                <a:cubicBezTo>
                  <a:pt x="965753" y="1117845"/>
                  <a:pt x="952997" y="1136067"/>
                  <a:pt x="962108" y="1126956"/>
                </a:cubicBezTo>
                <a:cubicBezTo>
                  <a:pt x="963930" y="1125134"/>
                  <a:pt x="965753" y="1123312"/>
                  <a:pt x="967575" y="1119667"/>
                </a:cubicBezTo>
                <a:close/>
                <a:moveTo>
                  <a:pt x="931131" y="1119667"/>
                </a:moveTo>
                <a:cubicBezTo>
                  <a:pt x="929309" y="1121489"/>
                  <a:pt x="931131" y="1123312"/>
                  <a:pt x="931131" y="1125134"/>
                </a:cubicBezTo>
                <a:cubicBezTo>
                  <a:pt x="932953" y="1121489"/>
                  <a:pt x="932953" y="1125134"/>
                  <a:pt x="934777" y="1123312"/>
                </a:cubicBezTo>
                <a:cubicBezTo>
                  <a:pt x="934777" y="1121489"/>
                  <a:pt x="932953" y="1119667"/>
                  <a:pt x="931131" y="1119667"/>
                </a:cubicBezTo>
                <a:close/>
                <a:moveTo>
                  <a:pt x="369902" y="1119667"/>
                </a:moveTo>
                <a:cubicBezTo>
                  <a:pt x="368079" y="1119667"/>
                  <a:pt x="375368" y="1125134"/>
                  <a:pt x="375368" y="1123312"/>
                </a:cubicBezTo>
                <a:cubicBezTo>
                  <a:pt x="373546" y="1121489"/>
                  <a:pt x="371724" y="1121489"/>
                  <a:pt x="369902" y="1119667"/>
                </a:cubicBezTo>
                <a:close/>
                <a:moveTo>
                  <a:pt x="262393" y="1119667"/>
                </a:moveTo>
                <a:cubicBezTo>
                  <a:pt x="262393" y="1121489"/>
                  <a:pt x="267860" y="1125134"/>
                  <a:pt x="267860" y="1123312"/>
                </a:cubicBezTo>
                <a:cubicBezTo>
                  <a:pt x="266038" y="1121489"/>
                  <a:pt x="264216" y="1121489"/>
                  <a:pt x="262393" y="1119667"/>
                </a:cubicBezTo>
                <a:close/>
                <a:moveTo>
                  <a:pt x="1274690" y="1119033"/>
                </a:moveTo>
                <a:lnTo>
                  <a:pt x="1273700" y="1119667"/>
                </a:lnTo>
                <a:lnTo>
                  <a:pt x="1273275" y="1119667"/>
                </a:lnTo>
                <a:close/>
                <a:moveTo>
                  <a:pt x="3026670" y="1117944"/>
                </a:moveTo>
                <a:lnTo>
                  <a:pt x="3026727" y="1117967"/>
                </a:lnTo>
                <a:lnTo>
                  <a:pt x="3034148" y="1127411"/>
                </a:lnTo>
                <a:lnTo>
                  <a:pt x="3034972" y="1130380"/>
                </a:lnTo>
                <a:lnTo>
                  <a:pt x="3030048" y="1126500"/>
                </a:lnTo>
                <a:close/>
                <a:moveTo>
                  <a:pt x="1290100" y="1117845"/>
                </a:moveTo>
                <a:cubicBezTo>
                  <a:pt x="1290100" y="1117845"/>
                  <a:pt x="1291922" y="1119667"/>
                  <a:pt x="1291922" y="1119667"/>
                </a:cubicBezTo>
                <a:lnTo>
                  <a:pt x="1291440" y="1119828"/>
                </a:lnTo>
                <a:lnTo>
                  <a:pt x="1288960" y="1119894"/>
                </a:lnTo>
                <a:lnTo>
                  <a:pt x="1287873" y="1120072"/>
                </a:lnTo>
                <a:close/>
                <a:moveTo>
                  <a:pt x="1131570" y="1117845"/>
                </a:moveTo>
                <a:cubicBezTo>
                  <a:pt x="1131570" y="1117845"/>
                  <a:pt x="1133393" y="1117845"/>
                  <a:pt x="1133393" y="1117845"/>
                </a:cubicBezTo>
                <a:lnTo>
                  <a:pt x="1133419" y="1117942"/>
                </a:lnTo>
                <a:close/>
                <a:moveTo>
                  <a:pt x="896510" y="1117845"/>
                </a:moveTo>
                <a:cubicBezTo>
                  <a:pt x="892866" y="1125134"/>
                  <a:pt x="900154" y="1117845"/>
                  <a:pt x="898333" y="1121489"/>
                </a:cubicBezTo>
                <a:cubicBezTo>
                  <a:pt x="900154" y="1121489"/>
                  <a:pt x="896510" y="1119667"/>
                  <a:pt x="896510" y="1117845"/>
                </a:cubicBezTo>
                <a:close/>
                <a:moveTo>
                  <a:pt x="676027" y="1117845"/>
                </a:moveTo>
                <a:cubicBezTo>
                  <a:pt x="668738" y="1128778"/>
                  <a:pt x="683316" y="1137889"/>
                  <a:pt x="688782" y="1139711"/>
                </a:cubicBezTo>
                <a:cubicBezTo>
                  <a:pt x="690604" y="1136067"/>
                  <a:pt x="688782" y="1132422"/>
                  <a:pt x="685138" y="1128778"/>
                </a:cubicBezTo>
                <a:cubicBezTo>
                  <a:pt x="686960" y="1128778"/>
                  <a:pt x="688782" y="1132422"/>
                  <a:pt x="690604" y="1132422"/>
                </a:cubicBezTo>
                <a:cubicBezTo>
                  <a:pt x="690604" y="1125134"/>
                  <a:pt x="685138" y="1126956"/>
                  <a:pt x="681493" y="1126956"/>
                </a:cubicBezTo>
                <a:cubicBezTo>
                  <a:pt x="681493" y="1123312"/>
                  <a:pt x="686960" y="1128778"/>
                  <a:pt x="686960" y="1125134"/>
                </a:cubicBezTo>
                <a:cubicBezTo>
                  <a:pt x="683316" y="1121489"/>
                  <a:pt x="679671" y="1119667"/>
                  <a:pt x="676027" y="1117845"/>
                </a:cubicBezTo>
                <a:close/>
                <a:moveTo>
                  <a:pt x="674205" y="1117845"/>
                </a:moveTo>
                <a:cubicBezTo>
                  <a:pt x="672383" y="1116023"/>
                  <a:pt x="668738" y="1121489"/>
                  <a:pt x="672383" y="1121489"/>
                </a:cubicBezTo>
                <a:cubicBezTo>
                  <a:pt x="674205" y="1121489"/>
                  <a:pt x="672383" y="1119667"/>
                  <a:pt x="674205" y="1117845"/>
                </a:cubicBezTo>
                <a:close/>
                <a:moveTo>
                  <a:pt x="650516" y="1117845"/>
                </a:moveTo>
                <a:cubicBezTo>
                  <a:pt x="646872" y="1126956"/>
                  <a:pt x="652339" y="1123312"/>
                  <a:pt x="655983" y="1125134"/>
                </a:cubicBezTo>
                <a:cubicBezTo>
                  <a:pt x="655983" y="1125134"/>
                  <a:pt x="655983" y="1123312"/>
                  <a:pt x="655983" y="1123312"/>
                </a:cubicBezTo>
                <a:cubicBezTo>
                  <a:pt x="654161" y="1125134"/>
                  <a:pt x="652339" y="1119667"/>
                  <a:pt x="650516" y="1117845"/>
                </a:cubicBezTo>
                <a:close/>
                <a:moveTo>
                  <a:pt x="548475" y="1117845"/>
                </a:moveTo>
                <a:cubicBezTo>
                  <a:pt x="550297" y="1119667"/>
                  <a:pt x="552119" y="1123312"/>
                  <a:pt x="557586" y="1125134"/>
                </a:cubicBezTo>
                <a:cubicBezTo>
                  <a:pt x="559408" y="1123312"/>
                  <a:pt x="557586" y="1123312"/>
                  <a:pt x="559408" y="1121489"/>
                </a:cubicBezTo>
                <a:cubicBezTo>
                  <a:pt x="553941" y="1123312"/>
                  <a:pt x="552119" y="1116023"/>
                  <a:pt x="548475" y="1117845"/>
                </a:cubicBezTo>
                <a:close/>
                <a:moveTo>
                  <a:pt x="528431" y="1117845"/>
                </a:moveTo>
                <a:cubicBezTo>
                  <a:pt x="524786" y="1117845"/>
                  <a:pt x="522964" y="1119667"/>
                  <a:pt x="530253" y="1119667"/>
                </a:cubicBezTo>
                <a:cubicBezTo>
                  <a:pt x="530253" y="1119667"/>
                  <a:pt x="528431" y="1117845"/>
                  <a:pt x="528431" y="1117845"/>
                </a:cubicBezTo>
                <a:close/>
                <a:moveTo>
                  <a:pt x="216839" y="1117845"/>
                </a:moveTo>
                <a:cubicBezTo>
                  <a:pt x="216839" y="1121489"/>
                  <a:pt x="220483" y="1126956"/>
                  <a:pt x="222306" y="1121489"/>
                </a:cubicBezTo>
                <a:cubicBezTo>
                  <a:pt x="220483" y="1119667"/>
                  <a:pt x="218661" y="1121489"/>
                  <a:pt x="216839" y="1117845"/>
                </a:cubicBezTo>
                <a:close/>
                <a:moveTo>
                  <a:pt x="2239452" y="1116023"/>
                </a:moveTo>
                <a:cubicBezTo>
                  <a:pt x="2233986" y="1117845"/>
                  <a:pt x="2228519" y="1123312"/>
                  <a:pt x="2233986" y="1128778"/>
                </a:cubicBezTo>
                <a:cubicBezTo>
                  <a:pt x="2235808" y="1125134"/>
                  <a:pt x="2237630" y="1121489"/>
                  <a:pt x="2239452" y="1116023"/>
                </a:cubicBezTo>
                <a:close/>
                <a:moveTo>
                  <a:pt x="1279394" y="1116023"/>
                </a:moveTo>
                <a:cubicBezTo>
                  <a:pt x="1281900" y="1116023"/>
                  <a:pt x="1284633" y="1116934"/>
                  <a:pt x="1286455" y="1117845"/>
                </a:cubicBezTo>
                <a:lnTo>
                  <a:pt x="1283776" y="1120739"/>
                </a:lnTo>
                <a:lnTo>
                  <a:pt x="1279166" y="1121489"/>
                </a:lnTo>
                <a:cubicBezTo>
                  <a:pt x="1279166" y="1119667"/>
                  <a:pt x="1277344" y="1119667"/>
                  <a:pt x="1277344" y="1117845"/>
                </a:cubicBezTo>
                <a:lnTo>
                  <a:pt x="1274690" y="1119033"/>
                </a:lnTo>
                <a:close/>
                <a:moveTo>
                  <a:pt x="716115" y="1116023"/>
                </a:moveTo>
                <a:cubicBezTo>
                  <a:pt x="717937" y="1119667"/>
                  <a:pt x="721581" y="1121489"/>
                  <a:pt x="723404" y="1121489"/>
                </a:cubicBezTo>
                <a:cubicBezTo>
                  <a:pt x="721581" y="1125134"/>
                  <a:pt x="717937" y="1123312"/>
                  <a:pt x="716115" y="1123312"/>
                </a:cubicBezTo>
                <a:cubicBezTo>
                  <a:pt x="716115" y="1125134"/>
                  <a:pt x="717937" y="1126956"/>
                  <a:pt x="719759" y="1128778"/>
                </a:cubicBezTo>
                <a:cubicBezTo>
                  <a:pt x="721581" y="1128778"/>
                  <a:pt x="717937" y="1126956"/>
                  <a:pt x="719759" y="1125134"/>
                </a:cubicBezTo>
                <a:cubicBezTo>
                  <a:pt x="721581" y="1126956"/>
                  <a:pt x="725226" y="1139711"/>
                  <a:pt x="730692" y="1137889"/>
                </a:cubicBezTo>
                <a:cubicBezTo>
                  <a:pt x="730692" y="1134245"/>
                  <a:pt x="727048" y="1128778"/>
                  <a:pt x="727048" y="1125134"/>
                </a:cubicBezTo>
                <a:cubicBezTo>
                  <a:pt x="725226" y="1125134"/>
                  <a:pt x="725226" y="1126956"/>
                  <a:pt x="725226" y="1126956"/>
                </a:cubicBezTo>
                <a:cubicBezTo>
                  <a:pt x="723404" y="1126956"/>
                  <a:pt x="725226" y="1125134"/>
                  <a:pt x="725226" y="1123312"/>
                </a:cubicBezTo>
                <a:cubicBezTo>
                  <a:pt x="723404" y="1121489"/>
                  <a:pt x="719759" y="1114201"/>
                  <a:pt x="716115" y="1116023"/>
                </a:cubicBezTo>
                <a:close/>
                <a:moveTo>
                  <a:pt x="280615" y="1116023"/>
                </a:moveTo>
                <a:cubicBezTo>
                  <a:pt x="278793" y="1117845"/>
                  <a:pt x="286082" y="1121489"/>
                  <a:pt x="287904" y="1123312"/>
                </a:cubicBezTo>
                <a:cubicBezTo>
                  <a:pt x="287904" y="1119667"/>
                  <a:pt x="282438" y="1119667"/>
                  <a:pt x="280615" y="1116023"/>
                </a:cubicBezTo>
                <a:close/>
                <a:moveTo>
                  <a:pt x="242349" y="1116023"/>
                </a:moveTo>
                <a:cubicBezTo>
                  <a:pt x="240527" y="1121489"/>
                  <a:pt x="253282" y="1128778"/>
                  <a:pt x="256927" y="1128778"/>
                </a:cubicBezTo>
                <a:cubicBezTo>
                  <a:pt x="255105" y="1123312"/>
                  <a:pt x="245994" y="1117845"/>
                  <a:pt x="242349" y="1116023"/>
                </a:cubicBezTo>
                <a:close/>
                <a:moveTo>
                  <a:pt x="328344" y="1115806"/>
                </a:moveTo>
                <a:lnTo>
                  <a:pt x="326169" y="1116023"/>
                </a:lnTo>
                <a:cubicBezTo>
                  <a:pt x="322525" y="1116023"/>
                  <a:pt x="320703" y="1116023"/>
                  <a:pt x="317059" y="1116023"/>
                </a:cubicBezTo>
                <a:close/>
                <a:moveTo>
                  <a:pt x="1072806" y="1115795"/>
                </a:moveTo>
                <a:cubicBezTo>
                  <a:pt x="1071438" y="1116478"/>
                  <a:pt x="1070527" y="1117845"/>
                  <a:pt x="1071439" y="1119667"/>
                </a:cubicBezTo>
                <a:cubicBezTo>
                  <a:pt x="1073262" y="1117845"/>
                  <a:pt x="1075083" y="1116023"/>
                  <a:pt x="1076905" y="1116023"/>
                </a:cubicBezTo>
                <a:cubicBezTo>
                  <a:pt x="1075994" y="1115112"/>
                  <a:pt x="1074172" y="1115112"/>
                  <a:pt x="1072806" y="1115795"/>
                </a:cubicBezTo>
                <a:close/>
                <a:moveTo>
                  <a:pt x="1034539" y="1115795"/>
                </a:moveTo>
                <a:cubicBezTo>
                  <a:pt x="1033628" y="1114656"/>
                  <a:pt x="1032262" y="1114200"/>
                  <a:pt x="1031351" y="1116023"/>
                </a:cubicBezTo>
                <a:cubicBezTo>
                  <a:pt x="1033173" y="1117845"/>
                  <a:pt x="1031351" y="1117845"/>
                  <a:pt x="1033173" y="1119667"/>
                </a:cubicBezTo>
                <a:cubicBezTo>
                  <a:pt x="1033173" y="1119667"/>
                  <a:pt x="1034995" y="1119667"/>
                  <a:pt x="1034995" y="1119667"/>
                </a:cubicBezTo>
                <a:cubicBezTo>
                  <a:pt x="1035906" y="1118756"/>
                  <a:pt x="1035450" y="1116934"/>
                  <a:pt x="1034539" y="1115795"/>
                </a:cubicBezTo>
                <a:close/>
                <a:moveTo>
                  <a:pt x="3189175" y="1115567"/>
                </a:moveTo>
                <a:cubicBezTo>
                  <a:pt x="3186072" y="1114998"/>
                  <a:pt x="3182883" y="1115567"/>
                  <a:pt x="3179694" y="1117845"/>
                </a:cubicBezTo>
                <a:cubicBezTo>
                  <a:pt x="3183338" y="1123312"/>
                  <a:pt x="3183338" y="1130600"/>
                  <a:pt x="3190627" y="1132422"/>
                </a:cubicBezTo>
                <a:cubicBezTo>
                  <a:pt x="3183338" y="1137889"/>
                  <a:pt x="3197916" y="1147000"/>
                  <a:pt x="3197916" y="1157933"/>
                </a:cubicBezTo>
                <a:cubicBezTo>
                  <a:pt x="3192449" y="1157933"/>
                  <a:pt x="3194271" y="1148822"/>
                  <a:pt x="3192449" y="1147000"/>
                </a:cubicBezTo>
                <a:cubicBezTo>
                  <a:pt x="3190627" y="1147000"/>
                  <a:pt x="3190627" y="1148822"/>
                  <a:pt x="3188805" y="1148822"/>
                </a:cubicBezTo>
                <a:cubicBezTo>
                  <a:pt x="3185160" y="1143355"/>
                  <a:pt x="3185160" y="1130600"/>
                  <a:pt x="3181516" y="1123312"/>
                </a:cubicBezTo>
                <a:cubicBezTo>
                  <a:pt x="3176050" y="1123312"/>
                  <a:pt x="3176050" y="1128778"/>
                  <a:pt x="3172405" y="1130600"/>
                </a:cubicBezTo>
                <a:cubicBezTo>
                  <a:pt x="3172405" y="1134245"/>
                  <a:pt x="3176050" y="1134245"/>
                  <a:pt x="3177872" y="1137889"/>
                </a:cubicBezTo>
                <a:cubicBezTo>
                  <a:pt x="3176050" y="1139711"/>
                  <a:pt x="3170583" y="1143355"/>
                  <a:pt x="3170583" y="1139711"/>
                </a:cubicBezTo>
                <a:cubicBezTo>
                  <a:pt x="3174227" y="1145178"/>
                  <a:pt x="3179694" y="1161577"/>
                  <a:pt x="3190627" y="1163399"/>
                </a:cubicBezTo>
                <a:cubicBezTo>
                  <a:pt x="3188805" y="1167044"/>
                  <a:pt x="3188805" y="1168866"/>
                  <a:pt x="3192449" y="1170688"/>
                </a:cubicBezTo>
                <a:cubicBezTo>
                  <a:pt x="3196093" y="1172510"/>
                  <a:pt x="3197916" y="1165222"/>
                  <a:pt x="3199738" y="1168866"/>
                </a:cubicBezTo>
                <a:cubicBezTo>
                  <a:pt x="3203382" y="1168866"/>
                  <a:pt x="3199738" y="1163399"/>
                  <a:pt x="3199738" y="1161577"/>
                </a:cubicBezTo>
                <a:cubicBezTo>
                  <a:pt x="3203382" y="1163399"/>
                  <a:pt x="3203382" y="1167044"/>
                  <a:pt x="3207027" y="1167044"/>
                </a:cubicBezTo>
                <a:cubicBezTo>
                  <a:pt x="3207027" y="1165222"/>
                  <a:pt x="3207027" y="1163399"/>
                  <a:pt x="3207027" y="1161577"/>
                </a:cubicBezTo>
                <a:cubicBezTo>
                  <a:pt x="3210671" y="1161577"/>
                  <a:pt x="3210671" y="1163399"/>
                  <a:pt x="3212493" y="1165222"/>
                </a:cubicBezTo>
                <a:cubicBezTo>
                  <a:pt x="3214315" y="1170688"/>
                  <a:pt x="3207027" y="1167044"/>
                  <a:pt x="3208849" y="1172510"/>
                </a:cubicBezTo>
                <a:cubicBezTo>
                  <a:pt x="3217960" y="1176155"/>
                  <a:pt x="3225248" y="1185266"/>
                  <a:pt x="3225248" y="1194376"/>
                </a:cubicBezTo>
                <a:cubicBezTo>
                  <a:pt x="3230715" y="1194376"/>
                  <a:pt x="3234359" y="1187088"/>
                  <a:pt x="3236181" y="1194376"/>
                </a:cubicBezTo>
                <a:cubicBezTo>
                  <a:pt x="3239826" y="1194376"/>
                  <a:pt x="3234359" y="1185266"/>
                  <a:pt x="3239826" y="1183443"/>
                </a:cubicBezTo>
                <a:cubicBezTo>
                  <a:pt x="3236181" y="1167044"/>
                  <a:pt x="3225248" y="1147000"/>
                  <a:pt x="3212493" y="1136067"/>
                </a:cubicBezTo>
                <a:cubicBezTo>
                  <a:pt x="3207026" y="1129234"/>
                  <a:pt x="3198485" y="1117276"/>
                  <a:pt x="3189175" y="1115567"/>
                </a:cubicBezTo>
                <a:close/>
                <a:moveTo>
                  <a:pt x="2311656" y="1115111"/>
                </a:moveTo>
                <a:cubicBezTo>
                  <a:pt x="2310062" y="1114200"/>
                  <a:pt x="2307784" y="1114200"/>
                  <a:pt x="2306873" y="1116023"/>
                </a:cubicBezTo>
                <a:cubicBezTo>
                  <a:pt x="2305050" y="1119667"/>
                  <a:pt x="2312339" y="1117845"/>
                  <a:pt x="2312339" y="1119667"/>
                </a:cubicBezTo>
                <a:cubicBezTo>
                  <a:pt x="2314161" y="1117845"/>
                  <a:pt x="2313250" y="1116023"/>
                  <a:pt x="2311656" y="1115111"/>
                </a:cubicBezTo>
                <a:close/>
                <a:moveTo>
                  <a:pt x="348435" y="1115027"/>
                </a:moveTo>
                <a:cubicBezTo>
                  <a:pt x="347808" y="1114542"/>
                  <a:pt x="347581" y="1114656"/>
                  <a:pt x="348037" y="1116023"/>
                </a:cubicBezTo>
                <a:lnTo>
                  <a:pt x="350859" y="1117278"/>
                </a:lnTo>
                <a:lnTo>
                  <a:pt x="351225" y="1117617"/>
                </a:lnTo>
                <a:cubicBezTo>
                  <a:pt x="352363" y="1118642"/>
                  <a:pt x="353616" y="1119610"/>
                  <a:pt x="354698" y="1119867"/>
                </a:cubicBezTo>
                <a:lnTo>
                  <a:pt x="355393" y="1119293"/>
                </a:lnTo>
                <a:lnTo>
                  <a:pt x="364435" y="1123312"/>
                </a:lnTo>
                <a:cubicBezTo>
                  <a:pt x="366257" y="1121489"/>
                  <a:pt x="358969" y="1119667"/>
                  <a:pt x="357146" y="1117845"/>
                </a:cubicBezTo>
                <a:lnTo>
                  <a:pt x="355393" y="1119293"/>
                </a:lnTo>
                <a:lnTo>
                  <a:pt x="350859" y="1117278"/>
                </a:lnTo>
                <a:close/>
                <a:moveTo>
                  <a:pt x="2944634" y="1114201"/>
                </a:moveTo>
                <a:cubicBezTo>
                  <a:pt x="2953744" y="1114201"/>
                  <a:pt x="2948278" y="1123312"/>
                  <a:pt x="2951922" y="1125134"/>
                </a:cubicBezTo>
                <a:cubicBezTo>
                  <a:pt x="2955566" y="1126956"/>
                  <a:pt x="2951922" y="1119667"/>
                  <a:pt x="2953744" y="1117845"/>
                </a:cubicBezTo>
                <a:cubicBezTo>
                  <a:pt x="2953744" y="1119667"/>
                  <a:pt x="2953744" y="1119667"/>
                  <a:pt x="2955566" y="1121489"/>
                </a:cubicBezTo>
                <a:cubicBezTo>
                  <a:pt x="2962855" y="1125134"/>
                  <a:pt x="2970144" y="1117845"/>
                  <a:pt x="2970144" y="1125134"/>
                </a:cubicBezTo>
                <a:cubicBezTo>
                  <a:pt x="2970144" y="1126956"/>
                  <a:pt x="2967866" y="1125589"/>
                  <a:pt x="2965361" y="1124678"/>
                </a:cubicBezTo>
                <a:lnTo>
                  <a:pt x="2961649" y="1126053"/>
                </a:lnTo>
                <a:lnTo>
                  <a:pt x="2962855" y="1125134"/>
                </a:lnTo>
                <a:cubicBezTo>
                  <a:pt x="2961033" y="1126956"/>
                  <a:pt x="2961033" y="1126956"/>
                  <a:pt x="2959211" y="1126956"/>
                </a:cubicBezTo>
                <a:lnTo>
                  <a:pt x="2961649" y="1126053"/>
                </a:lnTo>
                <a:lnTo>
                  <a:pt x="2958072" y="1128778"/>
                </a:lnTo>
                <a:cubicBezTo>
                  <a:pt x="2955566" y="1128778"/>
                  <a:pt x="2952833" y="1127867"/>
                  <a:pt x="2951922" y="1126956"/>
                </a:cubicBezTo>
                <a:cubicBezTo>
                  <a:pt x="2953744" y="1130600"/>
                  <a:pt x="2950100" y="1134245"/>
                  <a:pt x="2950100" y="1137889"/>
                </a:cubicBezTo>
                <a:cubicBezTo>
                  <a:pt x="2959211" y="1136067"/>
                  <a:pt x="2953744" y="1145178"/>
                  <a:pt x="2957389" y="1147000"/>
                </a:cubicBezTo>
                <a:lnTo>
                  <a:pt x="2955351" y="1148585"/>
                </a:lnTo>
                <a:lnTo>
                  <a:pt x="2951922" y="1139711"/>
                </a:lnTo>
                <a:cubicBezTo>
                  <a:pt x="2946456" y="1139711"/>
                  <a:pt x="2948278" y="1145178"/>
                  <a:pt x="2942811" y="1141533"/>
                </a:cubicBezTo>
                <a:cubicBezTo>
                  <a:pt x="2942811" y="1145178"/>
                  <a:pt x="2940989" y="1148822"/>
                  <a:pt x="2946456" y="1148822"/>
                </a:cubicBezTo>
                <a:cubicBezTo>
                  <a:pt x="2946456" y="1147000"/>
                  <a:pt x="2946456" y="1145178"/>
                  <a:pt x="2946456" y="1143355"/>
                </a:cubicBezTo>
                <a:cubicBezTo>
                  <a:pt x="2948278" y="1145178"/>
                  <a:pt x="2948278" y="1147000"/>
                  <a:pt x="2948278" y="1148822"/>
                </a:cubicBezTo>
                <a:cubicBezTo>
                  <a:pt x="2948278" y="1152466"/>
                  <a:pt x="2940989" y="1150644"/>
                  <a:pt x="2939167" y="1150644"/>
                </a:cubicBezTo>
                <a:cubicBezTo>
                  <a:pt x="2937345" y="1148822"/>
                  <a:pt x="2935523" y="1145178"/>
                  <a:pt x="2935523" y="1139711"/>
                </a:cubicBezTo>
                <a:cubicBezTo>
                  <a:pt x="2930056" y="1137889"/>
                  <a:pt x="2933700" y="1147000"/>
                  <a:pt x="2931878" y="1145178"/>
                </a:cubicBezTo>
                <a:cubicBezTo>
                  <a:pt x="2931878" y="1145178"/>
                  <a:pt x="2930056" y="1143355"/>
                  <a:pt x="2930056" y="1143355"/>
                </a:cubicBezTo>
                <a:lnTo>
                  <a:pt x="2926412" y="1156111"/>
                </a:lnTo>
                <a:cubicBezTo>
                  <a:pt x="2908190" y="1150644"/>
                  <a:pt x="2908190" y="1143355"/>
                  <a:pt x="2917301" y="1134245"/>
                </a:cubicBezTo>
                <a:cubicBezTo>
                  <a:pt x="2922767" y="1134245"/>
                  <a:pt x="2919123" y="1126956"/>
                  <a:pt x="2920945" y="1123312"/>
                </a:cubicBezTo>
                <a:cubicBezTo>
                  <a:pt x="2920945" y="1121489"/>
                  <a:pt x="2926412" y="1126956"/>
                  <a:pt x="2928234" y="1125134"/>
                </a:cubicBezTo>
                <a:lnTo>
                  <a:pt x="2927337" y="1122671"/>
                </a:lnTo>
                <a:lnTo>
                  <a:pt x="2931879" y="1127639"/>
                </a:lnTo>
                <a:lnTo>
                  <a:pt x="2935423" y="1127955"/>
                </a:lnTo>
                <a:lnTo>
                  <a:pt x="2935067" y="1131511"/>
                </a:lnTo>
                <a:cubicBezTo>
                  <a:pt x="2935978" y="1132878"/>
                  <a:pt x="2937345" y="1134244"/>
                  <a:pt x="2937345" y="1136067"/>
                </a:cubicBezTo>
                <a:cubicBezTo>
                  <a:pt x="2939167" y="1135156"/>
                  <a:pt x="2939167" y="1133334"/>
                  <a:pt x="2938484" y="1131511"/>
                </a:cubicBezTo>
                <a:lnTo>
                  <a:pt x="2936219" y="1128027"/>
                </a:lnTo>
                <a:lnTo>
                  <a:pt x="2944634" y="1128778"/>
                </a:lnTo>
                <a:cubicBezTo>
                  <a:pt x="2944634" y="1125134"/>
                  <a:pt x="2940989" y="1121489"/>
                  <a:pt x="2942811" y="1117845"/>
                </a:cubicBezTo>
                <a:cubicBezTo>
                  <a:pt x="2946456" y="1119667"/>
                  <a:pt x="2946456" y="1123312"/>
                  <a:pt x="2950100" y="1121489"/>
                </a:cubicBezTo>
                <a:cubicBezTo>
                  <a:pt x="2948278" y="1117845"/>
                  <a:pt x="2946456" y="1116023"/>
                  <a:pt x="2944634" y="1114201"/>
                </a:cubicBezTo>
                <a:close/>
                <a:moveTo>
                  <a:pt x="1138859" y="1114201"/>
                </a:moveTo>
                <a:cubicBezTo>
                  <a:pt x="1138859" y="1117845"/>
                  <a:pt x="1137037" y="1119667"/>
                  <a:pt x="1135215" y="1123312"/>
                </a:cubicBezTo>
                <a:lnTo>
                  <a:pt x="1133890" y="1120660"/>
                </a:lnTo>
                <a:lnTo>
                  <a:pt x="1134076" y="1120350"/>
                </a:lnTo>
                <a:lnTo>
                  <a:pt x="1133419" y="1117942"/>
                </a:lnTo>
                <a:lnTo>
                  <a:pt x="1135898" y="1118073"/>
                </a:lnTo>
                <a:cubicBezTo>
                  <a:pt x="1136581" y="1116934"/>
                  <a:pt x="1137037" y="1115112"/>
                  <a:pt x="1138859" y="1114201"/>
                </a:cubicBezTo>
                <a:close/>
                <a:moveTo>
                  <a:pt x="1067794" y="1114201"/>
                </a:moveTo>
                <a:cubicBezTo>
                  <a:pt x="1064151" y="1114201"/>
                  <a:pt x="1064151" y="1119667"/>
                  <a:pt x="1062328" y="1121489"/>
                </a:cubicBezTo>
                <a:cubicBezTo>
                  <a:pt x="1065972" y="1123312"/>
                  <a:pt x="1071439" y="1117845"/>
                  <a:pt x="1067794" y="1114201"/>
                </a:cubicBezTo>
                <a:close/>
                <a:moveTo>
                  <a:pt x="900154" y="1114201"/>
                </a:moveTo>
                <a:cubicBezTo>
                  <a:pt x="898333" y="1117845"/>
                  <a:pt x="901976" y="1125134"/>
                  <a:pt x="905621" y="1121489"/>
                </a:cubicBezTo>
                <a:cubicBezTo>
                  <a:pt x="901976" y="1119667"/>
                  <a:pt x="903799" y="1114201"/>
                  <a:pt x="900154" y="1114201"/>
                </a:cubicBezTo>
                <a:close/>
                <a:moveTo>
                  <a:pt x="781713" y="1114201"/>
                </a:moveTo>
                <a:cubicBezTo>
                  <a:pt x="772602" y="1119667"/>
                  <a:pt x="767136" y="1134245"/>
                  <a:pt x="776246" y="1139711"/>
                </a:cubicBezTo>
                <a:lnTo>
                  <a:pt x="780620" y="1136431"/>
                </a:lnTo>
                <a:lnTo>
                  <a:pt x="782624" y="1137434"/>
                </a:lnTo>
                <a:cubicBezTo>
                  <a:pt x="783535" y="1137889"/>
                  <a:pt x="784446" y="1137889"/>
                  <a:pt x="785357" y="1136067"/>
                </a:cubicBezTo>
                <a:cubicBezTo>
                  <a:pt x="787179" y="1137889"/>
                  <a:pt x="787179" y="1137889"/>
                  <a:pt x="789003" y="1137889"/>
                </a:cubicBezTo>
                <a:cubicBezTo>
                  <a:pt x="790824" y="1136067"/>
                  <a:pt x="790824" y="1134245"/>
                  <a:pt x="789003" y="1132422"/>
                </a:cubicBezTo>
                <a:cubicBezTo>
                  <a:pt x="787179" y="1132422"/>
                  <a:pt x="785357" y="1136067"/>
                  <a:pt x="785357" y="1136067"/>
                </a:cubicBezTo>
                <a:lnTo>
                  <a:pt x="781106" y="1136067"/>
                </a:lnTo>
                <a:lnTo>
                  <a:pt x="783535" y="1134245"/>
                </a:lnTo>
                <a:cubicBezTo>
                  <a:pt x="787179" y="1130600"/>
                  <a:pt x="778070" y="1126956"/>
                  <a:pt x="781713" y="1125134"/>
                </a:cubicBezTo>
                <a:lnTo>
                  <a:pt x="785357" y="1125134"/>
                </a:lnTo>
                <a:cubicBezTo>
                  <a:pt x="790824" y="1119667"/>
                  <a:pt x="783535" y="1117845"/>
                  <a:pt x="781713" y="1114201"/>
                </a:cubicBezTo>
                <a:close/>
                <a:moveTo>
                  <a:pt x="734336" y="1114201"/>
                </a:moveTo>
                <a:cubicBezTo>
                  <a:pt x="734336" y="1117845"/>
                  <a:pt x="737981" y="1119667"/>
                  <a:pt x="739803" y="1123312"/>
                </a:cubicBezTo>
                <a:cubicBezTo>
                  <a:pt x="743447" y="1121489"/>
                  <a:pt x="736159" y="1116023"/>
                  <a:pt x="734336" y="1114201"/>
                </a:cubicBezTo>
                <a:close/>
                <a:moveTo>
                  <a:pt x="1057545" y="1114200"/>
                </a:moveTo>
                <a:cubicBezTo>
                  <a:pt x="1055040" y="1114200"/>
                  <a:pt x="1052306" y="1115111"/>
                  <a:pt x="1049573" y="1117845"/>
                </a:cubicBezTo>
                <a:cubicBezTo>
                  <a:pt x="1051395" y="1121489"/>
                  <a:pt x="1049573" y="1123312"/>
                  <a:pt x="1049573" y="1126956"/>
                </a:cubicBezTo>
                <a:cubicBezTo>
                  <a:pt x="1055040" y="1128778"/>
                  <a:pt x="1064151" y="1121489"/>
                  <a:pt x="1064151" y="1116023"/>
                </a:cubicBezTo>
                <a:cubicBezTo>
                  <a:pt x="1062328" y="1115112"/>
                  <a:pt x="1060050" y="1114200"/>
                  <a:pt x="1057545" y="1114200"/>
                </a:cubicBezTo>
                <a:close/>
                <a:moveTo>
                  <a:pt x="1198385" y="1113998"/>
                </a:moveTo>
                <a:lnTo>
                  <a:pt x="1217366" y="1120326"/>
                </a:lnTo>
                <a:lnTo>
                  <a:pt x="1215163" y="1121261"/>
                </a:lnTo>
                <a:cubicBezTo>
                  <a:pt x="1209013" y="1120123"/>
                  <a:pt x="1202636" y="1116934"/>
                  <a:pt x="1197169" y="1116023"/>
                </a:cubicBezTo>
                <a:close/>
                <a:moveTo>
                  <a:pt x="1019689" y="1113836"/>
                </a:moveTo>
                <a:lnTo>
                  <a:pt x="1020418" y="1114201"/>
                </a:lnTo>
                <a:lnTo>
                  <a:pt x="1018596" y="1115112"/>
                </a:lnTo>
                <a:lnTo>
                  <a:pt x="1018596" y="1114201"/>
                </a:lnTo>
                <a:close/>
                <a:moveTo>
                  <a:pt x="2585665" y="1112378"/>
                </a:moveTo>
                <a:cubicBezTo>
                  <a:pt x="2582021" y="1112378"/>
                  <a:pt x="2582021" y="1117845"/>
                  <a:pt x="2585665" y="1117845"/>
                </a:cubicBezTo>
                <a:cubicBezTo>
                  <a:pt x="2585665" y="1119667"/>
                  <a:pt x="2582021" y="1116023"/>
                  <a:pt x="2578377" y="1117845"/>
                </a:cubicBezTo>
                <a:cubicBezTo>
                  <a:pt x="2576554" y="1121489"/>
                  <a:pt x="2572910" y="1123312"/>
                  <a:pt x="2574732" y="1130600"/>
                </a:cubicBezTo>
                <a:cubicBezTo>
                  <a:pt x="2578377" y="1132422"/>
                  <a:pt x="2585665" y="1130600"/>
                  <a:pt x="2591132" y="1132422"/>
                </a:cubicBezTo>
                <a:cubicBezTo>
                  <a:pt x="2591132" y="1123312"/>
                  <a:pt x="2587487" y="1117845"/>
                  <a:pt x="2585665" y="1112378"/>
                </a:cubicBezTo>
                <a:close/>
                <a:moveTo>
                  <a:pt x="2192076" y="1112378"/>
                </a:moveTo>
                <a:lnTo>
                  <a:pt x="2195720" y="1113664"/>
                </a:lnTo>
                <a:lnTo>
                  <a:pt x="2195720" y="1114201"/>
                </a:lnTo>
                <a:cubicBezTo>
                  <a:pt x="2193898" y="1112378"/>
                  <a:pt x="2193898" y="1112378"/>
                  <a:pt x="2192076" y="1112378"/>
                </a:cubicBezTo>
                <a:close/>
                <a:moveTo>
                  <a:pt x="1239080" y="1112378"/>
                </a:moveTo>
                <a:cubicBezTo>
                  <a:pt x="1235434" y="1114201"/>
                  <a:pt x="1235434" y="1116023"/>
                  <a:pt x="1235434" y="1117845"/>
                </a:cubicBezTo>
                <a:lnTo>
                  <a:pt x="1225230" y="1122947"/>
                </a:lnTo>
                <a:lnTo>
                  <a:pt x="1217366" y="1120326"/>
                </a:lnTo>
                <a:lnTo>
                  <a:pt x="1231790" y="1114201"/>
                </a:lnTo>
                <a:cubicBezTo>
                  <a:pt x="1235434" y="1116023"/>
                  <a:pt x="1235434" y="1112378"/>
                  <a:pt x="1239080" y="1112378"/>
                </a:cubicBezTo>
                <a:close/>
                <a:moveTo>
                  <a:pt x="1016774" y="1112378"/>
                </a:moveTo>
                <a:cubicBezTo>
                  <a:pt x="1014951" y="1112378"/>
                  <a:pt x="1014951" y="1114201"/>
                  <a:pt x="1016774" y="1116023"/>
                </a:cubicBezTo>
                <a:lnTo>
                  <a:pt x="1018596" y="1115112"/>
                </a:lnTo>
                <a:lnTo>
                  <a:pt x="1018596" y="1123312"/>
                </a:lnTo>
                <a:cubicBezTo>
                  <a:pt x="1018596" y="1123312"/>
                  <a:pt x="1020418" y="1125134"/>
                  <a:pt x="1020418" y="1125134"/>
                </a:cubicBezTo>
                <a:cubicBezTo>
                  <a:pt x="1022240" y="1125134"/>
                  <a:pt x="1025884" y="1123312"/>
                  <a:pt x="1027707" y="1121489"/>
                </a:cubicBezTo>
                <a:cubicBezTo>
                  <a:pt x="1025884" y="1119667"/>
                  <a:pt x="1025884" y="1117845"/>
                  <a:pt x="1024062" y="1112378"/>
                </a:cubicBezTo>
                <a:cubicBezTo>
                  <a:pt x="1023151" y="1111467"/>
                  <a:pt x="1022240" y="1112378"/>
                  <a:pt x="1021329" y="1113289"/>
                </a:cubicBezTo>
                <a:lnTo>
                  <a:pt x="1019689" y="1113836"/>
                </a:lnTo>
                <a:close/>
                <a:moveTo>
                  <a:pt x="852778" y="1112378"/>
                </a:moveTo>
                <a:cubicBezTo>
                  <a:pt x="850956" y="1114201"/>
                  <a:pt x="854600" y="1116023"/>
                  <a:pt x="856422" y="1119667"/>
                </a:cubicBezTo>
                <a:cubicBezTo>
                  <a:pt x="858244" y="1117845"/>
                  <a:pt x="856422" y="1116023"/>
                  <a:pt x="858244" y="1116023"/>
                </a:cubicBezTo>
                <a:cubicBezTo>
                  <a:pt x="856422" y="1114201"/>
                  <a:pt x="854600" y="1114201"/>
                  <a:pt x="852778" y="1112378"/>
                </a:cubicBezTo>
                <a:close/>
                <a:moveTo>
                  <a:pt x="490165" y="1112378"/>
                </a:moveTo>
                <a:cubicBezTo>
                  <a:pt x="488343" y="1112378"/>
                  <a:pt x="484700" y="1112378"/>
                  <a:pt x="484700" y="1116023"/>
                </a:cubicBezTo>
                <a:cubicBezTo>
                  <a:pt x="490165" y="1117845"/>
                  <a:pt x="493809" y="1117845"/>
                  <a:pt x="497454" y="1117845"/>
                </a:cubicBezTo>
                <a:cubicBezTo>
                  <a:pt x="493809" y="1116023"/>
                  <a:pt x="493809" y="1114201"/>
                  <a:pt x="490165" y="1112378"/>
                </a:cubicBezTo>
                <a:close/>
                <a:moveTo>
                  <a:pt x="2401626" y="1110556"/>
                </a:moveTo>
                <a:cubicBezTo>
                  <a:pt x="2392515" y="1110556"/>
                  <a:pt x="2379760" y="1114201"/>
                  <a:pt x="2368827" y="1121489"/>
                </a:cubicBezTo>
                <a:lnTo>
                  <a:pt x="2368827" y="1123312"/>
                </a:lnTo>
                <a:lnTo>
                  <a:pt x="2367004" y="1123312"/>
                </a:lnTo>
                <a:cubicBezTo>
                  <a:pt x="2359716" y="1128778"/>
                  <a:pt x="2354249" y="1134245"/>
                  <a:pt x="2354249" y="1143355"/>
                </a:cubicBezTo>
                <a:cubicBezTo>
                  <a:pt x="2346960" y="1139711"/>
                  <a:pt x="2348782" y="1145178"/>
                  <a:pt x="2345138" y="1150644"/>
                </a:cubicBezTo>
                <a:cubicBezTo>
                  <a:pt x="2348782" y="1150644"/>
                  <a:pt x="2354249" y="1150644"/>
                  <a:pt x="2357893" y="1152466"/>
                </a:cubicBezTo>
                <a:cubicBezTo>
                  <a:pt x="2359716" y="1154288"/>
                  <a:pt x="2350605" y="1154288"/>
                  <a:pt x="2352427" y="1156111"/>
                </a:cubicBezTo>
                <a:cubicBezTo>
                  <a:pt x="2356071" y="1157933"/>
                  <a:pt x="2361538" y="1156111"/>
                  <a:pt x="2359716" y="1148822"/>
                </a:cubicBezTo>
                <a:cubicBezTo>
                  <a:pt x="2367004" y="1147000"/>
                  <a:pt x="2365182" y="1154288"/>
                  <a:pt x="2367004" y="1156111"/>
                </a:cubicBezTo>
                <a:cubicBezTo>
                  <a:pt x="2370649" y="1159755"/>
                  <a:pt x="2374293" y="1154288"/>
                  <a:pt x="2379760" y="1152466"/>
                </a:cubicBezTo>
                <a:cubicBezTo>
                  <a:pt x="2379760" y="1154288"/>
                  <a:pt x="2379760" y="1154288"/>
                  <a:pt x="2377937" y="1156111"/>
                </a:cubicBezTo>
                <a:cubicBezTo>
                  <a:pt x="2385226" y="1156111"/>
                  <a:pt x="2390693" y="1156111"/>
                  <a:pt x="2394337" y="1150644"/>
                </a:cubicBezTo>
                <a:cubicBezTo>
                  <a:pt x="2397981" y="1150644"/>
                  <a:pt x="2392515" y="1157933"/>
                  <a:pt x="2397981" y="1156111"/>
                </a:cubicBezTo>
                <a:cubicBezTo>
                  <a:pt x="2392515" y="1156111"/>
                  <a:pt x="2392515" y="1163399"/>
                  <a:pt x="2385226" y="1163399"/>
                </a:cubicBezTo>
                <a:cubicBezTo>
                  <a:pt x="2388871" y="1165222"/>
                  <a:pt x="2392515" y="1163399"/>
                  <a:pt x="2396159" y="1159755"/>
                </a:cubicBezTo>
                <a:cubicBezTo>
                  <a:pt x="2394337" y="1163399"/>
                  <a:pt x="2394337" y="1172510"/>
                  <a:pt x="2397981" y="1170688"/>
                </a:cubicBezTo>
                <a:cubicBezTo>
                  <a:pt x="2408914" y="1165222"/>
                  <a:pt x="2418025" y="1167044"/>
                  <a:pt x="2425314" y="1156111"/>
                </a:cubicBezTo>
                <a:cubicBezTo>
                  <a:pt x="2428958" y="1154288"/>
                  <a:pt x="2428958" y="1157933"/>
                  <a:pt x="2430780" y="1159755"/>
                </a:cubicBezTo>
                <a:cubicBezTo>
                  <a:pt x="2436247" y="1157933"/>
                  <a:pt x="2432603" y="1150644"/>
                  <a:pt x="2438069" y="1148822"/>
                </a:cubicBezTo>
                <a:lnTo>
                  <a:pt x="2441258" y="1152010"/>
                </a:lnTo>
                <a:lnTo>
                  <a:pt x="2438069" y="1161577"/>
                </a:lnTo>
                <a:cubicBezTo>
                  <a:pt x="2436703" y="1164310"/>
                  <a:pt x="2434425" y="1165221"/>
                  <a:pt x="2428958" y="1161577"/>
                </a:cubicBezTo>
                <a:cubicBezTo>
                  <a:pt x="2430780" y="1167044"/>
                  <a:pt x="2425314" y="1168866"/>
                  <a:pt x="2423492" y="1168866"/>
                </a:cubicBezTo>
                <a:cubicBezTo>
                  <a:pt x="2419847" y="1168866"/>
                  <a:pt x="2421669" y="1165222"/>
                  <a:pt x="2421669" y="1163399"/>
                </a:cubicBezTo>
                <a:cubicBezTo>
                  <a:pt x="2408914" y="1170688"/>
                  <a:pt x="2421669" y="1170688"/>
                  <a:pt x="2419847" y="1176155"/>
                </a:cubicBezTo>
                <a:cubicBezTo>
                  <a:pt x="2427136" y="1172510"/>
                  <a:pt x="2436247" y="1167044"/>
                  <a:pt x="2441713" y="1161577"/>
                </a:cubicBezTo>
                <a:cubicBezTo>
                  <a:pt x="2445358" y="1157933"/>
                  <a:pt x="2447180" y="1152466"/>
                  <a:pt x="2443536" y="1148822"/>
                </a:cubicBezTo>
                <a:cubicBezTo>
                  <a:pt x="2438069" y="1145178"/>
                  <a:pt x="2434425" y="1141533"/>
                  <a:pt x="2428958" y="1137889"/>
                </a:cubicBezTo>
                <a:lnTo>
                  <a:pt x="2419847" y="1145178"/>
                </a:lnTo>
                <a:cubicBezTo>
                  <a:pt x="2412559" y="1130600"/>
                  <a:pt x="2410737" y="1136067"/>
                  <a:pt x="2414381" y="1130600"/>
                </a:cubicBezTo>
                <a:cubicBezTo>
                  <a:pt x="2410737" y="1130600"/>
                  <a:pt x="2407092" y="1141533"/>
                  <a:pt x="2397981" y="1143355"/>
                </a:cubicBezTo>
                <a:cubicBezTo>
                  <a:pt x="2401626" y="1134245"/>
                  <a:pt x="2412559" y="1130600"/>
                  <a:pt x="2412559" y="1121489"/>
                </a:cubicBezTo>
                <a:lnTo>
                  <a:pt x="2397981" y="1121489"/>
                </a:lnTo>
                <a:cubicBezTo>
                  <a:pt x="2399803" y="1117845"/>
                  <a:pt x="2401626" y="1114201"/>
                  <a:pt x="2401626" y="1110556"/>
                </a:cubicBezTo>
                <a:close/>
                <a:moveTo>
                  <a:pt x="1045929" y="1110556"/>
                </a:moveTo>
                <a:cubicBezTo>
                  <a:pt x="1042284" y="1112378"/>
                  <a:pt x="1047750" y="1114201"/>
                  <a:pt x="1044106" y="1114201"/>
                </a:cubicBezTo>
                <a:cubicBezTo>
                  <a:pt x="1045929" y="1114201"/>
                  <a:pt x="1047750" y="1114201"/>
                  <a:pt x="1047750" y="1112378"/>
                </a:cubicBezTo>
                <a:cubicBezTo>
                  <a:pt x="1047750" y="1110556"/>
                  <a:pt x="1045929" y="1112378"/>
                  <a:pt x="1045929" y="1110556"/>
                </a:cubicBezTo>
                <a:close/>
                <a:moveTo>
                  <a:pt x="1025884" y="1110556"/>
                </a:moveTo>
                <a:cubicBezTo>
                  <a:pt x="1025884" y="1114201"/>
                  <a:pt x="1027707" y="1116023"/>
                  <a:pt x="1031351" y="1119667"/>
                </a:cubicBezTo>
                <a:cubicBezTo>
                  <a:pt x="1033173" y="1116023"/>
                  <a:pt x="1031351" y="1114201"/>
                  <a:pt x="1029529" y="1110556"/>
                </a:cubicBezTo>
                <a:cubicBezTo>
                  <a:pt x="1027707" y="1110556"/>
                  <a:pt x="1027707" y="1112378"/>
                  <a:pt x="1025884" y="1110556"/>
                </a:cubicBezTo>
                <a:close/>
                <a:moveTo>
                  <a:pt x="861889" y="1110556"/>
                </a:moveTo>
                <a:cubicBezTo>
                  <a:pt x="861889" y="1116023"/>
                  <a:pt x="863711" y="1117845"/>
                  <a:pt x="863711" y="1112378"/>
                </a:cubicBezTo>
                <a:cubicBezTo>
                  <a:pt x="863711" y="1112378"/>
                  <a:pt x="861889" y="1112378"/>
                  <a:pt x="861889" y="1110556"/>
                </a:cubicBezTo>
                <a:close/>
                <a:moveTo>
                  <a:pt x="590385" y="1110556"/>
                </a:moveTo>
                <a:cubicBezTo>
                  <a:pt x="588562" y="1110556"/>
                  <a:pt x="586741" y="1110556"/>
                  <a:pt x="586741" y="1112378"/>
                </a:cubicBezTo>
                <a:cubicBezTo>
                  <a:pt x="588562" y="1114201"/>
                  <a:pt x="592207" y="1116023"/>
                  <a:pt x="590385" y="1110556"/>
                </a:cubicBezTo>
                <a:close/>
                <a:moveTo>
                  <a:pt x="194973" y="1110556"/>
                </a:moveTo>
                <a:cubicBezTo>
                  <a:pt x="198617" y="1116023"/>
                  <a:pt x="207728" y="1121489"/>
                  <a:pt x="213195" y="1121489"/>
                </a:cubicBezTo>
                <a:cubicBezTo>
                  <a:pt x="209550" y="1114201"/>
                  <a:pt x="200439" y="1114201"/>
                  <a:pt x="194973" y="1110556"/>
                </a:cubicBezTo>
                <a:close/>
                <a:moveTo>
                  <a:pt x="1071439" y="1108734"/>
                </a:moveTo>
                <a:cubicBezTo>
                  <a:pt x="1069616" y="1112378"/>
                  <a:pt x="1076905" y="1110556"/>
                  <a:pt x="1078727" y="1112378"/>
                </a:cubicBezTo>
                <a:cubicBezTo>
                  <a:pt x="1078727" y="1108734"/>
                  <a:pt x="1073262" y="1108734"/>
                  <a:pt x="1071439" y="1108734"/>
                </a:cubicBezTo>
                <a:close/>
                <a:moveTo>
                  <a:pt x="1031351" y="1108734"/>
                </a:moveTo>
                <a:cubicBezTo>
                  <a:pt x="1029529" y="1112378"/>
                  <a:pt x="1036818" y="1119667"/>
                  <a:pt x="1040462" y="1117845"/>
                </a:cubicBezTo>
                <a:cubicBezTo>
                  <a:pt x="1042284" y="1116023"/>
                  <a:pt x="1040462" y="1112378"/>
                  <a:pt x="1040462" y="1110556"/>
                </a:cubicBezTo>
                <a:cubicBezTo>
                  <a:pt x="1038639" y="1108734"/>
                  <a:pt x="1034995" y="1108734"/>
                  <a:pt x="1031351" y="1108734"/>
                </a:cubicBezTo>
                <a:close/>
                <a:moveTo>
                  <a:pt x="931131" y="1108734"/>
                </a:moveTo>
                <a:cubicBezTo>
                  <a:pt x="929309" y="1112378"/>
                  <a:pt x="932953" y="1121489"/>
                  <a:pt x="938420" y="1119667"/>
                </a:cubicBezTo>
                <a:cubicBezTo>
                  <a:pt x="934777" y="1116023"/>
                  <a:pt x="936598" y="1110556"/>
                  <a:pt x="931131" y="1108734"/>
                </a:cubicBezTo>
                <a:close/>
                <a:moveTo>
                  <a:pt x="869177" y="1108734"/>
                </a:moveTo>
                <a:cubicBezTo>
                  <a:pt x="865533" y="1114201"/>
                  <a:pt x="867355" y="1117845"/>
                  <a:pt x="869177" y="1121489"/>
                </a:cubicBezTo>
                <a:cubicBezTo>
                  <a:pt x="869177" y="1121489"/>
                  <a:pt x="871000" y="1121489"/>
                  <a:pt x="871000" y="1119667"/>
                </a:cubicBezTo>
                <a:cubicBezTo>
                  <a:pt x="872822" y="1119667"/>
                  <a:pt x="872822" y="1121489"/>
                  <a:pt x="872822" y="1121489"/>
                </a:cubicBezTo>
                <a:cubicBezTo>
                  <a:pt x="880111" y="1125134"/>
                  <a:pt x="869177" y="1116023"/>
                  <a:pt x="876466" y="1117845"/>
                </a:cubicBezTo>
                <a:cubicBezTo>
                  <a:pt x="872822" y="1116023"/>
                  <a:pt x="872822" y="1110556"/>
                  <a:pt x="869177" y="1108734"/>
                </a:cubicBezTo>
                <a:close/>
                <a:moveTo>
                  <a:pt x="856422" y="1108734"/>
                </a:moveTo>
                <a:cubicBezTo>
                  <a:pt x="856422" y="1110556"/>
                  <a:pt x="854600" y="1110556"/>
                  <a:pt x="854600" y="1110556"/>
                </a:cubicBezTo>
                <a:cubicBezTo>
                  <a:pt x="856422" y="1110556"/>
                  <a:pt x="860066" y="1114201"/>
                  <a:pt x="856422" y="1108734"/>
                </a:cubicBezTo>
                <a:close/>
                <a:moveTo>
                  <a:pt x="814512" y="1108734"/>
                </a:moveTo>
                <a:cubicBezTo>
                  <a:pt x="812690" y="1112378"/>
                  <a:pt x="816334" y="1117845"/>
                  <a:pt x="818156" y="1117845"/>
                </a:cubicBezTo>
                <a:cubicBezTo>
                  <a:pt x="819979" y="1114201"/>
                  <a:pt x="816334" y="1110556"/>
                  <a:pt x="814512" y="1108734"/>
                </a:cubicBezTo>
                <a:close/>
                <a:moveTo>
                  <a:pt x="583096" y="1108734"/>
                </a:moveTo>
                <a:cubicBezTo>
                  <a:pt x="581274" y="1108734"/>
                  <a:pt x="577630" y="1110556"/>
                  <a:pt x="584919" y="1112378"/>
                </a:cubicBezTo>
                <a:cubicBezTo>
                  <a:pt x="586741" y="1110556"/>
                  <a:pt x="584919" y="1110556"/>
                  <a:pt x="583096" y="1108734"/>
                </a:cubicBezTo>
                <a:close/>
                <a:moveTo>
                  <a:pt x="280615" y="1108734"/>
                </a:moveTo>
                <a:cubicBezTo>
                  <a:pt x="273327" y="1108734"/>
                  <a:pt x="284259" y="1117845"/>
                  <a:pt x="287904" y="1117845"/>
                </a:cubicBezTo>
                <a:cubicBezTo>
                  <a:pt x="287904" y="1116023"/>
                  <a:pt x="282438" y="1112378"/>
                  <a:pt x="280615" y="1108734"/>
                </a:cubicBezTo>
                <a:close/>
                <a:moveTo>
                  <a:pt x="260571" y="1108734"/>
                </a:moveTo>
                <a:cubicBezTo>
                  <a:pt x="262393" y="1116023"/>
                  <a:pt x="275149" y="1128778"/>
                  <a:pt x="276971" y="1121489"/>
                </a:cubicBezTo>
                <a:cubicBezTo>
                  <a:pt x="273327" y="1117845"/>
                  <a:pt x="271504" y="1121489"/>
                  <a:pt x="267860" y="1117845"/>
                </a:cubicBezTo>
                <a:cubicBezTo>
                  <a:pt x="267860" y="1116023"/>
                  <a:pt x="271504" y="1119667"/>
                  <a:pt x="273327" y="1119667"/>
                </a:cubicBezTo>
                <a:cubicBezTo>
                  <a:pt x="271504" y="1114201"/>
                  <a:pt x="264216" y="1114201"/>
                  <a:pt x="260571" y="1108734"/>
                </a:cubicBezTo>
                <a:close/>
                <a:moveTo>
                  <a:pt x="189506" y="1108734"/>
                </a:moveTo>
                <a:cubicBezTo>
                  <a:pt x="189506" y="1108734"/>
                  <a:pt x="198617" y="1119667"/>
                  <a:pt x="200439" y="1117845"/>
                </a:cubicBezTo>
                <a:cubicBezTo>
                  <a:pt x="196795" y="1116023"/>
                  <a:pt x="193151" y="1114201"/>
                  <a:pt x="189506" y="1108734"/>
                </a:cubicBezTo>
                <a:close/>
                <a:moveTo>
                  <a:pt x="508614" y="1107367"/>
                </a:moveTo>
                <a:cubicBezTo>
                  <a:pt x="504288" y="1106912"/>
                  <a:pt x="500187" y="1107823"/>
                  <a:pt x="497454" y="1110556"/>
                </a:cubicBezTo>
                <a:cubicBezTo>
                  <a:pt x="506565" y="1121489"/>
                  <a:pt x="513853" y="1114201"/>
                  <a:pt x="521142" y="1112378"/>
                </a:cubicBezTo>
                <a:cubicBezTo>
                  <a:pt x="517497" y="1109645"/>
                  <a:pt x="512943" y="1107823"/>
                  <a:pt x="508614" y="1107367"/>
                </a:cubicBezTo>
                <a:close/>
                <a:moveTo>
                  <a:pt x="3090407" y="1106912"/>
                </a:moveTo>
                <a:lnTo>
                  <a:pt x="3093962" y="1115589"/>
                </a:lnTo>
                <a:lnTo>
                  <a:pt x="3092230" y="1116023"/>
                </a:lnTo>
                <a:cubicBezTo>
                  <a:pt x="3092230" y="1112378"/>
                  <a:pt x="3090407" y="1110556"/>
                  <a:pt x="3090407" y="1106912"/>
                </a:cubicBezTo>
                <a:close/>
                <a:moveTo>
                  <a:pt x="2281362" y="1106912"/>
                </a:moveTo>
                <a:cubicBezTo>
                  <a:pt x="2279540" y="1112378"/>
                  <a:pt x="2281362" y="1114201"/>
                  <a:pt x="2285007" y="1114201"/>
                </a:cubicBezTo>
                <a:cubicBezTo>
                  <a:pt x="2288651" y="1112378"/>
                  <a:pt x="2288651" y="1103268"/>
                  <a:pt x="2281362" y="1106912"/>
                </a:cubicBezTo>
                <a:close/>
                <a:moveTo>
                  <a:pt x="2246741" y="1106912"/>
                </a:moveTo>
                <a:cubicBezTo>
                  <a:pt x="2246741" y="1108734"/>
                  <a:pt x="2246741" y="1110556"/>
                  <a:pt x="2246741" y="1112378"/>
                </a:cubicBezTo>
                <a:cubicBezTo>
                  <a:pt x="2246741" y="1110556"/>
                  <a:pt x="2248563" y="1110556"/>
                  <a:pt x="2250385" y="1108734"/>
                </a:cubicBezTo>
                <a:close/>
                <a:moveTo>
                  <a:pt x="925666" y="1106912"/>
                </a:moveTo>
                <a:cubicBezTo>
                  <a:pt x="923843" y="1108734"/>
                  <a:pt x="923843" y="1108734"/>
                  <a:pt x="923843" y="1110556"/>
                </a:cubicBezTo>
                <a:cubicBezTo>
                  <a:pt x="925666" y="1112378"/>
                  <a:pt x="927487" y="1112378"/>
                  <a:pt x="929309" y="1110556"/>
                </a:cubicBezTo>
                <a:cubicBezTo>
                  <a:pt x="927487" y="1108734"/>
                  <a:pt x="927487" y="1108734"/>
                  <a:pt x="925666" y="1106912"/>
                </a:cubicBezTo>
                <a:close/>
                <a:moveTo>
                  <a:pt x="830912" y="1106912"/>
                </a:moveTo>
                <a:cubicBezTo>
                  <a:pt x="829089" y="1106912"/>
                  <a:pt x="825445" y="1108734"/>
                  <a:pt x="823623" y="1110556"/>
                </a:cubicBezTo>
                <a:cubicBezTo>
                  <a:pt x="823623" y="1114201"/>
                  <a:pt x="827267" y="1116023"/>
                  <a:pt x="829089" y="1116023"/>
                </a:cubicBezTo>
                <a:cubicBezTo>
                  <a:pt x="830912" y="1117845"/>
                  <a:pt x="827267" y="1116023"/>
                  <a:pt x="827267" y="1116023"/>
                </a:cubicBezTo>
                <a:cubicBezTo>
                  <a:pt x="829089" y="1121489"/>
                  <a:pt x="834556" y="1117845"/>
                  <a:pt x="836378" y="1119667"/>
                </a:cubicBezTo>
                <a:cubicBezTo>
                  <a:pt x="834556" y="1114201"/>
                  <a:pt x="832734" y="1108734"/>
                  <a:pt x="830912" y="1106912"/>
                </a:cubicBezTo>
                <a:close/>
                <a:moveTo>
                  <a:pt x="772602" y="1106912"/>
                </a:moveTo>
                <a:cubicBezTo>
                  <a:pt x="772602" y="1112378"/>
                  <a:pt x="772602" y="1117845"/>
                  <a:pt x="770781" y="1121489"/>
                </a:cubicBezTo>
                <a:cubicBezTo>
                  <a:pt x="770781" y="1119667"/>
                  <a:pt x="772602" y="1108734"/>
                  <a:pt x="772602" y="1106912"/>
                </a:cubicBezTo>
                <a:close/>
                <a:moveTo>
                  <a:pt x="568519" y="1106912"/>
                </a:moveTo>
                <a:cubicBezTo>
                  <a:pt x="568519" y="1119667"/>
                  <a:pt x="570341" y="1106912"/>
                  <a:pt x="572163" y="1108734"/>
                </a:cubicBezTo>
                <a:cubicBezTo>
                  <a:pt x="572163" y="1108734"/>
                  <a:pt x="570341" y="1108734"/>
                  <a:pt x="568519" y="1106912"/>
                </a:cubicBezTo>
                <a:close/>
                <a:moveTo>
                  <a:pt x="539364" y="1106912"/>
                </a:moveTo>
                <a:cubicBezTo>
                  <a:pt x="537542" y="1106912"/>
                  <a:pt x="541186" y="1110556"/>
                  <a:pt x="543008" y="1110556"/>
                </a:cubicBezTo>
                <a:cubicBezTo>
                  <a:pt x="544830" y="1110556"/>
                  <a:pt x="541186" y="1108734"/>
                  <a:pt x="543008" y="1108734"/>
                </a:cubicBezTo>
                <a:cubicBezTo>
                  <a:pt x="541186" y="1106912"/>
                  <a:pt x="541186" y="1108734"/>
                  <a:pt x="539364" y="1106912"/>
                </a:cubicBezTo>
                <a:close/>
                <a:moveTo>
                  <a:pt x="430034" y="1106912"/>
                </a:moveTo>
                <a:cubicBezTo>
                  <a:pt x="430034" y="1108734"/>
                  <a:pt x="428211" y="1106912"/>
                  <a:pt x="426389" y="1108734"/>
                </a:cubicBezTo>
                <a:cubicBezTo>
                  <a:pt x="430034" y="1110556"/>
                  <a:pt x="431856" y="1110556"/>
                  <a:pt x="433678" y="1110556"/>
                </a:cubicBezTo>
                <a:cubicBezTo>
                  <a:pt x="431856" y="1108734"/>
                  <a:pt x="431856" y="1108734"/>
                  <a:pt x="430034" y="1106912"/>
                </a:cubicBezTo>
                <a:close/>
                <a:moveTo>
                  <a:pt x="313414" y="1106912"/>
                </a:moveTo>
                <a:cubicBezTo>
                  <a:pt x="317059" y="1108734"/>
                  <a:pt x="318882" y="1110556"/>
                  <a:pt x="320703" y="1112378"/>
                </a:cubicBezTo>
                <a:cubicBezTo>
                  <a:pt x="313414" y="1106912"/>
                  <a:pt x="304303" y="1106912"/>
                  <a:pt x="295193" y="1108734"/>
                </a:cubicBezTo>
                <a:cubicBezTo>
                  <a:pt x="300660" y="1117845"/>
                  <a:pt x="309771" y="1123312"/>
                  <a:pt x="317059" y="1128778"/>
                </a:cubicBezTo>
                <a:lnTo>
                  <a:pt x="315236" y="1126956"/>
                </a:lnTo>
                <a:cubicBezTo>
                  <a:pt x="317059" y="1128778"/>
                  <a:pt x="320703" y="1130600"/>
                  <a:pt x="322525" y="1132422"/>
                </a:cubicBezTo>
                <a:cubicBezTo>
                  <a:pt x="326169" y="1130600"/>
                  <a:pt x="322525" y="1130600"/>
                  <a:pt x="320703" y="1128778"/>
                </a:cubicBezTo>
                <a:cubicBezTo>
                  <a:pt x="322525" y="1128778"/>
                  <a:pt x="324347" y="1132422"/>
                  <a:pt x="326169" y="1130600"/>
                </a:cubicBezTo>
                <a:cubicBezTo>
                  <a:pt x="331636" y="1136067"/>
                  <a:pt x="335280" y="1137889"/>
                  <a:pt x="338926" y="1136067"/>
                </a:cubicBezTo>
                <a:cubicBezTo>
                  <a:pt x="337102" y="1136067"/>
                  <a:pt x="337102" y="1136067"/>
                  <a:pt x="337102" y="1136067"/>
                </a:cubicBezTo>
                <a:cubicBezTo>
                  <a:pt x="340747" y="1139711"/>
                  <a:pt x="342569" y="1139711"/>
                  <a:pt x="348037" y="1141533"/>
                </a:cubicBezTo>
                <a:lnTo>
                  <a:pt x="348037" y="1139711"/>
                </a:lnTo>
                <a:cubicBezTo>
                  <a:pt x="349858" y="1141533"/>
                  <a:pt x="351680" y="1141533"/>
                  <a:pt x="355324" y="1141533"/>
                </a:cubicBezTo>
                <a:cubicBezTo>
                  <a:pt x="353502" y="1139711"/>
                  <a:pt x="351680" y="1137889"/>
                  <a:pt x="351680" y="1136067"/>
                </a:cubicBezTo>
                <a:cubicBezTo>
                  <a:pt x="358969" y="1147000"/>
                  <a:pt x="364435" y="1145178"/>
                  <a:pt x="373546" y="1143355"/>
                </a:cubicBezTo>
                <a:cubicBezTo>
                  <a:pt x="371724" y="1143355"/>
                  <a:pt x="368079" y="1143355"/>
                  <a:pt x="366257" y="1141533"/>
                </a:cubicBezTo>
                <a:cubicBezTo>
                  <a:pt x="368079" y="1139711"/>
                  <a:pt x="368079" y="1139711"/>
                  <a:pt x="369902" y="1139711"/>
                </a:cubicBezTo>
                <a:cubicBezTo>
                  <a:pt x="364435" y="1137889"/>
                  <a:pt x="360791" y="1136067"/>
                  <a:pt x="357146" y="1136067"/>
                </a:cubicBezTo>
                <a:cubicBezTo>
                  <a:pt x="360791" y="1134245"/>
                  <a:pt x="366257" y="1134245"/>
                  <a:pt x="369902" y="1134245"/>
                </a:cubicBezTo>
                <a:cubicBezTo>
                  <a:pt x="366257" y="1125134"/>
                  <a:pt x="358969" y="1136067"/>
                  <a:pt x="355324" y="1128778"/>
                </a:cubicBezTo>
                <a:cubicBezTo>
                  <a:pt x="355324" y="1126956"/>
                  <a:pt x="355324" y="1126956"/>
                  <a:pt x="357146" y="1126956"/>
                </a:cubicBezTo>
                <a:cubicBezTo>
                  <a:pt x="349858" y="1123312"/>
                  <a:pt x="342569" y="1125134"/>
                  <a:pt x="335280" y="1121489"/>
                </a:cubicBezTo>
                <a:cubicBezTo>
                  <a:pt x="337102" y="1121489"/>
                  <a:pt x="340747" y="1119667"/>
                  <a:pt x="340747" y="1119667"/>
                </a:cubicBezTo>
                <a:cubicBezTo>
                  <a:pt x="337102" y="1116022"/>
                  <a:pt x="333002" y="1115567"/>
                  <a:pt x="328903" y="1115795"/>
                </a:cubicBezTo>
                <a:lnTo>
                  <a:pt x="328344" y="1115806"/>
                </a:lnTo>
                <a:lnTo>
                  <a:pt x="344391" y="1114201"/>
                </a:lnTo>
                <a:cubicBezTo>
                  <a:pt x="335280" y="1108734"/>
                  <a:pt x="327993" y="1112378"/>
                  <a:pt x="320703" y="1110556"/>
                </a:cubicBezTo>
                <a:cubicBezTo>
                  <a:pt x="320703" y="1108734"/>
                  <a:pt x="318882" y="1105090"/>
                  <a:pt x="313414" y="1106912"/>
                </a:cubicBezTo>
                <a:close/>
                <a:moveTo>
                  <a:pt x="291549" y="1106912"/>
                </a:moveTo>
                <a:cubicBezTo>
                  <a:pt x="286082" y="1105090"/>
                  <a:pt x="291549" y="1114201"/>
                  <a:pt x="297015" y="1116023"/>
                </a:cubicBezTo>
                <a:cubicBezTo>
                  <a:pt x="298837" y="1114201"/>
                  <a:pt x="291549" y="1108734"/>
                  <a:pt x="291549" y="1106912"/>
                </a:cubicBezTo>
                <a:close/>
                <a:moveTo>
                  <a:pt x="229594" y="1106912"/>
                </a:moveTo>
                <a:cubicBezTo>
                  <a:pt x="229594" y="1108734"/>
                  <a:pt x="235061" y="1114201"/>
                  <a:pt x="236883" y="1112378"/>
                </a:cubicBezTo>
                <a:cubicBezTo>
                  <a:pt x="235061" y="1108734"/>
                  <a:pt x="231416" y="1108734"/>
                  <a:pt x="229594" y="1106912"/>
                </a:cubicBezTo>
                <a:close/>
                <a:moveTo>
                  <a:pt x="1486895" y="1105090"/>
                </a:moveTo>
                <a:cubicBezTo>
                  <a:pt x="1486895" y="1105090"/>
                  <a:pt x="1486895" y="1106912"/>
                  <a:pt x="1488716" y="1108734"/>
                </a:cubicBezTo>
                <a:cubicBezTo>
                  <a:pt x="1488716" y="1106912"/>
                  <a:pt x="1492361" y="1108734"/>
                  <a:pt x="1494183" y="1106912"/>
                </a:cubicBezTo>
                <a:cubicBezTo>
                  <a:pt x="1486895" y="1110556"/>
                  <a:pt x="1485072" y="1119667"/>
                  <a:pt x="1488716" y="1119667"/>
                </a:cubicBezTo>
                <a:cubicBezTo>
                  <a:pt x="1485072" y="1123312"/>
                  <a:pt x="1481428" y="1126956"/>
                  <a:pt x="1481428" y="1130600"/>
                </a:cubicBezTo>
                <a:cubicBezTo>
                  <a:pt x="1483250" y="1132422"/>
                  <a:pt x="1486895" y="1125134"/>
                  <a:pt x="1486895" y="1128778"/>
                </a:cubicBezTo>
                <a:cubicBezTo>
                  <a:pt x="1484161" y="1130600"/>
                  <a:pt x="1480972" y="1132422"/>
                  <a:pt x="1478240" y="1134472"/>
                </a:cubicBezTo>
                <a:lnTo>
                  <a:pt x="1473309" y="1140350"/>
                </a:lnTo>
                <a:lnTo>
                  <a:pt x="1465028" y="1141533"/>
                </a:lnTo>
                <a:cubicBezTo>
                  <a:pt x="1457739" y="1145178"/>
                  <a:pt x="1450451" y="1156111"/>
                  <a:pt x="1441340" y="1161577"/>
                </a:cubicBezTo>
                <a:cubicBezTo>
                  <a:pt x="1444984" y="1163399"/>
                  <a:pt x="1446806" y="1156111"/>
                  <a:pt x="1448629" y="1159755"/>
                </a:cubicBezTo>
                <a:cubicBezTo>
                  <a:pt x="1443162" y="1163399"/>
                  <a:pt x="1430407" y="1170688"/>
                  <a:pt x="1424940" y="1176155"/>
                </a:cubicBezTo>
                <a:cubicBezTo>
                  <a:pt x="1424940" y="1174332"/>
                  <a:pt x="1426763" y="1174332"/>
                  <a:pt x="1424940" y="1172510"/>
                </a:cubicBezTo>
                <a:cubicBezTo>
                  <a:pt x="1419474" y="1174332"/>
                  <a:pt x="1421296" y="1181621"/>
                  <a:pt x="1417652" y="1183443"/>
                </a:cubicBezTo>
                <a:cubicBezTo>
                  <a:pt x="1419474" y="1181621"/>
                  <a:pt x="1419474" y="1181621"/>
                  <a:pt x="1417652" y="1179799"/>
                </a:cubicBezTo>
                <a:lnTo>
                  <a:pt x="1402117" y="1185448"/>
                </a:lnTo>
                <a:lnTo>
                  <a:pt x="1404214" y="1184354"/>
                </a:lnTo>
                <a:cubicBezTo>
                  <a:pt x="1409452" y="1180710"/>
                  <a:pt x="1413097" y="1177066"/>
                  <a:pt x="1410363" y="1176155"/>
                </a:cubicBezTo>
                <a:cubicBezTo>
                  <a:pt x="1410363" y="1177977"/>
                  <a:pt x="1412185" y="1176155"/>
                  <a:pt x="1414007" y="1176155"/>
                </a:cubicBezTo>
                <a:cubicBezTo>
                  <a:pt x="1414007" y="1174332"/>
                  <a:pt x="1410363" y="1174332"/>
                  <a:pt x="1412185" y="1172510"/>
                </a:cubicBezTo>
                <a:lnTo>
                  <a:pt x="1418664" y="1174130"/>
                </a:lnTo>
                <a:lnTo>
                  <a:pt x="1417652" y="1176155"/>
                </a:lnTo>
                <a:cubicBezTo>
                  <a:pt x="1418563" y="1177066"/>
                  <a:pt x="1419929" y="1176610"/>
                  <a:pt x="1420613" y="1175699"/>
                </a:cubicBezTo>
                <a:lnTo>
                  <a:pt x="1419988" y="1173949"/>
                </a:lnTo>
                <a:lnTo>
                  <a:pt x="1432001" y="1164994"/>
                </a:lnTo>
                <a:cubicBezTo>
                  <a:pt x="1436329" y="1161577"/>
                  <a:pt x="1440430" y="1157932"/>
                  <a:pt x="1443162" y="1154288"/>
                </a:cubicBezTo>
                <a:cubicBezTo>
                  <a:pt x="1443162" y="1143355"/>
                  <a:pt x="1439518" y="1128778"/>
                  <a:pt x="1439518" y="1117845"/>
                </a:cubicBezTo>
                <a:cubicBezTo>
                  <a:pt x="1439518" y="1126956"/>
                  <a:pt x="1443162" y="1137889"/>
                  <a:pt x="1443162" y="1148822"/>
                </a:cubicBezTo>
                <a:cubicBezTo>
                  <a:pt x="1443162" y="1148822"/>
                  <a:pt x="1444984" y="1148822"/>
                  <a:pt x="1444984" y="1148822"/>
                </a:cubicBezTo>
                <a:cubicBezTo>
                  <a:pt x="1444984" y="1150644"/>
                  <a:pt x="1443162" y="1152466"/>
                  <a:pt x="1444984" y="1154288"/>
                </a:cubicBezTo>
                <a:cubicBezTo>
                  <a:pt x="1452273" y="1152466"/>
                  <a:pt x="1457739" y="1143355"/>
                  <a:pt x="1459562" y="1139711"/>
                </a:cubicBezTo>
                <a:cubicBezTo>
                  <a:pt x="1459562" y="1141533"/>
                  <a:pt x="1459562" y="1141533"/>
                  <a:pt x="1461384" y="1141533"/>
                </a:cubicBezTo>
                <a:cubicBezTo>
                  <a:pt x="1461384" y="1137889"/>
                  <a:pt x="1461384" y="1134245"/>
                  <a:pt x="1459562" y="1130600"/>
                </a:cubicBezTo>
                <a:cubicBezTo>
                  <a:pt x="1465028" y="1132422"/>
                  <a:pt x="1461384" y="1123312"/>
                  <a:pt x="1463206" y="1121489"/>
                </a:cubicBezTo>
                <a:cubicBezTo>
                  <a:pt x="1466850" y="1125134"/>
                  <a:pt x="1461384" y="1134245"/>
                  <a:pt x="1465028" y="1139711"/>
                </a:cubicBezTo>
                <a:cubicBezTo>
                  <a:pt x="1468673" y="1137889"/>
                  <a:pt x="1470495" y="1134245"/>
                  <a:pt x="1470495" y="1132422"/>
                </a:cubicBezTo>
                <a:cubicBezTo>
                  <a:pt x="1472317" y="1132422"/>
                  <a:pt x="1470495" y="1134245"/>
                  <a:pt x="1472317" y="1134245"/>
                </a:cubicBezTo>
                <a:lnTo>
                  <a:pt x="1475961" y="1128778"/>
                </a:lnTo>
                <a:lnTo>
                  <a:pt x="1479606" y="1126956"/>
                </a:lnTo>
                <a:cubicBezTo>
                  <a:pt x="1477784" y="1123312"/>
                  <a:pt x="1485072" y="1121489"/>
                  <a:pt x="1483250" y="1116023"/>
                </a:cubicBezTo>
                <a:cubicBezTo>
                  <a:pt x="1481428" y="1112378"/>
                  <a:pt x="1477784" y="1110556"/>
                  <a:pt x="1477784" y="1106912"/>
                </a:cubicBezTo>
                <a:cubicBezTo>
                  <a:pt x="1479606" y="1108734"/>
                  <a:pt x="1483250" y="1116023"/>
                  <a:pt x="1485072" y="1116023"/>
                </a:cubicBezTo>
                <a:cubicBezTo>
                  <a:pt x="1488716" y="1112378"/>
                  <a:pt x="1485072" y="1106912"/>
                  <a:pt x="1486895" y="1105090"/>
                </a:cubicBezTo>
                <a:close/>
                <a:moveTo>
                  <a:pt x="1113349" y="1105090"/>
                </a:moveTo>
                <a:cubicBezTo>
                  <a:pt x="1109704" y="1108734"/>
                  <a:pt x="1107882" y="1112378"/>
                  <a:pt x="1109704" y="1116023"/>
                </a:cubicBezTo>
                <a:cubicBezTo>
                  <a:pt x="1115171" y="1117845"/>
                  <a:pt x="1118815" y="1114201"/>
                  <a:pt x="1120637" y="1110556"/>
                </a:cubicBezTo>
                <a:cubicBezTo>
                  <a:pt x="1116993" y="1112378"/>
                  <a:pt x="1115171" y="1106912"/>
                  <a:pt x="1113349" y="1105090"/>
                </a:cubicBezTo>
                <a:close/>
                <a:moveTo>
                  <a:pt x="932953" y="1105090"/>
                </a:moveTo>
                <a:cubicBezTo>
                  <a:pt x="932953" y="1106912"/>
                  <a:pt x="936598" y="1112378"/>
                  <a:pt x="938420" y="1112378"/>
                </a:cubicBezTo>
                <a:cubicBezTo>
                  <a:pt x="940242" y="1108734"/>
                  <a:pt x="932953" y="1106912"/>
                  <a:pt x="932953" y="1105090"/>
                </a:cubicBezTo>
                <a:close/>
                <a:moveTo>
                  <a:pt x="623185" y="1105090"/>
                </a:moveTo>
                <a:cubicBezTo>
                  <a:pt x="623185" y="1108734"/>
                  <a:pt x="621362" y="1106912"/>
                  <a:pt x="619539" y="1108734"/>
                </a:cubicBezTo>
                <a:cubicBezTo>
                  <a:pt x="623185" y="1114201"/>
                  <a:pt x="634117" y="1116023"/>
                  <a:pt x="634117" y="1110556"/>
                </a:cubicBezTo>
                <a:cubicBezTo>
                  <a:pt x="630472" y="1112378"/>
                  <a:pt x="626828" y="1108734"/>
                  <a:pt x="623185" y="1105090"/>
                </a:cubicBezTo>
                <a:close/>
                <a:moveTo>
                  <a:pt x="450077" y="1105090"/>
                </a:moveTo>
                <a:cubicBezTo>
                  <a:pt x="450077" y="1106912"/>
                  <a:pt x="455544" y="1110556"/>
                  <a:pt x="455544" y="1108734"/>
                </a:cubicBezTo>
                <a:cubicBezTo>
                  <a:pt x="453722" y="1106912"/>
                  <a:pt x="451899" y="1105090"/>
                  <a:pt x="450077" y="1105090"/>
                </a:cubicBezTo>
                <a:close/>
                <a:moveTo>
                  <a:pt x="377190" y="1105090"/>
                </a:moveTo>
                <a:cubicBezTo>
                  <a:pt x="380835" y="1112378"/>
                  <a:pt x="391768" y="1114201"/>
                  <a:pt x="395412" y="1119667"/>
                </a:cubicBezTo>
                <a:cubicBezTo>
                  <a:pt x="393590" y="1114201"/>
                  <a:pt x="382657" y="1105090"/>
                  <a:pt x="377190" y="1105090"/>
                </a:cubicBezTo>
                <a:close/>
                <a:moveTo>
                  <a:pt x="494949" y="1104635"/>
                </a:moveTo>
                <a:cubicBezTo>
                  <a:pt x="493810" y="1104635"/>
                  <a:pt x="492898" y="1105090"/>
                  <a:pt x="491987" y="1105090"/>
                </a:cubicBezTo>
                <a:cubicBezTo>
                  <a:pt x="490165" y="1108734"/>
                  <a:pt x="497454" y="1108734"/>
                  <a:pt x="499276" y="1106912"/>
                </a:cubicBezTo>
                <a:cubicBezTo>
                  <a:pt x="497454" y="1105090"/>
                  <a:pt x="496088" y="1104635"/>
                  <a:pt x="494949" y="1104635"/>
                </a:cubicBezTo>
                <a:close/>
                <a:moveTo>
                  <a:pt x="1127926" y="1103268"/>
                </a:moveTo>
                <a:cubicBezTo>
                  <a:pt x="1124282" y="1105090"/>
                  <a:pt x="1124282" y="1108734"/>
                  <a:pt x="1122459" y="1110556"/>
                </a:cubicBezTo>
                <a:cubicBezTo>
                  <a:pt x="1126104" y="1108734"/>
                  <a:pt x="1129748" y="1108734"/>
                  <a:pt x="1131570" y="1105090"/>
                </a:cubicBezTo>
                <a:cubicBezTo>
                  <a:pt x="1131570" y="1105090"/>
                  <a:pt x="1129748" y="1103268"/>
                  <a:pt x="1127926" y="1103268"/>
                </a:cubicBezTo>
                <a:close/>
                <a:moveTo>
                  <a:pt x="1082373" y="1103268"/>
                </a:moveTo>
                <a:cubicBezTo>
                  <a:pt x="1082373" y="1101445"/>
                  <a:pt x="1078727" y="1103268"/>
                  <a:pt x="1076905" y="1105090"/>
                </a:cubicBezTo>
                <a:cubicBezTo>
                  <a:pt x="1078727" y="1105090"/>
                  <a:pt x="1078727" y="1110556"/>
                  <a:pt x="1082373" y="1108734"/>
                </a:cubicBezTo>
                <a:cubicBezTo>
                  <a:pt x="1082373" y="1106912"/>
                  <a:pt x="1078727" y="1103268"/>
                  <a:pt x="1082373" y="1103268"/>
                </a:cubicBezTo>
                <a:close/>
                <a:moveTo>
                  <a:pt x="1047750" y="1103268"/>
                </a:moveTo>
                <a:cubicBezTo>
                  <a:pt x="1045929" y="1105090"/>
                  <a:pt x="1044106" y="1106912"/>
                  <a:pt x="1045929" y="1108734"/>
                </a:cubicBezTo>
                <a:cubicBezTo>
                  <a:pt x="1047750" y="1108734"/>
                  <a:pt x="1047750" y="1110556"/>
                  <a:pt x="1049573" y="1108734"/>
                </a:cubicBezTo>
                <a:cubicBezTo>
                  <a:pt x="1049573" y="1106912"/>
                  <a:pt x="1049573" y="1105090"/>
                  <a:pt x="1047750" y="1103268"/>
                </a:cubicBezTo>
                <a:close/>
                <a:moveTo>
                  <a:pt x="841845" y="1103268"/>
                </a:moveTo>
                <a:cubicBezTo>
                  <a:pt x="834556" y="1099623"/>
                  <a:pt x="834556" y="1112378"/>
                  <a:pt x="840022" y="1117845"/>
                </a:cubicBezTo>
                <a:cubicBezTo>
                  <a:pt x="843667" y="1117845"/>
                  <a:pt x="847311" y="1117845"/>
                  <a:pt x="841845" y="1114201"/>
                </a:cubicBezTo>
                <a:cubicBezTo>
                  <a:pt x="843667" y="1116023"/>
                  <a:pt x="845489" y="1116023"/>
                  <a:pt x="847311" y="1117845"/>
                </a:cubicBezTo>
                <a:cubicBezTo>
                  <a:pt x="849133" y="1117845"/>
                  <a:pt x="849133" y="1114201"/>
                  <a:pt x="849133" y="1114201"/>
                </a:cubicBezTo>
                <a:lnTo>
                  <a:pt x="841845" y="1114201"/>
                </a:lnTo>
                <a:lnTo>
                  <a:pt x="840022" y="1114201"/>
                </a:lnTo>
                <a:cubicBezTo>
                  <a:pt x="840022" y="1108734"/>
                  <a:pt x="847311" y="1114201"/>
                  <a:pt x="847311" y="1110556"/>
                </a:cubicBezTo>
                <a:cubicBezTo>
                  <a:pt x="849133" y="1106912"/>
                  <a:pt x="841845" y="1110556"/>
                  <a:pt x="841845" y="1103268"/>
                </a:cubicBezTo>
                <a:close/>
                <a:moveTo>
                  <a:pt x="789003" y="1103268"/>
                </a:moveTo>
                <a:cubicBezTo>
                  <a:pt x="783535" y="1105090"/>
                  <a:pt x="787179" y="1106912"/>
                  <a:pt x="790824" y="1106912"/>
                </a:cubicBezTo>
                <a:cubicBezTo>
                  <a:pt x="790824" y="1106912"/>
                  <a:pt x="790824" y="1105090"/>
                  <a:pt x="789003" y="1103268"/>
                </a:cubicBezTo>
                <a:close/>
                <a:moveTo>
                  <a:pt x="595852" y="1103268"/>
                </a:moveTo>
                <a:cubicBezTo>
                  <a:pt x="597673" y="1106912"/>
                  <a:pt x="604963" y="1114201"/>
                  <a:pt x="612251" y="1114201"/>
                </a:cubicBezTo>
                <a:cubicBezTo>
                  <a:pt x="606784" y="1110556"/>
                  <a:pt x="599496" y="1105090"/>
                  <a:pt x="595852" y="1103268"/>
                </a:cubicBezTo>
                <a:close/>
                <a:moveTo>
                  <a:pt x="247816" y="1103268"/>
                </a:moveTo>
                <a:cubicBezTo>
                  <a:pt x="247816" y="1105090"/>
                  <a:pt x="245994" y="1103268"/>
                  <a:pt x="244172" y="1105090"/>
                </a:cubicBezTo>
                <a:cubicBezTo>
                  <a:pt x="253282" y="1105090"/>
                  <a:pt x="255105" y="1114201"/>
                  <a:pt x="262393" y="1117845"/>
                </a:cubicBezTo>
                <a:cubicBezTo>
                  <a:pt x="258749" y="1112378"/>
                  <a:pt x="253282" y="1106912"/>
                  <a:pt x="247816" y="1103268"/>
                </a:cubicBezTo>
                <a:close/>
                <a:moveTo>
                  <a:pt x="235061" y="1103268"/>
                </a:moveTo>
                <a:cubicBezTo>
                  <a:pt x="235061" y="1105090"/>
                  <a:pt x="240527" y="1106912"/>
                  <a:pt x="238705" y="1106912"/>
                </a:cubicBezTo>
                <a:cubicBezTo>
                  <a:pt x="238705" y="1103268"/>
                  <a:pt x="236883" y="1105090"/>
                  <a:pt x="235061" y="1103268"/>
                </a:cubicBezTo>
                <a:close/>
                <a:moveTo>
                  <a:pt x="220483" y="1103268"/>
                </a:moveTo>
                <a:cubicBezTo>
                  <a:pt x="222306" y="1110556"/>
                  <a:pt x="231416" y="1110556"/>
                  <a:pt x="233239" y="1116023"/>
                </a:cubicBezTo>
                <a:cubicBezTo>
                  <a:pt x="231416" y="1110556"/>
                  <a:pt x="225950" y="1103268"/>
                  <a:pt x="220483" y="1103268"/>
                </a:cubicBezTo>
                <a:close/>
                <a:moveTo>
                  <a:pt x="426388" y="1103267"/>
                </a:moveTo>
                <a:lnTo>
                  <a:pt x="426389" y="1103267"/>
                </a:lnTo>
                <a:lnTo>
                  <a:pt x="426389" y="1103268"/>
                </a:lnTo>
                <a:close/>
                <a:moveTo>
                  <a:pt x="976310" y="1102517"/>
                </a:moveTo>
                <a:lnTo>
                  <a:pt x="976686" y="1103268"/>
                </a:lnTo>
                <a:lnTo>
                  <a:pt x="975704" y="1104249"/>
                </a:lnTo>
                <a:close/>
                <a:moveTo>
                  <a:pt x="3285380" y="1101445"/>
                </a:moveTo>
                <a:cubicBezTo>
                  <a:pt x="3281736" y="1106912"/>
                  <a:pt x="3276269" y="1105090"/>
                  <a:pt x="3274447" y="1110556"/>
                </a:cubicBezTo>
                <a:cubicBezTo>
                  <a:pt x="3270803" y="1108734"/>
                  <a:pt x="3272625" y="1106912"/>
                  <a:pt x="3270803" y="1103268"/>
                </a:cubicBezTo>
                <a:cubicBezTo>
                  <a:pt x="3265336" y="1106912"/>
                  <a:pt x="3267158" y="1114201"/>
                  <a:pt x="3263514" y="1119667"/>
                </a:cubicBezTo>
                <a:cubicBezTo>
                  <a:pt x="3258047" y="1116023"/>
                  <a:pt x="3263514" y="1106912"/>
                  <a:pt x="3265336" y="1103268"/>
                </a:cubicBezTo>
                <a:cubicBezTo>
                  <a:pt x="3241648" y="1097801"/>
                  <a:pt x="3221604" y="1103268"/>
                  <a:pt x="3205204" y="1110556"/>
                </a:cubicBezTo>
                <a:cubicBezTo>
                  <a:pt x="3210671" y="1121489"/>
                  <a:pt x="3221604" y="1126956"/>
                  <a:pt x="3230715" y="1134245"/>
                </a:cubicBezTo>
                <a:cubicBezTo>
                  <a:pt x="3234359" y="1143355"/>
                  <a:pt x="3236181" y="1154288"/>
                  <a:pt x="3247114" y="1156111"/>
                </a:cubicBezTo>
                <a:cubicBezTo>
                  <a:pt x="3243470" y="1167044"/>
                  <a:pt x="3254403" y="1170688"/>
                  <a:pt x="3263514" y="1170688"/>
                </a:cubicBezTo>
                <a:cubicBezTo>
                  <a:pt x="3263514" y="1165222"/>
                  <a:pt x="3268980" y="1163399"/>
                  <a:pt x="3270803" y="1159755"/>
                </a:cubicBezTo>
                <a:cubicBezTo>
                  <a:pt x="3276269" y="1161577"/>
                  <a:pt x="3267158" y="1176155"/>
                  <a:pt x="3278091" y="1172510"/>
                </a:cubicBezTo>
                <a:cubicBezTo>
                  <a:pt x="3276269" y="1165222"/>
                  <a:pt x="3281736" y="1161577"/>
                  <a:pt x="3281736" y="1154288"/>
                </a:cubicBezTo>
                <a:cubicBezTo>
                  <a:pt x="3285380" y="1152466"/>
                  <a:pt x="3287202" y="1156111"/>
                  <a:pt x="3289024" y="1157933"/>
                </a:cubicBezTo>
                <a:cubicBezTo>
                  <a:pt x="3285380" y="1159755"/>
                  <a:pt x="3287202" y="1165222"/>
                  <a:pt x="3281736" y="1167044"/>
                </a:cubicBezTo>
                <a:cubicBezTo>
                  <a:pt x="3283558" y="1170688"/>
                  <a:pt x="3287202" y="1170688"/>
                  <a:pt x="3289024" y="1167044"/>
                </a:cubicBezTo>
                <a:cubicBezTo>
                  <a:pt x="3289024" y="1170688"/>
                  <a:pt x="3285380" y="1170688"/>
                  <a:pt x="3287202" y="1174332"/>
                </a:cubicBezTo>
                <a:cubicBezTo>
                  <a:pt x="3294491" y="1172510"/>
                  <a:pt x="3298135" y="1170688"/>
                  <a:pt x="3299957" y="1174332"/>
                </a:cubicBezTo>
                <a:cubicBezTo>
                  <a:pt x="3303602" y="1174332"/>
                  <a:pt x="3303602" y="1170688"/>
                  <a:pt x="3305424" y="1170688"/>
                </a:cubicBezTo>
                <a:lnTo>
                  <a:pt x="3304416" y="1169962"/>
                </a:lnTo>
                <a:lnTo>
                  <a:pt x="3312713" y="1165222"/>
                </a:lnTo>
                <a:cubicBezTo>
                  <a:pt x="3309980" y="1162488"/>
                  <a:pt x="3308157" y="1163399"/>
                  <a:pt x="3306335" y="1165449"/>
                </a:cubicBezTo>
                <a:lnTo>
                  <a:pt x="3303109" y="1169021"/>
                </a:lnTo>
                <a:lnTo>
                  <a:pt x="3299730" y="1166588"/>
                </a:lnTo>
                <a:cubicBezTo>
                  <a:pt x="3298135" y="1165221"/>
                  <a:pt x="3296313" y="1164310"/>
                  <a:pt x="3292669" y="1165222"/>
                </a:cubicBezTo>
                <a:cubicBezTo>
                  <a:pt x="3289024" y="1165222"/>
                  <a:pt x="3294491" y="1159755"/>
                  <a:pt x="3290847" y="1159755"/>
                </a:cubicBezTo>
                <a:cubicBezTo>
                  <a:pt x="3296313" y="1165222"/>
                  <a:pt x="3314535" y="1152466"/>
                  <a:pt x="3320001" y="1161577"/>
                </a:cubicBezTo>
                <a:cubicBezTo>
                  <a:pt x="3321824" y="1159755"/>
                  <a:pt x="3321824" y="1157933"/>
                  <a:pt x="3325468" y="1156111"/>
                </a:cubicBezTo>
                <a:cubicBezTo>
                  <a:pt x="3327290" y="1157933"/>
                  <a:pt x="3329112" y="1157933"/>
                  <a:pt x="3330934" y="1159755"/>
                </a:cubicBezTo>
                <a:lnTo>
                  <a:pt x="3327290" y="1167044"/>
                </a:lnTo>
                <a:lnTo>
                  <a:pt x="3324785" y="1169549"/>
                </a:lnTo>
                <a:cubicBezTo>
                  <a:pt x="3324102" y="1171143"/>
                  <a:pt x="3323646" y="1172510"/>
                  <a:pt x="3321824" y="1172510"/>
                </a:cubicBezTo>
                <a:cubicBezTo>
                  <a:pt x="3320001" y="1174332"/>
                  <a:pt x="3323646" y="1176155"/>
                  <a:pt x="3323646" y="1172510"/>
                </a:cubicBezTo>
                <a:cubicBezTo>
                  <a:pt x="3325468" y="1172510"/>
                  <a:pt x="3327290" y="1172510"/>
                  <a:pt x="3329112" y="1172510"/>
                </a:cubicBezTo>
                <a:lnTo>
                  <a:pt x="3329112" y="1165677"/>
                </a:lnTo>
                <a:lnTo>
                  <a:pt x="3330934" y="1164310"/>
                </a:lnTo>
                <a:cubicBezTo>
                  <a:pt x="3331390" y="1162944"/>
                  <a:pt x="3331846" y="1161577"/>
                  <a:pt x="3334579" y="1161577"/>
                </a:cubicBezTo>
                <a:cubicBezTo>
                  <a:pt x="3334579" y="1157933"/>
                  <a:pt x="3334579" y="1152466"/>
                  <a:pt x="3334579" y="1148822"/>
                </a:cubicBezTo>
                <a:cubicBezTo>
                  <a:pt x="3336401" y="1148822"/>
                  <a:pt x="3336401" y="1148822"/>
                  <a:pt x="3336401" y="1152466"/>
                </a:cubicBezTo>
                <a:lnTo>
                  <a:pt x="3341787" y="1148785"/>
                </a:lnTo>
                <a:lnTo>
                  <a:pt x="3341867" y="1148822"/>
                </a:lnTo>
                <a:lnTo>
                  <a:pt x="3341843" y="1148748"/>
                </a:lnTo>
                <a:lnTo>
                  <a:pt x="3350068" y="1143127"/>
                </a:lnTo>
                <a:lnTo>
                  <a:pt x="3357554" y="1128362"/>
                </a:lnTo>
                <a:lnTo>
                  <a:pt x="3358267" y="1128778"/>
                </a:lnTo>
                <a:cubicBezTo>
                  <a:pt x="3360089" y="1126956"/>
                  <a:pt x="3361911" y="1125134"/>
                  <a:pt x="3361911" y="1123312"/>
                </a:cubicBezTo>
                <a:cubicBezTo>
                  <a:pt x="3358267" y="1123312"/>
                  <a:pt x="3356445" y="1125134"/>
                  <a:pt x="3352800" y="1126956"/>
                </a:cubicBezTo>
                <a:cubicBezTo>
                  <a:pt x="3352800" y="1127867"/>
                  <a:pt x="3354167" y="1127411"/>
                  <a:pt x="3355534" y="1127184"/>
                </a:cubicBezTo>
                <a:lnTo>
                  <a:pt x="3356081" y="1127503"/>
                </a:lnTo>
                <a:lnTo>
                  <a:pt x="3347334" y="1129689"/>
                </a:lnTo>
                <a:cubicBezTo>
                  <a:pt x="3344146" y="1129689"/>
                  <a:pt x="3340957" y="1129689"/>
                  <a:pt x="3336401" y="1132422"/>
                </a:cubicBezTo>
                <a:lnTo>
                  <a:pt x="3341843" y="1148748"/>
                </a:lnTo>
                <a:lnTo>
                  <a:pt x="3341787" y="1148785"/>
                </a:lnTo>
                <a:lnTo>
                  <a:pt x="3334806" y="1145633"/>
                </a:lnTo>
                <a:cubicBezTo>
                  <a:pt x="3332301" y="1145177"/>
                  <a:pt x="3330023" y="1146088"/>
                  <a:pt x="3329112" y="1150644"/>
                </a:cubicBezTo>
                <a:cubicBezTo>
                  <a:pt x="3323646" y="1148822"/>
                  <a:pt x="3330934" y="1139711"/>
                  <a:pt x="3332756" y="1143355"/>
                </a:cubicBezTo>
                <a:cubicBezTo>
                  <a:pt x="3338223" y="1128778"/>
                  <a:pt x="3316357" y="1137889"/>
                  <a:pt x="3309068" y="1139711"/>
                </a:cubicBezTo>
                <a:cubicBezTo>
                  <a:pt x="3309068" y="1136067"/>
                  <a:pt x="3312713" y="1134245"/>
                  <a:pt x="3312713" y="1130600"/>
                </a:cubicBezTo>
                <a:cubicBezTo>
                  <a:pt x="3312713" y="1132422"/>
                  <a:pt x="3314535" y="1132422"/>
                  <a:pt x="3314535" y="1134245"/>
                </a:cubicBezTo>
                <a:cubicBezTo>
                  <a:pt x="3316357" y="1134245"/>
                  <a:pt x="3316357" y="1125134"/>
                  <a:pt x="3312713" y="1130600"/>
                </a:cubicBezTo>
                <a:cubicBezTo>
                  <a:pt x="3310890" y="1112378"/>
                  <a:pt x="3292669" y="1112378"/>
                  <a:pt x="3285380" y="1101445"/>
                </a:cubicBezTo>
                <a:close/>
                <a:moveTo>
                  <a:pt x="2922767" y="1101445"/>
                </a:moveTo>
                <a:cubicBezTo>
                  <a:pt x="2928234" y="1101445"/>
                  <a:pt x="2930056" y="1112378"/>
                  <a:pt x="2935523" y="1112378"/>
                </a:cubicBezTo>
                <a:cubicBezTo>
                  <a:pt x="2939167" y="1112378"/>
                  <a:pt x="2931878" y="1106912"/>
                  <a:pt x="2933700" y="1105090"/>
                </a:cubicBezTo>
                <a:cubicBezTo>
                  <a:pt x="2935523" y="1101445"/>
                  <a:pt x="2939167" y="1108734"/>
                  <a:pt x="2940989" y="1108734"/>
                </a:cubicBezTo>
                <a:cubicBezTo>
                  <a:pt x="2939167" y="1112378"/>
                  <a:pt x="2939167" y="1114201"/>
                  <a:pt x="2937345" y="1116023"/>
                </a:cubicBezTo>
                <a:cubicBezTo>
                  <a:pt x="2937345" y="1116023"/>
                  <a:pt x="2939167" y="1117845"/>
                  <a:pt x="2939167" y="1117845"/>
                </a:cubicBezTo>
                <a:cubicBezTo>
                  <a:pt x="2938256" y="1120578"/>
                  <a:pt x="2935979" y="1121489"/>
                  <a:pt x="2933245" y="1121489"/>
                </a:cubicBezTo>
                <a:lnTo>
                  <a:pt x="2926379" y="1120043"/>
                </a:lnTo>
                <a:lnTo>
                  <a:pt x="2925786" y="1118414"/>
                </a:lnTo>
                <a:cubicBezTo>
                  <a:pt x="2925615" y="1110897"/>
                  <a:pt x="2930056" y="1102356"/>
                  <a:pt x="2919123" y="1105090"/>
                </a:cubicBezTo>
                <a:cubicBezTo>
                  <a:pt x="2920945" y="1103268"/>
                  <a:pt x="2920945" y="1101445"/>
                  <a:pt x="2922767" y="1101445"/>
                </a:cubicBezTo>
                <a:close/>
                <a:moveTo>
                  <a:pt x="2341494" y="1101445"/>
                </a:moveTo>
                <a:cubicBezTo>
                  <a:pt x="2339672" y="1105090"/>
                  <a:pt x="2345138" y="1110556"/>
                  <a:pt x="2350605" y="1110556"/>
                </a:cubicBezTo>
                <a:cubicBezTo>
                  <a:pt x="2348782" y="1106912"/>
                  <a:pt x="2345138" y="1103268"/>
                  <a:pt x="2341494" y="1101445"/>
                </a:cubicBezTo>
                <a:close/>
                <a:moveTo>
                  <a:pt x="2315983" y="1101445"/>
                </a:moveTo>
                <a:cubicBezTo>
                  <a:pt x="2310517" y="1103268"/>
                  <a:pt x="2308695" y="1108734"/>
                  <a:pt x="2303228" y="1110556"/>
                </a:cubicBezTo>
                <a:cubicBezTo>
                  <a:pt x="2308695" y="1112378"/>
                  <a:pt x="2310517" y="1106912"/>
                  <a:pt x="2315983" y="1112378"/>
                </a:cubicBezTo>
                <a:cubicBezTo>
                  <a:pt x="2314161" y="1108734"/>
                  <a:pt x="2319628" y="1105090"/>
                  <a:pt x="2315983" y="1101445"/>
                </a:cubicBezTo>
                <a:close/>
                <a:moveTo>
                  <a:pt x="2203237" y="1101445"/>
                </a:moveTo>
                <a:cubicBezTo>
                  <a:pt x="2202554" y="1102356"/>
                  <a:pt x="2202098" y="1104179"/>
                  <a:pt x="2201187" y="1105090"/>
                </a:cubicBezTo>
                <a:cubicBezTo>
                  <a:pt x="2197542" y="1108734"/>
                  <a:pt x="2206653" y="1108734"/>
                  <a:pt x="2204831" y="1112378"/>
                </a:cubicBezTo>
                <a:cubicBezTo>
                  <a:pt x="2208475" y="1112378"/>
                  <a:pt x="2208475" y="1110556"/>
                  <a:pt x="2208475" y="1106912"/>
                </a:cubicBezTo>
                <a:cubicBezTo>
                  <a:pt x="2204831" y="1110556"/>
                  <a:pt x="2203009" y="1105090"/>
                  <a:pt x="2206653" y="1103268"/>
                </a:cubicBezTo>
                <a:cubicBezTo>
                  <a:pt x="2204831" y="1100534"/>
                  <a:pt x="2203920" y="1100534"/>
                  <a:pt x="2203237" y="1101445"/>
                </a:cubicBezTo>
                <a:close/>
                <a:moveTo>
                  <a:pt x="1372097" y="1101445"/>
                </a:moveTo>
                <a:cubicBezTo>
                  <a:pt x="1369364" y="1101445"/>
                  <a:pt x="1365720" y="1104178"/>
                  <a:pt x="1361848" y="1106456"/>
                </a:cubicBezTo>
                <a:lnTo>
                  <a:pt x="1360908" y="1106641"/>
                </a:lnTo>
                <a:close/>
                <a:moveTo>
                  <a:pt x="1113349" y="1101445"/>
                </a:moveTo>
                <a:cubicBezTo>
                  <a:pt x="1115171" y="1103268"/>
                  <a:pt x="1118815" y="1103268"/>
                  <a:pt x="1118815" y="1106912"/>
                </a:cubicBezTo>
                <a:cubicBezTo>
                  <a:pt x="1122459" y="1106912"/>
                  <a:pt x="1122459" y="1103268"/>
                  <a:pt x="1120637" y="1101445"/>
                </a:cubicBezTo>
                <a:cubicBezTo>
                  <a:pt x="1118815" y="1103268"/>
                  <a:pt x="1116993" y="1099623"/>
                  <a:pt x="1113349" y="1101445"/>
                </a:cubicBezTo>
                <a:close/>
                <a:moveTo>
                  <a:pt x="1060506" y="1101445"/>
                </a:moveTo>
                <a:cubicBezTo>
                  <a:pt x="1060506" y="1101445"/>
                  <a:pt x="1058683" y="1103268"/>
                  <a:pt x="1058683" y="1103268"/>
                </a:cubicBezTo>
                <a:cubicBezTo>
                  <a:pt x="1060506" y="1105090"/>
                  <a:pt x="1062328" y="1106912"/>
                  <a:pt x="1064151" y="1105090"/>
                </a:cubicBezTo>
                <a:cubicBezTo>
                  <a:pt x="1062328" y="1103268"/>
                  <a:pt x="1062328" y="1105090"/>
                  <a:pt x="1060506" y="1101445"/>
                </a:cubicBezTo>
                <a:close/>
                <a:moveTo>
                  <a:pt x="1038639" y="1101445"/>
                </a:moveTo>
                <a:cubicBezTo>
                  <a:pt x="1034995" y="1105090"/>
                  <a:pt x="1033173" y="1103268"/>
                  <a:pt x="1031351" y="1105090"/>
                </a:cubicBezTo>
                <a:cubicBezTo>
                  <a:pt x="1033173" y="1106912"/>
                  <a:pt x="1034995" y="1105090"/>
                  <a:pt x="1036818" y="1103268"/>
                </a:cubicBezTo>
                <a:cubicBezTo>
                  <a:pt x="1038639" y="1105090"/>
                  <a:pt x="1036818" y="1105090"/>
                  <a:pt x="1038639" y="1106912"/>
                </a:cubicBezTo>
                <a:cubicBezTo>
                  <a:pt x="1040462" y="1105090"/>
                  <a:pt x="1038639" y="1103268"/>
                  <a:pt x="1038639" y="1101445"/>
                </a:cubicBezTo>
                <a:close/>
                <a:moveTo>
                  <a:pt x="1024062" y="1101445"/>
                </a:moveTo>
                <a:cubicBezTo>
                  <a:pt x="1022240" y="1101445"/>
                  <a:pt x="1022240" y="1103268"/>
                  <a:pt x="1022240" y="1103268"/>
                </a:cubicBezTo>
                <a:cubicBezTo>
                  <a:pt x="1022240" y="1105090"/>
                  <a:pt x="1024062" y="1105090"/>
                  <a:pt x="1025884" y="1103268"/>
                </a:cubicBezTo>
                <a:cubicBezTo>
                  <a:pt x="1025884" y="1101445"/>
                  <a:pt x="1024062" y="1103268"/>
                  <a:pt x="1024062" y="1101445"/>
                </a:cubicBezTo>
                <a:close/>
                <a:moveTo>
                  <a:pt x="821801" y="1101445"/>
                </a:moveTo>
                <a:cubicBezTo>
                  <a:pt x="821801" y="1103268"/>
                  <a:pt x="821801" y="1105090"/>
                  <a:pt x="821801" y="1106912"/>
                </a:cubicBezTo>
                <a:cubicBezTo>
                  <a:pt x="825445" y="1106912"/>
                  <a:pt x="823623" y="1099623"/>
                  <a:pt x="821801" y="1101445"/>
                </a:cubicBezTo>
                <a:close/>
                <a:moveTo>
                  <a:pt x="599496" y="1101445"/>
                </a:moveTo>
                <a:cubicBezTo>
                  <a:pt x="597673" y="1103268"/>
                  <a:pt x="606784" y="1106912"/>
                  <a:pt x="608606" y="1108734"/>
                </a:cubicBezTo>
                <a:cubicBezTo>
                  <a:pt x="610429" y="1105090"/>
                  <a:pt x="604963" y="1099623"/>
                  <a:pt x="599496" y="1101445"/>
                </a:cubicBezTo>
                <a:close/>
                <a:moveTo>
                  <a:pt x="457367" y="1101445"/>
                </a:moveTo>
                <a:cubicBezTo>
                  <a:pt x="459188" y="1103268"/>
                  <a:pt x="462832" y="1105090"/>
                  <a:pt x="464655" y="1106912"/>
                </a:cubicBezTo>
                <a:cubicBezTo>
                  <a:pt x="471943" y="1105090"/>
                  <a:pt x="461010" y="1105090"/>
                  <a:pt x="461010" y="1101445"/>
                </a:cubicBezTo>
                <a:cubicBezTo>
                  <a:pt x="461010" y="1101445"/>
                  <a:pt x="459188" y="1101445"/>
                  <a:pt x="457367" y="1101445"/>
                </a:cubicBezTo>
                <a:close/>
                <a:moveTo>
                  <a:pt x="205906" y="1101445"/>
                </a:moveTo>
                <a:cubicBezTo>
                  <a:pt x="205906" y="1105090"/>
                  <a:pt x="211372" y="1105090"/>
                  <a:pt x="213195" y="1108734"/>
                </a:cubicBezTo>
                <a:cubicBezTo>
                  <a:pt x="213195" y="1103268"/>
                  <a:pt x="209550" y="1105090"/>
                  <a:pt x="205906" y="1101445"/>
                </a:cubicBezTo>
                <a:close/>
                <a:moveTo>
                  <a:pt x="184040" y="1101445"/>
                </a:moveTo>
                <a:cubicBezTo>
                  <a:pt x="189506" y="1108734"/>
                  <a:pt x="198617" y="1108734"/>
                  <a:pt x="205906" y="1112378"/>
                </a:cubicBezTo>
                <a:cubicBezTo>
                  <a:pt x="200439" y="1106912"/>
                  <a:pt x="191329" y="1106912"/>
                  <a:pt x="184040" y="1101445"/>
                </a:cubicBezTo>
                <a:close/>
                <a:moveTo>
                  <a:pt x="143952" y="1101445"/>
                </a:moveTo>
                <a:lnTo>
                  <a:pt x="160113" y="1110981"/>
                </a:lnTo>
                <a:lnTo>
                  <a:pt x="157847" y="1110101"/>
                </a:lnTo>
                <a:cubicBezTo>
                  <a:pt x="153063" y="1107368"/>
                  <a:pt x="148508" y="1104179"/>
                  <a:pt x="143952" y="1101445"/>
                </a:cubicBezTo>
                <a:close/>
                <a:moveTo>
                  <a:pt x="490848" y="1100989"/>
                </a:moveTo>
                <a:cubicBezTo>
                  <a:pt x="489254" y="1100534"/>
                  <a:pt x="487432" y="1100534"/>
                  <a:pt x="486521" y="1101445"/>
                </a:cubicBezTo>
                <a:cubicBezTo>
                  <a:pt x="488343" y="1105090"/>
                  <a:pt x="490165" y="1103268"/>
                  <a:pt x="493809" y="1103268"/>
                </a:cubicBezTo>
                <a:cubicBezTo>
                  <a:pt x="493809" y="1102356"/>
                  <a:pt x="492442" y="1101445"/>
                  <a:pt x="490848" y="1100989"/>
                </a:cubicBezTo>
                <a:close/>
                <a:moveTo>
                  <a:pt x="260344" y="1099623"/>
                </a:moveTo>
                <a:cubicBezTo>
                  <a:pt x="259205" y="1099168"/>
                  <a:pt x="257838" y="1099623"/>
                  <a:pt x="256927" y="1101445"/>
                </a:cubicBezTo>
                <a:cubicBezTo>
                  <a:pt x="258749" y="1105090"/>
                  <a:pt x="260571" y="1101445"/>
                  <a:pt x="262393" y="1103268"/>
                </a:cubicBezTo>
                <a:cubicBezTo>
                  <a:pt x="262393" y="1101446"/>
                  <a:pt x="261482" y="1100079"/>
                  <a:pt x="260344" y="1099623"/>
                </a:cubicBezTo>
                <a:close/>
                <a:moveTo>
                  <a:pt x="872822" y="1099623"/>
                </a:moveTo>
                <a:cubicBezTo>
                  <a:pt x="872822" y="1105090"/>
                  <a:pt x="871000" y="1110556"/>
                  <a:pt x="876466" y="1110556"/>
                </a:cubicBezTo>
                <a:cubicBezTo>
                  <a:pt x="876466" y="1106912"/>
                  <a:pt x="874644" y="1105090"/>
                  <a:pt x="872822" y="1103268"/>
                </a:cubicBezTo>
                <a:cubicBezTo>
                  <a:pt x="872822" y="1103268"/>
                  <a:pt x="874644" y="1105090"/>
                  <a:pt x="874644" y="1105090"/>
                </a:cubicBezTo>
                <a:cubicBezTo>
                  <a:pt x="874644" y="1103268"/>
                  <a:pt x="874644" y="1099623"/>
                  <a:pt x="872822" y="1099623"/>
                </a:cubicBezTo>
                <a:close/>
                <a:moveTo>
                  <a:pt x="847311" y="1099623"/>
                </a:moveTo>
                <a:cubicBezTo>
                  <a:pt x="847311" y="1103268"/>
                  <a:pt x="850956" y="1105090"/>
                  <a:pt x="850956" y="1108734"/>
                </a:cubicBezTo>
                <a:cubicBezTo>
                  <a:pt x="850956" y="1108734"/>
                  <a:pt x="854600" y="1106912"/>
                  <a:pt x="854600" y="1105090"/>
                </a:cubicBezTo>
                <a:cubicBezTo>
                  <a:pt x="850956" y="1105090"/>
                  <a:pt x="854600" y="1105090"/>
                  <a:pt x="854600" y="1099623"/>
                </a:cubicBezTo>
                <a:cubicBezTo>
                  <a:pt x="850956" y="1097801"/>
                  <a:pt x="849133" y="1103268"/>
                  <a:pt x="847311" y="1099623"/>
                </a:cubicBezTo>
                <a:close/>
                <a:moveTo>
                  <a:pt x="676027" y="1099623"/>
                </a:moveTo>
                <a:cubicBezTo>
                  <a:pt x="670560" y="1108734"/>
                  <a:pt x="676027" y="1121489"/>
                  <a:pt x="683316" y="1116023"/>
                </a:cubicBezTo>
                <a:cubicBezTo>
                  <a:pt x="686960" y="1119667"/>
                  <a:pt x="686960" y="1121489"/>
                  <a:pt x="688782" y="1123312"/>
                </a:cubicBezTo>
                <a:cubicBezTo>
                  <a:pt x="688782" y="1119667"/>
                  <a:pt x="685138" y="1108734"/>
                  <a:pt x="679671" y="1110556"/>
                </a:cubicBezTo>
                <a:cubicBezTo>
                  <a:pt x="677849" y="1108734"/>
                  <a:pt x="681493" y="1108734"/>
                  <a:pt x="681493" y="1106912"/>
                </a:cubicBezTo>
                <a:cubicBezTo>
                  <a:pt x="679671" y="1101445"/>
                  <a:pt x="677849" y="1106912"/>
                  <a:pt x="676027" y="1099623"/>
                </a:cubicBezTo>
                <a:close/>
                <a:moveTo>
                  <a:pt x="521142" y="1099623"/>
                </a:moveTo>
                <a:cubicBezTo>
                  <a:pt x="522964" y="1101445"/>
                  <a:pt x="524786" y="1103268"/>
                  <a:pt x="528431" y="1105090"/>
                </a:cubicBezTo>
                <a:cubicBezTo>
                  <a:pt x="530253" y="1103268"/>
                  <a:pt x="522964" y="1099623"/>
                  <a:pt x="521142" y="1099623"/>
                </a:cubicBezTo>
                <a:close/>
                <a:moveTo>
                  <a:pt x="267860" y="1099623"/>
                </a:moveTo>
                <a:cubicBezTo>
                  <a:pt x="269682" y="1105090"/>
                  <a:pt x="271504" y="1103268"/>
                  <a:pt x="273327" y="1101445"/>
                </a:cubicBezTo>
                <a:cubicBezTo>
                  <a:pt x="271504" y="1101445"/>
                  <a:pt x="269682" y="1101445"/>
                  <a:pt x="267860" y="1099623"/>
                </a:cubicBezTo>
                <a:close/>
                <a:moveTo>
                  <a:pt x="296331" y="1099167"/>
                </a:moveTo>
                <a:cubicBezTo>
                  <a:pt x="295193" y="1100078"/>
                  <a:pt x="294281" y="1101445"/>
                  <a:pt x="293370" y="1101445"/>
                </a:cubicBezTo>
                <a:cubicBezTo>
                  <a:pt x="295193" y="1101445"/>
                  <a:pt x="298837" y="1099623"/>
                  <a:pt x="300660" y="1099623"/>
                </a:cubicBezTo>
                <a:cubicBezTo>
                  <a:pt x="298837" y="1097801"/>
                  <a:pt x="297470" y="1098256"/>
                  <a:pt x="296331" y="1099167"/>
                </a:cubicBezTo>
                <a:close/>
                <a:moveTo>
                  <a:pt x="529444" y="1098813"/>
                </a:moveTo>
                <a:lnTo>
                  <a:pt x="532075" y="1101445"/>
                </a:lnTo>
                <a:lnTo>
                  <a:pt x="530731" y="1100677"/>
                </a:lnTo>
                <a:lnTo>
                  <a:pt x="529797" y="1099851"/>
                </a:lnTo>
                <a:close/>
                <a:moveTo>
                  <a:pt x="2295940" y="1097801"/>
                </a:moveTo>
                <a:cubicBezTo>
                  <a:pt x="2294117" y="1099623"/>
                  <a:pt x="2292295" y="1106912"/>
                  <a:pt x="2297762" y="1105090"/>
                </a:cubicBezTo>
                <a:cubicBezTo>
                  <a:pt x="2295940" y="1097801"/>
                  <a:pt x="2301406" y="1103268"/>
                  <a:pt x="2303228" y="1097801"/>
                </a:cubicBezTo>
                <a:cubicBezTo>
                  <a:pt x="2299584" y="1099623"/>
                  <a:pt x="2299584" y="1095979"/>
                  <a:pt x="2295940" y="1097801"/>
                </a:cubicBezTo>
                <a:close/>
                <a:moveTo>
                  <a:pt x="1104238" y="1097801"/>
                </a:moveTo>
                <a:cubicBezTo>
                  <a:pt x="1102416" y="1099623"/>
                  <a:pt x="1106060" y="1099623"/>
                  <a:pt x="1104238" y="1101445"/>
                </a:cubicBezTo>
                <a:cubicBezTo>
                  <a:pt x="1102416" y="1103268"/>
                  <a:pt x="1104238" y="1099623"/>
                  <a:pt x="1102416" y="1099623"/>
                </a:cubicBezTo>
                <a:cubicBezTo>
                  <a:pt x="1100593" y="1099623"/>
                  <a:pt x="1100593" y="1101445"/>
                  <a:pt x="1098771" y="1101445"/>
                </a:cubicBezTo>
                <a:cubicBezTo>
                  <a:pt x="1095127" y="1103268"/>
                  <a:pt x="1095127" y="1105090"/>
                  <a:pt x="1095127" y="1106912"/>
                </a:cubicBezTo>
                <a:cubicBezTo>
                  <a:pt x="1096949" y="1108734"/>
                  <a:pt x="1100593" y="1112378"/>
                  <a:pt x="1102416" y="1112378"/>
                </a:cubicBezTo>
                <a:cubicBezTo>
                  <a:pt x="1104238" y="1110556"/>
                  <a:pt x="1102416" y="1110556"/>
                  <a:pt x="1104238" y="1108734"/>
                </a:cubicBezTo>
                <a:cubicBezTo>
                  <a:pt x="1106060" y="1110556"/>
                  <a:pt x="1106060" y="1112378"/>
                  <a:pt x="1107882" y="1114201"/>
                </a:cubicBezTo>
                <a:cubicBezTo>
                  <a:pt x="1107882" y="1110556"/>
                  <a:pt x="1109704" y="1106912"/>
                  <a:pt x="1111526" y="1103268"/>
                </a:cubicBezTo>
                <a:cubicBezTo>
                  <a:pt x="1109704" y="1101445"/>
                  <a:pt x="1109704" y="1101445"/>
                  <a:pt x="1107882" y="1099623"/>
                </a:cubicBezTo>
                <a:cubicBezTo>
                  <a:pt x="1106060" y="1101445"/>
                  <a:pt x="1107882" y="1101445"/>
                  <a:pt x="1106060" y="1103268"/>
                </a:cubicBezTo>
                <a:cubicBezTo>
                  <a:pt x="1104238" y="1101445"/>
                  <a:pt x="1106060" y="1099623"/>
                  <a:pt x="1104238" y="1097801"/>
                </a:cubicBezTo>
                <a:close/>
                <a:moveTo>
                  <a:pt x="1055040" y="1097801"/>
                </a:moveTo>
                <a:cubicBezTo>
                  <a:pt x="1053217" y="1099623"/>
                  <a:pt x="1053217" y="1101445"/>
                  <a:pt x="1049573" y="1103268"/>
                </a:cubicBezTo>
                <a:cubicBezTo>
                  <a:pt x="1051395" y="1106912"/>
                  <a:pt x="1047750" y="1108734"/>
                  <a:pt x="1051395" y="1110556"/>
                </a:cubicBezTo>
                <a:cubicBezTo>
                  <a:pt x="1053217" y="1108734"/>
                  <a:pt x="1056861" y="1101445"/>
                  <a:pt x="1055040" y="1097801"/>
                </a:cubicBezTo>
                <a:close/>
                <a:moveTo>
                  <a:pt x="1042284" y="1097801"/>
                </a:moveTo>
                <a:cubicBezTo>
                  <a:pt x="1040462" y="1097801"/>
                  <a:pt x="1040462" y="1105090"/>
                  <a:pt x="1042284" y="1105090"/>
                </a:cubicBezTo>
                <a:cubicBezTo>
                  <a:pt x="1045929" y="1103268"/>
                  <a:pt x="1038639" y="1099623"/>
                  <a:pt x="1042284" y="1097801"/>
                </a:cubicBezTo>
                <a:close/>
                <a:moveTo>
                  <a:pt x="971219" y="1097801"/>
                </a:moveTo>
                <a:cubicBezTo>
                  <a:pt x="974863" y="1101445"/>
                  <a:pt x="974863" y="1101445"/>
                  <a:pt x="974863" y="1105090"/>
                </a:cubicBezTo>
                <a:lnTo>
                  <a:pt x="975704" y="1104249"/>
                </a:lnTo>
                <a:lnTo>
                  <a:pt x="975091" y="1106001"/>
                </a:lnTo>
                <a:cubicBezTo>
                  <a:pt x="974408" y="1107367"/>
                  <a:pt x="973952" y="1108734"/>
                  <a:pt x="974863" y="1110556"/>
                </a:cubicBezTo>
                <a:cubicBezTo>
                  <a:pt x="976686" y="1108734"/>
                  <a:pt x="976686" y="1108734"/>
                  <a:pt x="976686" y="1106912"/>
                </a:cubicBezTo>
                <a:cubicBezTo>
                  <a:pt x="978508" y="1105090"/>
                  <a:pt x="976686" y="1108734"/>
                  <a:pt x="978508" y="1108734"/>
                </a:cubicBezTo>
                <a:cubicBezTo>
                  <a:pt x="980330" y="1106912"/>
                  <a:pt x="978508" y="1105090"/>
                  <a:pt x="976686" y="1101445"/>
                </a:cubicBezTo>
                <a:lnTo>
                  <a:pt x="976310" y="1102517"/>
                </a:lnTo>
                <a:lnTo>
                  <a:pt x="974636" y="1099167"/>
                </a:lnTo>
                <a:cubicBezTo>
                  <a:pt x="973497" y="1097801"/>
                  <a:pt x="972131" y="1096890"/>
                  <a:pt x="971219" y="1097801"/>
                </a:cubicBezTo>
                <a:close/>
                <a:moveTo>
                  <a:pt x="880111" y="1097801"/>
                </a:moveTo>
                <a:cubicBezTo>
                  <a:pt x="878288" y="1101445"/>
                  <a:pt x="885577" y="1106912"/>
                  <a:pt x="887399" y="1103268"/>
                </a:cubicBezTo>
                <a:cubicBezTo>
                  <a:pt x="885577" y="1099623"/>
                  <a:pt x="881933" y="1099623"/>
                  <a:pt x="880111" y="1097801"/>
                </a:cubicBezTo>
                <a:close/>
                <a:moveTo>
                  <a:pt x="767136" y="1097801"/>
                </a:moveTo>
                <a:cubicBezTo>
                  <a:pt x="765313" y="1099623"/>
                  <a:pt x="763491" y="1108734"/>
                  <a:pt x="767136" y="1108734"/>
                </a:cubicBezTo>
                <a:cubicBezTo>
                  <a:pt x="768959" y="1105090"/>
                  <a:pt x="767136" y="1101445"/>
                  <a:pt x="767136" y="1097801"/>
                </a:cubicBezTo>
                <a:close/>
                <a:moveTo>
                  <a:pt x="621362" y="1097801"/>
                </a:moveTo>
                <a:cubicBezTo>
                  <a:pt x="619539" y="1099623"/>
                  <a:pt x="626828" y="1103268"/>
                  <a:pt x="628650" y="1103268"/>
                </a:cubicBezTo>
                <a:cubicBezTo>
                  <a:pt x="628650" y="1101445"/>
                  <a:pt x="626828" y="1099623"/>
                  <a:pt x="625006" y="1097801"/>
                </a:cubicBezTo>
                <a:cubicBezTo>
                  <a:pt x="623185" y="1097801"/>
                  <a:pt x="623185" y="1099623"/>
                  <a:pt x="621362" y="1097801"/>
                </a:cubicBezTo>
                <a:close/>
                <a:moveTo>
                  <a:pt x="570341" y="1097801"/>
                </a:moveTo>
                <a:cubicBezTo>
                  <a:pt x="566697" y="1101445"/>
                  <a:pt x="573985" y="1103268"/>
                  <a:pt x="572163" y="1106912"/>
                </a:cubicBezTo>
                <a:cubicBezTo>
                  <a:pt x="575808" y="1105090"/>
                  <a:pt x="577630" y="1103268"/>
                  <a:pt x="577630" y="1101445"/>
                </a:cubicBezTo>
                <a:cubicBezTo>
                  <a:pt x="573985" y="1097801"/>
                  <a:pt x="572163" y="1099623"/>
                  <a:pt x="570341" y="1097801"/>
                </a:cubicBezTo>
                <a:close/>
                <a:moveTo>
                  <a:pt x="340747" y="1097801"/>
                </a:moveTo>
                <a:cubicBezTo>
                  <a:pt x="337102" y="1099623"/>
                  <a:pt x="335280" y="1097801"/>
                  <a:pt x="333458" y="1099623"/>
                </a:cubicBezTo>
                <a:cubicBezTo>
                  <a:pt x="333458" y="1103268"/>
                  <a:pt x="342569" y="1103268"/>
                  <a:pt x="346213" y="1105090"/>
                </a:cubicBezTo>
                <a:cubicBezTo>
                  <a:pt x="348037" y="1103268"/>
                  <a:pt x="342569" y="1099623"/>
                  <a:pt x="340747" y="1097801"/>
                </a:cubicBezTo>
                <a:close/>
                <a:moveTo>
                  <a:pt x="282438" y="1097801"/>
                </a:moveTo>
                <a:cubicBezTo>
                  <a:pt x="287904" y="1101445"/>
                  <a:pt x="289726" y="1097801"/>
                  <a:pt x="293370" y="1097801"/>
                </a:cubicBezTo>
                <a:cubicBezTo>
                  <a:pt x="289726" y="1095979"/>
                  <a:pt x="286082" y="1097801"/>
                  <a:pt x="282438" y="1097801"/>
                </a:cubicBezTo>
                <a:close/>
                <a:moveTo>
                  <a:pt x="326853" y="1097345"/>
                </a:moveTo>
                <a:cubicBezTo>
                  <a:pt x="325258" y="1096890"/>
                  <a:pt x="323436" y="1096890"/>
                  <a:pt x="322525" y="1097801"/>
                </a:cubicBezTo>
                <a:cubicBezTo>
                  <a:pt x="324347" y="1099623"/>
                  <a:pt x="326169" y="1097801"/>
                  <a:pt x="329814" y="1099623"/>
                </a:cubicBezTo>
                <a:cubicBezTo>
                  <a:pt x="329814" y="1098712"/>
                  <a:pt x="328447" y="1097801"/>
                  <a:pt x="326853" y="1097345"/>
                </a:cubicBezTo>
                <a:close/>
                <a:moveTo>
                  <a:pt x="3024809" y="1095979"/>
                </a:moveTo>
                <a:cubicBezTo>
                  <a:pt x="3019343" y="1099623"/>
                  <a:pt x="3024809" y="1108734"/>
                  <a:pt x="3030276" y="1106912"/>
                </a:cubicBezTo>
                <a:cubicBezTo>
                  <a:pt x="3032098" y="1101445"/>
                  <a:pt x="3024809" y="1103268"/>
                  <a:pt x="3024809" y="1095979"/>
                </a:cubicBezTo>
                <a:close/>
                <a:moveTo>
                  <a:pt x="2884502" y="1095979"/>
                </a:moveTo>
                <a:cubicBezTo>
                  <a:pt x="2869924" y="1108734"/>
                  <a:pt x="2849880" y="1117845"/>
                  <a:pt x="2842592" y="1134245"/>
                </a:cubicBezTo>
                <a:cubicBezTo>
                  <a:pt x="2848058" y="1136067"/>
                  <a:pt x="2848058" y="1141533"/>
                  <a:pt x="2855347" y="1141533"/>
                </a:cubicBezTo>
                <a:cubicBezTo>
                  <a:pt x="2857169" y="1137889"/>
                  <a:pt x="2857169" y="1134245"/>
                  <a:pt x="2858991" y="1130600"/>
                </a:cubicBezTo>
                <a:cubicBezTo>
                  <a:pt x="2860813" y="1132422"/>
                  <a:pt x="2860813" y="1132422"/>
                  <a:pt x="2862636" y="1130600"/>
                </a:cubicBezTo>
                <a:cubicBezTo>
                  <a:pt x="2857169" y="1125134"/>
                  <a:pt x="2864458" y="1125134"/>
                  <a:pt x="2866280" y="1119667"/>
                </a:cubicBezTo>
                <a:cubicBezTo>
                  <a:pt x="2866280" y="1117845"/>
                  <a:pt x="2864458" y="1117845"/>
                  <a:pt x="2864458" y="1116023"/>
                </a:cubicBezTo>
                <a:cubicBezTo>
                  <a:pt x="2875391" y="1116023"/>
                  <a:pt x="2875391" y="1101445"/>
                  <a:pt x="2884502" y="1095979"/>
                </a:cubicBezTo>
                <a:close/>
                <a:moveTo>
                  <a:pt x="2283184" y="1095979"/>
                </a:moveTo>
                <a:cubicBezTo>
                  <a:pt x="2281362" y="1097801"/>
                  <a:pt x="2281362" y="1101445"/>
                  <a:pt x="2281362" y="1105090"/>
                </a:cubicBezTo>
                <a:cubicBezTo>
                  <a:pt x="2288651" y="1105090"/>
                  <a:pt x="2288651" y="1101445"/>
                  <a:pt x="2292295" y="1099623"/>
                </a:cubicBezTo>
                <a:cubicBezTo>
                  <a:pt x="2288651" y="1097801"/>
                  <a:pt x="2290473" y="1095979"/>
                  <a:pt x="2283184" y="1095979"/>
                </a:cubicBezTo>
                <a:close/>
                <a:moveTo>
                  <a:pt x="1313788" y="1095979"/>
                </a:moveTo>
                <a:cubicBezTo>
                  <a:pt x="1315610" y="1097801"/>
                  <a:pt x="1317432" y="1099623"/>
                  <a:pt x="1317432" y="1101445"/>
                </a:cubicBezTo>
                <a:cubicBezTo>
                  <a:pt x="1313788" y="1103268"/>
                  <a:pt x="1311966" y="1108734"/>
                  <a:pt x="1306499" y="1108734"/>
                </a:cubicBezTo>
                <a:cubicBezTo>
                  <a:pt x="1308321" y="1103268"/>
                  <a:pt x="1310143" y="1099623"/>
                  <a:pt x="1313788" y="1095979"/>
                </a:cubicBezTo>
                <a:close/>
                <a:moveTo>
                  <a:pt x="1171658" y="1095979"/>
                </a:moveTo>
                <a:cubicBezTo>
                  <a:pt x="1168014" y="1094157"/>
                  <a:pt x="1166192" y="1099623"/>
                  <a:pt x="1158903" y="1099623"/>
                </a:cubicBezTo>
                <a:cubicBezTo>
                  <a:pt x="1157081" y="1099623"/>
                  <a:pt x="1153436" y="1101445"/>
                  <a:pt x="1153436" y="1103268"/>
                </a:cubicBezTo>
                <a:cubicBezTo>
                  <a:pt x="1155259" y="1106912"/>
                  <a:pt x="1158903" y="1105090"/>
                  <a:pt x="1162547" y="1106912"/>
                </a:cubicBezTo>
                <a:cubicBezTo>
                  <a:pt x="1164370" y="1103268"/>
                  <a:pt x="1171658" y="1099623"/>
                  <a:pt x="1171658" y="1095979"/>
                </a:cubicBezTo>
                <a:close/>
                <a:moveTo>
                  <a:pt x="968258" y="1094840"/>
                </a:moveTo>
                <a:cubicBezTo>
                  <a:pt x="967575" y="1095523"/>
                  <a:pt x="967575" y="1096890"/>
                  <a:pt x="969397" y="1097801"/>
                </a:cubicBezTo>
                <a:cubicBezTo>
                  <a:pt x="969397" y="1097801"/>
                  <a:pt x="971219" y="1095979"/>
                  <a:pt x="971219" y="1095979"/>
                </a:cubicBezTo>
                <a:cubicBezTo>
                  <a:pt x="970308" y="1094157"/>
                  <a:pt x="968941" y="1094157"/>
                  <a:pt x="968258" y="1094840"/>
                </a:cubicBezTo>
                <a:close/>
                <a:moveTo>
                  <a:pt x="3604260" y="1094157"/>
                </a:moveTo>
                <a:cubicBezTo>
                  <a:pt x="3598794" y="1092335"/>
                  <a:pt x="3602438" y="1099623"/>
                  <a:pt x="3598794" y="1099623"/>
                </a:cubicBezTo>
                <a:cubicBezTo>
                  <a:pt x="3604260" y="1101445"/>
                  <a:pt x="3600616" y="1106912"/>
                  <a:pt x="3604260" y="1110556"/>
                </a:cubicBezTo>
                <a:cubicBezTo>
                  <a:pt x="3606082" y="1110556"/>
                  <a:pt x="3609727" y="1110556"/>
                  <a:pt x="3611549" y="1110556"/>
                </a:cubicBezTo>
                <a:cubicBezTo>
                  <a:pt x="3613371" y="1099623"/>
                  <a:pt x="3604260" y="1099623"/>
                  <a:pt x="3604260" y="1094157"/>
                </a:cubicBezTo>
                <a:close/>
                <a:moveTo>
                  <a:pt x="841845" y="1094157"/>
                </a:moveTo>
                <a:cubicBezTo>
                  <a:pt x="838200" y="1099623"/>
                  <a:pt x="838200" y="1097801"/>
                  <a:pt x="834556" y="1101445"/>
                </a:cubicBezTo>
                <a:cubicBezTo>
                  <a:pt x="838200" y="1099623"/>
                  <a:pt x="840022" y="1101445"/>
                  <a:pt x="843667" y="1097801"/>
                </a:cubicBezTo>
                <a:cubicBezTo>
                  <a:pt x="841845" y="1097801"/>
                  <a:pt x="843667" y="1095979"/>
                  <a:pt x="841845" y="1094157"/>
                </a:cubicBezTo>
                <a:close/>
                <a:moveTo>
                  <a:pt x="573985" y="1094157"/>
                </a:moveTo>
                <a:cubicBezTo>
                  <a:pt x="572163" y="1095979"/>
                  <a:pt x="579452" y="1097801"/>
                  <a:pt x="581274" y="1099623"/>
                </a:cubicBezTo>
                <a:cubicBezTo>
                  <a:pt x="583096" y="1099623"/>
                  <a:pt x="581274" y="1097801"/>
                  <a:pt x="583096" y="1097801"/>
                </a:cubicBezTo>
                <a:cubicBezTo>
                  <a:pt x="579452" y="1095979"/>
                  <a:pt x="577630" y="1097801"/>
                  <a:pt x="573985" y="1094157"/>
                </a:cubicBezTo>
                <a:close/>
                <a:moveTo>
                  <a:pt x="461010" y="1094157"/>
                </a:moveTo>
                <a:cubicBezTo>
                  <a:pt x="457367" y="1095979"/>
                  <a:pt x="462832" y="1097801"/>
                  <a:pt x="464655" y="1099623"/>
                </a:cubicBezTo>
                <a:cubicBezTo>
                  <a:pt x="466478" y="1097801"/>
                  <a:pt x="462832" y="1095979"/>
                  <a:pt x="461010" y="1094157"/>
                </a:cubicBezTo>
                <a:close/>
                <a:moveTo>
                  <a:pt x="399056" y="1094157"/>
                </a:moveTo>
                <a:cubicBezTo>
                  <a:pt x="399056" y="1095979"/>
                  <a:pt x="400879" y="1101445"/>
                  <a:pt x="404523" y="1099623"/>
                </a:cubicBezTo>
                <a:cubicBezTo>
                  <a:pt x="400879" y="1099623"/>
                  <a:pt x="402701" y="1097801"/>
                  <a:pt x="399056" y="1094157"/>
                </a:cubicBezTo>
                <a:close/>
                <a:moveTo>
                  <a:pt x="176751" y="1094157"/>
                </a:moveTo>
                <a:cubicBezTo>
                  <a:pt x="176751" y="1097801"/>
                  <a:pt x="182218" y="1101445"/>
                  <a:pt x="184040" y="1099623"/>
                </a:cubicBezTo>
                <a:cubicBezTo>
                  <a:pt x="182218" y="1095979"/>
                  <a:pt x="180396" y="1095979"/>
                  <a:pt x="176751" y="1094157"/>
                </a:cubicBezTo>
                <a:close/>
                <a:moveTo>
                  <a:pt x="3030457" y="1093069"/>
                </a:moveTo>
                <a:lnTo>
                  <a:pt x="3035287" y="1094840"/>
                </a:lnTo>
                <a:cubicBezTo>
                  <a:pt x="3035742" y="1095523"/>
                  <a:pt x="3034831" y="1095979"/>
                  <a:pt x="3033920" y="1095979"/>
                </a:cubicBezTo>
                <a:close/>
                <a:moveTo>
                  <a:pt x="3591505" y="1092335"/>
                </a:moveTo>
                <a:cubicBezTo>
                  <a:pt x="3589683" y="1092335"/>
                  <a:pt x="3587861" y="1094157"/>
                  <a:pt x="3587861" y="1097801"/>
                </a:cubicBezTo>
                <a:cubicBezTo>
                  <a:pt x="3589683" y="1095979"/>
                  <a:pt x="3591505" y="1097801"/>
                  <a:pt x="3591505" y="1097801"/>
                </a:cubicBezTo>
                <a:cubicBezTo>
                  <a:pt x="3595150" y="1095979"/>
                  <a:pt x="3587861" y="1094157"/>
                  <a:pt x="3591505" y="1092335"/>
                </a:cubicBezTo>
                <a:close/>
                <a:moveTo>
                  <a:pt x="3177872" y="1092335"/>
                </a:moveTo>
                <a:cubicBezTo>
                  <a:pt x="3170583" y="1095979"/>
                  <a:pt x="3165116" y="1110556"/>
                  <a:pt x="3166939" y="1119667"/>
                </a:cubicBezTo>
                <a:cubicBezTo>
                  <a:pt x="3172405" y="1116023"/>
                  <a:pt x="3186982" y="1106912"/>
                  <a:pt x="3179694" y="1099623"/>
                </a:cubicBezTo>
                <a:cubicBezTo>
                  <a:pt x="3179694" y="1101445"/>
                  <a:pt x="3177872" y="1103268"/>
                  <a:pt x="3177872" y="1105090"/>
                </a:cubicBezTo>
                <a:cubicBezTo>
                  <a:pt x="3174227" y="1103268"/>
                  <a:pt x="3183338" y="1097801"/>
                  <a:pt x="3177872" y="1092335"/>
                </a:cubicBezTo>
                <a:close/>
                <a:moveTo>
                  <a:pt x="3088585" y="1092335"/>
                </a:moveTo>
                <a:cubicBezTo>
                  <a:pt x="3092230" y="1095979"/>
                  <a:pt x="3095874" y="1099623"/>
                  <a:pt x="3095874" y="1106912"/>
                </a:cubicBezTo>
                <a:cubicBezTo>
                  <a:pt x="3094052" y="1110556"/>
                  <a:pt x="3092230" y="1103268"/>
                  <a:pt x="3090407" y="1106912"/>
                </a:cubicBezTo>
                <a:cubicBezTo>
                  <a:pt x="3084941" y="1106912"/>
                  <a:pt x="3081297" y="1110556"/>
                  <a:pt x="3079474" y="1114201"/>
                </a:cubicBezTo>
                <a:cubicBezTo>
                  <a:pt x="3077652" y="1117845"/>
                  <a:pt x="3079474" y="1119667"/>
                  <a:pt x="3081297" y="1119667"/>
                </a:cubicBezTo>
                <a:cubicBezTo>
                  <a:pt x="3077652" y="1121489"/>
                  <a:pt x="3077652" y="1125134"/>
                  <a:pt x="3074008" y="1128778"/>
                </a:cubicBezTo>
                <a:cubicBezTo>
                  <a:pt x="3073097" y="1128778"/>
                  <a:pt x="3073097" y="1126955"/>
                  <a:pt x="3072642" y="1125133"/>
                </a:cubicBezTo>
                <a:lnTo>
                  <a:pt x="3070487" y="1123218"/>
                </a:lnTo>
                <a:lnTo>
                  <a:pt x="3070819" y="1118073"/>
                </a:lnTo>
                <a:cubicBezTo>
                  <a:pt x="3073097" y="1115567"/>
                  <a:pt x="3076741" y="1113289"/>
                  <a:pt x="3079474" y="1112378"/>
                </a:cubicBezTo>
                <a:cubicBezTo>
                  <a:pt x="3079474" y="1106912"/>
                  <a:pt x="3077652" y="1103268"/>
                  <a:pt x="3077652" y="1097801"/>
                </a:cubicBezTo>
                <a:cubicBezTo>
                  <a:pt x="3081297" y="1103268"/>
                  <a:pt x="3084941" y="1101445"/>
                  <a:pt x="3090407" y="1105090"/>
                </a:cubicBezTo>
                <a:cubicBezTo>
                  <a:pt x="3090407" y="1097801"/>
                  <a:pt x="3084941" y="1099623"/>
                  <a:pt x="3083119" y="1094157"/>
                </a:cubicBezTo>
                <a:cubicBezTo>
                  <a:pt x="3084941" y="1092335"/>
                  <a:pt x="3086763" y="1095979"/>
                  <a:pt x="3088585" y="1092335"/>
                </a:cubicBezTo>
                <a:close/>
                <a:moveTo>
                  <a:pt x="2532822" y="1092335"/>
                </a:moveTo>
                <a:cubicBezTo>
                  <a:pt x="2532822" y="1095979"/>
                  <a:pt x="2534644" y="1101445"/>
                  <a:pt x="2538289" y="1101445"/>
                </a:cubicBezTo>
                <a:cubicBezTo>
                  <a:pt x="2536466" y="1094157"/>
                  <a:pt x="2538289" y="1095979"/>
                  <a:pt x="2540111" y="1092335"/>
                </a:cubicBezTo>
                <a:cubicBezTo>
                  <a:pt x="2538289" y="1092335"/>
                  <a:pt x="2536466" y="1092335"/>
                  <a:pt x="2532822" y="1092335"/>
                </a:cubicBezTo>
                <a:close/>
                <a:moveTo>
                  <a:pt x="1494183" y="1092335"/>
                </a:moveTo>
                <a:cubicBezTo>
                  <a:pt x="1496006" y="1095979"/>
                  <a:pt x="1496006" y="1090512"/>
                  <a:pt x="1497827" y="1092335"/>
                </a:cubicBezTo>
                <a:cubicBezTo>
                  <a:pt x="1497827" y="1099623"/>
                  <a:pt x="1496006" y="1106912"/>
                  <a:pt x="1497827" y="1114201"/>
                </a:cubicBezTo>
                <a:cubicBezTo>
                  <a:pt x="1499650" y="1116023"/>
                  <a:pt x="1499650" y="1114201"/>
                  <a:pt x="1501472" y="1116023"/>
                </a:cubicBezTo>
                <a:cubicBezTo>
                  <a:pt x="1501472" y="1117845"/>
                  <a:pt x="1499650" y="1121489"/>
                  <a:pt x="1503294" y="1121489"/>
                </a:cubicBezTo>
                <a:lnTo>
                  <a:pt x="1499819" y="1125542"/>
                </a:lnTo>
                <a:lnTo>
                  <a:pt x="1497827" y="1116023"/>
                </a:lnTo>
                <a:cubicBezTo>
                  <a:pt x="1492361" y="1119667"/>
                  <a:pt x="1492361" y="1125134"/>
                  <a:pt x="1486895" y="1125134"/>
                </a:cubicBezTo>
                <a:cubicBezTo>
                  <a:pt x="1497827" y="1117845"/>
                  <a:pt x="1497827" y="1105090"/>
                  <a:pt x="1496006" y="1097801"/>
                </a:cubicBezTo>
                <a:cubicBezTo>
                  <a:pt x="1494183" y="1099623"/>
                  <a:pt x="1496006" y="1099623"/>
                  <a:pt x="1494183" y="1099623"/>
                </a:cubicBezTo>
                <a:cubicBezTo>
                  <a:pt x="1496006" y="1097801"/>
                  <a:pt x="1494183" y="1094157"/>
                  <a:pt x="1494183" y="1092335"/>
                </a:cubicBezTo>
                <a:close/>
                <a:moveTo>
                  <a:pt x="938420" y="1092335"/>
                </a:moveTo>
                <a:cubicBezTo>
                  <a:pt x="934777" y="1094157"/>
                  <a:pt x="936598" y="1097801"/>
                  <a:pt x="934777" y="1099623"/>
                </a:cubicBezTo>
                <a:cubicBezTo>
                  <a:pt x="938420" y="1099623"/>
                  <a:pt x="940242" y="1094157"/>
                  <a:pt x="938420" y="1092335"/>
                </a:cubicBezTo>
                <a:close/>
                <a:moveTo>
                  <a:pt x="847311" y="1092335"/>
                </a:moveTo>
                <a:cubicBezTo>
                  <a:pt x="847311" y="1094157"/>
                  <a:pt x="847311" y="1095979"/>
                  <a:pt x="847311" y="1095979"/>
                </a:cubicBezTo>
                <a:cubicBezTo>
                  <a:pt x="849133" y="1092335"/>
                  <a:pt x="850956" y="1095979"/>
                  <a:pt x="852778" y="1094157"/>
                </a:cubicBezTo>
                <a:cubicBezTo>
                  <a:pt x="850956" y="1092335"/>
                  <a:pt x="849133" y="1092335"/>
                  <a:pt x="847311" y="1092335"/>
                </a:cubicBezTo>
                <a:close/>
                <a:moveTo>
                  <a:pt x="488343" y="1092335"/>
                </a:moveTo>
                <a:cubicBezTo>
                  <a:pt x="495632" y="1094157"/>
                  <a:pt x="499276" y="1103268"/>
                  <a:pt x="506565" y="1101445"/>
                </a:cubicBezTo>
                <a:cubicBezTo>
                  <a:pt x="499276" y="1099623"/>
                  <a:pt x="493809" y="1092335"/>
                  <a:pt x="488343" y="1092335"/>
                </a:cubicBezTo>
                <a:close/>
                <a:moveTo>
                  <a:pt x="353502" y="1092335"/>
                </a:moveTo>
                <a:cubicBezTo>
                  <a:pt x="355324" y="1095979"/>
                  <a:pt x="362613" y="1095979"/>
                  <a:pt x="360791" y="1094157"/>
                </a:cubicBezTo>
                <a:cubicBezTo>
                  <a:pt x="358969" y="1092335"/>
                  <a:pt x="357146" y="1094157"/>
                  <a:pt x="353502" y="1092335"/>
                </a:cubicBezTo>
                <a:close/>
                <a:moveTo>
                  <a:pt x="225950" y="1092335"/>
                </a:moveTo>
                <a:cubicBezTo>
                  <a:pt x="227772" y="1097801"/>
                  <a:pt x="233239" y="1097801"/>
                  <a:pt x="235061" y="1099623"/>
                </a:cubicBezTo>
                <a:cubicBezTo>
                  <a:pt x="235061" y="1095979"/>
                  <a:pt x="229594" y="1095979"/>
                  <a:pt x="225950" y="1092335"/>
                </a:cubicBezTo>
                <a:close/>
                <a:moveTo>
                  <a:pt x="3271030" y="1092334"/>
                </a:moveTo>
                <a:cubicBezTo>
                  <a:pt x="3268525" y="1090968"/>
                  <a:pt x="3265336" y="1090512"/>
                  <a:pt x="3263514" y="1092335"/>
                </a:cubicBezTo>
                <a:cubicBezTo>
                  <a:pt x="3265336" y="1097801"/>
                  <a:pt x="3270803" y="1095979"/>
                  <a:pt x="3274447" y="1097801"/>
                </a:cubicBezTo>
                <a:cubicBezTo>
                  <a:pt x="3275358" y="1095979"/>
                  <a:pt x="3273536" y="1093701"/>
                  <a:pt x="3271030" y="1092334"/>
                </a:cubicBezTo>
                <a:close/>
                <a:moveTo>
                  <a:pt x="3191842" y="1091120"/>
                </a:moveTo>
                <a:lnTo>
                  <a:pt x="3192677" y="1091196"/>
                </a:lnTo>
                <a:lnTo>
                  <a:pt x="3193056" y="1091727"/>
                </a:lnTo>
                <a:close/>
                <a:moveTo>
                  <a:pt x="3627949" y="1090512"/>
                </a:moveTo>
                <a:cubicBezTo>
                  <a:pt x="3618838" y="1094157"/>
                  <a:pt x="3633415" y="1099623"/>
                  <a:pt x="3629771" y="1105090"/>
                </a:cubicBezTo>
                <a:cubicBezTo>
                  <a:pt x="3635237" y="1101445"/>
                  <a:pt x="3629771" y="1095979"/>
                  <a:pt x="3627949" y="1090512"/>
                </a:cubicBezTo>
                <a:close/>
                <a:moveTo>
                  <a:pt x="3617016" y="1090512"/>
                </a:moveTo>
                <a:cubicBezTo>
                  <a:pt x="3613371" y="1090512"/>
                  <a:pt x="3607905" y="1090512"/>
                  <a:pt x="3606082" y="1092335"/>
                </a:cubicBezTo>
                <a:cubicBezTo>
                  <a:pt x="3609727" y="1095979"/>
                  <a:pt x="3611549" y="1099623"/>
                  <a:pt x="3617016" y="1095979"/>
                </a:cubicBezTo>
                <a:cubicBezTo>
                  <a:pt x="3620660" y="1095979"/>
                  <a:pt x="3615193" y="1094157"/>
                  <a:pt x="3617016" y="1090512"/>
                </a:cubicBezTo>
                <a:close/>
                <a:moveTo>
                  <a:pt x="1071439" y="1090512"/>
                </a:moveTo>
                <a:cubicBezTo>
                  <a:pt x="1071439" y="1090512"/>
                  <a:pt x="1069616" y="1090512"/>
                  <a:pt x="1067794" y="1092335"/>
                </a:cubicBezTo>
                <a:cubicBezTo>
                  <a:pt x="1069616" y="1095979"/>
                  <a:pt x="1067794" y="1097801"/>
                  <a:pt x="1071439" y="1099623"/>
                </a:cubicBezTo>
                <a:cubicBezTo>
                  <a:pt x="1073262" y="1099623"/>
                  <a:pt x="1073262" y="1097801"/>
                  <a:pt x="1075083" y="1095979"/>
                </a:cubicBezTo>
                <a:cubicBezTo>
                  <a:pt x="1071439" y="1094157"/>
                  <a:pt x="1069616" y="1094157"/>
                  <a:pt x="1071439" y="1090512"/>
                </a:cubicBezTo>
                <a:close/>
                <a:moveTo>
                  <a:pt x="774424" y="1090512"/>
                </a:moveTo>
                <a:cubicBezTo>
                  <a:pt x="772602" y="1094157"/>
                  <a:pt x="776246" y="1103268"/>
                  <a:pt x="779892" y="1101445"/>
                </a:cubicBezTo>
                <a:cubicBezTo>
                  <a:pt x="778070" y="1099623"/>
                  <a:pt x="774424" y="1095979"/>
                  <a:pt x="778070" y="1094157"/>
                </a:cubicBezTo>
                <a:cubicBezTo>
                  <a:pt x="776246" y="1090512"/>
                  <a:pt x="776246" y="1092335"/>
                  <a:pt x="774424" y="1090512"/>
                </a:cubicBezTo>
                <a:close/>
                <a:moveTo>
                  <a:pt x="552119" y="1090512"/>
                </a:moveTo>
                <a:cubicBezTo>
                  <a:pt x="539364" y="1097801"/>
                  <a:pt x="559408" y="1106912"/>
                  <a:pt x="564874" y="1114201"/>
                </a:cubicBezTo>
                <a:cubicBezTo>
                  <a:pt x="566697" y="1110556"/>
                  <a:pt x="566697" y="1105090"/>
                  <a:pt x="568519" y="1099623"/>
                </a:cubicBezTo>
                <a:cubicBezTo>
                  <a:pt x="563052" y="1095979"/>
                  <a:pt x="559408" y="1095979"/>
                  <a:pt x="555763" y="1095979"/>
                </a:cubicBezTo>
                <a:cubicBezTo>
                  <a:pt x="555763" y="1094157"/>
                  <a:pt x="557586" y="1092335"/>
                  <a:pt x="559408" y="1094157"/>
                </a:cubicBezTo>
                <a:cubicBezTo>
                  <a:pt x="555763" y="1092335"/>
                  <a:pt x="553941" y="1088690"/>
                  <a:pt x="552119" y="1090512"/>
                </a:cubicBezTo>
                <a:close/>
                <a:moveTo>
                  <a:pt x="481054" y="1090512"/>
                </a:moveTo>
                <a:cubicBezTo>
                  <a:pt x="481054" y="1094157"/>
                  <a:pt x="484700" y="1095979"/>
                  <a:pt x="488343" y="1097801"/>
                </a:cubicBezTo>
                <a:lnTo>
                  <a:pt x="488343" y="1096760"/>
                </a:lnTo>
                <a:lnTo>
                  <a:pt x="493809" y="1101445"/>
                </a:lnTo>
                <a:cubicBezTo>
                  <a:pt x="491987" y="1099623"/>
                  <a:pt x="488343" y="1097801"/>
                  <a:pt x="488343" y="1095979"/>
                </a:cubicBezTo>
                <a:lnTo>
                  <a:pt x="488343" y="1096760"/>
                </a:lnTo>
                <a:close/>
                <a:moveTo>
                  <a:pt x="386301" y="1090512"/>
                </a:moveTo>
                <a:cubicBezTo>
                  <a:pt x="386301" y="1090512"/>
                  <a:pt x="384479" y="1092335"/>
                  <a:pt x="384479" y="1092335"/>
                </a:cubicBezTo>
                <a:cubicBezTo>
                  <a:pt x="382657" y="1095979"/>
                  <a:pt x="388123" y="1095979"/>
                  <a:pt x="391768" y="1099623"/>
                </a:cubicBezTo>
                <a:cubicBezTo>
                  <a:pt x="391768" y="1095979"/>
                  <a:pt x="389946" y="1094157"/>
                  <a:pt x="386301" y="1090512"/>
                </a:cubicBezTo>
                <a:close/>
                <a:moveTo>
                  <a:pt x="205906" y="1090512"/>
                </a:moveTo>
                <a:cubicBezTo>
                  <a:pt x="207728" y="1092335"/>
                  <a:pt x="209550" y="1095979"/>
                  <a:pt x="211372" y="1095979"/>
                </a:cubicBezTo>
                <a:cubicBezTo>
                  <a:pt x="213195" y="1092335"/>
                  <a:pt x="207728" y="1088690"/>
                  <a:pt x="205906" y="1090512"/>
                </a:cubicBezTo>
                <a:close/>
                <a:moveTo>
                  <a:pt x="189506" y="1090512"/>
                </a:moveTo>
                <a:cubicBezTo>
                  <a:pt x="189506" y="1095979"/>
                  <a:pt x="200439" y="1095979"/>
                  <a:pt x="204084" y="1099623"/>
                </a:cubicBezTo>
                <a:cubicBezTo>
                  <a:pt x="200439" y="1094157"/>
                  <a:pt x="193151" y="1088690"/>
                  <a:pt x="189506" y="1090512"/>
                </a:cubicBezTo>
                <a:close/>
                <a:moveTo>
                  <a:pt x="616806" y="1090057"/>
                </a:moveTo>
                <a:cubicBezTo>
                  <a:pt x="615440" y="1090057"/>
                  <a:pt x="614073" y="1090512"/>
                  <a:pt x="612251" y="1090512"/>
                </a:cubicBezTo>
                <a:cubicBezTo>
                  <a:pt x="612251" y="1092335"/>
                  <a:pt x="615895" y="1095979"/>
                  <a:pt x="619539" y="1097801"/>
                </a:cubicBezTo>
                <a:cubicBezTo>
                  <a:pt x="617717" y="1094157"/>
                  <a:pt x="619539" y="1094157"/>
                  <a:pt x="621362" y="1092335"/>
                </a:cubicBezTo>
                <a:cubicBezTo>
                  <a:pt x="619540" y="1090513"/>
                  <a:pt x="618173" y="1090057"/>
                  <a:pt x="616806" y="1090057"/>
                </a:cubicBezTo>
                <a:close/>
                <a:moveTo>
                  <a:pt x="3075830" y="1088765"/>
                </a:moveTo>
                <a:lnTo>
                  <a:pt x="3075830" y="1105165"/>
                </a:lnTo>
                <a:lnTo>
                  <a:pt x="3059430" y="1103343"/>
                </a:lnTo>
                <a:close/>
                <a:moveTo>
                  <a:pt x="3232537" y="1088690"/>
                </a:moveTo>
                <a:cubicBezTo>
                  <a:pt x="3228893" y="1088690"/>
                  <a:pt x="3227071" y="1088690"/>
                  <a:pt x="3225248" y="1090512"/>
                </a:cubicBezTo>
                <a:cubicBezTo>
                  <a:pt x="3225248" y="1092335"/>
                  <a:pt x="3234359" y="1092335"/>
                  <a:pt x="3232537" y="1088690"/>
                </a:cubicBezTo>
                <a:close/>
                <a:moveTo>
                  <a:pt x="2297762" y="1088690"/>
                </a:moveTo>
                <a:cubicBezTo>
                  <a:pt x="2294117" y="1086868"/>
                  <a:pt x="2292295" y="1088690"/>
                  <a:pt x="2290473" y="1090512"/>
                </a:cubicBezTo>
                <a:cubicBezTo>
                  <a:pt x="2290473" y="1094157"/>
                  <a:pt x="2297762" y="1092335"/>
                  <a:pt x="2297762" y="1088690"/>
                </a:cubicBezTo>
                <a:close/>
                <a:moveTo>
                  <a:pt x="1147970" y="1088690"/>
                </a:moveTo>
                <a:cubicBezTo>
                  <a:pt x="1140681" y="1094157"/>
                  <a:pt x="1137037" y="1095979"/>
                  <a:pt x="1131570" y="1101445"/>
                </a:cubicBezTo>
                <a:cubicBezTo>
                  <a:pt x="1137037" y="1105090"/>
                  <a:pt x="1151614" y="1097801"/>
                  <a:pt x="1147970" y="1088690"/>
                </a:cubicBezTo>
                <a:close/>
                <a:moveTo>
                  <a:pt x="881933" y="1088690"/>
                </a:moveTo>
                <a:cubicBezTo>
                  <a:pt x="880111" y="1090512"/>
                  <a:pt x="880111" y="1088690"/>
                  <a:pt x="878288" y="1090512"/>
                </a:cubicBezTo>
                <a:cubicBezTo>
                  <a:pt x="878288" y="1092335"/>
                  <a:pt x="880111" y="1090512"/>
                  <a:pt x="881933" y="1094157"/>
                </a:cubicBezTo>
                <a:cubicBezTo>
                  <a:pt x="883755" y="1092335"/>
                  <a:pt x="883755" y="1090512"/>
                  <a:pt x="881933" y="1088690"/>
                </a:cubicBezTo>
                <a:close/>
                <a:moveTo>
                  <a:pt x="807223" y="1088690"/>
                </a:moveTo>
                <a:cubicBezTo>
                  <a:pt x="805401" y="1094157"/>
                  <a:pt x="809046" y="1097801"/>
                  <a:pt x="810868" y="1103268"/>
                </a:cubicBezTo>
                <a:cubicBezTo>
                  <a:pt x="810868" y="1101445"/>
                  <a:pt x="812690" y="1101445"/>
                  <a:pt x="812690" y="1099623"/>
                </a:cubicBezTo>
                <a:cubicBezTo>
                  <a:pt x="812690" y="1095979"/>
                  <a:pt x="807223" y="1092335"/>
                  <a:pt x="807223" y="1088690"/>
                </a:cubicBezTo>
                <a:close/>
                <a:moveTo>
                  <a:pt x="759848" y="1088690"/>
                </a:moveTo>
                <a:cubicBezTo>
                  <a:pt x="759848" y="1092335"/>
                  <a:pt x="758025" y="1095979"/>
                  <a:pt x="761670" y="1099623"/>
                </a:cubicBezTo>
                <a:cubicBezTo>
                  <a:pt x="758025" y="1099623"/>
                  <a:pt x="758025" y="1106912"/>
                  <a:pt x="761670" y="1106912"/>
                </a:cubicBezTo>
                <a:cubicBezTo>
                  <a:pt x="765313" y="1105090"/>
                  <a:pt x="761670" y="1103268"/>
                  <a:pt x="761670" y="1099623"/>
                </a:cubicBezTo>
                <a:cubicBezTo>
                  <a:pt x="763491" y="1095979"/>
                  <a:pt x="763491" y="1094157"/>
                  <a:pt x="763491" y="1090512"/>
                </a:cubicBezTo>
                <a:cubicBezTo>
                  <a:pt x="761670" y="1088690"/>
                  <a:pt x="761670" y="1090512"/>
                  <a:pt x="759848" y="1088690"/>
                </a:cubicBezTo>
                <a:close/>
                <a:moveTo>
                  <a:pt x="557586" y="1088690"/>
                </a:moveTo>
                <a:cubicBezTo>
                  <a:pt x="555763" y="1092335"/>
                  <a:pt x="563052" y="1092335"/>
                  <a:pt x="564874" y="1094157"/>
                </a:cubicBezTo>
                <a:cubicBezTo>
                  <a:pt x="564874" y="1092335"/>
                  <a:pt x="559408" y="1090512"/>
                  <a:pt x="557586" y="1088690"/>
                </a:cubicBezTo>
                <a:close/>
                <a:moveTo>
                  <a:pt x="413634" y="1088690"/>
                </a:moveTo>
                <a:lnTo>
                  <a:pt x="426388" y="1103267"/>
                </a:lnTo>
                <a:lnTo>
                  <a:pt x="422745" y="1101445"/>
                </a:lnTo>
                <a:cubicBezTo>
                  <a:pt x="422745" y="1103268"/>
                  <a:pt x="424567" y="1105090"/>
                  <a:pt x="426389" y="1106912"/>
                </a:cubicBezTo>
                <a:cubicBezTo>
                  <a:pt x="428211" y="1105090"/>
                  <a:pt x="428211" y="1106912"/>
                  <a:pt x="430034" y="1105090"/>
                </a:cubicBezTo>
                <a:lnTo>
                  <a:pt x="426389" y="1103267"/>
                </a:lnTo>
                <a:lnTo>
                  <a:pt x="425706" y="1097801"/>
                </a:lnTo>
                <a:cubicBezTo>
                  <a:pt x="425022" y="1095979"/>
                  <a:pt x="424567" y="1094157"/>
                  <a:pt x="426389" y="1092335"/>
                </a:cubicBezTo>
                <a:cubicBezTo>
                  <a:pt x="431856" y="1097801"/>
                  <a:pt x="433678" y="1103268"/>
                  <a:pt x="440966" y="1106912"/>
                </a:cubicBezTo>
                <a:cubicBezTo>
                  <a:pt x="437322" y="1099623"/>
                  <a:pt x="430034" y="1095979"/>
                  <a:pt x="428211" y="1090512"/>
                </a:cubicBezTo>
                <a:cubicBezTo>
                  <a:pt x="424567" y="1094157"/>
                  <a:pt x="417278" y="1085046"/>
                  <a:pt x="413634" y="1088690"/>
                </a:cubicBezTo>
                <a:close/>
                <a:moveTo>
                  <a:pt x="355552" y="1088690"/>
                </a:moveTo>
                <a:cubicBezTo>
                  <a:pt x="353958" y="1088234"/>
                  <a:pt x="352591" y="1088690"/>
                  <a:pt x="353502" y="1090512"/>
                </a:cubicBezTo>
                <a:cubicBezTo>
                  <a:pt x="355324" y="1092335"/>
                  <a:pt x="357146" y="1090512"/>
                  <a:pt x="358969" y="1092335"/>
                </a:cubicBezTo>
                <a:cubicBezTo>
                  <a:pt x="358969" y="1090512"/>
                  <a:pt x="357148" y="1089146"/>
                  <a:pt x="355552" y="1088690"/>
                </a:cubicBezTo>
                <a:close/>
                <a:moveTo>
                  <a:pt x="443927" y="1088462"/>
                </a:moveTo>
                <a:cubicBezTo>
                  <a:pt x="442333" y="1087779"/>
                  <a:pt x="440055" y="1087779"/>
                  <a:pt x="439145" y="1088690"/>
                </a:cubicBezTo>
                <a:cubicBezTo>
                  <a:pt x="440966" y="1088690"/>
                  <a:pt x="442789" y="1092335"/>
                  <a:pt x="444611" y="1092335"/>
                </a:cubicBezTo>
                <a:cubicBezTo>
                  <a:pt x="446433" y="1090512"/>
                  <a:pt x="445522" y="1089146"/>
                  <a:pt x="443927" y="1088462"/>
                </a:cubicBezTo>
                <a:close/>
                <a:moveTo>
                  <a:pt x="2268607" y="1086868"/>
                </a:moveTo>
                <a:cubicBezTo>
                  <a:pt x="2264963" y="1092335"/>
                  <a:pt x="2270429" y="1099623"/>
                  <a:pt x="2277718" y="1099623"/>
                </a:cubicBezTo>
                <a:cubicBezTo>
                  <a:pt x="2277718" y="1095979"/>
                  <a:pt x="2275896" y="1094157"/>
                  <a:pt x="2275896" y="1090512"/>
                </a:cubicBezTo>
                <a:cubicBezTo>
                  <a:pt x="2270429" y="1092335"/>
                  <a:pt x="2268607" y="1090512"/>
                  <a:pt x="2268607" y="1086868"/>
                </a:cubicBezTo>
                <a:close/>
                <a:moveTo>
                  <a:pt x="1177125" y="1086868"/>
                </a:moveTo>
                <a:cubicBezTo>
                  <a:pt x="1175303" y="1088690"/>
                  <a:pt x="1173481" y="1090512"/>
                  <a:pt x="1171658" y="1092335"/>
                </a:cubicBezTo>
                <a:cubicBezTo>
                  <a:pt x="1173481" y="1094157"/>
                  <a:pt x="1178947" y="1088690"/>
                  <a:pt x="1177125" y="1086868"/>
                </a:cubicBezTo>
                <a:close/>
                <a:moveTo>
                  <a:pt x="1102416" y="1086868"/>
                </a:moveTo>
                <a:cubicBezTo>
                  <a:pt x="1100593" y="1088690"/>
                  <a:pt x="1102416" y="1090512"/>
                  <a:pt x="1104238" y="1094157"/>
                </a:cubicBezTo>
                <a:cubicBezTo>
                  <a:pt x="1106060" y="1092335"/>
                  <a:pt x="1107882" y="1095979"/>
                  <a:pt x="1109704" y="1095979"/>
                </a:cubicBezTo>
                <a:cubicBezTo>
                  <a:pt x="1109704" y="1095979"/>
                  <a:pt x="1111526" y="1094157"/>
                  <a:pt x="1111526" y="1094157"/>
                </a:cubicBezTo>
                <a:cubicBezTo>
                  <a:pt x="1109704" y="1092335"/>
                  <a:pt x="1107882" y="1090512"/>
                  <a:pt x="1106060" y="1092335"/>
                </a:cubicBezTo>
                <a:cubicBezTo>
                  <a:pt x="1106060" y="1090512"/>
                  <a:pt x="1104238" y="1088690"/>
                  <a:pt x="1102416" y="1086868"/>
                </a:cubicBezTo>
                <a:close/>
                <a:moveTo>
                  <a:pt x="1075083" y="1086868"/>
                </a:moveTo>
                <a:cubicBezTo>
                  <a:pt x="1073262" y="1085046"/>
                  <a:pt x="1071439" y="1088690"/>
                  <a:pt x="1073262" y="1090512"/>
                </a:cubicBezTo>
                <a:cubicBezTo>
                  <a:pt x="1076905" y="1088690"/>
                  <a:pt x="1075083" y="1086868"/>
                  <a:pt x="1075083" y="1086868"/>
                </a:cubicBezTo>
                <a:close/>
                <a:moveTo>
                  <a:pt x="488343" y="1086868"/>
                </a:moveTo>
                <a:cubicBezTo>
                  <a:pt x="486521" y="1086868"/>
                  <a:pt x="484700" y="1088690"/>
                  <a:pt x="491987" y="1090512"/>
                </a:cubicBezTo>
                <a:cubicBezTo>
                  <a:pt x="491987" y="1088690"/>
                  <a:pt x="490165" y="1088690"/>
                  <a:pt x="488343" y="1086868"/>
                </a:cubicBezTo>
                <a:close/>
                <a:moveTo>
                  <a:pt x="402701" y="1086868"/>
                </a:moveTo>
                <a:cubicBezTo>
                  <a:pt x="404523" y="1092335"/>
                  <a:pt x="411812" y="1095979"/>
                  <a:pt x="415456" y="1103268"/>
                </a:cubicBezTo>
                <a:cubicBezTo>
                  <a:pt x="415456" y="1099623"/>
                  <a:pt x="409989" y="1090512"/>
                  <a:pt x="402701" y="1086868"/>
                </a:cubicBezTo>
                <a:close/>
                <a:moveTo>
                  <a:pt x="320703" y="1086868"/>
                </a:moveTo>
                <a:cubicBezTo>
                  <a:pt x="318882" y="1086868"/>
                  <a:pt x="326169" y="1092335"/>
                  <a:pt x="326169" y="1090512"/>
                </a:cubicBezTo>
                <a:cubicBezTo>
                  <a:pt x="324347" y="1088690"/>
                  <a:pt x="322525" y="1088690"/>
                  <a:pt x="320703" y="1086868"/>
                </a:cubicBezTo>
                <a:close/>
                <a:moveTo>
                  <a:pt x="215017" y="1086868"/>
                </a:moveTo>
                <a:cubicBezTo>
                  <a:pt x="213195" y="1088690"/>
                  <a:pt x="213195" y="1088690"/>
                  <a:pt x="211372" y="1088690"/>
                </a:cubicBezTo>
                <a:cubicBezTo>
                  <a:pt x="215017" y="1090512"/>
                  <a:pt x="216839" y="1090512"/>
                  <a:pt x="218661" y="1092335"/>
                </a:cubicBezTo>
                <a:cubicBezTo>
                  <a:pt x="220483" y="1090512"/>
                  <a:pt x="216839" y="1088690"/>
                  <a:pt x="215017" y="1086868"/>
                </a:cubicBezTo>
                <a:close/>
                <a:moveTo>
                  <a:pt x="3607905" y="1085046"/>
                </a:moveTo>
                <a:cubicBezTo>
                  <a:pt x="3600616" y="1090512"/>
                  <a:pt x="3617016" y="1090512"/>
                  <a:pt x="3615193" y="1085046"/>
                </a:cubicBezTo>
                <a:cubicBezTo>
                  <a:pt x="3613371" y="1085046"/>
                  <a:pt x="3606082" y="1086868"/>
                  <a:pt x="3607905" y="1085046"/>
                </a:cubicBezTo>
                <a:close/>
                <a:moveTo>
                  <a:pt x="3252581" y="1085046"/>
                </a:moveTo>
                <a:cubicBezTo>
                  <a:pt x="3250759" y="1086868"/>
                  <a:pt x="3247114" y="1090512"/>
                  <a:pt x="3245292" y="1092335"/>
                </a:cubicBezTo>
                <a:cubicBezTo>
                  <a:pt x="3250759" y="1092335"/>
                  <a:pt x="3259869" y="1092335"/>
                  <a:pt x="3259869" y="1086868"/>
                </a:cubicBezTo>
                <a:cubicBezTo>
                  <a:pt x="3256225" y="1088690"/>
                  <a:pt x="3250759" y="1090512"/>
                  <a:pt x="3252581" y="1085046"/>
                </a:cubicBezTo>
                <a:close/>
                <a:moveTo>
                  <a:pt x="1096949" y="1085046"/>
                </a:moveTo>
                <a:cubicBezTo>
                  <a:pt x="1095127" y="1085046"/>
                  <a:pt x="1095127" y="1086868"/>
                  <a:pt x="1093305" y="1088690"/>
                </a:cubicBezTo>
                <a:cubicBezTo>
                  <a:pt x="1096949" y="1090512"/>
                  <a:pt x="1096949" y="1086868"/>
                  <a:pt x="1100593" y="1086868"/>
                </a:cubicBezTo>
                <a:cubicBezTo>
                  <a:pt x="1098771" y="1085046"/>
                  <a:pt x="1098771" y="1086868"/>
                  <a:pt x="1096949" y="1085046"/>
                </a:cubicBezTo>
                <a:close/>
                <a:moveTo>
                  <a:pt x="707004" y="1085046"/>
                </a:moveTo>
                <a:cubicBezTo>
                  <a:pt x="707004" y="1092335"/>
                  <a:pt x="710648" y="1099623"/>
                  <a:pt x="717937" y="1101445"/>
                </a:cubicBezTo>
                <a:cubicBezTo>
                  <a:pt x="717937" y="1094157"/>
                  <a:pt x="712470" y="1088690"/>
                  <a:pt x="707004" y="1085046"/>
                </a:cubicBezTo>
                <a:close/>
                <a:moveTo>
                  <a:pt x="666916" y="1085046"/>
                </a:moveTo>
                <a:cubicBezTo>
                  <a:pt x="659627" y="1085046"/>
                  <a:pt x="661449" y="1092335"/>
                  <a:pt x="663272" y="1095979"/>
                </a:cubicBezTo>
                <a:cubicBezTo>
                  <a:pt x="668738" y="1097801"/>
                  <a:pt x="672383" y="1095979"/>
                  <a:pt x="677849" y="1095979"/>
                </a:cubicBezTo>
                <a:cubicBezTo>
                  <a:pt x="676027" y="1092335"/>
                  <a:pt x="670560" y="1088690"/>
                  <a:pt x="666916" y="1085046"/>
                </a:cubicBezTo>
                <a:close/>
                <a:moveTo>
                  <a:pt x="572163" y="1085046"/>
                </a:moveTo>
                <a:cubicBezTo>
                  <a:pt x="577630" y="1094157"/>
                  <a:pt x="592207" y="1099623"/>
                  <a:pt x="595852" y="1090512"/>
                </a:cubicBezTo>
                <a:cubicBezTo>
                  <a:pt x="588562" y="1086868"/>
                  <a:pt x="581274" y="1090512"/>
                  <a:pt x="572163" y="1085046"/>
                </a:cubicBezTo>
                <a:close/>
                <a:moveTo>
                  <a:pt x="563052" y="1085046"/>
                </a:moveTo>
                <a:cubicBezTo>
                  <a:pt x="563052" y="1086868"/>
                  <a:pt x="566697" y="1086868"/>
                  <a:pt x="566697" y="1088690"/>
                </a:cubicBezTo>
                <a:cubicBezTo>
                  <a:pt x="568519" y="1086868"/>
                  <a:pt x="566697" y="1086868"/>
                  <a:pt x="568519" y="1085046"/>
                </a:cubicBezTo>
                <a:cubicBezTo>
                  <a:pt x="566697" y="1085046"/>
                  <a:pt x="564874" y="1086868"/>
                  <a:pt x="563052" y="1085046"/>
                </a:cubicBezTo>
                <a:close/>
                <a:moveTo>
                  <a:pt x="535719" y="1085046"/>
                </a:moveTo>
                <a:cubicBezTo>
                  <a:pt x="533897" y="1085046"/>
                  <a:pt x="539364" y="1092335"/>
                  <a:pt x="543008" y="1095979"/>
                </a:cubicBezTo>
                <a:cubicBezTo>
                  <a:pt x="550297" y="1095979"/>
                  <a:pt x="541186" y="1083224"/>
                  <a:pt x="535719" y="1085046"/>
                </a:cubicBezTo>
                <a:close/>
                <a:moveTo>
                  <a:pt x="275149" y="1085046"/>
                </a:moveTo>
                <a:cubicBezTo>
                  <a:pt x="275149" y="1094157"/>
                  <a:pt x="286082" y="1094157"/>
                  <a:pt x="291549" y="1094157"/>
                </a:cubicBezTo>
                <a:cubicBezTo>
                  <a:pt x="286082" y="1090512"/>
                  <a:pt x="280615" y="1088690"/>
                  <a:pt x="275149" y="1085046"/>
                </a:cubicBezTo>
                <a:close/>
                <a:moveTo>
                  <a:pt x="1337957" y="1084792"/>
                </a:moveTo>
                <a:lnTo>
                  <a:pt x="1337931" y="1084818"/>
                </a:lnTo>
                <a:lnTo>
                  <a:pt x="1337826" y="1084880"/>
                </a:lnTo>
                <a:close/>
                <a:moveTo>
                  <a:pt x="1033173" y="1083224"/>
                </a:moveTo>
                <a:cubicBezTo>
                  <a:pt x="1027707" y="1088690"/>
                  <a:pt x="1027707" y="1095979"/>
                  <a:pt x="1020418" y="1099623"/>
                </a:cubicBezTo>
                <a:cubicBezTo>
                  <a:pt x="1024062" y="1099623"/>
                  <a:pt x="1027707" y="1099623"/>
                  <a:pt x="1029529" y="1103268"/>
                </a:cubicBezTo>
                <a:cubicBezTo>
                  <a:pt x="1034995" y="1101445"/>
                  <a:pt x="1034995" y="1099623"/>
                  <a:pt x="1033173" y="1095979"/>
                </a:cubicBezTo>
                <a:cubicBezTo>
                  <a:pt x="1040462" y="1095979"/>
                  <a:pt x="1034995" y="1085046"/>
                  <a:pt x="1033173" y="1083224"/>
                </a:cubicBezTo>
                <a:close/>
                <a:moveTo>
                  <a:pt x="832734" y="1083224"/>
                </a:moveTo>
                <a:cubicBezTo>
                  <a:pt x="836378" y="1090512"/>
                  <a:pt x="823623" y="1090512"/>
                  <a:pt x="827267" y="1097801"/>
                </a:cubicBezTo>
                <a:cubicBezTo>
                  <a:pt x="829089" y="1099623"/>
                  <a:pt x="830912" y="1103268"/>
                  <a:pt x="832734" y="1101445"/>
                </a:cubicBezTo>
                <a:cubicBezTo>
                  <a:pt x="834556" y="1097801"/>
                  <a:pt x="840022" y="1095979"/>
                  <a:pt x="840022" y="1090512"/>
                </a:cubicBezTo>
                <a:cubicBezTo>
                  <a:pt x="838200" y="1085046"/>
                  <a:pt x="836378" y="1083224"/>
                  <a:pt x="832734" y="1083224"/>
                </a:cubicBezTo>
                <a:close/>
                <a:moveTo>
                  <a:pt x="776246" y="1083224"/>
                </a:moveTo>
                <a:cubicBezTo>
                  <a:pt x="777157" y="1085046"/>
                  <a:pt x="778524" y="1088690"/>
                  <a:pt x="780118" y="1091879"/>
                </a:cubicBezTo>
                <a:lnTo>
                  <a:pt x="783912" y="1096167"/>
                </a:lnTo>
                <a:lnTo>
                  <a:pt x="783535" y="1095979"/>
                </a:lnTo>
                <a:cubicBezTo>
                  <a:pt x="783535" y="1095979"/>
                  <a:pt x="783535" y="1097801"/>
                  <a:pt x="785357" y="1097801"/>
                </a:cubicBezTo>
                <a:lnTo>
                  <a:pt x="783912" y="1096167"/>
                </a:lnTo>
                <a:lnTo>
                  <a:pt x="787179" y="1097801"/>
                </a:lnTo>
                <a:cubicBezTo>
                  <a:pt x="789003" y="1090512"/>
                  <a:pt x="779892" y="1086868"/>
                  <a:pt x="776246" y="1083224"/>
                </a:cubicBezTo>
                <a:close/>
                <a:moveTo>
                  <a:pt x="741626" y="1083224"/>
                </a:moveTo>
                <a:cubicBezTo>
                  <a:pt x="739803" y="1085046"/>
                  <a:pt x="743447" y="1088690"/>
                  <a:pt x="745269" y="1092335"/>
                </a:cubicBezTo>
                <a:cubicBezTo>
                  <a:pt x="748914" y="1088690"/>
                  <a:pt x="743447" y="1086868"/>
                  <a:pt x="741626" y="1083224"/>
                </a:cubicBezTo>
                <a:close/>
                <a:moveTo>
                  <a:pt x="220483" y="1083224"/>
                </a:moveTo>
                <a:cubicBezTo>
                  <a:pt x="218661" y="1086868"/>
                  <a:pt x="225950" y="1088690"/>
                  <a:pt x="227772" y="1090512"/>
                </a:cubicBezTo>
                <a:cubicBezTo>
                  <a:pt x="227772" y="1086868"/>
                  <a:pt x="222306" y="1085046"/>
                  <a:pt x="220483" y="1083224"/>
                </a:cubicBezTo>
                <a:close/>
                <a:moveTo>
                  <a:pt x="171285" y="1083224"/>
                </a:moveTo>
                <a:cubicBezTo>
                  <a:pt x="174929" y="1088690"/>
                  <a:pt x="184040" y="1095979"/>
                  <a:pt x="189506" y="1095979"/>
                </a:cubicBezTo>
                <a:cubicBezTo>
                  <a:pt x="184040" y="1090512"/>
                  <a:pt x="176751" y="1085046"/>
                  <a:pt x="171285" y="1083224"/>
                </a:cubicBezTo>
                <a:close/>
                <a:moveTo>
                  <a:pt x="2568485" y="1083171"/>
                </a:moveTo>
                <a:lnTo>
                  <a:pt x="2567671" y="1084818"/>
                </a:lnTo>
                <a:lnTo>
                  <a:pt x="2566781" y="1085093"/>
                </a:lnTo>
                <a:close/>
                <a:moveTo>
                  <a:pt x="973868" y="1082939"/>
                </a:moveTo>
                <a:cubicBezTo>
                  <a:pt x="969169" y="1084818"/>
                  <a:pt x="969853" y="1096434"/>
                  <a:pt x="976686" y="1097801"/>
                </a:cubicBezTo>
                <a:cubicBezTo>
                  <a:pt x="978508" y="1097801"/>
                  <a:pt x="976686" y="1095979"/>
                  <a:pt x="976686" y="1094157"/>
                </a:cubicBezTo>
                <a:cubicBezTo>
                  <a:pt x="978508" y="1094157"/>
                  <a:pt x="980330" y="1094157"/>
                  <a:pt x="980330" y="1094157"/>
                </a:cubicBezTo>
                <a:cubicBezTo>
                  <a:pt x="980330" y="1090512"/>
                  <a:pt x="980330" y="1088690"/>
                  <a:pt x="980330" y="1085046"/>
                </a:cubicBezTo>
                <a:cubicBezTo>
                  <a:pt x="977597" y="1082768"/>
                  <a:pt x="975433" y="1082312"/>
                  <a:pt x="973868" y="1082939"/>
                </a:cubicBezTo>
                <a:close/>
                <a:moveTo>
                  <a:pt x="3558706" y="1081402"/>
                </a:moveTo>
                <a:cubicBezTo>
                  <a:pt x="3560528" y="1086868"/>
                  <a:pt x="3560528" y="1090512"/>
                  <a:pt x="3564173" y="1090512"/>
                </a:cubicBezTo>
                <a:cubicBezTo>
                  <a:pt x="3564173" y="1086868"/>
                  <a:pt x="3565995" y="1081402"/>
                  <a:pt x="3558706" y="1081402"/>
                </a:cubicBezTo>
                <a:close/>
                <a:moveTo>
                  <a:pt x="3239826" y="1081402"/>
                </a:moveTo>
                <a:cubicBezTo>
                  <a:pt x="3239826" y="1085046"/>
                  <a:pt x="3238003" y="1086868"/>
                  <a:pt x="3236181" y="1088690"/>
                </a:cubicBezTo>
                <a:cubicBezTo>
                  <a:pt x="3239826" y="1092335"/>
                  <a:pt x="3247114" y="1086868"/>
                  <a:pt x="3247114" y="1081402"/>
                </a:cubicBezTo>
                <a:cubicBezTo>
                  <a:pt x="3245292" y="1081402"/>
                  <a:pt x="3241648" y="1081402"/>
                  <a:pt x="3239826" y="1081402"/>
                </a:cubicBezTo>
                <a:close/>
                <a:moveTo>
                  <a:pt x="3185160" y="1081402"/>
                </a:moveTo>
                <a:cubicBezTo>
                  <a:pt x="3183338" y="1083224"/>
                  <a:pt x="3181516" y="1085046"/>
                  <a:pt x="3181516" y="1088690"/>
                </a:cubicBezTo>
                <a:cubicBezTo>
                  <a:pt x="3183338" y="1088690"/>
                  <a:pt x="3185160" y="1088690"/>
                  <a:pt x="3186982" y="1088690"/>
                </a:cubicBezTo>
                <a:cubicBezTo>
                  <a:pt x="3188805" y="1085046"/>
                  <a:pt x="3185160" y="1085046"/>
                  <a:pt x="3185160" y="1081402"/>
                </a:cubicBezTo>
                <a:close/>
                <a:moveTo>
                  <a:pt x="2813437" y="1081402"/>
                </a:moveTo>
                <a:lnTo>
                  <a:pt x="2814223" y="1083044"/>
                </a:lnTo>
                <a:lnTo>
                  <a:pt x="2810650" y="1087375"/>
                </a:lnTo>
                <a:lnTo>
                  <a:pt x="2809793" y="1084590"/>
                </a:lnTo>
                <a:cubicBezTo>
                  <a:pt x="2809793" y="1083224"/>
                  <a:pt x="2810704" y="1082313"/>
                  <a:pt x="2813437" y="1081402"/>
                </a:cubicBezTo>
                <a:close/>
                <a:moveTo>
                  <a:pt x="1193525" y="1081402"/>
                </a:moveTo>
                <a:cubicBezTo>
                  <a:pt x="1189880" y="1083224"/>
                  <a:pt x="1186236" y="1085046"/>
                  <a:pt x="1188058" y="1088690"/>
                </a:cubicBezTo>
                <a:cubicBezTo>
                  <a:pt x="1178947" y="1095979"/>
                  <a:pt x="1171658" y="1094157"/>
                  <a:pt x="1166192" y="1105090"/>
                </a:cubicBezTo>
                <a:cubicBezTo>
                  <a:pt x="1168014" y="1106912"/>
                  <a:pt x="1168014" y="1105090"/>
                  <a:pt x="1169836" y="1106912"/>
                </a:cubicBezTo>
                <a:cubicBezTo>
                  <a:pt x="1171658" y="1105090"/>
                  <a:pt x="1177125" y="1103268"/>
                  <a:pt x="1178947" y="1105090"/>
                </a:cubicBezTo>
                <a:cubicBezTo>
                  <a:pt x="1182592" y="1103268"/>
                  <a:pt x="1182592" y="1101445"/>
                  <a:pt x="1184414" y="1099623"/>
                </a:cubicBezTo>
                <a:cubicBezTo>
                  <a:pt x="1184414" y="1101445"/>
                  <a:pt x="1182592" y="1103268"/>
                  <a:pt x="1182592" y="1105090"/>
                </a:cubicBezTo>
                <a:cubicBezTo>
                  <a:pt x="1186236" y="1105090"/>
                  <a:pt x="1186236" y="1101445"/>
                  <a:pt x="1186236" y="1099623"/>
                </a:cubicBezTo>
                <a:cubicBezTo>
                  <a:pt x="1189880" y="1101445"/>
                  <a:pt x="1184414" y="1103268"/>
                  <a:pt x="1186236" y="1105090"/>
                </a:cubicBezTo>
                <a:cubicBezTo>
                  <a:pt x="1191703" y="1101445"/>
                  <a:pt x="1195346" y="1097801"/>
                  <a:pt x="1197169" y="1092335"/>
                </a:cubicBezTo>
                <a:cubicBezTo>
                  <a:pt x="1198991" y="1094157"/>
                  <a:pt x="1202636" y="1092335"/>
                  <a:pt x="1206279" y="1090512"/>
                </a:cubicBezTo>
                <a:cubicBezTo>
                  <a:pt x="1202636" y="1086868"/>
                  <a:pt x="1197169" y="1086868"/>
                  <a:pt x="1193525" y="1081402"/>
                </a:cubicBezTo>
                <a:close/>
                <a:moveTo>
                  <a:pt x="1153436" y="1081402"/>
                </a:moveTo>
                <a:cubicBezTo>
                  <a:pt x="1149792" y="1083224"/>
                  <a:pt x="1149792" y="1083224"/>
                  <a:pt x="1149792" y="1085046"/>
                </a:cubicBezTo>
                <a:cubicBezTo>
                  <a:pt x="1149792" y="1085046"/>
                  <a:pt x="1151614" y="1086868"/>
                  <a:pt x="1151614" y="1086868"/>
                </a:cubicBezTo>
                <a:cubicBezTo>
                  <a:pt x="1155259" y="1085046"/>
                  <a:pt x="1155259" y="1083224"/>
                  <a:pt x="1153436" y="1081402"/>
                </a:cubicBezTo>
                <a:close/>
                <a:moveTo>
                  <a:pt x="823623" y="1081402"/>
                </a:moveTo>
                <a:cubicBezTo>
                  <a:pt x="821801" y="1081402"/>
                  <a:pt x="821801" y="1086868"/>
                  <a:pt x="821801" y="1088690"/>
                </a:cubicBezTo>
                <a:cubicBezTo>
                  <a:pt x="825445" y="1086868"/>
                  <a:pt x="821801" y="1083224"/>
                  <a:pt x="823623" y="1081402"/>
                </a:cubicBezTo>
                <a:close/>
                <a:moveTo>
                  <a:pt x="479232" y="1081402"/>
                </a:moveTo>
                <a:cubicBezTo>
                  <a:pt x="477410" y="1088690"/>
                  <a:pt x="482876" y="1083224"/>
                  <a:pt x="484700" y="1085046"/>
                </a:cubicBezTo>
                <a:cubicBezTo>
                  <a:pt x="482876" y="1083224"/>
                  <a:pt x="481054" y="1083224"/>
                  <a:pt x="479232" y="1081402"/>
                </a:cubicBezTo>
                <a:close/>
                <a:moveTo>
                  <a:pt x="2986543" y="1079579"/>
                </a:moveTo>
                <a:cubicBezTo>
                  <a:pt x="2982899" y="1077757"/>
                  <a:pt x="2986543" y="1085046"/>
                  <a:pt x="2986543" y="1088690"/>
                </a:cubicBezTo>
                <a:cubicBezTo>
                  <a:pt x="2988366" y="1086868"/>
                  <a:pt x="2984721" y="1081402"/>
                  <a:pt x="2990188" y="1083224"/>
                </a:cubicBezTo>
                <a:cubicBezTo>
                  <a:pt x="2990188" y="1079579"/>
                  <a:pt x="2984721" y="1081402"/>
                  <a:pt x="2986543" y="1079579"/>
                </a:cubicBezTo>
                <a:close/>
                <a:moveTo>
                  <a:pt x="856422" y="1079579"/>
                </a:moveTo>
                <a:cubicBezTo>
                  <a:pt x="852778" y="1085046"/>
                  <a:pt x="856422" y="1090512"/>
                  <a:pt x="861889" y="1092335"/>
                </a:cubicBezTo>
                <a:cubicBezTo>
                  <a:pt x="863711" y="1090512"/>
                  <a:pt x="861889" y="1088690"/>
                  <a:pt x="865533" y="1086868"/>
                </a:cubicBezTo>
                <a:cubicBezTo>
                  <a:pt x="861889" y="1081402"/>
                  <a:pt x="860066" y="1083224"/>
                  <a:pt x="856422" y="1079579"/>
                </a:cubicBezTo>
                <a:close/>
                <a:moveTo>
                  <a:pt x="610429" y="1079579"/>
                </a:moveTo>
                <a:cubicBezTo>
                  <a:pt x="608606" y="1081402"/>
                  <a:pt x="612251" y="1085046"/>
                  <a:pt x="610429" y="1086868"/>
                </a:cubicBezTo>
                <a:cubicBezTo>
                  <a:pt x="614074" y="1086868"/>
                  <a:pt x="617717" y="1088690"/>
                  <a:pt x="621362" y="1086868"/>
                </a:cubicBezTo>
                <a:cubicBezTo>
                  <a:pt x="615895" y="1085046"/>
                  <a:pt x="615895" y="1081402"/>
                  <a:pt x="610429" y="1079579"/>
                </a:cubicBezTo>
                <a:close/>
                <a:moveTo>
                  <a:pt x="513853" y="1079579"/>
                </a:moveTo>
                <a:cubicBezTo>
                  <a:pt x="519320" y="1083224"/>
                  <a:pt x="517498" y="1090512"/>
                  <a:pt x="526609" y="1094157"/>
                </a:cubicBezTo>
                <a:cubicBezTo>
                  <a:pt x="528431" y="1092335"/>
                  <a:pt x="524786" y="1092335"/>
                  <a:pt x="526609" y="1090512"/>
                </a:cubicBezTo>
                <a:lnTo>
                  <a:pt x="529444" y="1098813"/>
                </a:lnTo>
                <a:lnTo>
                  <a:pt x="526609" y="1095979"/>
                </a:lnTo>
                <a:cubicBezTo>
                  <a:pt x="525697" y="1096890"/>
                  <a:pt x="526153" y="1097801"/>
                  <a:pt x="527292" y="1098712"/>
                </a:cubicBezTo>
                <a:lnTo>
                  <a:pt x="530731" y="1100677"/>
                </a:lnTo>
                <a:lnTo>
                  <a:pt x="535719" y="1105090"/>
                </a:lnTo>
                <a:cubicBezTo>
                  <a:pt x="552119" y="1106912"/>
                  <a:pt x="539364" y="1097801"/>
                  <a:pt x="532075" y="1092335"/>
                </a:cubicBezTo>
                <a:lnTo>
                  <a:pt x="535719" y="1092335"/>
                </a:lnTo>
                <a:cubicBezTo>
                  <a:pt x="532075" y="1085046"/>
                  <a:pt x="522964" y="1083224"/>
                  <a:pt x="513853" y="1079579"/>
                </a:cubicBezTo>
                <a:close/>
                <a:moveTo>
                  <a:pt x="373546" y="1079579"/>
                </a:moveTo>
                <a:cubicBezTo>
                  <a:pt x="375368" y="1079579"/>
                  <a:pt x="373546" y="1086868"/>
                  <a:pt x="379012" y="1083224"/>
                </a:cubicBezTo>
                <a:cubicBezTo>
                  <a:pt x="377190" y="1081402"/>
                  <a:pt x="375368" y="1083224"/>
                  <a:pt x="373546" y="1079579"/>
                </a:cubicBezTo>
                <a:close/>
                <a:moveTo>
                  <a:pt x="178573" y="1079579"/>
                </a:moveTo>
                <a:cubicBezTo>
                  <a:pt x="178573" y="1085046"/>
                  <a:pt x="187684" y="1088690"/>
                  <a:pt x="189506" y="1086868"/>
                </a:cubicBezTo>
                <a:cubicBezTo>
                  <a:pt x="185862" y="1081402"/>
                  <a:pt x="182218" y="1083224"/>
                  <a:pt x="178573" y="1079579"/>
                </a:cubicBezTo>
                <a:close/>
                <a:moveTo>
                  <a:pt x="87465" y="1079579"/>
                </a:moveTo>
                <a:cubicBezTo>
                  <a:pt x="105686" y="1097801"/>
                  <a:pt x="123908" y="1114201"/>
                  <a:pt x="142130" y="1130600"/>
                </a:cubicBezTo>
                <a:lnTo>
                  <a:pt x="142076" y="1130573"/>
                </a:lnTo>
                <a:lnTo>
                  <a:pt x="133475" y="1123539"/>
                </a:lnTo>
                <a:cubicBezTo>
                  <a:pt x="117075" y="1110100"/>
                  <a:pt x="101131" y="1095978"/>
                  <a:pt x="87465" y="1079579"/>
                </a:cubicBezTo>
                <a:close/>
                <a:moveTo>
                  <a:pt x="843619" y="1078600"/>
                </a:moveTo>
                <a:lnTo>
                  <a:pt x="843895" y="1079579"/>
                </a:lnTo>
                <a:lnTo>
                  <a:pt x="842909" y="1083084"/>
                </a:lnTo>
                <a:lnTo>
                  <a:pt x="842072" y="1082312"/>
                </a:lnTo>
                <a:close/>
                <a:moveTo>
                  <a:pt x="3330934" y="1077757"/>
                </a:moveTo>
                <a:cubicBezTo>
                  <a:pt x="3329112" y="1079579"/>
                  <a:pt x="3327290" y="1079579"/>
                  <a:pt x="3325468" y="1079579"/>
                </a:cubicBezTo>
                <a:cubicBezTo>
                  <a:pt x="3321824" y="1085046"/>
                  <a:pt x="3332756" y="1085046"/>
                  <a:pt x="3330934" y="1077757"/>
                </a:cubicBezTo>
                <a:close/>
                <a:moveTo>
                  <a:pt x="1344765" y="1077757"/>
                </a:moveTo>
                <a:cubicBezTo>
                  <a:pt x="1346587" y="1081402"/>
                  <a:pt x="1350231" y="1077757"/>
                  <a:pt x="1352053" y="1077757"/>
                </a:cubicBezTo>
                <a:cubicBezTo>
                  <a:pt x="1352053" y="1077757"/>
                  <a:pt x="1353876" y="1077757"/>
                  <a:pt x="1355698" y="1077757"/>
                </a:cubicBezTo>
                <a:cubicBezTo>
                  <a:pt x="1350231" y="1077757"/>
                  <a:pt x="1346587" y="1079579"/>
                  <a:pt x="1342942" y="1081402"/>
                </a:cubicBezTo>
                <a:lnTo>
                  <a:pt x="1337957" y="1084792"/>
                </a:lnTo>
                <a:close/>
                <a:moveTo>
                  <a:pt x="1065972" y="1077757"/>
                </a:moveTo>
                <a:cubicBezTo>
                  <a:pt x="1064151" y="1079579"/>
                  <a:pt x="1065972" y="1085046"/>
                  <a:pt x="1067794" y="1079579"/>
                </a:cubicBezTo>
                <a:cubicBezTo>
                  <a:pt x="1067794" y="1081402"/>
                  <a:pt x="1067794" y="1083224"/>
                  <a:pt x="1069616" y="1085046"/>
                </a:cubicBezTo>
                <a:cubicBezTo>
                  <a:pt x="1071439" y="1085046"/>
                  <a:pt x="1069616" y="1083224"/>
                  <a:pt x="1071439" y="1081402"/>
                </a:cubicBezTo>
                <a:cubicBezTo>
                  <a:pt x="1069616" y="1079579"/>
                  <a:pt x="1067794" y="1079579"/>
                  <a:pt x="1065972" y="1077757"/>
                </a:cubicBezTo>
                <a:close/>
                <a:moveTo>
                  <a:pt x="1040462" y="1077757"/>
                </a:moveTo>
                <a:cubicBezTo>
                  <a:pt x="1040462" y="1081402"/>
                  <a:pt x="1042284" y="1085046"/>
                  <a:pt x="1044106" y="1090512"/>
                </a:cubicBezTo>
                <a:cubicBezTo>
                  <a:pt x="1045929" y="1088690"/>
                  <a:pt x="1044106" y="1088690"/>
                  <a:pt x="1045929" y="1086868"/>
                </a:cubicBezTo>
                <a:cubicBezTo>
                  <a:pt x="1042284" y="1085046"/>
                  <a:pt x="1045929" y="1079579"/>
                  <a:pt x="1040462" y="1077757"/>
                </a:cubicBezTo>
                <a:close/>
                <a:moveTo>
                  <a:pt x="1029529" y="1077757"/>
                </a:moveTo>
                <a:cubicBezTo>
                  <a:pt x="1024062" y="1075935"/>
                  <a:pt x="1016774" y="1083224"/>
                  <a:pt x="1009485" y="1088690"/>
                </a:cubicBezTo>
                <a:cubicBezTo>
                  <a:pt x="1013129" y="1090512"/>
                  <a:pt x="1009485" y="1092335"/>
                  <a:pt x="1011307" y="1094157"/>
                </a:cubicBezTo>
                <a:cubicBezTo>
                  <a:pt x="1011307" y="1092335"/>
                  <a:pt x="1011307" y="1090512"/>
                  <a:pt x="1011307" y="1090512"/>
                </a:cubicBezTo>
                <a:cubicBezTo>
                  <a:pt x="1013129" y="1094157"/>
                  <a:pt x="1014951" y="1094157"/>
                  <a:pt x="1016774" y="1095979"/>
                </a:cubicBezTo>
                <a:cubicBezTo>
                  <a:pt x="1018596" y="1088690"/>
                  <a:pt x="1024062" y="1085046"/>
                  <a:pt x="1029529" y="1077757"/>
                </a:cubicBezTo>
                <a:close/>
                <a:moveTo>
                  <a:pt x="825445" y="1077757"/>
                </a:moveTo>
                <a:cubicBezTo>
                  <a:pt x="825445" y="1081402"/>
                  <a:pt x="825445" y="1085046"/>
                  <a:pt x="825445" y="1088690"/>
                </a:cubicBezTo>
                <a:cubicBezTo>
                  <a:pt x="827267" y="1088690"/>
                  <a:pt x="829089" y="1088690"/>
                  <a:pt x="830912" y="1086868"/>
                </a:cubicBezTo>
                <a:cubicBezTo>
                  <a:pt x="832734" y="1081402"/>
                  <a:pt x="829089" y="1079579"/>
                  <a:pt x="825445" y="1077757"/>
                </a:cubicBezTo>
                <a:close/>
                <a:moveTo>
                  <a:pt x="561913" y="1077757"/>
                </a:moveTo>
                <a:cubicBezTo>
                  <a:pt x="559408" y="1076391"/>
                  <a:pt x="556674" y="1075935"/>
                  <a:pt x="553941" y="1079579"/>
                </a:cubicBezTo>
                <a:cubicBezTo>
                  <a:pt x="559408" y="1083224"/>
                  <a:pt x="564874" y="1085046"/>
                  <a:pt x="568519" y="1081402"/>
                </a:cubicBezTo>
                <a:cubicBezTo>
                  <a:pt x="566697" y="1081402"/>
                  <a:pt x="564419" y="1079124"/>
                  <a:pt x="561913" y="1077757"/>
                </a:cubicBezTo>
                <a:close/>
                <a:moveTo>
                  <a:pt x="388123" y="1077757"/>
                </a:moveTo>
                <a:cubicBezTo>
                  <a:pt x="388123" y="1079579"/>
                  <a:pt x="393590" y="1088690"/>
                  <a:pt x="397234" y="1086868"/>
                </a:cubicBezTo>
                <a:cubicBezTo>
                  <a:pt x="393590" y="1085046"/>
                  <a:pt x="393590" y="1083224"/>
                  <a:pt x="393590" y="1081402"/>
                </a:cubicBezTo>
                <a:cubicBezTo>
                  <a:pt x="391768" y="1079579"/>
                  <a:pt x="389946" y="1079579"/>
                  <a:pt x="388123" y="1077757"/>
                </a:cubicBezTo>
                <a:close/>
                <a:moveTo>
                  <a:pt x="326169" y="1077757"/>
                </a:moveTo>
                <a:cubicBezTo>
                  <a:pt x="324347" y="1079579"/>
                  <a:pt x="329814" y="1083224"/>
                  <a:pt x="331636" y="1085046"/>
                </a:cubicBezTo>
                <a:cubicBezTo>
                  <a:pt x="329814" y="1086868"/>
                  <a:pt x="327993" y="1081402"/>
                  <a:pt x="326169" y="1079579"/>
                </a:cubicBezTo>
                <a:cubicBezTo>
                  <a:pt x="324347" y="1083224"/>
                  <a:pt x="329814" y="1086868"/>
                  <a:pt x="331636" y="1088690"/>
                </a:cubicBezTo>
                <a:cubicBezTo>
                  <a:pt x="331636" y="1086868"/>
                  <a:pt x="329814" y="1085046"/>
                  <a:pt x="331636" y="1085046"/>
                </a:cubicBezTo>
                <a:cubicBezTo>
                  <a:pt x="335280" y="1086868"/>
                  <a:pt x="338926" y="1094157"/>
                  <a:pt x="342569" y="1092335"/>
                </a:cubicBezTo>
                <a:cubicBezTo>
                  <a:pt x="338926" y="1086868"/>
                  <a:pt x="331636" y="1077757"/>
                  <a:pt x="326169" y="1077757"/>
                </a:cubicBezTo>
                <a:close/>
                <a:moveTo>
                  <a:pt x="276971" y="1077757"/>
                </a:moveTo>
                <a:cubicBezTo>
                  <a:pt x="282438" y="1077757"/>
                  <a:pt x="284715" y="1079579"/>
                  <a:pt x="286309" y="1081857"/>
                </a:cubicBezTo>
                <a:lnTo>
                  <a:pt x="287018" y="1082781"/>
                </a:lnTo>
                <a:close/>
                <a:moveTo>
                  <a:pt x="260571" y="1077757"/>
                </a:moveTo>
                <a:lnTo>
                  <a:pt x="266038" y="1083224"/>
                </a:lnTo>
                <a:lnTo>
                  <a:pt x="269682" y="1086868"/>
                </a:lnTo>
                <a:cubicBezTo>
                  <a:pt x="270593" y="1086868"/>
                  <a:pt x="270137" y="1086412"/>
                  <a:pt x="269226" y="1085729"/>
                </a:cubicBezTo>
                <a:lnTo>
                  <a:pt x="266038" y="1083224"/>
                </a:lnTo>
                <a:lnTo>
                  <a:pt x="267860" y="1083224"/>
                </a:lnTo>
                <a:cubicBezTo>
                  <a:pt x="267860" y="1079579"/>
                  <a:pt x="262393" y="1081402"/>
                  <a:pt x="260571" y="1077757"/>
                </a:cubicBezTo>
                <a:close/>
                <a:moveTo>
                  <a:pt x="153063" y="1077757"/>
                </a:moveTo>
                <a:cubicBezTo>
                  <a:pt x="156707" y="1085046"/>
                  <a:pt x="165818" y="1094157"/>
                  <a:pt x="171285" y="1092335"/>
                </a:cubicBezTo>
                <a:cubicBezTo>
                  <a:pt x="163996" y="1083224"/>
                  <a:pt x="158529" y="1079579"/>
                  <a:pt x="153063" y="1077757"/>
                </a:cubicBezTo>
                <a:close/>
                <a:moveTo>
                  <a:pt x="1171658" y="1075935"/>
                </a:moveTo>
                <a:cubicBezTo>
                  <a:pt x="1168014" y="1077757"/>
                  <a:pt x="1166192" y="1079579"/>
                  <a:pt x="1164370" y="1081402"/>
                </a:cubicBezTo>
                <a:cubicBezTo>
                  <a:pt x="1166192" y="1083224"/>
                  <a:pt x="1175303" y="1077757"/>
                  <a:pt x="1171658" y="1075935"/>
                </a:cubicBezTo>
                <a:close/>
                <a:moveTo>
                  <a:pt x="1045929" y="1075935"/>
                </a:moveTo>
                <a:cubicBezTo>
                  <a:pt x="1044106" y="1077757"/>
                  <a:pt x="1047750" y="1079579"/>
                  <a:pt x="1049573" y="1081402"/>
                </a:cubicBezTo>
                <a:cubicBezTo>
                  <a:pt x="1047750" y="1085046"/>
                  <a:pt x="1053217" y="1088690"/>
                  <a:pt x="1055040" y="1094157"/>
                </a:cubicBezTo>
                <a:cubicBezTo>
                  <a:pt x="1058683" y="1092335"/>
                  <a:pt x="1053217" y="1088690"/>
                  <a:pt x="1058683" y="1092335"/>
                </a:cubicBezTo>
                <a:cubicBezTo>
                  <a:pt x="1058683" y="1085046"/>
                  <a:pt x="1051395" y="1079579"/>
                  <a:pt x="1045929" y="1075935"/>
                </a:cubicBezTo>
                <a:close/>
                <a:moveTo>
                  <a:pt x="911087" y="1075935"/>
                </a:moveTo>
                <a:cubicBezTo>
                  <a:pt x="905621" y="1075935"/>
                  <a:pt x="898333" y="1074113"/>
                  <a:pt x="896510" y="1081402"/>
                </a:cubicBezTo>
                <a:cubicBezTo>
                  <a:pt x="900154" y="1081402"/>
                  <a:pt x="905621" y="1079579"/>
                  <a:pt x="911087" y="1075935"/>
                </a:cubicBezTo>
                <a:close/>
                <a:moveTo>
                  <a:pt x="823623" y="1075935"/>
                </a:moveTo>
                <a:cubicBezTo>
                  <a:pt x="819979" y="1074113"/>
                  <a:pt x="819979" y="1079579"/>
                  <a:pt x="819979" y="1081402"/>
                </a:cubicBezTo>
                <a:cubicBezTo>
                  <a:pt x="821801" y="1081402"/>
                  <a:pt x="823623" y="1077757"/>
                  <a:pt x="823623" y="1075935"/>
                </a:cubicBezTo>
                <a:close/>
                <a:moveTo>
                  <a:pt x="763491" y="1075935"/>
                </a:moveTo>
                <a:cubicBezTo>
                  <a:pt x="756203" y="1081402"/>
                  <a:pt x="768959" y="1085046"/>
                  <a:pt x="765313" y="1092335"/>
                </a:cubicBezTo>
                <a:cubicBezTo>
                  <a:pt x="768959" y="1090512"/>
                  <a:pt x="767136" y="1081402"/>
                  <a:pt x="763491" y="1075935"/>
                </a:cubicBezTo>
                <a:close/>
                <a:moveTo>
                  <a:pt x="490165" y="1075935"/>
                </a:moveTo>
                <a:cubicBezTo>
                  <a:pt x="488343" y="1077757"/>
                  <a:pt x="490165" y="1079579"/>
                  <a:pt x="488343" y="1081402"/>
                </a:cubicBezTo>
                <a:cubicBezTo>
                  <a:pt x="490165" y="1083224"/>
                  <a:pt x="495632" y="1086868"/>
                  <a:pt x="499276" y="1088690"/>
                </a:cubicBezTo>
                <a:cubicBezTo>
                  <a:pt x="499276" y="1085046"/>
                  <a:pt x="495632" y="1079579"/>
                  <a:pt x="490165" y="1075935"/>
                </a:cubicBezTo>
                <a:close/>
                <a:moveTo>
                  <a:pt x="318882" y="1075935"/>
                </a:moveTo>
                <a:cubicBezTo>
                  <a:pt x="320703" y="1077757"/>
                  <a:pt x="322525" y="1079579"/>
                  <a:pt x="322525" y="1079579"/>
                </a:cubicBezTo>
                <a:cubicBezTo>
                  <a:pt x="327993" y="1079579"/>
                  <a:pt x="324347" y="1075935"/>
                  <a:pt x="322525" y="1075935"/>
                </a:cubicBezTo>
                <a:cubicBezTo>
                  <a:pt x="322525" y="1077757"/>
                  <a:pt x="320703" y="1074113"/>
                  <a:pt x="318882" y="1075935"/>
                </a:cubicBezTo>
                <a:close/>
                <a:moveTo>
                  <a:pt x="302481" y="1075935"/>
                </a:moveTo>
                <a:cubicBezTo>
                  <a:pt x="300660" y="1079579"/>
                  <a:pt x="309771" y="1086868"/>
                  <a:pt x="311592" y="1086868"/>
                </a:cubicBezTo>
                <a:cubicBezTo>
                  <a:pt x="309771" y="1085046"/>
                  <a:pt x="306126" y="1077757"/>
                  <a:pt x="302481" y="1075935"/>
                </a:cubicBezTo>
                <a:close/>
                <a:moveTo>
                  <a:pt x="143952" y="1075935"/>
                </a:moveTo>
                <a:cubicBezTo>
                  <a:pt x="145774" y="1081402"/>
                  <a:pt x="156707" y="1086868"/>
                  <a:pt x="160352" y="1090512"/>
                </a:cubicBezTo>
                <a:cubicBezTo>
                  <a:pt x="156707" y="1085046"/>
                  <a:pt x="149419" y="1081402"/>
                  <a:pt x="143952" y="1075935"/>
                </a:cubicBezTo>
                <a:close/>
                <a:moveTo>
                  <a:pt x="327080" y="1075479"/>
                </a:moveTo>
                <a:cubicBezTo>
                  <a:pt x="325714" y="1075024"/>
                  <a:pt x="324347" y="1075024"/>
                  <a:pt x="324347" y="1075935"/>
                </a:cubicBezTo>
                <a:cubicBezTo>
                  <a:pt x="326169" y="1075935"/>
                  <a:pt x="327993" y="1075935"/>
                  <a:pt x="329814" y="1077757"/>
                </a:cubicBezTo>
                <a:cubicBezTo>
                  <a:pt x="329814" y="1076846"/>
                  <a:pt x="328447" y="1075935"/>
                  <a:pt x="327080" y="1075479"/>
                </a:cubicBezTo>
                <a:close/>
                <a:moveTo>
                  <a:pt x="3620660" y="1074113"/>
                </a:moveTo>
                <a:cubicBezTo>
                  <a:pt x="3626127" y="1075935"/>
                  <a:pt x="3622482" y="1083224"/>
                  <a:pt x="3633415" y="1081402"/>
                </a:cubicBezTo>
                <a:cubicBezTo>
                  <a:pt x="3635237" y="1077757"/>
                  <a:pt x="3626127" y="1081402"/>
                  <a:pt x="3626127" y="1077757"/>
                </a:cubicBezTo>
                <a:cubicBezTo>
                  <a:pt x="3626127" y="1074113"/>
                  <a:pt x="3631593" y="1079579"/>
                  <a:pt x="3631593" y="1074113"/>
                </a:cubicBezTo>
                <a:cubicBezTo>
                  <a:pt x="3629771" y="1074113"/>
                  <a:pt x="3622482" y="1074113"/>
                  <a:pt x="3620660" y="1074113"/>
                </a:cubicBezTo>
                <a:close/>
                <a:moveTo>
                  <a:pt x="3106807" y="1074113"/>
                </a:moveTo>
                <a:cubicBezTo>
                  <a:pt x="3108629" y="1075935"/>
                  <a:pt x="3110451" y="1081402"/>
                  <a:pt x="3112274" y="1083224"/>
                </a:cubicBezTo>
                <a:cubicBezTo>
                  <a:pt x="3112274" y="1085046"/>
                  <a:pt x="3108629" y="1085046"/>
                  <a:pt x="3106807" y="1085046"/>
                </a:cubicBezTo>
                <a:cubicBezTo>
                  <a:pt x="3108629" y="1079579"/>
                  <a:pt x="3106807" y="1077757"/>
                  <a:pt x="3106807" y="1074113"/>
                </a:cubicBezTo>
                <a:close/>
                <a:moveTo>
                  <a:pt x="2997477" y="1074113"/>
                </a:moveTo>
                <a:cubicBezTo>
                  <a:pt x="3001121" y="1075935"/>
                  <a:pt x="2995654" y="1079579"/>
                  <a:pt x="2993832" y="1075935"/>
                </a:cubicBezTo>
                <a:cubicBezTo>
                  <a:pt x="2992010" y="1075935"/>
                  <a:pt x="2992010" y="1079579"/>
                  <a:pt x="2992010" y="1081402"/>
                </a:cubicBezTo>
                <a:cubicBezTo>
                  <a:pt x="2993832" y="1081402"/>
                  <a:pt x="2993832" y="1085046"/>
                  <a:pt x="2997477" y="1083224"/>
                </a:cubicBezTo>
                <a:cubicBezTo>
                  <a:pt x="2997477" y="1088690"/>
                  <a:pt x="2995654" y="1092335"/>
                  <a:pt x="2995654" y="1095979"/>
                </a:cubicBezTo>
                <a:cubicBezTo>
                  <a:pt x="3004765" y="1097801"/>
                  <a:pt x="3008410" y="1092335"/>
                  <a:pt x="3010232" y="1086868"/>
                </a:cubicBezTo>
                <a:cubicBezTo>
                  <a:pt x="3010232" y="1092335"/>
                  <a:pt x="3017521" y="1095979"/>
                  <a:pt x="3015698" y="1105090"/>
                </a:cubicBezTo>
                <a:cubicBezTo>
                  <a:pt x="3032098" y="1094157"/>
                  <a:pt x="3006587" y="1079579"/>
                  <a:pt x="2997477" y="1074113"/>
                </a:cubicBezTo>
                <a:close/>
                <a:moveTo>
                  <a:pt x="2264963" y="1074113"/>
                </a:moveTo>
                <a:cubicBezTo>
                  <a:pt x="2261318" y="1074113"/>
                  <a:pt x="2259496" y="1075935"/>
                  <a:pt x="2257674" y="1077757"/>
                </a:cubicBezTo>
                <a:cubicBezTo>
                  <a:pt x="2257674" y="1079579"/>
                  <a:pt x="2261318" y="1079579"/>
                  <a:pt x="2264963" y="1079579"/>
                </a:cubicBezTo>
                <a:cubicBezTo>
                  <a:pt x="2264963" y="1077757"/>
                  <a:pt x="2264963" y="1075935"/>
                  <a:pt x="2264963" y="1074113"/>
                </a:cubicBezTo>
                <a:close/>
                <a:moveTo>
                  <a:pt x="1182592" y="1074113"/>
                </a:moveTo>
                <a:cubicBezTo>
                  <a:pt x="1182592" y="1075935"/>
                  <a:pt x="1180769" y="1079579"/>
                  <a:pt x="1182592" y="1083224"/>
                </a:cubicBezTo>
                <a:lnTo>
                  <a:pt x="1181144" y="1086843"/>
                </a:lnTo>
                <a:lnTo>
                  <a:pt x="1180769" y="1086868"/>
                </a:lnTo>
                <a:lnTo>
                  <a:pt x="1181073" y="1087020"/>
                </a:lnTo>
                <a:lnTo>
                  <a:pt x="1178947" y="1092335"/>
                </a:lnTo>
                <a:cubicBezTo>
                  <a:pt x="1180769" y="1092335"/>
                  <a:pt x="1182592" y="1090512"/>
                  <a:pt x="1184414" y="1088690"/>
                </a:cubicBezTo>
                <a:lnTo>
                  <a:pt x="1181073" y="1087020"/>
                </a:lnTo>
                <a:lnTo>
                  <a:pt x="1181144" y="1086843"/>
                </a:lnTo>
                <a:lnTo>
                  <a:pt x="1184186" y="1086640"/>
                </a:lnTo>
                <a:cubicBezTo>
                  <a:pt x="1185325" y="1086868"/>
                  <a:pt x="1186236" y="1086868"/>
                  <a:pt x="1186236" y="1085046"/>
                </a:cubicBezTo>
                <a:cubicBezTo>
                  <a:pt x="1184414" y="1083224"/>
                  <a:pt x="1184414" y="1085046"/>
                  <a:pt x="1182592" y="1083224"/>
                </a:cubicBezTo>
                <a:cubicBezTo>
                  <a:pt x="1184414" y="1079579"/>
                  <a:pt x="1184414" y="1079579"/>
                  <a:pt x="1188058" y="1075935"/>
                </a:cubicBezTo>
                <a:cubicBezTo>
                  <a:pt x="1186236" y="1074113"/>
                  <a:pt x="1184414" y="1074113"/>
                  <a:pt x="1182592" y="1074113"/>
                </a:cubicBezTo>
                <a:close/>
                <a:moveTo>
                  <a:pt x="1180769" y="1074113"/>
                </a:moveTo>
                <a:cubicBezTo>
                  <a:pt x="1178947" y="1072291"/>
                  <a:pt x="1175303" y="1075935"/>
                  <a:pt x="1173481" y="1077757"/>
                </a:cubicBezTo>
                <a:cubicBezTo>
                  <a:pt x="1178947" y="1077757"/>
                  <a:pt x="1177125" y="1081402"/>
                  <a:pt x="1178947" y="1081402"/>
                </a:cubicBezTo>
                <a:cubicBezTo>
                  <a:pt x="1180769" y="1079579"/>
                  <a:pt x="1178947" y="1075935"/>
                  <a:pt x="1180769" y="1074113"/>
                </a:cubicBezTo>
                <a:close/>
                <a:moveTo>
                  <a:pt x="1133393" y="1074113"/>
                </a:moveTo>
                <a:lnTo>
                  <a:pt x="1134310" y="1074571"/>
                </a:lnTo>
                <a:lnTo>
                  <a:pt x="1132548" y="1082557"/>
                </a:lnTo>
                <a:close/>
                <a:moveTo>
                  <a:pt x="914732" y="1074113"/>
                </a:moveTo>
                <a:cubicBezTo>
                  <a:pt x="907444" y="1081402"/>
                  <a:pt x="901976" y="1079579"/>
                  <a:pt x="896510" y="1085046"/>
                </a:cubicBezTo>
                <a:cubicBezTo>
                  <a:pt x="901976" y="1086868"/>
                  <a:pt x="896510" y="1086868"/>
                  <a:pt x="894688" y="1088690"/>
                </a:cubicBezTo>
                <a:cubicBezTo>
                  <a:pt x="900154" y="1099623"/>
                  <a:pt x="903799" y="1117845"/>
                  <a:pt x="920198" y="1116023"/>
                </a:cubicBezTo>
                <a:cubicBezTo>
                  <a:pt x="922020" y="1114201"/>
                  <a:pt x="922020" y="1116023"/>
                  <a:pt x="923843" y="1114201"/>
                </a:cubicBezTo>
                <a:cubicBezTo>
                  <a:pt x="923843" y="1112378"/>
                  <a:pt x="923843" y="1112378"/>
                  <a:pt x="922020" y="1110556"/>
                </a:cubicBezTo>
                <a:cubicBezTo>
                  <a:pt x="920198" y="1112378"/>
                  <a:pt x="920198" y="1114201"/>
                  <a:pt x="920198" y="1116023"/>
                </a:cubicBezTo>
                <a:cubicBezTo>
                  <a:pt x="916555" y="1114201"/>
                  <a:pt x="912909" y="1112378"/>
                  <a:pt x="911087" y="1108734"/>
                </a:cubicBezTo>
                <a:cubicBezTo>
                  <a:pt x="912909" y="1110556"/>
                  <a:pt x="914732" y="1110556"/>
                  <a:pt x="916555" y="1112378"/>
                </a:cubicBezTo>
                <a:cubicBezTo>
                  <a:pt x="918376" y="1110556"/>
                  <a:pt x="918376" y="1110556"/>
                  <a:pt x="918376" y="1108734"/>
                </a:cubicBezTo>
                <a:cubicBezTo>
                  <a:pt x="918376" y="1108734"/>
                  <a:pt x="918376" y="1110556"/>
                  <a:pt x="920198" y="1110556"/>
                </a:cubicBezTo>
                <a:cubicBezTo>
                  <a:pt x="922020" y="1108734"/>
                  <a:pt x="922020" y="1108734"/>
                  <a:pt x="920198" y="1106912"/>
                </a:cubicBezTo>
                <a:cubicBezTo>
                  <a:pt x="920198" y="1110556"/>
                  <a:pt x="920198" y="1106912"/>
                  <a:pt x="918376" y="1106912"/>
                </a:cubicBezTo>
                <a:cubicBezTo>
                  <a:pt x="918376" y="1099623"/>
                  <a:pt x="912909" y="1097801"/>
                  <a:pt x="903799" y="1094157"/>
                </a:cubicBezTo>
                <a:cubicBezTo>
                  <a:pt x="907444" y="1090512"/>
                  <a:pt x="914732" y="1099623"/>
                  <a:pt x="914732" y="1090512"/>
                </a:cubicBezTo>
                <a:cubicBezTo>
                  <a:pt x="912909" y="1090512"/>
                  <a:pt x="912909" y="1090512"/>
                  <a:pt x="911087" y="1092335"/>
                </a:cubicBezTo>
                <a:cubicBezTo>
                  <a:pt x="911087" y="1088690"/>
                  <a:pt x="909265" y="1086868"/>
                  <a:pt x="909265" y="1083224"/>
                </a:cubicBezTo>
                <a:cubicBezTo>
                  <a:pt x="911087" y="1085046"/>
                  <a:pt x="912909" y="1085046"/>
                  <a:pt x="914732" y="1086868"/>
                </a:cubicBezTo>
                <a:cubicBezTo>
                  <a:pt x="916555" y="1086868"/>
                  <a:pt x="912909" y="1085046"/>
                  <a:pt x="912909" y="1083224"/>
                </a:cubicBezTo>
                <a:cubicBezTo>
                  <a:pt x="916555" y="1085046"/>
                  <a:pt x="914732" y="1081402"/>
                  <a:pt x="914732" y="1079579"/>
                </a:cubicBezTo>
                <a:cubicBezTo>
                  <a:pt x="916555" y="1083224"/>
                  <a:pt x="914732" y="1086868"/>
                  <a:pt x="918376" y="1088690"/>
                </a:cubicBezTo>
                <a:cubicBezTo>
                  <a:pt x="920198" y="1092335"/>
                  <a:pt x="914732" y="1094157"/>
                  <a:pt x="918376" y="1097801"/>
                </a:cubicBezTo>
                <a:cubicBezTo>
                  <a:pt x="920198" y="1097801"/>
                  <a:pt x="923843" y="1097801"/>
                  <a:pt x="925666" y="1101445"/>
                </a:cubicBezTo>
                <a:cubicBezTo>
                  <a:pt x="925666" y="1097801"/>
                  <a:pt x="920198" y="1097801"/>
                  <a:pt x="918376" y="1092335"/>
                </a:cubicBezTo>
                <a:cubicBezTo>
                  <a:pt x="920198" y="1090512"/>
                  <a:pt x="922020" y="1094157"/>
                  <a:pt x="923843" y="1094157"/>
                </a:cubicBezTo>
                <a:cubicBezTo>
                  <a:pt x="925666" y="1088690"/>
                  <a:pt x="923843" y="1077757"/>
                  <a:pt x="914732" y="1074113"/>
                </a:cubicBezTo>
                <a:close/>
                <a:moveTo>
                  <a:pt x="832734" y="1074113"/>
                </a:moveTo>
                <a:cubicBezTo>
                  <a:pt x="830912" y="1077757"/>
                  <a:pt x="834556" y="1083224"/>
                  <a:pt x="836378" y="1079579"/>
                </a:cubicBezTo>
                <a:cubicBezTo>
                  <a:pt x="834556" y="1079579"/>
                  <a:pt x="834556" y="1077757"/>
                  <a:pt x="832734" y="1074113"/>
                </a:cubicBezTo>
                <a:close/>
                <a:moveTo>
                  <a:pt x="393590" y="1074113"/>
                </a:moveTo>
                <a:cubicBezTo>
                  <a:pt x="400879" y="1081402"/>
                  <a:pt x="395412" y="1074113"/>
                  <a:pt x="397234" y="1074113"/>
                </a:cubicBezTo>
                <a:cubicBezTo>
                  <a:pt x="395412" y="1074113"/>
                  <a:pt x="395412" y="1075935"/>
                  <a:pt x="393590" y="1074113"/>
                </a:cubicBezTo>
                <a:close/>
                <a:moveTo>
                  <a:pt x="213195" y="1074113"/>
                </a:moveTo>
                <a:cubicBezTo>
                  <a:pt x="215017" y="1077757"/>
                  <a:pt x="215017" y="1083224"/>
                  <a:pt x="222306" y="1081402"/>
                </a:cubicBezTo>
                <a:cubicBezTo>
                  <a:pt x="220483" y="1075935"/>
                  <a:pt x="216839" y="1074113"/>
                  <a:pt x="213195" y="1074113"/>
                </a:cubicBezTo>
                <a:close/>
                <a:moveTo>
                  <a:pt x="145774" y="1074113"/>
                </a:moveTo>
                <a:cubicBezTo>
                  <a:pt x="145774" y="1077757"/>
                  <a:pt x="151241" y="1079579"/>
                  <a:pt x="154885" y="1083224"/>
                </a:cubicBezTo>
                <a:cubicBezTo>
                  <a:pt x="153063" y="1079579"/>
                  <a:pt x="149419" y="1079579"/>
                  <a:pt x="145774" y="1074113"/>
                </a:cubicBezTo>
                <a:close/>
                <a:moveTo>
                  <a:pt x="1134762" y="1072522"/>
                </a:moveTo>
                <a:lnTo>
                  <a:pt x="1136228" y="1074720"/>
                </a:lnTo>
                <a:lnTo>
                  <a:pt x="1136374" y="1075604"/>
                </a:lnTo>
                <a:lnTo>
                  <a:pt x="1134310" y="1074571"/>
                </a:lnTo>
                <a:close/>
                <a:moveTo>
                  <a:pt x="1195346" y="1072291"/>
                </a:moveTo>
                <a:cubicBezTo>
                  <a:pt x="1193525" y="1070469"/>
                  <a:pt x="1189880" y="1072291"/>
                  <a:pt x="1189880" y="1074113"/>
                </a:cubicBezTo>
                <a:cubicBezTo>
                  <a:pt x="1191703" y="1077757"/>
                  <a:pt x="1193525" y="1072291"/>
                  <a:pt x="1195346" y="1072291"/>
                </a:cubicBezTo>
                <a:close/>
                <a:moveTo>
                  <a:pt x="1177125" y="1072291"/>
                </a:moveTo>
                <a:cubicBezTo>
                  <a:pt x="1175303" y="1072291"/>
                  <a:pt x="1175303" y="1074113"/>
                  <a:pt x="1173481" y="1074113"/>
                </a:cubicBezTo>
                <a:cubicBezTo>
                  <a:pt x="1175303" y="1077757"/>
                  <a:pt x="1177125" y="1074113"/>
                  <a:pt x="1177125" y="1072291"/>
                </a:cubicBezTo>
                <a:close/>
                <a:moveTo>
                  <a:pt x="1075083" y="1072291"/>
                </a:moveTo>
                <a:cubicBezTo>
                  <a:pt x="1075083" y="1074113"/>
                  <a:pt x="1075083" y="1074113"/>
                  <a:pt x="1075083" y="1075935"/>
                </a:cubicBezTo>
                <a:cubicBezTo>
                  <a:pt x="1078727" y="1077757"/>
                  <a:pt x="1078727" y="1075935"/>
                  <a:pt x="1078727" y="1074113"/>
                </a:cubicBezTo>
                <a:cubicBezTo>
                  <a:pt x="1076905" y="1072291"/>
                  <a:pt x="1076905" y="1074113"/>
                  <a:pt x="1075083" y="1072291"/>
                </a:cubicBezTo>
                <a:close/>
                <a:moveTo>
                  <a:pt x="1053217" y="1072291"/>
                </a:moveTo>
                <a:cubicBezTo>
                  <a:pt x="1051395" y="1075935"/>
                  <a:pt x="1058683" y="1079579"/>
                  <a:pt x="1060506" y="1081402"/>
                </a:cubicBezTo>
                <a:cubicBezTo>
                  <a:pt x="1064151" y="1075935"/>
                  <a:pt x="1056861" y="1074113"/>
                  <a:pt x="1053217" y="1072291"/>
                </a:cubicBezTo>
                <a:close/>
                <a:moveTo>
                  <a:pt x="936598" y="1072291"/>
                </a:moveTo>
                <a:cubicBezTo>
                  <a:pt x="932953" y="1074113"/>
                  <a:pt x="929309" y="1085046"/>
                  <a:pt x="934777" y="1088690"/>
                </a:cubicBezTo>
                <a:cubicBezTo>
                  <a:pt x="938420" y="1083224"/>
                  <a:pt x="934777" y="1077757"/>
                  <a:pt x="936598" y="1072291"/>
                </a:cubicBezTo>
                <a:close/>
                <a:moveTo>
                  <a:pt x="495632" y="1072291"/>
                </a:moveTo>
                <a:cubicBezTo>
                  <a:pt x="497454" y="1083224"/>
                  <a:pt x="506565" y="1090512"/>
                  <a:pt x="515676" y="1099623"/>
                </a:cubicBezTo>
                <a:cubicBezTo>
                  <a:pt x="517498" y="1097801"/>
                  <a:pt x="515676" y="1095979"/>
                  <a:pt x="517498" y="1094157"/>
                </a:cubicBezTo>
                <a:cubicBezTo>
                  <a:pt x="519320" y="1095979"/>
                  <a:pt x="517498" y="1095979"/>
                  <a:pt x="519320" y="1094157"/>
                </a:cubicBezTo>
                <a:cubicBezTo>
                  <a:pt x="522964" y="1095979"/>
                  <a:pt x="522964" y="1097801"/>
                  <a:pt x="524786" y="1099623"/>
                </a:cubicBezTo>
                <a:cubicBezTo>
                  <a:pt x="524786" y="1092335"/>
                  <a:pt x="517498" y="1081402"/>
                  <a:pt x="504743" y="1079579"/>
                </a:cubicBezTo>
                <a:cubicBezTo>
                  <a:pt x="508387" y="1079579"/>
                  <a:pt x="508387" y="1079579"/>
                  <a:pt x="512031" y="1079579"/>
                </a:cubicBezTo>
                <a:cubicBezTo>
                  <a:pt x="506565" y="1077757"/>
                  <a:pt x="501098" y="1074113"/>
                  <a:pt x="495632" y="1072291"/>
                </a:cubicBezTo>
                <a:close/>
                <a:moveTo>
                  <a:pt x="431856" y="1072291"/>
                </a:moveTo>
                <a:cubicBezTo>
                  <a:pt x="433678" y="1079579"/>
                  <a:pt x="446433" y="1088690"/>
                  <a:pt x="453722" y="1088690"/>
                </a:cubicBezTo>
                <a:cubicBezTo>
                  <a:pt x="450077" y="1083224"/>
                  <a:pt x="437322" y="1074113"/>
                  <a:pt x="431856" y="1072291"/>
                </a:cubicBezTo>
                <a:close/>
                <a:moveTo>
                  <a:pt x="1009485" y="1072063"/>
                </a:moveTo>
                <a:cubicBezTo>
                  <a:pt x="1008575" y="1073201"/>
                  <a:pt x="1007663" y="1075024"/>
                  <a:pt x="1005840" y="1075935"/>
                </a:cubicBezTo>
                <a:cubicBezTo>
                  <a:pt x="1007663" y="1077757"/>
                  <a:pt x="1013129" y="1075935"/>
                  <a:pt x="1013129" y="1072291"/>
                </a:cubicBezTo>
                <a:cubicBezTo>
                  <a:pt x="1011307" y="1070468"/>
                  <a:pt x="1010396" y="1070924"/>
                  <a:pt x="1009485" y="1072063"/>
                </a:cubicBezTo>
                <a:close/>
                <a:moveTo>
                  <a:pt x="3567817" y="1070469"/>
                </a:moveTo>
                <a:cubicBezTo>
                  <a:pt x="3564173" y="1072291"/>
                  <a:pt x="3569639" y="1075935"/>
                  <a:pt x="3575106" y="1075935"/>
                </a:cubicBezTo>
                <a:cubicBezTo>
                  <a:pt x="3575106" y="1072291"/>
                  <a:pt x="3567817" y="1074113"/>
                  <a:pt x="3567817" y="1070469"/>
                </a:cubicBezTo>
                <a:close/>
                <a:moveTo>
                  <a:pt x="2233986" y="1070469"/>
                </a:moveTo>
                <a:lnTo>
                  <a:pt x="2235283" y="1070665"/>
                </a:lnTo>
                <a:lnTo>
                  <a:pt x="2233274" y="1071418"/>
                </a:lnTo>
                <a:close/>
                <a:moveTo>
                  <a:pt x="1133393" y="1070469"/>
                </a:moveTo>
                <a:lnTo>
                  <a:pt x="1135215" y="1070469"/>
                </a:lnTo>
                <a:lnTo>
                  <a:pt x="1134762" y="1072522"/>
                </a:lnTo>
                <a:close/>
                <a:moveTo>
                  <a:pt x="889222" y="1070469"/>
                </a:moveTo>
                <a:cubicBezTo>
                  <a:pt x="885577" y="1072291"/>
                  <a:pt x="885577" y="1075935"/>
                  <a:pt x="885577" y="1079579"/>
                </a:cubicBezTo>
                <a:cubicBezTo>
                  <a:pt x="891043" y="1079579"/>
                  <a:pt x="892866" y="1074113"/>
                  <a:pt x="889222" y="1070469"/>
                </a:cubicBezTo>
                <a:close/>
                <a:moveTo>
                  <a:pt x="834556" y="1070469"/>
                </a:moveTo>
                <a:cubicBezTo>
                  <a:pt x="834556" y="1075935"/>
                  <a:pt x="838200" y="1081402"/>
                  <a:pt x="841845" y="1086868"/>
                </a:cubicBezTo>
                <a:lnTo>
                  <a:pt x="842909" y="1083084"/>
                </a:lnTo>
                <a:lnTo>
                  <a:pt x="850956" y="1090512"/>
                </a:lnTo>
                <a:cubicBezTo>
                  <a:pt x="854600" y="1088690"/>
                  <a:pt x="849133" y="1085046"/>
                  <a:pt x="847311" y="1086868"/>
                </a:cubicBezTo>
                <a:cubicBezTo>
                  <a:pt x="849133" y="1083224"/>
                  <a:pt x="849133" y="1081402"/>
                  <a:pt x="849133" y="1077757"/>
                </a:cubicBezTo>
                <a:cubicBezTo>
                  <a:pt x="852778" y="1081402"/>
                  <a:pt x="852778" y="1083224"/>
                  <a:pt x="854600" y="1086868"/>
                </a:cubicBezTo>
                <a:cubicBezTo>
                  <a:pt x="856422" y="1081402"/>
                  <a:pt x="849133" y="1072291"/>
                  <a:pt x="845489" y="1074113"/>
                </a:cubicBezTo>
                <a:lnTo>
                  <a:pt x="843619" y="1078600"/>
                </a:lnTo>
                <a:lnTo>
                  <a:pt x="841845" y="1072291"/>
                </a:lnTo>
                <a:cubicBezTo>
                  <a:pt x="838200" y="1068646"/>
                  <a:pt x="836378" y="1072291"/>
                  <a:pt x="834556" y="1070469"/>
                </a:cubicBezTo>
                <a:close/>
                <a:moveTo>
                  <a:pt x="830912" y="1070469"/>
                </a:moveTo>
                <a:cubicBezTo>
                  <a:pt x="829089" y="1070469"/>
                  <a:pt x="827267" y="1074113"/>
                  <a:pt x="827267" y="1075935"/>
                </a:cubicBezTo>
                <a:cubicBezTo>
                  <a:pt x="829089" y="1075935"/>
                  <a:pt x="829089" y="1075935"/>
                  <a:pt x="830912" y="1077757"/>
                </a:cubicBezTo>
                <a:cubicBezTo>
                  <a:pt x="830912" y="1075935"/>
                  <a:pt x="830912" y="1074113"/>
                  <a:pt x="830912" y="1070469"/>
                </a:cubicBezTo>
                <a:close/>
                <a:moveTo>
                  <a:pt x="739803" y="1070469"/>
                </a:moveTo>
                <a:cubicBezTo>
                  <a:pt x="739803" y="1075935"/>
                  <a:pt x="741626" y="1081402"/>
                  <a:pt x="747092" y="1086868"/>
                </a:cubicBezTo>
                <a:cubicBezTo>
                  <a:pt x="747092" y="1081402"/>
                  <a:pt x="747092" y="1077757"/>
                  <a:pt x="745269" y="1072291"/>
                </a:cubicBezTo>
                <a:cubicBezTo>
                  <a:pt x="743447" y="1068646"/>
                  <a:pt x="739803" y="1072291"/>
                  <a:pt x="739803" y="1070469"/>
                </a:cubicBezTo>
                <a:close/>
                <a:moveTo>
                  <a:pt x="570341" y="1070469"/>
                </a:moveTo>
                <a:cubicBezTo>
                  <a:pt x="570341" y="1075935"/>
                  <a:pt x="573985" y="1075935"/>
                  <a:pt x="579452" y="1075935"/>
                </a:cubicBezTo>
                <a:cubicBezTo>
                  <a:pt x="579452" y="1074113"/>
                  <a:pt x="575808" y="1072291"/>
                  <a:pt x="573985" y="1070469"/>
                </a:cubicBezTo>
                <a:cubicBezTo>
                  <a:pt x="572163" y="1074113"/>
                  <a:pt x="572163" y="1074113"/>
                  <a:pt x="570341" y="1070469"/>
                </a:cubicBezTo>
                <a:close/>
                <a:moveTo>
                  <a:pt x="386301" y="1070469"/>
                </a:moveTo>
                <a:cubicBezTo>
                  <a:pt x="389946" y="1074113"/>
                  <a:pt x="384479" y="1070469"/>
                  <a:pt x="380835" y="1072291"/>
                </a:cubicBezTo>
                <a:cubicBezTo>
                  <a:pt x="380835" y="1068646"/>
                  <a:pt x="384479" y="1072291"/>
                  <a:pt x="386301" y="1070469"/>
                </a:cubicBezTo>
                <a:close/>
                <a:moveTo>
                  <a:pt x="258749" y="1070469"/>
                </a:moveTo>
                <a:cubicBezTo>
                  <a:pt x="262393" y="1074113"/>
                  <a:pt x="266038" y="1074113"/>
                  <a:pt x="269682" y="1079579"/>
                </a:cubicBezTo>
                <a:cubicBezTo>
                  <a:pt x="269682" y="1075935"/>
                  <a:pt x="260571" y="1065002"/>
                  <a:pt x="258749" y="1070469"/>
                </a:cubicBezTo>
                <a:close/>
                <a:moveTo>
                  <a:pt x="204084" y="1070469"/>
                </a:moveTo>
                <a:cubicBezTo>
                  <a:pt x="204084" y="1077757"/>
                  <a:pt x="207728" y="1074113"/>
                  <a:pt x="209550" y="1074113"/>
                </a:cubicBezTo>
                <a:cubicBezTo>
                  <a:pt x="211372" y="1070469"/>
                  <a:pt x="205906" y="1070469"/>
                  <a:pt x="204084" y="1070469"/>
                </a:cubicBezTo>
                <a:close/>
                <a:moveTo>
                  <a:pt x="1096949" y="1070468"/>
                </a:moveTo>
                <a:cubicBezTo>
                  <a:pt x="1093760" y="1071835"/>
                  <a:pt x="1090572" y="1074113"/>
                  <a:pt x="1087838" y="1075935"/>
                </a:cubicBezTo>
                <a:cubicBezTo>
                  <a:pt x="1086016" y="1077757"/>
                  <a:pt x="1091484" y="1077757"/>
                  <a:pt x="1087838" y="1079579"/>
                </a:cubicBezTo>
                <a:cubicBezTo>
                  <a:pt x="1089660" y="1081402"/>
                  <a:pt x="1091484" y="1077757"/>
                  <a:pt x="1089660" y="1075935"/>
                </a:cubicBezTo>
                <a:cubicBezTo>
                  <a:pt x="1091484" y="1074113"/>
                  <a:pt x="1091484" y="1077757"/>
                  <a:pt x="1093305" y="1079579"/>
                </a:cubicBezTo>
                <a:cubicBezTo>
                  <a:pt x="1095127" y="1079579"/>
                  <a:pt x="1095127" y="1077757"/>
                  <a:pt x="1093305" y="1075935"/>
                </a:cubicBezTo>
                <a:cubicBezTo>
                  <a:pt x="1095127" y="1075935"/>
                  <a:pt x="1096949" y="1079579"/>
                  <a:pt x="1095127" y="1081402"/>
                </a:cubicBezTo>
                <a:cubicBezTo>
                  <a:pt x="1100593" y="1083224"/>
                  <a:pt x="1102416" y="1079579"/>
                  <a:pt x="1106060" y="1075935"/>
                </a:cubicBezTo>
                <a:cubicBezTo>
                  <a:pt x="1106060" y="1074113"/>
                  <a:pt x="1106060" y="1072291"/>
                  <a:pt x="1106060" y="1070469"/>
                </a:cubicBezTo>
                <a:cubicBezTo>
                  <a:pt x="1103326" y="1068646"/>
                  <a:pt x="1100139" y="1069102"/>
                  <a:pt x="1096949" y="1070468"/>
                </a:cubicBezTo>
                <a:close/>
                <a:moveTo>
                  <a:pt x="2343487" y="1069643"/>
                </a:moveTo>
                <a:cubicBezTo>
                  <a:pt x="2340583" y="1071607"/>
                  <a:pt x="2343316" y="1080490"/>
                  <a:pt x="2337850" y="1083224"/>
                </a:cubicBezTo>
                <a:cubicBezTo>
                  <a:pt x="2336027" y="1099623"/>
                  <a:pt x="2348782" y="1105090"/>
                  <a:pt x="2363360" y="1103268"/>
                </a:cubicBezTo>
                <a:lnTo>
                  <a:pt x="2365182" y="1101445"/>
                </a:lnTo>
                <a:lnTo>
                  <a:pt x="2365182" y="1103268"/>
                </a:lnTo>
                <a:cubicBezTo>
                  <a:pt x="2372471" y="1101445"/>
                  <a:pt x="2381582" y="1099623"/>
                  <a:pt x="2388871" y="1094157"/>
                </a:cubicBezTo>
                <a:cubicBezTo>
                  <a:pt x="2388871" y="1086868"/>
                  <a:pt x="2388871" y="1075935"/>
                  <a:pt x="2383404" y="1074113"/>
                </a:cubicBezTo>
                <a:cubicBezTo>
                  <a:pt x="2376115" y="1072291"/>
                  <a:pt x="2388871" y="1085046"/>
                  <a:pt x="2381582" y="1081402"/>
                </a:cubicBezTo>
                <a:cubicBezTo>
                  <a:pt x="2376115" y="1077757"/>
                  <a:pt x="2372471" y="1075935"/>
                  <a:pt x="2367004" y="1079579"/>
                </a:cubicBezTo>
                <a:cubicBezTo>
                  <a:pt x="2367004" y="1081402"/>
                  <a:pt x="2367004" y="1081402"/>
                  <a:pt x="2367004" y="1083224"/>
                </a:cubicBezTo>
                <a:cubicBezTo>
                  <a:pt x="2363360" y="1083224"/>
                  <a:pt x="2357893" y="1081402"/>
                  <a:pt x="2359716" y="1075935"/>
                </a:cubicBezTo>
                <a:cubicBezTo>
                  <a:pt x="2356071" y="1074113"/>
                  <a:pt x="2352427" y="1077757"/>
                  <a:pt x="2346960" y="1077757"/>
                </a:cubicBezTo>
                <a:cubicBezTo>
                  <a:pt x="2346960" y="1074113"/>
                  <a:pt x="2346960" y="1072291"/>
                  <a:pt x="2348782" y="1070469"/>
                </a:cubicBezTo>
                <a:cubicBezTo>
                  <a:pt x="2346049" y="1069102"/>
                  <a:pt x="2344455" y="1068988"/>
                  <a:pt x="2343487" y="1069643"/>
                </a:cubicBezTo>
                <a:close/>
                <a:moveTo>
                  <a:pt x="2317806" y="1068646"/>
                </a:moveTo>
                <a:cubicBezTo>
                  <a:pt x="2315983" y="1074113"/>
                  <a:pt x="2321450" y="1074113"/>
                  <a:pt x="2321450" y="1075935"/>
                </a:cubicBezTo>
                <a:cubicBezTo>
                  <a:pt x="2325094" y="1074113"/>
                  <a:pt x="2321450" y="1070469"/>
                  <a:pt x="2321450" y="1068646"/>
                </a:cubicBezTo>
                <a:cubicBezTo>
                  <a:pt x="2319628" y="1068646"/>
                  <a:pt x="2319628" y="1068646"/>
                  <a:pt x="2317806" y="1068646"/>
                </a:cubicBezTo>
                <a:close/>
                <a:moveTo>
                  <a:pt x="1162547" y="1068646"/>
                </a:moveTo>
                <a:cubicBezTo>
                  <a:pt x="1160725" y="1072291"/>
                  <a:pt x="1153436" y="1075935"/>
                  <a:pt x="1157081" y="1077757"/>
                </a:cubicBezTo>
                <a:cubicBezTo>
                  <a:pt x="1158903" y="1074113"/>
                  <a:pt x="1162547" y="1072291"/>
                  <a:pt x="1166192" y="1070469"/>
                </a:cubicBezTo>
                <a:cubicBezTo>
                  <a:pt x="1164370" y="1070469"/>
                  <a:pt x="1164370" y="1068646"/>
                  <a:pt x="1162547" y="1068646"/>
                </a:cubicBezTo>
                <a:close/>
                <a:moveTo>
                  <a:pt x="1113349" y="1068646"/>
                </a:moveTo>
                <a:lnTo>
                  <a:pt x="1121509" y="1073379"/>
                </a:lnTo>
                <a:lnTo>
                  <a:pt x="1120637" y="1074113"/>
                </a:lnTo>
                <a:cubicBezTo>
                  <a:pt x="1118815" y="1072291"/>
                  <a:pt x="1115171" y="1070469"/>
                  <a:pt x="1113349" y="1068646"/>
                </a:cubicBezTo>
                <a:close/>
                <a:moveTo>
                  <a:pt x="1065972" y="1068646"/>
                </a:moveTo>
                <a:cubicBezTo>
                  <a:pt x="1064151" y="1070469"/>
                  <a:pt x="1065972" y="1072291"/>
                  <a:pt x="1064151" y="1075935"/>
                </a:cubicBezTo>
                <a:cubicBezTo>
                  <a:pt x="1065972" y="1077757"/>
                  <a:pt x="1071439" y="1079579"/>
                  <a:pt x="1071439" y="1077757"/>
                </a:cubicBezTo>
                <a:cubicBezTo>
                  <a:pt x="1073262" y="1075935"/>
                  <a:pt x="1069616" y="1072291"/>
                  <a:pt x="1071439" y="1070469"/>
                </a:cubicBezTo>
                <a:cubicBezTo>
                  <a:pt x="1069616" y="1066824"/>
                  <a:pt x="1067794" y="1070469"/>
                  <a:pt x="1065972" y="1068646"/>
                </a:cubicBezTo>
                <a:close/>
                <a:moveTo>
                  <a:pt x="1060506" y="1068646"/>
                </a:moveTo>
                <a:cubicBezTo>
                  <a:pt x="1058683" y="1070469"/>
                  <a:pt x="1056861" y="1068646"/>
                  <a:pt x="1055040" y="1070469"/>
                </a:cubicBezTo>
                <a:cubicBezTo>
                  <a:pt x="1056861" y="1072291"/>
                  <a:pt x="1058683" y="1072291"/>
                  <a:pt x="1060506" y="1074113"/>
                </a:cubicBezTo>
                <a:cubicBezTo>
                  <a:pt x="1062328" y="1072291"/>
                  <a:pt x="1062328" y="1070469"/>
                  <a:pt x="1060506" y="1068646"/>
                </a:cubicBezTo>
                <a:close/>
                <a:moveTo>
                  <a:pt x="776246" y="1068646"/>
                </a:moveTo>
                <a:cubicBezTo>
                  <a:pt x="770781" y="1079579"/>
                  <a:pt x="783535" y="1075935"/>
                  <a:pt x="783535" y="1081402"/>
                </a:cubicBezTo>
                <a:cubicBezTo>
                  <a:pt x="785357" y="1079579"/>
                  <a:pt x="787179" y="1079579"/>
                  <a:pt x="787179" y="1077757"/>
                </a:cubicBezTo>
                <a:cubicBezTo>
                  <a:pt x="789003" y="1075935"/>
                  <a:pt x="787179" y="1074113"/>
                  <a:pt x="789003" y="1072291"/>
                </a:cubicBezTo>
                <a:cubicBezTo>
                  <a:pt x="787179" y="1072291"/>
                  <a:pt x="785357" y="1070469"/>
                  <a:pt x="783535" y="1072291"/>
                </a:cubicBezTo>
                <a:cubicBezTo>
                  <a:pt x="785357" y="1075935"/>
                  <a:pt x="787179" y="1075935"/>
                  <a:pt x="787179" y="1077757"/>
                </a:cubicBezTo>
                <a:cubicBezTo>
                  <a:pt x="783535" y="1072291"/>
                  <a:pt x="778070" y="1070469"/>
                  <a:pt x="776246" y="1068646"/>
                </a:cubicBezTo>
                <a:close/>
                <a:moveTo>
                  <a:pt x="541414" y="1068646"/>
                </a:moveTo>
                <a:cubicBezTo>
                  <a:pt x="539364" y="1067735"/>
                  <a:pt x="537542" y="1067735"/>
                  <a:pt x="537542" y="1070469"/>
                </a:cubicBezTo>
                <a:cubicBezTo>
                  <a:pt x="535719" y="1072291"/>
                  <a:pt x="535719" y="1081402"/>
                  <a:pt x="548475" y="1081402"/>
                </a:cubicBezTo>
                <a:cubicBezTo>
                  <a:pt x="550297" y="1081402"/>
                  <a:pt x="548475" y="1079579"/>
                  <a:pt x="550297" y="1077757"/>
                </a:cubicBezTo>
                <a:cubicBezTo>
                  <a:pt x="546653" y="1074113"/>
                  <a:pt x="544830" y="1077757"/>
                  <a:pt x="541186" y="1075935"/>
                </a:cubicBezTo>
                <a:cubicBezTo>
                  <a:pt x="543008" y="1075935"/>
                  <a:pt x="543008" y="1075935"/>
                  <a:pt x="546653" y="1075935"/>
                </a:cubicBezTo>
                <a:cubicBezTo>
                  <a:pt x="544830" y="1074113"/>
                  <a:pt x="543008" y="1074113"/>
                  <a:pt x="541186" y="1072291"/>
                </a:cubicBezTo>
                <a:cubicBezTo>
                  <a:pt x="541186" y="1070469"/>
                  <a:pt x="546653" y="1074113"/>
                  <a:pt x="546653" y="1072291"/>
                </a:cubicBezTo>
                <a:cubicBezTo>
                  <a:pt x="545741" y="1071380"/>
                  <a:pt x="543464" y="1069557"/>
                  <a:pt x="541414" y="1068646"/>
                </a:cubicBezTo>
                <a:close/>
                <a:moveTo>
                  <a:pt x="2459935" y="1066824"/>
                </a:moveTo>
                <a:cubicBezTo>
                  <a:pt x="2458113" y="1066824"/>
                  <a:pt x="2456291" y="1068646"/>
                  <a:pt x="2454469" y="1068646"/>
                </a:cubicBezTo>
                <a:cubicBezTo>
                  <a:pt x="2454469" y="1074113"/>
                  <a:pt x="2449002" y="1075935"/>
                  <a:pt x="2449002" y="1081402"/>
                </a:cubicBezTo>
                <a:cubicBezTo>
                  <a:pt x="2456291" y="1094157"/>
                  <a:pt x="2469046" y="1106912"/>
                  <a:pt x="2489090" y="1099623"/>
                </a:cubicBezTo>
                <a:cubicBezTo>
                  <a:pt x="2489090" y="1094157"/>
                  <a:pt x="2485446" y="1095979"/>
                  <a:pt x="2481801" y="1095979"/>
                </a:cubicBezTo>
                <a:cubicBezTo>
                  <a:pt x="2487268" y="1083224"/>
                  <a:pt x="2478157" y="1075935"/>
                  <a:pt x="2469046" y="1074113"/>
                </a:cubicBezTo>
                <a:cubicBezTo>
                  <a:pt x="2465402" y="1075935"/>
                  <a:pt x="2465402" y="1077757"/>
                  <a:pt x="2465402" y="1081402"/>
                </a:cubicBezTo>
                <a:cubicBezTo>
                  <a:pt x="2463580" y="1081402"/>
                  <a:pt x="2461757" y="1079579"/>
                  <a:pt x="2461757" y="1081402"/>
                </a:cubicBezTo>
                <a:cubicBezTo>
                  <a:pt x="2459935" y="1077757"/>
                  <a:pt x="2459935" y="1074113"/>
                  <a:pt x="2459935" y="1066824"/>
                </a:cubicBezTo>
                <a:close/>
                <a:moveTo>
                  <a:pt x="1153436" y="1066824"/>
                </a:moveTo>
                <a:cubicBezTo>
                  <a:pt x="1151614" y="1068646"/>
                  <a:pt x="1149792" y="1066824"/>
                  <a:pt x="1147970" y="1068646"/>
                </a:cubicBezTo>
                <a:cubicBezTo>
                  <a:pt x="1149792" y="1070469"/>
                  <a:pt x="1147970" y="1070469"/>
                  <a:pt x="1149792" y="1072291"/>
                </a:cubicBezTo>
                <a:cubicBezTo>
                  <a:pt x="1149792" y="1072291"/>
                  <a:pt x="1151614" y="1070469"/>
                  <a:pt x="1151614" y="1068646"/>
                </a:cubicBezTo>
                <a:cubicBezTo>
                  <a:pt x="1149792" y="1070469"/>
                  <a:pt x="1147970" y="1074113"/>
                  <a:pt x="1147970" y="1077757"/>
                </a:cubicBezTo>
                <a:cubicBezTo>
                  <a:pt x="1151614" y="1079579"/>
                  <a:pt x="1151614" y="1075935"/>
                  <a:pt x="1153436" y="1074113"/>
                </a:cubicBezTo>
                <a:cubicBezTo>
                  <a:pt x="1151614" y="1072291"/>
                  <a:pt x="1153436" y="1068646"/>
                  <a:pt x="1153436" y="1066824"/>
                </a:cubicBezTo>
                <a:close/>
                <a:moveTo>
                  <a:pt x="1144326" y="1066824"/>
                </a:moveTo>
                <a:cubicBezTo>
                  <a:pt x="1140681" y="1068646"/>
                  <a:pt x="1144326" y="1070469"/>
                  <a:pt x="1142503" y="1072291"/>
                </a:cubicBezTo>
                <a:cubicBezTo>
                  <a:pt x="1144326" y="1074113"/>
                  <a:pt x="1146148" y="1072291"/>
                  <a:pt x="1147970" y="1074113"/>
                </a:cubicBezTo>
                <a:cubicBezTo>
                  <a:pt x="1147970" y="1070469"/>
                  <a:pt x="1147970" y="1068646"/>
                  <a:pt x="1144326" y="1066824"/>
                </a:cubicBezTo>
                <a:close/>
                <a:moveTo>
                  <a:pt x="1113349" y="1066824"/>
                </a:moveTo>
                <a:cubicBezTo>
                  <a:pt x="1113349" y="1068646"/>
                  <a:pt x="1113349" y="1068646"/>
                  <a:pt x="1113349" y="1068646"/>
                </a:cubicBezTo>
                <a:cubicBezTo>
                  <a:pt x="1106060" y="1074113"/>
                  <a:pt x="1107882" y="1079579"/>
                  <a:pt x="1107882" y="1085046"/>
                </a:cubicBezTo>
                <a:cubicBezTo>
                  <a:pt x="1104238" y="1085046"/>
                  <a:pt x="1107882" y="1081402"/>
                  <a:pt x="1106060" y="1079579"/>
                </a:cubicBezTo>
                <a:cubicBezTo>
                  <a:pt x="1104238" y="1079579"/>
                  <a:pt x="1104238" y="1081402"/>
                  <a:pt x="1102416" y="1081402"/>
                </a:cubicBezTo>
                <a:cubicBezTo>
                  <a:pt x="1104238" y="1085046"/>
                  <a:pt x="1107882" y="1090512"/>
                  <a:pt x="1111526" y="1090512"/>
                </a:cubicBezTo>
                <a:cubicBezTo>
                  <a:pt x="1115171" y="1088690"/>
                  <a:pt x="1113349" y="1086868"/>
                  <a:pt x="1116993" y="1085046"/>
                </a:cubicBezTo>
                <a:cubicBezTo>
                  <a:pt x="1118815" y="1086868"/>
                  <a:pt x="1115171" y="1090512"/>
                  <a:pt x="1113349" y="1092335"/>
                </a:cubicBezTo>
                <a:cubicBezTo>
                  <a:pt x="1113349" y="1094157"/>
                  <a:pt x="1115171" y="1094157"/>
                  <a:pt x="1115171" y="1095979"/>
                </a:cubicBezTo>
                <a:cubicBezTo>
                  <a:pt x="1115171" y="1099623"/>
                  <a:pt x="1120637" y="1101445"/>
                  <a:pt x="1122459" y="1097801"/>
                </a:cubicBezTo>
                <a:cubicBezTo>
                  <a:pt x="1120637" y="1094157"/>
                  <a:pt x="1116993" y="1095979"/>
                  <a:pt x="1115171" y="1095979"/>
                </a:cubicBezTo>
                <a:cubicBezTo>
                  <a:pt x="1116993" y="1095979"/>
                  <a:pt x="1118815" y="1094157"/>
                  <a:pt x="1120637" y="1092335"/>
                </a:cubicBezTo>
                <a:cubicBezTo>
                  <a:pt x="1120637" y="1095979"/>
                  <a:pt x="1122459" y="1097801"/>
                  <a:pt x="1126104" y="1097801"/>
                </a:cubicBezTo>
                <a:cubicBezTo>
                  <a:pt x="1127926" y="1099623"/>
                  <a:pt x="1122459" y="1095979"/>
                  <a:pt x="1122459" y="1099623"/>
                </a:cubicBezTo>
                <a:cubicBezTo>
                  <a:pt x="1126104" y="1101445"/>
                  <a:pt x="1127926" y="1101445"/>
                  <a:pt x="1129748" y="1101445"/>
                </a:cubicBezTo>
                <a:cubicBezTo>
                  <a:pt x="1131570" y="1096890"/>
                  <a:pt x="1131570" y="1091423"/>
                  <a:pt x="1131798" y="1085957"/>
                </a:cubicBezTo>
                <a:lnTo>
                  <a:pt x="1132548" y="1082557"/>
                </a:lnTo>
                <a:lnTo>
                  <a:pt x="1131570" y="1092335"/>
                </a:lnTo>
                <a:cubicBezTo>
                  <a:pt x="1137037" y="1088690"/>
                  <a:pt x="1142503" y="1083224"/>
                  <a:pt x="1137037" y="1079579"/>
                </a:cubicBezTo>
                <a:lnTo>
                  <a:pt x="1136374" y="1075604"/>
                </a:lnTo>
                <a:lnTo>
                  <a:pt x="1137037" y="1075935"/>
                </a:lnTo>
                <a:lnTo>
                  <a:pt x="1136228" y="1074720"/>
                </a:lnTo>
                <a:lnTo>
                  <a:pt x="1135215" y="1068646"/>
                </a:lnTo>
                <a:cubicBezTo>
                  <a:pt x="1135215" y="1068646"/>
                  <a:pt x="1133393" y="1070469"/>
                  <a:pt x="1133393" y="1070469"/>
                </a:cubicBezTo>
                <a:lnTo>
                  <a:pt x="1131570" y="1070469"/>
                </a:lnTo>
                <a:cubicBezTo>
                  <a:pt x="1131570" y="1070469"/>
                  <a:pt x="1135215" y="1068646"/>
                  <a:pt x="1133393" y="1066824"/>
                </a:cubicBezTo>
                <a:cubicBezTo>
                  <a:pt x="1131570" y="1071379"/>
                  <a:pt x="1128382" y="1074568"/>
                  <a:pt x="1124737" y="1075251"/>
                </a:cubicBezTo>
                <a:lnTo>
                  <a:pt x="1121509" y="1073379"/>
                </a:lnTo>
                <a:lnTo>
                  <a:pt x="1124965" y="1070468"/>
                </a:lnTo>
                <a:cubicBezTo>
                  <a:pt x="1126559" y="1069101"/>
                  <a:pt x="1127926" y="1067735"/>
                  <a:pt x="1127926" y="1066824"/>
                </a:cubicBezTo>
                <a:cubicBezTo>
                  <a:pt x="1122459" y="1065002"/>
                  <a:pt x="1118815" y="1068646"/>
                  <a:pt x="1113349" y="1066824"/>
                </a:cubicBezTo>
                <a:close/>
                <a:moveTo>
                  <a:pt x="1025884" y="1066824"/>
                </a:moveTo>
                <a:cubicBezTo>
                  <a:pt x="1018596" y="1066824"/>
                  <a:pt x="1016774" y="1072291"/>
                  <a:pt x="1014951" y="1077757"/>
                </a:cubicBezTo>
                <a:cubicBezTo>
                  <a:pt x="1018596" y="1079579"/>
                  <a:pt x="1029529" y="1072291"/>
                  <a:pt x="1025884" y="1066824"/>
                </a:cubicBezTo>
                <a:close/>
                <a:moveTo>
                  <a:pt x="905621" y="1066824"/>
                </a:moveTo>
                <a:cubicBezTo>
                  <a:pt x="901976" y="1070469"/>
                  <a:pt x="903799" y="1072291"/>
                  <a:pt x="898333" y="1075935"/>
                </a:cubicBezTo>
                <a:cubicBezTo>
                  <a:pt x="901976" y="1077757"/>
                  <a:pt x="907444" y="1072291"/>
                  <a:pt x="909265" y="1072291"/>
                </a:cubicBezTo>
                <a:cubicBezTo>
                  <a:pt x="911087" y="1068646"/>
                  <a:pt x="907444" y="1070469"/>
                  <a:pt x="905621" y="1066824"/>
                </a:cubicBezTo>
                <a:close/>
                <a:moveTo>
                  <a:pt x="595852" y="1066824"/>
                </a:moveTo>
                <a:cubicBezTo>
                  <a:pt x="594030" y="1070469"/>
                  <a:pt x="599496" y="1074113"/>
                  <a:pt x="603140" y="1072291"/>
                </a:cubicBezTo>
                <a:cubicBezTo>
                  <a:pt x="603140" y="1070469"/>
                  <a:pt x="599496" y="1066824"/>
                  <a:pt x="595852" y="1066824"/>
                </a:cubicBezTo>
                <a:close/>
                <a:moveTo>
                  <a:pt x="459188" y="1066824"/>
                </a:moveTo>
                <a:cubicBezTo>
                  <a:pt x="462832" y="1072291"/>
                  <a:pt x="468299" y="1079579"/>
                  <a:pt x="475589" y="1083224"/>
                </a:cubicBezTo>
                <a:cubicBezTo>
                  <a:pt x="479232" y="1077757"/>
                  <a:pt x="464655" y="1072291"/>
                  <a:pt x="459188" y="1066824"/>
                </a:cubicBezTo>
                <a:close/>
                <a:moveTo>
                  <a:pt x="340747" y="1066824"/>
                </a:moveTo>
                <a:cubicBezTo>
                  <a:pt x="340747" y="1070469"/>
                  <a:pt x="346213" y="1074113"/>
                  <a:pt x="348037" y="1074113"/>
                </a:cubicBezTo>
                <a:cubicBezTo>
                  <a:pt x="349858" y="1072291"/>
                  <a:pt x="342569" y="1068646"/>
                  <a:pt x="340747" y="1066824"/>
                </a:cubicBezTo>
                <a:close/>
                <a:moveTo>
                  <a:pt x="309771" y="1066824"/>
                </a:moveTo>
                <a:cubicBezTo>
                  <a:pt x="311592" y="1072291"/>
                  <a:pt x="317059" y="1070469"/>
                  <a:pt x="320703" y="1074113"/>
                </a:cubicBezTo>
                <a:cubicBezTo>
                  <a:pt x="320703" y="1070469"/>
                  <a:pt x="311592" y="1065002"/>
                  <a:pt x="309771" y="1066824"/>
                </a:cubicBezTo>
                <a:close/>
                <a:moveTo>
                  <a:pt x="267860" y="1066824"/>
                </a:moveTo>
                <a:cubicBezTo>
                  <a:pt x="266038" y="1068646"/>
                  <a:pt x="269682" y="1072291"/>
                  <a:pt x="269682" y="1075935"/>
                </a:cubicBezTo>
                <a:cubicBezTo>
                  <a:pt x="271504" y="1075935"/>
                  <a:pt x="271504" y="1070469"/>
                  <a:pt x="267860" y="1066824"/>
                </a:cubicBezTo>
                <a:close/>
                <a:moveTo>
                  <a:pt x="842985" y="1065229"/>
                </a:moveTo>
                <a:cubicBezTo>
                  <a:pt x="842301" y="1065002"/>
                  <a:pt x="841845" y="1065913"/>
                  <a:pt x="841845" y="1068646"/>
                </a:cubicBezTo>
                <a:cubicBezTo>
                  <a:pt x="841845" y="1070469"/>
                  <a:pt x="843667" y="1072291"/>
                  <a:pt x="845489" y="1072291"/>
                </a:cubicBezTo>
                <a:cubicBezTo>
                  <a:pt x="845489" y="1068646"/>
                  <a:pt x="840022" y="1068646"/>
                  <a:pt x="845489" y="1068646"/>
                </a:cubicBezTo>
                <a:cubicBezTo>
                  <a:pt x="844578" y="1066824"/>
                  <a:pt x="843667" y="1065457"/>
                  <a:pt x="842985" y="1065229"/>
                </a:cubicBezTo>
                <a:close/>
                <a:moveTo>
                  <a:pt x="1036818" y="1065002"/>
                </a:moveTo>
                <a:cubicBezTo>
                  <a:pt x="1031351" y="1065002"/>
                  <a:pt x="1027707" y="1068646"/>
                  <a:pt x="1029529" y="1072291"/>
                </a:cubicBezTo>
                <a:cubicBezTo>
                  <a:pt x="1033173" y="1074113"/>
                  <a:pt x="1033173" y="1066824"/>
                  <a:pt x="1034995" y="1072291"/>
                </a:cubicBezTo>
                <a:cubicBezTo>
                  <a:pt x="1036818" y="1072291"/>
                  <a:pt x="1038639" y="1070469"/>
                  <a:pt x="1040462" y="1068646"/>
                </a:cubicBezTo>
                <a:cubicBezTo>
                  <a:pt x="1038639" y="1068646"/>
                  <a:pt x="1038639" y="1066824"/>
                  <a:pt x="1036818" y="1065002"/>
                </a:cubicBezTo>
                <a:close/>
                <a:moveTo>
                  <a:pt x="936598" y="1065002"/>
                </a:moveTo>
                <a:cubicBezTo>
                  <a:pt x="927487" y="1063180"/>
                  <a:pt x="927487" y="1072291"/>
                  <a:pt x="929309" y="1079579"/>
                </a:cubicBezTo>
                <a:cubicBezTo>
                  <a:pt x="932953" y="1075935"/>
                  <a:pt x="934777" y="1070469"/>
                  <a:pt x="936598" y="1065002"/>
                </a:cubicBezTo>
                <a:close/>
                <a:moveTo>
                  <a:pt x="840022" y="1065002"/>
                </a:moveTo>
                <a:cubicBezTo>
                  <a:pt x="838200" y="1066824"/>
                  <a:pt x="838200" y="1065002"/>
                  <a:pt x="836378" y="1066824"/>
                </a:cubicBezTo>
                <a:cubicBezTo>
                  <a:pt x="840022" y="1068646"/>
                  <a:pt x="840022" y="1070469"/>
                  <a:pt x="840022" y="1065002"/>
                </a:cubicBezTo>
                <a:close/>
                <a:moveTo>
                  <a:pt x="420923" y="1065002"/>
                </a:moveTo>
                <a:cubicBezTo>
                  <a:pt x="420923" y="1066824"/>
                  <a:pt x="426389" y="1070469"/>
                  <a:pt x="426389" y="1068646"/>
                </a:cubicBezTo>
                <a:cubicBezTo>
                  <a:pt x="424567" y="1066824"/>
                  <a:pt x="422745" y="1065002"/>
                  <a:pt x="420923" y="1065002"/>
                </a:cubicBezTo>
                <a:close/>
                <a:moveTo>
                  <a:pt x="386301" y="1065002"/>
                </a:moveTo>
                <a:cubicBezTo>
                  <a:pt x="384479" y="1066824"/>
                  <a:pt x="380835" y="1065002"/>
                  <a:pt x="382657" y="1068646"/>
                </a:cubicBezTo>
                <a:cubicBezTo>
                  <a:pt x="382657" y="1068646"/>
                  <a:pt x="380835" y="1066824"/>
                  <a:pt x="380835" y="1066824"/>
                </a:cubicBezTo>
                <a:cubicBezTo>
                  <a:pt x="380835" y="1070469"/>
                  <a:pt x="377190" y="1068646"/>
                  <a:pt x="380835" y="1072291"/>
                </a:cubicBezTo>
                <a:cubicBezTo>
                  <a:pt x="382657" y="1075935"/>
                  <a:pt x="388123" y="1075935"/>
                  <a:pt x="391768" y="1075935"/>
                </a:cubicBezTo>
                <a:cubicBezTo>
                  <a:pt x="389946" y="1074113"/>
                  <a:pt x="389946" y="1072291"/>
                  <a:pt x="388123" y="1070469"/>
                </a:cubicBezTo>
                <a:cubicBezTo>
                  <a:pt x="389946" y="1070469"/>
                  <a:pt x="391768" y="1072291"/>
                  <a:pt x="391768" y="1070469"/>
                </a:cubicBezTo>
                <a:cubicBezTo>
                  <a:pt x="389946" y="1068646"/>
                  <a:pt x="388123" y="1068646"/>
                  <a:pt x="386301" y="1065002"/>
                </a:cubicBezTo>
                <a:close/>
                <a:moveTo>
                  <a:pt x="300660" y="1065002"/>
                </a:moveTo>
                <a:cubicBezTo>
                  <a:pt x="302481" y="1066824"/>
                  <a:pt x="307948" y="1070469"/>
                  <a:pt x="309771" y="1068646"/>
                </a:cubicBezTo>
                <a:cubicBezTo>
                  <a:pt x="309771" y="1068646"/>
                  <a:pt x="307948" y="1066824"/>
                  <a:pt x="306126" y="1065002"/>
                </a:cubicBezTo>
                <a:cubicBezTo>
                  <a:pt x="304303" y="1066824"/>
                  <a:pt x="304303" y="1065002"/>
                  <a:pt x="300660" y="1065002"/>
                </a:cubicBezTo>
                <a:close/>
                <a:moveTo>
                  <a:pt x="289726" y="1065002"/>
                </a:moveTo>
                <a:cubicBezTo>
                  <a:pt x="293370" y="1068646"/>
                  <a:pt x="297015" y="1072291"/>
                  <a:pt x="298837" y="1075935"/>
                </a:cubicBezTo>
                <a:cubicBezTo>
                  <a:pt x="300660" y="1074113"/>
                  <a:pt x="302481" y="1072291"/>
                  <a:pt x="304303" y="1074113"/>
                </a:cubicBezTo>
                <a:cubicBezTo>
                  <a:pt x="307948" y="1079579"/>
                  <a:pt x="311592" y="1088690"/>
                  <a:pt x="320703" y="1092335"/>
                </a:cubicBezTo>
                <a:cubicBezTo>
                  <a:pt x="320703" y="1088690"/>
                  <a:pt x="315236" y="1086868"/>
                  <a:pt x="311592" y="1083224"/>
                </a:cubicBezTo>
                <a:cubicBezTo>
                  <a:pt x="320703" y="1088690"/>
                  <a:pt x="313414" y="1075935"/>
                  <a:pt x="320703" y="1079579"/>
                </a:cubicBezTo>
                <a:cubicBezTo>
                  <a:pt x="311592" y="1072291"/>
                  <a:pt x="298837" y="1063180"/>
                  <a:pt x="289726" y="1065002"/>
                </a:cubicBezTo>
                <a:close/>
                <a:moveTo>
                  <a:pt x="273327" y="1065002"/>
                </a:moveTo>
                <a:cubicBezTo>
                  <a:pt x="267860" y="1075935"/>
                  <a:pt x="278793" y="1083224"/>
                  <a:pt x="291549" y="1088690"/>
                </a:cubicBezTo>
                <a:lnTo>
                  <a:pt x="287018" y="1082781"/>
                </a:lnTo>
                <a:lnTo>
                  <a:pt x="287904" y="1083224"/>
                </a:lnTo>
                <a:cubicBezTo>
                  <a:pt x="284259" y="1077757"/>
                  <a:pt x="278793" y="1070469"/>
                  <a:pt x="273327" y="1065002"/>
                </a:cubicBezTo>
                <a:close/>
                <a:moveTo>
                  <a:pt x="151241" y="1065002"/>
                </a:moveTo>
                <a:cubicBezTo>
                  <a:pt x="156707" y="1074113"/>
                  <a:pt x="165818" y="1083224"/>
                  <a:pt x="176751" y="1085046"/>
                </a:cubicBezTo>
                <a:cubicBezTo>
                  <a:pt x="169462" y="1077757"/>
                  <a:pt x="158529" y="1070469"/>
                  <a:pt x="151241" y="1065002"/>
                </a:cubicBezTo>
                <a:close/>
                <a:moveTo>
                  <a:pt x="739803" y="1064774"/>
                </a:moveTo>
                <a:cubicBezTo>
                  <a:pt x="738437" y="1065002"/>
                  <a:pt x="737070" y="1065913"/>
                  <a:pt x="736159" y="1066824"/>
                </a:cubicBezTo>
                <a:cubicBezTo>
                  <a:pt x="737981" y="1068646"/>
                  <a:pt x="743447" y="1070469"/>
                  <a:pt x="743447" y="1066824"/>
                </a:cubicBezTo>
                <a:cubicBezTo>
                  <a:pt x="742536" y="1065002"/>
                  <a:pt x="741170" y="1064547"/>
                  <a:pt x="739803" y="1064774"/>
                </a:cubicBezTo>
                <a:close/>
                <a:moveTo>
                  <a:pt x="3100202" y="1064773"/>
                </a:moveTo>
                <a:cubicBezTo>
                  <a:pt x="3097697" y="1066368"/>
                  <a:pt x="3094963" y="1068646"/>
                  <a:pt x="3092230" y="1068646"/>
                </a:cubicBezTo>
                <a:cubicBezTo>
                  <a:pt x="3097696" y="1072291"/>
                  <a:pt x="3103163" y="1066824"/>
                  <a:pt x="3106807" y="1065002"/>
                </a:cubicBezTo>
                <a:cubicBezTo>
                  <a:pt x="3104985" y="1062268"/>
                  <a:pt x="3102708" y="1063179"/>
                  <a:pt x="3100202" y="1064773"/>
                </a:cubicBezTo>
                <a:close/>
                <a:moveTo>
                  <a:pt x="3604260" y="1063180"/>
                </a:moveTo>
                <a:cubicBezTo>
                  <a:pt x="3602438" y="1063180"/>
                  <a:pt x="3600616" y="1065002"/>
                  <a:pt x="3598794" y="1065002"/>
                </a:cubicBezTo>
                <a:cubicBezTo>
                  <a:pt x="3598794" y="1066824"/>
                  <a:pt x="3600616" y="1066824"/>
                  <a:pt x="3604260" y="1068646"/>
                </a:cubicBezTo>
                <a:cubicBezTo>
                  <a:pt x="3604260" y="1066824"/>
                  <a:pt x="3604260" y="1065002"/>
                  <a:pt x="3604260" y="1063180"/>
                </a:cubicBezTo>
                <a:close/>
                <a:moveTo>
                  <a:pt x="2204831" y="1063180"/>
                </a:moveTo>
                <a:lnTo>
                  <a:pt x="2205109" y="1063328"/>
                </a:lnTo>
                <a:lnTo>
                  <a:pt x="2205038" y="1063524"/>
                </a:lnTo>
                <a:close/>
                <a:moveTo>
                  <a:pt x="1169836" y="1063180"/>
                </a:moveTo>
                <a:cubicBezTo>
                  <a:pt x="1168014" y="1065002"/>
                  <a:pt x="1168014" y="1065002"/>
                  <a:pt x="1166192" y="1065002"/>
                </a:cubicBezTo>
                <a:cubicBezTo>
                  <a:pt x="1168014" y="1065002"/>
                  <a:pt x="1169836" y="1066824"/>
                  <a:pt x="1171658" y="1065002"/>
                </a:cubicBezTo>
                <a:cubicBezTo>
                  <a:pt x="1171658" y="1065002"/>
                  <a:pt x="1169836" y="1063180"/>
                  <a:pt x="1169836" y="1063180"/>
                </a:cubicBezTo>
                <a:close/>
                <a:moveTo>
                  <a:pt x="1082373" y="1063180"/>
                </a:moveTo>
                <a:cubicBezTo>
                  <a:pt x="1080549" y="1065002"/>
                  <a:pt x="1076905" y="1063180"/>
                  <a:pt x="1073262" y="1066824"/>
                </a:cubicBezTo>
                <a:cubicBezTo>
                  <a:pt x="1073262" y="1068646"/>
                  <a:pt x="1076905" y="1070469"/>
                  <a:pt x="1078727" y="1072291"/>
                </a:cubicBezTo>
                <a:cubicBezTo>
                  <a:pt x="1082373" y="1070469"/>
                  <a:pt x="1080549" y="1066824"/>
                  <a:pt x="1082373" y="1063180"/>
                </a:cubicBezTo>
                <a:close/>
                <a:moveTo>
                  <a:pt x="747092" y="1063180"/>
                </a:moveTo>
                <a:cubicBezTo>
                  <a:pt x="745269" y="1072291"/>
                  <a:pt x="747092" y="1079579"/>
                  <a:pt x="750737" y="1085046"/>
                </a:cubicBezTo>
                <a:cubicBezTo>
                  <a:pt x="750737" y="1092335"/>
                  <a:pt x="752558" y="1099623"/>
                  <a:pt x="758025" y="1106912"/>
                </a:cubicBezTo>
                <a:cubicBezTo>
                  <a:pt x="758025" y="1097801"/>
                  <a:pt x="759848" y="1086868"/>
                  <a:pt x="752558" y="1081402"/>
                </a:cubicBezTo>
                <a:cubicBezTo>
                  <a:pt x="754380" y="1083224"/>
                  <a:pt x="754380" y="1085046"/>
                  <a:pt x="758025" y="1085046"/>
                </a:cubicBezTo>
                <a:cubicBezTo>
                  <a:pt x="754380" y="1077757"/>
                  <a:pt x="754380" y="1068646"/>
                  <a:pt x="747092" y="1063180"/>
                </a:cubicBezTo>
                <a:close/>
                <a:moveTo>
                  <a:pt x="666916" y="1063180"/>
                </a:moveTo>
                <a:cubicBezTo>
                  <a:pt x="666916" y="1063180"/>
                  <a:pt x="670560" y="1068646"/>
                  <a:pt x="672383" y="1065002"/>
                </a:cubicBezTo>
                <a:cubicBezTo>
                  <a:pt x="670560" y="1063180"/>
                  <a:pt x="668738" y="1065002"/>
                  <a:pt x="666916" y="1063180"/>
                </a:cubicBezTo>
                <a:close/>
                <a:moveTo>
                  <a:pt x="473766" y="1063180"/>
                </a:moveTo>
                <a:lnTo>
                  <a:pt x="480074" y="1074534"/>
                </a:lnTo>
                <a:lnTo>
                  <a:pt x="479232" y="1074113"/>
                </a:lnTo>
                <a:cubicBezTo>
                  <a:pt x="481054" y="1075935"/>
                  <a:pt x="482876" y="1075935"/>
                  <a:pt x="482876" y="1079579"/>
                </a:cubicBezTo>
                <a:lnTo>
                  <a:pt x="480074" y="1074534"/>
                </a:lnTo>
                <a:lnTo>
                  <a:pt x="482876" y="1075935"/>
                </a:lnTo>
                <a:cubicBezTo>
                  <a:pt x="482876" y="1074113"/>
                  <a:pt x="481054" y="1068646"/>
                  <a:pt x="481054" y="1066824"/>
                </a:cubicBezTo>
                <a:cubicBezTo>
                  <a:pt x="479232" y="1063180"/>
                  <a:pt x="475589" y="1065002"/>
                  <a:pt x="473766" y="1063180"/>
                </a:cubicBezTo>
                <a:close/>
                <a:moveTo>
                  <a:pt x="413634" y="1063180"/>
                </a:moveTo>
                <a:cubicBezTo>
                  <a:pt x="417278" y="1070469"/>
                  <a:pt x="426389" y="1077757"/>
                  <a:pt x="433678" y="1085046"/>
                </a:cubicBezTo>
                <a:cubicBezTo>
                  <a:pt x="433678" y="1081402"/>
                  <a:pt x="431856" y="1079579"/>
                  <a:pt x="430034" y="1075935"/>
                </a:cubicBezTo>
                <a:cubicBezTo>
                  <a:pt x="424567" y="1074113"/>
                  <a:pt x="419100" y="1068646"/>
                  <a:pt x="413634" y="1063180"/>
                </a:cubicBezTo>
                <a:close/>
                <a:moveTo>
                  <a:pt x="158529" y="1063180"/>
                </a:moveTo>
                <a:cubicBezTo>
                  <a:pt x="167640" y="1070469"/>
                  <a:pt x="176751" y="1075935"/>
                  <a:pt x="185862" y="1079579"/>
                </a:cubicBezTo>
                <a:cubicBezTo>
                  <a:pt x="185862" y="1077757"/>
                  <a:pt x="182218" y="1077757"/>
                  <a:pt x="180396" y="1075935"/>
                </a:cubicBezTo>
                <a:cubicBezTo>
                  <a:pt x="174929" y="1068646"/>
                  <a:pt x="165818" y="1066824"/>
                  <a:pt x="158529" y="1063180"/>
                </a:cubicBezTo>
                <a:close/>
                <a:moveTo>
                  <a:pt x="1188369" y="1063135"/>
                </a:moveTo>
                <a:lnTo>
                  <a:pt x="1188122" y="1064625"/>
                </a:lnTo>
                <a:lnTo>
                  <a:pt x="1187374" y="1064774"/>
                </a:lnTo>
                <a:lnTo>
                  <a:pt x="1186738" y="1064562"/>
                </a:lnTo>
                <a:close/>
                <a:moveTo>
                  <a:pt x="1204685" y="1062952"/>
                </a:moveTo>
                <a:cubicBezTo>
                  <a:pt x="1200357" y="1063635"/>
                  <a:pt x="1196257" y="1065913"/>
                  <a:pt x="1193525" y="1068646"/>
                </a:cubicBezTo>
                <a:cubicBezTo>
                  <a:pt x="1191703" y="1072291"/>
                  <a:pt x="1197169" y="1070469"/>
                  <a:pt x="1198991" y="1072291"/>
                </a:cubicBezTo>
                <a:cubicBezTo>
                  <a:pt x="1195346" y="1074113"/>
                  <a:pt x="1193525" y="1075935"/>
                  <a:pt x="1193525" y="1077757"/>
                </a:cubicBezTo>
                <a:cubicBezTo>
                  <a:pt x="1197169" y="1079579"/>
                  <a:pt x="1202636" y="1074113"/>
                  <a:pt x="1202636" y="1074113"/>
                </a:cubicBezTo>
                <a:cubicBezTo>
                  <a:pt x="1206279" y="1070469"/>
                  <a:pt x="1211747" y="1070469"/>
                  <a:pt x="1217213" y="1066824"/>
                </a:cubicBezTo>
                <a:cubicBezTo>
                  <a:pt x="1215390" y="1075935"/>
                  <a:pt x="1202636" y="1074113"/>
                  <a:pt x="1195346" y="1079579"/>
                </a:cubicBezTo>
                <a:cubicBezTo>
                  <a:pt x="1197169" y="1085046"/>
                  <a:pt x="1206279" y="1088690"/>
                  <a:pt x="1211747" y="1090512"/>
                </a:cubicBezTo>
                <a:cubicBezTo>
                  <a:pt x="1219036" y="1086868"/>
                  <a:pt x="1222679" y="1083224"/>
                  <a:pt x="1226323" y="1077757"/>
                </a:cubicBezTo>
                <a:cubicBezTo>
                  <a:pt x="1227234" y="1079579"/>
                  <a:pt x="1224501" y="1081401"/>
                  <a:pt x="1221768" y="1083451"/>
                </a:cubicBezTo>
                <a:lnTo>
                  <a:pt x="1218254" y="1088898"/>
                </a:lnTo>
                <a:lnTo>
                  <a:pt x="1217213" y="1088690"/>
                </a:lnTo>
                <a:cubicBezTo>
                  <a:pt x="1217213" y="1088690"/>
                  <a:pt x="1217213" y="1088690"/>
                  <a:pt x="1217213" y="1090512"/>
                </a:cubicBezTo>
                <a:lnTo>
                  <a:pt x="1218254" y="1088898"/>
                </a:lnTo>
                <a:lnTo>
                  <a:pt x="1226323" y="1090512"/>
                </a:lnTo>
                <a:cubicBezTo>
                  <a:pt x="1237256" y="1094157"/>
                  <a:pt x="1255478" y="1086868"/>
                  <a:pt x="1253656" y="1074113"/>
                </a:cubicBezTo>
                <a:cubicBezTo>
                  <a:pt x="1242723" y="1083224"/>
                  <a:pt x="1228146" y="1070469"/>
                  <a:pt x="1217213" y="1066824"/>
                </a:cubicBezTo>
                <a:cubicBezTo>
                  <a:pt x="1213568" y="1063179"/>
                  <a:pt x="1209013" y="1062268"/>
                  <a:pt x="1204685" y="1062952"/>
                </a:cubicBezTo>
                <a:close/>
                <a:moveTo>
                  <a:pt x="496910" y="1062933"/>
                </a:moveTo>
                <a:lnTo>
                  <a:pt x="501554" y="1066141"/>
                </a:lnTo>
                <a:lnTo>
                  <a:pt x="503758" y="1068713"/>
                </a:lnTo>
                <a:lnTo>
                  <a:pt x="503604" y="1068646"/>
                </a:lnTo>
                <a:close/>
                <a:moveTo>
                  <a:pt x="280616" y="1062725"/>
                </a:moveTo>
                <a:cubicBezTo>
                  <a:pt x="278793" y="1062725"/>
                  <a:pt x="276971" y="1063180"/>
                  <a:pt x="275149" y="1065002"/>
                </a:cubicBezTo>
                <a:cubicBezTo>
                  <a:pt x="286082" y="1077757"/>
                  <a:pt x="293370" y="1088690"/>
                  <a:pt x="307948" y="1094157"/>
                </a:cubicBezTo>
                <a:cubicBezTo>
                  <a:pt x="302481" y="1083224"/>
                  <a:pt x="286082" y="1079579"/>
                  <a:pt x="280615" y="1068646"/>
                </a:cubicBezTo>
                <a:cubicBezTo>
                  <a:pt x="287904" y="1074113"/>
                  <a:pt x="295193" y="1081402"/>
                  <a:pt x="302481" y="1083224"/>
                </a:cubicBezTo>
                <a:lnTo>
                  <a:pt x="291549" y="1072291"/>
                </a:lnTo>
                <a:lnTo>
                  <a:pt x="286082" y="1063180"/>
                </a:lnTo>
                <a:cubicBezTo>
                  <a:pt x="284260" y="1063180"/>
                  <a:pt x="282438" y="1062725"/>
                  <a:pt x="280616" y="1062725"/>
                </a:cubicBezTo>
                <a:close/>
                <a:moveTo>
                  <a:pt x="248955" y="1062725"/>
                </a:moveTo>
                <a:cubicBezTo>
                  <a:pt x="247816" y="1062725"/>
                  <a:pt x="246905" y="1063180"/>
                  <a:pt x="245994" y="1063180"/>
                </a:cubicBezTo>
                <a:cubicBezTo>
                  <a:pt x="244172" y="1065002"/>
                  <a:pt x="247816" y="1065002"/>
                  <a:pt x="249638" y="1066824"/>
                </a:cubicBezTo>
                <a:cubicBezTo>
                  <a:pt x="251460" y="1066824"/>
                  <a:pt x="251460" y="1066824"/>
                  <a:pt x="253282" y="1065002"/>
                </a:cubicBezTo>
                <a:cubicBezTo>
                  <a:pt x="251460" y="1063180"/>
                  <a:pt x="250094" y="1062725"/>
                  <a:pt x="248955" y="1062725"/>
                </a:cubicBezTo>
                <a:close/>
                <a:moveTo>
                  <a:pt x="2384771" y="1062268"/>
                </a:moveTo>
                <a:cubicBezTo>
                  <a:pt x="2383404" y="1061357"/>
                  <a:pt x="2381582" y="1061357"/>
                  <a:pt x="2379760" y="1063180"/>
                </a:cubicBezTo>
                <a:cubicBezTo>
                  <a:pt x="2377937" y="1066824"/>
                  <a:pt x="2381582" y="1066824"/>
                  <a:pt x="2381582" y="1068646"/>
                </a:cubicBezTo>
                <a:cubicBezTo>
                  <a:pt x="2383404" y="1068646"/>
                  <a:pt x="2385226" y="1066824"/>
                  <a:pt x="2387048" y="1066824"/>
                </a:cubicBezTo>
                <a:cubicBezTo>
                  <a:pt x="2387048" y="1065002"/>
                  <a:pt x="2386137" y="1063179"/>
                  <a:pt x="2384771" y="1062268"/>
                </a:cubicBezTo>
                <a:close/>
                <a:moveTo>
                  <a:pt x="824307" y="1062041"/>
                </a:moveTo>
                <a:cubicBezTo>
                  <a:pt x="823623" y="1062724"/>
                  <a:pt x="823623" y="1064091"/>
                  <a:pt x="825445" y="1065002"/>
                </a:cubicBezTo>
                <a:cubicBezTo>
                  <a:pt x="827267" y="1065002"/>
                  <a:pt x="825445" y="1065002"/>
                  <a:pt x="827267" y="1063180"/>
                </a:cubicBezTo>
                <a:cubicBezTo>
                  <a:pt x="826356" y="1061357"/>
                  <a:pt x="824989" y="1061357"/>
                  <a:pt x="824307" y="1062041"/>
                </a:cubicBezTo>
                <a:close/>
                <a:moveTo>
                  <a:pt x="1140681" y="1061358"/>
                </a:moveTo>
                <a:cubicBezTo>
                  <a:pt x="1140681" y="1065002"/>
                  <a:pt x="1147970" y="1065002"/>
                  <a:pt x="1146148" y="1061358"/>
                </a:cubicBezTo>
                <a:cubicBezTo>
                  <a:pt x="1144326" y="1059535"/>
                  <a:pt x="1142503" y="1061358"/>
                  <a:pt x="1140681" y="1061358"/>
                </a:cubicBezTo>
                <a:close/>
                <a:moveTo>
                  <a:pt x="911087" y="1061358"/>
                </a:moveTo>
                <a:cubicBezTo>
                  <a:pt x="909265" y="1063180"/>
                  <a:pt x="907444" y="1063180"/>
                  <a:pt x="909265" y="1065002"/>
                </a:cubicBezTo>
                <a:cubicBezTo>
                  <a:pt x="911087" y="1066824"/>
                  <a:pt x="912909" y="1068646"/>
                  <a:pt x="912909" y="1066824"/>
                </a:cubicBezTo>
                <a:cubicBezTo>
                  <a:pt x="912909" y="1065002"/>
                  <a:pt x="912909" y="1065002"/>
                  <a:pt x="912909" y="1063180"/>
                </a:cubicBezTo>
                <a:cubicBezTo>
                  <a:pt x="911087" y="1061358"/>
                  <a:pt x="911087" y="1065002"/>
                  <a:pt x="909265" y="1065002"/>
                </a:cubicBezTo>
                <a:cubicBezTo>
                  <a:pt x="909265" y="1065002"/>
                  <a:pt x="911087" y="1063180"/>
                  <a:pt x="911087" y="1063180"/>
                </a:cubicBezTo>
                <a:cubicBezTo>
                  <a:pt x="911087" y="1063180"/>
                  <a:pt x="909265" y="1063180"/>
                  <a:pt x="911087" y="1061358"/>
                </a:cubicBezTo>
                <a:close/>
                <a:moveTo>
                  <a:pt x="812690" y="1061358"/>
                </a:moveTo>
                <a:lnTo>
                  <a:pt x="812739" y="1061388"/>
                </a:lnTo>
                <a:lnTo>
                  <a:pt x="812740" y="1061424"/>
                </a:lnTo>
                <a:close/>
                <a:moveTo>
                  <a:pt x="601318" y="1061358"/>
                </a:moveTo>
                <a:cubicBezTo>
                  <a:pt x="599496" y="1063180"/>
                  <a:pt x="597673" y="1063180"/>
                  <a:pt x="597673" y="1063180"/>
                </a:cubicBezTo>
                <a:cubicBezTo>
                  <a:pt x="599496" y="1065002"/>
                  <a:pt x="601318" y="1065002"/>
                  <a:pt x="603140" y="1066824"/>
                </a:cubicBezTo>
                <a:cubicBezTo>
                  <a:pt x="603140" y="1065002"/>
                  <a:pt x="604963" y="1063180"/>
                  <a:pt x="601318" y="1061358"/>
                </a:cubicBezTo>
                <a:close/>
                <a:moveTo>
                  <a:pt x="331636" y="1061358"/>
                </a:moveTo>
                <a:cubicBezTo>
                  <a:pt x="327993" y="1063180"/>
                  <a:pt x="335280" y="1066824"/>
                  <a:pt x="337102" y="1068646"/>
                </a:cubicBezTo>
                <a:cubicBezTo>
                  <a:pt x="337102" y="1065002"/>
                  <a:pt x="335280" y="1061358"/>
                  <a:pt x="331636" y="1061358"/>
                </a:cubicBezTo>
                <a:close/>
                <a:moveTo>
                  <a:pt x="143952" y="1061358"/>
                </a:moveTo>
                <a:cubicBezTo>
                  <a:pt x="145774" y="1065002"/>
                  <a:pt x="145774" y="1063180"/>
                  <a:pt x="147596" y="1065002"/>
                </a:cubicBezTo>
                <a:cubicBezTo>
                  <a:pt x="149419" y="1063180"/>
                  <a:pt x="145774" y="1061358"/>
                  <a:pt x="143952" y="1061358"/>
                </a:cubicBezTo>
                <a:close/>
                <a:moveTo>
                  <a:pt x="3496297" y="1060446"/>
                </a:moveTo>
                <a:cubicBezTo>
                  <a:pt x="3489919" y="1060902"/>
                  <a:pt x="3483997" y="1062269"/>
                  <a:pt x="3478530" y="1065002"/>
                </a:cubicBezTo>
                <a:cubicBezTo>
                  <a:pt x="3469419" y="1068646"/>
                  <a:pt x="3454842" y="1068646"/>
                  <a:pt x="3453020" y="1075935"/>
                </a:cubicBezTo>
                <a:cubicBezTo>
                  <a:pt x="3451198" y="1088690"/>
                  <a:pt x="3473064" y="1094157"/>
                  <a:pt x="3483997" y="1086868"/>
                </a:cubicBezTo>
                <a:cubicBezTo>
                  <a:pt x="3483997" y="1086868"/>
                  <a:pt x="3483997" y="1083224"/>
                  <a:pt x="3485819" y="1081402"/>
                </a:cubicBezTo>
                <a:cubicBezTo>
                  <a:pt x="3489463" y="1079579"/>
                  <a:pt x="3494930" y="1075935"/>
                  <a:pt x="3493108" y="1072291"/>
                </a:cubicBezTo>
                <a:cubicBezTo>
                  <a:pt x="3500397" y="1072291"/>
                  <a:pt x="3502219" y="1068646"/>
                  <a:pt x="3513152" y="1072291"/>
                </a:cubicBezTo>
                <a:cubicBezTo>
                  <a:pt x="3520440" y="1070469"/>
                  <a:pt x="3513152" y="1066824"/>
                  <a:pt x="3516796" y="1061358"/>
                </a:cubicBezTo>
                <a:cubicBezTo>
                  <a:pt x="3509508" y="1060447"/>
                  <a:pt x="3502674" y="1059991"/>
                  <a:pt x="3496297" y="1060446"/>
                </a:cubicBezTo>
                <a:close/>
                <a:moveTo>
                  <a:pt x="2851247" y="1060446"/>
                </a:moveTo>
                <a:cubicBezTo>
                  <a:pt x="2849881" y="1061357"/>
                  <a:pt x="2848969" y="1063180"/>
                  <a:pt x="2849880" y="1065002"/>
                </a:cubicBezTo>
                <a:cubicBezTo>
                  <a:pt x="2853525" y="1068646"/>
                  <a:pt x="2853525" y="1063180"/>
                  <a:pt x="2855347" y="1061358"/>
                </a:cubicBezTo>
                <a:cubicBezTo>
                  <a:pt x="2854436" y="1059535"/>
                  <a:pt x="2852614" y="1059535"/>
                  <a:pt x="2851247" y="1060446"/>
                </a:cubicBezTo>
                <a:close/>
                <a:moveTo>
                  <a:pt x="3075830" y="1059535"/>
                </a:moveTo>
                <a:cubicBezTo>
                  <a:pt x="3079474" y="1066824"/>
                  <a:pt x="3081297" y="1077757"/>
                  <a:pt x="3090407" y="1068646"/>
                </a:cubicBezTo>
                <a:cubicBezTo>
                  <a:pt x="3092230" y="1065002"/>
                  <a:pt x="3086763" y="1066824"/>
                  <a:pt x="3086763" y="1063180"/>
                </a:cubicBezTo>
                <a:cubicBezTo>
                  <a:pt x="3081297" y="1066824"/>
                  <a:pt x="3083119" y="1059535"/>
                  <a:pt x="3075830" y="1059535"/>
                </a:cubicBezTo>
                <a:close/>
                <a:moveTo>
                  <a:pt x="1155259" y="1059535"/>
                </a:moveTo>
                <a:cubicBezTo>
                  <a:pt x="1153436" y="1057713"/>
                  <a:pt x="1149792" y="1059535"/>
                  <a:pt x="1147970" y="1061358"/>
                </a:cubicBezTo>
                <a:cubicBezTo>
                  <a:pt x="1147970" y="1063180"/>
                  <a:pt x="1147970" y="1063180"/>
                  <a:pt x="1149792" y="1063180"/>
                </a:cubicBezTo>
                <a:cubicBezTo>
                  <a:pt x="1151614" y="1065002"/>
                  <a:pt x="1153436" y="1061358"/>
                  <a:pt x="1155259" y="1059535"/>
                </a:cubicBezTo>
                <a:close/>
                <a:moveTo>
                  <a:pt x="1022240" y="1059535"/>
                </a:moveTo>
                <a:lnTo>
                  <a:pt x="1026405" y="1060577"/>
                </a:lnTo>
                <a:lnTo>
                  <a:pt x="1027023" y="1061814"/>
                </a:lnTo>
                <a:cubicBezTo>
                  <a:pt x="1027707" y="1061814"/>
                  <a:pt x="1028618" y="1061358"/>
                  <a:pt x="1029529" y="1061358"/>
                </a:cubicBezTo>
                <a:lnTo>
                  <a:pt x="1026405" y="1060577"/>
                </a:lnTo>
                <a:lnTo>
                  <a:pt x="1025884" y="1059535"/>
                </a:lnTo>
                <a:cubicBezTo>
                  <a:pt x="1024062" y="1057713"/>
                  <a:pt x="1024062" y="1061358"/>
                  <a:pt x="1022240" y="1059535"/>
                </a:cubicBezTo>
                <a:close/>
                <a:moveTo>
                  <a:pt x="1005840" y="1059535"/>
                </a:moveTo>
                <a:cubicBezTo>
                  <a:pt x="1002196" y="1063180"/>
                  <a:pt x="1004018" y="1066824"/>
                  <a:pt x="1002196" y="1070469"/>
                </a:cubicBezTo>
                <a:cubicBezTo>
                  <a:pt x="1007663" y="1072291"/>
                  <a:pt x="1002196" y="1074113"/>
                  <a:pt x="1004018" y="1075935"/>
                </a:cubicBezTo>
                <a:cubicBezTo>
                  <a:pt x="1005840" y="1070469"/>
                  <a:pt x="1011307" y="1065002"/>
                  <a:pt x="1007663" y="1059535"/>
                </a:cubicBezTo>
                <a:cubicBezTo>
                  <a:pt x="1005840" y="1059535"/>
                  <a:pt x="1005840" y="1061358"/>
                  <a:pt x="1005840" y="1059535"/>
                </a:cubicBezTo>
                <a:close/>
                <a:moveTo>
                  <a:pt x="366257" y="1059535"/>
                </a:moveTo>
                <a:cubicBezTo>
                  <a:pt x="366257" y="1061358"/>
                  <a:pt x="371724" y="1066824"/>
                  <a:pt x="373546" y="1066824"/>
                </a:cubicBezTo>
                <a:cubicBezTo>
                  <a:pt x="375368" y="1066824"/>
                  <a:pt x="373546" y="1065002"/>
                  <a:pt x="373546" y="1063180"/>
                </a:cubicBezTo>
                <a:cubicBezTo>
                  <a:pt x="369902" y="1059535"/>
                  <a:pt x="368079" y="1061358"/>
                  <a:pt x="366257" y="1059535"/>
                </a:cubicBezTo>
                <a:close/>
                <a:moveTo>
                  <a:pt x="209550" y="1059535"/>
                </a:moveTo>
                <a:cubicBezTo>
                  <a:pt x="215017" y="1066824"/>
                  <a:pt x="224128" y="1068646"/>
                  <a:pt x="229594" y="1074113"/>
                </a:cubicBezTo>
                <a:cubicBezTo>
                  <a:pt x="225950" y="1066824"/>
                  <a:pt x="215017" y="1063180"/>
                  <a:pt x="209550" y="1059535"/>
                </a:cubicBezTo>
                <a:close/>
                <a:moveTo>
                  <a:pt x="163996" y="1059535"/>
                </a:moveTo>
                <a:lnTo>
                  <a:pt x="171845" y="1064020"/>
                </a:lnTo>
                <a:lnTo>
                  <a:pt x="172681" y="1064595"/>
                </a:lnTo>
                <a:lnTo>
                  <a:pt x="167925" y="1061990"/>
                </a:lnTo>
                <a:close/>
                <a:moveTo>
                  <a:pt x="149419" y="1059535"/>
                </a:moveTo>
                <a:cubicBezTo>
                  <a:pt x="151241" y="1061358"/>
                  <a:pt x="160352" y="1068646"/>
                  <a:pt x="163996" y="1072291"/>
                </a:cubicBezTo>
                <a:cubicBezTo>
                  <a:pt x="160352" y="1068646"/>
                  <a:pt x="153063" y="1059535"/>
                  <a:pt x="149419" y="1059535"/>
                </a:cubicBezTo>
                <a:close/>
                <a:moveTo>
                  <a:pt x="1187884" y="1057886"/>
                </a:moveTo>
                <a:lnTo>
                  <a:pt x="1188058" y="1061358"/>
                </a:lnTo>
                <a:cubicBezTo>
                  <a:pt x="1189880" y="1063180"/>
                  <a:pt x="1191703" y="1059535"/>
                  <a:pt x="1193525" y="1061358"/>
                </a:cubicBezTo>
                <a:cubicBezTo>
                  <a:pt x="1193525" y="1061358"/>
                  <a:pt x="1191703" y="1061358"/>
                  <a:pt x="1189880" y="1061813"/>
                </a:cubicBezTo>
                <a:lnTo>
                  <a:pt x="1188369" y="1063135"/>
                </a:lnTo>
                <a:lnTo>
                  <a:pt x="1188513" y="1062269"/>
                </a:lnTo>
                <a:cubicBezTo>
                  <a:pt x="1188513" y="1061357"/>
                  <a:pt x="1188058" y="1060446"/>
                  <a:pt x="1186236" y="1059535"/>
                </a:cubicBezTo>
                <a:close/>
                <a:moveTo>
                  <a:pt x="1188058" y="1057713"/>
                </a:moveTo>
                <a:lnTo>
                  <a:pt x="1187884" y="1057886"/>
                </a:lnTo>
                <a:lnTo>
                  <a:pt x="1187882" y="1057845"/>
                </a:lnTo>
                <a:close/>
                <a:moveTo>
                  <a:pt x="916555" y="1057713"/>
                </a:moveTo>
                <a:cubicBezTo>
                  <a:pt x="914732" y="1057713"/>
                  <a:pt x="916555" y="1059535"/>
                  <a:pt x="916555" y="1059535"/>
                </a:cubicBezTo>
                <a:cubicBezTo>
                  <a:pt x="916555" y="1059535"/>
                  <a:pt x="914732" y="1059535"/>
                  <a:pt x="914732" y="1061358"/>
                </a:cubicBezTo>
                <a:cubicBezTo>
                  <a:pt x="914732" y="1063180"/>
                  <a:pt x="914732" y="1068646"/>
                  <a:pt x="918376" y="1068646"/>
                </a:cubicBezTo>
                <a:cubicBezTo>
                  <a:pt x="918376" y="1065002"/>
                  <a:pt x="918376" y="1061358"/>
                  <a:pt x="916555" y="1057713"/>
                </a:cubicBezTo>
                <a:close/>
                <a:moveTo>
                  <a:pt x="896510" y="1057713"/>
                </a:moveTo>
                <a:cubicBezTo>
                  <a:pt x="891043" y="1063180"/>
                  <a:pt x="891043" y="1068646"/>
                  <a:pt x="892866" y="1075935"/>
                </a:cubicBezTo>
                <a:cubicBezTo>
                  <a:pt x="896510" y="1072291"/>
                  <a:pt x="901976" y="1068646"/>
                  <a:pt x="903799" y="1065002"/>
                </a:cubicBezTo>
                <a:cubicBezTo>
                  <a:pt x="901976" y="1061358"/>
                  <a:pt x="898333" y="1061358"/>
                  <a:pt x="896510" y="1057713"/>
                </a:cubicBezTo>
                <a:close/>
                <a:moveTo>
                  <a:pt x="721581" y="1057713"/>
                </a:moveTo>
                <a:cubicBezTo>
                  <a:pt x="717937" y="1063180"/>
                  <a:pt x="725226" y="1072291"/>
                  <a:pt x="728870" y="1068646"/>
                </a:cubicBezTo>
                <a:cubicBezTo>
                  <a:pt x="728870" y="1065002"/>
                  <a:pt x="723404" y="1059535"/>
                  <a:pt x="721581" y="1057713"/>
                </a:cubicBezTo>
                <a:close/>
                <a:moveTo>
                  <a:pt x="298153" y="1057029"/>
                </a:moveTo>
                <a:cubicBezTo>
                  <a:pt x="294737" y="1055891"/>
                  <a:pt x="291549" y="1055891"/>
                  <a:pt x="289726" y="1057713"/>
                </a:cubicBezTo>
                <a:cubicBezTo>
                  <a:pt x="297015" y="1059535"/>
                  <a:pt x="302481" y="1059535"/>
                  <a:pt x="307948" y="1063180"/>
                </a:cubicBezTo>
                <a:cubicBezTo>
                  <a:pt x="305214" y="1060446"/>
                  <a:pt x="301570" y="1058169"/>
                  <a:pt x="298153" y="1057029"/>
                </a:cubicBezTo>
                <a:close/>
                <a:moveTo>
                  <a:pt x="3225248" y="1055891"/>
                </a:moveTo>
                <a:cubicBezTo>
                  <a:pt x="3212493" y="1061358"/>
                  <a:pt x="3197916" y="1066824"/>
                  <a:pt x="3192449" y="1079579"/>
                </a:cubicBezTo>
                <a:cubicBezTo>
                  <a:pt x="3192449" y="1077757"/>
                  <a:pt x="3190627" y="1077757"/>
                  <a:pt x="3188805" y="1077757"/>
                </a:cubicBezTo>
                <a:cubicBezTo>
                  <a:pt x="3188805" y="1081402"/>
                  <a:pt x="3185160" y="1081402"/>
                  <a:pt x="3186982" y="1085046"/>
                </a:cubicBezTo>
                <a:cubicBezTo>
                  <a:pt x="3192449" y="1086868"/>
                  <a:pt x="3188805" y="1079579"/>
                  <a:pt x="3192449" y="1079579"/>
                </a:cubicBezTo>
                <a:cubicBezTo>
                  <a:pt x="3192449" y="1083224"/>
                  <a:pt x="3190627" y="1085046"/>
                  <a:pt x="3190627" y="1090512"/>
                </a:cubicBezTo>
                <a:lnTo>
                  <a:pt x="3191842" y="1091120"/>
                </a:lnTo>
                <a:lnTo>
                  <a:pt x="3185160" y="1090512"/>
                </a:lnTo>
                <a:cubicBezTo>
                  <a:pt x="3185160" y="1095979"/>
                  <a:pt x="3190627" y="1094157"/>
                  <a:pt x="3188805" y="1099623"/>
                </a:cubicBezTo>
                <a:cubicBezTo>
                  <a:pt x="3190627" y="1097801"/>
                  <a:pt x="3196093" y="1099623"/>
                  <a:pt x="3196093" y="1095979"/>
                </a:cubicBezTo>
                <a:lnTo>
                  <a:pt x="3193056" y="1091727"/>
                </a:lnTo>
                <a:lnTo>
                  <a:pt x="3197916" y="1094157"/>
                </a:lnTo>
                <a:cubicBezTo>
                  <a:pt x="3207027" y="1090512"/>
                  <a:pt x="3210671" y="1083224"/>
                  <a:pt x="3221604" y="1081402"/>
                </a:cubicBezTo>
                <a:cubicBezTo>
                  <a:pt x="3221604" y="1075935"/>
                  <a:pt x="3219782" y="1074113"/>
                  <a:pt x="3217960" y="1072291"/>
                </a:cubicBezTo>
                <a:cubicBezTo>
                  <a:pt x="3221604" y="1068646"/>
                  <a:pt x="3221604" y="1061358"/>
                  <a:pt x="3225248" y="1055891"/>
                </a:cubicBezTo>
                <a:close/>
                <a:moveTo>
                  <a:pt x="2377937" y="1055891"/>
                </a:moveTo>
                <a:cubicBezTo>
                  <a:pt x="2372471" y="1055891"/>
                  <a:pt x="2374293" y="1061358"/>
                  <a:pt x="2372471" y="1065002"/>
                </a:cubicBezTo>
                <a:cubicBezTo>
                  <a:pt x="2377937" y="1063180"/>
                  <a:pt x="2377937" y="1059535"/>
                  <a:pt x="2377937" y="1055891"/>
                </a:cubicBezTo>
                <a:close/>
                <a:moveTo>
                  <a:pt x="1175303" y="1055891"/>
                </a:moveTo>
                <a:cubicBezTo>
                  <a:pt x="1173481" y="1054069"/>
                  <a:pt x="1164370" y="1057713"/>
                  <a:pt x="1169836" y="1061358"/>
                </a:cubicBezTo>
                <a:cubicBezTo>
                  <a:pt x="1173481" y="1059535"/>
                  <a:pt x="1175303" y="1059535"/>
                  <a:pt x="1175303" y="1055891"/>
                </a:cubicBezTo>
                <a:close/>
                <a:moveTo>
                  <a:pt x="1104238" y="1055891"/>
                </a:moveTo>
                <a:cubicBezTo>
                  <a:pt x="1102416" y="1054069"/>
                  <a:pt x="1098771" y="1055891"/>
                  <a:pt x="1098771" y="1057713"/>
                </a:cubicBezTo>
                <a:cubicBezTo>
                  <a:pt x="1098771" y="1059535"/>
                  <a:pt x="1100593" y="1059535"/>
                  <a:pt x="1102416" y="1057713"/>
                </a:cubicBezTo>
                <a:cubicBezTo>
                  <a:pt x="1100593" y="1057713"/>
                  <a:pt x="1102416" y="1057713"/>
                  <a:pt x="1104238" y="1055891"/>
                </a:cubicBezTo>
                <a:close/>
                <a:moveTo>
                  <a:pt x="974863" y="1055891"/>
                </a:moveTo>
                <a:cubicBezTo>
                  <a:pt x="974863" y="1059535"/>
                  <a:pt x="974863" y="1061358"/>
                  <a:pt x="976686" y="1065002"/>
                </a:cubicBezTo>
                <a:cubicBezTo>
                  <a:pt x="978508" y="1063180"/>
                  <a:pt x="978508" y="1065002"/>
                  <a:pt x="980330" y="1063180"/>
                </a:cubicBezTo>
                <a:cubicBezTo>
                  <a:pt x="976686" y="1059535"/>
                  <a:pt x="976686" y="1057713"/>
                  <a:pt x="974863" y="1055891"/>
                </a:cubicBezTo>
                <a:close/>
                <a:moveTo>
                  <a:pt x="973041" y="1055891"/>
                </a:moveTo>
                <a:cubicBezTo>
                  <a:pt x="969397" y="1063180"/>
                  <a:pt x="967575" y="1072291"/>
                  <a:pt x="971219" y="1079579"/>
                </a:cubicBezTo>
                <a:cubicBezTo>
                  <a:pt x="974863" y="1079579"/>
                  <a:pt x="976686" y="1081402"/>
                  <a:pt x="980330" y="1081402"/>
                </a:cubicBezTo>
                <a:cubicBezTo>
                  <a:pt x="983974" y="1075935"/>
                  <a:pt x="980330" y="1066824"/>
                  <a:pt x="973041" y="1065002"/>
                </a:cubicBezTo>
                <a:cubicBezTo>
                  <a:pt x="976686" y="1065002"/>
                  <a:pt x="974863" y="1059535"/>
                  <a:pt x="973041" y="1055891"/>
                </a:cubicBezTo>
                <a:close/>
                <a:moveTo>
                  <a:pt x="741626" y="1055891"/>
                </a:moveTo>
                <a:cubicBezTo>
                  <a:pt x="739803" y="1059535"/>
                  <a:pt x="748914" y="1065002"/>
                  <a:pt x="748914" y="1059535"/>
                </a:cubicBezTo>
                <a:cubicBezTo>
                  <a:pt x="745269" y="1055891"/>
                  <a:pt x="743447" y="1059535"/>
                  <a:pt x="741626" y="1055891"/>
                </a:cubicBezTo>
                <a:close/>
                <a:moveTo>
                  <a:pt x="431856" y="1055891"/>
                </a:moveTo>
                <a:cubicBezTo>
                  <a:pt x="428211" y="1059535"/>
                  <a:pt x="437322" y="1066824"/>
                  <a:pt x="442789" y="1066824"/>
                </a:cubicBezTo>
                <a:cubicBezTo>
                  <a:pt x="442789" y="1063180"/>
                  <a:pt x="433678" y="1057713"/>
                  <a:pt x="431856" y="1055891"/>
                </a:cubicBezTo>
                <a:close/>
                <a:moveTo>
                  <a:pt x="344391" y="1055891"/>
                </a:moveTo>
                <a:cubicBezTo>
                  <a:pt x="344391" y="1059535"/>
                  <a:pt x="353502" y="1065002"/>
                  <a:pt x="357146" y="1072291"/>
                </a:cubicBezTo>
                <a:cubicBezTo>
                  <a:pt x="357146" y="1066824"/>
                  <a:pt x="349858" y="1061358"/>
                  <a:pt x="344391" y="1055891"/>
                </a:cubicBezTo>
                <a:close/>
                <a:moveTo>
                  <a:pt x="338926" y="1055891"/>
                </a:moveTo>
                <a:cubicBezTo>
                  <a:pt x="337102" y="1057713"/>
                  <a:pt x="338926" y="1059535"/>
                  <a:pt x="335280" y="1057713"/>
                </a:cubicBezTo>
                <a:cubicBezTo>
                  <a:pt x="337102" y="1063180"/>
                  <a:pt x="349858" y="1068646"/>
                  <a:pt x="355324" y="1070469"/>
                </a:cubicBezTo>
                <a:cubicBezTo>
                  <a:pt x="351680" y="1065002"/>
                  <a:pt x="344391" y="1059535"/>
                  <a:pt x="338926" y="1055891"/>
                </a:cubicBezTo>
                <a:close/>
                <a:moveTo>
                  <a:pt x="2364271" y="1054980"/>
                </a:moveTo>
                <a:cubicBezTo>
                  <a:pt x="2360171" y="1054980"/>
                  <a:pt x="2355160" y="1056802"/>
                  <a:pt x="2352427" y="1059535"/>
                </a:cubicBezTo>
                <a:cubicBezTo>
                  <a:pt x="2354249" y="1063180"/>
                  <a:pt x="2354249" y="1059535"/>
                  <a:pt x="2357893" y="1059535"/>
                </a:cubicBezTo>
                <a:cubicBezTo>
                  <a:pt x="2359716" y="1066824"/>
                  <a:pt x="2359716" y="1077757"/>
                  <a:pt x="2370649" y="1077757"/>
                </a:cubicBezTo>
                <a:cubicBezTo>
                  <a:pt x="2374293" y="1068646"/>
                  <a:pt x="2365182" y="1065002"/>
                  <a:pt x="2363360" y="1059535"/>
                </a:cubicBezTo>
                <a:cubicBezTo>
                  <a:pt x="2368827" y="1055891"/>
                  <a:pt x="2365182" y="1063180"/>
                  <a:pt x="2370649" y="1061358"/>
                </a:cubicBezTo>
                <a:cubicBezTo>
                  <a:pt x="2371560" y="1056802"/>
                  <a:pt x="2368371" y="1054980"/>
                  <a:pt x="2364271" y="1054980"/>
                </a:cubicBezTo>
                <a:close/>
                <a:moveTo>
                  <a:pt x="2773531" y="1054888"/>
                </a:moveTo>
                <a:lnTo>
                  <a:pt x="2773349" y="1055891"/>
                </a:lnTo>
                <a:cubicBezTo>
                  <a:pt x="2764238" y="1063180"/>
                  <a:pt x="2758772" y="1065002"/>
                  <a:pt x="2753305" y="1075935"/>
                </a:cubicBezTo>
                <a:cubicBezTo>
                  <a:pt x="2753305" y="1070468"/>
                  <a:pt x="2756039" y="1065457"/>
                  <a:pt x="2760138" y="1061585"/>
                </a:cubicBezTo>
                <a:close/>
                <a:moveTo>
                  <a:pt x="266265" y="1054752"/>
                </a:moveTo>
                <a:cubicBezTo>
                  <a:pt x="264672" y="1054524"/>
                  <a:pt x="263304" y="1054980"/>
                  <a:pt x="264216" y="1055891"/>
                </a:cubicBezTo>
                <a:cubicBezTo>
                  <a:pt x="267860" y="1057713"/>
                  <a:pt x="267860" y="1055891"/>
                  <a:pt x="269682" y="1057713"/>
                </a:cubicBezTo>
                <a:cubicBezTo>
                  <a:pt x="269682" y="1055891"/>
                  <a:pt x="267860" y="1054980"/>
                  <a:pt x="266265" y="1054752"/>
                </a:cubicBezTo>
                <a:close/>
                <a:moveTo>
                  <a:pt x="1751109" y="1054222"/>
                </a:moveTo>
                <a:cubicBezTo>
                  <a:pt x="1767509" y="1054222"/>
                  <a:pt x="1749287" y="1065157"/>
                  <a:pt x="1789376" y="1068802"/>
                </a:cubicBezTo>
                <a:lnTo>
                  <a:pt x="1782086" y="1083374"/>
                </a:lnTo>
                <a:cubicBezTo>
                  <a:pt x="1791197" y="1094310"/>
                  <a:pt x="1789376" y="1066979"/>
                  <a:pt x="1789376" y="1097955"/>
                </a:cubicBezTo>
                <a:lnTo>
                  <a:pt x="1789376" y="1105245"/>
                </a:lnTo>
                <a:cubicBezTo>
                  <a:pt x="1789376" y="1123461"/>
                  <a:pt x="1769331" y="1134399"/>
                  <a:pt x="1758398" y="1150797"/>
                </a:cubicBezTo>
                <a:lnTo>
                  <a:pt x="1712844" y="1134399"/>
                </a:lnTo>
                <a:cubicBezTo>
                  <a:pt x="1703733" y="1103422"/>
                  <a:pt x="1696444" y="1121638"/>
                  <a:pt x="1696444" y="1097955"/>
                </a:cubicBezTo>
                <a:cubicBezTo>
                  <a:pt x="1696444" y="1087018"/>
                  <a:pt x="1703733" y="1087018"/>
                  <a:pt x="1712844" y="1083374"/>
                </a:cubicBezTo>
                <a:lnTo>
                  <a:pt x="1705555" y="1068802"/>
                </a:lnTo>
                <a:cubicBezTo>
                  <a:pt x="1751109" y="1065157"/>
                  <a:pt x="1721955" y="1054222"/>
                  <a:pt x="1751109" y="1054222"/>
                </a:cubicBezTo>
                <a:close/>
                <a:moveTo>
                  <a:pt x="1118815" y="1054069"/>
                </a:moveTo>
                <a:cubicBezTo>
                  <a:pt x="1118815" y="1054069"/>
                  <a:pt x="1116993" y="1055891"/>
                  <a:pt x="1116993" y="1055891"/>
                </a:cubicBezTo>
                <a:cubicBezTo>
                  <a:pt x="1120637" y="1061358"/>
                  <a:pt x="1126104" y="1057713"/>
                  <a:pt x="1129748" y="1055891"/>
                </a:cubicBezTo>
                <a:cubicBezTo>
                  <a:pt x="1126104" y="1055891"/>
                  <a:pt x="1122459" y="1057713"/>
                  <a:pt x="1118815" y="1054069"/>
                </a:cubicBezTo>
                <a:close/>
                <a:moveTo>
                  <a:pt x="1065972" y="1054069"/>
                </a:moveTo>
                <a:cubicBezTo>
                  <a:pt x="1064151" y="1054069"/>
                  <a:pt x="1062328" y="1055891"/>
                  <a:pt x="1064151" y="1057713"/>
                </a:cubicBezTo>
                <a:cubicBezTo>
                  <a:pt x="1065972" y="1057713"/>
                  <a:pt x="1065972" y="1055891"/>
                  <a:pt x="1067794" y="1055891"/>
                </a:cubicBezTo>
                <a:cubicBezTo>
                  <a:pt x="1067794" y="1054069"/>
                  <a:pt x="1065972" y="1055891"/>
                  <a:pt x="1065972" y="1054069"/>
                </a:cubicBezTo>
                <a:close/>
                <a:moveTo>
                  <a:pt x="903799" y="1054069"/>
                </a:moveTo>
                <a:cubicBezTo>
                  <a:pt x="907444" y="1052247"/>
                  <a:pt x="905621" y="1059535"/>
                  <a:pt x="909265" y="1059535"/>
                </a:cubicBezTo>
                <a:cubicBezTo>
                  <a:pt x="907444" y="1057713"/>
                  <a:pt x="905621" y="1057713"/>
                  <a:pt x="903799" y="1059535"/>
                </a:cubicBezTo>
                <a:cubicBezTo>
                  <a:pt x="903799" y="1057713"/>
                  <a:pt x="907444" y="1055891"/>
                  <a:pt x="903799" y="1054069"/>
                </a:cubicBezTo>
                <a:close/>
                <a:moveTo>
                  <a:pt x="856422" y="1054069"/>
                </a:moveTo>
                <a:cubicBezTo>
                  <a:pt x="854600" y="1059535"/>
                  <a:pt x="850956" y="1057713"/>
                  <a:pt x="849133" y="1059535"/>
                </a:cubicBezTo>
                <a:cubicBezTo>
                  <a:pt x="849133" y="1068646"/>
                  <a:pt x="854600" y="1077757"/>
                  <a:pt x="863711" y="1083224"/>
                </a:cubicBezTo>
                <a:cubicBezTo>
                  <a:pt x="863711" y="1079579"/>
                  <a:pt x="861889" y="1075935"/>
                  <a:pt x="858244" y="1072291"/>
                </a:cubicBezTo>
                <a:cubicBezTo>
                  <a:pt x="861889" y="1074113"/>
                  <a:pt x="863711" y="1074113"/>
                  <a:pt x="865533" y="1072291"/>
                </a:cubicBezTo>
                <a:cubicBezTo>
                  <a:pt x="863711" y="1066824"/>
                  <a:pt x="860066" y="1059535"/>
                  <a:pt x="856422" y="1054069"/>
                </a:cubicBezTo>
                <a:close/>
                <a:moveTo>
                  <a:pt x="453722" y="1054069"/>
                </a:moveTo>
                <a:cubicBezTo>
                  <a:pt x="455544" y="1061358"/>
                  <a:pt x="464655" y="1063180"/>
                  <a:pt x="470121" y="1068646"/>
                </a:cubicBezTo>
                <a:cubicBezTo>
                  <a:pt x="470121" y="1063180"/>
                  <a:pt x="459188" y="1054069"/>
                  <a:pt x="453722" y="1054069"/>
                </a:cubicBezTo>
                <a:close/>
                <a:moveTo>
                  <a:pt x="377190" y="1054069"/>
                </a:moveTo>
                <a:cubicBezTo>
                  <a:pt x="375368" y="1055891"/>
                  <a:pt x="375368" y="1055891"/>
                  <a:pt x="373546" y="1055891"/>
                </a:cubicBezTo>
                <a:cubicBezTo>
                  <a:pt x="373546" y="1059535"/>
                  <a:pt x="373546" y="1063180"/>
                  <a:pt x="377190" y="1066824"/>
                </a:cubicBezTo>
                <a:cubicBezTo>
                  <a:pt x="379012" y="1065002"/>
                  <a:pt x="386301" y="1066824"/>
                  <a:pt x="388123" y="1063180"/>
                </a:cubicBezTo>
                <a:cubicBezTo>
                  <a:pt x="382657" y="1059535"/>
                  <a:pt x="380835" y="1059535"/>
                  <a:pt x="377190" y="1054069"/>
                </a:cubicBezTo>
                <a:close/>
                <a:moveTo>
                  <a:pt x="251460" y="1054069"/>
                </a:moveTo>
                <a:cubicBezTo>
                  <a:pt x="251460" y="1057713"/>
                  <a:pt x="258749" y="1061358"/>
                  <a:pt x="260571" y="1059535"/>
                </a:cubicBezTo>
                <a:cubicBezTo>
                  <a:pt x="258749" y="1055891"/>
                  <a:pt x="253282" y="1057713"/>
                  <a:pt x="251460" y="1054069"/>
                </a:cubicBezTo>
                <a:close/>
                <a:moveTo>
                  <a:pt x="187684" y="1054069"/>
                </a:moveTo>
                <a:cubicBezTo>
                  <a:pt x="191329" y="1063180"/>
                  <a:pt x="200439" y="1061358"/>
                  <a:pt x="205906" y="1068646"/>
                </a:cubicBezTo>
                <a:cubicBezTo>
                  <a:pt x="204084" y="1061358"/>
                  <a:pt x="193151" y="1057713"/>
                  <a:pt x="187684" y="1054069"/>
                </a:cubicBezTo>
                <a:close/>
                <a:moveTo>
                  <a:pt x="176751" y="1054069"/>
                </a:moveTo>
                <a:cubicBezTo>
                  <a:pt x="176751" y="1055891"/>
                  <a:pt x="178573" y="1061358"/>
                  <a:pt x="182218" y="1061358"/>
                </a:cubicBezTo>
                <a:cubicBezTo>
                  <a:pt x="184040" y="1057713"/>
                  <a:pt x="178573" y="1055891"/>
                  <a:pt x="176751" y="1054069"/>
                </a:cubicBezTo>
                <a:close/>
                <a:moveTo>
                  <a:pt x="1052359" y="1053640"/>
                </a:moveTo>
                <a:lnTo>
                  <a:pt x="1051568" y="1054589"/>
                </a:lnTo>
                <a:lnTo>
                  <a:pt x="1051395" y="1054069"/>
                </a:lnTo>
                <a:close/>
                <a:moveTo>
                  <a:pt x="2817081" y="1052247"/>
                </a:moveTo>
                <a:cubicBezTo>
                  <a:pt x="2813437" y="1052247"/>
                  <a:pt x="2811615" y="1055891"/>
                  <a:pt x="2809793" y="1054069"/>
                </a:cubicBezTo>
                <a:cubicBezTo>
                  <a:pt x="2807971" y="1061358"/>
                  <a:pt x="2811615" y="1072291"/>
                  <a:pt x="2820726" y="1074113"/>
                </a:cubicBezTo>
                <a:cubicBezTo>
                  <a:pt x="2828014" y="1075935"/>
                  <a:pt x="2817081" y="1079579"/>
                  <a:pt x="2818903" y="1083224"/>
                </a:cubicBezTo>
                <a:cubicBezTo>
                  <a:pt x="2820726" y="1085046"/>
                  <a:pt x="2824370" y="1085046"/>
                  <a:pt x="2826192" y="1085046"/>
                </a:cubicBezTo>
                <a:cubicBezTo>
                  <a:pt x="2831659" y="1074113"/>
                  <a:pt x="2818903" y="1057713"/>
                  <a:pt x="2817081" y="1052247"/>
                </a:cubicBezTo>
                <a:close/>
                <a:moveTo>
                  <a:pt x="2434425" y="1052247"/>
                </a:moveTo>
                <a:cubicBezTo>
                  <a:pt x="2428958" y="1055891"/>
                  <a:pt x="2436247" y="1061358"/>
                  <a:pt x="2438069" y="1068646"/>
                </a:cubicBezTo>
                <a:cubicBezTo>
                  <a:pt x="2445358" y="1066824"/>
                  <a:pt x="2447180" y="1061358"/>
                  <a:pt x="2447180" y="1055891"/>
                </a:cubicBezTo>
                <a:cubicBezTo>
                  <a:pt x="2443536" y="1055891"/>
                  <a:pt x="2443536" y="1057713"/>
                  <a:pt x="2443536" y="1059535"/>
                </a:cubicBezTo>
                <a:cubicBezTo>
                  <a:pt x="2439891" y="1059535"/>
                  <a:pt x="2441713" y="1055891"/>
                  <a:pt x="2441713" y="1052247"/>
                </a:cubicBezTo>
                <a:cubicBezTo>
                  <a:pt x="2439891" y="1050425"/>
                  <a:pt x="2434425" y="1054069"/>
                  <a:pt x="2434425" y="1052247"/>
                </a:cubicBezTo>
                <a:close/>
                <a:moveTo>
                  <a:pt x="810868" y="1052247"/>
                </a:moveTo>
                <a:cubicBezTo>
                  <a:pt x="809046" y="1055891"/>
                  <a:pt x="814512" y="1055891"/>
                  <a:pt x="816334" y="1061358"/>
                </a:cubicBezTo>
                <a:cubicBezTo>
                  <a:pt x="816334" y="1057713"/>
                  <a:pt x="814512" y="1052247"/>
                  <a:pt x="810868" y="1052247"/>
                </a:cubicBezTo>
                <a:close/>
                <a:moveTo>
                  <a:pt x="807223" y="1052247"/>
                </a:moveTo>
                <a:cubicBezTo>
                  <a:pt x="801757" y="1061358"/>
                  <a:pt x="803579" y="1072291"/>
                  <a:pt x="810868" y="1081402"/>
                </a:cubicBezTo>
                <a:cubicBezTo>
                  <a:pt x="814512" y="1079579"/>
                  <a:pt x="816334" y="1075935"/>
                  <a:pt x="819979" y="1074113"/>
                </a:cubicBezTo>
                <a:cubicBezTo>
                  <a:pt x="816334" y="1070468"/>
                  <a:pt x="814057" y="1069557"/>
                  <a:pt x="812918" y="1068191"/>
                </a:cubicBezTo>
                <a:lnTo>
                  <a:pt x="812740" y="1061424"/>
                </a:lnTo>
                <a:lnTo>
                  <a:pt x="815424" y="1065002"/>
                </a:lnTo>
                <a:cubicBezTo>
                  <a:pt x="816790" y="1065457"/>
                  <a:pt x="818156" y="1065913"/>
                  <a:pt x="818156" y="1068646"/>
                </a:cubicBezTo>
                <a:cubicBezTo>
                  <a:pt x="819978" y="1066824"/>
                  <a:pt x="819067" y="1065457"/>
                  <a:pt x="817473" y="1064318"/>
                </a:cubicBezTo>
                <a:lnTo>
                  <a:pt x="812739" y="1061388"/>
                </a:lnTo>
                <a:lnTo>
                  <a:pt x="812690" y="1059535"/>
                </a:lnTo>
                <a:cubicBezTo>
                  <a:pt x="809046" y="1055891"/>
                  <a:pt x="810868" y="1055891"/>
                  <a:pt x="807223" y="1052247"/>
                </a:cubicBezTo>
                <a:close/>
                <a:moveTo>
                  <a:pt x="781713" y="1052247"/>
                </a:moveTo>
                <a:cubicBezTo>
                  <a:pt x="779892" y="1054069"/>
                  <a:pt x="778070" y="1057713"/>
                  <a:pt x="779892" y="1061358"/>
                </a:cubicBezTo>
                <a:cubicBezTo>
                  <a:pt x="779892" y="1061358"/>
                  <a:pt x="781713" y="1059535"/>
                  <a:pt x="781713" y="1059535"/>
                </a:cubicBezTo>
                <a:cubicBezTo>
                  <a:pt x="781713" y="1063180"/>
                  <a:pt x="779892" y="1063180"/>
                  <a:pt x="778070" y="1065002"/>
                </a:cubicBezTo>
                <a:cubicBezTo>
                  <a:pt x="781713" y="1066824"/>
                  <a:pt x="785357" y="1068646"/>
                  <a:pt x="789003" y="1066824"/>
                </a:cubicBezTo>
                <a:cubicBezTo>
                  <a:pt x="785357" y="1061358"/>
                  <a:pt x="783535" y="1057713"/>
                  <a:pt x="781713" y="1052247"/>
                </a:cubicBezTo>
                <a:close/>
                <a:moveTo>
                  <a:pt x="750737" y="1052247"/>
                </a:moveTo>
                <a:cubicBezTo>
                  <a:pt x="745269" y="1052247"/>
                  <a:pt x="750737" y="1065002"/>
                  <a:pt x="754380" y="1061358"/>
                </a:cubicBezTo>
                <a:cubicBezTo>
                  <a:pt x="752558" y="1057713"/>
                  <a:pt x="754380" y="1055891"/>
                  <a:pt x="750737" y="1052247"/>
                </a:cubicBezTo>
                <a:close/>
                <a:moveTo>
                  <a:pt x="721581" y="1052247"/>
                </a:moveTo>
                <a:cubicBezTo>
                  <a:pt x="721581" y="1054069"/>
                  <a:pt x="719759" y="1052247"/>
                  <a:pt x="719759" y="1054069"/>
                </a:cubicBezTo>
                <a:cubicBezTo>
                  <a:pt x="721581" y="1054069"/>
                  <a:pt x="723404" y="1057713"/>
                  <a:pt x="723404" y="1059535"/>
                </a:cubicBezTo>
                <a:cubicBezTo>
                  <a:pt x="725226" y="1055891"/>
                  <a:pt x="723404" y="1054069"/>
                  <a:pt x="721581" y="1052247"/>
                </a:cubicBezTo>
                <a:close/>
                <a:moveTo>
                  <a:pt x="659627" y="1052247"/>
                </a:moveTo>
                <a:cubicBezTo>
                  <a:pt x="657805" y="1055891"/>
                  <a:pt x="665094" y="1055891"/>
                  <a:pt x="665094" y="1057713"/>
                </a:cubicBezTo>
                <a:cubicBezTo>
                  <a:pt x="666916" y="1055891"/>
                  <a:pt x="665094" y="1055891"/>
                  <a:pt x="666916" y="1054069"/>
                </a:cubicBezTo>
                <a:cubicBezTo>
                  <a:pt x="665094" y="1054069"/>
                  <a:pt x="661449" y="1052247"/>
                  <a:pt x="659627" y="1052247"/>
                </a:cubicBezTo>
                <a:close/>
                <a:moveTo>
                  <a:pt x="348037" y="1052247"/>
                </a:moveTo>
                <a:cubicBezTo>
                  <a:pt x="351680" y="1059535"/>
                  <a:pt x="364435" y="1074113"/>
                  <a:pt x="373546" y="1077757"/>
                </a:cubicBezTo>
                <a:cubicBezTo>
                  <a:pt x="375368" y="1075935"/>
                  <a:pt x="369902" y="1075935"/>
                  <a:pt x="368079" y="1072291"/>
                </a:cubicBezTo>
                <a:cubicBezTo>
                  <a:pt x="373546" y="1075935"/>
                  <a:pt x="369902" y="1068646"/>
                  <a:pt x="368079" y="1066824"/>
                </a:cubicBezTo>
                <a:cubicBezTo>
                  <a:pt x="364435" y="1065002"/>
                  <a:pt x="362613" y="1065002"/>
                  <a:pt x="360791" y="1065002"/>
                </a:cubicBezTo>
                <a:cubicBezTo>
                  <a:pt x="358969" y="1063180"/>
                  <a:pt x="362613" y="1065002"/>
                  <a:pt x="362613" y="1063180"/>
                </a:cubicBezTo>
                <a:cubicBezTo>
                  <a:pt x="357146" y="1055891"/>
                  <a:pt x="353502" y="1057713"/>
                  <a:pt x="348037" y="1052247"/>
                </a:cubicBezTo>
                <a:close/>
                <a:moveTo>
                  <a:pt x="2774134" y="1051578"/>
                </a:moveTo>
                <a:lnTo>
                  <a:pt x="2775171" y="1054069"/>
                </a:lnTo>
                <a:lnTo>
                  <a:pt x="2773531" y="1054888"/>
                </a:lnTo>
                <a:close/>
                <a:moveTo>
                  <a:pt x="2314161" y="1050425"/>
                </a:moveTo>
                <a:cubicBezTo>
                  <a:pt x="2314161" y="1052247"/>
                  <a:pt x="2314161" y="1052247"/>
                  <a:pt x="2315983" y="1052247"/>
                </a:cubicBezTo>
                <a:cubicBezTo>
                  <a:pt x="2315983" y="1052247"/>
                  <a:pt x="2317806" y="1050425"/>
                  <a:pt x="2317806" y="1052247"/>
                </a:cubicBezTo>
                <a:close/>
                <a:moveTo>
                  <a:pt x="1157081" y="1050425"/>
                </a:moveTo>
                <a:cubicBezTo>
                  <a:pt x="1157081" y="1052247"/>
                  <a:pt x="1155259" y="1052247"/>
                  <a:pt x="1155259" y="1052247"/>
                </a:cubicBezTo>
                <a:cubicBezTo>
                  <a:pt x="1157081" y="1054069"/>
                  <a:pt x="1158903" y="1054069"/>
                  <a:pt x="1160725" y="1052247"/>
                </a:cubicBezTo>
                <a:cubicBezTo>
                  <a:pt x="1158903" y="1050425"/>
                  <a:pt x="1158903" y="1052247"/>
                  <a:pt x="1157081" y="1050425"/>
                </a:cubicBezTo>
                <a:close/>
                <a:moveTo>
                  <a:pt x="1111526" y="1050425"/>
                </a:moveTo>
                <a:cubicBezTo>
                  <a:pt x="1109704" y="1052247"/>
                  <a:pt x="1115171" y="1050425"/>
                  <a:pt x="1116993" y="1054069"/>
                </a:cubicBezTo>
                <a:cubicBezTo>
                  <a:pt x="1116993" y="1054069"/>
                  <a:pt x="1118815" y="1052247"/>
                  <a:pt x="1118815" y="1052247"/>
                </a:cubicBezTo>
                <a:cubicBezTo>
                  <a:pt x="1116993" y="1050425"/>
                  <a:pt x="1113349" y="1052247"/>
                  <a:pt x="1111526" y="1050425"/>
                </a:cubicBezTo>
                <a:close/>
                <a:moveTo>
                  <a:pt x="1022240" y="1050425"/>
                </a:moveTo>
                <a:cubicBezTo>
                  <a:pt x="1020418" y="1055891"/>
                  <a:pt x="1018596" y="1055891"/>
                  <a:pt x="1020418" y="1059535"/>
                </a:cubicBezTo>
                <a:cubicBezTo>
                  <a:pt x="1022240" y="1057713"/>
                  <a:pt x="1020418" y="1054069"/>
                  <a:pt x="1024062" y="1052247"/>
                </a:cubicBezTo>
                <a:cubicBezTo>
                  <a:pt x="1024062" y="1052247"/>
                  <a:pt x="1022240" y="1050425"/>
                  <a:pt x="1022240" y="1050425"/>
                </a:cubicBezTo>
                <a:close/>
                <a:moveTo>
                  <a:pt x="891043" y="1050425"/>
                </a:moveTo>
                <a:cubicBezTo>
                  <a:pt x="889222" y="1054069"/>
                  <a:pt x="894688" y="1055891"/>
                  <a:pt x="891043" y="1059535"/>
                </a:cubicBezTo>
                <a:cubicBezTo>
                  <a:pt x="892866" y="1061358"/>
                  <a:pt x="892866" y="1055891"/>
                  <a:pt x="894688" y="1054069"/>
                </a:cubicBezTo>
                <a:cubicBezTo>
                  <a:pt x="892866" y="1054069"/>
                  <a:pt x="892866" y="1052247"/>
                  <a:pt x="891043" y="1050425"/>
                </a:cubicBezTo>
                <a:close/>
                <a:moveTo>
                  <a:pt x="196795" y="1050425"/>
                </a:moveTo>
                <a:lnTo>
                  <a:pt x="199225" y="1054069"/>
                </a:lnTo>
                <a:lnTo>
                  <a:pt x="198617" y="1054069"/>
                </a:lnTo>
                <a:cubicBezTo>
                  <a:pt x="196795" y="1055891"/>
                  <a:pt x="202262" y="1059535"/>
                  <a:pt x="204084" y="1061358"/>
                </a:cubicBezTo>
                <a:lnTo>
                  <a:pt x="199225" y="1054069"/>
                </a:lnTo>
                <a:lnTo>
                  <a:pt x="200439" y="1054069"/>
                </a:lnTo>
                <a:cubicBezTo>
                  <a:pt x="198617" y="1054069"/>
                  <a:pt x="194973" y="1050425"/>
                  <a:pt x="196795" y="1050425"/>
                </a:cubicBezTo>
                <a:close/>
                <a:moveTo>
                  <a:pt x="253738" y="1050424"/>
                </a:moveTo>
                <a:cubicBezTo>
                  <a:pt x="251460" y="1050880"/>
                  <a:pt x="248727" y="1052247"/>
                  <a:pt x="245994" y="1052247"/>
                </a:cubicBezTo>
                <a:cubicBezTo>
                  <a:pt x="249638" y="1057713"/>
                  <a:pt x="253282" y="1048602"/>
                  <a:pt x="258749" y="1054069"/>
                </a:cubicBezTo>
                <a:cubicBezTo>
                  <a:pt x="257838" y="1050424"/>
                  <a:pt x="256017" y="1049969"/>
                  <a:pt x="253738" y="1050424"/>
                </a:cubicBezTo>
                <a:close/>
                <a:moveTo>
                  <a:pt x="3134140" y="1048602"/>
                </a:moveTo>
                <a:cubicBezTo>
                  <a:pt x="3125029" y="1048602"/>
                  <a:pt x="3135962" y="1057713"/>
                  <a:pt x="3134140" y="1059535"/>
                </a:cubicBezTo>
                <a:cubicBezTo>
                  <a:pt x="3139606" y="1057713"/>
                  <a:pt x="3132317" y="1054069"/>
                  <a:pt x="3134140" y="1048602"/>
                </a:cubicBezTo>
                <a:close/>
                <a:moveTo>
                  <a:pt x="907444" y="1048602"/>
                </a:moveTo>
                <a:cubicBezTo>
                  <a:pt x="903799" y="1052247"/>
                  <a:pt x="900154" y="1052247"/>
                  <a:pt x="898333" y="1055891"/>
                </a:cubicBezTo>
                <a:cubicBezTo>
                  <a:pt x="900154" y="1057713"/>
                  <a:pt x="903799" y="1061358"/>
                  <a:pt x="905621" y="1063180"/>
                </a:cubicBezTo>
                <a:cubicBezTo>
                  <a:pt x="907444" y="1063180"/>
                  <a:pt x="907444" y="1061358"/>
                  <a:pt x="909265" y="1059535"/>
                </a:cubicBezTo>
                <a:cubicBezTo>
                  <a:pt x="911087" y="1055891"/>
                  <a:pt x="907444" y="1052247"/>
                  <a:pt x="907444" y="1048602"/>
                </a:cubicBezTo>
                <a:close/>
                <a:moveTo>
                  <a:pt x="884666" y="1048147"/>
                </a:moveTo>
                <a:cubicBezTo>
                  <a:pt x="883300" y="1048147"/>
                  <a:pt x="881933" y="1048603"/>
                  <a:pt x="880111" y="1050425"/>
                </a:cubicBezTo>
                <a:cubicBezTo>
                  <a:pt x="881933" y="1052247"/>
                  <a:pt x="881933" y="1052247"/>
                  <a:pt x="881933" y="1052247"/>
                </a:cubicBezTo>
                <a:cubicBezTo>
                  <a:pt x="880111" y="1052247"/>
                  <a:pt x="880111" y="1050425"/>
                  <a:pt x="878288" y="1050425"/>
                </a:cubicBezTo>
                <a:cubicBezTo>
                  <a:pt x="874644" y="1050425"/>
                  <a:pt x="871000" y="1050425"/>
                  <a:pt x="869177" y="1052247"/>
                </a:cubicBezTo>
                <a:cubicBezTo>
                  <a:pt x="869177" y="1055891"/>
                  <a:pt x="871000" y="1057713"/>
                  <a:pt x="871000" y="1059535"/>
                </a:cubicBezTo>
                <a:cubicBezTo>
                  <a:pt x="871000" y="1065002"/>
                  <a:pt x="872822" y="1079579"/>
                  <a:pt x="881933" y="1075935"/>
                </a:cubicBezTo>
                <a:cubicBezTo>
                  <a:pt x="881933" y="1075935"/>
                  <a:pt x="881933" y="1074113"/>
                  <a:pt x="881933" y="1074113"/>
                </a:cubicBezTo>
                <a:cubicBezTo>
                  <a:pt x="892866" y="1070469"/>
                  <a:pt x="891043" y="1061358"/>
                  <a:pt x="883755" y="1054069"/>
                </a:cubicBezTo>
                <a:cubicBezTo>
                  <a:pt x="885577" y="1055891"/>
                  <a:pt x="885577" y="1055891"/>
                  <a:pt x="887399" y="1055891"/>
                </a:cubicBezTo>
                <a:cubicBezTo>
                  <a:pt x="891043" y="1054069"/>
                  <a:pt x="889222" y="1050425"/>
                  <a:pt x="889222" y="1048602"/>
                </a:cubicBezTo>
                <a:cubicBezTo>
                  <a:pt x="887399" y="1048602"/>
                  <a:pt x="886033" y="1048147"/>
                  <a:pt x="884666" y="1048147"/>
                </a:cubicBezTo>
                <a:close/>
                <a:moveTo>
                  <a:pt x="1276731" y="1046798"/>
                </a:moveTo>
                <a:lnTo>
                  <a:pt x="1275522" y="1050425"/>
                </a:lnTo>
                <a:lnTo>
                  <a:pt x="1273875" y="1047131"/>
                </a:lnTo>
                <a:lnTo>
                  <a:pt x="1275294" y="1047463"/>
                </a:lnTo>
                <a:close/>
                <a:moveTo>
                  <a:pt x="1016774" y="1046780"/>
                </a:moveTo>
                <a:cubicBezTo>
                  <a:pt x="1013129" y="1050425"/>
                  <a:pt x="1013129" y="1055891"/>
                  <a:pt x="1014951" y="1059535"/>
                </a:cubicBezTo>
                <a:cubicBezTo>
                  <a:pt x="1018596" y="1055891"/>
                  <a:pt x="1022240" y="1052247"/>
                  <a:pt x="1016774" y="1046780"/>
                </a:cubicBezTo>
                <a:close/>
                <a:moveTo>
                  <a:pt x="871000" y="1046780"/>
                </a:moveTo>
                <a:cubicBezTo>
                  <a:pt x="871000" y="1046780"/>
                  <a:pt x="869177" y="1048602"/>
                  <a:pt x="869177" y="1048602"/>
                </a:cubicBezTo>
                <a:cubicBezTo>
                  <a:pt x="869177" y="1050425"/>
                  <a:pt x="871000" y="1050425"/>
                  <a:pt x="872822" y="1048602"/>
                </a:cubicBezTo>
                <a:cubicBezTo>
                  <a:pt x="872822" y="1046780"/>
                  <a:pt x="872822" y="1046780"/>
                  <a:pt x="871000" y="1046780"/>
                </a:cubicBezTo>
                <a:close/>
                <a:moveTo>
                  <a:pt x="810868" y="1046780"/>
                </a:moveTo>
                <a:cubicBezTo>
                  <a:pt x="809046" y="1048602"/>
                  <a:pt x="809046" y="1048602"/>
                  <a:pt x="807223" y="1050425"/>
                </a:cubicBezTo>
                <a:cubicBezTo>
                  <a:pt x="809046" y="1050425"/>
                  <a:pt x="810868" y="1050425"/>
                  <a:pt x="812690" y="1052247"/>
                </a:cubicBezTo>
                <a:cubicBezTo>
                  <a:pt x="812690" y="1050425"/>
                  <a:pt x="812690" y="1048602"/>
                  <a:pt x="810868" y="1046780"/>
                </a:cubicBezTo>
                <a:close/>
                <a:moveTo>
                  <a:pt x="655983" y="1046780"/>
                </a:moveTo>
                <a:cubicBezTo>
                  <a:pt x="657805" y="1050425"/>
                  <a:pt x="663272" y="1052247"/>
                  <a:pt x="665094" y="1050425"/>
                </a:cubicBezTo>
                <a:cubicBezTo>
                  <a:pt x="665094" y="1048602"/>
                  <a:pt x="657805" y="1044958"/>
                  <a:pt x="655983" y="1046780"/>
                </a:cubicBezTo>
                <a:close/>
                <a:moveTo>
                  <a:pt x="420923" y="1046780"/>
                </a:moveTo>
                <a:cubicBezTo>
                  <a:pt x="422745" y="1050425"/>
                  <a:pt x="422745" y="1057713"/>
                  <a:pt x="428211" y="1057713"/>
                </a:cubicBezTo>
                <a:cubicBezTo>
                  <a:pt x="430034" y="1057713"/>
                  <a:pt x="424567" y="1052247"/>
                  <a:pt x="430034" y="1050425"/>
                </a:cubicBezTo>
                <a:cubicBezTo>
                  <a:pt x="428211" y="1050425"/>
                  <a:pt x="424567" y="1046780"/>
                  <a:pt x="420923" y="1046780"/>
                </a:cubicBezTo>
                <a:close/>
                <a:moveTo>
                  <a:pt x="311592" y="1046780"/>
                </a:moveTo>
                <a:cubicBezTo>
                  <a:pt x="317059" y="1052247"/>
                  <a:pt x="322525" y="1055891"/>
                  <a:pt x="326169" y="1055891"/>
                </a:cubicBezTo>
                <a:cubicBezTo>
                  <a:pt x="322525" y="1054069"/>
                  <a:pt x="320703" y="1050425"/>
                  <a:pt x="318882" y="1046780"/>
                </a:cubicBezTo>
                <a:cubicBezTo>
                  <a:pt x="315236" y="1044958"/>
                  <a:pt x="313414" y="1046780"/>
                  <a:pt x="311592" y="1046780"/>
                </a:cubicBezTo>
                <a:close/>
                <a:moveTo>
                  <a:pt x="125730" y="1046780"/>
                </a:moveTo>
                <a:cubicBezTo>
                  <a:pt x="129375" y="1052247"/>
                  <a:pt x="136663" y="1055891"/>
                  <a:pt x="143952" y="1059535"/>
                </a:cubicBezTo>
                <a:cubicBezTo>
                  <a:pt x="138486" y="1050425"/>
                  <a:pt x="131197" y="1052247"/>
                  <a:pt x="125730" y="1046780"/>
                </a:cubicBezTo>
                <a:close/>
                <a:moveTo>
                  <a:pt x="3297233" y="1045564"/>
                </a:moveTo>
                <a:lnTo>
                  <a:pt x="3296996" y="1045641"/>
                </a:lnTo>
                <a:lnTo>
                  <a:pt x="3289969" y="1048725"/>
                </a:lnTo>
                <a:lnTo>
                  <a:pt x="3294719" y="1045869"/>
                </a:lnTo>
                <a:close/>
                <a:moveTo>
                  <a:pt x="3084941" y="1044958"/>
                </a:moveTo>
                <a:cubicBezTo>
                  <a:pt x="3083119" y="1048602"/>
                  <a:pt x="3079474" y="1050425"/>
                  <a:pt x="3075830" y="1050425"/>
                </a:cubicBezTo>
                <a:cubicBezTo>
                  <a:pt x="3075830" y="1054069"/>
                  <a:pt x="3077652" y="1057713"/>
                  <a:pt x="3079474" y="1059535"/>
                </a:cubicBezTo>
                <a:cubicBezTo>
                  <a:pt x="3086763" y="1057713"/>
                  <a:pt x="3088585" y="1055891"/>
                  <a:pt x="3095874" y="1057713"/>
                </a:cubicBezTo>
                <a:cubicBezTo>
                  <a:pt x="3088585" y="1055891"/>
                  <a:pt x="3086763" y="1050425"/>
                  <a:pt x="3084941" y="1044958"/>
                </a:cubicBezTo>
                <a:close/>
                <a:moveTo>
                  <a:pt x="2299584" y="1044958"/>
                </a:moveTo>
                <a:cubicBezTo>
                  <a:pt x="2297762" y="1048602"/>
                  <a:pt x="2297762" y="1054069"/>
                  <a:pt x="2303228" y="1054069"/>
                </a:cubicBezTo>
                <a:cubicBezTo>
                  <a:pt x="2303228" y="1050425"/>
                  <a:pt x="2301406" y="1046780"/>
                  <a:pt x="2305050" y="1046780"/>
                </a:cubicBezTo>
                <a:cubicBezTo>
                  <a:pt x="2308695" y="1046780"/>
                  <a:pt x="2303228" y="1050425"/>
                  <a:pt x="2305050" y="1052247"/>
                </a:cubicBezTo>
                <a:cubicBezTo>
                  <a:pt x="2308695" y="1052247"/>
                  <a:pt x="2310517" y="1050425"/>
                  <a:pt x="2310517" y="1048602"/>
                </a:cubicBezTo>
                <a:close/>
                <a:moveTo>
                  <a:pt x="2235808" y="1044958"/>
                </a:moveTo>
                <a:cubicBezTo>
                  <a:pt x="2221230" y="1050425"/>
                  <a:pt x="2217586" y="1061358"/>
                  <a:pt x="2221230" y="1075935"/>
                </a:cubicBezTo>
                <a:lnTo>
                  <a:pt x="2233274" y="1071418"/>
                </a:lnTo>
                <a:lnTo>
                  <a:pt x="2228520" y="1077757"/>
                </a:lnTo>
                <a:lnTo>
                  <a:pt x="2228519" y="1077757"/>
                </a:lnTo>
                <a:cubicBezTo>
                  <a:pt x="2228519" y="1081402"/>
                  <a:pt x="2224875" y="1083224"/>
                  <a:pt x="2223053" y="1085046"/>
                </a:cubicBezTo>
                <a:lnTo>
                  <a:pt x="2228520" y="1077757"/>
                </a:lnTo>
                <a:lnTo>
                  <a:pt x="2232163" y="1083224"/>
                </a:lnTo>
                <a:cubicBezTo>
                  <a:pt x="2235808" y="1075935"/>
                  <a:pt x="2246741" y="1077757"/>
                  <a:pt x="2252207" y="1068646"/>
                </a:cubicBezTo>
                <a:cubicBezTo>
                  <a:pt x="2250385" y="1070469"/>
                  <a:pt x="2248563" y="1066824"/>
                  <a:pt x="2244919" y="1068646"/>
                </a:cubicBezTo>
                <a:cubicBezTo>
                  <a:pt x="2244919" y="1072290"/>
                  <a:pt x="2243553" y="1072290"/>
                  <a:pt x="2241503" y="1071607"/>
                </a:cubicBezTo>
                <a:lnTo>
                  <a:pt x="2235283" y="1070665"/>
                </a:lnTo>
                <a:lnTo>
                  <a:pt x="2250385" y="1065002"/>
                </a:lnTo>
                <a:cubicBezTo>
                  <a:pt x="2254030" y="1065002"/>
                  <a:pt x="2254030" y="1055891"/>
                  <a:pt x="2255852" y="1050425"/>
                </a:cubicBezTo>
                <a:cubicBezTo>
                  <a:pt x="2254030" y="1050425"/>
                  <a:pt x="2250385" y="1050425"/>
                  <a:pt x="2248563" y="1048602"/>
                </a:cubicBezTo>
                <a:cubicBezTo>
                  <a:pt x="2246741" y="1052247"/>
                  <a:pt x="2244919" y="1055891"/>
                  <a:pt x="2244919" y="1059535"/>
                </a:cubicBezTo>
                <a:cubicBezTo>
                  <a:pt x="2237630" y="1059535"/>
                  <a:pt x="2239452" y="1059535"/>
                  <a:pt x="2233986" y="1066824"/>
                </a:cubicBezTo>
                <a:cubicBezTo>
                  <a:pt x="2230341" y="1061358"/>
                  <a:pt x="2233986" y="1059535"/>
                  <a:pt x="2233986" y="1055891"/>
                </a:cubicBezTo>
                <a:cubicBezTo>
                  <a:pt x="2228519" y="1055891"/>
                  <a:pt x="2228519" y="1063180"/>
                  <a:pt x="2223053" y="1063180"/>
                </a:cubicBezTo>
                <a:cubicBezTo>
                  <a:pt x="2230341" y="1059535"/>
                  <a:pt x="2230341" y="1050425"/>
                  <a:pt x="2235808" y="1044958"/>
                </a:cubicBezTo>
                <a:close/>
                <a:moveTo>
                  <a:pt x="1142503" y="1044958"/>
                </a:moveTo>
                <a:cubicBezTo>
                  <a:pt x="1140681" y="1046780"/>
                  <a:pt x="1138859" y="1046780"/>
                  <a:pt x="1138859" y="1048602"/>
                </a:cubicBezTo>
                <a:cubicBezTo>
                  <a:pt x="1140681" y="1050425"/>
                  <a:pt x="1146148" y="1046780"/>
                  <a:pt x="1142503" y="1044958"/>
                </a:cubicBezTo>
                <a:close/>
                <a:moveTo>
                  <a:pt x="922020" y="1044958"/>
                </a:moveTo>
                <a:cubicBezTo>
                  <a:pt x="916555" y="1050425"/>
                  <a:pt x="920198" y="1059535"/>
                  <a:pt x="923843" y="1066824"/>
                </a:cubicBezTo>
                <a:cubicBezTo>
                  <a:pt x="923843" y="1059535"/>
                  <a:pt x="922020" y="1052247"/>
                  <a:pt x="922020" y="1044958"/>
                </a:cubicBezTo>
                <a:close/>
                <a:moveTo>
                  <a:pt x="894688" y="1044958"/>
                </a:moveTo>
                <a:cubicBezTo>
                  <a:pt x="894688" y="1044958"/>
                  <a:pt x="892866" y="1048602"/>
                  <a:pt x="891043" y="1046780"/>
                </a:cubicBezTo>
                <a:cubicBezTo>
                  <a:pt x="891043" y="1048602"/>
                  <a:pt x="894688" y="1050425"/>
                  <a:pt x="894688" y="1052247"/>
                </a:cubicBezTo>
                <a:cubicBezTo>
                  <a:pt x="892866" y="1048602"/>
                  <a:pt x="898333" y="1048602"/>
                  <a:pt x="894688" y="1044958"/>
                </a:cubicBezTo>
                <a:close/>
                <a:moveTo>
                  <a:pt x="821801" y="1044958"/>
                </a:moveTo>
                <a:cubicBezTo>
                  <a:pt x="819979" y="1046780"/>
                  <a:pt x="821801" y="1050425"/>
                  <a:pt x="821801" y="1052247"/>
                </a:cubicBezTo>
                <a:cubicBezTo>
                  <a:pt x="825445" y="1052247"/>
                  <a:pt x="823623" y="1046780"/>
                  <a:pt x="821801" y="1044958"/>
                </a:cubicBezTo>
                <a:close/>
                <a:moveTo>
                  <a:pt x="380835" y="1044958"/>
                </a:moveTo>
                <a:cubicBezTo>
                  <a:pt x="393590" y="1052247"/>
                  <a:pt x="399056" y="1065002"/>
                  <a:pt x="413634" y="1068646"/>
                </a:cubicBezTo>
                <a:cubicBezTo>
                  <a:pt x="413634" y="1063180"/>
                  <a:pt x="399056" y="1063180"/>
                  <a:pt x="400879" y="1055891"/>
                </a:cubicBezTo>
                <a:cubicBezTo>
                  <a:pt x="395412" y="1050425"/>
                  <a:pt x="386301" y="1044958"/>
                  <a:pt x="380835" y="1044958"/>
                </a:cubicBezTo>
                <a:close/>
                <a:moveTo>
                  <a:pt x="368079" y="1044958"/>
                </a:moveTo>
                <a:cubicBezTo>
                  <a:pt x="368079" y="1052247"/>
                  <a:pt x="373546" y="1050425"/>
                  <a:pt x="377190" y="1050425"/>
                </a:cubicBezTo>
                <a:cubicBezTo>
                  <a:pt x="375368" y="1050425"/>
                  <a:pt x="371724" y="1046780"/>
                  <a:pt x="368079" y="1044958"/>
                </a:cubicBezTo>
                <a:close/>
                <a:moveTo>
                  <a:pt x="324347" y="1044958"/>
                </a:moveTo>
                <a:cubicBezTo>
                  <a:pt x="326169" y="1048602"/>
                  <a:pt x="329814" y="1055891"/>
                  <a:pt x="337102" y="1055891"/>
                </a:cubicBezTo>
                <a:cubicBezTo>
                  <a:pt x="335280" y="1050425"/>
                  <a:pt x="327993" y="1048602"/>
                  <a:pt x="324347" y="1044958"/>
                </a:cubicBezTo>
                <a:close/>
                <a:moveTo>
                  <a:pt x="202262" y="1044958"/>
                </a:moveTo>
                <a:cubicBezTo>
                  <a:pt x="209550" y="1063180"/>
                  <a:pt x="227772" y="1066824"/>
                  <a:pt x="240527" y="1077757"/>
                </a:cubicBezTo>
                <a:cubicBezTo>
                  <a:pt x="236883" y="1061358"/>
                  <a:pt x="215017" y="1055891"/>
                  <a:pt x="202262" y="1044958"/>
                </a:cubicBezTo>
                <a:close/>
                <a:moveTo>
                  <a:pt x="3141428" y="1043136"/>
                </a:moveTo>
                <a:cubicBezTo>
                  <a:pt x="3137784" y="1044958"/>
                  <a:pt x="3137784" y="1048602"/>
                  <a:pt x="3137784" y="1052247"/>
                </a:cubicBezTo>
                <a:cubicBezTo>
                  <a:pt x="3139606" y="1052247"/>
                  <a:pt x="3141428" y="1054069"/>
                  <a:pt x="3141428" y="1055891"/>
                </a:cubicBezTo>
                <a:cubicBezTo>
                  <a:pt x="3146895" y="1057713"/>
                  <a:pt x="3148717" y="1054069"/>
                  <a:pt x="3148717" y="1050425"/>
                </a:cubicBezTo>
                <a:cubicBezTo>
                  <a:pt x="3148717" y="1046780"/>
                  <a:pt x="3143250" y="1048602"/>
                  <a:pt x="3141428" y="1043136"/>
                </a:cubicBezTo>
                <a:close/>
                <a:moveTo>
                  <a:pt x="1271878" y="1043136"/>
                </a:moveTo>
                <a:lnTo>
                  <a:pt x="1273875" y="1047131"/>
                </a:lnTo>
                <a:lnTo>
                  <a:pt x="1264589" y="1044958"/>
                </a:lnTo>
                <a:cubicBezTo>
                  <a:pt x="1264589" y="1043136"/>
                  <a:pt x="1270056" y="1043136"/>
                  <a:pt x="1271878" y="1043136"/>
                </a:cubicBezTo>
                <a:close/>
                <a:moveTo>
                  <a:pt x="1211747" y="1043136"/>
                </a:moveTo>
                <a:cubicBezTo>
                  <a:pt x="1210836" y="1044958"/>
                  <a:pt x="1210380" y="1047691"/>
                  <a:pt x="1209241" y="1050197"/>
                </a:cubicBezTo>
                <a:lnTo>
                  <a:pt x="1204064" y="1054660"/>
                </a:lnTo>
                <a:close/>
                <a:moveTo>
                  <a:pt x="1149792" y="1043136"/>
                </a:moveTo>
                <a:cubicBezTo>
                  <a:pt x="1147970" y="1043136"/>
                  <a:pt x="1142503" y="1044958"/>
                  <a:pt x="1146148" y="1046780"/>
                </a:cubicBezTo>
                <a:cubicBezTo>
                  <a:pt x="1147970" y="1044958"/>
                  <a:pt x="1147970" y="1044958"/>
                  <a:pt x="1149792" y="1043136"/>
                </a:cubicBezTo>
                <a:close/>
                <a:moveTo>
                  <a:pt x="1091484" y="1043136"/>
                </a:moveTo>
                <a:cubicBezTo>
                  <a:pt x="1089660" y="1044958"/>
                  <a:pt x="1089660" y="1046780"/>
                  <a:pt x="1091484" y="1048602"/>
                </a:cubicBezTo>
                <a:cubicBezTo>
                  <a:pt x="1091484" y="1050425"/>
                  <a:pt x="1089660" y="1050425"/>
                  <a:pt x="1091484" y="1052247"/>
                </a:cubicBezTo>
                <a:cubicBezTo>
                  <a:pt x="1095127" y="1052247"/>
                  <a:pt x="1096949" y="1050425"/>
                  <a:pt x="1098771" y="1050425"/>
                </a:cubicBezTo>
                <a:cubicBezTo>
                  <a:pt x="1100593" y="1046780"/>
                  <a:pt x="1098771" y="1048602"/>
                  <a:pt x="1096949" y="1044958"/>
                </a:cubicBezTo>
                <a:cubicBezTo>
                  <a:pt x="1093305" y="1046780"/>
                  <a:pt x="1093305" y="1050425"/>
                  <a:pt x="1091484" y="1048602"/>
                </a:cubicBezTo>
                <a:cubicBezTo>
                  <a:pt x="1093305" y="1046780"/>
                  <a:pt x="1093305" y="1046780"/>
                  <a:pt x="1095127" y="1044958"/>
                </a:cubicBezTo>
                <a:cubicBezTo>
                  <a:pt x="1093305" y="1043136"/>
                  <a:pt x="1093305" y="1044958"/>
                  <a:pt x="1091484" y="1043136"/>
                </a:cubicBezTo>
                <a:close/>
                <a:moveTo>
                  <a:pt x="1047750" y="1043136"/>
                </a:moveTo>
                <a:cubicBezTo>
                  <a:pt x="1044106" y="1048602"/>
                  <a:pt x="1038639" y="1054069"/>
                  <a:pt x="1045929" y="1061358"/>
                </a:cubicBezTo>
                <a:lnTo>
                  <a:pt x="1051568" y="1054589"/>
                </a:lnTo>
                <a:lnTo>
                  <a:pt x="1053217" y="1059535"/>
                </a:lnTo>
                <a:cubicBezTo>
                  <a:pt x="1055040" y="1057713"/>
                  <a:pt x="1055040" y="1059535"/>
                  <a:pt x="1056861" y="1057713"/>
                </a:cubicBezTo>
                <a:lnTo>
                  <a:pt x="1055040" y="1057713"/>
                </a:lnTo>
                <a:cubicBezTo>
                  <a:pt x="1056861" y="1055891"/>
                  <a:pt x="1055040" y="1052247"/>
                  <a:pt x="1056861" y="1050425"/>
                </a:cubicBezTo>
                <a:cubicBezTo>
                  <a:pt x="1055950" y="1050425"/>
                  <a:pt x="1055950" y="1051336"/>
                  <a:pt x="1055494" y="1052247"/>
                </a:cubicBezTo>
                <a:lnTo>
                  <a:pt x="1052359" y="1053640"/>
                </a:lnTo>
                <a:lnTo>
                  <a:pt x="1055040" y="1050425"/>
                </a:lnTo>
                <a:cubicBezTo>
                  <a:pt x="1053217" y="1046780"/>
                  <a:pt x="1049573" y="1046780"/>
                  <a:pt x="1047750" y="1043136"/>
                </a:cubicBezTo>
                <a:close/>
                <a:moveTo>
                  <a:pt x="1009485" y="1043136"/>
                </a:moveTo>
                <a:cubicBezTo>
                  <a:pt x="1009485" y="1044958"/>
                  <a:pt x="1007663" y="1048602"/>
                  <a:pt x="1009485" y="1050425"/>
                </a:cubicBezTo>
                <a:cubicBezTo>
                  <a:pt x="1011307" y="1048602"/>
                  <a:pt x="1011307" y="1048602"/>
                  <a:pt x="1013129" y="1046780"/>
                </a:cubicBezTo>
                <a:cubicBezTo>
                  <a:pt x="1013129" y="1044958"/>
                  <a:pt x="1011307" y="1043136"/>
                  <a:pt x="1009485" y="1043136"/>
                </a:cubicBezTo>
                <a:close/>
                <a:moveTo>
                  <a:pt x="901976" y="1043136"/>
                </a:moveTo>
                <a:cubicBezTo>
                  <a:pt x="896510" y="1043136"/>
                  <a:pt x="896510" y="1050425"/>
                  <a:pt x="896510" y="1055891"/>
                </a:cubicBezTo>
                <a:cubicBezTo>
                  <a:pt x="900154" y="1052247"/>
                  <a:pt x="901976" y="1050425"/>
                  <a:pt x="903799" y="1046780"/>
                </a:cubicBezTo>
                <a:cubicBezTo>
                  <a:pt x="901976" y="1044958"/>
                  <a:pt x="903799" y="1044958"/>
                  <a:pt x="901976" y="1043136"/>
                </a:cubicBezTo>
                <a:close/>
                <a:moveTo>
                  <a:pt x="444611" y="1043136"/>
                </a:moveTo>
                <a:cubicBezTo>
                  <a:pt x="442789" y="1048602"/>
                  <a:pt x="451899" y="1054069"/>
                  <a:pt x="455544" y="1052247"/>
                </a:cubicBezTo>
                <a:cubicBezTo>
                  <a:pt x="451899" y="1048602"/>
                  <a:pt x="448256" y="1044958"/>
                  <a:pt x="444611" y="1043136"/>
                </a:cubicBezTo>
                <a:close/>
                <a:moveTo>
                  <a:pt x="878060" y="1042225"/>
                </a:moveTo>
                <a:cubicBezTo>
                  <a:pt x="876010" y="1042225"/>
                  <a:pt x="873732" y="1043136"/>
                  <a:pt x="871000" y="1043136"/>
                </a:cubicBezTo>
                <a:cubicBezTo>
                  <a:pt x="876466" y="1046780"/>
                  <a:pt x="880111" y="1048602"/>
                  <a:pt x="883755" y="1046780"/>
                </a:cubicBezTo>
                <a:cubicBezTo>
                  <a:pt x="881932" y="1043136"/>
                  <a:pt x="880111" y="1042225"/>
                  <a:pt x="878060" y="1042225"/>
                </a:cubicBezTo>
                <a:close/>
                <a:moveTo>
                  <a:pt x="190242" y="1041524"/>
                </a:moveTo>
                <a:lnTo>
                  <a:pt x="191007" y="1041742"/>
                </a:lnTo>
                <a:lnTo>
                  <a:pt x="193151" y="1044958"/>
                </a:lnTo>
                <a:close/>
                <a:moveTo>
                  <a:pt x="3365556" y="1041314"/>
                </a:moveTo>
                <a:cubicBezTo>
                  <a:pt x="3360089" y="1043136"/>
                  <a:pt x="3365556" y="1044958"/>
                  <a:pt x="3363734" y="1048602"/>
                </a:cubicBezTo>
                <a:cubicBezTo>
                  <a:pt x="3371022" y="1044958"/>
                  <a:pt x="3371022" y="1052247"/>
                  <a:pt x="3376489" y="1050425"/>
                </a:cubicBezTo>
                <a:cubicBezTo>
                  <a:pt x="3374666" y="1052247"/>
                  <a:pt x="3371022" y="1052247"/>
                  <a:pt x="3372844" y="1055891"/>
                </a:cubicBezTo>
                <a:cubicBezTo>
                  <a:pt x="3380133" y="1052247"/>
                  <a:pt x="3380133" y="1065002"/>
                  <a:pt x="3383777" y="1059535"/>
                </a:cubicBezTo>
                <a:cubicBezTo>
                  <a:pt x="3378311" y="1057713"/>
                  <a:pt x="3385600" y="1048602"/>
                  <a:pt x="3380133" y="1044958"/>
                </a:cubicBezTo>
                <a:cubicBezTo>
                  <a:pt x="3376489" y="1044958"/>
                  <a:pt x="3369200" y="1043136"/>
                  <a:pt x="3365556" y="1041314"/>
                </a:cubicBezTo>
                <a:close/>
                <a:moveTo>
                  <a:pt x="3150539" y="1041314"/>
                </a:moveTo>
                <a:cubicBezTo>
                  <a:pt x="3146895" y="1041314"/>
                  <a:pt x="3146895" y="1043136"/>
                  <a:pt x="3143250" y="1043136"/>
                </a:cubicBezTo>
                <a:cubicBezTo>
                  <a:pt x="3143250" y="1044958"/>
                  <a:pt x="3148717" y="1043136"/>
                  <a:pt x="3148717" y="1046780"/>
                </a:cubicBezTo>
                <a:cubicBezTo>
                  <a:pt x="3150539" y="1046780"/>
                  <a:pt x="3150539" y="1043136"/>
                  <a:pt x="3150539" y="1041314"/>
                </a:cubicBezTo>
                <a:close/>
                <a:moveTo>
                  <a:pt x="2623931" y="1041314"/>
                </a:moveTo>
                <a:cubicBezTo>
                  <a:pt x="2620287" y="1041314"/>
                  <a:pt x="2622109" y="1048602"/>
                  <a:pt x="2618464" y="1048602"/>
                </a:cubicBezTo>
                <a:cubicBezTo>
                  <a:pt x="2620287" y="1052247"/>
                  <a:pt x="2622109" y="1054069"/>
                  <a:pt x="2625753" y="1054069"/>
                </a:cubicBezTo>
                <a:cubicBezTo>
                  <a:pt x="2622109" y="1048602"/>
                  <a:pt x="2627575" y="1043136"/>
                  <a:pt x="2623931" y="1041314"/>
                </a:cubicBezTo>
                <a:close/>
                <a:moveTo>
                  <a:pt x="2259496" y="1041314"/>
                </a:moveTo>
                <a:cubicBezTo>
                  <a:pt x="2255852" y="1052247"/>
                  <a:pt x="2263140" y="1054069"/>
                  <a:pt x="2261318" y="1061358"/>
                </a:cubicBezTo>
                <a:cubicBezTo>
                  <a:pt x="2264963" y="1061358"/>
                  <a:pt x="2270429" y="1063180"/>
                  <a:pt x="2270429" y="1059535"/>
                </a:cubicBezTo>
                <a:cubicBezTo>
                  <a:pt x="2270429" y="1057713"/>
                  <a:pt x="2268607" y="1054069"/>
                  <a:pt x="2270429" y="1055891"/>
                </a:cubicBezTo>
                <a:cubicBezTo>
                  <a:pt x="2270429" y="1054069"/>
                  <a:pt x="2266785" y="1043136"/>
                  <a:pt x="2259496" y="1041314"/>
                </a:cubicBezTo>
                <a:close/>
                <a:moveTo>
                  <a:pt x="1197169" y="1041314"/>
                </a:moveTo>
                <a:cubicBezTo>
                  <a:pt x="1195346" y="1041314"/>
                  <a:pt x="1191703" y="1044958"/>
                  <a:pt x="1189880" y="1046780"/>
                </a:cubicBezTo>
                <a:cubicBezTo>
                  <a:pt x="1191703" y="1046780"/>
                  <a:pt x="1198991" y="1041314"/>
                  <a:pt x="1197169" y="1041314"/>
                </a:cubicBezTo>
                <a:close/>
                <a:moveTo>
                  <a:pt x="1153436" y="1041314"/>
                </a:moveTo>
                <a:cubicBezTo>
                  <a:pt x="1149792" y="1043136"/>
                  <a:pt x="1147970" y="1048602"/>
                  <a:pt x="1144326" y="1052247"/>
                </a:cubicBezTo>
                <a:cubicBezTo>
                  <a:pt x="1151614" y="1059535"/>
                  <a:pt x="1158903" y="1048602"/>
                  <a:pt x="1153436" y="1041314"/>
                </a:cubicBezTo>
                <a:close/>
                <a:moveTo>
                  <a:pt x="1127926" y="1041314"/>
                </a:moveTo>
                <a:cubicBezTo>
                  <a:pt x="1127926" y="1041314"/>
                  <a:pt x="1127926" y="1043136"/>
                  <a:pt x="1126104" y="1043136"/>
                </a:cubicBezTo>
                <a:cubicBezTo>
                  <a:pt x="1126104" y="1043136"/>
                  <a:pt x="1127926" y="1043136"/>
                  <a:pt x="1129748" y="1044958"/>
                </a:cubicBezTo>
                <a:cubicBezTo>
                  <a:pt x="1131570" y="1043136"/>
                  <a:pt x="1129748" y="1041314"/>
                  <a:pt x="1127926" y="1041314"/>
                </a:cubicBezTo>
                <a:close/>
                <a:moveTo>
                  <a:pt x="856422" y="1041314"/>
                </a:moveTo>
                <a:cubicBezTo>
                  <a:pt x="856422" y="1043136"/>
                  <a:pt x="856422" y="1044958"/>
                  <a:pt x="858244" y="1048602"/>
                </a:cubicBezTo>
                <a:cubicBezTo>
                  <a:pt x="861889" y="1046780"/>
                  <a:pt x="860066" y="1041314"/>
                  <a:pt x="856422" y="1041314"/>
                </a:cubicBezTo>
                <a:close/>
                <a:moveTo>
                  <a:pt x="763491" y="1041314"/>
                </a:moveTo>
                <a:cubicBezTo>
                  <a:pt x="756203" y="1048602"/>
                  <a:pt x="763491" y="1054069"/>
                  <a:pt x="765313" y="1059535"/>
                </a:cubicBezTo>
                <a:cubicBezTo>
                  <a:pt x="767136" y="1054069"/>
                  <a:pt x="761670" y="1050425"/>
                  <a:pt x="765313" y="1044958"/>
                </a:cubicBezTo>
                <a:cubicBezTo>
                  <a:pt x="763491" y="1044958"/>
                  <a:pt x="765313" y="1043136"/>
                  <a:pt x="763491" y="1041314"/>
                </a:cubicBezTo>
                <a:close/>
                <a:moveTo>
                  <a:pt x="393590" y="1041314"/>
                </a:moveTo>
                <a:cubicBezTo>
                  <a:pt x="395412" y="1048602"/>
                  <a:pt x="404523" y="1050425"/>
                  <a:pt x="409989" y="1054069"/>
                </a:cubicBezTo>
                <a:cubicBezTo>
                  <a:pt x="406345" y="1050425"/>
                  <a:pt x="399056" y="1046780"/>
                  <a:pt x="393590" y="1041314"/>
                </a:cubicBezTo>
                <a:close/>
                <a:moveTo>
                  <a:pt x="275149" y="1041314"/>
                </a:moveTo>
                <a:cubicBezTo>
                  <a:pt x="280615" y="1043136"/>
                  <a:pt x="282438" y="1048602"/>
                  <a:pt x="287904" y="1046780"/>
                </a:cubicBezTo>
                <a:cubicBezTo>
                  <a:pt x="284259" y="1041314"/>
                  <a:pt x="278793" y="1039492"/>
                  <a:pt x="275149" y="1041314"/>
                </a:cubicBezTo>
                <a:close/>
                <a:moveTo>
                  <a:pt x="260571" y="1041314"/>
                </a:moveTo>
                <a:lnTo>
                  <a:pt x="262863" y="1043210"/>
                </a:lnTo>
                <a:lnTo>
                  <a:pt x="261105" y="1041955"/>
                </a:lnTo>
                <a:close/>
                <a:moveTo>
                  <a:pt x="975198" y="1040182"/>
                </a:moveTo>
                <a:lnTo>
                  <a:pt x="975782" y="1041383"/>
                </a:lnTo>
                <a:lnTo>
                  <a:pt x="975319" y="1041086"/>
                </a:lnTo>
                <a:close/>
                <a:moveTo>
                  <a:pt x="1180769" y="1039492"/>
                </a:moveTo>
                <a:cubicBezTo>
                  <a:pt x="1175303" y="1044958"/>
                  <a:pt x="1171658" y="1048602"/>
                  <a:pt x="1171658" y="1052247"/>
                </a:cubicBezTo>
                <a:cubicBezTo>
                  <a:pt x="1178947" y="1048602"/>
                  <a:pt x="1182592" y="1046780"/>
                  <a:pt x="1188058" y="1041314"/>
                </a:cubicBezTo>
                <a:cubicBezTo>
                  <a:pt x="1186236" y="1039492"/>
                  <a:pt x="1182592" y="1043136"/>
                  <a:pt x="1180769" y="1039492"/>
                </a:cubicBezTo>
                <a:close/>
                <a:moveTo>
                  <a:pt x="789003" y="1039492"/>
                </a:moveTo>
                <a:cubicBezTo>
                  <a:pt x="789003" y="1044958"/>
                  <a:pt x="794468" y="1048602"/>
                  <a:pt x="794468" y="1054069"/>
                </a:cubicBezTo>
                <a:cubicBezTo>
                  <a:pt x="798112" y="1050425"/>
                  <a:pt x="794468" y="1041314"/>
                  <a:pt x="789003" y="1039492"/>
                </a:cubicBezTo>
                <a:close/>
                <a:moveTo>
                  <a:pt x="694249" y="1039492"/>
                </a:moveTo>
                <a:cubicBezTo>
                  <a:pt x="697893" y="1044958"/>
                  <a:pt x="696071" y="1054069"/>
                  <a:pt x="705182" y="1057713"/>
                </a:cubicBezTo>
                <a:cubicBezTo>
                  <a:pt x="707004" y="1050425"/>
                  <a:pt x="701537" y="1044958"/>
                  <a:pt x="694249" y="1039492"/>
                </a:cubicBezTo>
                <a:close/>
                <a:moveTo>
                  <a:pt x="391768" y="1039492"/>
                </a:moveTo>
                <a:cubicBezTo>
                  <a:pt x="402701" y="1048602"/>
                  <a:pt x="413634" y="1054069"/>
                  <a:pt x="424567" y="1059535"/>
                </a:cubicBezTo>
                <a:cubicBezTo>
                  <a:pt x="422745" y="1054069"/>
                  <a:pt x="415456" y="1050425"/>
                  <a:pt x="415456" y="1044958"/>
                </a:cubicBezTo>
                <a:cubicBezTo>
                  <a:pt x="406345" y="1037669"/>
                  <a:pt x="399056" y="1041314"/>
                  <a:pt x="391768" y="1039492"/>
                </a:cubicBezTo>
                <a:close/>
                <a:moveTo>
                  <a:pt x="348037" y="1039492"/>
                </a:moveTo>
                <a:cubicBezTo>
                  <a:pt x="344391" y="1041314"/>
                  <a:pt x="340747" y="1043136"/>
                  <a:pt x="340747" y="1044958"/>
                </a:cubicBezTo>
                <a:cubicBezTo>
                  <a:pt x="346213" y="1054069"/>
                  <a:pt x="357146" y="1054069"/>
                  <a:pt x="362613" y="1057713"/>
                </a:cubicBezTo>
                <a:cubicBezTo>
                  <a:pt x="373546" y="1063180"/>
                  <a:pt x="368079" y="1050425"/>
                  <a:pt x="373546" y="1052247"/>
                </a:cubicBezTo>
                <a:cubicBezTo>
                  <a:pt x="362613" y="1048602"/>
                  <a:pt x="362613" y="1039492"/>
                  <a:pt x="355324" y="1041314"/>
                </a:cubicBezTo>
                <a:cubicBezTo>
                  <a:pt x="355324" y="1046780"/>
                  <a:pt x="362613" y="1052247"/>
                  <a:pt x="362613" y="1057713"/>
                </a:cubicBezTo>
                <a:cubicBezTo>
                  <a:pt x="360791" y="1055891"/>
                  <a:pt x="357146" y="1052247"/>
                  <a:pt x="357146" y="1050425"/>
                </a:cubicBezTo>
                <a:cubicBezTo>
                  <a:pt x="358969" y="1052247"/>
                  <a:pt x="358969" y="1052247"/>
                  <a:pt x="360791" y="1054069"/>
                </a:cubicBezTo>
                <a:cubicBezTo>
                  <a:pt x="358969" y="1048602"/>
                  <a:pt x="353502" y="1041314"/>
                  <a:pt x="348037" y="1039492"/>
                </a:cubicBezTo>
                <a:close/>
                <a:moveTo>
                  <a:pt x="209550" y="1039492"/>
                </a:moveTo>
                <a:cubicBezTo>
                  <a:pt x="209550" y="1043136"/>
                  <a:pt x="202262" y="1041314"/>
                  <a:pt x="200439" y="1043136"/>
                </a:cubicBezTo>
                <a:cubicBezTo>
                  <a:pt x="211372" y="1050425"/>
                  <a:pt x="222306" y="1057713"/>
                  <a:pt x="233239" y="1061358"/>
                </a:cubicBezTo>
                <a:cubicBezTo>
                  <a:pt x="225950" y="1054069"/>
                  <a:pt x="216839" y="1046780"/>
                  <a:pt x="209550" y="1039492"/>
                </a:cubicBezTo>
                <a:close/>
                <a:moveTo>
                  <a:pt x="133019" y="1039492"/>
                </a:moveTo>
                <a:cubicBezTo>
                  <a:pt x="136663" y="1044958"/>
                  <a:pt x="138486" y="1048602"/>
                  <a:pt x="143952" y="1050425"/>
                </a:cubicBezTo>
                <a:cubicBezTo>
                  <a:pt x="145774" y="1052247"/>
                  <a:pt x="149419" y="1052247"/>
                  <a:pt x="149419" y="1054069"/>
                </a:cubicBezTo>
                <a:cubicBezTo>
                  <a:pt x="151241" y="1054069"/>
                  <a:pt x="140308" y="1044958"/>
                  <a:pt x="138486" y="1043136"/>
                </a:cubicBezTo>
                <a:cubicBezTo>
                  <a:pt x="145774" y="1044958"/>
                  <a:pt x="151696" y="1050880"/>
                  <a:pt x="157618" y="1056346"/>
                </a:cubicBezTo>
                <a:lnTo>
                  <a:pt x="167925" y="1061990"/>
                </a:lnTo>
                <a:lnTo>
                  <a:pt x="178573" y="1068646"/>
                </a:lnTo>
                <a:lnTo>
                  <a:pt x="172681" y="1064595"/>
                </a:lnTo>
                <a:lnTo>
                  <a:pt x="176751" y="1066824"/>
                </a:lnTo>
                <a:lnTo>
                  <a:pt x="171845" y="1064020"/>
                </a:lnTo>
                <a:lnTo>
                  <a:pt x="149419" y="1048602"/>
                </a:lnTo>
                <a:cubicBezTo>
                  <a:pt x="154885" y="1050425"/>
                  <a:pt x="160352" y="1052247"/>
                  <a:pt x="163996" y="1055891"/>
                </a:cubicBezTo>
                <a:cubicBezTo>
                  <a:pt x="158529" y="1043136"/>
                  <a:pt x="143952" y="1043136"/>
                  <a:pt x="133019" y="1039492"/>
                </a:cubicBezTo>
                <a:close/>
                <a:moveTo>
                  <a:pt x="385391" y="1039492"/>
                </a:moveTo>
                <a:cubicBezTo>
                  <a:pt x="384479" y="1039036"/>
                  <a:pt x="383568" y="1038581"/>
                  <a:pt x="382657" y="1039492"/>
                </a:cubicBezTo>
                <a:cubicBezTo>
                  <a:pt x="384479" y="1043136"/>
                  <a:pt x="388123" y="1041314"/>
                  <a:pt x="389946" y="1044958"/>
                </a:cubicBezTo>
                <a:cubicBezTo>
                  <a:pt x="391768" y="1043136"/>
                  <a:pt x="389946" y="1041314"/>
                  <a:pt x="388123" y="1039492"/>
                </a:cubicBezTo>
                <a:cubicBezTo>
                  <a:pt x="387212" y="1040403"/>
                  <a:pt x="386301" y="1039947"/>
                  <a:pt x="385391" y="1039492"/>
                </a:cubicBezTo>
                <a:close/>
                <a:moveTo>
                  <a:pt x="1263463" y="1037965"/>
                </a:moveTo>
                <a:lnTo>
                  <a:pt x="1273700" y="1039492"/>
                </a:lnTo>
                <a:cubicBezTo>
                  <a:pt x="1275522" y="1041314"/>
                  <a:pt x="1275522" y="1039492"/>
                  <a:pt x="1277344" y="1041314"/>
                </a:cubicBezTo>
                <a:cubicBezTo>
                  <a:pt x="1277344" y="1043136"/>
                  <a:pt x="1277344" y="1044958"/>
                  <a:pt x="1275522" y="1046780"/>
                </a:cubicBezTo>
                <a:cubicBezTo>
                  <a:pt x="1273700" y="1044958"/>
                  <a:pt x="1273700" y="1043136"/>
                  <a:pt x="1271878" y="1043136"/>
                </a:cubicBezTo>
                <a:cubicBezTo>
                  <a:pt x="1268233" y="1039492"/>
                  <a:pt x="1257300" y="1046780"/>
                  <a:pt x="1251834" y="1041314"/>
                </a:cubicBezTo>
                <a:cubicBezTo>
                  <a:pt x="1253656" y="1039491"/>
                  <a:pt x="1257300" y="1039036"/>
                  <a:pt x="1260261" y="1038808"/>
                </a:cubicBezTo>
                <a:close/>
                <a:moveTo>
                  <a:pt x="3398355" y="1037669"/>
                </a:moveTo>
                <a:cubicBezTo>
                  <a:pt x="3394710" y="1046780"/>
                  <a:pt x="3411110" y="1054069"/>
                  <a:pt x="3418399" y="1059535"/>
                </a:cubicBezTo>
                <a:cubicBezTo>
                  <a:pt x="3422043" y="1057713"/>
                  <a:pt x="3425687" y="1057713"/>
                  <a:pt x="3429332" y="1057713"/>
                </a:cubicBezTo>
                <a:cubicBezTo>
                  <a:pt x="3434798" y="1061358"/>
                  <a:pt x="3434798" y="1068646"/>
                  <a:pt x="3442087" y="1070469"/>
                </a:cubicBezTo>
                <a:cubicBezTo>
                  <a:pt x="3442087" y="1054069"/>
                  <a:pt x="3412932" y="1048602"/>
                  <a:pt x="3398355" y="1037669"/>
                </a:cubicBezTo>
                <a:close/>
                <a:moveTo>
                  <a:pt x="1264589" y="1037669"/>
                </a:moveTo>
                <a:lnTo>
                  <a:pt x="1263463" y="1037965"/>
                </a:lnTo>
                <a:lnTo>
                  <a:pt x="1262895" y="1037880"/>
                </a:lnTo>
                <a:close/>
                <a:moveTo>
                  <a:pt x="974863" y="1037669"/>
                </a:moveTo>
                <a:lnTo>
                  <a:pt x="975198" y="1040182"/>
                </a:lnTo>
                <a:lnTo>
                  <a:pt x="974863" y="1039492"/>
                </a:lnTo>
                <a:cubicBezTo>
                  <a:pt x="973041" y="1041314"/>
                  <a:pt x="974863" y="1044958"/>
                  <a:pt x="973041" y="1046780"/>
                </a:cubicBezTo>
                <a:cubicBezTo>
                  <a:pt x="976686" y="1048602"/>
                  <a:pt x="978508" y="1059535"/>
                  <a:pt x="983974" y="1054069"/>
                </a:cubicBezTo>
                <a:cubicBezTo>
                  <a:pt x="983063" y="1052247"/>
                  <a:pt x="980786" y="1049969"/>
                  <a:pt x="978735" y="1047463"/>
                </a:cubicBezTo>
                <a:lnTo>
                  <a:pt x="975782" y="1041383"/>
                </a:lnTo>
                <a:lnTo>
                  <a:pt x="978508" y="1043136"/>
                </a:lnTo>
                <a:cubicBezTo>
                  <a:pt x="978508" y="1043136"/>
                  <a:pt x="980330" y="1041314"/>
                  <a:pt x="980330" y="1041314"/>
                </a:cubicBezTo>
                <a:cubicBezTo>
                  <a:pt x="980330" y="1043136"/>
                  <a:pt x="980330" y="1048602"/>
                  <a:pt x="983974" y="1048602"/>
                </a:cubicBezTo>
                <a:cubicBezTo>
                  <a:pt x="985796" y="1043136"/>
                  <a:pt x="980330" y="1037669"/>
                  <a:pt x="974863" y="1037669"/>
                </a:cubicBezTo>
                <a:close/>
                <a:moveTo>
                  <a:pt x="696071" y="1037669"/>
                </a:moveTo>
                <a:cubicBezTo>
                  <a:pt x="696071" y="1041314"/>
                  <a:pt x="707004" y="1044958"/>
                  <a:pt x="707004" y="1048602"/>
                </a:cubicBezTo>
                <a:cubicBezTo>
                  <a:pt x="708826" y="1044958"/>
                  <a:pt x="708826" y="1039492"/>
                  <a:pt x="699715" y="1037669"/>
                </a:cubicBezTo>
                <a:cubicBezTo>
                  <a:pt x="699715" y="1037669"/>
                  <a:pt x="697893" y="1037669"/>
                  <a:pt x="696071" y="1037669"/>
                </a:cubicBezTo>
                <a:close/>
                <a:moveTo>
                  <a:pt x="548475" y="1037669"/>
                </a:moveTo>
                <a:cubicBezTo>
                  <a:pt x="550297" y="1039492"/>
                  <a:pt x="550297" y="1046780"/>
                  <a:pt x="555763" y="1048602"/>
                </a:cubicBezTo>
                <a:cubicBezTo>
                  <a:pt x="555763" y="1044958"/>
                  <a:pt x="548475" y="1043136"/>
                  <a:pt x="552119" y="1039492"/>
                </a:cubicBezTo>
                <a:cubicBezTo>
                  <a:pt x="550297" y="1037669"/>
                  <a:pt x="550297" y="1037669"/>
                  <a:pt x="548475" y="1037669"/>
                </a:cubicBezTo>
                <a:close/>
                <a:moveTo>
                  <a:pt x="337102" y="1037669"/>
                </a:moveTo>
                <a:cubicBezTo>
                  <a:pt x="335280" y="1041314"/>
                  <a:pt x="338926" y="1039492"/>
                  <a:pt x="340747" y="1039492"/>
                </a:cubicBezTo>
                <a:cubicBezTo>
                  <a:pt x="338926" y="1039492"/>
                  <a:pt x="338926" y="1037669"/>
                  <a:pt x="337102" y="1037669"/>
                </a:cubicBezTo>
                <a:close/>
                <a:moveTo>
                  <a:pt x="255105" y="1037669"/>
                </a:moveTo>
                <a:lnTo>
                  <a:pt x="261105" y="1041955"/>
                </a:lnTo>
                <a:lnTo>
                  <a:pt x="269682" y="1052247"/>
                </a:lnTo>
                <a:cubicBezTo>
                  <a:pt x="270593" y="1050424"/>
                  <a:pt x="269226" y="1048602"/>
                  <a:pt x="267176" y="1046780"/>
                </a:cubicBezTo>
                <a:lnTo>
                  <a:pt x="262863" y="1043210"/>
                </a:lnTo>
                <a:lnTo>
                  <a:pt x="267860" y="1046780"/>
                </a:lnTo>
                <a:cubicBezTo>
                  <a:pt x="271504" y="1046780"/>
                  <a:pt x="271504" y="1044958"/>
                  <a:pt x="269682" y="1043136"/>
                </a:cubicBezTo>
                <a:cubicBezTo>
                  <a:pt x="273327" y="1046780"/>
                  <a:pt x="273327" y="1052247"/>
                  <a:pt x="282438" y="1052247"/>
                </a:cubicBezTo>
                <a:cubicBezTo>
                  <a:pt x="276971" y="1041314"/>
                  <a:pt x="264216" y="1037669"/>
                  <a:pt x="255105" y="1037669"/>
                </a:cubicBezTo>
                <a:close/>
                <a:moveTo>
                  <a:pt x="227772" y="1037669"/>
                </a:moveTo>
                <a:cubicBezTo>
                  <a:pt x="235061" y="1043136"/>
                  <a:pt x="242349" y="1048602"/>
                  <a:pt x="251460" y="1048602"/>
                </a:cubicBezTo>
                <a:cubicBezTo>
                  <a:pt x="245994" y="1043136"/>
                  <a:pt x="240527" y="1043136"/>
                  <a:pt x="236883" y="1037669"/>
                </a:cubicBezTo>
                <a:cubicBezTo>
                  <a:pt x="233239" y="1035847"/>
                  <a:pt x="229594" y="1035847"/>
                  <a:pt x="227772" y="1037669"/>
                </a:cubicBezTo>
                <a:close/>
                <a:moveTo>
                  <a:pt x="2206736" y="1037627"/>
                </a:moveTo>
                <a:lnTo>
                  <a:pt x="2205287" y="1040630"/>
                </a:lnTo>
                <a:lnTo>
                  <a:pt x="2205221" y="1041774"/>
                </a:lnTo>
                <a:lnTo>
                  <a:pt x="2203009" y="1043136"/>
                </a:lnTo>
                <a:cubicBezTo>
                  <a:pt x="2204831" y="1041314"/>
                  <a:pt x="2204831" y="1037669"/>
                  <a:pt x="2206653" y="1037669"/>
                </a:cubicBezTo>
                <a:close/>
                <a:moveTo>
                  <a:pt x="2235808" y="1035847"/>
                </a:moveTo>
                <a:lnTo>
                  <a:pt x="2235728" y="1035953"/>
                </a:lnTo>
                <a:lnTo>
                  <a:pt x="2235676" y="1035903"/>
                </a:lnTo>
                <a:close/>
                <a:moveTo>
                  <a:pt x="1135215" y="1035847"/>
                </a:moveTo>
                <a:cubicBezTo>
                  <a:pt x="1133393" y="1035847"/>
                  <a:pt x="1133393" y="1035847"/>
                  <a:pt x="1131570" y="1037669"/>
                </a:cubicBezTo>
                <a:cubicBezTo>
                  <a:pt x="1133393" y="1039492"/>
                  <a:pt x="1133393" y="1043136"/>
                  <a:pt x="1135215" y="1044958"/>
                </a:cubicBezTo>
                <a:cubicBezTo>
                  <a:pt x="1137037" y="1041314"/>
                  <a:pt x="1137037" y="1039492"/>
                  <a:pt x="1135215" y="1035847"/>
                </a:cubicBezTo>
                <a:close/>
                <a:moveTo>
                  <a:pt x="1080549" y="1035847"/>
                </a:moveTo>
                <a:cubicBezTo>
                  <a:pt x="1078727" y="1039492"/>
                  <a:pt x="1076905" y="1044958"/>
                  <a:pt x="1076905" y="1048602"/>
                </a:cubicBezTo>
                <a:cubicBezTo>
                  <a:pt x="1078727" y="1046780"/>
                  <a:pt x="1078727" y="1048602"/>
                  <a:pt x="1080549" y="1046780"/>
                </a:cubicBezTo>
                <a:cubicBezTo>
                  <a:pt x="1082373" y="1048602"/>
                  <a:pt x="1080549" y="1050425"/>
                  <a:pt x="1080549" y="1052247"/>
                </a:cubicBezTo>
                <a:cubicBezTo>
                  <a:pt x="1082373" y="1050425"/>
                  <a:pt x="1082373" y="1050425"/>
                  <a:pt x="1084194" y="1052247"/>
                </a:cubicBezTo>
                <a:lnTo>
                  <a:pt x="1084194" y="1046780"/>
                </a:lnTo>
                <a:cubicBezTo>
                  <a:pt x="1082373" y="1048602"/>
                  <a:pt x="1084194" y="1044958"/>
                  <a:pt x="1082373" y="1044958"/>
                </a:cubicBezTo>
                <a:cubicBezTo>
                  <a:pt x="1082373" y="1041314"/>
                  <a:pt x="1084194" y="1037669"/>
                  <a:pt x="1080549" y="1035847"/>
                </a:cubicBezTo>
                <a:close/>
                <a:moveTo>
                  <a:pt x="1018596" y="1035847"/>
                </a:moveTo>
                <a:cubicBezTo>
                  <a:pt x="1018596" y="1035847"/>
                  <a:pt x="1016774" y="1037669"/>
                  <a:pt x="1016774" y="1037669"/>
                </a:cubicBezTo>
                <a:cubicBezTo>
                  <a:pt x="1016774" y="1041314"/>
                  <a:pt x="1020418" y="1043136"/>
                  <a:pt x="1022240" y="1041314"/>
                </a:cubicBezTo>
                <a:cubicBezTo>
                  <a:pt x="1022240" y="1039492"/>
                  <a:pt x="1020418" y="1037669"/>
                  <a:pt x="1018596" y="1035847"/>
                </a:cubicBezTo>
                <a:close/>
                <a:moveTo>
                  <a:pt x="814512" y="1035847"/>
                </a:moveTo>
                <a:cubicBezTo>
                  <a:pt x="814512" y="1037669"/>
                  <a:pt x="812690" y="1039492"/>
                  <a:pt x="812690" y="1041314"/>
                </a:cubicBezTo>
                <a:lnTo>
                  <a:pt x="814512" y="1041314"/>
                </a:lnTo>
                <a:lnTo>
                  <a:pt x="816334" y="1041314"/>
                </a:lnTo>
                <a:cubicBezTo>
                  <a:pt x="818156" y="1039492"/>
                  <a:pt x="816334" y="1037669"/>
                  <a:pt x="814512" y="1035847"/>
                </a:cubicBezTo>
                <a:close/>
                <a:moveTo>
                  <a:pt x="703359" y="1035847"/>
                </a:moveTo>
                <a:cubicBezTo>
                  <a:pt x="703359" y="1037669"/>
                  <a:pt x="707004" y="1039492"/>
                  <a:pt x="708826" y="1041314"/>
                </a:cubicBezTo>
                <a:cubicBezTo>
                  <a:pt x="712470" y="1039492"/>
                  <a:pt x="707004" y="1035847"/>
                  <a:pt x="703359" y="1035847"/>
                </a:cubicBezTo>
                <a:close/>
                <a:moveTo>
                  <a:pt x="683316" y="1035847"/>
                </a:moveTo>
                <a:cubicBezTo>
                  <a:pt x="683316" y="1037669"/>
                  <a:pt x="683316" y="1039492"/>
                  <a:pt x="683316" y="1041314"/>
                </a:cubicBezTo>
                <a:cubicBezTo>
                  <a:pt x="681493" y="1041314"/>
                  <a:pt x="681493" y="1041314"/>
                  <a:pt x="681493" y="1041314"/>
                </a:cubicBezTo>
                <a:cubicBezTo>
                  <a:pt x="679671" y="1043136"/>
                  <a:pt x="681493" y="1044958"/>
                  <a:pt x="683316" y="1046780"/>
                </a:cubicBezTo>
                <a:cubicBezTo>
                  <a:pt x="683316" y="1044958"/>
                  <a:pt x="683316" y="1044958"/>
                  <a:pt x="685138" y="1043136"/>
                </a:cubicBezTo>
                <a:cubicBezTo>
                  <a:pt x="686960" y="1046780"/>
                  <a:pt x="694249" y="1050425"/>
                  <a:pt x="697893" y="1054069"/>
                </a:cubicBezTo>
                <a:cubicBezTo>
                  <a:pt x="697893" y="1052247"/>
                  <a:pt x="696071" y="1048602"/>
                  <a:pt x="696071" y="1046780"/>
                </a:cubicBezTo>
                <a:cubicBezTo>
                  <a:pt x="696071" y="1044958"/>
                  <a:pt x="692426" y="1044958"/>
                  <a:pt x="688782" y="1044958"/>
                </a:cubicBezTo>
                <a:cubicBezTo>
                  <a:pt x="688782" y="1043136"/>
                  <a:pt x="697893" y="1044958"/>
                  <a:pt x="692426" y="1039492"/>
                </a:cubicBezTo>
                <a:cubicBezTo>
                  <a:pt x="688782" y="1037669"/>
                  <a:pt x="685138" y="1034025"/>
                  <a:pt x="683316" y="1035847"/>
                </a:cubicBezTo>
                <a:close/>
                <a:moveTo>
                  <a:pt x="601318" y="1035847"/>
                </a:moveTo>
                <a:cubicBezTo>
                  <a:pt x="597673" y="1037669"/>
                  <a:pt x="601318" y="1041314"/>
                  <a:pt x="604963" y="1041314"/>
                </a:cubicBezTo>
                <a:cubicBezTo>
                  <a:pt x="608606" y="1039492"/>
                  <a:pt x="601318" y="1037669"/>
                  <a:pt x="604963" y="1037669"/>
                </a:cubicBezTo>
                <a:cubicBezTo>
                  <a:pt x="603140" y="1035847"/>
                  <a:pt x="603140" y="1037669"/>
                  <a:pt x="601318" y="1035847"/>
                </a:cubicBezTo>
                <a:close/>
                <a:moveTo>
                  <a:pt x="526609" y="1035847"/>
                </a:moveTo>
                <a:cubicBezTo>
                  <a:pt x="533897" y="1048602"/>
                  <a:pt x="535719" y="1063180"/>
                  <a:pt x="550297" y="1065002"/>
                </a:cubicBezTo>
                <a:cubicBezTo>
                  <a:pt x="555763" y="1066824"/>
                  <a:pt x="541186" y="1059535"/>
                  <a:pt x="544830" y="1052247"/>
                </a:cubicBezTo>
                <a:cubicBezTo>
                  <a:pt x="557586" y="1061358"/>
                  <a:pt x="555763" y="1054069"/>
                  <a:pt x="561230" y="1054069"/>
                </a:cubicBezTo>
                <a:cubicBezTo>
                  <a:pt x="557586" y="1054069"/>
                  <a:pt x="553941" y="1052247"/>
                  <a:pt x="550297" y="1052247"/>
                </a:cubicBezTo>
                <a:cubicBezTo>
                  <a:pt x="548475" y="1043136"/>
                  <a:pt x="530253" y="1043136"/>
                  <a:pt x="526609" y="1035847"/>
                </a:cubicBezTo>
                <a:close/>
                <a:moveTo>
                  <a:pt x="413634" y="1035847"/>
                </a:moveTo>
                <a:cubicBezTo>
                  <a:pt x="417278" y="1035847"/>
                  <a:pt x="424567" y="1037669"/>
                  <a:pt x="424567" y="1041314"/>
                </a:cubicBezTo>
                <a:cubicBezTo>
                  <a:pt x="422745" y="1041314"/>
                  <a:pt x="413634" y="1034025"/>
                  <a:pt x="413634" y="1035847"/>
                </a:cubicBezTo>
                <a:close/>
                <a:moveTo>
                  <a:pt x="1248827" y="1035782"/>
                </a:moveTo>
                <a:lnTo>
                  <a:pt x="1262895" y="1037880"/>
                </a:lnTo>
                <a:lnTo>
                  <a:pt x="1250012" y="1039492"/>
                </a:lnTo>
                <a:cubicBezTo>
                  <a:pt x="1248189" y="1041314"/>
                  <a:pt x="1246367" y="1039492"/>
                  <a:pt x="1244545" y="1041314"/>
                </a:cubicBezTo>
                <a:close/>
                <a:moveTo>
                  <a:pt x="3099518" y="1034025"/>
                </a:moveTo>
                <a:cubicBezTo>
                  <a:pt x="3094052" y="1032203"/>
                  <a:pt x="3095874" y="1035847"/>
                  <a:pt x="3095874" y="1039492"/>
                </a:cubicBezTo>
                <a:cubicBezTo>
                  <a:pt x="3097696" y="1039492"/>
                  <a:pt x="3099518" y="1039492"/>
                  <a:pt x="3101340" y="1039492"/>
                </a:cubicBezTo>
                <a:cubicBezTo>
                  <a:pt x="3103163" y="1035847"/>
                  <a:pt x="3099518" y="1037669"/>
                  <a:pt x="3099518" y="1034025"/>
                </a:cubicBezTo>
                <a:close/>
                <a:moveTo>
                  <a:pt x="1186236" y="1034025"/>
                </a:moveTo>
                <a:lnTo>
                  <a:pt x="1184940" y="1037912"/>
                </a:lnTo>
                <a:lnTo>
                  <a:pt x="1184414" y="1037669"/>
                </a:lnTo>
                <a:cubicBezTo>
                  <a:pt x="1184414" y="1037669"/>
                  <a:pt x="1186236" y="1039492"/>
                  <a:pt x="1184414" y="1039492"/>
                </a:cubicBezTo>
                <a:lnTo>
                  <a:pt x="1184940" y="1037912"/>
                </a:lnTo>
                <a:lnTo>
                  <a:pt x="1187374" y="1039036"/>
                </a:lnTo>
                <a:cubicBezTo>
                  <a:pt x="1188513" y="1039491"/>
                  <a:pt x="1189880" y="1039491"/>
                  <a:pt x="1191703" y="1037669"/>
                </a:cubicBezTo>
                <a:cubicBezTo>
                  <a:pt x="1191703" y="1034025"/>
                  <a:pt x="1188058" y="1034025"/>
                  <a:pt x="1186236" y="1034025"/>
                </a:cubicBezTo>
                <a:close/>
                <a:moveTo>
                  <a:pt x="1075083" y="1034025"/>
                </a:moveTo>
                <a:cubicBezTo>
                  <a:pt x="1073262" y="1035847"/>
                  <a:pt x="1075083" y="1037669"/>
                  <a:pt x="1073262" y="1039492"/>
                </a:cubicBezTo>
                <a:cubicBezTo>
                  <a:pt x="1073262" y="1039492"/>
                  <a:pt x="1073262" y="1035847"/>
                  <a:pt x="1073262" y="1035847"/>
                </a:cubicBezTo>
                <a:cubicBezTo>
                  <a:pt x="1069616" y="1037669"/>
                  <a:pt x="1069616" y="1041314"/>
                  <a:pt x="1067794" y="1043136"/>
                </a:cubicBezTo>
                <a:cubicBezTo>
                  <a:pt x="1069616" y="1043136"/>
                  <a:pt x="1073262" y="1044958"/>
                  <a:pt x="1071439" y="1046780"/>
                </a:cubicBezTo>
                <a:cubicBezTo>
                  <a:pt x="1069616" y="1048602"/>
                  <a:pt x="1069616" y="1044958"/>
                  <a:pt x="1067794" y="1044958"/>
                </a:cubicBezTo>
                <a:cubicBezTo>
                  <a:pt x="1064151" y="1046780"/>
                  <a:pt x="1065972" y="1048602"/>
                  <a:pt x="1064151" y="1050425"/>
                </a:cubicBezTo>
                <a:cubicBezTo>
                  <a:pt x="1065972" y="1050425"/>
                  <a:pt x="1069616" y="1054069"/>
                  <a:pt x="1071439" y="1052247"/>
                </a:cubicBezTo>
                <a:cubicBezTo>
                  <a:pt x="1069616" y="1050425"/>
                  <a:pt x="1069616" y="1050425"/>
                  <a:pt x="1069616" y="1048602"/>
                </a:cubicBezTo>
                <a:cubicBezTo>
                  <a:pt x="1071439" y="1048602"/>
                  <a:pt x="1071439" y="1052247"/>
                  <a:pt x="1073262" y="1052247"/>
                </a:cubicBezTo>
                <a:cubicBezTo>
                  <a:pt x="1075083" y="1050425"/>
                  <a:pt x="1073262" y="1048602"/>
                  <a:pt x="1075083" y="1046780"/>
                </a:cubicBezTo>
                <a:cubicBezTo>
                  <a:pt x="1073262" y="1044958"/>
                  <a:pt x="1071439" y="1043136"/>
                  <a:pt x="1071439" y="1041314"/>
                </a:cubicBezTo>
                <a:cubicBezTo>
                  <a:pt x="1073262" y="1041314"/>
                  <a:pt x="1073262" y="1041314"/>
                  <a:pt x="1073262" y="1039492"/>
                </a:cubicBezTo>
                <a:cubicBezTo>
                  <a:pt x="1075083" y="1039492"/>
                  <a:pt x="1078727" y="1043136"/>
                  <a:pt x="1075083" y="1043136"/>
                </a:cubicBezTo>
                <a:cubicBezTo>
                  <a:pt x="1078727" y="1043136"/>
                  <a:pt x="1078727" y="1039492"/>
                  <a:pt x="1078727" y="1037669"/>
                </a:cubicBezTo>
                <a:cubicBezTo>
                  <a:pt x="1076905" y="1037669"/>
                  <a:pt x="1076905" y="1034025"/>
                  <a:pt x="1075083" y="1034025"/>
                </a:cubicBezTo>
                <a:close/>
                <a:moveTo>
                  <a:pt x="1058683" y="1034025"/>
                </a:moveTo>
                <a:cubicBezTo>
                  <a:pt x="1058683" y="1034025"/>
                  <a:pt x="1056861" y="1035847"/>
                  <a:pt x="1056861" y="1035847"/>
                </a:cubicBezTo>
                <a:cubicBezTo>
                  <a:pt x="1058683" y="1037669"/>
                  <a:pt x="1056861" y="1037669"/>
                  <a:pt x="1058683" y="1039492"/>
                </a:cubicBezTo>
                <a:cubicBezTo>
                  <a:pt x="1058683" y="1037669"/>
                  <a:pt x="1060506" y="1035847"/>
                  <a:pt x="1058683" y="1034025"/>
                </a:cubicBezTo>
                <a:close/>
                <a:moveTo>
                  <a:pt x="1045929" y="1034025"/>
                </a:moveTo>
                <a:cubicBezTo>
                  <a:pt x="1049573" y="1037669"/>
                  <a:pt x="1053217" y="1043136"/>
                  <a:pt x="1056861" y="1044958"/>
                </a:cubicBezTo>
                <a:cubicBezTo>
                  <a:pt x="1058683" y="1046780"/>
                  <a:pt x="1060506" y="1048602"/>
                  <a:pt x="1060506" y="1048602"/>
                </a:cubicBezTo>
                <a:cubicBezTo>
                  <a:pt x="1064151" y="1044958"/>
                  <a:pt x="1064151" y="1039492"/>
                  <a:pt x="1064151" y="1035847"/>
                </a:cubicBezTo>
                <a:cubicBezTo>
                  <a:pt x="1064151" y="1037669"/>
                  <a:pt x="1064151" y="1037669"/>
                  <a:pt x="1065972" y="1039492"/>
                </a:cubicBezTo>
                <a:cubicBezTo>
                  <a:pt x="1067794" y="1037669"/>
                  <a:pt x="1069616" y="1035847"/>
                  <a:pt x="1069616" y="1034025"/>
                </a:cubicBezTo>
                <a:cubicBezTo>
                  <a:pt x="1067794" y="1032203"/>
                  <a:pt x="1065972" y="1035847"/>
                  <a:pt x="1064151" y="1035847"/>
                </a:cubicBezTo>
                <a:cubicBezTo>
                  <a:pt x="1060506" y="1034025"/>
                  <a:pt x="1058683" y="1043136"/>
                  <a:pt x="1056861" y="1044958"/>
                </a:cubicBezTo>
                <a:cubicBezTo>
                  <a:pt x="1058683" y="1035847"/>
                  <a:pt x="1051395" y="1032203"/>
                  <a:pt x="1045929" y="1034025"/>
                </a:cubicBezTo>
                <a:close/>
                <a:moveTo>
                  <a:pt x="761670" y="1034025"/>
                </a:moveTo>
                <a:cubicBezTo>
                  <a:pt x="759848" y="1034025"/>
                  <a:pt x="758025" y="1037669"/>
                  <a:pt x="756203" y="1039492"/>
                </a:cubicBezTo>
                <a:cubicBezTo>
                  <a:pt x="758025" y="1037669"/>
                  <a:pt x="763491" y="1039492"/>
                  <a:pt x="761670" y="1034025"/>
                </a:cubicBezTo>
                <a:close/>
                <a:moveTo>
                  <a:pt x="247816" y="1034025"/>
                </a:moveTo>
                <a:cubicBezTo>
                  <a:pt x="247816" y="1037669"/>
                  <a:pt x="244172" y="1039492"/>
                  <a:pt x="240527" y="1035847"/>
                </a:cubicBezTo>
                <a:cubicBezTo>
                  <a:pt x="244172" y="1043136"/>
                  <a:pt x="255105" y="1046780"/>
                  <a:pt x="260571" y="1048602"/>
                </a:cubicBezTo>
                <a:cubicBezTo>
                  <a:pt x="255105" y="1043136"/>
                  <a:pt x="255105" y="1035847"/>
                  <a:pt x="247816" y="1034025"/>
                </a:cubicBezTo>
                <a:close/>
                <a:moveTo>
                  <a:pt x="112975" y="1034025"/>
                </a:moveTo>
                <a:cubicBezTo>
                  <a:pt x="120264" y="1044958"/>
                  <a:pt x="129375" y="1044958"/>
                  <a:pt x="134841" y="1048602"/>
                </a:cubicBezTo>
                <a:cubicBezTo>
                  <a:pt x="129375" y="1039492"/>
                  <a:pt x="120264" y="1035847"/>
                  <a:pt x="112975" y="1034025"/>
                </a:cubicBezTo>
                <a:close/>
                <a:moveTo>
                  <a:pt x="794151" y="1033611"/>
                </a:moveTo>
                <a:lnTo>
                  <a:pt x="794468" y="1034086"/>
                </a:lnTo>
                <a:cubicBezTo>
                  <a:pt x="792646" y="1035909"/>
                  <a:pt x="789001" y="1037732"/>
                  <a:pt x="789001" y="1037732"/>
                </a:cubicBezTo>
                <a:close/>
                <a:moveTo>
                  <a:pt x="1234916" y="1033280"/>
                </a:moveTo>
                <a:lnTo>
                  <a:pt x="1245751" y="1035257"/>
                </a:lnTo>
                <a:lnTo>
                  <a:pt x="1244545" y="1037669"/>
                </a:lnTo>
                <a:cubicBezTo>
                  <a:pt x="1240901" y="1039492"/>
                  <a:pt x="1237256" y="1037669"/>
                  <a:pt x="1233612" y="1037669"/>
                </a:cubicBezTo>
                <a:cubicBezTo>
                  <a:pt x="1231790" y="1035847"/>
                  <a:pt x="1233612" y="1035847"/>
                  <a:pt x="1233612" y="1034025"/>
                </a:cubicBezTo>
                <a:close/>
                <a:moveTo>
                  <a:pt x="3106807" y="1032203"/>
                </a:moveTo>
                <a:cubicBezTo>
                  <a:pt x="3112274" y="1034025"/>
                  <a:pt x="3114096" y="1035847"/>
                  <a:pt x="3110451" y="1041314"/>
                </a:cubicBezTo>
                <a:cubicBezTo>
                  <a:pt x="3117740" y="1039492"/>
                  <a:pt x="3117740" y="1037669"/>
                  <a:pt x="3115918" y="1032203"/>
                </a:cubicBezTo>
                <a:cubicBezTo>
                  <a:pt x="3112274" y="1032203"/>
                  <a:pt x="3110451" y="1030381"/>
                  <a:pt x="3106807" y="1032203"/>
                </a:cubicBezTo>
                <a:close/>
                <a:moveTo>
                  <a:pt x="1290100" y="1032203"/>
                </a:moveTo>
                <a:lnTo>
                  <a:pt x="1287391" y="1044197"/>
                </a:lnTo>
                <a:lnTo>
                  <a:pt x="1284633" y="1043136"/>
                </a:lnTo>
                <a:lnTo>
                  <a:pt x="1276731" y="1046798"/>
                </a:lnTo>
                <a:lnTo>
                  <a:pt x="1279166" y="1039492"/>
                </a:lnTo>
                <a:cubicBezTo>
                  <a:pt x="1284633" y="1037669"/>
                  <a:pt x="1286455" y="1034025"/>
                  <a:pt x="1290100" y="1032203"/>
                </a:cubicBezTo>
                <a:close/>
                <a:moveTo>
                  <a:pt x="1146148" y="1032203"/>
                </a:moveTo>
                <a:cubicBezTo>
                  <a:pt x="1144326" y="1034025"/>
                  <a:pt x="1144326" y="1037669"/>
                  <a:pt x="1142503" y="1039492"/>
                </a:cubicBezTo>
                <a:cubicBezTo>
                  <a:pt x="1144326" y="1041314"/>
                  <a:pt x="1146148" y="1039492"/>
                  <a:pt x="1147970" y="1037669"/>
                </a:cubicBezTo>
                <a:cubicBezTo>
                  <a:pt x="1147970" y="1035847"/>
                  <a:pt x="1147970" y="1034025"/>
                  <a:pt x="1146148" y="1032203"/>
                </a:cubicBezTo>
                <a:close/>
                <a:moveTo>
                  <a:pt x="1034995" y="1032203"/>
                </a:moveTo>
                <a:cubicBezTo>
                  <a:pt x="1033173" y="1035847"/>
                  <a:pt x="1027707" y="1037669"/>
                  <a:pt x="1031351" y="1041314"/>
                </a:cubicBezTo>
                <a:cubicBezTo>
                  <a:pt x="1031351" y="1041314"/>
                  <a:pt x="1029529" y="1039492"/>
                  <a:pt x="1027707" y="1041314"/>
                </a:cubicBezTo>
                <a:cubicBezTo>
                  <a:pt x="1027707" y="1044958"/>
                  <a:pt x="1024062" y="1044958"/>
                  <a:pt x="1025884" y="1050425"/>
                </a:cubicBezTo>
                <a:cubicBezTo>
                  <a:pt x="1027707" y="1052247"/>
                  <a:pt x="1029529" y="1052247"/>
                  <a:pt x="1031351" y="1050425"/>
                </a:cubicBezTo>
                <a:cubicBezTo>
                  <a:pt x="1029529" y="1048602"/>
                  <a:pt x="1031351" y="1046780"/>
                  <a:pt x="1031351" y="1044958"/>
                </a:cubicBezTo>
                <a:cubicBezTo>
                  <a:pt x="1033173" y="1046780"/>
                  <a:pt x="1033173" y="1050425"/>
                  <a:pt x="1034995" y="1050425"/>
                </a:cubicBezTo>
                <a:lnTo>
                  <a:pt x="1034995" y="1048602"/>
                </a:lnTo>
                <a:cubicBezTo>
                  <a:pt x="1036818" y="1050425"/>
                  <a:pt x="1038639" y="1048602"/>
                  <a:pt x="1040462" y="1048602"/>
                </a:cubicBezTo>
                <a:cubicBezTo>
                  <a:pt x="1038639" y="1046780"/>
                  <a:pt x="1038639" y="1044958"/>
                  <a:pt x="1036818" y="1043136"/>
                </a:cubicBezTo>
                <a:cubicBezTo>
                  <a:pt x="1034995" y="1044958"/>
                  <a:pt x="1038639" y="1046780"/>
                  <a:pt x="1034995" y="1048602"/>
                </a:cubicBezTo>
                <a:lnTo>
                  <a:pt x="1034995" y="1039492"/>
                </a:lnTo>
                <a:cubicBezTo>
                  <a:pt x="1036818" y="1041314"/>
                  <a:pt x="1038639" y="1043136"/>
                  <a:pt x="1040462" y="1043136"/>
                </a:cubicBezTo>
                <a:cubicBezTo>
                  <a:pt x="1042284" y="1037669"/>
                  <a:pt x="1038639" y="1037669"/>
                  <a:pt x="1034995" y="1032203"/>
                </a:cubicBezTo>
                <a:close/>
                <a:moveTo>
                  <a:pt x="1024062" y="1032203"/>
                </a:moveTo>
                <a:cubicBezTo>
                  <a:pt x="1024062" y="1034025"/>
                  <a:pt x="1022240" y="1034025"/>
                  <a:pt x="1020418" y="1035847"/>
                </a:cubicBezTo>
                <a:cubicBezTo>
                  <a:pt x="1022240" y="1037669"/>
                  <a:pt x="1022240" y="1041314"/>
                  <a:pt x="1024062" y="1043136"/>
                </a:cubicBezTo>
                <a:cubicBezTo>
                  <a:pt x="1025884" y="1039492"/>
                  <a:pt x="1027707" y="1035847"/>
                  <a:pt x="1024062" y="1032203"/>
                </a:cubicBezTo>
                <a:close/>
                <a:moveTo>
                  <a:pt x="916555" y="1032203"/>
                </a:moveTo>
                <a:cubicBezTo>
                  <a:pt x="916555" y="1032203"/>
                  <a:pt x="916555" y="1034025"/>
                  <a:pt x="918376" y="1035847"/>
                </a:cubicBezTo>
                <a:cubicBezTo>
                  <a:pt x="918376" y="1039492"/>
                  <a:pt x="914732" y="1043136"/>
                  <a:pt x="916555" y="1046780"/>
                </a:cubicBezTo>
                <a:cubicBezTo>
                  <a:pt x="920198" y="1043136"/>
                  <a:pt x="918376" y="1041314"/>
                  <a:pt x="920198" y="1039492"/>
                </a:cubicBezTo>
                <a:cubicBezTo>
                  <a:pt x="920198" y="1037669"/>
                  <a:pt x="918376" y="1037669"/>
                  <a:pt x="918376" y="1035847"/>
                </a:cubicBezTo>
                <a:cubicBezTo>
                  <a:pt x="920198" y="1034025"/>
                  <a:pt x="918376" y="1032203"/>
                  <a:pt x="920198" y="1032203"/>
                </a:cubicBezTo>
                <a:cubicBezTo>
                  <a:pt x="918376" y="1030381"/>
                  <a:pt x="918376" y="1030381"/>
                  <a:pt x="916555" y="1032203"/>
                </a:cubicBezTo>
                <a:close/>
                <a:moveTo>
                  <a:pt x="225950" y="1032203"/>
                </a:moveTo>
                <a:cubicBezTo>
                  <a:pt x="231416" y="1035847"/>
                  <a:pt x="235061" y="1032203"/>
                  <a:pt x="238705" y="1032203"/>
                </a:cubicBezTo>
                <a:cubicBezTo>
                  <a:pt x="235061" y="1030381"/>
                  <a:pt x="229594" y="1030381"/>
                  <a:pt x="225950" y="1032203"/>
                </a:cubicBezTo>
                <a:close/>
                <a:moveTo>
                  <a:pt x="537541" y="1031519"/>
                </a:moveTo>
                <a:cubicBezTo>
                  <a:pt x="535264" y="1032203"/>
                  <a:pt x="532986" y="1033114"/>
                  <a:pt x="530253" y="1032203"/>
                </a:cubicBezTo>
                <a:cubicBezTo>
                  <a:pt x="533897" y="1035847"/>
                  <a:pt x="539364" y="1037669"/>
                  <a:pt x="544830" y="1039492"/>
                </a:cubicBezTo>
                <a:cubicBezTo>
                  <a:pt x="543008" y="1039492"/>
                  <a:pt x="541186" y="1041314"/>
                  <a:pt x="539364" y="1039492"/>
                </a:cubicBezTo>
                <a:cubicBezTo>
                  <a:pt x="541186" y="1041314"/>
                  <a:pt x="544830" y="1043136"/>
                  <a:pt x="546653" y="1044958"/>
                </a:cubicBezTo>
                <a:cubicBezTo>
                  <a:pt x="546653" y="1043136"/>
                  <a:pt x="546653" y="1041314"/>
                  <a:pt x="544830" y="1039492"/>
                </a:cubicBezTo>
                <a:cubicBezTo>
                  <a:pt x="543008" y="1035847"/>
                  <a:pt x="543008" y="1034025"/>
                  <a:pt x="544830" y="1032203"/>
                </a:cubicBezTo>
                <a:cubicBezTo>
                  <a:pt x="542097" y="1030381"/>
                  <a:pt x="539820" y="1030836"/>
                  <a:pt x="537541" y="1031519"/>
                </a:cubicBezTo>
                <a:close/>
                <a:moveTo>
                  <a:pt x="3533196" y="1030381"/>
                </a:moveTo>
                <a:cubicBezTo>
                  <a:pt x="3527729" y="1035847"/>
                  <a:pt x="3538662" y="1039492"/>
                  <a:pt x="3540484" y="1037669"/>
                </a:cubicBezTo>
                <a:cubicBezTo>
                  <a:pt x="3540484" y="1034025"/>
                  <a:pt x="3531374" y="1035847"/>
                  <a:pt x="3533196" y="1030381"/>
                </a:cubicBezTo>
                <a:close/>
                <a:moveTo>
                  <a:pt x="2589310" y="1030381"/>
                </a:moveTo>
                <a:cubicBezTo>
                  <a:pt x="2583843" y="1028559"/>
                  <a:pt x="2591132" y="1041314"/>
                  <a:pt x="2587487" y="1041314"/>
                </a:cubicBezTo>
                <a:cubicBezTo>
                  <a:pt x="2591132" y="1044958"/>
                  <a:pt x="2591132" y="1035847"/>
                  <a:pt x="2589310" y="1030381"/>
                </a:cubicBezTo>
                <a:close/>
                <a:moveTo>
                  <a:pt x="976686" y="1030381"/>
                </a:moveTo>
                <a:cubicBezTo>
                  <a:pt x="974863" y="1030381"/>
                  <a:pt x="974863" y="1032203"/>
                  <a:pt x="974863" y="1032203"/>
                </a:cubicBezTo>
                <a:cubicBezTo>
                  <a:pt x="976686" y="1034025"/>
                  <a:pt x="978508" y="1037669"/>
                  <a:pt x="980330" y="1037669"/>
                </a:cubicBezTo>
                <a:cubicBezTo>
                  <a:pt x="980330" y="1035847"/>
                  <a:pt x="978508" y="1032203"/>
                  <a:pt x="976686" y="1030381"/>
                </a:cubicBezTo>
                <a:close/>
                <a:moveTo>
                  <a:pt x="858244" y="1030381"/>
                </a:moveTo>
                <a:cubicBezTo>
                  <a:pt x="856422" y="1030381"/>
                  <a:pt x="856422" y="1035847"/>
                  <a:pt x="856422" y="1039492"/>
                </a:cubicBezTo>
                <a:cubicBezTo>
                  <a:pt x="858244" y="1041314"/>
                  <a:pt x="858244" y="1035847"/>
                  <a:pt x="860066" y="1037669"/>
                </a:cubicBezTo>
                <a:cubicBezTo>
                  <a:pt x="861889" y="1034025"/>
                  <a:pt x="856422" y="1032203"/>
                  <a:pt x="858244" y="1030381"/>
                </a:cubicBezTo>
                <a:close/>
                <a:moveTo>
                  <a:pt x="422745" y="1030381"/>
                </a:moveTo>
                <a:cubicBezTo>
                  <a:pt x="422745" y="1037669"/>
                  <a:pt x="431856" y="1037669"/>
                  <a:pt x="435500" y="1041314"/>
                </a:cubicBezTo>
                <a:cubicBezTo>
                  <a:pt x="431856" y="1037669"/>
                  <a:pt x="426389" y="1032203"/>
                  <a:pt x="422745" y="1030381"/>
                </a:cubicBezTo>
                <a:close/>
                <a:moveTo>
                  <a:pt x="320703" y="1030381"/>
                </a:moveTo>
                <a:cubicBezTo>
                  <a:pt x="320703" y="1035847"/>
                  <a:pt x="324347" y="1041314"/>
                  <a:pt x="331636" y="1039492"/>
                </a:cubicBezTo>
                <a:cubicBezTo>
                  <a:pt x="327993" y="1035847"/>
                  <a:pt x="324347" y="1030381"/>
                  <a:pt x="320703" y="1030381"/>
                </a:cubicBezTo>
                <a:close/>
                <a:moveTo>
                  <a:pt x="119505" y="1029828"/>
                </a:moveTo>
                <a:lnTo>
                  <a:pt x="122086" y="1032203"/>
                </a:lnTo>
                <a:lnTo>
                  <a:pt x="120875" y="1031842"/>
                </a:lnTo>
                <a:lnTo>
                  <a:pt x="119932" y="1030712"/>
                </a:lnTo>
                <a:lnTo>
                  <a:pt x="119808" y="1030153"/>
                </a:lnTo>
                <a:close/>
                <a:moveTo>
                  <a:pt x="3553467" y="1029470"/>
                </a:moveTo>
                <a:cubicBezTo>
                  <a:pt x="3551418" y="1029014"/>
                  <a:pt x="3548684" y="1029470"/>
                  <a:pt x="3545951" y="1030381"/>
                </a:cubicBezTo>
                <a:cubicBezTo>
                  <a:pt x="3547773" y="1034025"/>
                  <a:pt x="3553240" y="1037669"/>
                  <a:pt x="3544129" y="1041314"/>
                </a:cubicBezTo>
                <a:cubicBezTo>
                  <a:pt x="3544129" y="1043136"/>
                  <a:pt x="3547773" y="1044958"/>
                  <a:pt x="3547773" y="1048602"/>
                </a:cubicBezTo>
                <a:cubicBezTo>
                  <a:pt x="3549595" y="1046780"/>
                  <a:pt x="3551417" y="1044958"/>
                  <a:pt x="3553240" y="1041314"/>
                </a:cubicBezTo>
                <a:cubicBezTo>
                  <a:pt x="3551417" y="1044958"/>
                  <a:pt x="3558706" y="1044958"/>
                  <a:pt x="3558706" y="1046780"/>
                </a:cubicBezTo>
                <a:cubicBezTo>
                  <a:pt x="3560528" y="1044958"/>
                  <a:pt x="3560528" y="1044958"/>
                  <a:pt x="3560528" y="1043136"/>
                </a:cubicBezTo>
                <a:cubicBezTo>
                  <a:pt x="3560528" y="1044958"/>
                  <a:pt x="3567817" y="1044958"/>
                  <a:pt x="3562350" y="1046780"/>
                </a:cubicBezTo>
                <a:cubicBezTo>
                  <a:pt x="3553240" y="1050425"/>
                  <a:pt x="3556884" y="1052247"/>
                  <a:pt x="3558706" y="1057713"/>
                </a:cubicBezTo>
                <a:cubicBezTo>
                  <a:pt x="3562350" y="1065002"/>
                  <a:pt x="3573284" y="1050425"/>
                  <a:pt x="3578750" y="1059535"/>
                </a:cubicBezTo>
                <a:cubicBezTo>
                  <a:pt x="3578750" y="1059535"/>
                  <a:pt x="3576928" y="1061358"/>
                  <a:pt x="3575106" y="1061358"/>
                </a:cubicBezTo>
                <a:cubicBezTo>
                  <a:pt x="3578750" y="1065002"/>
                  <a:pt x="3584216" y="1066824"/>
                  <a:pt x="3589683" y="1066824"/>
                </a:cubicBezTo>
                <a:cubicBezTo>
                  <a:pt x="3584216" y="1063180"/>
                  <a:pt x="3580572" y="1059535"/>
                  <a:pt x="3582394" y="1052247"/>
                </a:cubicBezTo>
                <a:cubicBezTo>
                  <a:pt x="3582394" y="1050425"/>
                  <a:pt x="3589683" y="1052247"/>
                  <a:pt x="3591505" y="1050425"/>
                </a:cubicBezTo>
                <a:cubicBezTo>
                  <a:pt x="3591505" y="1048602"/>
                  <a:pt x="3591505" y="1044958"/>
                  <a:pt x="3593327" y="1043136"/>
                </a:cubicBezTo>
                <a:cubicBezTo>
                  <a:pt x="3602438" y="1048602"/>
                  <a:pt x="3589683" y="1052247"/>
                  <a:pt x="3593327" y="1057713"/>
                </a:cubicBezTo>
                <a:cubicBezTo>
                  <a:pt x="3595150" y="1054069"/>
                  <a:pt x="3595150" y="1048602"/>
                  <a:pt x="3604260" y="1050425"/>
                </a:cubicBezTo>
                <a:cubicBezTo>
                  <a:pt x="3609727" y="1034025"/>
                  <a:pt x="3586039" y="1032203"/>
                  <a:pt x="3573284" y="1032203"/>
                </a:cubicBezTo>
                <a:cubicBezTo>
                  <a:pt x="3569639" y="1032203"/>
                  <a:pt x="3565995" y="1035847"/>
                  <a:pt x="3560528" y="1034025"/>
                </a:cubicBezTo>
                <a:cubicBezTo>
                  <a:pt x="3562350" y="1037669"/>
                  <a:pt x="3564173" y="1044958"/>
                  <a:pt x="3553240" y="1041314"/>
                </a:cubicBezTo>
                <a:cubicBezTo>
                  <a:pt x="3549595" y="1041314"/>
                  <a:pt x="3549595" y="1032203"/>
                  <a:pt x="3556884" y="1034025"/>
                </a:cubicBezTo>
                <a:cubicBezTo>
                  <a:pt x="3556884" y="1031292"/>
                  <a:pt x="3555518" y="1029925"/>
                  <a:pt x="3553467" y="1029470"/>
                </a:cubicBezTo>
                <a:close/>
                <a:moveTo>
                  <a:pt x="164384" y="1029185"/>
                </a:moveTo>
                <a:lnTo>
                  <a:pt x="177777" y="1040346"/>
                </a:lnTo>
                <a:lnTo>
                  <a:pt x="182218" y="1044958"/>
                </a:lnTo>
                <a:cubicBezTo>
                  <a:pt x="178573" y="1041313"/>
                  <a:pt x="174018" y="1038125"/>
                  <a:pt x="169690" y="1034708"/>
                </a:cubicBezTo>
                <a:close/>
                <a:moveTo>
                  <a:pt x="2592954" y="1028559"/>
                </a:moveTo>
                <a:cubicBezTo>
                  <a:pt x="2591132" y="1032203"/>
                  <a:pt x="2596598" y="1034025"/>
                  <a:pt x="2596598" y="1043136"/>
                </a:cubicBezTo>
                <a:cubicBezTo>
                  <a:pt x="2600243" y="1041314"/>
                  <a:pt x="2594776" y="1032203"/>
                  <a:pt x="2596598" y="1030381"/>
                </a:cubicBezTo>
                <a:cubicBezTo>
                  <a:pt x="2596598" y="1028559"/>
                  <a:pt x="2594776" y="1028559"/>
                  <a:pt x="2592954" y="1028559"/>
                </a:cubicBezTo>
                <a:close/>
                <a:moveTo>
                  <a:pt x="1073262" y="1028559"/>
                </a:moveTo>
                <a:cubicBezTo>
                  <a:pt x="1071439" y="1028559"/>
                  <a:pt x="1071439" y="1030381"/>
                  <a:pt x="1071439" y="1030381"/>
                </a:cubicBezTo>
                <a:cubicBezTo>
                  <a:pt x="1071439" y="1032203"/>
                  <a:pt x="1073262" y="1032203"/>
                  <a:pt x="1075083" y="1030381"/>
                </a:cubicBezTo>
                <a:cubicBezTo>
                  <a:pt x="1075083" y="1030381"/>
                  <a:pt x="1073262" y="1030381"/>
                  <a:pt x="1073262" y="1028559"/>
                </a:cubicBezTo>
                <a:close/>
                <a:moveTo>
                  <a:pt x="819979" y="1028559"/>
                </a:moveTo>
                <a:lnTo>
                  <a:pt x="820707" y="1029651"/>
                </a:lnTo>
                <a:lnTo>
                  <a:pt x="819213" y="1031147"/>
                </a:lnTo>
                <a:close/>
                <a:moveTo>
                  <a:pt x="748914" y="1028559"/>
                </a:moveTo>
                <a:cubicBezTo>
                  <a:pt x="748914" y="1032203"/>
                  <a:pt x="747092" y="1035847"/>
                  <a:pt x="750737" y="1037669"/>
                </a:cubicBezTo>
                <a:cubicBezTo>
                  <a:pt x="752558" y="1035847"/>
                  <a:pt x="750737" y="1034025"/>
                  <a:pt x="752558" y="1034025"/>
                </a:cubicBezTo>
                <a:cubicBezTo>
                  <a:pt x="750737" y="1032203"/>
                  <a:pt x="750737" y="1030381"/>
                  <a:pt x="748914" y="1028559"/>
                </a:cubicBezTo>
                <a:close/>
                <a:moveTo>
                  <a:pt x="677849" y="1028559"/>
                </a:moveTo>
                <a:cubicBezTo>
                  <a:pt x="679671" y="1030381"/>
                  <a:pt x="677849" y="1035847"/>
                  <a:pt x="683316" y="1030381"/>
                </a:cubicBezTo>
                <a:cubicBezTo>
                  <a:pt x="681493" y="1028559"/>
                  <a:pt x="679671" y="1028559"/>
                  <a:pt x="677849" y="1028559"/>
                </a:cubicBezTo>
                <a:close/>
                <a:moveTo>
                  <a:pt x="386301" y="1028559"/>
                </a:moveTo>
                <a:cubicBezTo>
                  <a:pt x="386301" y="1041314"/>
                  <a:pt x="393590" y="1035847"/>
                  <a:pt x="399056" y="1035847"/>
                </a:cubicBezTo>
                <a:cubicBezTo>
                  <a:pt x="393590" y="1032203"/>
                  <a:pt x="391768" y="1034025"/>
                  <a:pt x="386301" y="1028559"/>
                </a:cubicBezTo>
                <a:close/>
                <a:moveTo>
                  <a:pt x="295193" y="1028559"/>
                </a:moveTo>
                <a:cubicBezTo>
                  <a:pt x="298837" y="1034025"/>
                  <a:pt x="306126" y="1046780"/>
                  <a:pt x="311592" y="1041314"/>
                </a:cubicBezTo>
                <a:cubicBezTo>
                  <a:pt x="309771" y="1037669"/>
                  <a:pt x="302481" y="1032203"/>
                  <a:pt x="300660" y="1028559"/>
                </a:cubicBezTo>
                <a:cubicBezTo>
                  <a:pt x="300660" y="1028559"/>
                  <a:pt x="298837" y="1028559"/>
                  <a:pt x="298837" y="1028559"/>
                </a:cubicBezTo>
                <a:cubicBezTo>
                  <a:pt x="298837" y="1032203"/>
                  <a:pt x="307948" y="1035847"/>
                  <a:pt x="311592" y="1041314"/>
                </a:cubicBezTo>
                <a:cubicBezTo>
                  <a:pt x="306126" y="1037669"/>
                  <a:pt x="300660" y="1032203"/>
                  <a:pt x="295193" y="1028559"/>
                </a:cubicBezTo>
                <a:close/>
                <a:moveTo>
                  <a:pt x="94753" y="1028559"/>
                </a:moveTo>
                <a:lnTo>
                  <a:pt x="94756" y="1028561"/>
                </a:lnTo>
                <a:lnTo>
                  <a:pt x="96576" y="1030381"/>
                </a:lnTo>
                <a:close/>
                <a:moveTo>
                  <a:pt x="798112" y="1026797"/>
                </a:moveTo>
                <a:cubicBezTo>
                  <a:pt x="798112" y="1026797"/>
                  <a:pt x="799934" y="1028620"/>
                  <a:pt x="799934" y="1030442"/>
                </a:cubicBezTo>
                <a:cubicBezTo>
                  <a:pt x="799934" y="1030442"/>
                  <a:pt x="798112" y="1030442"/>
                  <a:pt x="798112" y="1030442"/>
                </a:cubicBezTo>
                <a:lnTo>
                  <a:pt x="794151" y="1033611"/>
                </a:lnTo>
                <a:lnTo>
                  <a:pt x="793142" y="1032099"/>
                </a:lnTo>
                <a:lnTo>
                  <a:pt x="790823" y="1028620"/>
                </a:lnTo>
                <a:cubicBezTo>
                  <a:pt x="792646" y="1028620"/>
                  <a:pt x="798112" y="1024975"/>
                  <a:pt x="798112" y="1026797"/>
                </a:cubicBezTo>
                <a:close/>
                <a:moveTo>
                  <a:pt x="3119562" y="1026736"/>
                </a:moveTo>
                <a:cubicBezTo>
                  <a:pt x="3112274" y="1028559"/>
                  <a:pt x="3121384" y="1034025"/>
                  <a:pt x="3126851" y="1032203"/>
                </a:cubicBezTo>
                <a:cubicBezTo>
                  <a:pt x="3126851" y="1028559"/>
                  <a:pt x="3117740" y="1032203"/>
                  <a:pt x="3119562" y="1026736"/>
                </a:cubicBezTo>
                <a:close/>
                <a:moveTo>
                  <a:pt x="1250012" y="1026736"/>
                </a:moveTo>
                <a:cubicBezTo>
                  <a:pt x="1251834" y="1032203"/>
                  <a:pt x="1255478" y="1026736"/>
                  <a:pt x="1255478" y="1028559"/>
                </a:cubicBezTo>
                <a:cubicBezTo>
                  <a:pt x="1252745" y="1029470"/>
                  <a:pt x="1251378" y="1031747"/>
                  <a:pt x="1250012" y="1034252"/>
                </a:cubicBezTo>
                <a:lnTo>
                  <a:pt x="1248827" y="1035782"/>
                </a:lnTo>
                <a:lnTo>
                  <a:pt x="1247735" y="1035619"/>
                </a:lnTo>
                <a:lnTo>
                  <a:pt x="1245751" y="1035257"/>
                </a:lnTo>
                <a:close/>
                <a:moveTo>
                  <a:pt x="927487" y="1026736"/>
                </a:moveTo>
                <a:cubicBezTo>
                  <a:pt x="920198" y="1037669"/>
                  <a:pt x="925666" y="1050425"/>
                  <a:pt x="925666" y="1063180"/>
                </a:cubicBezTo>
                <a:cubicBezTo>
                  <a:pt x="929309" y="1065002"/>
                  <a:pt x="925666" y="1059535"/>
                  <a:pt x="929309" y="1059535"/>
                </a:cubicBezTo>
                <a:cubicBezTo>
                  <a:pt x="931131" y="1063180"/>
                  <a:pt x="927487" y="1061358"/>
                  <a:pt x="927487" y="1063180"/>
                </a:cubicBezTo>
                <a:cubicBezTo>
                  <a:pt x="931131" y="1066824"/>
                  <a:pt x="932953" y="1065002"/>
                  <a:pt x="936598" y="1063180"/>
                </a:cubicBezTo>
                <a:cubicBezTo>
                  <a:pt x="931131" y="1052247"/>
                  <a:pt x="931131" y="1039492"/>
                  <a:pt x="927487" y="1026736"/>
                </a:cubicBezTo>
                <a:close/>
                <a:moveTo>
                  <a:pt x="767136" y="1026736"/>
                </a:moveTo>
                <a:cubicBezTo>
                  <a:pt x="768959" y="1028559"/>
                  <a:pt x="770781" y="1030381"/>
                  <a:pt x="770781" y="1032203"/>
                </a:cubicBezTo>
                <a:cubicBezTo>
                  <a:pt x="768959" y="1032203"/>
                  <a:pt x="768959" y="1034025"/>
                  <a:pt x="767136" y="1034025"/>
                </a:cubicBezTo>
                <a:close/>
                <a:moveTo>
                  <a:pt x="379012" y="1026736"/>
                </a:moveTo>
                <a:cubicBezTo>
                  <a:pt x="377190" y="1028559"/>
                  <a:pt x="384479" y="1032203"/>
                  <a:pt x="384479" y="1035847"/>
                </a:cubicBezTo>
                <a:cubicBezTo>
                  <a:pt x="386301" y="1034025"/>
                  <a:pt x="384479" y="1030381"/>
                  <a:pt x="382657" y="1028559"/>
                </a:cubicBezTo>
                <a:cubicBezTo>
                  <a:pt x="382657" y="1028559"/>
                  <a:pt x="380835" y="1026736"/>
                  <a:pt x="379012" y="1026736"/>
                </a:cubicBezTo>
                <a:close/>
                <a:moveTo>
                  <a:pt x="207728" y="1026736"/>
                </a:moveTo>
                <a:cubicBezTo>
                  <a:pt x="207728" y="1032203"/>
                  <a:pt x="222306" y="1048602"/>
                  <a:pt x="227772" y="1048602"/>
                </a:cubicBezTo>
                <a:cubicBezTo>
                  <a:pt x="235061" y="1057713"/>
                  <a:pt x="244172" y="1063180"/>
                  <a:pt x="249638" y="1061358"/>
                </a:cubicBezTo>
                <a:cubicBezTo>
                  <a:pt x="244172" y="1052247"/>
                  <a:pt x="238705" y="1054069"/>
                  <a:pt x="231416" y="1048602"/>
                </a:cubicBezTo>
                <a:cubicBezTo>
                  <a:pt x="233239" y="1048602"/>
                  <a:pt x="236883" y="1050425"/>
                  <a:pt x="238705" y="1050425"/>
                </a:cubicBezTo>
                <a:cubicBezTo>
                  <a:pt x="229594" y="1037669"/>
                  <a:pt x="218661" y="1030381"/>
                  <a:pt x="207728" y="1026736"/>
                </a:cubicBezTo>
                <a:close/>
                <a:moveTo>
                  <a:pt x="191329" y="1026736"/>
                </a:moveTo>
                <a:cubicBezTo>
                  <a:pt x="191329" y="1030381"/>
                  <a:pt x="194973" y="1035847"/>
                  <a:pt x="198617" y="1039492"/>
                </a:cubicBezTo>
                <a:cubicBezTo>
                  <a:pt x="202262" y="1039492"/>
                  <a:pt x="205906" y="1039492"/>
                  <a:pt x="209550" y="1037669"/>
                </a:cubicBezTo>
                <a:cubicBezTo>
                  <a:pt x="202262" y="1030381"/>
                  <a:pt x="196795" y="1028559"/>
                  <a:pt x="191329" y="1026736"/>
                </a:cubicBezTo>
                <a:close/>
                <a:moveTo>
                  <a:pt x="185862" y="1026736"/>
                </a:moveTo>
                <a:lnTo>
                  <a:pt x="185865" y="1026739"/>
                </a:lnTo>
                <a:lnTo>
                  <a:pt x="185866" y="1026740"/>
                </a:lnTo>
                <a:close/>
                <a:moveTo>
                  <a:pt x="116619" y="1026736"/>
                </a:moveTo>
                <a:lnTo>
                  <a:pt x="119505" y="1029828"/>
                </a:lnTo>
                <a:lnTo>
                  <a:pt x="118181" y="1028610"/>
                </a:lnTo>
                <a:close/>
                <a:moveTo>
                  <a:pt x="3228893" y="1024914"/>
                </a:moveTo>
                <a:cubicBezTo>
                  <a:pt x="3221604" y="1023092"/>
                  <a:pt x="3219782" y="1028559"/>
                  <a:pt x="3216137" y="1030381"/>
                </a:cubicBezTo>
                <a:cubicBezTo>
                  <a:pt x="3219782" y="1032203"/>
                  <a:pt x="3228893" y="1030381"/>
                  <a:pt x="3228893" y="1024914"/>
                </a:cubicBezTo>
                <a:close/>
                <a:moveTo>
                  <a:pt x="3052142" y="1024914"/>
                </a:moveTo>
                <a:lnTo>
                  <a:pt x="3055038" y="1025879"/>
                </a:lnTo>
                <a:lnTo>
                  <a:pt x="3054648" y="1025825"/>
                </a:lnTo>
                <a:lnTo>
                  <a:pt x="3052372" y="1025565"/>
                </a:lnTo>
                <a:close/>
                <a:moveTo>
                  <a:pt x="3006587" y="1024914"/>
                </a:moveTo>
                <a:lnTo>
                  <a:pt x="3008260" y="1027701"/>
                </a:lnTo>
                <a:lnTo>
                  <a:pt x="3008410" y="1028559"/>
                </a:lnTo>
                <a:cubicBezTo>
                  <a:pt x="3008410" y="1026736"/>
                  <a:pt x="3006587" y="1026736"/>
                  <a:pt x="3006587" y="1024914"/>
                </a:cubicBezTo>
                <a:close/>
                <a:moveTo>
                  <a:pt x="2428958" y="1024914"/>
                </a:moveTo>
                <a:lnTo>
                  <a:pt x="2432603" y="1033704"/>
                </a:lnTo>
                <a:lnTo>
                  <a:pt x="2432603" y="1034025"/>
                </a:lnTo>
                <a:lnTo>
                  <a:pt x="2432748" y="1034054"/>
                </a:lnTo>
                <a:lnTo>
                  <a:pt x="2432831" y="1034252"/>
                </a:lnTo>
                <a:cubicBezTo>
                  <a:pt x="2435336" y="1036758"/>
                  <a:pt x="2438981" y="1038580"/>
                  <a:pt x="2443536" y="1039492"/>
                </a:cubicBezTo>
                <a:cubicBezTo>
                  <a:pt x="2441714" y="1038580"/>
                  <a:pt x="2440803" y="1036758"/>
                  <a:pt x="2439436" y="1035391"/>
                </a:cubicBezTo>
                <a:lnTo>
                  <a:pt x="2432748" y="1034054"/>
                </a:lnTo>
                <a:lnTo>
                  <a:pt x="2432603" y="1033704"/>
                </a:lnTo>
                <a:lnTo>
                  <a:pt x="2432603" y="1029470"/>
                </a:lnTo>
                <a:cubicBezTo>
                  <a:pt x="2432147" y="1028558"/>
                  <a:pt x="2431692" y="1027647"/>
                  <a:pt x="2432603" y="1024914"/>
                </a:cubicBezTo>
                <a:cubicBezTo>
                  <a:pt x="2430780" y="1024914"/>
                  <a:pt x="2428958" y="1026736"/>
                  <a:pt x="2428958" y="1024914"/>
                </a:cubicBezTo>
                <a:close/>
                <a:moveTo>
                  <a:pt x="1067794" y="1024914"/>
                </a:moveTo>
                <a:cubicBezTo>
                  <a:pt x="1064151" y="1021270"/>
                  <a:pt x="1062328" y="1028559"/>
                  <a:pt x="1065972" y="1030381"/>
                </a:cubicBezTo>
                <a:cubicBezTo>
                  <a:pt x="1067794" y="1028559"/>
                  <a:pt x="1065972" y="1026736"/>
                  <a:pt x="1067794" y="1024914"/>
                </a:cubicBezTo>
                <a:close/>
                <a:moveTo>
                  <a:pt x="1014951" y="1024914"/>
                </a:moveTo>
                <a:cubicBezTo>
                  <a:pt x="1013129" y="1024914"/>
                  <a:pt x="1013129" y="1026736"/>
                  <a:pt x="1011307" y="1026736"/>
                </a:cubicBezTo>
                <a:cubicBezTo>
                  <a:pt x="1013129" y="1028559"/>
                  <a:pt x="1013129" y="1030381"/>
                  <a:pt x="1013129" y="1030381"/>
                </a:cubicBezTo>
                <a:cubicBezTo>
                  <a:pt x="1016774" y="1030381"/>
                  <a:pt x="1014951" y="1026736"/>
                  <a:pt x="1014951" y="1024914"/>
                </a:cubicBezTo>
                <a:close/>
                <a:moveTo>
                  <a:pt x="646872" y="1024914"/>
                </a:moveTo>
                <a:cubicBezTo>
                  <a:pt x="643228" y="1026736"/>
                  <a:pt x="648694" y="1030381"/>
                  <a:pt x="650516" y="1028559"/>
                </a:cubicBezTo>
                <a:cubicBezTo>
                  <a:pt x="648694" y="1026736"/>
                  <a:pt x="648694" y="1026736"/>
                  <a:pt x="646872" y="1024914"/>
                </a:cubicBezTo>
                <a:close/>
                <a:moveTo>
                  <a:pt x="282438" y="1024914"/>
                </a:moveTo>
                <a:cubicBezTo>
                  <a:pt x="282438" y="1030381"/>
                  <a:pt x="293370" y="1041314"/>
                  <a:pt x="298837" y="1041314"/>
                </a:cubicBezTo>
                <a:cubicBezTo>
                  <a:pt x="298837" y="1034025"/>
                  <a:pt x="287904" y="1028559"/>
                  <a:pt x="282438" y="1024914"/>
                </a:cubicBezTo>
                <a:close/>
                <a:moveTo>
                  <a:pt x="249638" y="1024914"/>
                </a:moveTo>
                <a:cubicBezTo>
                  <a:pt x="251460" y="1032203"/>
                  <a:pt x="264216" y="1039492"/>
                  <a:pt x="269682" y="1034025"/>
                </a:cubicBezTo>
                <a:cubicBezTo>
                  <a:pt x="262393" y="1030381"/>
                  <a:pt x="256927" y="1030381"/>
                  <a:pt x="249638" y="1024914"/>
                </a:cubicBezTo>
                <a:close/>
                <a:moveTo>
                  <a:pt x="143772" y="1024644"/>
                </a:moveTo>
                <a:lnTo>
                  <a:pt x="151241" y="1035847"/>
                </a:lnTo>
                <a:lnTo>
                  <a:pt x="149131" y="1033606"/>
                </a:lnTo>
                <a:close/>
                <a:moveTo>
                  <a:pt x="337330" y="1024230"/>
                </a:moveTo>
                <a:cubicBezTo>
                  <a:pt x="335280" y="1024914"/>
                  <a:pt x="333458" y="1025825"/>
                  <a:pt x="331636" y="1024914"/>
                </a:cubicBezTo>
                <a:cubicBezTo>
                  <a:pt x="340747" y="1030381"/>
                  <a:pt x="349858" y="1037669"/>
                  <a:pt x="358969" y="1034025"/>
                </a:cubicBezTo>
                <a:cubicBezTo>
                  <a:pt x="355324" y="1032203"/>
                  <a:pt x="353502" y="1030381"/>
                  <a:pt x="349858" y="1026736"/>
                </a:cubicBezTo>
                <a:cubicBezTo>
                  <a:pt x="349858" y="1028559"/>
                  <a:pt x="351680" y="1030381"/>
                  <a:pt x="353502" y="1032203"/>
                </a:cubicBezTo>
                <a:cubicBezTo>
                  <a:pt x="346213" y="1032203"/>
                  <a:pt x="349858" y="1026736"/>
                  <a:pt x="344391" y="1024914"/>
                </a:cubicBezTo>
                <a:cubicBezTo>
                  <a:pt x="341658" y="1023092"/>
                  <a:pt x="339380" y="1023547"/>
                  <a:pt x="337330" y="1024230"/>
                </a:cubicBezTo>
                <a:close/>
                <a:moveTo>
                  <a:pt x="3518618" y="1023092"/>
                </a:moveTo>
                <a:cubicBezTo>
                  <a:pt x="3518618" y="1026736"/>
                  <a:pt x="3524085" y="1026736"/>
                  <a:pt x="3525907" y="1030381"/>
                </a:cubicBezTo>
                <a:cubicBezTo>
                  <a:pt x="3531374" y="1028559"/>
                  <a:pt x="3522263" y="1024914"/>
                  <a:pt x="3518618" y="1023092"/>
                </a:cubicBezTo>
                <a:close/>
                <a:moveTo>
                  <a:pt x="2627575" y="1023092"/>
                </a:moveTo>
                <a:cubicBezTo>
                  <a:pt x="2627575" y="1024914"/>
                  <a:pt x="2623931" y="1024914"/>
                  <a:pt x="2625753" y="1028559"/>
                </a:cubicBezTo>
                <a:cubicBezTo>
                  <a:pt x="2629397" y="1024914"/>
                  <a:pt x="2629397" y="1032203"/>
                  <a:pt x="2633042" y="1030381"/>
                </a:cubicBezTo>
                <a:cubicBezTo>
                  <a:pt x="2633042" y="1024914"/>
                  <a:pt x="2627575" y="1028559"/>
                  <a:pt x="2627575" y="1023092"/>
                </a:cubicBezTo>
                <a:close/>
                <a:moveTo>
                  <a:pt x="1168014" y="1023092"/>
                </a:moveTo>
                <a:cubicBezTo>
                  <a:pt x="1166192" y="1026736"/>
                  <a:pt x="1160725" y="1028559"/>
                  <a:pt x="1160725" y="1034025"/>
                </a:cubicBezTo>
                <a:cubicBezTo>
                  <a:pt x="1160725" y="1035847"/>
                  <a:pt x="1162547" y="1032203"/>
                  <a:pt x="1164370" y="1032203"/>
                </a:cubicBezTo>
                <a:cubicBezTo>
                  <a:pt x="1160725" y="1037669"/>
                  <a:pt x="1160725" y="1043136"/>
                  <a:pt x="1158903" y="1048602"/>
                </a:cubicBezTo>
                <a:cubicBezTo>
                  <a:pt x="1160725" y="1052247"/>
                  <a:pt x="1164370" y="1050425"/>
                  <a:pt x="1168014" y="1048602"/>
                </a:cubicBezTo>
                <a:cubicBezTo>
                  <a:pt x="1168014" y="1043136"/>
                  <a:pt x="1168014" y="1035847"/>
                  <a:pt x="1168014" y="1030381"/>
                </a:cubicBezTo>
                <a:cubicBezTo>
                  <a:pt x="1168014" y="1030381"/>
                  <a:pt x="1168014" y="1032203"/>
                  <a:pt x="1166192" y="1032203"/>
                </a:cubicBezTo>
                <a:cubicBezTo>
                  <a:pt x="1166192" y="1028559"/>
                  <a:pt x="1171658" y="1026736"/>
                  <a:pt x="1168014" y="1023092"/>
                </a:cubicBezTo>
                <a:close/>
                <a:moveTo>
                  <a:pt x="1135215" y="1023092"/>
                </a:moveTo>
                <a:cubicBezTo>
                  <a:pt x="1135215" y="1023092"/>
                  <a:pt x="1133393" y="1024914"/>
                  <a:pt x="1133393" y="1026736"/>
                </a:cubicBezTo>
                <a:cubicBezTo>
                  <a:pt x="1133393" y="1026736"/>
                  <a:pt x="1135215" y="1028559"/>
                  <a:pt x="1135215" y="1028559"/>
                </a:cubicBezTo>
                <a:cubicBezTo>
                  <a:pt x="1137037" y="1026736"/>
                  <a:pt x="1137037" y="1023092"/>
                  <a:pt x="1135215" y="1023092"/>
                </a:cubicBezTo>
                <a:close/>
                <a:moveTo>
                  <a:pt x="1055040" y="1023092"/>
                </a:moveTo>
                <a:cubicBezTo>
                  <a:pt x="1053217" y="1026736"/>
                  <a:pt x="1055040" y="1028559"/>
                  <a:pt x="1056861" y="1032203"/>
                </a:cubicBezTo>
                <a:cubicBezTo>
                  <a:pt x="1058683" y="1032203"/>
                  <a:pt x="1060506" y="1032203"/>
                  <a:pt x="1062328" y="1030381"/>
                </a:cubicBezTo>
                <a:cubicBezTo>
                  <a:pt x="1062328" y="1028559"/>
                  <a:pt x="1062328" y="1028559"/>
                  <a:pt x="1062328" y="1026736"/>
                </a:cubicBezTo>
                <a:cubicBezTo>
                  <a:pt x="1058683" y="1026736"/>
                  <a:pt x="1056861" y="1024914"/>
                  <a:pt x="1055040" y="1023092"/>
                </a:cubicBezTo>
                <a:close/>
                <a:moveTo>
                  <a:pt x="925666" y="1023092"/>
                </a:moveTo>
                <a:cubicBezTo>
                  <a:pt x="922020" y="1021270"/>
                  <a:pt x="923843" y="1026736"/>
                  <a:pt x="922020" y="1028559"/>
                </a:cubicBezTo>
                <a:cubicBezTo>
                  <a:pt x="925666" y="1028559"/>
                  <a:pt x="923843" y="1024914"/>
                  <a:pt x="925666" y="1023092"/>
                </a:cubicBezTo>
                <a:close/>
                <a:moveTo>
                  <a:pt x="918376" y="1023092"/>
                </a:moveTo>
                <a:cubicBezTo>
                  <a:pt x="916555" y="1024914"/>
                  <a:pt x="914732" y="1026736"/>
                  <a:pt x="914732" y="1028559"/>
                </a:cubicBezTo>
                <a:cubicBezTo>
                  <a:pt x="916555" y="1030381"/>
                  <a:pt x="916555" y="1028559"/>
                  <a:pt x="918376" y="1030381"/>
                </a:cubicBezTo>
                <a:cubicBezTo>
                  <a:pt x="918376" y="1028559"/>
                  <a:pt x="920198" y="1024914"/>
                  <a:pt x="918376" y="1023092"/>
                </a:cubicBezTo>
                <a:close/>
                <a:moveTo>
                  <a:pt x="754380" y="1023092"/>
                </a:moveTo>
                <a:cubicBezTo>
                  <a:pt x="750737" y="1024914"/>
                  <a:pt x="756203" y="1032203"/>
                  <a:pt x="756203" y="1035847"/>
                </a:cubicBezTo>
                <a:cubicBezTo>
                  <a:pt x="759848" y="1032203"/>
                  <a:pt x="759848" y="1028559"/>
                  <a:pt x="754380" y="1023092"/>
                </a:cubicBezTo>
                <a:close/>
                <a:moveTo>
                  <a:pt x="719759" y="1023092"/>
                </a:moveTo>
                <a:cubicBezTo>
                  <a:pt x="714293" y="1026736"/>
                  <a:pt x="719759" y="1028559"/>
                  <a:pt x="723404" y="1030381"/>
                </a:cubicBezTo>
                <a:cubicBezTo>
                  <a:pt x="723404" y="1026736"/>
                  <a:pt x="721581" y="1024914"/>
                  <a:pt x="719759" y="1023092"/>
                </a:cubicBezTo>
                <a:close/>
                <a:moveTo>
                  <a:pt x="382657" y="1023092"/>
                </a:moveTo>
                <a:cubicBezTo>
                  <a:pt x="393590" y="1030381"/>
                  <a:pt x="404523" y="1035847"/>
                  <a:pt x="413634" y="1037669"/>
                </a:cubicBezTo>
                <a:cubicBezTo>
                  <a:pt x="404523" y="1026736"/>
                  <a:pt x="393590" y="1024914"/>
                  <a:pt x="382657" y="1023092"/>
                </a:cubicBezTo>
                <a:close/>
                <a:moveTo>
                  <a:pt x="364435" y="1023092"/>
                </a:moveTo>
                <a:cubicBezTo>
                  <a:pt x="364435" y="1024914"/>
                  <a:pt x="371724" y="1032203"/>
                  <a:pt x="375368" y="1034025"/>
                </a:cubicBezTo>
                <a:cubicBezTo>
                  <a:pt x="375368" y="1030381"/>
                  <a:pt x="371724" y="1028559"/>
                  <a:pt x="371724" y="1024914"/>
                </a:cubicBezTo>
                <a:cubicBezTo>
                  <a:pt x="369902" y="1024914"/>
                  <a:pt x="368079" y="1023092"/>
                  <a:pt x="364435" y="1023092"/>
                </a:cubicBezTo>
                <a:close/>
                <a:moveTo>
                  <a:pt x="158529" y="1023092"/>
                </a:moveTo>
                <a:lnTo>
                  <a:pt x="158534" y="1023096"/>
                </a:lnTo>
                <a:lnTo>
                  <a:pt x="162174" y="1026736"/>
                </a:lnTo>
                <a:lnTo>
                  <a:pt x="161660" y="1026350"/>
                </a:lnTo>
                <a:close/>
                <a:moveTo>
                  <a:pt x="1138859" y="1021270"/>
                </a:moveTo>
                <a:lnTo>
                  <a:pt x="1139310" y="1022021"/>
                </a:lnTo>
                <a:lnTo>
                  <a:pt x="1138859" y="1023092"/>
                </a:lnTo>
                <a:lnTo>
                  <a:pt x="1138312" y="1021816"/>
                </a:lnTo>
                <a:close/>
                <a:moveTo>
                  <a:pt x="1016774" y="1021270"/>
                </a:moveTo>
                <a:cubicBezTo>
                  <a:pt x="1018596" y="1024914"/>
                  <a:pt x="1020418" y="1023092"/>
                  <a:pt x="1022240" y="1024914"/>
                </a:cubicBezTo>
                <a:cubicBezTo>
                  <a:pt x="1024062" y="1021270"/>
                  <a:pt x="1016774" y="1021270"/>
                  <a:pt x="1016774" y="1021270"/>
                </a:cubicBezTo>
                <a:close/>
                <a:moveTo>
                  <a:pt x="911087" y="1021270"/>
                </a:moveTo>
                <a:cubicBezTo>
                  <a:pt x="903799" y="1017625"/>
                  <a:pt x="898333" y="1034025"/>
                  <a:pt x="903799" y="1039492"/>
                </a:cubicBezTo>
                <a:cubicBezTo>
                  <a:pt x="912909" y="1037669"/>
                  <a:pt x="911087" y="1028559"/>
                  <a:pt x="911087" y="1021270"/>
                </a:cubicBezTo>
                <a:close/>
                <a:moveTo>
                  <a:pt x="887399" y="1021270"/>
                </a:moveTo>
                <a:cubicBezTo>
                  <a:pt x="885577" y="1028559"/>
                  <a:pt x="889222" y="1037669"/>
                  <a:pt x="891043" y="1044958"/>
                </a:cubicBezTo>
                <a:cubicBezTo>
                  <a:pt x="898333" y="1044958"/>
                  <a:pt x="898333" y="1035847"/>
                  <a:pt x="900154" y="1030381"/>
                </a:cubicBezTo>
                <a:cubicBezTo>
                  <a:pt x="894688" y="1026736"/>
                  <a:pt x="891043" y="1026736"/>
                  <a:pt x="887399" y="1021270"/>
                </a:cubicBezTo>
                <a:close/>
                <a:moveTo>
                  <a:pt x="865533" y="1021270"/>
                </a:moveTo>
                <a:cubicBezTo>
                  <a:pt x="865533" y="1026736"/>
                  <a:pt x="863711" y="1030381"/>
                  <a:pt x="867355" y="1037669"/>
                </a:cubicBezTo>
                <a:cubicBezTo>
                  <a:pt x="869177" y="1035847"/>
                  <a:pt x="869177" y="1037669"/>
                  <a:pt x="871000" y="1035847"/>
                </a:cubicBezTo>
                <a:cubicBezTo>
                  <a:pt x="871000" y="1037669"/>
                  <a:pt x="869177" y="1039492"/>
                  <a:pt x="869177" y="1041314"/>
                </a:cubicBezTo>
                <a:cubicBezTo>
                  <a:pt x="872822" y="1043136"/>
                  <a:pt x="876466" y="1043136"/>
                  <a:pt x="880111" y="1041314"/>
                </a:cubicBezTo>
                <a:cubicBezTo>
                  <a:pt x="878288" y="1039492"/>
                  <a:pt x="874644" y="1028559"/>
                  <a:pt x="871000" y="1032203"/>
                </a:cubicBezTo>
                <a:cubicBezTo>
                  <a:pt x="871000" y="1028559"/>
                  <a:pt x="869177" y="1024914"/>
                  <a:pt x="865533" y="1021270"/>
                </a:cubicBezTo>
                <a:close/>
                <a:moveTo>
                  <a:pt x="739803" y="1021270"/>
                </a:moveTo>
                <a:cubicBezTo>
                  <a:pt x="732515" y="1026736"/>
                  <a:pt x="734336" y="1034025"/>
                  <a:pt x="739803" y="1039492"/>
                </a:cubicBezTo>
                <a:cubicBezTo>
                  <a:pt x="743447" y="1034025"/>
                  <a:pt x="741626" y="1032203"/>
                  <a:pt x="737981" y="1028559"/>
                </a:cubicBezTo>
                <a:cubicBezTo>
                  <a:pt x="739803" y="1028559"/>
                  <a:pt x="743447" y="1030381"/>
                  <a:pt x="745269" y="1032203"/>
                </a:cubicBezTo>
                <a:cubicBezTo>
                  <a:pt x="745269" y="1026736"/>
                  <a:pt x="747092" y="1023092"/>
                  <a:pt x="739803" y="1021270"/>
                </a:cubicBezTo>
                <a:close/>
                <a:moveTo>
                  <a:pt x="291549" y="1021270"/>
                </a:moveTo>
                <a:cubicBezTo>
                  <a:pt x="291549" y="1024914"/>
                  <a:pt x="297015" y="1028559"/>
                  <a:pt x="300660" y="1026736"/>
                </a:cubicBezTo>
                <a:cubicBezTo>
                  <a:pt x="297015" y="1023092"/>
                  <a:pt x="295193" y="1024914"/>
                  <a:pt x="291549" y="1021270"/>
                </a:cubicBezTo>
                <a:close/>
                <a:moveTo>
                  <a:pt x="154885" y="1021270"/>
                </a:moveTo>
                <a:lnTo>
                  <a:pt x="161660" y="1026350"/>
                </a:lnTo>
                <a:lnTo>
                  <a:pt x="164384" y="1029185"/>
                </a:lnTo>
                <a:close/>
                <a:moveTo>
                  <a:pt x="3429104" y="1020358"/>
                </a:moveTo>
                <a:cubicBezTo>
                  <a:pt x="3426143" y="1020358"/>
                  <a:pt x="3423865" y="1021269"/>
                  <a:pt x="3423865" y="1024914"/>
                </a:cubicBezTo>
                <a:cubicBezTo>
                  <a:pt x="3427510" y="1024914"/>
                  <a:pt x="3432976" y="1023092"/>
                  <a:pt x="3434798" y="1026736"/>
                </a:cubicBezTo>
                <a:cubicBezTo>
                  <a:pt x="3429332" y="1028559"/>
                  <a:pt x="3427510" y="1030381"/>
                  <a:pt x="3422043" y="1026736"/>
                </a:cubicBezTo>
                <a:cubicBezTo>
                  <a:pt x="3420221" y="1030381"/>
                  <a:pt x="3416577" y="1034025"/>
                  <a:pt x="3418399" y="1037669"/>
                </a:cubicBezTo>
                <a:cubicBezTo>
                  <a:pt x="3418399" y="1035847"/>
                  <a:pt x="3414754" y="1032203"/>
                  <a:pt x="3416577" y="1030381"/>
                </a:cubicBezTo>
                <a:cubicBezTo>
                  <a:pt x="3411110" y="1030381"/>
                  <a:pt x="3409288" y="1035847"/>
                  <a:pt x="3407466" y="1039492"/>
                </a:cubicBezTo>
                <a:cubicBezTo>
                  <a:pt x="3411110" y="1039492"/>
                  <a:pt x="3416577" y="1039492"/>
                  <a:pt x="3418399" y="1041314"/>
                </a:cubicBezTo>
                <a:cubicBezTo>
                  <a:pt x="3429332" y="1050425"/>
                  <a:pt x="3451198" y="1055891"/>
                  <a:pt x="3451198" y="1070469"/>
                </a:cubicBezTo>
                <a:cubicBezTo>
                  <a:pt x="3462131" y="1063180"/>
                  <a:pt x="3473064" y="1066824"/>
                  <a:pt x="3473064" y="1052247"/>
                </a:cubicBezTo>
                <a:cubicBezTo>
                  <a:pt x="3476708" y="1054069"/>
                  <a:pt x="3476708" y="1059535"/>
                  <a:pt x="3478530" y="1057713"/>
                </a:cubicBezTo>
                <a:cubicBezTo>
                  <a:pt x="3491286" y="1054069"/>
                  <a:pt x="3514974" y="1063180"/>
                  <a:pt x="3516796" y="1046780"/>
                </a:cubicBezTo>
                <a:cubicBezTo>
                  <a:pt x="3524085" y="1050425"/>
                  <a:pt x="3531374" y="1057713"/>
                  <a:pt x="3540484" y="1055891"/>
                </a:cubicBezTo>
                <a:cubicBezTo>
                  <a:pt x="3529551" y="1050425"/>
                  <a:pt x="3533196" y="1037669"/>
                  <a:pt x="3522263" y="1035847"/>
                </a:cubicBezTo>
                <a:cubicBezTo>
                  <a:pt x="3518618" y="1035847"/>
                  <a:pt x="3520440" y="1044958"/>
                  <a:pt x="3518618" y="1043136"/>
                </a:cubicBezTo>
                <a:cubicBezTo>
                  <a:pt x="3511330" y="1037669"/>
                  <a:pt x="3514974" y="1030381"/>
                  <a:pt x="3504041" y="1032203"/>
                </a:cubicBezTo>
                <a:cubicBezTo>
                  <a:pt x="3504041" y="1030381"/>
                  <a:pt x="3504041" y="1028559"/>
                  <a:pt x="3504041" y="1028559"/>
                </a:cubicBezTo>
                <a:cubicBezTo>
                  <a:pt x="3500397" y="1026736"/>
                  <a:pt x="3494930" y="1028559"/>
                  <a:pt x="3493108" y="1026736"/>
                </a:cubicBezTo>
                <a:cubicBezTo>
                  <a:pt x="3491286" y="1032203"/>
                  <a:pt x="3496752" y="1030381"/>
                  <a:pt x="3498574" y="1030381"/>
                </a:cubicBezTo>
                <a:cubicBezTo>
                  <a:pt x="3494930" y="1032203"/>
                  <a:pt x="3487641" y="1032203"/>
                  <a:pt x="3491286" y="1037669"/>
                </a:cubicBezTo>
                <a:cubicBezTo>
                  <a:pt x="3482175" y="1039492"/>
                  <a:pt x="3485819" y="1032203"/>
                  <a:pt x="3483997" y="1034025"/>
                </a:cubicBezTo>
                <a:cubicBezTo>
                  <a:pt x="3476708" y="1034025"/>
                  <a:pt x="3483997" y="1043136"/>
                  <a:pt x="3485819" y="1048602"/>
                </a:cubicBezTo>
                <a:cubicBezTo>
                  <a:pt x="3474886" y="1043136"/>
                  <a:pt x="3471242" y="1039492"/>
                  <a:pt x="3463953" y="1028559"/>
                </a:cubicBezTo>
                <a:cubicBezTo>
                  <a:pt x="3462131" y="1024914"/>
                  <a:pt x="3456664" y="1028559"/>
                  <a:pt x="3451198" y="1026736"/>
                </a:cubicBezTo>
                <a:cubicBezTo>
                  <a:pt x="3451198" y="1037669"/>
                  <a:pt x="3443909" y="1028559"/>
                  <a:pt x="3442087" y="1035847"/>
                </a:cubicBezTo>
                <a:cubicBezTo>
                  <a:pt x="3440265" y="1035847"/>
                  <a:pt x="3438443" y="1035847"/>
                  <a:pt x="3436621" y="1034025"/>
                </a:cubicBezTo>
                <a:cubicBezTo>
                  <a:pt x="3436621" y="1030381"/>
                  <a:pt x="3436621" y="1024914"/>
                  <a:pt x="3438443" y="1021270"/>
                </a:cubicBezTo>
                <a:cubicBezTo>
                  <a:pt x="3435710" y="1021270"/>
                  <a:pt x="3432065" y="1020358"/>
                  <a:pt x="3429104" y="1020358"/>
                </a:cubicBezTo>
                <a:close/>
                <a:moveTo>
                  <a:pt x="790823" y="1019497"/>
                </a:moveTo>
                <a:cubicBezTo>
                  <a:pt x="789001" y="1021319"/>
                  <a:pt x="789001" y="1023141"/>
                  <a:pt x="787179" y="1024963"/>
                </a:cubicBezTo>
                <a:cubicBezTo>
                  <a:pt x="785357" y="1023141"/>
                  <a:pt x="789001" y="1017675"/>
                  <a:pt x="790823" y="1019497"/>
                </a:cubicBezTo>
                <a:close/>
                <a:moveTo>
                  <a:pt x="774424" y="1019496"/>
                </a:moveTo>
                <a:cubicBezTo>
                  <a:pt x="772602" y="1021318"/>
                  <a:pt x="781713" y="1024963"/>
                  <a:pt x="778068" y="1028607"/>
                </a:cubicBezTo>
                <a:cubicBezTo>
                  <a:pt x="774424" y="1028607"/>
                  <a:pt x="770779" y="1019496"/>
                  <a:pt x="774424" y="1019496"/>
                </a:cubicBezTo>
                <a:close/>
                <a:moveTo>
                  <a:pt x="2376115" y="1019448"/>
                </a:moveTo>
                <a:cubicBezTo>
                  <a:pt x="2377937" y="1017625"/>
                  <a:pt x="2379760" y="1021270"/>
                  <a:pt x="2381582" y="1021270"/>
                </a:cubicBezTo>
                <a:cubicBezTo>
                  <a:pt x="2377937" y="1021270"/>
                  <a:pt x="2377937" y="1023092"/>
                  <a:pt x="2377937" y="1024914"/>
                </a:cubicBezTo>
                <a:cubicBezTo>
                  <a:pt x="2376115" y="1024914"/>
                  <a:pt x="2376115" y="1021270"/>
                  <a:pt x="2376115" y="1019448"/>
                </a:cubicBezTo>
                <a:close/>
                <a:moveTo>
                  <a:pt x="985796" y="1019448"/>
                </a:moveTo>
                <a:cubicBezTo>
                  <a:pt x="985796" y="1019448"/>
                  <a:pt x="983974" y="1023092"/>
                  <a:pt x="982152" y="1021270"/>
                </a:cubicBezTo>
                <a:cubicBezTo>
                  <a:pt x="980330" y="1023092"/>
                  <a:pt x="983974" y="1026736"/>
                  <a:pt x="985796" y="1028559"/>
                </a:cubicBezTo>
                <a:cubicBezTo>
                  <a:pt x="989441" y="1026736"/>
                  <a:pt x="989441" y="1023092"/>
                  <a:pt x="985796" y="1019448"/>
                </a:cubicBezTo>
                <a:close/>
                <a:moveTo>
                  <a:pt x="595852" y="1019448"/>
                </a:moveTo>
                <a:cubicBezTo>
                  <a:pt x="597673" y="1021270"/>
                  <a:pt x="599496" y="1024914"/>
                  <a:pt x="601318" y="1026736"/>
                </a:cubicBezTo>
                <a:cubicBezTo>
                  <a:pt x="601318" y="1024914"/>
                  <a:pt x="601318" y="1019448"/>
                  <a:pt x="595852" y="1019448"/>
                </a:cubicBezTo>
                <a:close/>
                <a:moveTo>
                  <a:pt x="584919" y="1019448"/>
                </a:moveTo>
                <a:cubicBezTo>
                  <a:pt x="583096" y="1019448"/>
                  <a:pt x="583096" y="1021270"/>
                  <a:pt x="581274" y="1023092"/>
                </a:cubicBezTo>
                <a:cubicBezTo>
                  <a:pt x="583096" y="1024914"/>
                  <a:pt x="592207" y="1030381"/>
                  <a:pt x="594030" y="1026736"/>
                </a:cubicBezTo>
                <a:cubicBezTo>
                  <a:pt x="590385" y="1023092"/>
                  <a:pt x="588562" y="1021270"/>
                  <a:pt x="584919" y="1019448"/>
                </a:cubicBezTo>
                <a:close/>
                <a:moveTo>
                  <a:pt x="266038" y="1019448"/>
                </a:moveTo>
                <a:lnTo>
                  <a:pt x="267066" y="1020692"/>
                </a:lnTo>
                <a:lnTo>
                  <a:pt x="266549" y="1020316"/>
                </a:lnTo>
                <a:close/>
                <a:moveTo>
                  <a:pt x="679215" y="1018764"/>
                </a:moveTo>
                <a:cubicBezTo>
                  <a:pt x="675116" y="1017625"/>
                  <a:pt x="670560" y="1018536"/>
                  <a:pt x="672383" y="1023092"/>
                </a:cubicBezTo>
                <a:cubicBezTo>
                  <a:pt x="676027" y="1026736"/>
                  <a:pt x="679671" y="1024914"/>
                  <a:pt x="683316" y="1026736"/>
                </a:cubicBezTo>
                <a:cubicBezTo>
                  <a:pt x="686960" y="1023092"/>
                  <a:pt x="683315" y="1019903"/>
                  <a:pt x="679215" y="1018764"/>
                </a:cubicBezTo>
                <a:close/>
                <a:moveTo>
                  <a:pt x="344619" y="1018308"/>
                </a:moveTo>
                <a:lnTo>
                  <a:pt x="344531" y="1019448"/>
                </a:lnTo>
                <a:lnTo>
                  <a:pt x="338926" y="1019448"/>
                </a:lnTo>
                <a:cubicBezTo>
                  <a:pt x="340747" y="1019448"/>
                  <a:pt x="342569" y="1019448"/>
                  <a:pt x="344391" y="1021270"/>
                </a:cubicBezTo>
                <a:lnTo>
                  <a:pt x="344531" y="1019448"/>
                </a:lnTo>
                <a:lnTo>
                  <a:pt x="346213" y="1019448"/>
                </a:lnTo>
                <a:cubicBezTo>
                  <a:pt x="346213" y="1018536"/>
                  <a:pt x="345302" y="1018080"/>
                  <a:pt x="344619" y="1018308"/>
                </a:cubicBezTo>
                <a:close/>
                <a:moveTo>
                  <a:pt x="315464" y="1018308"/>
                </a:moveTo>
                <a:cubicBezTo>
                  <a:pt x="314325" y="1017625"/>
                  <a:pt x="313414" y="1017625"/>
                  <a:pt x="313414" y="1019448"/>
                </a:cubicBezTo>
                <a:cubicBezTo>
                  <a:pt x="322525" y="1026736"/>
                  <a:pt x="331636" y="1028559"/>
                  <a:pt x="338926" y="1032203"/>
                </a:cubicBezTo>
                <a:cubicBezTo>
                  <a:pt x="335280" y="1028559"/>
                  <a:pt x="326169" y="1024914"/>
                  <a:pt x="318882" y="1021270"/>
                </a:cubicBezTo>
                <a:cubicBezTo>
                  <a:pt x="317970" y="1020359"/>
                  <a:pt x="316603" y="1018992"/>
                  <a:pt x="315464" y="1018308"/>
                </a:cubicBezTo>
                <a:close/>
                <a:moveTo>
                  <a:pt x="326963" y="1017890"/>
                </a:moveTo>
                <a:lnTo>
                  <a:pt x="323160" y="1018734"/>
                </a:lnTo>
                <a:lnTo>
                  <a:pt x="337102" y="1021270"/>
                </a:lnTo>
                <a:close/>
                <a:moveTo>
                  <a:pt x="3364417" y="1017853"/>
                </a:moveTo>
                <a:cubicBezTo>
                  <a:pt x="3358268" y="1018536"/>
                  <a:pt x="3350068" y="1020359"/>
                  <a:pt x="3345512" y="1019448"/>
                </a:cubicBezTo>
                <a:lnTo>
                  <a:pt x="3345512" y="1024985"/>
                </a:lnTo>
                <a:lnTo>
                  <a:pt x="3341867" y="1024914"/>
                </a:lnTo>
                <a:cubicBezTo>
                  <a:pt x="3345512" y="1023092"/>
                  <a:pt x="3345512" y="1026736"/>
                  <a:pt x="3345512" y="1026736"/>
                </a:cubicBezTo>
                <a:lnTo>
                  <a:pt x="3345512" y="1024985"/>
                </a:lnTo>
                <a:lnTo>
                  <a:pt x="3353484" y="1025142"/>
                </a:lnTo>
                <a:cubicBezTo>
                  <a:pt x="3358723" y="1023548"/>
                  <a:pt x="3364645" y="1021270"/>
                  <a:pt x="3369200" y="1021270"/>
                </a:cubicBezTo>
                <a:cubicBezTo>
                  <a:pt x="3369200" y="1024914"/>
                  <a:pt x="3369200" y="1028559"/>
                  <a:pt x="3369200" y="1032203"/>
                </a:cubicBezTo>
                <a:cubicBezTo>
                  <a:pt x="3365556" y="1034025"/>
                  <a:pt x="3361911" y="1030381"/>
                  <a:pt x="3363734" y="1024914"/>
                </a:cubicBezTo>
                <a:cubicBezTo>
                  <a:pt x="3356445" y="1026736"/>
                  <a:pt x="3347334" y="1026736"/>
                  <a:pt x="3347334" y="1034025"/>
                </a:cubicBezTo>
                <a:cubicBezTo>
                  <a:pt x="3358267" y="1032203"/>
                  <a:pt x="3371022" y="1037669"/>
                  <a:pt x="3380133" y="1030381"/>
                </a:cubicBezTo>
                <a:cubicBezTo>
                  <a:pt x="3374666" y="1030381"/>
                  <a:pt x="3378311" y="1021270"/>
                  <a:pt x="3371022" y="1023092"/>
                </a:cubicBezTo>
                <a:cubicBezTo>
                  <a:pt x="3374667" y="1017625"/>
                  <a:pt x="3370567" y="1017170"/>
                  <a:pt x="3364417" y="1017853"/>
                </a:cubicBezTo>
                <a:close/>
                <a:moveTo>
                  <a:pt x="3330934" y="1017625"/>
                </a:moveTo>
                <a:cubicBezTo>
                  <a:pt x="3325468" y="1019448"/>
                  <a:pt x="3332756" y="1021270"/>
                  <a:pt x="3332756" y="1024914"/>
                </a:cubicBezTo>
                <a:cubicBezTo>
                  <a:pt x="3336401" y="1024914"/>
                  <a:pt x="3336401" y="1021270"/>
                  <a:pt x="3338223" y="1017625"/>
                </a:cubicBezTo>
                <a:cubicBezTo>
                  <a:pt x="3336401" y="1017625"/>
                  <a:pt x="3332756" y="1017625"/>
                  <a:pt x="3332756" y="1019448"/>
                </a:cubicBezTo>
                <a:cubicBezTo>
                  <a:pt x="3330934" y="1019448"/>
                  <a:pt x="3330934" y="1017625"/>
                  <a:pt x="3330934" y="1017625"/>
                </a:cubicBezTo>
                <a:close/>
                <a:moveTo>
                  <a:pt x="2192076" y="1017625"/>
                </a:moveTo>
                <a:cubicBezTo>
                  <a:pt x="2190253" y="1017625"/>
                  <a:pt x="2190253" y="1017625"/>
                  <a:pt x="2188431" y="1019448"/>
                </a:cubicBezTo>
                <a:cubicBezTo>
                  <a:pt x="2188431" y="1019448"/>
                  <a:pt x="2190253" y="1021270"/>
                  <a:pt x="2190253" y="1023092"/>
                </a:cubicBezTo>
                <a:cubicBezTo>
                  <a:pt x="2192076" y="1021270"/>
                  <a:pt x="2192076" y="1019448"/>
                  <a:pt x="2192076" y="1017625"/>
                </a:cubicBezTo>
                <a:close/>
                <a:moveTo>
                  <a:pt x="1045929" y="1017625"/>
                </a:moveTo>
                <a:cubicBezTo>
                  <a:pt x="1047750" y="1019448"/>
                  <a:pt x="1047750" y="1021270"/>
                  <a:pt x="1051395" y="1021270"/>
                </a:cubicBezTo>
                <a:cubicBezTo>
                  <a:pt x="1051395" y="1021270"/>
                  <a:pt x="1049573" y="1023092"/>
                  <a:pt x="1049573" y="1023092"/>
                </a:cubicBezTo>
                <a:cubicBezTo>
                  <a:pt x="1047750" y="1023092"/>
                  <a:pt x="1049573" y="1019448"/>
                  <a:pt x="1045929" y="1017625"/>
                </a:cubicBezTo>
                <a:close/>
                <a:moveTo>
                  <a:pt x="736159" y="1017625"/>
                </a:moveTo>
                <a:cubicBezTo>
                  <a:pt x="734336" y="1017625"/>
                  <a:pt x="736159" y="1017625"/>
                  <a:pt x="734336" y="1019448"/>
                </a:cubicBezTo>
                <a:cubicBezTo>
                  <a:pt x="736159" y="1021270"/>
                  <a:pt x="739803" y="1017625"/>
                  <a:pt x="736159" y="1017625"/>
                </a:cubicBezTo>
                <a:close/>
                <a:moveTo>
                  <a:pt x="685138" y="1017625"/>
                </a:moveTo>
                <a:cubicBezTo>
                  <a:pt x="688782" y="1023092"/>
                  <a:pt x="686960" y="1028559"/>
                  <a:pt x="696071" y="1032203"/>
                </a:cubicBezTo>
                <a:cubicBezTo>
                  <a:pt x="692426" y="1030381"/>
                  <a:pt x="690604" y="1026736"/>
                  <a:pt x="686960" y="1024914"/>
                </a:cubicBezTo>
                <a:cubicBezTo>
                  <a:pt x="685138" y="1028559"/>
                  <a:pt x="686960" y="1030381"/>
                  <a:pt x="688782" y="1032203"/>
                </a:cubicBezTo>
                <a:cubicBezTo>
                  <a:pt x="690604" y="1034025"/>
                  <a:pt x="690604" y="1030381"/>
                  <a:pt x="690604" y="1030381"/>
                </a:cubicBezTo>
                <a:cubicBezTo>
                  <a:pt x="690604" y="1032203"/>
                  <a:pt x="694249" y="1034025"/>
                  <a:pt x="696071" y="1032203"/>
                </a:cubicBezTo>
                <a:cubicBezTo>
                  <a:pt x="697893" y="1030381"/>
                  <a:pt x="696071" y="1026736"/>
                  <a:pt x="692426" y="1024914"/>
                </a:cubicBezTo>
                <a:cubicBezTo>
                  <a:pt x="701537" y="1026736"/>
                  <a:pt x="697893" y="1034025"/>
                  <a:pt x="710648" y="1035847"/>
                </a:cubicBezTo>
                <a:cubicBezTo>
                  <a:pt x="708826" y="1026736"/>
                  <a:pt x="701537" y="1017625"/>
                  <a:pt x="685138" y="1017625"/>
                </a:cubicBezTo>
                <a:close/>
                <a:moveTo>
                  <a:pt x="634117" y="1017625"/>
                </a:moveTo>
                <a:cubicBezTo>
                  <a:pt x="632296" y="1021270"/>
                  <a:pt x="634117" y="1023092"/>
                  <a:pt x="635939" y="1026736"/>
                </a:cubicBezTo>
                <a:cubicBezTo>
                  <a:pt x="641407" y="1024914"/>
                  <a:pt x="637761" y="1021270"/>
                  <a:pt x="639583" y="1019448"/>
                </a:cubicBezTo>
                <a:cubicBezTo>
                  <a:pt x="637761" y="1019448"/>
                  <a:pt x="635939" y="1019448"/>
                  <a:pt x="634117" y="1017625"/>
                </a:cubicBezTo>
                <a:close/>
                <a:moveTo>
                  <a:pt x="382657" y="1017625"/>
                </a:moveTo>
                <a:cubicBezTo>
                  <a:pt x="382657" y="1026736"/>
                  <a:pt x="391768" y="1021270"/>
                  <a:pt x="397234" y="1024914"/>
                </a:cubicBezTo>
                <a:cubicBezTo>
                  <a:pt x="397234" y="1023092"/>
                  <a:pt x="397234" y="1023092"/>
                  <a:pt x="397234" y="1021270"/>
                </a:cubicBezTo>
                <a:cubicBezTo>
                  <a:pt x="391768" y="1017625"/>
                  <a:pt x="386301" y="1017625"/>
                  <a:pt x="382657" y="1017625"/>
                </a:cubicBezTo>
                <a:close/>
                <a:moveTo>
                  <a:pt x="1029528" y="1016258"/>
                </a:moveTo>
                <a:cubicBezTo>
                  <a:pt x="1028617" y="1016714"/>
                  <a:pt x="1027707" y="1017625"/>
                  <a:pt x="1027707" y="1017625"/>
                </a:cubicBezTo>
                <a:cubicBezTo>
                  <a:pt x="1024062" y="1021270"/>
                  <a:pt x="1029529" y="1023092"/>
                  <a:pt x="1031351" y="1024914"/>
                </a:cubicBezTo>
                <a:cubicBezTo>
                  <a:pt x="1031351" y="1021270"/>
                  <a:pt x="1033173" y="1019448"/>
                  <a:pt x="1031351" y="1017625"/>
                </a:cubicBezTo>
                <a:cubicBezTo>
                  <a:pt x="1031351" y="1015803"/>
                  <a:pt x="1030440" y="1015803"/>
                  <a:pt x="1029528" y="1016258"/>
                </a:cubicBezTo>
                <a:close/>
                <a:moveTo>
                  <a:pt x="104342" y="1015878"/>
                </a:moveTo>
                <a:lnTo>
                  <a:pt x="118181" y="1028610"/>
                </a:lnTo>
                <a:lnTo>
                  <a:pt x="119932" y="1030712"/>
                </a:lnTo>
                <a:lnTo>
                  <a:pt x="120135" y="1031623"/>
                </a:lnTo>
                <a:lnTo>
                  <a:pt x="119520" y="1031440"/>
                </a:lnTo>
                <a:close/>
                <a:moveTo>
                  <a:pt x="819978" y="1015861"/>
                </a:moveTo>
                <a:cubicBezTo>
                  <a:pt x="821800" y="1017683"/>
                  <a:pt x="821800" y="1017683"/>
                  <a:pt x="821800" y="1019506"/>
                </a:cubicBezTo>
                <a:cubicBezTo>
                  <a:pt x="821800" y="1023151"/>
                  <a:pt x="816334" y="1026795"/>
                  <a:pt x="810867" y="1026795"/>
                </a:cubicBezTo>
                <a:cubicBezTo>
                  <a:pt x="812689" y="1017683"/>
                  <a:pt x="816334" y="1019506"/>
                  <a:pt x="819978" y="1015861"/>
                </a:cubicBezTo>
                <a:close/>
                <a:moveTo>
                  <a:pt x="3443909" y="1015803"/>
                </a:moveTo>
                <a:cubicBezTo>
                  <a:pt x="3442087" y="1019448"/>
                  <a:pt x="3451198" y="1028559"/>
                  <a:pt x="3460309" y="1023092"/>
                </a:cubicBezTo>
                <a:cubicBezTo>
                  <a:pt x="3456664" y="1019448"/>
                  <a:pt x="3447553" y="1021270"/>
                  <a:pt x="3443909" y="1015803"/>
                </a:cubicBezTo>
                <a:close/>
                <a:moveTo>
                  <a:pt x="1131570" y="1015803"/>
                </a:moveTo>
                <a:lnTo>
                  <a:pt x="1131533" y="1016459"/>
                </a:lnTo>
                <a:lnTo>
                  <a:pt x="1129520" y="1017170"/>
                </a:lnTo>
                <a:cubicBezTo>
                  <a:pt x="1129292" y="1018536"/>
                  <a:pt x="1129748" y="1020359"/>
                  <a:pt x="1129748" y="1021270"/>
                </a:cubicBezTo>
                <a:cubicBezTo>
                  <a:pt x="1130659" y="1022181"/>
                  <a:pt x="1131114" y="1021270"/>
                  <a:pt x="1131342" y="1019903"/>
                </a:cubicBezTo>
                <a:lnTo>
                  <a:pt x="1131533" y="1016459"/>
                </a:lnTo>
                <a:lnTo>
                  <a:pt x="1133393" y="1015803"/>
                </a:lnTo>
                <a:cubicBezTo>
                  <a:pt x="1133393" y="1015803"/>
                  <a:pt x="1131570" y="1015803"/>
                  <a:pt x="1131570" y="1015803"/>
                </a:cubicBezTo>
                <a:close/>
                <a:moveTo>
                  <a:pt x="1080549" y="1015803"/>
                </a:moveTo>
                <a:cubicBezTo>
                  <a:pt x="1078727" y="1017625"/>
                  <a:pt x="1080549" y="1019448"/>
                  <a:pt x="1076905" y="1021270"/>
                </a:cubicBezTo>
                <a:cubicBezTo>
                  <a:pt x="1076905" y="1023092"/>
                  <a:pt x="1078727" y="1023092"/>
                  <a:pt x="1080549" y="1023092"/>
                </a:cubicBezTo>
                <a:cubicBezTo>
                  <a:pt x="1080549" y="1019448"/>
                  <a:pt x="1082373" y="1017625"/>
                  <a:pt x="1080549" y="1015803"/>
                </a:cubicBezTo>
                <a:close/>
                <a:moveTo>
                  <a:pt x="1064151" y="1015803"/>
                </a:moveTo>
                <a:lnTo>
                  <a:pt x="1065972" y="1015803"/>
                </a:lnTo>
                <a:lnTo>
                  <a:pt x="1065607" y="1017260"/>
                </a:lnTo>
                <a:close/>
                <a:moveTo>
                  <a:pt x="952997" y="1015803"/>
                </a:moveTo>
                <a:cubicBezTo>
                  <a:pt x="951175" y="1021270"/>
                  <a:pt x="952997" y="1026736"/>
                  <a:pt x="958464" y="1030381"/>
                </a:cubicBezTo>
                <a:cubicBezTo>
                  <a:pt x="963930" y="1026736"/>
                  <a:pt x="962108" y="1021270"/>
                  <a:pt x="965753" y="1015803"/>
                </a:cubicBezTo>
                <a:cubicBezTo>
                  <a:pt x="960286" y="1015803"/>
                  <a:pt x="956642" y="1019448"/>
                  <a:pt x="952997" y="1015803"/>
                </a:cubicBezTo>
                <a:close/>
                <a:moveTo>
                  <a:pt x="395412" y="1015803"/>
                </a:moveTo>
                <a:cubicBezTo>
                  <a:pt x="399056" y="1021270"/>
                  <a:pt x="413634" y="1030381"/>
                  <a:pt x="419100" y="1028559"/>
                </a:cubicBezTo>
                <a:cubicBezTo>
                  <a:pt x="413634" y="1021270"/>
                  <a:pt x="402701" y="1015803"/>
                  <a:pt x="395412" y="1015803"/>
                </a:cubicBezTo>
                <a:close/>
                <a:moveTo>
                  <a:pt x="3467142" y="1014664"/>
                </a:moveTo>
                <a:cubicBezTo>
                  <a:pt x="3464864" y="1014892"/>
                  <a:pt x="3462131" y="1015803"/>
                  <a:pt x="3460309" y="1015803"/>
                </a:cubicBezTo>
                <a:cubicBezTo>
                  <a:pt x="3460309" y="1019448"/>
                  <a:pt x="3469419" y="1019448"/>
                  <a:pt x="3471242" y="1017625"/>
                </a:cubicBezTo>
                <a:cubicBezTo>
                  <a:pt x="3471242" y="1014892"/>
                  <a:pt x="3469420" y="1014436"/>
                  <a:pt x="3467142" y="1014664"/>
                </a:cubicBezTo>
                <a:close/>
                <a:moveTo>
                  <a:pt x="3063075" y="1013981"/>
                </a:moveTo>
                <a:cubicBezTo>
                  <a:pt x="3057608" y="1013981"/>
                  <a:pt x="3064897" y="1024914"/>
                  <a:pt x="3070363" y="1023092"/>
                </a:cubicBezTo>
                <a:cubicBezTo>
                  <a:pt x="3070363" y="1017625"/>
                  <a:pt x="3063075" y="1019448"/>
                  <a:pt x="3063075" y="1013981"/>
                </a:cubicBezTo>
                <a:close/>
                <a:moveTo>
                  <a:pt x="1211747" y="1013981"/>
                </a:moveTo>
                <a:cubicBezTo>
                  <a:pt x="1208102" y="1023092"/>
                  <a:pt x="1200814" y="1030381"/>
                  <a:pt x="1198991" y="1039492"/>
                </a:cubicBezTo>
                <a:cubicBezTo>
                  <a:pt x="1206279" y="1035847"/>
                  <a:pt x="1213568" y="1028559"/>
                  <a:pt x="1217213" y="1023092"/>
                </a:cubicBezTo>
                <a:cubicBezTo>
                  <a:pt x="1217213" y="1019448"/>
                  <a:pt x="1213568" y="1013981"/>
                  <a:pt x="1211747" y="1013981"/>
                </a:cubicBezTo>
                <a:close/>
                <a:moveTo>
                  <a:pt x="692426" y="1013981"/>
                </a:moveTo>
                <a:cubicBezTo>
                  <a:pt x="694249" y="1017625"/>
                  <a:pt x="699715" y="1019448"/>
                  <a:pt x="703359" y="1021270"/>
                </a:cubicBezTo>
                <a:cubicBezTo>
                  <a:pt x="703359" y="1019448"/>
                  <a:pt x="696071" y="1013981"/>
                  <a:pt x="692426" y="1013981"/>
                </a:cubicBezTo>
                <a:close/>
                <a:moveTo>
                  <a:pt x="522964" y="1013981"/>
                </a:moveTo>
                <a:cubicBezTo>
                  <a:pt x="532075" y="1015803"/>
                  <a:pt x="530253" y="1024914"/>
                  <a:pt x="539364" y="1026736"/>
                </a:cubicBezTo>
                <a:lnTo>
                  <a:pt x="539105" y="1026671"/>
                </a:lnTo>
                <a:lnTo>
                  <a:pt x="529570" y="1021042"/>
                </a:lnTo>
                <a:lnTo>
                  <a:pt x="523021" y="1014440"/>
                </a:lnTo>
                <a:close/>
                <a:moveTo>
                  <a:pt x="324347" y="1013981"/>
                </a:moveTo>
                <a:cubicBezTo>
                  <a:pt x="322525" y="1015803"/>
                  <a:pt x="320703" y="1015803"/>
                  <a:pt x="320703" y="1017625"/>
                </a:cubicBezTo>
                <a:cubicBezTo>
                  <a:pt x="318882" y="1017625"/>
                  <a:pt x="318882" y="1017625"/>
                  <a:pt x="317059" y="1017625"/>
                </a:cubicBezTo>
                <a:lnTo>
                  <a:pt x="322085" y="1018539"/>
                </a:lnTo>
                <a:lnTo>
                  <a:pt x="322525" y="1017661"/>
                </a:lnTo>
                <a:lnTo>
                  <a:pt x="326278" y="1017661"/>
                </a:lnTo>
                <a:lnTo>
                  <a:pt x="326169" y="1017625"/>
                </a:lnTo>
                <a:cubicBezTo>
                  <a:pt x="327993" y="1015803"/>
                  <a:pt x="327993" y="1015803"/>
                  <a:pt x="329814" y="1015803"/>
                </a:cubicBezTo>
                <a:cubicBezTo>
                  <a:pt x="327993" y="1013981"/>
                  <a:pt x="326169" y="1015803"/>
                  <a:pt x="324347" y="1013981"/>
                </a:cubicBezTo>
                <a:close/>
                <a:moveTo>
                  <a:pt x="260571" y="1013981"/>
                </a:moveTo>
                <a:cubicBezTo>
                  <a:pt x="259660" y="1014892"/>
                  <a:pt x="261027" y="1016258"/>
                  <a:pt x="262849" y="1017625"/>
                </a:cubicBezTo>
                <a:lnTo>
                  <a:pt x="266549" y="1020316"/>
                </a:lnTo>
                <a:lnTo>
                  <a:pt x="268315" y="1023320"/>
                </a:lnTo>
                <a:cubicBezTo>
                  <a:pt x="270137" y="1025370"/>
                  <a:pt x="272415" y="1027647"/>
                  <a:pt x="273327" y="1028559"/>
                </a:cubicBezTo>
                <a:cubicBezTo>
                  <a:pt x="273327" y="1026736"/>
                  <a:pt x="271959" y="1025825"/>
                  <a:pt x="270365" y="1024686"/>
                </a:cubicBezTo>
                <a:lnTo>
                  <a:pt x="267066" y="1020692"/>
                </a:lnTo>
                <a:lnTo>
                  <a:pt x="267860" y="1021270"/>
                </a:lnTo>
                <a:cubicBezTo>
                  <a:pt x="267860" y="1017625"/>
                  <a:pt x="262393" y="1015803"/>
                  <a:pt x="260571" y="1013981"/>
                </a:cubicBezTo>
                <a:close/>
                <a:moveTo>
                  <a:pt x="2227381" y="1013753"/>
                </a:moveTo>
                <a:cubicBezTo>
                  <a:pt x="2224420" y="1012614"/>
                  <a:pt x="2221231" y="1012159"/>
                  <a:pt x="2217586" y="1013981"/>
                </a:cubicBezTo>
                <a:cubicBezTo>
                  <a:pt x="2219408" y="1013981"/>
                  <a:pt x="2215764" y="1015803"/>
                  <a:pt x="2217586" y="1035847"/>
                </a:cubicBezTo>
                <a:cubicBezTo>
                  <a:pt x="2215764" y="1035847"/>
                  <a:pt x="2215764" y="1034025"/>
                  <a:pt x="2213942" y="1034025"/>
                </a:cubicBezTo>
                <a:lnTo>
                  <a:pt x="2206736" y="1037627"/>
                </a:lnTo>
                <a:lnTo>
                  <a:pt x="2208475" y="1034025"/>
                </a:lnTo>
                <a:cubicBezTo>
                  <a:pt x="2204831" y="1035847"/>
                  <a:pt x="2201187" y="1030381"/>
                  <a:pt x="2197542" y="1032203"/>
                </a:cubicBezTo>
                <a:cubicBezTo>
                  <a:pt x="2197542" y="1032203"/>
                  <a:pt x="2197542" y="1034025"/>
                  <a:pt x="2197542" y="1035847"/>
                </a:cubicBezTo>
                <a:cubicBezTo>
                  <a:pt x="2193898" y="1034025"/>
                  <a:pt x="2192076" y="1032203"/>
                  <a:pt x="2188431" y="1030381"/>
                </a:cubicBezTo>
                <a:lnTo>
                  <a:pt x="2173854" y="1030381"/>
                </a:lnTo>
                <a:lnTo>
                  <a:pt x="2197542" y="1059535"/>
                </a:lnTo>
                <a:lnTo>
                  <a:pt x="2173854" y="1059535"/>
                </a:lnTo>
                <a:lnTo>
                  <a:pt x="2181143" y="1074113"/>
                </a:lnTo>
                <a:lnTo>
                  <a:pt x="2157454" y="1074113"/>
                </a:lnTo>
                <a:lnTo>
                  <a:pt x="2164743" y="1088690"/>
                </a:lnTo>
                <a:cubicBezTo>
                  <a:pt x="2155632" y="1105090"/>
                  <a:pt x="2157454" y="1088690"/>
                  <a:pt x="2157454" y="1119667"/>
                </a:cubicBezTo>
                <a:cubicBezTo>
                  <a:pt x="2173854" y="1123312"/>
                  <a:pt x="2182965" y="1128778"/>
                  <a:pt x="2190253" y="1132422"/>
                </a:cubicBezTo>
                <a:cubicBezTo>
                  <a:pt x="2195720" y="1128778"/>
                  <a:pt x="2195720" y="1126956"/>
                  <a:pt x="2193898" y="1119667"/>
                </a:cubicBezTo>
                <a:cubicBezTo>
                  <a:pt x="2192076" y="1117845"/>
                  <a:pt x="2188431" y="1119667"/>
                  <a:pt x="2186609" y="1117845"/>
                </a:cubicBezTo>
                <a:cubicBezTo>
                  <a:pt x="2192076" y="1116023"/>
                  <a:pt x="2199364" y="1117845"/>
                  <a:pt x="2204831" y="1117845"/>
                </a:cubicBezTo>
                <a:cubicBezTo>
                  <a:pt x="2205742" y="1114200"/>
                  <a:pt x="2203009" y="1114656"/>
                  <a:pt x="2199820" y="1115111"/>
                </a:cubicBezTo>
                <a:lnTo>
                  <a:pt x="2195720" y="1113664"/>
                </a:lnTo>
                <a:lnTo>
                  <a:pt x="2195720" y="1108734"/>
                </a:lnTo>
                <a:cubicBezTo>
                  <a:pt x="2188431" y="1108734"/>
                  <a:pt x="2177498" y="1114201"/>
                  <a:pt x="2170210" y="1106912"/>
                </a:cubicBezTo>
                <a:cubicBezTo>
                  <a:pt x="2179320" y="1108734"/>
                  <a:pt x="2201187" y="1108734"/>
                  <a:pt x="2197542" y="1095979"/>
                </a:cubicBezTo>
                <a:cubicBezTo>
                  <a:pt x="2197542" y="1092335"/>
                  <a:pt x="2192076" y="1086868"/>
                  <a:pt x="2186609" y="1088690"/>
                </a:cubicBezTo>
                <a:cubicBezTo>
                  <a:pt x="2186609" y="1085046"/>
                  <a:pt x="2188431" y="1081402"/>
                  <a:pt x="2190253" y="1083224"/>
                </a:cubicBezTo>
                <a:cubicBezTo>
                  <a:pt x="2193898" y="1085046"/>
                  <a:pt x="2197542" y="1086868"/>
                  <a:pt x="2203009" y="1085046"/>
                </a:cubicBezTo>
                <a:cubicBezTo>
                  <a:pt x="2204831" y="1085046"/>
                  <a:pt x="2208475" y="1083224"/>
                  <a:pt x="2208475" y="1079579"/>
                </a:cubicBezTo>
                <a:cubicBezTo>
                  <a:pt x="2206653" y="1079579"/>
                  <a:pt x="2204831" y="1081402"/>
                  <a:pt x="2204831" y="1083224"/>
                </a:cubicBezTo>
                <a:cubicBezTo>
                  <a:pt x="2206653" y="1081402"/>
                  <a:pt x="2208475" y="1079579"/>
                  <a:pt x="2210297" y="1077757"/>
                </a:cubicBezTo>
                <a:cubicBezTo>
                  <a:pt x="2206653" y="1074113"/>
                  <a:pt x="2201187" y="1083224"/>
                  <a:pt x="2203009" y="1085046"/>
                </a:cubicBezTo>
                <a:cubicBezTo>
                  <a:pt x="2201187" y="1081402"/>
                  <a:pt x="2204831" y="1077757"/>
                  <a:pt x="2204831" y="1075935"/>
                </a:cubicBezTo>
                <a:cubicBezTo>
                  <a:pt x="2204831" y="1075935"/>
                  <a:pt x="2201187" y="1075935"/>
                  <a:pt x="2201187" y="1074113"/>
                </a:cubicBezTo>
                <a:lnTo>
                  <a:pt x="2205038" y="1063524"/>
                </a:lnTo>
                <a:lnTo>
                  <a:pt x="2210297" y="1072291"/>
                </a:lnTo>
                <a:cubicBezTo>
                  <a:pt x="2212120" y="1070469"/>
                  <a:pt x="2212120" y="1068646"/>
                  <a:pt x="2212120" y="1065002"/>
                </a:cubicBezTo>
                <a:cubicBezTo>
                  <a:pt x="2215764" y="1063180"/>
                  <a:pt x="2212120" y="1070469"/>
                  <a:pt x="2217586" y="1068646"/>
                </a:cubicBezTo>
                <a:cubicBezTo>
                  <a:pt x="2215764" y="1066824"/>
                  <a:pt x="2217586" y="1063180"/>
                  <a:pt x="2217586" y="1059535"/>
                </a:cubicBezTo>
                <a:cubicBezTo>
                  <a:pt x="2215764" y="1057713"/>
                  <a:pt x="2212120" y="1057713"/>
                  <a:pt x="2208475" y="1057713"/>
                </a:cubicBezTo>
                <a:cubicBezTo>
                  <a:pt x="2206653" y="1063180"/>
                  <a:pt x="2212120" y="1063180"/>
                  <a:pt x="2210297" y="1066824"/>
                </a:cubicBezTo>
                <a:cubicBezTo>
                  <a:pt x="2208475" y="1067735"/>
                  <a:pt x="2208475" y="1066369"/>
                  <a:pt x="2208247" y="1065002"/>
                </a:cubicBezTo>
                <a:lnTo>
                  <a:pt x="2205109" y="1063328"/>
                </a:lnTo>
                <a:lnTo>
                  <a:pt x="2208475" y="1054069"/>
                </a:lnTo>
                <a:cubicBezTo>
                  <a:pt x="2204831" y="1052247"/>
                  <a:pt x="2201187" y="1052247"/>
                  <a:pt x="2197542" y="1050425"/>
                </a:cubicBezTo>
                <a:cubicBezTo>
                  <a:pt x="2201187" y="1050425"/>
                  <a:pt x="2203009" y="1050425"/>
                  <a:pt x="2204831" y="1048602"/>
                </a:cubicBezTo>
                <a:lnTo>
                  <a:pt x="2205221" y="1041774"/>
                </a:lnTo>
                <a:lnTo>
                  <a:pt x="2208931" y="1039491"/>
                </a:lnTo>
                <a:cubicBezTo>
                  <a:pt x="2210298" y="1037669"/>
                  <a:pt x="2211209" y="1035847"/>
                  <a:pt x="2212120" y="1035847"/>
                </a:cubicBezTo>
                <a:cubicBezTo>
                  <a:pt x="2215764" y="1034025"/>
                  <a:pt x="2224875" y="1035847"/>
                  <a:pt x="2219408" y="1043136"/>
                </a:cubicBezTo>
                <a:cubicBezTo>
                  <a:pt x="2223053" y="1041314"/>
                  <a:pt x="2227608" y="1042225"/>
                  <a:pt x="2231025" y="1042225"/>
                </a:cubicBezTo>
                <a:lnTo>
                  <a:pt x="2235728" y="1035953"/>
                </a:lnTo>
                <a:lnTo>
                  <a:pt x="2239452" y="1039492"/>
                </a:lnTo>
                <a:cubicBezTo>
                  <a:pt x="2239452" y="1035847"/>
                  <a:pt x="2241274" y="1034025"/>
                  <a:pt x="2241274" y="1030381"/>
                </a:cubicBezTo>
                <a:cubicBezTo>
                  <a:pt x="2243096" y="1035847"/>
                  <a:pt x="2246741" y="1039492"/>
                  <a:pt x="2241274" y="1043136"/>
                </a:cubicBezTo>
                <a:cubicBezTo>
                  <a:pt x="2244919" y="1044958"/>
                  <a:pt x="2250385" y="1044958"/>
                  <a:pt x="2255852" y="1046780"/>
                </a:cubicBezTo>
                <a:lnTo>
                  <a:pt x="2256440" y="1044429"/>
                </a:lnTo>
                <a:lnTo>
                  <a:pt x="2258130" y="1042908"/>
                </a:lnTo>
                <a:cubicBezTo>
                  <a:pt x="2258130" y="1041769"/>
                  <a:pt x="2257674" y="1040403"/>
                  <a:pt x="2257674" y="1039492"/>
                </a:cubicBezTo>
                <a:lnTo>
                  <a:pt x="2256440" y="1044429"/>
                </a:lnTo>
                <a:lnTo>
                  <a:pt x="2255852" y="1044958"/>
                </a:lnTo>
                <a:cubicBezTo>
                  <a:pt x="2254030" y="1043136"/>
                  <a:pt x="2255852" y="1041314"/>
                  <a:pt x="2255852" y="1037669"/>
                </a:cubicBezTo>
                <a:cubicBezTo>
                  <a:pt x="2255852" y="1037669"/>
                  <a:pt x="2254030" y="1035847"/>
                  <a:pt x="2254030" y="1035847"/>
                </a:cubicBezTo>
                <a:cubicBezTo>
                  <a:pt x="2252207" y="1037669"/>
                  <a:pt x="2250385" y="1037669"/>
                  <a:pt x="2248563" y="1037669"/>
                </a:cubicBezTo>
                <a:cubicBezTo>
                  <a:pt x="2252207" y="1035847"/>
                  <a:pt x="2252207" y="1034025"/>
                  <a:pt x="2252207" y="1034025"/>
                </a:cubicBezTo>
                <a:cubicBezTo>
                  <a:pt x="2250385" y="1032203"/>
                  <a:pt x="2248563" y="1028559"/>
                  <a:pt x="2246741" y="1026736"/>
                </a:cubicBezTo>
                <a:cubicBezTo>
                  <a:pt x="2243096" y="1026736"/>
                  <a:pt x="2239452" y="1028559"/>
                  <a:pt x="2235808" y="1026736"/>
                </a:cubicBezTo>
                <a:cubicBezTo>
                  <a:pt x="2234897" y="1029469"/>
                  <a:pt x="2234442" y="1032658"/>
                  <a:pt x="2234897" y="1035164"/>
                </a:cubicBezTo>
                <a:lnTo>
                  <a:pt x="2235676" y="1035903"/>
                </a:lnTo>
                <a:lnTo>
                  <a:pt x="2231025" y="1037897"/>
                </a:lnTo>
                <a:cubicBezTo>
                  <a:pt x="2229430" y="1037213"/>
                  <a:pt x="2227608" y="1035847"/>
                  <a:pt x="2224875" y="1035847"/>
                </a:cubicBezTo>
                <a:cubicBezTo>
                  <a:pt x="2224875" y="1035847"/>
                  <a:pt x="2221230" y="1032203"/>
                  <a:pt x="2223053" y="1032203"/>
                </a:cubicBezTo>
                <a:cubicBezTo>
                  <a:pt x="2226697" y="1028559"/>
                  <a:pt x="2232163" y="1032203"/>
                  <a:pt x="2233986" y="1024914"/>
                </a:cubicBezTo>
                <a:cubicBezTo>
                  <a:pt x="2235808" y="1023092"/>
                  <a:pt x="2235808" y="1021270"/>
                  <a:pt x="2235808" y="1017625"/>
                </a:cubicBezTo>
                <a:cubicBezTo>
                  <a:pt x="2233075" y="1016714"/>
                  <a:pt x="2230342" y="1014892"/>
                  <a:pt x="2227381" y="1013753"/>
                </a:cubicBezTo>
                <a:close/>
                <a:moveTo>
                  <a:pt x="823623" y="1013070"/>
                </a:moveTo>
                <a:lnTo>
                  <a:pt x="823623" y="1017625"/>
                </a:lnTo>
                <a:cubicBezTo>
                  <a:pt x="823623" y="1019448"/>
                  <a:pt x="825445" y="1021270"/>
                  <a:pt x="825445" y="1024914"/>
                </a:cubicBezTo>
                <a:lnTo>
                  <a:pt x="823050" y="1027308"/>
                </a:lnTo>
                <a:lnTo>
                  <a:pt x="821801" y="1013981"/>
                </a:lnTo>
                <a:close/>
                <a:moveTo>
                  <a:pt x="1037274" y="1012842"/>
                </a:moveTo>
                <a:cubicBezTo>
                  <a:pt x="1035452" y="1012614"/>
                  <a:pt x="1034084" y="1013070"/>
                  <a:pt x="1034995" y="1015803"/>
                </a:cubicBezTo>
                <a:cubicBezTo>
                  <a:pt x="1036818" y="1015803"/>
                  <a:pt x="1038639" y="1013981"/>
                  <a:pt x="1036818" y="1015803"/>
                </a:cubicBezTo>
                <a:cubicBezTo>
                  <a:pt x="1038639" y="1017625"/>
                  <a:pt x="1031351" y="1017625"/>
                  <a:pt x="1034995" y="1019448"/>
                </a:cubicBezTo>
                <a:cubicBezTo>
                  <a:pt x="1036818" y="1015803"/>
                  <a:pt x="1040462" y="1017625"/>
                  <a:pt x="1042284" y="1013981"/>
                </a:cubicBezTo>
                <a:cubicBezTo>
                  <a:pt x="1041373" y="1013981"/>
                  <a:pt x="1039095" y="1013070"/>
                  <a:pt x="1037274" y="1012842"/>
                </a:cubicBezTo>
                <a:close/>
                <a:moveTo>
                  <a:pt x="3551417" y="1012159"/>
                </a:moveTo>
                <a:cubicBezTo>
                  <a:pt x="3547773" y="1015803"/>
                  <a:pt x="3549595" y="1030381"/>
                  <a:pt x="3556884" y="1023092"/>
                </a:cubicBezTo>
                <a:cubicBezTo>
                  <a:pt x="3556884" y="1017625"/>
                  <a:pt x="3549595" y="1017625"/>
                  <a:pt x="3551417" y="1012159"/>
                </a:cubicBezTo>
                <a:close/>
                <a:moveTo>
                  <a:pt x="3055786" y="1012159"/>
                </a:moveTo>
                <a:cubicBezTo>
                  <a:pt x="3052142" y="1013981"/>
                  <a:pt x="3050319" y="1013981"/>
                  <a:pt x="3048497" y="1013981"/>
                </a:cubicBezTo>
                <a:cubicBezTo>
                  <a:pt x="3046675" y="1015803"/>
                  <a:pt x="3048497" y="1021270"/>
                  <a:pt x="3044853" y="1021270"/>
                </a:cubicBezTo>
                <a:cubicBezTo>
                  <a:pt x="3044853" y="1021270"/>
                  <a:pt x="3046675" y="1023092"/>
                  <a:pt x="3046675" y="1024914"/>
                </a:cubicBezTo>
                <a:lnTo>
                  <a:pt x="3052372" y="1025565"/>
                </a:lnTo>
                <a:lnTo>
                  <a:pt x="3053508" y="1028786"/>
                </a:lnTo>
                <a:cubicBezTo>
                  <a:pt x="3055331" y="1030380"/>
                  <a:pt x="3057608" y="1032203"/>
                  <a:pt x="3057608" y="1034025"/>
                </a:cubicBezTo>
                <a:cubicBezTo>
                  <a:pt x="3061253" y="1034025"/>
                  <a:pt x="3057608" y="1030381"/>
                  <a:pt x="3057608" y="1026736"/>
                </a:cubicBezTo>
                <a:lnTo>
                  <a:pt x="3055038" y="1025879"/>
                </a:lnTo>
                <a:lnTo>
                  <a:pt x="3061253" y="1026736"/>
                </a:lnTo>
                <a:cubicBezTo>
                  <a:pt x="3057608" y="1026736"/>
                  <a:pt x="3059430" y="1021270"/>
                  <a:pt x="3055786" y="1021270"/>
                </a:cubicBezTo>
                <a:cubicBezTo>
                  <a:pt x="3063075" y="1019448"/>
                  <a:pt x="3055786" y="1017625"/>
                  <a:pt x="3055786" y="1012159"/>
                </a:cubicBezTo>
                <a:close/>
                <a:moveTo>
                  <a:pt x="3017521" y="1012159"/>
                </a:moveTo>
                <a:cubicBezTo>
                  <a:pt x="3017521" y="1026736"/>
                  <a:pt x="3022987" y="1015803"/>
                  <a:pt x="3024809" y="1015803"/>
                </a:cubicBezTo>
                <a:cubicBezTo>
                  <a:pt x="3022987" y="1013981"/>
                  <a:pt x="3021165" y="1012159"/>
                  <a:pt x="3017521" y="1012159"/>
                </a:cubicBezTo>
                <a:close/>
                <a:moveTo>
                  <a:pt x="1164370" y="1012159"/>
                </a:moveTo>
                <a:lnTo>
                  <a:pt x="1165120" y="1012909"/>
                </a:lnTo>
                <a:lnTo>
                  <a:pt x="1163914" y="1019903"/>
                </a:lnTo>
                <a:lnTo>
                  <a:pt x="1163417" y="1020942"/>
                </a:lnTo>
                <a:lnTo>
                  <a:pt x="1163003" y="1019220"/>
                </a:lnTo>
                <a:cubicBezTo>
                  <a:pt x="1163459" y="1017170"/>
                  <a:pt x="1164370" y="1014892"/>
                  <a:pt x="1164370" y="1012159"/>
                </a:cubicBezTo>
                <a:close/>
                <a:moveTo>
                  <a:pt x="462832" y="1012159"/>
                </a:moveTo>
                <a:cubicBezTo>
                  <a:pt x="462832" y="1016715"/>
                  <a:pt x="464199" y="1020815"/>
                  <a:pt x="465110" y="1024687"/>
                </a:cubicBezTo>
                <a:lnTo>
                  <a:pt x="464970" y="1028120"/>
                </a:lnTo>
                <a:close/>
                <a:moveTo>
                  <a:pt x="335280" y="1012159"/>
                </a:moveTo>
                <a:cubicBezTo>
                  <a:pt x="333458" y="1013981"/>
                  <a:pt x="337102" y="1017625"/>
                  <a:pt x="337102" y="1015803"/>
                </a:cubicBezTo>
                <a:cubicBezTo>
                  <a:pt x="338926" y="1015803"/>
                  <a:pt x="337102" y="1013981"/>
                  <a:pt x="338926" y="1013981"/>
                </a:cubicBezTo>
                <a:cubicBezTo>
                  <a:pt x="338926" y="1013981"/>
                  <a:pt x="337102" y="1013981"/>
                  <a:pt x="335280" y="1012159"/>
                </a:cubicBezTo>
                <a:close/>
                <a:moveTo>
                  <a:pt x="298837" y="1012159"/>
                </a:moveTo>
                <a:lnTo>
                  <a:pt x="301252" y="1016735"/>
                </a:lnTo>
                <a:lnTo>
                  <a:pt x="300660" y="1017625"/>
                </a:lnTo>
                <a:lnTo>
                  <a:pt x="301949" y="1018055"/>
                </a:lnTo>
                <a:lnTo>
                  <a:pt x="303164" y="1020358"/>
                </a:lnTo>
                <a:cubicBezTo>
                  <a:pt x="305214" y="1022636"/>
                  <a:pt x="307947" y="1024003"/>
                  <a:pt x="311592" y="1023092"/>
                </a:cubicBezTo>
                <a:cubicBezTo>
                  <a:pt x="317059" y="1019448"/>
                  <a:pt x="311592" y="1015803"/>
                  <a:pt x="304303" y="1015803"/>
                </a:cubicBezTo>
                <a:cubicBezTo>
                  <a:pt x="306126" y="1017625"/>
                  <a:pt x="304303" y="1017625"/>
                  <a:pt x="306126" y="1019448"/>
                </a:cubicBezTo>
                <a:lnTo>
                  <a:pt x="301949" y="1018055"/>
                </a:lnTo>
                <a:lnTo>
                  <a:pt x="301252" y="1016735"/>
                </a:lnTo>
                <a:lnTo>
                  <a:pt x="304303" y="1012159"/>
                </a:lnTo>
                <a:cubicBezTo>
                  <a:pt x="302481" y="1010337"/>
                  <a:pt x="300660" y="1012159"/>
                  <a:pt x="298837" y="1012159"/>
                </a:cubicBezTo>
                <a:close/>
                <a:moveTo>
                  <a:pt x="247816" y="1012159"/>
                </a:moveTo>
                <a:cubicBezTo>
                  <a:pt x="251460" y="1015803"/>
                  <a:pt x="253282" y="1013981"/>
                  <a:pt x="255105" y="1015803"/>
                </a:cubicBezTo>
                <a:cubicBezTo>
                  <a:pt x="255105" y="1013981"/>
                  <a:pt x="249638" y="1010337"/>
                  <a:pt x="247816" y="1012159"/>
                </a:cubicBezTo>
                <a:close/>
                <a:moveTo>
                  <a:pt x="911253" y="1011825"/>
                </a:moveTo>
                <a:lnTo>
                  <a:pt x="911543" y="1012842"/>
                </a:lnTo>
                <a:lnTo>
                  <a:pt x="911475" y="1013827"/>
                </a:lnTo>
                <a:close/>
                <a:moveTo>
                  <a:pt x="1165318" y="1011759"/>
                </a:moveTo>
                <a:lnTo>
                  <a:pt x="1168014" y="1015803"/>
                </a:lnTo>
                <a:lnTo>
                  <a:pt x="1165120" y="1012909"/>
                </a:lnTo>
                <a:close/>
                <a:moveTo>
                  <a:pt x="287676" y="1011703"/>
                </a:moveTo>
                <a:cubicBezTo>
                  <a:pt x="285626" y="1009881"/>
                  <a:pt x="283348" y="1009425"/>
                  <a:pt x="280615" y="1012159"/>
                </a:cubicBezTo>
                <a:cubicBezTo>
                  <a:pt x="286082" y="1013981"/>
                  <a:pt x="289726" y="1017625"/>
                  <a:pt x="293370" y="1019448"/>
                </a:cubicBezTo>
                <a:cubicBezTo>
                  <a:pt x="291549" y="1016714"/>
                  <a:pt x="289726" y="1013525"/>
                  <a:pt x="287676" y="1011703"/>
                </a:cubicBezTo>
                <a:close/>
                <a:moveTo>
                  <a:pt x="1025884" y="1010337"/>
                </a:moveTo>
                <a:cubicBezTo>
                  <a:pt x="1024062" y="1012159"/>
                  <a:pt x="1024062" y="1012159"/>
                  <a:pt x="1022240" y="1013981"/>
                </a:cubicBezTo>
                <a:cubicBezTo>
                  <a:pt x="1024062" y="1015803"/>
                  <a:pt x="1025884" y="1015803"/>
                  <a:pt x="1027707" y="1013981"/>
                </a:cubicBezTo>
                <a:cubicBezTo>
                  <a:pt x="1027707" y="1012159"/>
                  <a:pt x="1027707" y="1012159"/>
                  <a:pt x="1025884" y="1010337"/>
                </a:cubicBezTo>
                <a:close/>
                <a:moveTo>
                  <a:pt x="679671" y="1010337"/>
                </a:moveTo>
                <a:cubicBezTo>
                  <a:pt x="672383" y="1017625"/>
                  <a:pt x="683316" y="1012159"/>
                  <a:pt x="683316" y="1012159"/>
                </a:cubicBezTo>
                <a:cubicBezTo>
                  <a:pt x="681493" y="1012159"/>
                  <a:pt x="681493" y="1010337"/>
                  <a:pt x="679671" y="1010337"/>
                </a:cubicBezTo>
                <a:close/>
                <a:moveTo>
                  <a:pt x="313414" y="1010337"/>
                </a:moveTo>
                <a:cubicBezTo>
                  <a:pt x="313414" y="1012159"/>
                  <a:pt x="315236" y="1013981"/>
                  <a:pt x="317059" y="1015803"/>
                </a:cubicBezTo>
                <a:cubicBezTo>
                  <a:pt x="318882" y="1012159"/>
                  <a:pt x="318882" y="1012159"/>
                  <a:pt x="322525" y="1012159"/>
                </a:cubicBezTo>
                <a:cubicBezTo>
                  <a:pt x="318882" y="1010337"/>
                  <a:pt x="317059" y="1010337"/>
                  <a:pt x="313414" y="1010337"/>
                </a:cubicBezTo>
                <a:close/>
                <a:moveTo>
                  <a:pt x="231416" y="1010337"/>
                </a:moveTo>
                <a:cubicBezTo>
                  <a:pt x="231416" y="1012159"/>
                  <a:pt x="238705" y="1019448"/>
                  <a:pt x="240527" y="1019448"/>
                </a:cubicBezTo>
                <a:cubicBezTo>
                  <a:pt x="240527" y="1015803"/>
                  <a:pt x="233239" y="1012159"/>
                  <a:pt x="231416" y="1010337"/>
                </a:cubicBezTo>
                <a:close/>
                <a:moveTo>
                  <a:pt x="1076905" y="1008515"/>
                </a:moveTo>
                <a:cubicBezTo>
                  <a:pt x="1075083" y="1012159"/>
                  <a:pt x="1071439" y="1013981"/>
                  <a:pt x="1075083" y="1019448"/>
                </a:cubicBezTo>
                <a:cubicBezTo>
                  <a:pt x="1076905" y="1015803"/>
                  <a:pt x="1082373" y="1012159"/>
                  <a:pt x="1076905" y="1008515"/>
                </a:cubicBezTo>
                <a:close/>
                <a:moveTo>
                  <a:pt x="1013129" y="1008515"/>
                </a:moveTo>
                <a:cubicBezTo>
                  <a:pt x="1013129" y="1008515"/>
                  <a:pt x="1009485" y="1010337"/>
                  <a:pt x="1011307" y="1012159"/>
                </a:cubicBezTo>
                <a:cubicBezTo>
                  <a:pt x="1013129" y="1010337"/>
                  <a:pt x="1013129" y="1010337"/>
                  <a:pt x="1014951" y="1010337"/>
                </a:cubicBezTo>
                <a:cubicBezTo>
                  <a:pt x="1014951" y="1010337"/>
                  <a:pt x="1013129" y="1008515"/>
                  <a:pt x="1013129" y="1008515"/>
                </a:cubicBezTo>
                <a:close/>
                <a:moveTo>
                  <a:pt x="854600" y="1008515"/>
                </a:moveTo>
                <a:cubicBezTo>
                  <a:pt x="852778" y="1013981"/>
                  <a:pt x="856422" y="1023092"/>
                  <a:pt x="861889" y="1026736"/>
                </a:cubicBezTo>
                <a:cubicBezTo>
                  <a:pt x="861889" y="1021270"/>
                  <a:pt x="861889" y="1012159"/>
                  <a:pt x="854600" y="1008515"/>
                </a:cubicBezTo>
                <a:close/>
                <a:moveTo>
                  <a:pt x="710648" y="1008515"/>
                </a:moveTo>
                <a:cubicBezTo>
                  <a:pt x="708826" y="1010337"/>
                  <a:pt x="707004" y="1015803"/>
                  <a:pt x="714293" y="1019448"/>
                </a:cubicBezTo>
                <a:cubicBezTo>
                  <a:pt x="717937" y="1015803"/>
                  <a:pt x="712470" y="1012159"/>
                  <a:pt x="710648" y="1008515"/>
                </a:cubicBezTo>
                <a:close/>
                <a:moveTo>
                  <a:pt x="697893" y="1008515"/>
                </a:moveTo>
                <a:cubicBezTo>
                  <a:pt x="694249" y="1010337"/>
                  <a:pt x="699715" y="1010337"/>
                  <a:pt x="701537" y="1012159"/>
                </a:cubicBezTo>
                <a:cubicBezTo>
                  <a:pt x="703359" y="1013981"/>
                  <a:pt x="699715" y="1013981"/>
                  <a:pt x="699715" y="1012159"/>
                </a:cubicBezTo>
                <a:cubicBezTo>
                  <a:pt x="697893" y="1013981"/>
                  <a:pt x="703359" y="1015803"/>
                  <a:pt x="705182" y="1017625"/>
                </a:cubicBezTo>
                <a:cubicBezTo>
                  <a:pt x="705182" y="1013981"/>
                  <a:pt x="703359" y="1012159"/>
                  <a:pt x="703359" y="1008515"/>
                </a:cubicBezTo>
                <a:cubicBezTo>
                  <a:pt x="701537" y="1008515"/>
                  <a:pt x="699715" y="1008515"/>
                  <a:pt x="697893" y="1008515"/>
                </a:cubicBezTo>
                <a:close/>
                <a:moveTo>
                  <a:pt x="632296" y="1008515"/>
                </a:moveTo>
                <a:cubicBezTo>
                  <a:pt x="630472" y="1012159"/>
                  <a:pt x="637761" y="1013981"/>
                  <a:pt x="641407" y="1017625"/>
                </a:cubicBezTo>
                <a:cubicBezTo>
                  <a:pt x="643228" y="1015803"/>
                  <a:pt x="643228" y="1013981"/>
                  <a:pt x="643228" y="1012159"/>
                </a:cubicBezTo>
                <a:cubicBezTo>
                  <a:pt x="639583" y="1010337"/>
                  <a:pt x="635939" y="1010337"/>
                  <a:pt x="632296" y="1008515"/>
                </a:cubicBezTo>
                <a:close/>
                <a:moveTo>
                  <a:pt x="572163" y="1008515"/>
                </a:moveTo>
                <a:cubicBezTo>
                  <a:pt x="573985" y="1015803"/>
                  <a:pt x="573985" y="1017625"/>
                  <a:pt x="581274" y="1015803"/>
                </a:cubicBezTo>
                <a:cubicBezTo>
                  <a:pt x="577630" y="1013981"/>
                  <a:pt x="577630" y="1010337"/>
                  <a:pt x="572163" y="1008515"/>
                </a:cubicBezTo>
                <a:close/>
                <a:moveTo>
                  <a:pt x="189506" y="1008515"/>
                </a:moveTo>
                <a:cubicBezTo>
                  <a:pt x="193151" y="1023092"/>
                  <a:pt x="205906" y="1024914"/>
                  <a:pt x="216839" y="1028559"/>
                </a:cubicBezTo>
                <a:cubicBezTo>
                  <a:pt x="215017" y="1026736"/>
                  <a:pt x="213195" y="1024914"/>
                  <a:pt x="211372" y="1023092"/>
                </a:cubicBezTo>
                <a:cubicBezTo>
                  <a:pt x="211372" y="1023092"/>
                  <a:pt x="213195" y="1024914"/>
                  <a:pt x="215017" y="1024914"/>
                </a:cubicBezTo>
                <a:cubicBezTo>
                  <a:pt x="216839" y="1023092"/>
                  <a:pt x="215017" y="1021270"/>
                  <a:pt x="215017" y="1021270"/>
                </a:cubicBezTo>
                <a:cubicBezTo>
                  <a:pt x="207728" y="1017625"/>
                  <a:pt x="202262" y="1015803"/>
                  <a:pt x="196795" y="1015803"/>
                </a:cubicBezTo>
                <a:cubicBezTo>
                  <a:pt x="196795" y="1015803"/>
                  <a:pt x="196795" y="1015803"/>
                  <a:pt x="198617" y="1013981"/>
                </a:cubicBezTo>
                <a:cubicBezTo>
                  <a:pt x="194973" y="1012159"/>
                  <a:pt x="193151" y="1008515"/>
                  <a:pt x="189506" y="1008515"/>
                </a:cubicBezTo>
                <a:close/>
                <a:moveTo>
                  <a:pt x="2970827" y="1008059"/>
                </a:moveTo>
                <a:cubicBezTo>
                  <a:pt x="2968322" y="1008970"/>
                  <a:pt x="2965589" y="1010337"/>
                  <a:pt x="2962855" y="1010337"/>
                </a:cubicBezTo>
                <a:cubicBezTo>
                  <a:pt x="2964677" y="1019448"/>
                  <a:pt x="2962855" y="1023092"/>
                  <a:pt x="2955566" y="1024914"/>
                </a:cubicBezTo>
                <a:cubicBezTo>
                  <a:pt x="2955566" y="1024914"/>
                  <a:pt x="2955566" y="1024914"/>
                  <a:pt x="2953744" y="1023092"/>
                </a:cubicBezTo>
                <a:cubicBezTo>
                  <a:pt x="2959211" y="1023092"/>
                  <a:pt x="2966500" y="1015803"/>
                  <a:pt x="2961033" y="1013981"/>
                </a:cubicBezTo>
                <a:cubicBezTo>
                  <a:pt x="2951922" y="1010337"/>
                  <a:pt x="2950100" y="1023092"/>
                  <a:pt x="2940989" y="1024914"/>
                </a:cubicBezTo>
                <a:cubicBezTo>
                  <a:pt x="2948278" y="1037669"/>
                  <a:pt x="2961033" y="1043136"/>
                  <a:pt x="2973788" y="1044958"/>
                </a:cubicBezTo>
                <a:cubicBezTo>
                  <a:pt x="2975610" y="1046780"/>
                  <a:pt x="2975610" y="1050425"/>
                  <a:pt x="2977432" y="1052247"/>
                </a:cubicBezTo>
                <a:cubicBezTo>
                  <a:pt x="2979255" y="1050425"/>
                  <a:pt x="2979255" y="1046780"/>
                  <a:pt x="2977432" y="1044958"/>
                </a:cubicBezTo>
                <a:cubicBezTo>
                  <a:pt x="2984721" y="1046780"/>
                  <a:pt x="2986543" y="1055891"/>
                  <a:pt x="2988366" y="1057713"/>
                </a:cubicBezTo>
                <a:lnTo>
                  <a:pt x="3030457" y="1093069"/>
                </a:lnTo>
                <a:lnTo>
                  <a:pt x="3028453" y="1092335"/>
                </a:lnTo>
                <a:cubicBezTo>
                  <a:pt x="3028453" y="1095979"/>
                  <a:pt x="3033920" y="1095979"/>
                  <a:pt x="3035742" y="1097801"/>
                </a:cubicBezTo>
                <a:cubicBezTo>
                  <a:pt x="3037564" y="1099623"/>
                  <a:pt x="3041209" y="1101445"/>
                  <a:pt x="3041209" y="1105090"/>
                </a:cubicBezTo>
                <a:cubicBezTo>
                  <a:pt x="3041209" y="1099623"/>
                  <a:pt x="3043031" y="1095979"/>
                  <a:pt x="3044853" y="1092335"/>
                </a:cubicBezTo>
                <a:cubicBezTo>
                  <a:pt x="3044853" y="1097801"/>
                  <a:pt x="3052142" y="1097801"/>
                  <a:pt x="3055786" y="1099623"/>
                </a:cubicBezTo>
                <a:cubicBezTo>
                  <a:pt x="3048497" y="1099623"/>
                  <a:pt x="3057608" y="1108734"/>
                  <a:pt x="3053964" y="1114201"/>
                </a:cubicBezTo>
                <a:cubicBezTo>
                  <a:pt x="3048497" y="1114201"/>
                  <a:pt x="3050319" y="1108734"/>
                  <a:pt x="3044853" y="1110556"/>
                </a:cubicBezTo>
                <a:lnTo>
                  <a:pt x="3045945" y="1121257"/>
                </a:lnTo>
                <a:lnTo>
                  <a:pt x="3039159" y="1115795"/>
                </a:lnTo>
                <a:lnTo>
                  <a:pt x="3035706" y="1114692"/>
                </a:lnTo>
                <a:lnTo>
                  <a:pt x="3035742" y="1114201"/>
                </a:lnTo>
                <a:lnTo>
                  <a:pt x="3033902" y="1114117"/>
                </a:lnTo>
                <a:lnTo>
                  <a:pt x="3028453" y="1112378"/>
                </a:lnTo>
                <a:cubicBezTo>
                  <a:pt x="3028453" y="1115111"/>
                  <a:pt x="3029365" y="1114656"/>
                  <a:pt x="3030731" y="1113972"/>
                </a:cubicBezTo>
                <a:lnTo>
                  <a:pt x="3033902" y="1114117"/>
                </a:lnTo>
                <a:lnTo>
                  <a:pt x="3035706" y="1114692"/>
                </a:lnTo>
                <a:lnTo>
                  <a:pt x="3035287" y="1120350"/>
                </a:lnTo>
                <a:cubicBezTo>
                  <a:pt x="3036654" y="1121489"/>
                  <a:pt x="3038476" y="1122400"/>
                  <a:pt x="3037564" y="1125134"/>
                </a:cubicBezTo>
                <a:cubicBezTo>
                  <a:pt x="3033009" y="1125134"/>
                  <a:pt x="3030276" y="1121489"/>
                  <a:pt x="3027542" y="1118300"/>
                </a:cubicBezTo>
                <a:lnTo>
                  <a:pt x="3026727" y="1117967"/>
                </a:lnTo>
                <a:lnTo>
                  <a:pt x="3026631" y="1117845"/>
                </a:lnTo>
                <a:lnTo>
                  <a:pt x="3026670" y="1117944"/>
                </a:lnTo>
                <a:lnTo>
                  <a:pt x="3017521" y="1114201"/>
                </a:lnTo>
                <a:cubicBezTo>
                  <a:pt x="3015698" y="1112378"/>
                  <a:pt x="3021165" y="1106912"/>
                  <a:pt x="3017521" y="1103268"/>
                </a:cubicBezTo>
                <a:cubicBezTo>
                  <a:pt x="3015698" y="1106912"/>
                  <a:pt x="3012054" y="1110556"/>
                  <a:pt x="3013876" y="1117845"/>
                </a:cubicBezTo>
                <a:cubicBezTo>
                  <a:pt x="3010232" y="1112378"/>
                  <a:pt x="3001121" y="1106912"/>
                  <a:pt x="3001121" y="1095979"/>
                </a:cubicBezTo>
                <a:cubicBezTo>
                  <a:pt x="2997477" y="1097801"/>
                  <a:pt x="2995654" y="1097801"/>
                  <a:pt x="2995654" y="1101445"/>
                </a:cubicBezTo>
                <a:cubicBezTo>
                  <a:pt x="2995654" y="1101445"/>
                  <a:pt x="2995654" y="1099623"/>
                  <a:pt x="2997477" y="1099623"/>
                </a:cubicBezTo>
                <a:cubicBezTo>
                  <a:pt x="2999299" y="1103268"/>
                  <a:pt x="2995654" y="1103268"/>
                  <a:pt x="2995654" y="1105090"/>
                </a:cubicBezTo>
                <a:cubicBezTo>
                  <a:pt x="2992010" y="1097801"/>
                  <a:pt x="2990188" y="1095979"/>
                  <a:pt x="2990188" y="1086868"/>
                </a:cubicBezTo>
                <a:cubicBezTo>
                  <a:pt x="2986543" y="1086868"/>
                  <a:pt x="2982899" y="1094157"/>
                  <a:pt x="2982899" y="1086868"/>
                </a:cubicBezTo>
                <a:cubicBezTo>
                  <a:pt x="2975610" y="1090512"/>
                  <a:pt x="2988366" y="1101445"/>
                  <a:pt x="2979255" y="1101445"/>
                </a:cubicBezTo>
                <a:cubicBezTo>
                  <a:pt x="2979255" y="1105090"/>
                  <a:pt x="2982899" y="1106912"/>
                  <a:pt x="2982899" y="1110556"/>
                </a:cubicBezTo>
                <a:cubicBezTo>
                  <a:pt x="2977432" y="1116023"/>
                  <a:pt x="2973788" y="1106912"/>
                  <a:pt x="2968322" y="1105090"/>
                </a:cubicBezTo>
                <a:cubicBezTo>
                  <a:pt x="2968322" y="1103268"/>
                  <a:pt x="2971966" y="1101445"/>
                  <a:pt x="2968322" y="1099623"/>
                </a:cubicBezTo>
                <a:cubicBezTo>
                  <a:pt x="2966500" y="1097801"/>
                  <a:pt x="2966500" y="1099623"/>
                  <a:pt x="2966500" y="1101445"/>
                </a:cubicBezTo>
                <a:cubicBezTo>
                  <a:pt x="2962855" y="1101445"/>
                  <a:pt x="2962855" y="1099623"/>
                  <a:pt x="2962855" y="1095979"/>
                </a:cubicBezTo>
                <a:cubicBezTo>
                  <a:pt x="2964677" y="1094157"/>
                  <a:pt x="2968322" y="1099623"/>
                  <a:pt x="2968322" y="1095979"/>
                </a:cubicBezTo>
                <a:cubicBezTo>
                  <a:pt x="2970144" y="1097801"/>
                  <a:pt x="2971966" y="1099623"/>
                  <a:pt x="2971966" y="1101445"/>
                </a:cubicBezTo>
                <a:cubicBezTo>
                  <a:pt x="2977432" y="1099623"/>
                  <a:pt x="2971966" y="1094157"/>
                  <a:pt x="2973788" y="1090512"/>
                </a:cubicBezTo>
                <a:cubicBezTo>
                  <a:pt x="2968322" y="1095979"/>
                  <a:pt x="2970144" y="1085046"/>
                  <a:pt x="2968322" y="1081402"/>
                </a:cubicBezTo>
                <a:cubicBezTo>
                  <a:pt x="2966500" y="1079579"/>
                  <a:pt x="2966500" y="1081402"/>
                  <a:pt x="2966500" y="1083224"/>
                </a:cubicBezTo>
                <a:cubicBezTo>
                  <a:pt x="2959211" y="1079579"/>
                  <a:pt x="2968322" y="1074113"/>
                  <a:pt x="2970144" y="1072291"/>
                </a:cubicBezTo>
                <a:cubicBezTo>
                  <a:pt x="2970144" y="1070469"/>
                  <a:pt x="2968322" y="1070469"/>
                  <a:pt x="2966500" y="1070469"/>
                </a:cubicBezTo>
                <a:cubicBezTo>
                  <a:pt x="2964677" y="1066824"/>
                  <a:pt x="2968322" y="1066824"/>
                  <a:pt x="2970144" y="1065002"/>
                </a:cubicBezTo>
                <a:cubicBezTo>
                  <a:pt x="2973788" y="1068646"/>
                  <a:pt x="2977432" y="1074113"/>
                  <a:pt x="2986543" y="1074113"/>
                </a:cubicBezTo>
                <a:cubicBezTo>
                  <a:pt x="2986543" y="1070469"/>
                  <a:pt x="2982899" y="1065002"/>
                  <a:pt x="2986543" y="1065002"/>
                </a:cubicBezTo>
                <a:cubicBezTo>
                  <a:pt x="2982899" y="1065002"/>
                  <a:pt x="2981077" y="1057713"/>
                  <a:pt x="2975610" y="1063180"/>
                </a:cubicBezTo>
                <a:cubicBezTo>
                  <a:pt x="2971966" y="1054069"/>
                  <a:pt x="2961033" y="1037669"/>
                  <a:pt x="2950100" y="1043136"/>
                </a:cubicBezTo>
                <a:cubicBezTo>
                  <a:pt x="2948278" y="1044958"/>
                  <a:pt x="2948278" y="1046780"/>
                  <a:pt x="2948278" y="1048602"/>
                </a:cubicBezTo>
                <a:cubicBezTo>
                  <a:pt x="2942811" y="1046780"/>
                  <a:pt x="2937345" y="1041314"/>
                  <a:pt x="2937345" y="1034025"/>
                </a:cubicBezTo>
                <a:cubicBezTo>
                  <a:pt x="2940989" y="1037669"/>
                  <a:pt x="2942811" y="1043136"/>
                  <a:pt x="2950100" y="1039492"/>
                </a:cubicBezTo>
                <a:cubicBezTo>
                  <a:pt x="2944634" y="1034025"/>
                  <a:pt x="2939167" y="1030381"/>
                  <a:pt x="2931878" y="1026736"/>
                </a:cubicBezTo>
                <a:cubicBezTo>
                  <a:pt x="2919123" y="1048602"/>
                  <a:pt x="2889968" y="1063180"/>
                  <a:pt x="2888146" y="1097801"/>
                </a:cubicBezTo>
                <a:cubicBezTo>
                  <a:pt x="2897257" y="1094157"/>
                  <a:pt x="2904546" y="1086868"/>
                  <a:pt x="2906368" y="1077757"/>
                </a:cubicBezTo>
                <a:cubicBezTo>
                  <a:pt x="2908190" y="1077757"/>
                  <a:pt x="2910012" y="1079579"/>
                  <a:pt x="2911834" y="1079579"/>
                </a:cubicBezTo>
                <a:cubicBezTo>
                  <a:pt x="2906368" y="1090512"/>
                  <a:pt x="2884502" y="1099623"/>
                  <a:pt x="2900901" y="1110556"/>
                </a:cubicBezTo>
                <a:cubicBezTo>
                  <a:pt x="2895435" y="1112378"/>
                  <a:pt x="2893613" y="1103268"/>
                  <a:pt x="2891790" y="1105090"/>
                </a:cubicBezTo>
                <a:cubicBezTo>
                  <a:pt x="2879035" y="1114201"/>
                  <a:pt x="2868102" y="1130600"/>
                  <a:pt x="2868102" y="1147000"/>
                </a:cubicBezTo>
                <a:cubicBezTo>
                  <a:pt x="2868102" y="1147000"/>
                  <a:pt x="2866280" y="1143355"/>
                  <a:pt x="2862636" y="1145178"/>
                </a:cubicBezTo>
                <a:cubicBezTo>
                  <a:pt x="2862636" y="1148822"/>
                  <a:pt x="2864458" y="1148822"/>
                  <a:pt x="2868102" y="1148822"/>
                </a:cubicBezTo>
                <a:cubicBezTo>
                  <a:pt x="2860813" y="1150644"/>
                  <a:pt x="2866280" y="1154288"/>
                  <a:pt x="2868102" y="1159755"/>
                </a:cubicBezTo>
                <a:cubicBezTo>
                  <a:pt x="2868102" y="1161577"/>
                  <a:pt x="2864458" y="1161577"/>
                  <a:pt x="2862636" y="1161577"/>
                </a:cubicBezTo>
                <a:cubicBezTo>
                  <a:pt x="2862636" y="1157933"/>
                  <a:pt x="2866280" y="1157933"/>
                  <a:pt x="2864458" y="1154288"/>
                </a:cubicBezTo>
                <a:cubicBezTo>
                  <a:pt x="2855347" y="1152466"/>
                  <a:pt x="2849880" y="1161577"/>
                  <a:pt x="2848058" y="1168866"/>
                </a:cubicBezTo>
                <a:cubicBezTo>
                  <a:pt x="2840769" y="1174332"/>
                  <a:pt x="2835303" y="1181621"/>
                  <a:pt x="2833481" y="1190732"/>
                </a:cubicBezTo>
                <a:cubicBezTo>
                  <a:pt x="2837125" y="1188910"/>
                  <a:pt x="2840769" y="1194376"/>
                  <a:pt x="2840769" y="1188910"/>
                </a:cubicBezTo>
                <a:cubicBezTo>
                  <a:pt x="2842592" y="1190732"/>
                  <a:pt x="2844414" y="1192554"/>
                  <a:pt x="2844414" y="1196199"/>
                </a:cubicBezTo>
                <a:cubicBezTo>
                  <a:pt x="2862636" y="1188910"/>
                  <a:pt x="2876302" y="1181166"/>
                  <a:pt x="2891107" y="1175016"/>
                </a:cubicBezTo>
                <a:lnTo>
                  <a:pt x="2914365" y="1167412"/>
                </a:lnTo>
                <a:lnTo>
                  <a:pt x="2916162" y="1172966"/>
                </a:lnTo>
                <a:cubicBezTo>
                  <a:pt x="2918212" y="1174332"/>
                  <a:pt x="2920945" y="1174332"/>
                  <a:pt x="2922767" y="1172510"/>
                </a:cubicBezTo>
                <a:cubicBezTo>
                  <a:pt x="2932334" y="1179343"/>
                  <a:pt x="2948050" y="1184127"/>
                  <a:pt x="2959154" y="1179941"/>
                </a:cubicBezTo>
                <a:lnTo>
                  <a:pt x="2965515" y="1174785"/>
                </a:lnTo>
                <a:lnTo>
                  <a:pt x="2962855" y="1177977"/>
                </a:lnTo>
                <a:cubicBezTo>
                  <a:pt x="2964677" y="1177977"/>
                  <a:pt x="2966500" y="1177977"/>
                  <a:pt x="2968322" y="1177977"/>
                </a:cubicBezTo>
                <a:lnTo>
                  <a:pt x="2966377" y="1174087"/>
                </a:lnTo>
                <a:lnTo>
                  <a:pt x="2968322" y="1172510"/>
                </a:lnTo>
                <a:cubicBezTo>
                  <a:pt x="2964677" y="1165222"/>
                  <a:pt x="2957389" y="1172510"/>
                  <a:pt x="2951922" y="1170688"/>
                </a:cubicBezTo>
                <a:cubicBezTo>
                  <a:pt x="2951922" y="1165222"/>
                  <a:pt x="2961033" y="1165222"/>
                  <a:pt x="2961033" y="1159755"/>
                </a:cubicBezTo>
                <a:lnTo>
                  <a:pt x="2943961" y="1161381"/>
                </a:lnTo>
                <a:lnTo>
                  <a:pt x="2942811" y="1157933"/>
                </a:lnTo>
                <a:cubicBezTo>
                  <a:pt x="2942811" y="1156111"/>
                  <a:pt x="2948278" y="1157933"/>
                  <a:pt x="2948278" y="1156111"/>
                </a:cubicBezTo>
                <a:cubicBezTo>
                  <a:pt x="2951922" y="1156111"/>
                  <a:pt x="2946456" y="1157933"/>
                  <a:pt x="2950100" y="1159755"/>
                </a:cubicBezTo>
                <a:lnTo>
                  <a:pt x="2952322" y="1155844"/>
                </a:lnTo>
                <a:lnTo>
                  <a:pt x="2956706" y="1152922"/>
                </a:lnTo>
                <a:cubicBezTo>
                  <a:pt x="2957389" y="1151099"/>
                  <a:pt x="2957389" y="1148822"/>
                  <a:pt x="2957389" y="1147000"/>
                </a:cubicBezTo>
                <a:cubicBezTo>
                  <a:pt x="2959211" y="1145178"/>
                  <a:pt x="2962855" y="1145178"/>
                  <a:pt x="2962855" y="1141533"/>
                </a:cubicBezTo>
                <a:cubicBezTo>
                  <a:pt x="2961033" y="1141533"/>
                  <a:pt x="2959211" y="1141533"/>
                  <a:pt x="2957389" y="1141533"/>
                </a:cubicBezTo>
                <a:cubicBezTo>
                  <a:pt x="2957389" y="1139711"/>
                  <a:pt x="2961033" y="1139711"/>
                  <a:pt x="2959211" y="1136067"/>
                </a:cubicBezTo>
                <a:cubicBezTo>
                  <a:pt x="2962855" y="1137889"/>
                  <a:pt x="2966500" y="1141533"/>
                  <a:pt x="2970144" y="1139711"/>
                </a:cubicBezTo>
                <a:cubicBezTo>
                  <a:pt x="2973788" y="1137889"/>
                  <a:pt x="2961033" y="1136067"/>
                  <a:pt x="2966500" y="1130600"/>
                </a:cubicBezTo>
                <a:cubicBezTo>
                  <a:pt x="2975610" y="1132422"/>
                  <a:pt x="2973788" y="1152466"/>
                  <a:pt x="2962855" y="1147000"/>
                </a:cubicBezTo>
                <a:cubicBezTo>
                  <a:pt x="2961033" y="1154288"/>
                  <a:pt x="2961033" y="1165222"/>
                  <a:pt x="2970144" y="1159755"/>
                </a:cubicBezTo>
                <a:cubicBezTo>
                  <a:pt x="2970144" y="1163399"/>
                  <a:pt x="2968322" y="1163399"/>
                  <a:pt x="2964677" y="1163399"/>
                </a:cubicBezTo>
                <a:cubicBezTo>
                  <a:pt x="2964677" y="1174332"/>
                  <a:pt x="2970144" y="1170688"/>
                  <a:pt x="2975610" y="1177977"/>
                </a:cubicBezTo>
                <a:cubicBezTo>
                  <a:pt x="2975610" y="1174332"/>
                  <a:pt x="2977432" y="1174332"/>
                  <a:pt x="2977432" y="1170688"/>
                </a:cubicBezTo>
                <a:cubicBezTo>
                  <a:pt x="2978344" y="1171599"/>
                  <a:pt x="2979711" y="1172966"/>
                  <a:pt x="2981305" y="1173649"/>
                </a:cubicBezTo>
                <a:lnTo>
                  <a:pt x="2984135" y="1173034"/>
                </a:lnTo>
                <a:lnTo>
                  <a:pt x="2986543" y="1172510"/>
                </a:lnTo>
                <a:cubicBezTo>
                  <a:pt x="2984721" y="1174332"/>
                  <a:pt x="2985177" y="1175699"/>
                  <a:pt x="2985860" y="1177294"/>
                </a:cubicBezTo>
                <a:lnTo>
                  <a:pt x="2986460" y="1182697"/>
                </a:lnTo>
                <a:lnTo>
                  <a:pt x="2981077" y="1181621"/>
                </a:lnTo>
                <a:cubicBezTo>
                  <a:pt x="2981077" y="1188910"/>
                  <a:pt x="2986543" y="1187088"/>
                  <a:pt x="2986543" y="1192554"/>
                </a:cubicBezTo>
                <a:cubicBezTo>
                  <a:pt x="2990188" y="1190732"/>
                  <a:pt x="2986543" y="1187088"/>
                  <a:pt x="2990188" y="1183443"/>
                </a:cubicBezTo>
                <a:lnTo>
                  <a:pt x="2992010" y="1183443"/>
                </a:lnTo>
                <a:cubicBezTo>
                  <a:pt x="2992010" y="1177977"/>
                  <a:pt x="2993832" y="1177977"/>
                  <a:pt x="2997477" y="1179799"/>
                </a:cubicBezTo>
                <a:cubicBezTo>
                  <a:pt x="2995654" y="1174332"/>
                  <a:pt x="2999299" y="1174332"/>
                  <a:pt x="2999299" y="1168866"/>
                </a:cubicBezTo>
                <a:cubicBezTo>
                  <a:pt x="2995654" y="1168866"/>
                  <a:pt x="2995654" y="1172510"/>
                  <a:pt x="2992010" y="1170688"/>
                </a:cubicBezTo>
                <a:cubicBezTo>
                  <a:pt x="2988366" y="1170688"/>
                  <a:pt x="2990188" y="1165222"/>
                  <a:pt x="2990188" y="1163399"/>
                </a:cubicBezTo>
                <a:cubicBezTo>
                  <a:pt x="2992010" y="1167044"/>
                  <a:pt x="3001121" y="1165222"/>
                  <a:pt x="3001121" y="1161577"/>
                </a:cubicBezTo>
                <a:cubicBezTo>
                  <a:pt x="3004765" y="1165222"/>
                  <a:pt x="2999299" y="1167044"/>
                  <a:pt x="3002943" y="1172510"/>
                </a:cubicBezTo>
                <a:cubicBezTo>
                  <a:pt x="2993832" y="1172510"/>
                  <a:pt x="3008410" y="1176155"/>
                  <a:pt x="3012054" y="1177977"/>
                </a:cubicBezTo>
                <a:cubicBezTo>
                  <a:pt x="3013876" y="1172510"/>
                  <a:pt x="3006587" y="1168866"/>
                  <a:pt x="3010232" y="1163399"/>
                </a:cubicBezTo>
                <a:cubicBezTo>
                  <a:pt x="3008410" y="1163399"/>
                  <a:pt x="3006587" y="1163399"/>
                  <a:pt x="3004765" y="1163399"/>
                </a:cubicBezTo>
                <a:cubicBezTo>
                  <a:pt x="3006587" y="1161577"/>
                  <a:pt x="3012054" y="1154288"/>
                  <a:pt x="3006587" y="1152466"/>
                </a:cubicBezTo>
                <a:cubicBezTo>
                  <a:pt x="3006587" y="1150644"/>
                  <a:pt x="3008410" y="1150644"/>
                  <a:pt x="3010232" y="1150644"/>
                </a:cubicBezTo>
                <a:cubicBezTo>
                  <a:pt x="3008410" y="1148822"/>
                  <a:pt x="3008410" y="1143355"/>
                  <a:pt x="3002943" y="1143355"/>
                </a:cubicBezTo>
                <a:cubicBezTo>
                  <a:pt x="3004765" y="1136067"/>
                  <a:pt x="3001121" y="1132422"/>
                  <a:pt x="2999299" y="1128778"/>
                </a:cubicBezTo>
                <a:cubicBezTo>
                  <a:pt x="2993832" y="1132422"/>
                  <a:pt x="2993832" y="1121489"/>
                  <a:pt x="2986543" y="1126956"/>
                </a:cubicBezTo>
                <a:cubicBezTo>
                  <a:pt x="2981077" y="1123312"/>
                  <a:pt x="2988366" y="1117845"/>
                  <a:pt x="2984721" y="1114201"/>
                </a:cubicBezTo>
                <a:cubicBezTo>
                  <a:pt x="2988366" y="1112378"/>
                  <a:pt x="2990188" y="1114201"/>
                  <a:pt x="2990188" y="1116023"/>
                </a:cubicBezTo>
                <a:cubicBezTo>
                  <a:pt x="2990188" y="1123312"/>
                  <a:pt x="2997477" y="1121489"/>
                  <a:pt x="3001121" y="1125134"/>
                </a:cubicBezTo>
                <a:cubicBezTo>
                  <a:pt x="2997477" y="1121489"/>
                  <a:pt x="2999299" y="1117845"/>
                  <a:pt x="2999299" y="1110556"/>
                </a:cubicBezTo>
                <a:cubicBezTo>
                  <a:pt x="3002943" y="1114201"/>
                  <a:pt x="3002943" y="1117845"/>
                  <a:pt x="3004765" y="1121489"/>
                </a:cubicBezTo>
                <a:cubicBezTo>
                  <a:pt x="3006587" y="1119667"/>
                  <a:pt x="3006587" y="1119667"/>
                  <a:pt x="3006587" y="1117845"/>
                </a:cubicBezTo>
                <a:cubicBezTo>
                  <a:pt x="3006587" y="1122400"/>
                  <a:pt x="3007498" y="1130600"/>
                  <a:pt x="3010460" y="1137205"/>
                </a:cubicBezTo>
                <a:lnTo>
                  <a:pt x="3023192" y="1144917"/>
                </a:lnTo>
                <a:lnTo>
                  <a:pt x="3022987" y="1145178"/>
                </a:lnTo>
                <a:lnTo>
                  <a:pt x="3023387" y="1145035"/>
                </a:lnTo>
                <a:lnTo>
                  <a:pt x="3026631" y="1147000"/>
                </a:lnTo>
                <a:cubicBezTo>
                  <a:pt x="3027542" y="1144266"/>
                  <a:pt x="3027087" y="1143811"/>
                  <a:pt x="3026176" y="1144039"/>
                </a:cubicBezTo>
                <a:lnTo>
                  <a:pt x="3023387" y="1145035"/>
                </a:lnTo>
                <a:lnTo>
                  <a:pt x="3023192" y="1144917"/>
                </a:lnTo>
                <a:lnTo>
                  <a:pt x="3027087" y="1139939"/>
                </a:lnTo>
                <a:cubicBezTo>
                  <a:pt x="3028909" y="1139255"/>
                  <a:pt x="3030276" y="1138800"/>
                  <a:pt x="3028453" y="1136067"/>
                </a:cubicBezTo>
                <a:lnTo>
                  <a:pt x="3035742" y="1133151"/>
                </a:lnTo>
                <a:lnTo>
                  <a:pt x="3037564" y="1139711"/>
                </a:lnTo>
                <a:cubicBezTo>
                  <a:pt x="3043031" y="1136067"/>
                  <a:pt x="3035742" y="1141533"/>
                  <a:pt x="3039387" y="1143355"/>
                </a:cubicBezTo>
                <a:cubicBezTo>
                  <a:pt x="3037564" y="1145178"/>
                  <a:pt x="3037564" y="1145178"/>
                  <a:pt x="3035742" y="1147000"/>
                </a:cubicBezTo>
                <a:cubicBezTo>
                  <a:pt x="3033920" y="1152466"/>
                  <a:pt x="3039387" y="1152466"/>
                  <a:pt x="3043031" y="1154288"/>
                </a:cubicBezTo>
                <a:cubicBezTo>
                  <a:pt x="3044853" y="1152466"/>
                  <a:pt x="3043031" y="1147000"/>
                  <a:pt x="3044853" y="1143355"/>
                </a:cubicBezTo>
                <a:cubicBezTo>
                  <a:pt x="3044853" y="1143355"/>
                  <a:pt x="3048497" y="1143355"/>
                  <a:pt x="3048497" y="1145178"/>
                </a:cubicBezTo>
                <a:lnTo>
                  <a:pt x="3048498" y="1134245"/>
                </a:lnTo>
                <a:lnTo>
                  <a:pt x="3059430" y="1123312"/>
                </a:lnTo>
                <a:cubicBezTo>
                  <a:pt x="3061253" y="1123312"/>
                  <a:pt x="3059430" y="1128778"/>
                  <a:pt x="3061253" y="1128778"/>
                </a:cubicBezTo>
                <a:cubicBezTo>
                  <a:pt x="3061253" y="1128778"/>
                  <a:pt x="3059430" y="1130600"/>
                  <a:pt x="3057608" y="1130600"/>
                </a:cubicBezTo>
                <a:cubicBezTo>
                  <a:pt x="3057608" y="1134245"/>
                  <a:pt x="3064897" y="1128778"/>
                  <a:pt x="3063075" y="1132422"/>
                </a:cubicBezTo>
                <a:cubicBezTo>
                  <a:pt x="3063075" y="1134245"/>
                  <a:pt x="3059430" y="1134245"/>
                  <a:pt x="3057608" y="1134245"/>
                </a:cubicBezTo>
                <a:cubicBezTo>
                  <a:pt x="3057608" y="1137889"/>
                  <a:pt x="3057608" y="1141533"/>
                  <a:pt x="3059430" y="1143355"/>
                </a:cubicBezTo>
                <a:cubicBezTo>
                  <a:pt x="3057608" y="1145178"/>
                  <a:pt x="3055786" y="1139711"/>
                  <a:pt x="3052142" y="1141533"/>
                </a:cubicBezTo>
                <a:cubicBezTo>
                  <a:pt x="3048497" y="1143355"/>
                  <a:pt x="3050319" y="1150644"/>
                  <a:pt x="3052142" y="1154288"/>
                </a:cubicBezTo>
                <a:cubicBezTo>
                  <a:pt x="3059430" y="1154288"/>
                  <a:pt x="3064897" y="1150644"/>
                  <a:pt x="3074008" y="1150644"/>
                </a:cubicBezTo>
                <a:cubicBezTo>
                  <a:pt x="3074008" y="1147000"/>
                  <a:pt x="3074008" y="1145178"/>
                  <a:pt x="3074008" y="1143355"/>
                </a:cubicBezTo>
                <a:cubicBezTo>
                  <a:pt x="3077652" y="1145178"/>
                  <a:pt x="3075830" y="1150644"/>
                  <a:pt x="3081297" y="1148822"/>
                </a:cubicBezTo>
                <a:cubicBezTo>
                  <a:pt x="3079474" y="1143355"/>
                  <a:pt x="3081297" y="1143355"/>
                  <a:pt x="3081297" y="1137889"/>
                </a:cubicBezTo>
                <a:cubicBezTo>
                  <a:pt x="3077652" y="1137889"/>
                  <a:pt x="3075830" y="1136067"/>
                  <a:pt x="3074008" y="1134245"/>
                </a:cubicBezTo>
                <a:cubicBezTo>
                  <a:pt x="3075830" y="1130600"/>
                  <a:pt x="3081297" y="1130600"/>
                  <a:pt x="3084941" y="1132422"/>
                </a:cubicBezTo>
                <a:cubicBezTo>
                  <a:pt x="3084941" y="1130600"/>
                  <a:pt x="3086763" y="1125134"/>
                  <a:pt x="3083119" y="1126956"/>
                </a:cubicBezTo>
                <a:cubicBezTo>
                  <a:pt x="3083119" y="1123312"/>
                  <a:pt x="3088585" y="1126956"/>
                  <a:pt x="3086763" y="1121489"/>
                </a:cubicBezTo>
                <a:cubicBezTo>
                  <a:pt x="3090407" y="1123312"/>
                  <a:pt x="3088585" y="1126956"/>
                  <a:pt x="3094052" y="1125134"/>
                </a:cubicBezTo>
                <a:cubicBezTo>
                  <a:pt x="3094052" y="1128778"/>
                  <a:pt x="3094052" y="1130600"/>
                  <a:pt x="3094052" y="1132422"/>
                </a:cubicBezTo>
                <a:cubicBezTo>
                  <a:pt x="3092230" y="1136067"/>
                  <a:pt x="3086763" y="1132422"/>
                  <a:pt x="3084941" y="1134245"/>
                </a:cubicBezTo>
                <a:cubicBezTo>
                  <a:pt x="3083119" y="1136067"/>
                  <a:pt x="3084941" y="1137889"/>
                  <a:pt x="3083119" y="1141533"/>
                </a:cubicBezTo>
                <a:cubicBezTo>
                  <a:pt x="3086763" y="1139711"/>
                  <a:pt x="3086763" y="1141533"/>
                  <a:pt x="3086763" y="1145178"/>
                </a:cubicBezTo>
                <a:cubicBezTo>
                  <a:pt x="3092230" y="1145178"/>
                  <a:pt x="3090407" y="1145178"/>
                  <a:pt x="3094052" y="1145178"/>
                </a:cubicBezTo>
                <a:cubicBezTo>
                  <a:pt x="3094052" y="1141533"/>
                  <a:pt x="3092230" y="1137889"/>
                  <a:pt x="3095874" y="1137889"/>
                </a:cubicBezTo>
                <a:cubicBezTo>
                  <a:pt x="3099518" y="1137889"/>
                  <a:pt x="3094052" y="1141533"/>
                  <a:pt x="3097696" y="1143355"/>
                </a:cubicBezTo>
                <a:cubicBezTo>
                  <a:pt x="3101341" y="1136977"/>
                  <a:pt x="3100430" y="1131511"/>
                  <a:pt x="3098152" y="1125817"/>
                </a:cubicBezTo>
                <a:lnTo>
                  <a:pt x="3093962" y="1115589"/>
                </a:lnTo>
                <a:lnTo>
                  <a:pt x="3095874" y="1115111"/>
                </a:lnTo>
                <a:cubicBezTo>
                  <a:pt x="3096785" y="1116478"/>
                  <a:pt x="3097696" y="1118756"/>
                  <a:pt x="3099518" y="1119667"/>
                </a:cubicBezTo>
                <a:cubicBezTo>
                  <a:pt x="3104985" y="1119667"/>
                  <a:pt x="3104985" y="1112378"/>
                  <a:pt x="3104985" y="1106912"/>
                </a:cubicBezTo>
                <a:cubicBezTo>
                  <a:pt x="3107718" y="1106001"/>
                  <a:pt x="3108174" y="1107823"/>
                  <a:pt x="3108629" y="1109873"/>
                </a:cubicBezTo>
                <a:lnTo>
                  <a:pt x="3110725" y="1112362"/>
                </a:lnTo>
                <a:lnTo>
                  <a:pt x="3110451" y="1112378"/>
                </a:lnTo>
                <a:cubicBezTo>
                  <a:pt x="3112274" y="1112378"/>
                  <a:pt x="3112274" y="1112378"/>
                  <a:pt x="3112274" y="1114201"/>
                </a:cubicBezTo>
                <a:lnTo>
                  <a:pt x="3110725" y="1112362"/>
                </a:lnTo>
                <a:lnTo>
                  <a:pt x="3114323" y="1112150"/>
                </a:lnTo>
                <a:cubicBezTo>
                  <a:pt x="3116373" y="1112378"/>
                  <a:pt x="3118651" y="1112378"/>
                  <a:pt x="3119562" y="1110556"/>
                </a:cubicBezTo>
                <a:cubicBezTo>
                  <a:pt x="3119562" y="1105090"/>
                  <a:pt x="3117740" y="1105090"/>
                  <a:pt x="3115918" y="1101445"/>
                </a:cubicBezTo>
                <a:cubicBezTo>
                  <a:pt x="3119562" y="1101445"/>
                  <a:pt x="3119562" y="1105090"/>
                  <a:pt x="3123206" y="1103268"/>
                </a:cubicBezTo>
                <a:cubicBezTo>
                  <a:pt x="3125029" y="1101445"/>
                  <a:pt x="3121384" y="1095979"/>
                  <a:pt x="3125029" y="1095979"/>
                </a:cubicBezTo>
                <a:cubicBezTo>
                  <a:pt x="3125029" y="1092335"/>
                  <a:pt x="3119562" y="1094157"/>
                  <a:pt x="3119562" y="1090512"/>
                </a:cubicBezTo>
                <a:cubicBezTo>
                  <a:pt x="3123206" y="1086868"/>
                  <a:pt x="3126851" y="1083224"/>
                  <a:pt x="3132317" y="1077757"/>
                </a:cubicBezTo>
                <a:cubicBezTo>
                  <a:pt x="3126851" y="1075935"/>
                  <a:pt x="3125029" y="1072291"/>
                  <a:pt x="3119562" y="1072291"/>
                </a:cubicBezTo>
                <a:cubicBezTo>
                  <a:pt x="3119562" y="1074113"/>
                  <a:pt x="3119562" y="1075935"/>
                  <a:pt x="3119562" y="1077757"/>
                </a:cubicBezTo>
                <a:cubicBezTo>
                  <a:pt x="3115918" y="1075935"/>
                  <a:pt x="3114096" y="1072291"/>
                  <a:pt x="3106807" y="1074113"/>
                </a:cubicBezTo>
                <a:cubicBezTo>
                  <a:pt x="3103163" y="1072291"/>
                  <a:pt x="3101340" y="1075935"/>
                  <a:pt x="3099518" y="1075935"/>
                </a:cubicBezTo>
                <a:cubicBezTo>
                  <a:pt x="3099518" y="1077757"/>
                  <a:pt x="3101340" y="1077757"/>
                  <a:pt x="3101340" y="1079579"/>
                </a:cubicBezTo>
                <a:cubicBezTo>
                  <a:pt x="3097696" y="1081402"/>
                  <a:pt x="3099518" y="1075935"/>
                  <a:pt x="3094052" y="1077757"/>
                </a:cubicBezTo>
                <a:cubicBezTo>
                  <a:pt x="3095874" y="1077757"/>
                  <a:pt x="3095874" y="1079579"/>
                  <a:pt x="3095874" y="1081402"/>
                </a:cubicBezTo>
                <a:cubicBezTo>
                  <a:pt x="3092230" y="1079579"/>
                  <a:pt x="3088585" y="1079579"/>
                  <a:pt x="3083119" y="1079579"/>
                </a:cubicBezTo>
                <a:cubicBezTo>
                  <a:pt x="3081297" y="1083224"/>
                  <a:pt x="3081297" y="1088690"/>
                  <a:pt x="3079474" y="1092335"/>
                </a:cubicBezTo>
                <a:cubicBezTo>
                  <a:pt x="3077652" y="1090512"/>
                  <a:pt x="3081297" y="1083224"/>
                  <a:pt x="3077652" y="1081402"/>
                </a:cubicBezTo>
                <a:cubicBezTo>
                  <a:pt x="3075830" y="1083224"/>
                  <a:pt x="3070363" y="1083224"/>
                  <a:pt x="3070363" y="1077757"/>
                </a:cubicBezTo>
                <a:cubicBezTo>
                  <a:pt x="3061253" y="1077757"/>
                  <a:pt x="3059430" y="1086868"/>
                  <a:pt x="3052142" y="1088690"/>
                </a:cubicBezTo>
                <a:cubicBezTo>
                  <a:pt x="3053964" y="1083224"/>
                  <a:pt x="3059430" y="1079579"/>
                  <a:pt x="3064897" y="1072291"/>
                </a:cubicBezTo>
                <a:cubicBezTo>
                  <a:pt x="3072186" y="1063180"/>
                  <a:pt x="3063075" y="1052247"/>
                  <a:pt x="3059430" y="1043136"/>
                </a:cubicBezTo>
                <a:cubicBezTo>
                  <a:pt x="3055786" y="1052247"/>
                  <a:pt x="3066719" y="1059535"/>
                  <a:pt x="3055786" y="1063180"/>
                </a:cubicBezTo>
                <a:cubicBezTo>
                  <a:pt x="3055786" y="1061358"/>
                  <a:pt x="3055786" y="1059535"/>
                  <a:pt x="3055786" y="1057713"/>
                </a:cubicBezTo>
                <a:cubicBezTo>
                  <a:pt x="3050319" y="1048602"/>
                  <a:pt x="3050319" y="1052247"/>
                  <a:pt x="3053964" y="1041314"/>
                </a:cubicBezTo>
                <a:cubicBezTo>
                  <a:pt x="3048497" y="1043136"/>
                  <a:pt x="3048497" y="1037669"/>
                  <a:pt x="3046675" y="1039492"/>
                </a:cubicBezTo>
                <a:cubicBezTo>
                  <a:pt x="3044853" y="1039492"/>
                  <a:pt x="3050319" y="1043136"/>
                  <a:pt x="3048497" y="1044958"/>
                </a:cubicBezTo>
                <a:cubicBezTo>
                  <a:pt x="3041209" y="1048602"/>
                  <a:pt x="3039387" y="1039492"/>
                  <a:pt x="3037564" y="1034025"/>
                </a:cubicBezTo>
                <a:cubicBezTo>
                  <a:pt x="3033920" y="1039492"/>
                  <a:pt x="3032098" y="1037669"/>
                  <a:pt x="3026631" y="1039492"/>
                </a:cubicBezTo>
                <a:cubicBezTo>
                  <a:pt x="3026631" y="1034025"/>
                  <a:pt x="3019343" y="1034025"/>
                  <a:pt x="3019343" y="1026736"/>
                </a:cubicBezTo>
                <a:cubicBezTo>
                  <a:pt x="3013876" y="1028559"/>
                  <a:pt x="3015698" y="1034025"/>
                  <a:pt x="3017521" y="1035847"/>
                </a:cubicBezTo>
                <a:cubicBezTo>
                  <a:pt x="3015699" y="1034025"/>
                  <a:pt x="3012965" y="1033114"/>
                  <a:pt x="3010687" y="1031747"/>
                </a:cubicBezTo>
                <a:lnTo>
                  <a:pt x="3008260" y="1027701"/>
                </a:lnTo>
                <a:lnTo>
                  <a:pt x="3007300" y="1022238"/>
                </a:lnTo>
                <a:cubicBezTo>
                  <a:pt x="3002943" y="1018650"/>
                  <a:pt x="2990643" y="1021725"/>
                  <a:pt x="2986543" y="1017625"/>
                </a:cubicBezTo>
                <a:cubicBezTo>
                  <a:pt x="2988366" y="1015803"/>
                  <a:pt x="2990188" y="1015803"/>
                  <a:pt x="2992010" y="1015803"/>
                </a:cubicBezTo>
                <a:cubicBezTo>
                  <a:pt x="2992010" y="1010337"/>
                  <a:pt x="2984721" y="1006692"/>
                  <a:pt x="2981077" y="1010337"/>
                </a:cubicBezTo>
                <a:cubicBezTo>
                  <a:pt x="2979255" y="1012159"/>
                  <a:pt x="2986543" y="1015803"/>
                  <a:pt x="2984721" y="1017625"/>
                </a:cubicBezTo>
                <a:cubicBezTo>
                  <a:pt x="2984721" y="1023092"/>
                  <a:pt x="2979255" y="1015803"/>
                  <a:pt x="2975610" y="1017625"/>
                </a:cubicBezTo>
                <a:cubicBezTo>
                  <a:pt x="2975610" y="1013981"/>
                  <a:pt x="2979255" y="1010337"/>
                  <a:pt x="2977432" y="1008515"/>
                </a:cubicBezTo>
                <a:cubicBezTo>
                  <a:pt x="2975610" y="1006692"/>
                  <a:pt x="2973333" y="1007148"/>
                  <a:pt x="2970827" y="1008059"/>
                </a:cubicBezTo>
                <a:close/>
                <a:moveTo>
                  <a:pt x="531814" y="1007778"/>
                </a:moveTo>
                <a:lnTo>
                  <a:pt x="531976" y="1007891"/>
                </a:lnTo>
                <a:lnTo>
                  <a:pt x="531847" y="1007831"/>
                </a:lnTo>
                <a:close/>
                <a:moveTo>
                  <a:pt x="779892" y="1006741"/>
                </a:moveTo>
                <a:cubicBezTo>
                  <a:pt x="781713" y="1014031"/>
                  <a:pt x="785357" y="1019497"/>
                  <a:pt x="783535" y="1028608"/>
                </a:cubicBezTo>
                <a:cubicBezTo>
                  <a:pt x="776246" y="1019497"/>
                  <a:pt x="770781" y="1014031"/>
                  <a:pt x="779892" y="1006741"/>
                </a:cubicBezTo>
                <a:close/>
                <a:moveTo>
                  <a:pt x="3398355" y="1006692"/>
                </a:moveTo>
                <a:cubicBezTo>
                  <a:pt x="3394710" y="1004870"/>
                  <a:pt x="3389244" y="1008515"/>
                  <a:pt x="3385600" y="1010337"/>
                </a:cubicBezTo>
                <a:cubicBezTo>
                  <a:pt x="3387422" y="1015803"/>
                  <a:pt x="3389244" y="1026736"/>
                  <a:pt x="3396532" y="1024914"/>
                </a:cubicBezTo>
                <a:cubicBezTo>
                  <a:pt x="3400177" y="1023092"/>
                  <a:pt x="3398355" y="1012159"/>
                  <a:pt x="3405643" y="1012159"/>
                </a:cubicBezTo>
                <a:cubicBezTo>
                  <a:pt x="3403821" y="1008515"/>
                  <a:pt x="3398355" y="1013981"/>
                  <a:pt x="3396532" y="1012159"/>
                </a:cubicBezTo>
                <a:cubicBezTo>
                  <a:pt x="3394710" y="1012159"/>
                  <a:pt x="3400177" y="1008515"/>
                  <a:pt x="3398355" y="1006692"/>
                </a:cubicBezTo>
                <a:close/>
                <a:moveTo>
                  <a:pt x="3072186" y="1006692"/>
                </a:moveTo>
                <a:cubicBezTo>
                  <a:pt x="3068541" y="1006692"/>
                  <a:pt x="3072186" y="1012159"/>
                  <a:pt x="3072186" y="1015803"/>
                </a:cubicBezTo>
                <a:cubicBezTo>
                  <a:pt x="3075830" y="1013981"/>
                  <a:pt x="3074008" y="1010337"/>
                  <a:pt x="3072186" y="1006692"/>
                </a:cubicBezTo>
                <a:close/>
                <a:moveTo>
                  <a:pt x="1084194" y="1006692"/>
                </a:moveTo>
                <a:cubicBezTo>
                  <a:pt x="1084194" y="1010337"/>
                  <a:pt x="1082373" y="1012159"/>
                  <a:pt x="1082373" y="1015803"/>
                </a:cubicBezTo>
                <a:cubicBezTo>
                  <a:pt x="1084194" y="1017625"/>
                  <a:pt x="1082373" y="1012159"/>
                  <a:pt x="1084194" y="1012159"/>
                </a:cubicBezTo>
                <a:lnTo>
                  <a:pt x="1084194" y="1018991"/>
                </a:lnTo>
                <a:lnTo>
                  <a:pt x="1082371" y="1024003"/>
                </a:lnTo>
                <a:lnTo>
                  <a:pt x="1083384" y="1029571"/>
                </a:lnTo>
                <a:lnTo>
                  <a:pt x="1082373" y="1028559"/>
                </a:lnTo>
                <a:cubicBezTo>
                  <a:pt x="1084194" y="1030381"/>
                  <a:pt x="1086016" y="1032203"/>
                  <a:pt x="1084194" y="1034025"/>
                </a:cubicBezTo>
                <a:lnTo>
                  <a:pt x="1083384" y="1029571"/>
                </a:lnTo>
                <a:lnTo>
                  <a:pt x="1084194" y="1030381"/>
                </a:lnTo>
                <a:cubicBezTo>
                  <a:pt x="1087838" y="1026736"/>
                  <a:pt x="1084194" y="1024914"/>
                  <a:pt x="1084194" y="1021270"/>
                </a:cubicBezTo>
                <a:lnTo>
                  <a:pt x="1084194" y="1018991"/>
                </a:lnTo>
                <a:lnTo>
                  <a:pt x="1086016" y="1013981"/>
                </a:lnTo>
                <a:cubicBezTo>
                  <a:pt x="1086016" y="1013981"/>
                  <a:pt x="1084194" y="1012159"/>
                  <a:pt x="1084194" y="1012159"/>
                </a:cubicBezTo>
                <a:close/>
                <a:moveTo>
                  <a:pt x="1064151" y="1006692"/>
                </a:moveTo>
                <a:cubicBezTo>
                  <a:pt x="1062328" y="1006692"/>
                  <a:pt x="1056861" y="1006692"/>
                  <a:pt x="1058683" y="1010337"/>
                </a:cubicBezTo>
                <a:cubicBezTo>
                  <a:pt x="1055040" y="1008515"/>
                  <a:pt x="1051395" y="1013981"/>
                  <a:pt x="1045929" y="1017625"/>
                </a:cubicBezTo>
                <a:cubicBezTo>
                  <a:pt x="1038639" y="1021270"/>
                  <a:pt x="1033173" y="1023092"/>
                  <a:pt x="1042284" y="1026736"/>
                </a:cubicBezTo>
                <a:cubicBezTo>
                  <a:pt x="1045929" y="1024914"/>
                  <a:pt x="1049573" y="1028559"/>
                  <a:pt x="1053217" y="1024914"/>
                </a:cubicBezTo>
                <a:cubicBezTo>
                  <a:pt x="1055040" y="1026736"/>
                  <a:pt x="1053217" y="1030381"/>
                  <a:pt x="1055040" y="1028559"/>
                </a:cubicBezTo>
                <a:cubicBezTo>
                  <a:pt x="1056861" y="1026736"/>
                  <a:pt x="1055040" y="1024914"/>
                  <a:pt x="1053217" y="1021270"/>
                </a:cubicBezTo>
                <a:cubicBezTo>
                  <a:pt x="1055040" y="1021270"/>
                  <a:pt x="1055040" y="1019448"/>
                  <a:pt x="1055040" y="1017625"/>
                </a:cubicBezTo>
                <a:cubicBezTo>
                  <a:pt x="1056861" y="1017625"/>
                  <a:pt x="1058683" y="1021270"/>
                  <a:pt x="1060506" y="1021270"/>
                </a:cubicBezTo>
                <a:cubicBezTo>
                  <a:pt x="1062328" y="1019448"/>
                  <a:pt x="1058683" y="1019448"/>
                  <a:pt x="1060506" y="1017625"/>
                </a:cubicBezTo>
                <a:cubicBezTo>
                  <a:pt x="1062328" y="1017625"/>
                  <a:pt x="1062328" y="1021270"/>
                  <a:pt x="1064151" y="1023092"/>
                </a:cubicBezTo>
                <a:lnTo>
                  <a:pt x="1065607" y="1017260"/>
                </a:lnTo>
                <a:lnTo>
                  <a:pt x="1071439" y="1023092"/>
                </a:lnTo>
                <a:cubicBezTo>
                  <a:pt x="1075083" y="1019448"/>
                  <a:pt x="1071439" y="1017625"/>
                  <a:pt x="1067794" y="1013981"/>
                </a:cubicBezTo>
                <a:cubicBezTo>
                  <a:pt x="1067794" y="1015803"/>
                  <a:pt x="1065972" y="1015803"/>
                  <a:pt x="1064151" y="1015803"/>
                </a:cubicBezTo>
                <a:lnTo>
                  <a:pt x="1062328" y="1015803"/>
                </a:lnTo>
                <a:cubicBezTo>
                  <a:pt x="1062328" y="1013981"/>
                  <a:pt x="1062328" y="1013981"/>
                  <a:pt x="1064151" y="1012159"/>
                </a:cubicBezTo>
                <a:cubicBezTo>
                  <a:pt x="1064151" y="1010337"/>
                  <a:pt x="1062328" y="1008515"/>
                  <a:pt x="1064151" y="1006692"/>
                </a:cubicBezTo>
                <a:close/>
                <a:moveTo>
                  <a:pt x="867355" y="1006692"/>
                </a:moveTo>
                <a:cubicBezTo>
                  <a:pt x="856422" y="1017625"/>
                  <a:pt x="880111" y="1034025"/>
                  <a:pt x="887399" y="1046780"/>
                </a:cubicBezTo>
                <a:cubicBezTo>
                  <a:pt x="885577" y="1035847"/>
                  <a:pt x="885577" y="1023092"/>
                  <a:pt x="878288" y="1013981"/>
                </a:cubicBezTo>
                <a:cubicBezTo>
                  <a:pt x="874644" y="1012159"/>
                  <a:pt x="871000" y="1010337"/>
                  <a:pt x="867355" y="1006692"/>
                </a:cubicBezTo>
                <a:close/>
                <a:moveTo>
                  <a:pt x="725226" y="1006692"/>
                </a:moveTo>
                <a:cubicBezTo>
                  <a:pt x="714293" y="1015803"/>
                  <a:pt x="727048" y="1021270"/>
                  <a:pt x="727048" y="1028559"/>
                </a:cubicBezTo>
                <a:cubicBezTo>
                  <a:pt x="739803" y="1024914"/>
                  <a:pt x="727048" y="1017625"/>
                  <a:pt x="730692" y="1012159"/>
                </a:cubicBezTo>
                <a:cubicBezTo>
                  <a:pt x="728870" y="1010337"/>
                  <a:pt x="727048" y="1008515"/>
                  <a:pt x="725226" y="1006692"/>
                </a:cubicBezTo>
                <a:close/>
                <a:moveTo>
                  <a:pt x="577630" y="1006692"/>
                </a:moveTo>
                <a:cubicBezTo>
                  <a:pt x="575808" y="1008515"/>
                  <a:pt x="583096" y="1010337"/>
                  <a:pt x="583096" y="1012159"/>
                </a:cubicBezTo>
                <a:cubicBezTo>
                  <a:pt x="584919" y="1012159"/>
                  <a:pt x="583096" y="1010337"/>
                  <a:pt x="584919" y="1010337"/>
                </a:cubicBezTo>
                <a:cubicBezTo>
                  <a:pt x="581274" y="1008515"/>
                  <a:pt x="579452" y="1008515"/>
                  <a:pt x="577630" y="1006692"/>
                </a:cubicBezTo>
                <a:close/>
                <a:moveTo>
                  <a:pt x="382657" y="1006692"/>
                </a:moveTo>
                <a:cubicBezTo>
                  <a:pt x="375368" y="1013981"/>
                  <a:pt x="384479" y="1008515"/>
                  <a:pt x="386301" y="1010337"/>
                </a:cubicBezTo>
                <a:cubicBezTo>
                  <a:pt x="386301" y="1008515"/>
                  <a:pt x="384479" y="1006692"/>
                  <a:pt x="382657" y="1006692"/>
                </a:cubicBezTo>
                <a:close/>
                <a:moveTo>
                  <a:pt x="375368" y="1006692"/>
                </a:moveTo>
                <a:cubicBezTo>
                  <a:pt x="373546" y="1008515"/>
                  <a:pt x="373546" y="1008515"/>
                  <a:pt x="373546" y="1010337"/>
                </a:cubicBezTo>
                <a:cubicBezTo>
                  <a:pt x="375368" y="1012159"/>
                  <a:pt x="376734" y="1011703"/>
                  <a:pt x="377190" y="1010564"/>
                </a:cubicBezTo>
                <a:lnTo>
                  <a:pt x="377190" y="1012159"/>
                </a:lnTo>
                <a:cubicBezTo>
                  <a:pt x="377190" y="1015803"/>
                  <a:pt x="377190" y="1008515"/>
                  <a:pt x="379012" y="1010337"/>
                </a:cubicBezTo>
                <a:cubicBezTo>
                  <a:pt x="379012" y="1010337"/>
                  <a:pt x="377190" y="1008515"/>
                  <a:pt x="377190" y="1008515"/>
                </a:cubicBezTo>
                <a:lnTo>
                  <a:pt x="377190" y="1010564"/>
                </a:lnTo>
                <a:cubicBezTo>
                  <a:pt x="377645" y="1009426"/>
                  <a:pt x="377190" y="1007603"/>
                  <a:pt x="375368" y="1006692"/>
                </a:cubicBezTo>
                <a:close/>
                <a:moveTo>
                  <a:pt x="1178947" y="1006645"/>
                </a:moveTo>
                <a:lnTo>
                  <a:pt x="1178947" y="1006692"/>
                </a:lnTo>
                <a:lnTo>
                  <a:pt x="1178923" y="1006692"/>
                </a:lnTo>
                <a:close/>
                <a:moveTo>
                  <a:pt x="1165463" y="1005963"/>
                </a:moveTo>
                <a:lnTo>
                  <a:pt x="1166192" y="1006692"/>
                </a:lnTo>
                <a:lnTo>
                  <a:pt x="1165318" y="1011759"/>
                </a:lnTo>
                <a:lnTo>
                  <a:pt x="1164370" y="1010337"/>
                </a:lnTo>
                <a:close/>
                <a:moveTo>
                  <a:pt x="909479" y="1005620"/>
                </a:moveTo>
                <a:lnTo>
                  <a:pt x="909720" y="1006464"/>
                </a:lnTo>
                <a:lnTo>
                  <a:pt x="909265" y="1006692"/>
                </a:lnTo>
                <a:close/>
                <a:moveTo>
                  <a:pt x="3325165" y="1004870"/>
                </a:moveTo>
                <a:lnTo>
                  <a:pt x="3325468" y="1004870"/>
                </a:lnTo>
                <a:lnTo>
                  <a:pt x="3324740" y="1005598"/>
                </a:lnTo>
                <a:close/>
                <a:moveTo>
                  <a:pt x="3010232" y="1004870"/>
                </a:moveTo>
                <a:cubicBezTo>
                  <a:pt x="3004765" y="1004870"/>
                  <a:pt x="3001121" y="1006692"/>
                  <a:pt x="2997477" y="1010337"/>
                </a:cubicBezTo>
                <a:cubicBezTo>
                  <a:pt x="3001121" y="1015803"/>
                  <a:pt x="3012054" y="1013981"/>
                  <a:pt x="3015698" y="1017625"/>
                </a:cubicBezTo>
                <a:cubicBezTo>
                  <a:pt x="3021165" y="1013981"/>
                  <a:pt x="3008410" y="1008515"/>
                  <a:pt x="3010232" y="1004870"/>
                </a:cubicBezTo>
                <a:close/>
                <a:moveTo>
                  <a:pt x="1104238" y="1004870"/>
                </a:moveTo>
                <a:cubicBezTo>
                  <a:pt x="1102416" y="1006692"/>
                  <a:pt x="1100593" y="1004870"/>
                  <a:pt x="1098771" y="1006692"/>
                </a:cubicBezTo>
                <a:cubicBezTo>
                  <a:pt x="1098771" y="1010337"/>
                  <a:pt x="1104238" y="1010337"/>
                  <a:pt x="1106060" y="1012159"/>
                </a:cubicBezTo>
                <a:cubicBezTo>
                  <a:pt x="1100593" y="1013981"/>
                  <a:pt x="1095127" y="1004870"/>
                  <a:pt x="1089660" y="1010337"/>
                </a:cubicBezTo>
                <a:cubicBezTo>
                  <a:pt x="1095127" y="1013981"/>
                  <a:pt x="1087838" y="1019448"/>
                  <a:pt x="1086016" y="1024914"/>
                </a:cubicBezTo>
                <a:cubicBezTo>
                  <a:pt x="1087838" y="1024914"/>
                  <a:pt x="1087838" y="1026736"/>
                  <a:pt x="1089660" y="1024914"/>
                </a:cubicBezTo>
                <a:cubicBezTo>
                  <a:pt x="1087838" y="1028559"/>
                  <a:pt x="1087838" y="1032203"/>
                  <a:pt x="1087838" y="1037669"/>
                </a:cubicBezTo>
                <a:cubicBezTo>
                  <a:pt x="1089660" y="1039492"/>
                  <a:pt x="1093305" y="1041314"/>
                  <a:pt x="1096949" y="1043136"/>
                </a:cubicBezTo>
                <a:cubicBezTo>
                  <a:pt x="1100593" y="1041314"/>
                  <a:pt x="1100593" y="1039492"/>
                  <a:pt x="1102416" y="1037669"/>
                </a:cubicBezTo>
                <a:cubicBezTo>
                  <a:pt x="1102416" y="1037669"/>
                  <a:pt x="1102416" y="1035847"/>
                  <a:pt x="1100593" y="1035847"/>
                </a:cubicBezTo>
                <a:cubicBezTo>
                  <a:pt x="1100593" y="1035847"/>
                  <a:pt x="1104238" y="1035847"/>
                  <a:pt x="1104238" y="1035847"/>
                </a:cubicBezTo>
                <a:lnTo>
                  <a:pt x="1104238" y="1034025"/>
                </a:lnTo>
                <a:cubicBezTo>
                  <a:pt x="1106060" y="1035847"/>
                  <a:pt x="1109704" y="1032203"/>
                  <a:pt x="1107882" y="1030381"/>
                </a:cubicBezTo>
                <a:cubicBezTo>
                  <a:pt x="1106060" y="1032203"/>
                  <a:pt x="1106060" y="1032203"/>
                  <a:pt x="1104238" y="1034025"/>
                </a:cubicBezTo>
                <a:lnTo>
                  <a:pt x="1104238" y="1028559"/>
                </a:lnTo>
                <a:cubicBezTo>
                  <a:pt x="1109704" y="1030381"/>
                  <a:pt x="1107882" y="1023092"/>
                  <a:pt x="1107882" y="1021270"/>
                </a:cubicBezTo>
                <a:cubicBezTo>
                  <a:pt x="1109704" y="1023092"/>
                  <a:pt x="1107882" y="1032203"/>
                  <a:pt x="1111526" y="1034025"/>
                </a:cubicBezTo>
                <a:cubicBezTo>
                  <a:pt x="1106060" y="1035847"/>
                  <a:pt x="1100593" y="1037669"/>
                  <a:pt x="1098771" y="1043136"/>
                </a:cubicBezTo>
                <a:cubicBezTo>
                  <a:pt x="1102416" y="1048602"/>
                  <a:pt x="1107882" y="1041314"/>
                  <a:pt x="1111526" y="1041314"/>
                </a:cubicBezTo>
                <a:cubicBezTo>
                  <a:pt x="1113349" y="1039492"/>
                  <a:pt x="1111526" y="1035847"/>
                  <a:pt x="1111526" y="1034025"/>
                </a:cubicBezTo>
                <a:cubicBezTo>
                  <a:pt x="1111526" y="1032203"/>
                  <a:pt x="1111526" y="1032203"/>
                  <a:pt x="1111526" y="1030381"/>
                </a:cubicBezTo>
                <a:cubicBezTo>
                  <a:pt x="1113349" y="1030381"/>
                  <a:pt x="1115171" y="1032203"/>
                  <a:pt x="1115171" y="1034025"/>
                </a:cubicBezTo>
                <a:cubicBezTo>
                  <a:pt x="1116993" y="1034025"/>
                  <a:pt x="1116993" y="1032203"/>
                  <a:pt x="1116993" y="1032203"/>
                </a:cubicBezTo>
                <a:cubicBezTo>
                  <a:pt x="1118815" y="1034025"/>
                  <a:pt x="1122459" y="1035847"/>
                  <a:pt x="1124282" y="1037669"/>
                </a:cubicBezTo>
                <a:cubicBezTo>
                  <a:pt x="1126104" y="1030381"/>
                  <a:pt x="1118815" y="1023092"/>
                  <a:pt x="1113349" y="1017625"/>
                </a:cubicBezTo>
                <a:cubicBezTo>
                  <a:pt x="1109704" y="1013981"/>
                  <a:pt x="1107882" y="1010337"/>
                  <a:pt x="1106060" y="1006692"/>
                </a:cubicBezTo>
                <a:cubicBezTo>
                  <a:pt x="1109704" y="1008515"/>
                  <a:pt x="1102416" y="1006692"/>
                  <a:pt x="1104238" y="1004870"/>
                </a:cubicBezTo>
                <a:close/>
                <a:moveTo>
                  <a:pt x="1071439" y="1004870"/>
                </a:moveTo>
                <a:cubicBezTo>
                  <a:pt x="1071439" y="1004870"/>
                  <a:pt x="1069616" y="1006692"/>
                  <a:pt x="1069616" y="1006692"/>
                </a:cubicBezTo>
                <a:cubicBezTo>
                  <a:pt x="1067794" y="1008515"/>
                  <a:pt x="1067794" y="1010337"/>
                  <a:pt x="1069616" y="1012159"/>
                </a:cubicBezTo>
                <a:cubicBezTo>
                  <a:pt x="1069616" y="1012159"/>
                  <a:pt x="1071439" y="1010337"/>
                  <a:pt x="1071439" y="1010337"/>
                </a:cubicBezTo>
                <a:cubicBezTo>
                  <a:pt x="1069616" y="1008515"/>
                  <a:pt x="1069616" y="1008515"/>
                  <a:pt x="1069616" y="1006692"/>
                </a:cubicBezTo>
                <a:cubicBezTo>
                  <a:pt x="1069616" y="1008515"/>
                  <a:pt x="1071439" y="1008515"/>
                  <a:pt x="1071439" y="1008515"/>
                </a:cubicBezTo>
                <a:cubicBezTo>
                  <a:pt x="1071439" y="1006692"/>
                  <a:pt x="1071439" y="1006692"/>
                  <a:pt x="1071439" y="1004870"/>
                </a:cubicBezTo>
                <a:close/>
                <a:moveTo>
                  <a:pt x="925666" y="1004870"/>
                </a:moveTo>
                <a:cubicBezTo>
                  <a:pt x="920198" y="1004870"/>
                  <a:pt x="920198" y="1013981"/>
                  <a:pt x="923843" y="1017625"/>
                </a:cubicBezTo>
                <a:cubicBezTo>
                  <a:pt x="927487" y="1013981"/>
                  <a:pt x="925666" y="1008515"/>
                  <a:pt x="925666" y="1004870"/>
                </a:cubicBezTo>
                <a:close/>
                <a:moveTo>
                  <a:pt x="741626" y="1004870"/>
                </a:moveTo>
                <a:cubicBezTo>
                  <a:pt x="742536" y="1006692"/>
                  <a:pt x="745269" y="1006237"/>
                  <a:pt x="747091" y="1006464"/>
                </a:cubicBezTo>
                <a:lnTo>
                  <a:pt x="747091" y="1007213"/>
                </a:lnTo>
                <a:close/>
                <a:moveTo>
                  <a:pt x="732515" y="1004870"/>
                </a:moveTo>
                <a:lnTo>
                  <a:pt x="743569" y="1011187"/>
                </a:lnTo>
                <a:lnTo>
                  <a:pt x="741626" y="1012159"/>
                </a:lnTo>
                <a:lnTo>
                  <a:pt x="734115" y="1008744"/>
                </a:lnTo>
                <a:close/>
                <a:moveTo>
                  <a:pt x="521142" y="1004870"/>
                </a:moveTo>
                <a:cubicBezTo>
                  <a:pt x="519320" y="1004870"/>
                  <a:pt x="521142" y="1008515"/>
                  <a:pt x="522964" y="1008515"/>
                </a:cubicBezTo>
                <a:cubicBezTo>
                  <a:pt x="521142" y="1009881"/>
                  <a:pt x="521257" y="1011817"/>
                  <a:pt x="522594" y="1014009"/>
                </a:cubicBezTo>
                <a:lnTo>
                  <a:pt x="523021" y="1014440"/>
                </a:lnTo>
                <a:lnTo>
                  <a:pt x="524786" y="1028559"/>
                </a:lnTo>
                <a:cubicBezTo>
                  <a:pt x="526609" y="1030381"/>
                  <a:pt x="530253" y="1030381"/>
                  <a:pt x="532075" y="1030381"/>
                </a:cubicBezTo>
                <a:cubicBezTo>
                  <a:pt x="532075" y="1026736"/>
                  <a:pt x="532075" y="1026736"/>
                  <a:pt x="532075" y="1024914"/>
                </a:cubicBezTo>
                <a:lnTo>
                  <a:pt x="539105" y="1026671"/>
                </a:lnTo>
                <a:lnTo>
                  <a:pt x="548475" y="1032203"/>
                </a:lnTo>
                <a:cubicBezTo>
                  <a:pt x="550297" y="1028559"/>
                  <a:pt x="552119" y="1030381"/>
                  <a:pt x="552119" y="1028559"/>
                </a:cubicBezTo>
                <a:cubicBezTo>
                  <a:pt x="550297" y="1026736"/>
                  <a:pt x="548475" y="1028559"/>
                  <a:pt x="544830" y="1024914"/>
                </a:cubicBezTo>
                <a:cubicBezTo>
                  <a:pt x="544830" y="1023092"/>
                  <a:pt x="544830" y="1024914"/>
                  <a:pt x="546653" y="1024914"/>
                </a:cubicBezTo>
                <a:cubicBezTo>
                  <a:pt x="539364" y="1017625"/>
                  <a:pt x="530253" y="1012159"/>
                  <a:pt x="521142" y="1004870"/>
                </a:cubicBezTo>
                <a:close/>
                <a:moveTo>
                  <a:pt x="3106807" y="1003047"/>
                </a:moveTo>
                <a:cubicBezTo>
                  <a:pt x="3110451" y="1012159"/>
                  <a:pt x="3115918" y="1021270"/>
                  <a:pt x="3123206" y="1026736"/>
                </a:cubicBezTo>
                <a:cubicBezTo>
                  <a:pt x="3128673" y="1030381"/>
                  <a:pt x="3137784" y="1024914"/>
                  <a:pt x="3145073" y="1028559"/>
                </a:cubicBezTo>
                <a:cubicBezTo>
                  <a:pt x="3143250" y="1023092"/>
                  <a:pt x="3145073" y="1017625"/>
                  <a:pt x="3141428" y="1012159"/>
                </a:cubicBezTo>
                <a:cubicBezTo>
                  <a:pt x="3139606" y="1019448"/>
                  <a:pt x="3141428" y="1028559"/>
                  <a:pt x="3134140" y="1021270"/>
                </a:cubicBezTo>
                <a:cubicBezTo>
                  <a:pt x="3130495" y="1021270"/>
                  <a:pt x="3137784" y="1013981"/>
                  <a:pt x="3134140" y="1010337"/>
                </a:cubicBezTo>
                <a:cubicBezTo>
                  <a:pt x="3123206" y="1012159"/>
                  <a:pt x="3123206" y="999403"/>
                  <a:pt x="3106807" y="1003047"/>
                </a:cubicBezTo>
                <a:close/>
                <a:moveTo>
                  <a:pt x="1175303" y="1003047"/>
                </a:moveTo>
                <a:cubicBezTo>
                  <a:pt x="1177125" y="1001226"/>
                  <a:pt x="1177125" y="1004870"/>
                  <a:pt x="1180769" y="1003047"/>
                </a:cubicBezTo>
                <a:lnTo>
                  <a:pt x="1178947" y="1006645"/>
                </a:lnTo>
                <a:lnTo>
                  <a:pt x="1178947" y="1004870"/>
                </a:lnTo>
                <a:cubicBezTo>
                  <a:pt x="1177125" y="1003047"/>
                  <a:pt x="1177125" y="1004870"/>
                  <a:pt x="1175303" y="1003047"/>
                </a:cubicBezTo>
                <a:close/>
                <a:moveTo>
                  <a:pt x="1111526" y="1003047"/>
                </a:moveTo>
                <a:cubicBezTo>
                  <a:pt x="1109704" y="1004870"/>
                  <a:pt x="1111526" y="1008515"/>
                  <a:pt x="1113349" y="1010337"/>
                </a:cubicBezTo>
                <a:cubicBezTo>
                  <a:pt x="1109704" y="1010337"/>
                  <a:pt x="1107882" y="1006692"/>
                  <a:pt x="1107882" y="1004870"/>
                </a:cubicBezTo>
                <a:cubicBezTo>
                  <a:pt x="1109704" y="1012159"/>
                  <a:pt x="1116993" y="1023092"/>
                  <a:pt x="1122459" y="1026736"/>
                </a:cubicBezTo>
                <a:cubicBezTo>
                  <a:pt x="1120637" y="1030381"/>
                  <a:pt x="1124282" y="1032203"/>
                  <a:pt x="1126104" y="1035847"/>
                </a:cubicBezTo>
                <a:cubicBezTo>
                  <a:pt x="1127926" y="1034025"/>
                  <a:pt x="1127926" y="1028559"/>
                  <a:pt x="1126104" y="1028559"/>
                </a:cubicBezTo>
                <a:cubicBezTo>
                  <a:pt x="1127926" y="1026736"/>
                  <a:pt x="1129748" y="1023092"/>
                  <a:pt x="1124282" y="1019448"/>
                </a:cubicBezTo>
                <a:cubicBezTo>
                  <a:pt x="1124282" y="1015803"/>
                  <a:pt x="1127926" y="1019448"/>
                  <a:pt x="1127926" y="1017625"/>
                </a:cubicBezTo>
                <a:cubicBezTo>
                  <a:pt x="1126104" y="1012159"/>
                  <a:pt x="1127926" y="1008515"/>
                  <a:pt x="1126104" y="1004870"/>
                </a:cubicBezTo>
                <a:cubicBezTo>
                  <a:pt x="1120637" y="1003047"/>
                  <a:pt x="1116993" y="1003047"/>
                  <a:pt x="1111526" y="1003047"/>
                </a:cubicBezTo>
                <a:close/>
                <a:moveTo>
                  <a:pt x="1045929" y="1003047"/>
                </a:moveTo>
                <a:cubicBezTo>
                  <a:pt x="1042284" y="1003047"/>
                  <a:pt x="1038639" y="1004870"/>
                  <a:pt x="1034995" y="1008515"/>
                </a:cubicBezTo>
                <a:cubicBezTo>
                  <a:pt x="1036818" y="1010337"/>
                  <a:pt x="1034995" y="1010337"/>
                  <a:pt x="1036818" y="1012159"/>
                </a:cubicBezTo>
                <a:cubicBezTo>
                  <a:pt x="1040462" y="1008515"/>
                  <a:pt x="1044106" y="1004870"/>
                  <a:pt x="1045929" y="1003047"/>
                </a:cubicBezTo>
                <a:close/>
                <a:moveTo>
                  <a:pt x="1018596" y="1003047"/>
                </a:moveTo>
                <a:cubicBezTo>
                  <a:pt x="1016774" y="1004870"/>
                  <a:pt x="1018596" y="1008515"/>
                  <a:pt x="1016774" y="1006692"/>
                </a:cubicBezTo>
                <a:cubicBezTo>
                  <a:pt x="1013129" y="1004870"/>
                  <a:pt x="1018596" y="1006692"/>
                  <a:pt x="1016774" y="1008515"/>
                </a:cubicBezTo>
                <a:cubicBezTo>
                  <a:pt x="1020418" y="1010337"/>
                  <a:pt x="1020418" y="1004870"/>
                  <a:pt x="1018596" y="1003047"/>
                </a:cubicBezTo>
                <a:close/>
                <a:moveTo>
                  <a:pt x="699715" y="1003047"/>
                </a:moveTo>
                <a:cubicBezTo>
                  <a:pt x="697893" y="1003047"/>
                  <a:pt x="694249" y="1006692"/>
                  <a:pt x="701537" y="1006692"/>
                </a:cubicBezTo>
                <a:cubicBezTo>
                  <a:pt x="701537" y="1004870"/>
                  <a:pt x="701537" y="1004870"/>
                  <a:pt x="699715" y="1003047"/>
                </a:cubicBezTo>
                <a:close/>
                <a:moveTo>
                  <a:pt x="635939" y="1003047"/>
                </a:moveTo>
                <a:cubicBezTo>
                  <a:pt x="625006" y="999403"/>
                  <a:pt x="632296" y="1012159"/>
                  <a:pt x="639583" y="1008515"/>
                </a:cubicBezTo>
                <a:cubicBezTo>
                  <a:pt x="637761" y="1006692"/>
                  <a:pt x="637761" y="1004870"/>
                  <a:pt x="635939" y="1003047"/>
                </a:cubicBezTo>
                <a:close/>
                <a:moveTo>
                  <a:pt x="169462" y="1003047"/>
                </a:moveTo>
                <a:cubicBezTo>
                  <a:pt x="173107" y="1008515"/>
                  <a:pt x="182218" y="1006692"/>
                  <a:pt x="187684" y="1013981"/>
                </a:cubicBezTo>
                <a:cubicBezTo>
                  <a:pt x="184040" y="1004870"/>
                  <a:pt x="174929" y="1006692"/>
                  <a:pt x="169462" y="1003047"/>
                </a:cubicBezTo>
                <a:close/>
                <a:moveTo>
                  <a:pt x="3361911" y="1001226"/>
                </a:moveTo>
                <a:cubicBezTo>
                  <a:pt x="3356445" y="1001226"/>
                  <a:pt x="3358267" y="1004870"/>
                  <a:pt x="3356445" y="1006692"/>
                </a:cubicBezTo>
                <a:cubicBezTo>
                  <a:pt x="3360089" y="1010337"/>
                  <a:pt x="3360089" y="1003047"/>
                  <a:pt x="3361911" y="1001226"/>
                </a:cubicBezTo>
                <a:close/>
                <a:moveTo>
                  <a:pt x="3341867" y="1001226"/>
                </a:moveTo>
                <a:lnTo>
                  <a:pt x="3342146" y="1001756"/>
                </a:lnTo>
                <a:lnTo>
                  <a:pt x="3341585" y="1001789"/>
                </a:lnTo>
                <a:close/>
                <a:moveTo>
                  <a:pt x="506565" y="1001226"/>
                </a:moveTo>
                <a:cubicBezTo>
                  <a:pt x="504743" y="1003047"/>
                  <a:pt x="508387" y="1006692"/>
                  <a:pt x="510209" y="1010337"/>
                </a:cubicBezTo>
                <a:cubicBezTo>
                  <a:pt x="513853" y="1006692"/>
                  <a:pt x="508387" y="1003047"/>
                  <a:pt x="506565" y="1001226"/>
                </a:cubicBezTo>
                <a:close/>
                <a:moveTo>
                  <a:pt x="318882" y="1001226"/>
                </a:moveTo>
                <a:cubicBezTo>
                  <a:pt x="315236" y="1003047"/>
                  <a:pt x="320703" y="1004870"/>
                  <a:pt x="322525" y="1004870"/>
                </a:cubicBezTo>
                <a:cubicBezTo>
                  <a:pt x="322525" y="1003047"/>
                  <a:pt x="318882" y="1001226"/>
                  <a:pt x="318882" y="1001226"/>
                </a:cubicBezTo>
                <a:close/>
                <a:moveTo>
                  <a:pt x="229594" y="1001226"/>
                </a:moveTo>
                <a:cubicBezTo>
                  <a:pt x="233239" y="1003047"/>
                  <a:pt x="240527" y="1012159"/>
                  <a:pt x="244172" y="1010337"/>
                </a:cubicBezTo>
                <a:lnTo>
                  <a:pt x="240528" y="1006693"/>
                </a:lnTo>
                <a:lnTo>
                  <a:pt x="247816" y="1010337"/>
                </a:lnTo>
                <a:cubicBezTo>
                  <a:pt x="245994" y="1008515"/>
                  <a:pt x="242349" y="1006692"/>
                  <a:pt x="240527" y="1006692"/>
                </a:cubicBezTo>
                <a:lnTo>
                  <a:pt x="240528" y="1006693"/>
                </a:lnTo>
                <a:close/>
                <a:moveTo>
                  <a:pt x="1259469" y="1000186"/>
                </a:moveTo>
                <a:lnTo>
                  <a:pt x="1259123" y="1001226"/>
                </a:lnTo>
                <a:lnTo>
                  <a:pt x="1259123" y="1000369"/>
                </a:lnTo>
                <a:close/>
                <a:moveTo>
                  <a:pt x="1259123" y="999847"/>
                </a:moveTo>
                <a:lnTo>
                  <a:pt x="1259123" y="1000369"/>
                </a:lnTo>
                <a:lnTo>
                  <a:pt x="1257324" y="1001323"/>
                </a:lnTo>
                <a:lnTo>
                  <a:pt x="1258895" y="1000086"/>
                </a:lnTo>
                <a:close/>
                <a:moveTo>
                  <a:pt x="3454842" y="999403"/>
                </a:moveTo>
                <a:cubicBezTo>
                  <a:pt x="3451198" y="1001226"/>
                  <a:pt x="3453020" y="1008515"/>
                  <a:pt x="3458487" y="1006692"/>
                </a:cubicBezTo>
                <a:cubicBezTo>
                  <a:pt x="3458487" y="1003047"/>
                  <a:pt x="3456664" y="1001226"/>
                  <a:pt x="3454842" y="999403"/>
                </a:cubicBezTo>
                <a:close/>
                <a:moveTo>
                  <a:pt x="1160725" y="999403"/>
                </a:moveTo>
                <a:lnTo>
                  <a:pt x="1159604" y="999964"/>
                </a:lnTo>
                <a:lnTo>
                  <a:pt x="1159458" y="999720"/>
                </a:lnTo>
                <a:close/>
                <a:moveTo>
                  <a:pt x="1049573" y="999403"/>
                </a:moveTo>
                <a:cubicBezTo>
                  <a:pt x="1047750" y="1003047"/>
                  <a:pt x="1044106" y="1004870"/>
                  <a:pt x="1042284" y="1008515"/>
                </a:cubicBezTo>
                <a:cubicBezTo>
                  <a:pt x="1049573" y="1015803"/>
                  <a:pt x="1053217" y="1004870"/>
                  <a:pt x="1060506" y="1004870"/>
                </a:cubicBezTo>
                <a:cubicBezTo>
                  <a:pt x="1056861" y="1003047"/>
                  <a:pt x="1053217" y="999403"/>
                  <a:pt x="1049573" y="999403"/>
                </a:cubicBezTo>
                <a:close/>
                <a:moveTo>
                  <a:pt x="952997" y="999403"/>
                </a:moveTo>
                <a:cubicBezTo>
                  <a:pt x="947531" y="1004870"/>
                  <a:pt x="954819" y="1017625"/>
                  <a:pt x="962108" y="1010337"/>
                </a:cubicBezTo>
                <a:cubicBezTo>
                  <a:pt x="962108" y="1006692"/>
                  <a:pt x="956642" y="1003047"/>
                  <a:pt x="952997" y="999403"/>
                </a:cubicBezTo>
                <a:close/>
                <a:moveTo>
                  <a:pt x="878288" y="999403"/>
                </a:moveTo>
                <a:cubicBezTo>
                  <a:pt x="874644" y="1003047"/>
                  <a:pt x="871000" y="1003047"/>
                  <a:pt x="869177" y="1003047"/>
                </a:cubicBezTo>
                <a:lnTo>
                  <a:pt x="881933" y="1010337"/>
                </a:lnTo>
                <a:lnTo>
                  <a:pt x="883755" y="1015803"/>
                </a:lnTo>
                <a:cubicBezTo>
                  <a:pt x="881933" y="1013981"/>
                  <a:pt x="881933" y="1012159"/>
                  <a:pt x="881933" y="1010337"/>
                </a:cubicBezTo>
                <a:lnTo>
                  <a:pt x="881933" y="1010337"/>
                </a:lnTo>
                <a:close/>
                <a:moveTo>
                  <a:pt x="526609" y="999403"/>
                </a:moveTo>
                <a:lnTo>
                  <a:pt x="531814" y="1007778"/>
                </a:lnTo>
                <a:lnTo>
                  <a:pt x="530253" y="1006692"/>
                </a:lnTo>
                <a:cubicBezTo>
                  <a:pt x="532075" y="1010337"/>
                  <a:pt x="537542" y="1012159"/>
                  <a:pt x="539364" y="1013981"/>
                </a:cubicBezTo>
                <a:cubicBezTo>
                  <a:pt x="539364" y="1013070"/>
                  <a:pt x="537542" y="1011703"/>
                  <a:pt x="535492" y="1010336"/>
                </a:cubicBezTo>
                <a:lnTo>
                  <a:pt x="531976" y="1007891"/>
                </a:lnTo>
                <a:lnTo>
                  <a:pt x="541186" y="1012159"/>
                </a:lnTo>
                <a:cubicBezTo>
                  <a:pt x="541186" y="1008515"/>
                  <a:pt x="532075" y="1003047"/>
                  <a:pt x="526609" y="999403"/>
                </a:cubicBezTo>
                <a:close/>
                <a:moveTo>
                  <a:pt x="491987" y="999403"/>
                </a:moveTo>
                <a:cubicBezTo>
                  <a:pt x="495632" y="1006692"/>
                  <a:pt x="504743" y="1013981"/>
                  <a:pt x="512031" y="1023092"/>
                </a:cubicBezTo>
                <a:cubicBezTo>
                  <a:pt x="508387" y="1015803"/>
                  <a:pt x="504743" y="1003047"/>
                  <a:pt x="491987" y="999403"/>
                </a:cubicBezTo>
                <a:close/>
                <a:moveTo>
                  <a:pt x="408167" y="999403"/>
                </a:moveTo>
                <a:cubicBezTo>
                  <a:pt x="413634" y="1006692"/>
                  <a:pt x="419100" y="1017625"/>
                  <a:pt x="426389" y="1021270"/>
                </a:cubicBezTo>
                <a:cubicBezTo>
                  <a:pt x="433678" y="1026736"/>
                  <a:pt x="433678" y="1037669"/>
                  <a:pt x="448256" y="1044958"/>
                </a:cubicBezTo>
                <a:cubicBezTo>
                  <a:pt x="444611" y="1039492"/>
                  <a:pt x="440966" y="1034025"/>
                  <a:pt x="439145" y="1030381"/>
                </a:cubicBezTo>
                <a:cubicBezTo>
                  <a:pt x="446433" y="1041314"/>
                  <a:pt x="451899" y="1052247"/>
                  <a:pt x="470121" y="1057713"/>
                </a:cubicBezTo>
                <a:cubicBezTo>
                  <a:pt x="466478" y="1055891"/>
                  <a:pt x="461010" y="1052247"/>
                  <a:pt x="457367" y="1048602"/>
                </a:cubicBezTo>
                <a:cubicBezTo>
                  <a:pt x="461010" y="1046780"/>
                  <a:pt x="462832" y="1054069"/>
                  <a:pt x="470121" y="1054069"/>
                </a:cubicBezTo>
                <a:cubicBezTo>
                  <a:pt x="462832" y="1039492"/>
                  <a:pt x="442789" y="1032203"/>
                  <a:pt x="430034" y="1023092"/>
                </a:cubicBezTo>
                <a:cubicBezTo>
                  <a:pt x="428211" y="1021270"/>
                  <a:pt x="428211" y="1023092"/>
                  <a:pt x="426389" y="1021270"/>
                </a:cubicBezTo>
                <a:cubicBezTo>
                  <a:pt x="424567" y="1013981"/>
                  <a:pt x="413634" y="1006692"/>
                  <a:pt x="408167" y="999403"/>
                </a:cubicBezTo>
                <a:close/>
                <a:moveTo>
                  <a:pt x="306126" y="999403"/>
                </a:moveTo>
                <a:cubicBezTo>
                  <a:pt x="306126" y="1001226"/>
                  <a:pt x="307948" y="1003047"/>
                  <a:pt x="309771" y="1004870"/>
                </a:cubicBezTo>
                <a:cubicBezTo>
                  <a:pt x="313414" y="1004870"/>
                  <a:pt x="307948" y="1001226"/>
                  <a:pt x="306126" y="999403"/>
                </a:cubicBezTo>
                <a:close/>
                <a:moveTo>
                  <a:pt x="245994" y="999403"/>
                </a:moveTo>
                <a:cubicBezTo>
                  <a:pt x="247816" y="1001226"/>
                  <a:pt x="249638" y="1003047"/>
                  <a:pt x="251460" y="1004870"/>
                </a:cubicBezTo>
                <a:cubicBezTo>
                  <a:pt x="256927" y="1006692"/>
                  <a:pt x="245994" y="1003047"/>
                  <a:pt x="245994" y="999403"/>
                </a:cubicBezTo>
                <a:close/>
                <a:moveTo>
                  <a:pt x="180396" y="999403"/>
                </a:moveTo>
                <a:cubicBezTo>
                  <a:pt x="180396" y="999403"/>
                  <a:pt x="182218" y="1001226"/>
                  <a:pt x="182218" y="1001226"/>
                </a:cubicBezTo>
                <a:lnTo>
                  <a:pt x="181771" y="1001053"/>
                </a:lnTo>
                <a:close/>
                <a:moveTo>
                  <a:pt x="1260074" y="998849"/>
                </a:moveTo>
                <a:lnTo>
                  <a:pt x="1260945" y="999403"/>
                </a:lnTo>
                <a:lnTo>
                  <a:pt x="1259469" y="1000186"/>
                </a:lnTo>
                <a:lnTo>
                  <a:pt x="1259830" y="999107"/>
                </a:lnTo>
                <a:close/>
                <a:moveTo>
                  <a:pt x="1259123" y="998244"/>
                </a:moveTo>
                <a:lnTo>
                  <a:pt x="1259943" y="998766"/>
                </a:lnTo>
                <a:lnTo>
                  <a:pt x="1259830" y="999107"/>
                </a:lnTo>
                <a:lnTo>
                  <a:pt x="1259123" y="999847"/>
                </a:lnTo>
                <a:close/>
                <a:moveTo>
                  <a:pt x="3090407" y="997582"/>
                </a:moveTo>
                <a:lnTo>
                  <a:pt x="3090407" y="999403"/>
                </a:lnTo>
                <a:lnTo>
                  <a:pt x="3090407" y="1001226"/>
                </a:lnTo>
                <a:cubicBezTo>
                  <a:pt x="3095874" y="1001226"/>
                  <a:pt x="3095874" y="1004870"/>
                  <a:pt x="3097696" y="1012159"/>
                </a:cubicBezTo>
                <a:cubicBezTo>
                  <a:pt x="3094052" y="1010337"/>
                  <a:pt x="3092230" y="1004870"/>
                  <a:pt x="3090407" y="1004870"/>
                </a:cubicBezTo>
                <a:cubicBezTo>
                  <a:pt x="3086763" y="1003047"/>
                  <a:pt x="3079474" y="1004870"/>
                  <a:pt x="3077652" y="1008515"/>
                </a:cubicBezTo>
                <a:cubicBezTo>
                  <a:pt x="3074008" y="1019448"/>
                  <a:pt x="3079474" y="1028559"/>
                  <a:pt x="3090407" y="1026736"/>
                </a:cubicBezTo>
                <a:cubicBezTo>
                  <a:pt x="3092230" y="1026736"/>
                  <a:pt x="3095874" y="1019448"/>
                  <a:pt x="3099518" y="1019448"/>
                </a:cubicBezTo>
                <a:cubicBezTo>
                  <a:pt x="3103163" y="1021270"/>
                  <a:pt x="3101340" y="1026736"/>
                  <a:pt x="3101340" y="1028559"/>
                </a:cubicBezTo>
                <a:cubicBezTo>
                  <a:pt x="3119562" y="1019448"/>
                  <a:pt x="3101340" y="1008515"/>
                  <a:pt x="3097696" y="997582"/>
                </a:cubicBezTo>
                <a:cubicBezTo>
                  <a:pt x="3095874" y="999403"/>
                  <a:pt x="3092230" y="997582"/>
                  <a:pt x="3090407" y="997582"/>
                </a:cubicBezTo>
                <a:close/>
                <a:moveTo>
                  <a:pt x="3030276" y="997582"/>
                </a:moveTo>
                <a:cubicBezTo>
                  <a:pt x="3026631" y="997582"/>
                  <a:pt x="3028453" y="1003047"/>
                  <a:pt x="3026631" y="1003047"/>
                </a:cubicBezTo>
                <a:cubicBezTo>
                  <a:pt x="3032098" y="1006692"/>
                  <a:pt x="3035742" y="1001226"/>
                  <a:pt x="3030276" y="997582"/>
                </a:cubicBezTo>
                <a:close/>
                <a:moveTo>
                  <a:pt x="2886324" y="997582"/>
                </a:moveTo>
                <a:cubicBezTo>
                  <a:pt x="2864458" y="999403"/>
                  <a:pt x="2858991" y="1023092"/>
                  <a:pt x="2853525" y="1041314"/>
                </a:cubicBezTo>
                <a:cubicBezTo>
                  <a:pt x="2853525" y="1044958"/>
                  <a:pt x="2855347" y="1044958"/>
                  <a:pt x="2855347" y="1048602"/>
                </a:cubicBezTo>
                <a:cubicBezTo>
                  <a:pt x="2864458" y="1054069"/>
                  <a:pt x="2868102" y="1046780"/>
                  <a:pt x="2869924" y="1039492"/>
                </a:cubicBezTo>
                <a:cubicBezTo>
                  <a:pt x="2868102" y="1035847"/>
                  <a:pt x="2864458" y="1035847"/>
                  <a:pt x="2862636" y="1032203"/>
                </a:cubicBezTo>
                <a:cubicBezTo>
                  <a:pt x="2862636" y="1028559"/>
                  <a:pt x="2868102" y="1030381"/>
                  <a:pt x="2868102" y="1028559"/>
                </a:cubicBezTo>
                <a:cubicBezTo>
                  <a:pt x="2869924" y="1030381"/>
                  <a:pt x="2869924" y="1032203"/>
                  <a:pt x="2873569" y="1032203"/>
                </a:cubicBezTo>
                <a:cubicBezTo>
                  <a:pt x="2880857" y="1030381"/>
                  <a:pt x="2886324" y="1028559"/>
                  <a:pt x="2884502" y="1019448"/>
                </a:cubicBezTo>
                <a:cubicBezTo>
                  <a:pt x="2880857" y="1019448"/>
                  <a:pt x="2880857" y="1017625"/>
                  <a:pt x="2877213" y="1017625"/>
                </a:cubicBezTo>
                <a:cubicBezTo>
                  <a:pt x="2877213" y="1015803"/>
                  <a:pt x="2875391" y="1012159"/>
                  <a:pt x="2873569" y="1008515"/>
                </a:cubicBezTo>
                <a:cubicBezTo>
                  <a:pt x="2882680" y="1006692"/>
                  <a:pt x="2879035" y="1019448"/>
                  <a:pt x="2889968" y="1017625"/>
                </a:cubicBezTo>
                <a:cubicBezTo>
                  <a:pt x="2889968" y="1013981"/>
                  <a:pt x="2888146" y="1010337"/>
                  <a:pt x="2884502" y="1008515"/>
                </a:cubicBezTo>
                <a:cubicBezTo>
                  <a:pt x="2886324" y="1006692"/>
                  <a:pt x="2886324" y="1004870"/>
                  <a:pt x="2886324" y="997582"/>
                </a:cubicBezTo>
                <a:close/>
                <a:moveTo>
                  <a:pt x="1258082" y="997582"/>
                </a:moveTo>
                <a:lnTo>
                  <a:pt x="1259123" y="997582"/>
                </a:lnTo>
                <a:lnTo>
                  <a:pt x="1259123" y="998244"/>
                </a:lnTo>
                <a:close/>
                <a:moveTo>
                  <a:pt x="993085" y="997582"/>
                </a:moveTo>
                <a:cubicBezTo>
                  <a:pt x="991263" y="1001226"/>
                  <a:pt x="991263" y="1004870"/>
                  <a:pt x="987619" y="1008515"/>
                </a:cubicBezTo>
                <a:cubicBezTo>
                  <a:pt x="989441" y="1008515"/>
                  <a:pt x="989441" y="1010337"/>
                  <a:pt x="991263" y="1012159"/>
                </a:cubicBezTo>
                <a:cubicBezTo>
                  <a:pt x="993085" y="1006692"/>
                  <a:pt x="994907" y="1001226"/>
                  <a:pt x="993085" y="997582"/>
                </a:cubicBezTo>
                <a:close/>
                <a:moveTo>
                  <a:pt x="708826" y="997582"/>
                </a:moveTo>
                <a:cubicBezTo>
                  <a:pt x="703359" y="1001226"/>
                  <a:pt x="712470" y="1003047"/>
                  <a:pt x="712470" y="1004870"/>
                </a:cubicBezTo>
                <a:cubicBezTo>
                  <a:pt x="710648" y="1008515"/>
                  <a:pt x="714293" y="1010337"/>
                  <a:pt x="717937" y="1012159"/>
                </a:cubicBezTo>
                <a:cubicBezTo>
                  <a:pt x="727048" y="1004870"/>
                  <a:pt x="717937" y="1006692"/>
                  <a:pt x="716115" y="1004870"/>
                </a:cubicBezTo>
                <a:cubicBezTo>
                  <a:pt x="714293" y="1004870"/>
                  <a:pt x="714293" y="1004870"/>
                  <a:pt x="712470" y="1004870"/>
                </a:cubicBezTo>
                <a:cubicBezTo>
                  <a:pt x="712470" y="1001226"/>
                  <a:pt x="712470" y="999403"/>
                  <a:pt x="716115" y="1001226"/>
                </a:cubicBezTo>
                <a:cubicBezTo>
                  <a:pt x="716115" y="997582"/>
                  <a:pt x="710648" y="999403"/>
                  <a:pt x="708826" y="997582"/>
                </a:cubicBezTo>
                <a:close/>
                <a:moveTo>
                  <a:pt x="548475" y="997582"/>
                </a:moveTo>
                <a:cubicBezTo>
                  <a:pt x="546653" y="1004870"/>
                  <a:pt x="559408" y="1006692"/>
                  <a:pt x="566697" y="1013981"/>
                </a:cubicBezTo>
                <a:cubicBezTo>
                  <a:pt x="568519" y="1006692"/>
                  <a:pt x="555763" y="1003047"/>
                  <a:pt x="548475" y="997582"/>
                </a:cubicBezTo>
                <a:close/>
                <a:moveTo>
                  <a:pt x="2274985" y="997581"/>
                </a:moveTo>
                <a:lnTo>
                  <a:pt x="2274986" y="997582"/>
                </a:lnTo>
                <a:lnTo>
                  <a:pt x="2274984" y="997582"/>
                </a:lnTo>
                <a:close/>
                <a:moveTo>
                  <a:pt x="182050" y="996916"/>
                </a:moveTo>
                <a:lnTo>
                  <a:pt x="185862" y="1001681"/>
                </a:lnTo>
                <a:lnTo>
                  <a:pt x="186364" y="1002874"/>
                </a:lnTo>
                <a:close/>
                <a:moveTo>
                  <a:pt x="1255333" y="995832"/>
                </a:moveTo>
                <a:lnTo>
                  <a:pt x="1258082" y="997582"/>
                </a:lnTo>
                <a:lnTo>
                  <a:pt x="1251834" y="997582"/>
                </a:lnTo>
                <a:close/>
                <a:moveTo>
                  <a:pt x="787179" y="995808"/>
                </a:moveTo>
                <a:cubicBezTo>
                  <a:pt x="790823" y="1003097"/>
                  <a:pt x="794467" y="1012209"/>
                  <a:pt x="787179" y="1017675"/>
                </a:cubicBezTo>
                <a:cubicBezTo>
                  <a:pt x="785357" y="1014031"/>
                  <a:pt x="787179" y="1008563"/>
                  <a:pt x="781712" y="1004919"/>
                </a:cubicBezTo>
                <a:cubicBezTo>
                  <a:pt x="781712" y="1001274"/>
                  <a:pt x="783534" y="997630"/>
                  <a:pt x="787179" y="995808"/>
                </a:cubicBezTo>
                <a:close/>
                <a:moveTo>
                  <a:pt x="3241648" y="995759"/>
                </a:moveTo>
                <a:cubicBezTo>
                  <a:pt x="3236181" y="993937"/>
                  <a:pt x="3236181" y="1003047"/>
                  <a:pt x="3241648" y="1001226"/>
                </a:cubicBezTo>
                <a:cubicBezTo>
                  <a:pt x="3241648" y="999403"/>
                  <a:pt x="3241648" y="997582"/>
                  <a:pt x="3241648" y="995759"/>
                </a:cubicBezTo>
                <a:close/>
                <a:moveTo>
                  <a:pt x="3130495" y="995759"/>
                </a:moveTo>
                <a:cubicBezTo>
                  <a:pt x="3125029" y="997582"/>
                  <a:pt x="3130495" y="1001226"/>
                  <a:pt x="3130495" y="1004870"/>
                </a:cubicBezTo>
                <a:cubicBezTo>
                  <a:pt x="3134140" y="1004870"/>
                  <a:pt x="3130495" y="999403"/>
                  <a:pt x="3130495" y="995759"/>
                </a:cubicBezTo>
                <a:close/>
                <a:moveTo>
                  <a:pt x="1025884" y="995759"/>
                </a:moveTo>
                <a:cubicBezTo>
                  <a:pt x="1020418" y="997582"/>
                  <a:pt x="1020418" y="1004870"/>
                  <a:pt x="1024062" y="1010337"/>
                </a:cubicBezTo>
                <a:cubicBezTo>
                  <a:pt x="1025884" y="1008515"/>
                  <a:pt x="1029529" y="1008515"/>
                  <a:pt x="1031351" y="1006692"/>
                </a:cubicBezTo>
                <a:cubicBezTo>
                  <a:pt x="1029529" y="1003047"/>
                  <a:pt x="1025884" y="999403"/>
                  <a:pt x="1025884" y="995759"/>
                </a:cubicBezTo>
                <a:close/>
                <a:moveTo>
                  <a:pt x="236883" y="995759"/>
                </a:moveTo>
                <a:cubicBezTo>
                  <a:pt x="235061" y="997582"/>
                  <a:pt x="242349" y="1003047"/>
                  <a:pt x="244172" y="1001226"/>
                </a:cubicBezTo>
                <a:cubicBezTo>
                  <a:pt x="242349" y="1001226"/>
                  <a:pt x="238705" y="997582"/>
                  <a:pt x="236883" y="995759"/>
                </a:cubicBezTo>
                <a:close/>
                <a:moveTo>
                  <a:pt x="185862" y="995759"/>
                </a:moveTo>
                <a:cubicBezTo>
                  <a:pt x="193151" y="999403"/>
                  <a:pt x="200439" y="1004870"/>
                  <a:pt x="207728" y="1010337"/>
                </a:cubicBezTo>
                <a:lnTo>
                  <a:pt x="207728" y="1008515"/>
                </a:lnTo>
                <a:cubicBezTo>
                  <a:pt x="211372" y="1012159"/>
                  <a:pt x="213195" y="1013981"/>
                  <a:pt x="216839" y="1015803"/>
                </a:cubicBezTo>
                <a:cubicBezTo>
                  <a:pt x="213195" y="1026736"/>
                  <a:pt x="233239" y="1024914"/>
                  <a:pt x="238705" y="1028559"/>
                </a:cubicBezTo>
                <a:cubicBezTo>
                  <a:pt x="235061" y="1023092"/>
                  <a:pt x="227772" y="1019448"/>
                  <a:pt x="224128" y="1015803"/>
                </a:cubicBezTo>
                <a:cubicBezTo>
                  <a:pt x="220483" y="1017625"/>
                  <a:pt x="218661" y="1015803"/>
                  <a:pt x="216839" y="1013981"/>
                </a:cubicBezTo>
                <a:cubicBezTo>
                  <a:pt x="218661" y="1013981"/>
                  <a:pt x="218661" y="1015803"/>
                  <a:pt x="220483" y="1013981"/>
                </a:cubicBezTo>
                <a:cubicBezTo>
                  <a:pt x="222306" y="1012159"/>
                  <a:pt x="215017" y="1012159"/>
                  <a:pt x="215017" y="1008515"/>
                </a:cubicBezTo>
                <a:cubicBezTo>
                  <a:pt x="205906" y="997582"/>
                  <a:pt x="194973" y="992115"/>
                  <a:pt x="185862" y="995759"/>
                </a:cubicBezTo>
                <a:close/>
                <a:moveTo>
                  <a:pt x="1255071" y="995665"/>
                </a:moveTo>
                <a:lnTo>
                  <a:pt x="1255478" y="995759"/>
                </a:lnTo>
                <a:lnTo>
                  <a:pt x="1255333" y="995832"/>
                </a:lnTo>
                <a:close/>
                <a:moveTo>
                  <a:pt x="2917301" y="993937"/>
                </a:moveTo>
                <a:cubicBezTo>
                  <a:pt x="2915479" y="999403"/>
                  <a:pt x="2919123" y="1006692"/>
                  <a:pt x="2920945" y="1012159"/>
                </a:cubicBezTo>
                <a:cubicBezTo>
                  <a:pt x="2935523" y="1012159"/>
                  <a:pt x="2940989" y="1004870"/>
                  <a:pt x="2951922" y="1001226"/>
                </a:cubicBezTo>
                <a:cubicBezTo>
                  <a:pt x="2942811" y="995759"/>
                  <a:pt x="2930056" y="990293"/>
                  <a:pt x="2917301" y="993937"/>
                </a:cubicBezTo>
                <a:close/>
                <a:moveTo>
                  <a:pt x="2374293" y="993937"/>
                </a:moveTo>
                <a:cubicBezTo>
                  <a:pt x="2365182" y="995759"/>
                  <a:pt x="2361538" y="1001226"/>
                  <a:pt x="2357893" y="1006692"/>
                </a:cubicBezTo>
                <a:cubicBezTo>
                  <a:pt x="2361538" y="1006692"/>
                  <a:pt x="2363360" y="1006692"/>
                  <a:pt x="2365182" y="1004870"/>
                </a:cubicBezTo>
                <a:cubicBezTo>
                  <a:pt x="2363360" y="1012159"/>
                  <a:pt x="2367004" y="1012159"/>
                  <a:pt x="2367004" y="1017625"/>
                </a:cubicBezTo>
                <a:cubicBezTo>
                  <a:pt x="2363360" y="1015803"/>
                  <a:pt x="2363360" y="1012159"/>
                  <a:pt x="2361538" y="1008515"/>
                </a:cubicBezTo>
                <a:cubicBezTo>
                  <a:pt x="2361538" y="1008515"/>
                  <a:pt x="2359716" y="1008515"/>
                  <a:pt x="2359716" y="1008515"/>
                </a:cubicBezTo>
                <a:lnTo>
                  <a:pt x="2361538" y="1012159"/>
                </a:lnTo>
                <a:lnTo>
                  <a:pt x="2348782" y="1012159"/>
                </a:lnTo>
                <a:cubicBezTo>
                  <a:pt x="2346960" y="1012159"/>
                  <a:pt x="2346960" y="1013981"/>
                  <a:pt x="2345138" y="1013981"/>
                </a:cubicBezTo>
                <a:cubicBezTo>
                  <a:pt x="2345138" y="1013981"/>
                  <a:pt x="2343316" y="1012159"/>
                  <a:pt x="2341494" y="1012159"/>
                </a:cubicBezTo>
                <a:lnTo>
                  <a:pt x="2336027" y="1012159"/>
                </a:lnTo>
                <a:cubicBezTo>
                  <a:pt x="2330561" y="1012159"/>
                  <a:pt x="2323272" y="1013981"/>
                  <a:pt x="2315983" y="1013981"/>
                </a:cubicBezTo>
                <a:lnTo>
                  <a:pt x="2328739" y="1023092"/>
                </a:lnTo>
                <a:cubicBezTo>
                  <a:pt x="2317806" y="1054069"/>
                  <a:pt x="2334205" y="1023092"/>
                  <a:pt x="2323272" y="1052247"/>
                </a:cubicBezTo>
                <a:cubicBezTo>
                  <a:pt x="2326916" y="1050425"/>
                  <a:pt x="2330561" y="1048602"/>
                  <a:pt x="2332383" y="1043136"/>
                </a:cubicBezTo>
                <a:cubicBezTo>
                  <a:pt x="2336027" y="1044958"/>
                  <a:pt x="2332383" y="1044958"/>
                  <a:pt x="2332383" y="1048602"/>
                </a:cubicBezTo>
                <a:cubicBezTo>
                  <a:pt x="2343316" y="1050425"/>
                  <a:pt x="2346960" y="1043136"/>
                  <a:pt x="2356071" y="1039492"/>
                </a:cubicBezTo>
                <a:cubicBezTo>
                  <a:pt x="2356071" y="1037669"/>
                  <a:pt x="2356071" y="1035847"/>
                  <a:pt x="2356071" y="1034025"/>
                </a:cubicBezTo>
                <a:cubicBezTo>
                  <a:pt x="2354249" y="1034025"/>
                  <a:pt x="2354249" y="1034025"/>
                  <a:pt x="2352427" y="1034025"/>
                </a:cubicBezTo>
                <a:cubicBezTo>
                  <a:pt x="2354249" y="1028559"/>
                  <a:pt x="2357893" y="1030381"/>
                  <a:pt x="2357893" y="1024914"/>
                </a:cubicBezTo>
                <a:cubicBezTo>
                  <a:pt x="2365182" y="1023092"/>
                  <a:pt x="2363360" y="1032203"/>
                  <a:pt x="2368827" y="1032203"/>
                </a:cubicBezTo>
                <a:cubicBezTo>
                  <a:pt x="2365182" y="1034025"/>
                  <a:pt x="2356071" y="1043136"/>
                  <a:pt x="2365182" y="1043136"/>
                </a:cubicBezTo>
                <a:cubicBezTo>
                  <a:pt x="2365182" y="1039492"/>
                  <a:pt x="2365182" y="1037669"/>
                  <a:pt x="2367004" y="1035847"/>
                </a:cubicBezTo>
                <a:cubicBezTo>
                  <a:pt x="2368827" y="1037669"/>
                  <a:pt x="2368827" y="1041314"/>
                  <a:pt x="2370649" y="1043136"/>
                </a:cubicBezTo>
                <a:cubicBezTo>
                  <a:pt x="2379760" y="1043136"/>
                  <a:pt x="2376115" y="1035847"/>
                  <a:pt x="2381582" y="1041314"/>
                </a:cubicBezTo>
                <a:cubicBezTo>
                  <a:pt x="2381582" y="1039492"/>
                  <a:pt x="2381582" y="1037669"/>
                  <a:pt x="2381582" y="1035847"/>
                </a:cubicBezTo>
                <a:cubicBezTo>
                  <a:pt x="2379760" y="1034025"/>
                  <a:pt x="2374293" y="1039492"/>
                  <a:pt x="2376115" y="1032203"/>
                </a:cubicBezTo>
                <a:cubicBezTo>
                  <a:pt x="2377937" y="1026736"/>
                  <a:pt x="2379760" y="1032203"/>
                  <a:pt x="2381582" y="1030381"/>
                </a:cubicBezTo>
                <a:cubicBezTo>
                  <a:pt x="2379760" y="1026736"/>
                  <a:pt x="2383404" y="1023092"/>
                  <a:pt x="2381582" y="1021270"/>
                </a:cubicBezTo>
                <a:cubicBezTo>
                  <a:pt x="2383404" y="1010337"/>
                  <a:pt x="2374293" y="1008515"/>
                  <a:pt x="2374293" y="993937"/>
                </a:cubicBezTo>
                <a:close/>
                <a:moveTo>
                  <a:pt x="1080549" y="993937"/>
                </a:moveTo>
                <a:cubicBezTo>
                  <a:pt x="1078727" y="995759"/>
                  <a:pt x="1080549" y="997582"/>
                  <a:pt x="1082373" y="1001226"/>
                </a:cubicBezTo>
                <a:cubicBezTo>
                  <a:pt x="1084194" y="999403"/>
                  <a:pt x="1084194" y="999403"/>
                  <a:pt x="1086016" y="1001226"/>
                </a:cubicBezTo>
                <a:cubicBezTo>
                  <a:pt x="1086016" y="997582"/>
                  <a:pt x="1084194" y="993937"/>
                  <a:pt x="1080549" y="993937"/>
                </a:cubicBezTo>
                <a:close/>
                <a:moveTo>
                  <a:pt x="1067794" y="993937"/>
                </a:moveTo>
                <a:cubicBezTo>
                  <a:pt x="1064151" y="993937"/>
                  <a:pt x="1062328" y="995759"/>
                  <a:pt x="1058683" y="997582"/>
                </a:cubicBezTo>
                <a:cubicBezTo>
                  <a:pt x="1058683" y="997582"/>
                  <a:pt x="1060506" y="999403"/>
                  <a:pt x="1060506" y="999403"/>
                </a:cubicBezTo>
                <a:cubicBezTo>
                  <a:pt x="1058683" y="997582"/>
                  <a:pt x="1056861" y="995759"/>
                  <a:pt x="1055040" y="1001226"/>
                </a:cubicBezTo>
                <a:cubicBezTo>
                  <a:pt x="1060506" y="1004870"/>
                  <a:pt x="1062328" y="999403"/>
                  <a:pt x="1067794" y="1003047"/>
                </a:cubicBezTo>
                <a:cubicBezTo>
                  <a:pt x="1067794" y="1001226"/>
                  <a:pt x="1069616" y="1001226"/>
                  <a:pt x="1071439" y="999403"/>
                </a:cubicBezTo>
                <a:cubicBezTo>
                  <a:pt x="1069616" y="997582"/>
                  <a:pt x="1069616" y="995759"/>
                  <a:pt x="1067794" y="993937"/>
                </a:cubicBezTo>
                <a:close/>
                <a:moveTo>
                  <a:pt x="515676" y="993937"/>
                </a:moveTo>
                <a:cubicBezTo>
                  <a:pt x="519320" y="995759"/>
                  <a:pt x="521142" y="999403"/>
                  <a:pt x="524786" y="1001226"/>
                </a:cubicBezTo>
                <a:cubicBezTo>
                  <a:pt x="526609" y="997582"/>
                  <a:pt x="517498" y="992115"/>
                  <a:pt x="515676" y="993937"/>
                </a:cubicBezTo>
                <a:close/>
                <a:moveTo>
                  <a:pt x="435500" y="993937"/>
                </a:moveTo>
                <a:cubicBezTo>
                  <a:pt x="442789" y="1008515"/>
                  <a:pt x="455544" y="1021270"/>
                  <a:pt x="464655" y="1035847"/>
                </a:cubicBezTo>
                <a:lnTo>
                  <a:pt x="464970" y="1028120"/>
                </a:lnTo>
                <a:lnTo>
                  <a:pt x="466250" y="1037670"/>
                </a:lnTo>
                <a:cubicBezTo>
                  <a:pt x="466022" y="1045869"/>
                  <a:pt x="467388" y="1053158"/>
                  <a:pt x="479232" y="1057713"/>
                </a:cubicBezTo>
                <a:cubicBezTo>
                  <a:pt x="484700" y="1059535"/>
                  <a:pt x="473766" y="1052247"/>
                  <a:pt x="473766" y="1046780"/>
                </a:cubicBezTo>
                <a:cubicBezTo>
                  <a:pt x="477410" y="1050425"/>
                  <a:pt x="482876" y="1054069"/>
                  <a:pt x="484700" y="1057713"/>
                </a:cubicBezTo>
                <a:cubicBezTo>
                  <a:pt x="486521" y="1055891"/>
                  <a:pt x="488343" y="1055891"/>
                  <a:pt x="486521" y="1054069"/>
                </a:cubicBezTo>
                <a:lnTo>
                  <a:pt x="496910" y="1062933"/>
                </a:lnTo>
                <a:lnTo>
                  <a:pt x="491987" y="1059535"/>
                </a:lnTo>
                <a:cubicBezTo>
                  <a:pt x="491076" y="1064090"/>
                  <a:pt x="493809" y="1067735"/>
                  <a:pt x="498137" y="1070468"/>
                </a:cubicBezTo>
                <a:lnTo>
                  <a:pt x="508290" y="1074000"/>
                </a:lnTo>
                <a:lnTo>
                  <a:pt x="508387" y="1074113"/>
                </a:lnTo>
                <a:lnTo>
                  <a:pt x="508669" y="1074132"/>
                </a:lnTo>
                <a:lnTo>
                  <a:pt x="513853" y="1075935"/>
                </a:lnTo>
                <a:cubicBezTo>
                  <a:pt x="513853" y="1075935"/>
                  <a:pt x="512942" y="1075024"/>
                  <a:pt x="511804" y="1074341"/>
                </a:cubicBezTo>
                <a:lnTo>
                  <a:pt x="508669" y="1074132"/>
                </a:lnTo>
                <a:lnTo>
                  <a:pt x="508290" y="1074000"/>
                </a:lnTo>
                <a:lnTo>
                  <a:pt x="503758" y="1068713"/>
                </a:lnTo>
                <a:lnTo>
                  <a:pt x="524786" y="1077757"/>
                </a:lnTo>
                <a:cubicBezTo>
                  <a:pt x="521142" y="1074113"/>
                  <a:pt x="521142" y="1072291"/>
                  <a:pt x="519320" y="1068646"/>
                </a:cubicBezTo>
                <a:cubicBezTo>
                  <a:pt x="526609" y="1070469"/>
                  <a:pt x="533897" y="1083224"/>
                  <a:pt x="535719" y="1079579"/>
                </a:cubicBezTo>
                <a:cubicBezTo>
                  <a:pt x="537542" y="1070469"/>
                  <a:pt x="524786" y="1063180"/>
                  <a:pt x="512031" y="1054069"/>
                </a:cubicBezTo>
                <a:cubicBezTo>
                  <a:pt x="512031" y="1050425"/>
                  <a:pt x="512031" y="1050425"/>
                  <a:pt x="512031" y="1048602"/>
                </a:cubicBezTo>
                <a:cubicBezTo>
                  <a:pt x="517498" y="1052247"/>
                  <a:pt x="521142" y="1059535"/>
                  <a:pt x="530253" y="1061358"/>
                </a:cubicBezTo>
                <a:cubicBezTo>
                  <a:pt x="524786" y="1050425"/>
                  <a:pt x="517498" y="1043136"/>
                  <a:pt x="510209" y="1035847"/>
                </a:cubicBezTo>
                <a:cubicBezTo>
                  <a:pt x="521142" y="1043136"/>
                  <a:pt x="524786" y="1054069"/>
                  <a:pt x="533897" y="1063180"/>
                </a:cubicBezTo>
                <a:cubicBezTo>
                  <a:pt x="533897" y="1059535"/>
                  <a:pt x="532075" y="1059535"/>
                  <a:pt x="530253" y="1057713"/>
                </a:cubicBezTo>
                <a:lnTo>
                  <a:pt x="533897" y="1057713"/>
                </a:lnTo>
                <a:cubicBezTo>
                  <a:pt x="524786" y="1023092"/>
                  <a:pt x="471943" y="1013981"/>
                  <a:pt x="435500" y="993937"/>
                </a:cubicBezTo>
                <a:close/>
                <a:moveTo>
                  <a:pt x="289726" y="993937"/>
                </a:moveTo>
                <a:cubicBezTo>
                  <a:pt x="295193" y="997582"/>
                  <a:pt x="300660" y="1003047"/>
                  <a:pt x="306126" y="1004870"/>
                </a:cubicBezTo>
                <a:cubicBezTo>
                  <a:pt x="304303" y="997582"/>
                  <a:pt x="295193" y="990293"/>
                  <a:pt x="289726" y="993937"/>
                </a:cubicBezTo>
                <a:close/>
                <a:moveTo>
                  <a:pt x="85642" y="993937"/>
                </a:moveTo>
                <a:lnTo>
                  <a:pt x="95368" y="1002238"/>
                </a:lnTo>
                <a:lnTo>
                  <a:pt x="102042" y="1010337"/>
                </a:lnTo>
                <a:lnTo>
                  <a:pt x="94296" y="1004250"/>
                </a:lnTo>
                <a:close/>
                <a:moveTo>
                  <a:pt x="3247114" y="992115"/>
                </a:moveTo>
                <a:cubicBezTo>
                  <a:pt x="3247114" y="997582"/>
                  <a:pt x="3247114" y="1003047"/>
                  <a:pt x="3252581" y="1001226"/>
                </a:cubicBezTo>
                <a:cubicBezTo>
                  <a:pt x="3254403" y="997582"/>
                  <a:pt x="3250759" y="992115"/>
                  <a:pt x="3247114" y="992115"/>
                </a:cubicBezTo>
                <a:close/>
                <a:moveTo>
                  <a:pt x="3101340" y="992115"/>
                </a:moveTo>
                <a:cubicBezTo>
                  <a:pt x="3099518" y="995759"/>
                  <a:pt x="3103163" y="997582"/>
                  <a:pt x="3104985" y="1001226"/>
                </a:cubicBezTo>
                <a:cubicBezTo>
                  <a:pt x="3108629" y="1001226"/>
                  <a:pt x="3114096" y="1001226"/>
                  <a:pt x="3115918" y="999403"/>
                </a:cubicBezTo>
                <a:cubicBezTo>
                  <a:pt x="3117740" y="1003047"/>
                  <a:pt x="3123206" y="1003047"/>
                  <a:pt x="3125029" y="1004870"/>
                </a:cubicBezTo>
                <a:cubicBezTo>
                  <a:pt x="3130495" y="1004870"/>
                  <a:pt x="3126851" y="997582"/>
                  <a:pt x="3125029" y="997582"/>
                </a:cubicBezTo>
                <a:cubicBezTo>
                  <a:pt x="3115918" y="997582"/>
                  <a:pt x="3108629" y="995759"/>
                  <a:pt x="3101340" y="992115"/>
                </a:cubicBezTo>
                <a:close/>
                <a:moveTo>
                  <a:pt x="2591132" y="992115"/>
                </a:moveTo>
                <a:cubicBezTo>
                  <a:pt x="2592954" y="1003047"/>
                  <a:pt x="2591132" y="1013981"/>
                  <a:pt x="2605709" y="1015803"/>
                </a:cubicBezTo>
                <a:cubicBezTo>
                  <a:pt x="2607531" y="1015803"/>
                  <a:pt x="2598421" y="1021270"/>
                  <a:pt x="2605709" y="1019448"/>
                </a:cubicBezTo>
                <a:cubicBezTo>
                  <a:pt x="2611176" y="1019448"/>
                  <a:pt x="2609353" y="1010337"/>
                  <a:pt x="2616642" y="1010337"/>
                </a:cubicBezTo>
                <a:cubicBezTo>
                  <a:pt x="2607531" y="1006692"/>
                  <a:pt x="2602065" y="997582"/>
                  <a:pt x="2591132" y="992115"/>
                </a:cubicBezTo>
                <a:close/>
                <a:moveTo>
                  <a:pt x="1182592" y="992115"/>
                </a:moveTo>
                <a:cubicBezTo>
                  <a:pt x="1182592" y="993937"/>
                  <a:pt x="1186236" y="997582"/>
                  <a:pt x="1189880" y="1001226"/>
                </a:cubicBezTo>
                <a:cubicBezTo>
                  <a:pt x="1189880" y="999403"/>
                  <a:pt x="1188058" y="1001226"/>
                  <a:pt x="1186236" y="999403"/>
                </a:cubicBezTo>
                <a:cubicBezTo>
                  <a:pt x="1184414" y="999403"/>
                  <a:pt x="1184414" y="999403"/>
                  <a:pt x="1182592" y="1001226"/>
                </a:cubicBezTo>
                <a:cubicBezTo>
                  <a:pt x="1184414" y="997582"/>
                  <a:pt x="1180769" y="995759"/>
                  <a:pt x="1182592" y="992115"/>
                </a:cubicBezTo>
                <a:close/>
                <a:moveTo>
                  <a:pt x="1089660" y="992115"/>
                </a:moveTo>
                <a:cubicBezTo>
                  <a:pt x="1091484" y="995759"/>
                  <a:pt x="1086016" y="997582"/>
                  <a:pt x="1086016" y="997582"/>
                </a:cubicBezTo>
                <a:cubicBezTo>
                  <a:pt x="1089660" y="1003047"/>
                  <a:pt x="1095127" y="1001226"/>
                  <a:pt x="1100593" y="999403"/>
                </a:cubicBezTo>
                <a:cubicBezTo>
                  <a:pt x="1098771" y="995759"/>
                  <a:pt x="1093305" y="995759"/>
                  <a:pt x="1089660" y="992115"/>
                </a:cubicBezTo>
                <a:close/>
                <a:moveTo>
                  <a:pt x="1073262" y="992115"/>
                </a:moveTo>
                <a:cubicBezTo>
                  <a:pt x="1075083" y="993937"/>
                  <a:pt x="1075083" y="995759"/>
                  <a:pt x="1076905" y="993937"/>
                </a:cubicBezTo>
                <a:cubicBezTo>
                  <a:pt x="1076905" y="995759"/>
                  <a:pt x="1076905" y="995759"/>
                  <a:pt x="1075083" y="997582"/>
                </a:cubicBezTo>
                <a:cubicBezTo>
                  <a:pt x="1076905" y="997582"/>
                  <a:pt x="1076905" y="999403"/>
                  <a:pt x="1078727" y="999403"/>
                </a:cubicBezTo>
                <a:cubicBezTo>
                  <a:pt x="1082373" y="997582"/>
                  <a:pt x="1075083" y="988471"/>
                  <a:pt x="1073262" y="992115"/>
                </a:cubicBezTo>
                <a:close/>
                <a:moveTo>
                  <a:pt x="570341" y="992115"/>
                </a:moveTo>
                <a:cubicBezTo>
                  <a:pt x="568519" y="999403"/>
                  <a:pt x="577630" y="1004870"/>
                  <a:pt x="584919" y="1006692"/>
                </a:cubicBezTo>
                <a:cubicBezTo>
                  <a:pt x="584919" y="999403"/>
                  <a:pt x="575808" y="995759"/>
                  <a:pt x="570341" y="992115"/>
                </a:cubicBezTo>
                <a:close/>
                <a:moveTo>
                  <a:pt x="318882" y="992115"/>
                </a:moveTo>
                <a:cubicBezTo>
                  <a:pt x="322525" y="992115"/>
                  <a:pt x="324347" y="997582"/>
                  <a:pt x="327993" y="999403"/>
                </a:cubicBezTo>
                <a:cubicBezTo>
                  <a:pt x="327993" y="997582"/>
                  <a:pt x="322525" y="990293"/>
                  <a:pt x="318882" y="992115"/>
                </a:cubicBezTo>
                <a:close/>
                <a:moveTo>
                  <a:pt x="302481" y="992115"/>
                </a:moveTo>
                <a:cubicBezTo>
                  <a:pt x="302481" y="992115"/>
                  <a:pt x="302481" y="993937"/>
                  <a:pt x="302481" y="993937"/>
                </a:cubicBezTo>
                <a:cubicBezTo>
                  <a:pt x="306126" y="997582"/>
                  <a:pt x="307948" y="999403"/>
                  <a:pt x="311592" y="1001226"/>
                </a:cubicBezTo>
                <a:cubicBezTo>
                  <a:pt x="309771" y="997582"/>
                  <a:pt x="306126" y="995759"/>
                  <a:pt x="302481" y="992115"/>
                </a:cubicBezTo>
                <a:close/>
                <a:moveTo>
                  <a:pt x="914804" y="992042"/>
                </a:moveTo>
                <a:lnTo>
                  <a:pt x="915187" y="992342"/>
                </a:lnTo>
                <a:lnTo>
                  <a:pt x="915306" y="992498"/>
                </a:lnTo>
                <a:lnTo>
                  <a:pt x="914732" y="992115"/>
                </a:lnTo>
                <a:close/>
                <a:moveTo>
                  <a:pt x="3265331" y="990349"/>
                </a:moveTo>
                <a:lnTo>
                  <a:pt x="3268753" y="992115"/>
                </a:lnTo>
                <a:cubicBezTo>
                  <a:pt x="3269436" y="996215"/>
                  <a:pt x="3268980" y="1002137"/>
                  <a:pt x="3268980" y="1006692"/>
                </a:cubicBezTo>
                <a:cubicBezTo>
                  <a:pt x="3265336" y="1005781"/>
                  <a:pt x="3264425" y="1003503"/>
                  <a:pt x="3264425" y="1000542"/>
                </a:cubicBezTo>
                <a:close/>
                <a:moveTo>
                  <a:pt x="3438443" y="990293"/>
                </a:moveTo>
                <a:cubicBezTo>
                  <a:pt x="3434798" y="988471"/>
                  <a:pt x="3436621" y="997582"/>
                  <a:pt x="3434798" y="993937"/>
                </a:cubicBezTo>
                <a:cubicBezTo>
                  <a:pt x="3434798" y="995759"/>
                  <a:pt x="3434798" y="997582"/>
                  <a:pt x="3427510" y="997582"/>
                </a:cubicBezTo>
                <a:cubicBezTo>
                  <a:pt x="3431154" y="1004870"/>
                  <a:pt x="3436621" y="1004870"/>
                  <a:pt x="3445731" y="1004870"/>
                </a:cubicBezTo>
                <a:cubicBezTo>
                  <a:pt x="3447553" y="995759"/>
                  <a:pt x="3440265" y="995759"/>
                  <a:pt x="3438443" y="990293"/>
                </a:cubicBezTo>
                <a:close/>
                <a:moveTo>
                  <a:pt x="3374666" y="990293"/>
                </a:moveTo>
                <a:cubicBezTo>
                  <a:pt x="3371022" y="995759"/>
                  <a:pt x="3360089" y="1003047"/>
                  <a:pt x="3367378" y="1006692"/>
                </a:cubicBezTo>
                <a:cubicBezTo>
                  <a:pt x="3380133" y="1006692"/>
                  <a:pt x="3389244" y="1006692"/>
                  <a:pt x="3381955" y="1001226"/>
                </a:cubicBezTo>
                <a:cubicBezTo>
                  <a:pt x="3380133" y="1001226"/>
                  <a:pt x="3378311" y="1003047"/>
                  <a:pt x="3378311" y="1003047"/>
                </a:cubicBezTo>
                <a:cubicBezTo>
                  <a:pt x="3378311" y="997582"/>
                  <a:pt x="3376489" y="993937"/>
                  <a:pt x="3374666" y="990293"/>
                </a:cubicBezTo>
                <a:close/>
                <a:moveTo>
                  <a:pt x="3265336" y="990293"/>
                </a:moveTo>
                <a:lnTo>
                  <a:pt x="3265331" y="990349"/>
                </a:lnTo>
                <a:lnTo>
                  <a:pt x="3265267" y="990316"/>
                </a:lnTo>
                <a:close/>
                <a:moveTo>
                  <a:pt x="2931878" y="990293"/>
                </a:moveTo>
                <a:cubicBezTo>
                  <a:pt x="2939167" y="993937"/>
                  <a:pt x="2951922" y="999403"/>
                  <a:pt x="2959211" y="997582"/>
                </a:cubicBezTo>
                <a:cubicBezTo>
                  <a:pt x="2953744" y="992115"/>
                  <a:pt x="2940989" y="988471"/>
                  <a:pt x="2931878" y="990293"/>
                </a:cubicBezTo>
                <a:close/>
                <a:moveTo>
                  <a:pt x="854600" y="990293"/>
                </a:moveTo>
                <a:cubicBezTo>
                  <a:pt x="853689" y="991204"/>
                  <a:pt x="854144" y="992570"/>
                  <a:pt x="855055" y="994165"/>
                </a:cubicBezTo>
                <a:lnTo>
                  <a:pt x="858243" y="999403"/>
                </a:lnTo>
                <a:lnTo>
                  <a:pt x="854600" y="995759"/>
                </a:lnTo>
                <a:cubicBezTo>
                  <a:pt x="856422" y="1001226"/>
                  <a:pt x="854600" y="997582"/>
                  <a:pt x="850956" y="1001226"/>
                </a:cubicBezTo>
                <a:lnTo>
                  <a:pt x="852778" y="1003047"/>
                </a:lnTo>
                <a:lnTo>
                  <a:pt x="849133" y="1006692"/>
                </a:lnTo>
                <a:cubicBezTo>
                  <a:pt x="849133" y="1008515"/>
                  <a:pt x="852778" y="1008515"/>
                  <a:pt x="854600" y="1006692"/>
                </a:cubicBezTo>
                <a:lnTo>
                  <a:pt x="852778" y="1003048"/>
                </a:lnTo>
                <a:lnTo>
                  <a:pt x="856422" y="1006692"/>
                </a:lnTo>
                <a:cubicBezTo>
                  <a:pt x="860066" y="1004870"/>
                  <a:pt x="858244" y="1003047"/>
                  <a:pt x="860066" y="1001226"/>
                </a:cubicBezTo>
                <a:lnTo>
                  <a:pt x="858244" y="999403"/>
                </a:lnTo>
                <a:lnTo>
                  <a:pt x="859838" y="993481"/>
                </a:lnTo>
                <a:cubicBezTo>
                  <a:pt x="859155" y="991659"/>
                  <a:pt x="857333" y="990293"/>
                  <a:pt x="854600" y="990293"/>
                </a:cubicBezTo>
                <a:close/>
                <a:moveTo>
                  <a:pt x="340747" y="990293"/>
                </a:moveTo>
                <a:cubicBezTo>
                  <a:pt x="340747" y="993937"/>
                  <a:pt x="340747" y="997582"/>
                  <a:pt x="348037" y="1001226"/>
                </a:cubicBezTo>
                <a:cubicBezTo>
                  <a:pt x="340747" y="995759"/>
                  <a:pt x="351680" y="999403"/>
                  <a:pt x="349858" y="997582"/>
                </a:cubicBezTo>
                <a:cubicBezTo>
                  <a:pt x="346213" y="995759"/>
                  <a:pt x="346213" y="993937"/>
                  <a:pt x="340747" y="990293"/>
                </a:cubicBezTo>
                <a:close/>
                <a:moveTo>
                  <a:pt x="76532" y="990293"/>
                </a:moveTo>
                <a:lnTo>
                  <a:pt x="94296" y="1004250"/>
                </a:lnTo>
                <a:lnTo>
                  <a:pt x="102270" y="1013753"/>
                </a:lnTo>
                <a:lnTo>
                  <a:pt x="104342" y="1015878"/>
                </a:lnTo>
                <a:close/>
                <a:moveTo>
                  <a:pt x="1392161" y="990006"/>
                </a:moveTo>
                <a:lnTo>
                  <a:pt x="1392141" y="990293"/>
                </a:lnTo>
                <a:lnTo>
                  <a:pt x="1391796" y="990687"/>
                </a:lnTo>
                <a:close/>
                <a:moveTo>
                  <a:pt x="69248" y="988520"/>
                </a:moveTo>
                <a:lnTo>
                  <a:pt x="74709" y="993982"/>
                </a:lnTo>
                <a:lnTo>
                  <a:pt x="69254" y="988527"/>
                </a:lnTo>
                <a:close/>
                <a:moveTo>
                  <a:pt x="3041209" y="988471"/>
                </a:moveTo>
                <a:cubicBezTo>
                  <a:pt x="3039387" y="990293"/>
                  <a:pt x="3030276" y="992115"/>
                  <a:pt x="3035742" y="997582"/>
                </a:cubicBezTo>
                <a:cubicBezTo>
                  <a:pt x="3037564" y="993937"/>
                  <a:pt x="3044853" y="990293"/>
                  <a:pt x="3052142" y="992115"/>
                </a:cubicBezTo>
                <a:cubicBezTo>
                  <a:pt x="3052142" y="988471"/>
                  <a:pt x="3044853" y="988471"/>
                  <a:pt x="3041209" y="988471"/>
                </a:cubicBezTo>
                <a:close/>
                <a:moveTo>
                  <a:pt x="2576554" y="988471"/>
                </a:moveTo>
                <a:cubicBezTo>
                  <a:pt x="2569266" y="990293"/>
                  <a:pt x="2561977" y="992115"/>
                  <a:pt x="2554688" y="993937"/>
                </a:cubicBezTo>
                <a:cubicBezTo>
                  <a:pt x="2554688" y="997582"/>
                  <a:pt x="2558332" y="997582"/>
                  <a:pt x="2558332" y="1003047"/>
                </a:cubicBezTo>
                <a:cubicBezTo>
                  <a:pt x="2552866" y="992115"/>
                  <a:pt x="2543755" y="995759"/>
                  <a:pt x="2534644" y="999403"/>
                </a:cubicBezTo>
                <a:cubicBezTo>
                  <a:pt x="2538289" y="1006692"/>
                  <a:pt x="2531000" y="1004870"/>
                  <a:pt x="2532822" y="1010337"/>
                </a:cubicBezTo>
                <a:cubicBezTo>
                  <a:pt x="2525534" y="1010337"/>
                  <a:pt x="2534644" y="1001226"/>
                  <a:pt x="2525534" y="1003047"/>
                </a:cubicBezTo>
                <a:cubicBezTo>
                  <a:pt x="2527356" y="1010337"/>
                  <a:pt x="2527356" y="1017625"/>
                  <a:pt x="2525534" y="1019448"/>
                </a:cubicBezTo>
                <a:cubicBezTo>
                  <a:pt x="2521889" y="1023092"/>
                  <a:pt x="2516423" y="1015803"/>
                  <a:pt x="2516423" y="1023092"/>
                </a:cubicBezTo>
                <a:cubicBezTo>
                  <a:pt x="2512778" y="1021270"/>
                  <a:pt x="2516423" y="1015803"/>
                  <a:pt x="2514600" y="1013981"/>
                </a:cubicBezTo>
                <a:cubicBezTo>
                  <a:pt x="2505490" y="1004870"/>
                  <a:pt x="2496379" y="1017625"/>
                  <a:pt x="2494556" y="1024914"/>
                </a:cubicBezTo>
                <a:cubicBezTo>
                  <a:pt x="2492734" y="1026736"/>
                  <a:pt x="2492734" y="1034025"/>
                  <a:pt x="2498201" y="1034025"/>
                </a:cubicBezTo>
                <a:cubicBezTo>
                  <a:pt x="2503667" y="1034025"/>
                  <a:pt x="2503667" y="1026736"/>
                  <a:pt x="2505490" y="1023092"/>
                </a:cubicBezTo>
                <a:cubicBezTo>
                  <a:pt x="2512778" y="1028559"/>
                  <a:pt x="2501845" y="1035847"/>
                  <a:pt x="2503667" y="1041314"/>
                </a:cubicBezTo>
                <a:cubicBezTo>
                  <a:pt x="2507312" y="1057713"/>
                  <a:pt x="2512778" y="1077757"/>
                  <a:pt x="2534644" y="1085046"/>
                </a:cubicBezTo>
                <a:cubicBezTo>
                  <a:pt x="2532822" y="1086868"/>
                  <a:pt x="2531000" y="1088690"/>
                  <a:pt x="2532822" y="1090512"/>
                </a:cubicBezTo>
                <a:cubicBezTo>
                  <a:pt x="2538289" y="1090512"/>
                  <a:pt x="2541933" y="1085046"/>
                  <a:pt x="2541933" y="1079579"/>
                </a:cubicBezTo>
                <a:cubicBezTo>
                  <a:pt x="2545577" y="1083224"/>
                  <a:pt x="2551044" y="1083224"/>
                  <a:pt x="2549222" y="1090512"/>
                </a:cubicBezTo>
                <a:lnTo>
                  <a:pt x="2566781" y="1085093"/>
                </a:lnTo>
                <a:lnTo>
                  <a:pt x="2561322" y="1091252"/>
                </a:lnTo>
                <a:cubicBezTo>
                  <a:pt x="2557080" y="1093815"/>
                  <a:pt x="2551500" y="1095068"/>
                  <a:pt x="2543755" y="1094157"/>
                </a:cubicBezTo>
                <a:cubicBezTo>
                  <a:pt x="2545577" y="1099623"/>
                  <a:pt x="2541933" y="1099623"/>
                  <a:pt x="2540111" y="1101445"/>
                </a:cubicBezTo>
                <a:cubicBezTo>
                  <a:pt x="2540111" y="1106912"/>
                  <a:pt x="2541933" y="1112378"/>
                  <a:pt x="2541933" y="1117845"/>
                </a:cubicBezTo>
                <a:cubicBezTo>
                  <a:pt x="2549222" y="1116023"/>
                  <a:pt x="2545577" y="1117845"/>
                  <a:pt x="2545577" y="1123312"/>
                </a:cubicBezTo>
                <a:cubicBezTo>
                  <a:pt x="2552866" y="1125134"/>
                  <a:pt x="2549222" y="1117845"/>
                  <a:pt x="2554688" y="1117845"/>
                </a:cubicBezTo>
                <a:cubicBezTo>
                  <a:pt x="2552866" y="1114201"/>
                  <a:pt x="2551044" y="1108734"/>
                  <a:pt x="2551044" y="1103268"/>
                </a:cubicBezTo>
                <a:cubicBezTo>
                  <a:pt x="2556510" y="1103268"/>
                  <a:pt x="2554688" y="1110556"/>
                  <a:pt x="2558332" y="1110556"/>
                </a:cubicBezTo>
                <a:cubicBezTo>
                  <a:pt x="2561977" y="1112378"/>
                  <a:pt x="2565621" y="1105090"/>
                  <a:pt x="2560155" y="1106912"/>
                </a:cubicBezTo>
                <a:cubicBezTo>
                  <a:pt x="2560155" y="1103268"/>
                  <a:pt x="2561977" y="1108734"/>
                  <a:pt x="2565621" y="1106912"/>
                </a:cubicBezTo>
                <a:cubicBezTo>
                  <a:pt x="2569266" y="1094157"/>
                  <a:pt x="2587487" y="1097801"/>
                  <a:pt x="2585665" y="1081402"/>
                </a:cubicBezTo>
                <a:cubicBezTo>
                  <a:pt x="2598421" y="1083224"/>
                  <a:pt x="2605709" y="1063180"/>
                  <a:pt x="2616642" y="1055891"/>
                </a:cubicBezTo>
                <a:cubicBezTo>
                  <a:pt x="2616642" y="1052247"/>
                  <a:pt x="2614820" y="1052247"/>
                  <a:pt x="2614820" y="1050425"/>
                </a:cubicBezTo>
                <a:cubicBezTo>
                  <a:pt x="2609353" y="1050425"/>
                  <a:pt x="2605709" y="1054069"/>
                  <a:pt x="2605709" y="1059535"/>
                </a:cubicBezTo>
                <a:cubicBezTo>
                  <a:pt x="2603887" y="1057713"/>
                  <a:pt x="2602065" y="1054069"/>
                  <a:pt x="2600243" y="1052247"/>
                </a:cubicBezTo>
                <a:cubicBezTo>
                  <a:pt x="2596598" y="1055891"/>
                  <a:pt x="2592954" y="1063180"/>
                  <a:pt x="2585665" y="1055891"/>
                </a:cubicBezTo>
                <a:cubicBezTo>
                  <a:pt x="2578377" y="1061357"/>
                  <a:pt x="2575643" y="1071835"/>
                  <a:pt x="2570860" y="1080490"/>
                </a:cubicBezTo>
                <a:lnTo>
                  <a:pt x="2568485" y="1083171"/>
                </a:lnTo>
                <a:lnTo>
                  <a:pt x="2576554" y="1066824"/>
                </a:lnTo>
                <a:cubicBezTo>
                  <a:pt x="2574732" y="1061358"/>
                  <a:pt x="2569266" y="1061358"/>
                  <a:pt x="2567443" y="1055891"/>
                </a:cubicBezTo>
                <a:cubicBezTo>
                  <a:pt x="2571088" y="1054069"/>
                  <a:pt x="2572910" y="1057713"/>
                  <a:pt x="2578377" y="1057713"/>
                </a:cubicBezTo>
                <a:cubicBezTo>
                  <a:pt x="2576554" y="1046780"/>
                  <a:pt x="2583843" y="1039492"/>
                  <a:pt x="2580199" y="1030381"/>
                </a:cubicBezTo>
                <a:cubicBezTo>
                  <a:pt x="2578377" y="1030381"/>
                  <a:pt x="2578377" y="1026736"/>
                  <a:pt x="2574732" y="1028559"/>
                </a:cubicBezTo>
                <a:cubicBezTo>
                  <a:pt x="2572910" y="1021270"/>
                  <a:pt x="2578377" y="1021270"/>
                  <a:pt x="2576554" y="1013981"/>
                </a:cubicBezTo>
                <a:cubicBezTo>
                  <a:pt x="2582021" y="1013981"/>
                  <a:pt x="2580199" y="1021270"/>
                  <a:pt x="2585665" y="1021270"/>
                </a:cubicBezTo>
                <a:cubicBezTo>
                  <a:pt x="2580199" y="1008515"/>
                  <a:pt x="2591132" y="1004870"/>
                  <a:pt x="2587487" y="990293"/>
                </a:cubicBezTo>
                <a:cubicBezTo>
                  <a:pt x="2585665" y="990293"/>
                  <a:pt x="2585665" y="986649"/>
                  <a:pt x="2582021" y="988471"/>
                </a:cubicBezTo>
                <a:cubicBezTo>
                  <a:pt x="2582021" y="995759"/>
                  <a:pt x="2582021" y="990293"/>
                  <a:pt x="2578377" y="990293"/>
                </a:cubicBezTo>
                <a:cubicBezTo>
                  <a:pt x="2580199" y="993937"/>
                  <a:pt x="2576554" y="993937"/>
                  <a:pt x="2578377" y="997582"/>
                </a:cubicBezTo>
                <a:cubicBezTo>
                  <a:pt x="2574732" y="993937"/>
                  <a:pt x="2578377" y="992115"/>
                  <a:pt x="2576554" y="988471"/>
                </a:cubicBezTo>
                <a:close/>
                <a:moveTo>
                  <a:pt x="1264589" y="988471"/>
                </a:moveTo>
                <a:cubicBezTo>
                  <a:pt x="1268233" y="986649"/>
                  <a:pt x="1264589" y="990293"/>
                  <a:pt x="1268233" y="990293"/>
                </a:cubicBezTo>
                <a:lnTo>
                  <a:pt x="1260074" y="998849"/>
                </a:lnTo>
                <a:lnTo>
                  <a:pt x="1259943" y="998766"/>
                </a:lnTo>
                <a:lnTo>
                  <a:pt x="1260261" y="997809"/>
                </a:lnTo>
                <a:cubicBezTo>
                  <a:pt x="1259578" y="996670"/>
                  <a:pt x="1258211" y="995759"/>
                  <a:pt x="1257300" y="995759"/>
                </a:cubicBezTo>
                <a:cubicBezTo>
                  <a:pt x="1259123" y="993937"/>
                  <a:pt x="1268233" y="992115"/>
                  <a:pt x="1264589" y="988471"/>
                </a:cubicBezTo>
                <a:close/>
                <a:moveTo>
                  <a:pt x="1058683" y="988471"/>
                </a:moveTo>
                <a:cubicBezTo>
                  <a:pt x="1058683" y="990293"/>
                  <a:pt x="1056861" y="990293"/>
                  <a:pt x="1055040" y="992115"/>
                </a:cubicBezTo>
                <a:cubicBezTo>
                  <a:pt x="1056861" y="993937"/>
                  <a:pt x="1060506" y="990293"/>
                  <a:pt x="1058683" y="988471"/>
                </a:cubicBezTo>
                <a:close/>
                <a:moveTo>
                  <a:pt x="900154" y="988471"/>
                </a:moveTo>
                <a:cubicBezTo>
                  <a:pt x="892866" y="990293"/>
                  <a:pt x="887399" y="995759"/>
                  <a:pt x="881933" y="1001226"/>
                </a:cubicBezTo>
                <a:cubicBezTo>
                  <a:pt x="883755" y="1004870"/>
                  <a:pt x="885577" y="1010337"/>
                  <a:pt x="887399" y="1013981"/>
                </a:cubicBezTo>
                <a:cubicBezTo>
                  <a:pt x="887399" y="1012159"/>
                  <a:pt x="889222" y="1012159"/>
                  <a:pt x="889222" y="1010337"/>
                </a:cubicBezTo>
                <a:cubicBezTo>
                  <a:pt x="891043" y="1010337"/>
                  <a:pt x="887399" y="1015803"/>
                  <a:pt x="887399" y="1019448"/>
                </a:cubicBezTo>
                <a:cubicBezTo>
                  <a:pt x="891043" y="1023092"/>
                  <a:pt x="894688" y="1026736"/>
                  <a:pt x="898333" y="1028559"/>
                </a:cubicBezTo>
                <a:cubicBezTo>
                  <a:pt x="900154" y="1026736"/>
                  <a:pt x="898333" y="1024914"/>
                  <a:pt x="900154" y="1023092"/>
                </a:cubicBezTo>
                <a:cubicBezTo>
                  <a:pt x="901976" y="1024914"/>
                  <a:pt x="900154" y="1024914"/>
                  <a:pt x="901976" y="1026736"/>
                </a:cubicBezTo>
                <a:cubicBezTo>
                  <a:pt x="905621" y="1023092"/>
                  <a:pt x="903799" y="1021270"/>
                  <a:pt x="905621" y="1017625"/>
                </a:cubicBezTo>
                <a:cubicBezTo>
                  <a:pt x="903799" y="1015803"/>
                  <a:pt x="903799" y="1017625"/>
                  <a:pt x="901976" y="1015803"/>
                </a:cubicBezTo>
                <a:cubicBezTo>
                  <a:pt x="900154" y="1013981"/>
                  <a:pt x="901976" y="1012159"/>
                  <a:pt x="900154" y="1010337"/>
                </a:cubicBezTo>
                <a:cubicBezTo>
                  <a:pt x="901976" y="1010337"/>
                  <a:pt x="901976" y="1013981"/>
                  <a:pt x="903799" y="1015803"/>
                </a:cubicBezTo>
                <a:cubicBezTo>
                  <a:pt x="907444" y="1013981"/>
                  <a:pt x="903799" y="1012159"/>
                  <a:pt x="905621" y="1010337"/>
                </a:cubicBezTo>
                <a:cubicBezTo>
                  <a:pt x="907444" y="1012159"/>
                  <a:pt x="905621" y="1013981"/>
                  <a:pt x="907444" y="1015803"/>
                </a:cubicBezTo>
                <a:cubicBezTo>
                  <a:pt x="911087" y="1013981"/>
                  <a:pt x="907444" y="1019448"/>
                  <a:pt x="911087" y="1019448"/>
                </a:cubicBezTo>
                <a:lnTo>
                  <a:pt x="911475" y="1013827"/>
                </a:lnTo>
                <a:lnTo>
                  <a:pt x="912909" y="1026736"/>
                </a:lnTo>
                <a:cubicBezTo>
                  <a:pt x="916555" y="1023092"/>
                  <a:pt x="914732" y="1021270"/>
                  <a:pt x="918376" y="1017625"/>
                </a:cubicBezTo>
                <a:cubicBezTo>
                  <a:pt x="916555" y="1013981"/>
                  <a:pt x="918376" y="1010337"/>
                  <a:pt x="912909" y="1006692"/>
                </a:cubicBezTo>
                <a:cubicBezTo>
                  <a:pt x="911087" y="1008515"/>
                  <a:pt x="911087" y="1010337"/>
                  <a:pt x="912909" y="1012159"/>
                </a:cubicBezTo>
                <a:cubicBezTo>
                  <a:pt x="912909" y="1012159"/>
                  <a:pt x="911087" y="1010337"/>
                  <a:pt x="911087" y="1010337"/>
                </a:cubicBezTo>
                <a:lnTo>
                  <a:pt x="911253" y="1011825"/>
                </a:lnTo>
                <a:lnTo>
                  <a:pt x="909720" y="1006464"/>
                </a:lnTo>
                <a:lnTo>
                  <a:pt x="912909" y="1004870"/>
                </a:lnTo>
                <a:cubicBezTo>
                  <a:pt x="912909" y="1001226"/>
                  <a:pt x="912909" y="999403"/>
                  <a:pt x="911087" y="997582"/>
                </a:cubicBezTo>
                <a:lnTo>
                  <a:pt x="909479" y="1005620"/>
                </a:lnTo>
                <a:lnTo>
                  <a:pt x="909265" y="1004870"/>
                </a:lnTo>
                <a:cubicBezTo>
                  <a:pt x="907444" y="1004870"/>
                  <a:pt x="907444" y="1004870"/>
                  <a:pt x="905621" y="1006692"/>
                </a:cubicBezTo>
                <a:cubicBezTo>
                  <a:pt x="903799" y="999403"/>
                  <a:pt x="905621" y="993937"/>
                  <a:pt x="900154" y="988471"/>
                </a:cubicBezTo>
                <a:close/>
                <a:moveTo>
                  <a:pt x="708826" y="988471"/>
                </a:moveTo>
                <a:cubicBezTo>
                  <a:pt x="707004" y="988471"/>
                  <a:pt x="705182" y="990293"/>
                  <a:pt x="705182" y="992115"/>
                </a:cubicBezTo>
                <a:cubicBezTo>
                  <a:pt x="708826" y="993937"/>
                  <a:pt x="710648" y="993937"/>
                  <a:pt x="712470" y="995759"/>
                </a:cubicBezTo>
                <a:cubicBezTo>
                  <a:pt x="714293" y="993937"/>
                  <a:pt x="710648" y="990293"/>
                  <a:pt x="708826" y="988471"/>
                </a:cubicBezTo>
                <a:close/>
                <a:moveTo>
                  <a:pt x="685138" y="988471"/>
                </a:moveTo>
                <a:cubicBezTo>
                  <a:pt x="679671" y="993937"/>
                  <a:pt x="688782" y="992115"/>
                  <a:pt x="692426" y="990293"/>
                </a:cubicBezTo>
                <a:cubicBezTo>
                  <a:pt x="690604" y="990293"/>
                  <a:pt x="686960" y="988471"/>
                  <a:pt x="685138" y="988471"/>
                </a:cubicBezTo>
                <a:close/>
                <a:moveTo>
                  <a:pt x="395412" y="988471"/>
                </a:moveTo>
                <a:cubicBezTo>
                  <a:pt x="388123" y="988471"/>
                  <a:pt x="382657" y="992115"/>
                  <a:pt x="380835" y="999403"/>
                </a:cubicBezTo>
                <a:cubicBezTo>
                  <a:pt x="386301" y="1006692"/>
                  <a:pt x="388123" y="1015803"/>
                  <a:pt x="399056" y="1013981"/>
                </a:cubicBezTo>
                <a:cubicBezTo>
                  <a:pt x="397234" y="1012159"/>
                  <a:pt x="395412" y="1012159"/>
                  <a:pt x="397234" y="1010337"/>
                </a:cubicBezTo>
                <a:cubicBezTo>
                  <a:pt x="406345" y="1017625"/>
                  <a:pt x="419100" y="1021270"/>
                  <a:pt x="426389" y="1030381"/>
                </a:cubicBezTo>
                <a:cubicBezTo>
                  <a:pt x="422745" y="1013981"/>
                  <a:pt x="406345" y="1001226"/>
                  <a:pt x="395412" y="988471"/>
                </a:cubicBezTo>
                <a:close/>
                <a:moveTo>
                  <a:pt x="377190" y="988471"/>
                </a:moveTo>
                <a:cubicBezTo>
                  <a:pt x="375368" y="990293"/>
                  <a:pt x="380835" y="993937"/>
                  <a:pt x="380835" y="990293"/>
                </a:cubicBezTo>
                <a:cubicBezTo>
                  <a:pt x="379012" y="988471"/>
                  <a:pt x="379012" y="988471"/>
                  <a:pt x="377190" y="988471"/>
                </a:cubicBezTo>
                <a:close/>
                <a:moveTo>
                  <a:pt x="371724" y="988471"/>
                </a:moveTo>
                <a:cubicBezTo>
                  <a:pt x="371724" y="988471"/>
                  <a:pt x="369902" y="988471"/>
                  <a:pt x="368079" y="990293"/>
                </a:cubicBezTo>
                <a:cubicBezTo>
                  <a:pt x="369902" y="995759"/>
                  <a:pt x="371724" y="992115"/>
                  <a:pt x="375368" y="993937"/>
                </a:cubicBezTo>
                <a:cubicBezTo>
                  <a:pt x="375368" y="992115"/>
                  <a:pt x="371724" y="990293"/>
                  <a:pt x="371724" y="988471"/>
                </a:cubicBezTo>
                <a:close/>
                <a:moveTo>
                  <a:pt x="287904" y="988471"/>
                </a:moveTo>
                <a:cubicBezTo>
                  <a:pt x="284259" y="990293"/>
                  <a:pt x="295193" y="992115"/>
                  <a:pt x="291549" y="990293"/>
                </a:cubicBezTo>
                <a:cubicBezTo>
                  <a:pt x="291549" y="992115"/>
                  <a:pt x="289726" y="990293"/>
                  <a:pt x="287904" y="988471"/>
                </a:cubicBezTo>
                <a:close/>
                <a:moveTo>
                  <a:pt x="251460" y="988471"/>
                </a:moveTo>
                <a:cubicBezTo>
                  <a:pt x="258749" y="1001226"/>
                  <a:pt x="264216" y="1012159"/>
                  <a:pt x="278793" y="1019448"/>
                </a:cubicBezTo>
                <a:cubicBezTo>
                  <a:pt x="282438" y="1019448"/>
                  <a:pt x="278793" y="1015803"/>
                  <a:pt x="276971" y="1013981"/>
                </a:cubicBezTo>
                <a:cubicBezTo>
                  <a:pt x="278793" y="1012159"/>
                  <a:pt x="273327" y="1008515"/>
                  <a:pt x="273327" y="1010337"/>
                </a:cubicBezTo>
                <a:cubicBezTo>
                  <a:pt x="267860" y="1001226"/>
                  <a:pt x="262393" y="992115"/>
                  <a:pt x="251460" y="988471"/>
                </a:cubicBezTo>
                <a:close/>
                <a:moveTo>
                  <a:pt x="240527" y="988471"/>
                </a:moveTo>
                <a:cubicBezTo>
                  <a:pt x="238705" y="992115"/>
                  <a:pt x="245994" y="993937"/>
                  <a:pt x="247816" y="997582"/>
                </a:cubicBezTo>
                <a:cubicBezTo>
                  <a:pt x="245994" y="993937"/>
                  <a:pt x="240527" y="988471"/>
                  <a:pt x="240527" y="988471"/>
                </a:cubicBezTo>
                <a:close/>
                <a:moveTo>
                  <a:pt x="2295682" y="987133"/>
                </a:moveTo>
                <a:lnTo>
                  <a:pt x="2288439" y="994190"/>
                </a:lnTo>
                <a:lnTo>
                  <a:pt x="2291157" y="989609"/>
                </a:lnTo>
                <a:close/>
                <a:moveTo>
                  <a:pt x="3070363" y="986649"/>
                </a:moveTo>
                <a:cubicBezTo>
                  <a:pt x="3070363" y="988471"/>
                  <a:pt x="3072186" y="990293"/>
                  <a:pt x="3075830" y="990293"/>
                </a:cubicBezTo>
                <a:lnTo>
                  <a:pt x="3075830" y="986649"/>
                </a:lnTo>
                <a:cubicBezTo>
                  <a:pt x="3074008" y="986649"/>
                  <a:pt x="3072186" y="988471"/>
                  <a:pt x="3070363" y="986649"/>
                </a:cubicBezTo>
                <a:close/>
                <a:moveTo>
                  <a:pt x="3052142" y="986649"/>
                </a:moveTo>
                <a:cubicBezTo>
                  <a:pt x="3055786" y="992115"/>
                  <a:pt x="3059430" y="995759"/>
                  <a:pt x="3057608" y="1003047"/>
                </a:cubicBezTo>
                <a:cubicBezTo>
                  <a:pt x="3063075" y="995759"/>
                  <a:pt x="3064897" y="1004870"/>
                  <a:pt x="3066719" y="1006692"/>
                </a:cubicBezTo>
                <a:cubicBezTo>
                  <a:pt x="3066719" y="997582"/>
                  <a:pt x="3061253" y="983004"/>
                  <a:pt x="3052142" y="986649"/>
                </a:cubicBezTo>
                <a:close/>
                <a:moveTo>
                  <a:pt x="2592954" y="986649"/>
                </a:moveTo>
                <a:cubicBezTo>
                  <a:pt x="2596598" y="993937"/>
                  <a:pt x="2603887" y="997582"/>
                  <a:pt x="2609353" y="999403"/>
                </a:cubicBezTo>
                <a:cubicBezTo>
                  <a:pt x="2605709" y="992115"/>
                  <a:pt x="2602065" y="986649"/>
                  <a:pt x="2592954" y="986649"/>
                </a:cubicBezTo>
                <a:close/>
                <a:moveTo>
                  <a:pt x="1393963" y="986649"/>
                </a:moveTo>
                <a:lnTo>
                  <a:pt x="1392161" y="990006"/>
                </a:lnTo>
                <a:lnTo>
                  <a:pt x="1392369" y="987104"/>
                </a:lnTo>
                <a:cubicBezTo>
                  <a:pt x="1392596" y="985737"/>
                  <a:pt x="1393052" y="984826"/>
                  <a:pt x="1393963" y="986649"/>
                </a:cubicBezTo>
                <a:close/>
                <a:moveTo>
                  <a:pt x="1240901" y="986649"/>
                </a:moveTo>
                <a:lnTo>
                  <a:pt x="1255071" y="995665"/>
                </a:lnTo>
                <a:lnTo>
                  <a:pt x="1247507" y="993937"/>
                </a:lnTo>
                <a:cubicBezTo>
                  <a:pt x="1245001" y="992115"/>
                  <a:pt x="1242723" y="989382"/>
                  <a:pt x="1240901" y="986649"/>
                </a:cubicBezTo>
                <a:close/>
                <a:moveTo>
                  <a:pt x="355324" y="986649"/>
                </a:moveTo>
                <a:cubicBezTo>
                  <a:pt x="353502" y="993937"/>
                  <a:pt x="360791" y="992115"/>
                  <a:pt x="362613" y="992115"/>
                </a:cubicBezTo>
                <a:cubicBezTo>
                  <a:pt x="362613" y="990293"/>
                  <a:pt x="360791" y="988471"/>
                  <a:pt x="358969" y="986649"/>
                </a:cubicBezTo>
                <a:cubicBezTo>
                  <a:pt x="357146" y="988471"/>
                  <a:pt x="357146" y="988471"/>
                  <a:pt x="355324" y="986649"/>
                </a:cubicBezTo>
                <a:close/>
                <a:moveTo>
                  <a:pt x="244172" y="986649"/>
                </a:moveTo>
                <a:cubicBezTo>
                  <a:pt x="245994" y="990293"/>
                  <a:pt x="245994" y="986649"/>
                  <a:pt x="249638" y="988471"/>
                </a:cubicBezTo>
                <a:cubicBezTo>
                  <a:pt x="249638" y="990293"/>
                  <a:pt x="244172" y="988471"/>
                  <a:pt x="244172" y="986649"/>
                </a:cubicBezTo>
                <a:close/>
                <a:moveTo>
                  <a:pt x="191329" y="986649"/>
                </a:moveTo>
                <a:cubicBezTo>
                  <a:pt x="193151" y="988471"/>
                  <a:pt x="194973" y="986649"/>
                  <a:pt x="196795" y="990293"/>
                </a:cubicBezTo>
                <a:cubicBezTo>
                  <a:pt x="198617" y="990293"/>
                  <a:pt x="193151" y="983004"/>
                  <a:pt x="191329" y="986649"/>
                </a:cubicBezTo>
                <a:close/>
                <a:moveTo>
                  <a:pt x="3102252" y="985965"/>
                </a:moveTo>
                <a:cubicBezTo>
                  <a:pt x="3099974" y="986193"/>
                  <a:pt x="3097696" y="987560"/>
                  <a:pt x="3095874" y="988471"/>
                </a:cubicBezTo>
                <a:cubicBezTo>
                  <a:pt x="3099518" y="990293"/>
                  <a:pt x="3104985" y="992115"/>
                  <a:pt x="3108629" y="990293"/>
                </a:cubicBezTo>
                <a:cubicBezTo>
                  <a:pt x="3106807" y="986648"/>
                  <a:pt x="3104529" y="985737"/>
                  <a:pt x="3102252" y="985965"/>
                </a:cubicBezTo>
                <a:close/>
                <a:moveTo>
                  <a:pt x="3150539" y="984826"/>
                </a:moveTo>
                <a:cubicBezTo>
                  <a:pt x="3148717" y="986649"/>
                  <a:pt x="3150539" y="990293"/>
                  <a:pt x="3154184" y="993937"/>
                </a:cubicBezTo>
                <a:cubicBezTo>
                  <a:pt x="3148717" y="993937"/>
                  <a:pt x="3148717" y="984826"/>
                  <a:pt x="3146895" y="992115"/>
                </a:cubicBezTo>
                <a:cubicBezTo>
                  <a:pt x="3145073" y="995759"/>
                  <a:pt x="3147350" y="996670"/>
                  <a:pt x="3150312" y="997354"/>
                </a:cubicBezTo>
                <a:lnTo>
                  <a:pt x="3157547" y="1001081"/>
                </a:lnTo>
                <a:lnTo>
                  <a:pt x="3157640" y="1001430"/>
                </a:lnTo>
                <a:lnTo>
                  <a:pt x="3149628" y="1010109"/>
                </a:lnTo>
                <a:cubicBezTo>
                  <a:pt x="3149173" y="1013981"/>
                  <a:pt x="3150539" y="1018537"/>
                  <a:pt x="3152361" y="1023092"/>
                </a:cubicBezTo>
                <a:cubicBezTo>
                  <a:pt x="3154184" y="1019448"/>
                  <a:pt x="3150539" y="1015803"/>
                  <a:pt x="3154184" y="1010337"/>
                </a:cubicBezTo>
                <a:cubicBezTo>
                  <a:pt x="3159650" y="1012159"/>
                  <a:pt x="3154184" y="1019448"/>
                  <a:pt x="3157828" y="1019448"/>
                </a:cubicBezTo>
                <a:cubicBezTo>
                  <a:pt x="3163294" y="1021270"/>
                  <a:pt x="3156006" y="1013981"/>
                  <a:pt x="3159650" y="1012159"/>
                </a:cubicBezTo>
                <a:cubicBezTo>
                  <a:pt x="3159650" y="1012159"/>
                  <a:pt x="3161472" y="1013981"/>
                  <a:pt x="3161472" y="1015803"/>
                </a:cubicBezTo>
                <a:lnTo>
                  <a:pt x="3157640" y="1001430"/>
                </a:lnTo>
                <a:lnTo>
                  <a:pt x="3157828" y="1001226"/>
                </a:lnTo>
                <a:lnTo>
                  <a:pt x="3157547" y="1001081"/>
                </a:lnTo>
                <a:lnTo>
                  <a:pt x="3154184" y="988471"/>
                </a:lnTo>
                <a:cubicBezTo>
                  <a:pt x="3154184" y="986649"/>
                  <a:pt x="3159650" y="993937"/>
                  <a:pt x="3157828" y="986649"/>
                </a:cubicBezTo>
                <a:cubicBezTo>
                  <a:pt x="3157828" y="986649"/>
                  <a:pt x="3152361" y="983004"/>
                  <a:pt x="3150539" y="984826"/>
                </a:cubicBezTo>
                <a:close/>
                <a:moveTo>
                  <a:pt x="1082373" y="984826"/>
                </a:moveTo>
                <a:cubicBezTo>
                  <a:pt x="1080549" y="986649"/>
                  <a:pt x="1078727" y="986649"/>
                  <a:pt x="1076905" y="988471"/>
                </a:cubicBezTo>
                <a:cubicBezTo>
                  <a:pt x="1078727" y="990293"/>
                  <a:pt x="1080549" y="990293"/>
                  <a:pt x="1084194" y="988471"/>
                </a:cubicBezTo>
                <a:cubicBezTo>
                  <a:pt x="1082373" y="986649"/>
                  <a:pt x="1084194" y="986649"/>
                  <a:pt x="1082373" y="984826"/>
                </a:cubicBezTo>
                <a:close/>
                <a:moveTo>
                  <a:pt x="1076905" y="984826"/>
                </a:moveTo>
                <a:cubicBezTo>
                  <a:pt x="1076905" y="984826"/>
                  <a:pt x="1076905" y="984826"/>
                  <a:pt x="1078727" y="986649"/>
                </a:cubicBezTo>
                <a:cubicBezTo>
                  <a:pt x="1078727" y="986649"/>
                  <a:pt x="1080549" y="984826"/>
                  <a:pt x="1080549" y="984826"/>
                </a:cubicBezTo>
                <a:close/>
                <a:moveTo>
                  <a:pt x="1018596" y="984826"/>
                </a:moveTo>
                <a:cubicBezTo>
                  <a:pt x="1016774" y="988471"/>
                  <a:pt x="1013129" y="993937"/>
                  <a:pt x="1018596" y="997582"/>
                </a:cubicBezTo>
                <a:cubicBezTo>
                  <a:pt x="1020418" y="993937"/>
                  <a:pt x="1020418" y="986649"/>
                  <a:pt x="1018596" y="984826"/>
                </a:cubicBezTo>
                <a:close/>
                <a:moveTo>
                  <a:pt x="901976" y="984826"/>
                </a:moveTo>
                <a:cubicBezTo>
                  <a:pt x="903799" y="988471"/>
                  <a:pt x="905621" y="990293"/>
                  <a:pt x="909265" y="993937"/>
                </a:cubicBezTo>
                <a:cubicBezTo>
                  <a:pt x="907444" y="995759"/>
                  <a:pt x="905621" y="995759"/>
                  <a:pt x="905621" y="993937"/>
                </a:cubicBezTo>
                <a:cubicBezTo>
                  <a:pt x="903799" y="995759"/>
                  <a:pt x="907444" y="999403"/>
                  <a:pt x="907444" y="1001226"/>
                </a:cubicBezTo>
                <a:cubicBezTo>
                  <a:pt x="909265" y="1004870"/>
                  <a:pt x="909265" y="997582"/>
                  <a:pt x="909265" y="995759"/>
                </a:cubicBezTo>
                <a:cubicBezTo>
                  <a:pt x="912909" y="997582"/>
                  <a:pt x="916555" y="1001226"/>
                  <a:pt x="922020" y="1001226"/>
                </a:cubicBezTo>
                <a:lnTo>
                  <a:pt x="915306" y="992498"/>
                </a:lnTo>
                <a:lnTo>
                  <a:pt x="920198" y="995759"/>
                </a:lnTo>
                <a:cubicBezTo>
                  <a:pt x="922020" y="993937"/>
                  <a:pt x="914732" y="986649"/>
                  <a:pt x="912909" y="986649"/>
                </a:cubicBezTo>
                <a:cubicBezTo>
                  <a:pt x="911087" y="988471"/>
                  <a:pt x="914732" y="990293"/>
                  <a:pt x="916555" y="990293"/>
                </a:cubicBezTo>
                <a:lnTo>
                  <a:pt x="914804" y="992042"/>
                </a:lnTo>
                <a:lnTo>
                  <a:pt x="905621" y="984826"/>
                </a:lnTo>
                <a:cubicBezTo>
                  <a:pt x="905621" y="984826"/>
                  <a:pt x="905621" y="986649"/>
                  <a:pt x="905621" y="986649"/>
                </a:cubicBezTo>
                <a:cubicBezTo>
                  <a:pt x="905621" y="986649"/>
                  <a:pt x="903799" y="984826"/>
                  <a:pt x="901976" y="984826"/>
                </a:cubicBezTo>
                <a:close/>
                <a:moveTo>
                  <a:pt x="872822" y="984826"/>
                </a:moveTo>
                <a:cubicBezTo>
                  <a:pt x="871000" y="986649"/>
                  <a:pt x="872822" y="988471"/>
                  <a:pt x="874644" y="986649"/>
                </a:cubicBezTo>
                <a:cubicBezTo>
                  <a:pt x="872822" y="990293"/>
                  <a:pt x="871000" y="992115"/>
                  <a:pt x="871000" y="995759"/>
                </a:cubicBezTo>
                <a:cubicBezTo>
                  <a:pt x="869177" y="995759"/>
                  <a:pt x="867355" y="995759"/>
                  <a:pt x="865533" y="993937"/>
                </a:cubicBezTo>
                <a:cubicBezTo>
                  <a:pt x="863711" y="995759"/>
                  <a:pt x="863711" y="999403"/>
                  <a:pt x="863711" y="1003047"/>
                </a:cubicBezTo>
                <a:cubicBezTo>
                  <a:pt x="872822" y="999403"/>
                  <a:pt x="889222" y="997582"/>
                  <a:pt x="892866" y="986649"/>
                </a:cubicBezTo>
                <a:cubicBezTo>
                  <a:pt x="885577" y="983004"/>
                  <a:pt x="880111" y="990293"/>
                  <a:pt x="872822" y="984826"/>
                </a:cubicBezTo>
                <a:close/>
                <a:moveTo>
                  <a:pt x="677849" y="984826"/>
                </a:moveTo>
                <a:lnTo>
                  <a:pt x="679671" y="986649"/>
                </a:lnTo>
                <a:cubicBezTo>
                  <a:pt x="679671" y="986649"/>
                  <a:pt x="677849" y="988471"/>
                  <a:pt x="677849" y="988471"/>
                </a:cubicBezTo>
                <a:close/>
                <a:moveTo>
                  <a:pt x="544830" y="984826"/>
                </a:moveTo>
                <a:cubicBezTo>
                  <a:pt x="546653" y="988471"/>
                  <a:pt x="552119" y="993937"/>
                  <a:pt x="557586" y="997582"/>
                </a:cubicBezTo>
                <a:cubicBezTo>
                  <a:pt x="557586" y="993937"/>
                  <a:pt x="550297" y="984826"/>
                  <a:pt x="544830" y="984826"/>
                </a:cubicBezTo>
                <a:close/>
                <a:moveTo>
                  <a:pt x="404523" y="984826"/>
                </a:moveTo>
                <a:cubicBezTo>
                  <a:pt x="402701" y="984826"/>
                  <a:pt x="400879" y="988471"/>
                  <a:pt x="399056" y="988471"/>
                </a:cubicBezTo>
                <a:cubicBezTo>
                  <a:pt x="415456" y="1006692"/>
                  <a:pt x="431856" y="1026736"/>
                  <a:pt x="457367" y="1037669"/>
                </a:cubicBezTo>
                <a:cubicBezTo>
                  <a:pt x="450077" y="1024914"/>
                  <a:pt x="433678" y="1013981"/>
                  <a:pt x="426389" y="1001226"/>
                </a:cubicBezTo>
                <a:cubicBezTo>
                  <a:pt x="439145" y="1012159"/>
                  <a:pt x="448256" y="1024914"/>
                  <a:pt x="462832" y="1035847"/>
                </a:cubicBezTo>
                <a:cubicBezTo>
                  <a:pt x="448256" y="1017625"/>
                  <a:pt x="437322" y="984826"/>
                  <a:pt x="404523" y="984826"/>
                </a:cubicBezTo>
                <a:close/>
                <a:moveTo>
                  <a:pt x="313414" y="984826"/>
                </a:moveTo>
                <a:cubicBezTo>
                  <a:pt x="311592" y="984826"/>
                  <a:pt x="317059" y="990293"/>
                  <a:pt x="318882" y="988471"/>
                </a:cubicBezTo>
                <a:cubicBezTo>
                  <a:pt x="317059" y="986649"/>
                  <a:pt x="315236" y="986649"/>
                  <a:pt x="313414" y="984826"/>
                </a:cubicBezTo>
                <a:close/>
                <a:moveTo>
                  <a:pt x="205906" y="984826"/>
                </a:moveTo>
                <a:lnTo>
                  <a:pt x="207512" y="987050"/>
                </a:lnTo>
                <a:lnTo>
                  <a:pt x="207728" y="990293"/>
                </a:lnTo>
                <a:cubicBezTo>
                  <a:pt x="209550" y="991204"/>
                  <a:pt x="209550" y="990293"/>
                  <a:pt x="208868" y="988926"/>
                </a:cubicBezTo>
                <a:lnTo>
                  <a:pt x="207512" y="987050"/>
                </a:lnTo>
                <a:lnTo>
                  <a:pt x="207500" y="986876"/>
                </a:lnTo>
                <a:cubicBezTo>
                  <a:pt x="206817" y="985737"/>
                  <a:pt x="205906" y="984826"/>
                  <a:pt x="205906" y="984826"/>
                </a:cubicBezTo>
                <a:close/>
                <a:moveTo>
                  <a:pt x="96576" y="984826"/>
                </a:moveTo>
                <a:cubicBezTo>
                  <a:pt x="96576" y="990293"/>
                  <a:pt x="109331" y="1003047"/>
                  <a:pt x="114797" y="1008515"/>
                </a:cubicBezTo>
                <a:cubicBezTo>
                  <a:pt x="109331" y="999403"/>
                  <a:pt x="102042" y="990293"/>
                  <a:pt x="96576" y="984826"/>
                </a:cubicBezTo>
                <a:close/>
                <a:moveTo>
                  <a:pt x="867811" y="983459"/>
                </a:moveTo>
                <a:cubicBezTo>
                  <a:pt x="863255" y="982548"/>
                  <a:pt x="858244" y="984826"/>
                  <a:pt x="863711" y="992115"/>
                </a:cubicBezTo>
                <a:cubicBezTo>
                  <a:pt x="867355" y="988471"/>
                  <a:pt x="867355" y="992115"/>
                  <a:pt x="869177" y="993937"/>
                </a:cubicBezTo>
                <a:cubicBezTo>
                  <a:pt x="876466" y="988470"/>
                  <a:pt x="872366" y="984370"/>
                  <a:pt x="867811" y="983459"/>
                </a:cubicBezTo>
                <a:close/>
                <a:moveTo>
                  <a:pt x="3128673" y="983004"/>
                </a:moveTo>
                <a:cubicBezTo>
                  <a:pt x="3121384" y="983004"/>
                  <a:pt x="3117740" y="984826"/>
                  <a:pt x="3114096" y="986649"/>
                </a:cubicBezTo>
                <a:cubicBezTo>
                  <a:pt x="3117740" y="988471"/>
                  <a:pt x="3128673" y="986649"/>
                  <a:pt x="3128673" y="983004"/>
                </a:cubicBezTo>
                <a:close/>
                <a:moveTo>
                  <a:pt x="2534644" y="983004"/>
                </a:moveTo>
                <a:cubicBezTo>
                  <a:pt x="2531000" y="984826"/>
                  <a:pt x="2527356" y="984826"/>
                  <a:pt x="2525534" y="988471"/>
                </a:cubicBezTo>
                <a:cubicBezTo>
                  <a:pt x="2527356" y="990293"/>
                  <a:pt x="2536466" y="988471"/>
                  <a:pt x="2534644" y="983004"/>
                </a:cubicBezTo>
                <a:close/>
                <a:moveTo>
                  <a:pt x="555763" y="983004"/>
                </a:moveTo>
                <a:cubicBezTo>
                  <a:pt x="553941" y="983004"/>
                  <a:pt x="552119" y="986649"/>
                  <a:pt x="548475" y="984826"/>
                </a:cubicBezTo>
                <a:cubicBezTo>
                  <a:pt x="553941" y="986649"/>
                  <a:pt x="557586" y="992115"/>
                  <a:pt x="564874" y="999403"/>
                </a:cubicBezTo>
                <a:cubicBezTo>
                  <a:pt x="570341" y="993937"/>
                  <a:pt x="563052" y="988471"/>
                  <a:pt x="555763" y="983004"/>
                </a:cubicBezTo>
                <a:close/>
                <a:moveTo>
                  <a:pt x="497454" y="983004"/>
                </a:moveTo>
                <a:cubicBezTo>
                  <a:pt x="501098" y="988471"/>
                  <a:pt x="506565" y="995759"/>
                  <a:pt x="510209" y="1003047"/>
                </a:cubicBezTo>
                <a:cubicBezTo>
                  <a:pt x="513853" y="1004870"/>
                  <a:pt x="512031" y="997582"/>
                  <a:pt x="512031" y="995759"/>
                </a:cubicBezTo>
                <a:cubicBezTo>
                  <a:pt x="513853" y="993937"/>
                  <a:pt x="512031" y="997582"/>
                  <a:pt x="515676" y="999403"/>
                </a:cubicBezTo>
                <a:cubicBezTo>
                  <a:pt x="517498" y="995759"/>
                  <a:pt x="513853" y="993937"/>
                  <a:pt x="512031" y="990293"/>
                </a:cubicBezTo>
                <a:cubicBezTo>
                  <a:pt x="510209" y="992115"/>
                  <a:pt x="513853" y="993937"/>
                  <a:pt x="510209" y="995759"/>
                </a:cubicBezTo>
                <a:cubicBezTo>
                  <a:pt x="510209" y="990293"/>
                  <a:pt x="502920" y="986649"/>
                  <a:pt x="497454" y="983004"/>
                </a:cubicBezTo>
                <a:close/>
                <a:moveTo>
                  <a:pt x="433678" y="983004"/>
                </a:moveTo>
                <a:cubicBezTo>
                  <a:pt x="426389" y="984826"/>
                  <a:pt x="435500" y="990293"/>
                  <a:pt x="439145" y="993937"/>
                </a:cubicBezTo>
                <a:cubicBezTo>
                  <a:pt x="439145" y="992115"/>
                  <a:pt x="442789" y="990293"/>
                  <a:pt x="446433" y="990293"/>
                </a:cubicBezTo>
                <a:cubicBezTo>
                  <a:pt x="446433" y="988471"/>
                  <a:pt x="440966" y="990293"/>
                  <a:pt x="439145" y="986649"/>
                </a:cubicBezTo>
                <a:cubicBezTo>
                  <a:pt x="437322" y="984826"/>
                  <a:pt x="431856" y="986649"/>
                  <a:pt x="433678" y="983004"/>
                </a:cubicBezTo>
                <a:close/>
                <a:moveTo>
                  <a:pt x="1270967" y="982595"/>
                </a:moveTo>
                <a:cubicBezTo>
                  <a:pt x="1271878" y="982595"/>
                  <a:pt x="1272789" y="983050"/>
                  <a:pt x="1273700" y="983050"/>
                </a:cubicBezTo>
                <a:cubicBezTo>
                  <a:pt x="1275522" y="984872"/>
                  <a:pt x="1270055" y="986694"/>
                  <a:pt x="1270055" y="988516"/>
                </a:cubicBezTo>
                <a:cubicBezTo>
                  <a:pt x="1270055" y="990338"/>
                  <a:pt x="1270055" y="988516"/>
                  <a:pt x="1268233" y="988516"/>
                </a:cubicBezTo>
                <a:cubicBezTo>
                  <a:pt x="1268233" y="986694"/>
                  <a:pt x="1270055" y="984872"/>
                  <a:pt x="1268233" y="984872"/>
                </a:cubicBezTo>
                <a:cubicBezTo>
                  <a:pt x="1269144" y="983050"/>
                  <a:pt x="1270056" y="982595"/>
                  <a:pt x="1270967" y="982595"/>
                </a:cubicBezTo>
                <a:close/>
                <a:moveTo>
                  <a:pt x="1104238" y="982320"/>
                </a:moveTo>
                <a:cubicBezTo>
                  <a:pt x="1102416" y="981637"/>
                  <a:pt x="1100593" y="981182"/>
                  <a:pt x="1098771" y="983004"/>
                </a:cubicBezTo>
                <a:cubicBezTo>
                  <a:pt x="1102416" y="988471"/>
                  <a:pt x="1107882" y="988471"/>
                  <a:pt x="1109704" y="983004"/>
                </a:cubicBezTo>
                <a:cubicBezTo>
                  <a:pt x="1107882" y="983915"/>
                  <a:pt x="1106060" y="983004"/>
                  <a:pt x="1104238" y="982320"/>
                </a:cubicBezTo>
                <a:close/>
                <a:moveTo>
                  <a:pt x="3250759" y="981182"/>
                </a:moveTo>
                <a:cubicBezTo>
                  <a:pt x="3247114" y="981182"/>
                  <a:pt x="3247114" y="984826"/>
                  <a:pt x="3247114" y="988471"/>
                </a:cubicBezTo>
                <a:cubicBezTo>
                  <a:pt x="3252581" y="988471"/>
                  <a:pt x="3254403" y="983004"/>
                  <a:pt x="3250759" y="981182"/>
                </a:cubicBezTo>
                <a:close/>
                <a:moveTo>
                  <a:pt x="1313788" y="981182"/>
                </a:moveTo>
                <a:cubicBezTo>
                  <a:pt x="1302855" y="986649"/>
                  <a:pt x="1290100" y="992115"/>
                  <a:pt x="1279166" y="1001226"/>
                </a:cubicBezTo>
                <a:cubicBezTo>
                  <a:pt x="1286455" y="1001226"/>
                  <a:pt x="1295566" y="997582"/>
                  <a:pt x="1301033" y="990293"/>
                </a:cubicBezTo>
                <a:cubicBezTo>
                  <a:pt x="1301033" y="992115"/>
                  <a:pt x="1301033" y="992115"/>
                  <a:pt x="1299210" y="993937"/>
                </a:cubicBezTo>
                <a:cubicBezTo>
                  <a:pt x="1302855" y="992115"/>
                  <a:pt x="1308321" y="984826"/>
                  <a:pt x="1313788" y="981182"/>
                </a:cubicBezTo>
                <a:close/>
                <a:moveTo>
                  <a:pt x="1093305" y="981182"/>
                </a:moveTo>
                <a:lnTo>
                  <a:pt x="1091484" y="984826"/>
                </a:lnTo>
                <a:lnTo>
                  <a:pt x="1087838" y="984826"/>
                </a:lnTo>
                <a:cubicBezTo>
                  <a:pt x="1087838" y="984826"/>
                  <a:pt x="1089660" y="986649"/>
                  <a:pt x="1091484" y="988471"/>
                </a:cubicBezTo>
                <a:cubicBezTo>
                  <a:pt x="1093305" y="986649"/>
                  <a:pt x="1093305" y="983004"/>
                  <a:pt x="1093305" y="981182"/>
                </a:cubicBezTo>
                <a:close/>
                <a:moveTo>
                  <a:pt x="1027707" y="981182"/>
                </a:moveTo>
                <a:cubicBezTo>
                  <a:pt x="1025884" y="983004"/>
                  <a:pt x="1022240" y="984826"/>
                  <a:pt x="1022240" y="986649"/>
                </a:cubicBezTo>
                <a:cubicBezTo>
                  <a:pt x="1022240" y="986649"/>
                  <a:pt x="1024062" y="988471"/>
                  <a:pt x="1024062" y="988471"/>
                </a:cubicBezTo>
                <a:cubicBezTo>
                  <a:pt x="1025884" y="988471"/>
                  <a:pt x="1029529" y="984826"/>
                  <a:pt x="1027707" y="981182"/>
                </a:cubicBezTo>
                <a:close/>
                <a:moveTo>
                  <a:pt x="737981" y="981182"/>
                </a:moveTo>
                <a:cubicBezTo>
                  <a:pt x="736159" y="983004"/>
                  <a:pt x="736159" y="984826"/>
                  <a:pt x="734336" y="988471"/>
                </a:cubicBezTo>
                <a:cubicBezTo>
                  <a:pt x="734336" y="988471"/>
                  <a:pt x="736159" y="988471"/>
                  <a:pt x="737981" y="988471"/>
                </a:cubicBezTo>
                <a:cubicBezTo>
                  <a:pt x="736159" y="988471"/>
                  <a:pt x="736159" y="990293"/>
                  <a:pt x="734336" y="990293"/>
                </a:cubicBezTo>
                <a:cubicBezTo>
                  <a:pt x="747092" y="988471"/>
                  <a:pt x="741626" y="988471"/>
                  <a:pt x="737981" y="988471"/>
                </a:cubicBezTo>
                <a:cubicBezTo>
                  <a:pt x="741626" y="986649"/>
                  <a:pt x="743447" y="984826"/>
                  <a:pt x="737981" y="981182"/>
                </a:cubicBezTo>
                <a:close/>
                <a:moveTo>
                  <a:pt x="674205" y="981182"/>
                </a:moveTo>
                <a:cubicBezTo>
                  <a:pt x="674205" y="984826"/>
                  <a:pt x="676027" y="984826"/>
                  <a:pt x="677849" y="988471"/>
                </a:cubicBezTo>
                <a:lnTo>
                  <a:pt x="677849" y="990293"/>
                </a:lnTo>
                <a:cubicBezTo>
                  <a:pt x="679671" y="988471"/>
                  <a:pt x="681493" y="984826"/>
                  <a:pt x="686960" y="986649"/>
                </a:cubicBezTo>
                <a:cubicBezTo>
                  <a:pt x="686960" y="986649"/>
                  <a:pt x="681493" y="984826"/>
                  <a:pt x="677849" y="983004"/>
                </a:cubicBezTo>
                <a:lnTo>
                  <a:pt x="677849" y="984826"/>
                </a:lnTo>
                <a:lnTo>
                  <a:pt x="676939" y="983915"/>
                </a:lnTo>
                <a:cubicBezTo>
                  <a:pt x="676482" y="983004"/>
                  <a:pt x="676027" y="982093"/>
                  <a:pt x="674205" y="981182"/>
                </a:cubicBezTo>
                <a:close/>
                <a:moveTo>
                  <a:pt x="371724" y="981182"/>
                </a:moveTo>
                <a:cubicBezTo>
                  <a:pt x="371724" y="983004"/>
                  <a:pt x="377190" y="986649"/>
                  <a:pt x="377190" y="983004"/>
                </a:cubicBezTo>
                <a:cubicBezTo>
                  <a:pt x="375368" y="981182"/>
                  <a:pt x="373546" y="983004"/>
                  <a:pt x="371724" y="981182"/>
                </a:cubicBezTo>
                <a:close/>
                <a:moveTo>
                  <a:pt x="358969" y="981182"/>
                </a:moveTo>
                <a:cubicBezTo>
                  <a:pt x="357146" y="984826"/>
                  <a:pt x="360791" y="983004"/>
                  <a:pt x="362613" y="984826"/>
                </a:cubicBezTo>
                <a:cubicBezTo>
                  <a:pt x="364435" y="981182"/>
                  <a:pt x="360791" y="983004"/>
                  <a:pt x="358969" y="981182"/>
                </a:cubicBezTo>
                <a:close/>
                <a:moveTo>
                  <a:pt x="351680" y="981182"/>
                </a:moveTo>
                <a:cubicBezTo>
                  <a:pt x="349858" y="981182"/>
                  <a:pt x="351680" y="983004"/>
                  <a:pt x="349858" y="983004"/>
                </a:cubicBezTo>
                <a:cubicBezTo>
                  <a:pt x="351680" y="984826"/>
                  <a:pt x="353502" y="984826"/>
                  <a:pt x="353502" y="983004"/>
                </a:cubicBezTo>
                <a:cubicBezTo>
                  <a:pt x="353502" y="983004"/>
                  <a:pt x="353502" y="981182"/>
                  <a:pt x="351680" y="981182"/>
                </a:cubicBezTo>
                <a:close/>
                <a:moveTo>
                  <a:pt x="245994" y="981182"/>
                </a:moveTo>
                <a:cubicBezTo>
                  <a:pt x="245994" y="984826"/>
                  <a:pt x="251460" y="988471"/>
                  <a:pt x="253282" y="986649"/>
                </a:cubicBezTo>
                <a:cubicBezTo>
                  <a:pt x="251460" y="983004"/>
                  <a:pt x="247816" y="981182"/>
                  <a:pt x="245994" y="981182"/>
                </a:cubicBezTo>
                <a:close/>
                <a:moveTo>
                  <a:pt x="3459028" y="979473"/>
                </a:moveTo>
                <a:cubicBezTo>
                  <a:pt x="3457519" y="978904"/>
                  <a:pt x="3456095" y="979359"/>
                  <a:pt x="3454614" y="980270"/>
                </a:cubicBezTo>
                <a:cubicBezTo>
                  <a:pt x="3451653" y="982093"/>
                  <a:pt x="3448465" y="985737"/>
                  <a:pt x="3443909" y="986649"/>
                </a:cubicBezTo>
                <a:cubicBezTo>
                  <a:pt x="3443909" y="988471"/>
                  <a:pt x="3443909" y="992115"/>
                  <a:pt x="3445731" y="992115"/>
                </a:cubicBezTo>
                <a:cubicBezTo>
                  <a:pt x="3453020" y="986649"/>
                  <a:pt x="3462131" y="992115"/>
                  <a:pt x="3469419" y="997582"/>
                </a:cubicBezTo>
                <a:cubicBezTo>
                  <a:pt x="3465775" y="1001226"/>
                  <a:pt x="3463953" y="993937"/>
                  <a:pt x="3463953" y="995759"/>
                </a:cubicBezTo>
                <a:cubicBezTo>
                  <a:pt x="3465775" y="1006692"/>
                  <a:pt x="3474886" y="1012159"/>
                  <a:pt x="3485819" y="1006692"/>
                </a:cubicBezTo>
                <a:cubicBezTo>
                  <a:pt x="3487641" y="1006692"/>
                  <a:pt x="3487641" y="1010337"/>
                  <a:pt x="3489463" y="1010337"/>
                </a:cubicBezTo>
                <a:cubicBezTo>
                  <a:pt x="3489463" y="1010337"/>
                  <a:pt x="3491286" y="1008515"/>
                  <a:pt x="3491286" y="1006692"/>
                </a:cubicBezTo>
                <a:cubicBezTo>
                  <a:pt x="3487641" y="1006692"/>
                  <a:pt x="3487641" y="1004870"/>
                  <a:pt x="3485819" y="1004870"/>
                </a:cubicBezTo>
                <a:cubicBezTo>
                  <a:pt x="3491286" y="1003047"/>
                  <a:pt x="3493108" y="1003047"/>
                  <a:pt x="3493108" y="995759"/>
                </a:cubicBezTo>
                <a:cubicBezTo>
                  <a:pt x="3491286" y="993937"/>
                  <a:pt x="3485819" y="993937"/>
                  <a:pt x="3485819" y="995759"/>
                </a:cubicBezTo>
                <a:cubicBezTo>
                  <a:pt x="3485819" y="1003047"/>
                  <a:pt x="3482175" y="1006692"/>
                  <a:pt x="3474886" y="1004870"/>
                </a:cubicBezTo>
                <a:cubicBezTo>
                  <a:pt x="3480353" y="999403"/>
                  <a:pt x="3474886" y="993937"/>
                  <a:pt x="3473064" y="988471"/>
                </a:cubicBezTo>
                <a:cubicBezTo>
                  <a:pt x="3471242" y="988471"/>
                  <a:pt x="3467597" y="990293"/>
                  <a:pt x="3465775" y="990293"/>
                </a:cubicBezTo>
                <a:cubicBezTo>
                  <a:pt x="3465775" y="986649"/>
                  <a:pt x="3469419" y="984826"/>
                  <a:pt x="3467597" y="983004"/>
                </a:cubicBezTo>
                <a:cubicBezTo>
                  <a:pt x="3465775" y="983004"/>
                  <a:pt x="3463953" y="984826"/>
                  <a:pt x="3463953" y="984826"/>
                </a:cubicBezTo>
                <a:cubicBezTo>
                  <a:pt x="3462131" y="981637"/>
                  <a:pt x="3460537" y="980043"/>
                  <a:pt x="3459028" y="979473"/>
                </a:cubicBezTo>
                <a:close/>
                <a:moveTo>
                  <a:pt x="1233612" y="979360"/>
                </a:moveTo>
                <a:cubicBezTo>
                  <a:pt x="1235434" y="979360"/>
                  <a:pt x="1235434" y="983004"/>
                  <a:pt x="1235434" y="981182"/>
                </a:cubicBezTo>
                <a:cubicBezTo>
                  <a:pt x="1237256" y="979360"/>
                  <a:pt x="1237256" y="979360"/>
                  <a:pt x="1237256" y="979360"/>
                </a:cubicBezTo>
                <a:cubicBezTo>
                  <a:pt x="1237256" y="977538"/>
                  <a:pt x="1235434" y="977538"/>
                  <a:pt x="1233612" y="979360"/>
                </a:cubicBezTo>
                <a:close/>
                <a:moveTo>
                  <a:pt x="1186236" y="979360"/>
                </a:moveTo>
                <a:cubicBezTo>
                  <a:pt x="1182592" y="977538"/>
                  <a:pt x="1178947" y="984826"/>
                  <a:pt x="1177125" y="984826"/>
                </a:cubicBezTo>
                <a:cubicBezTo>
                  <a:pt x="1178947" y="986649"/>
                  <a:pt x="1178947" y="984826"/>
                  <a:pt x="1180769" y="986649"/>
                </a:cubicBezTo>
                <a:cubicBezTo>
                  <a:pt x="1171658" y="986649"/>
                  <a:pt x="1166192" y="993937"/>
                  <a:pt x="1157081" y="995759"/>
                </a:cubicBezTo>
                <a:lnTo>
                  <a:pt x="1159458" y="999720"/>
                </a:lnTo>
                <a:lnTo>
                  <a:pt x="1153436" y="1001226"/>
                </a:lnTo>
                <a:cubicBezTo>
                  <a:pt x="1155259" y="1001226"/>
                  <a:pt x="1155259" y="1001226"/>
                  <a:pt x="1157081" y="1001226"/>
                </a:cubicBezTo>
                <a:cubicBezTo>
                  <a:pt x="1157081" y="1003047"/>
                  <a:pt x="1155259" y="1003047"/>
                  <a:pt x="1155259" y="1004870"/>
                </a:cubicBezTo>
                <a:cubicBezTo>
                  <a:pt x="1146148" y="1004870"/>
                  <a:pt x="1142503" y="1010337"/>
                  <a:pt x="1133393" y="1010337"/>
                </a:cubicBezTo>
                <a:cubicBezTo>
                  <a:pt x="1135215" y="1013070"/>
                  <a:pt x="1135670" y="1014892"/>
                  <a:pt x="1136126" y="1016714"/>
                </a:cubicBezTo>
                <a:lnTo>
                  <a:pt x="1138312" y="1021816"/>
                </a:lnTo>
                <a:lnTo>
                  <a:pt x="1137037" y="1023092"/>
                </a:lnTo>
                <a:lnTo>
                  <a:pt x="1141896" y="1026331"/>
                </a:lnTo>
                <a:lnTo>
                  <a:pt x="1142275" y="1026963"/>
                </a:lnTo>
                <a:lnTo>
                  <a:pt x="1139542" y="1029697"/>
                </a:lnTo>
                <a:cubicBezTo>
                  <a:pt x="1138403" y="1030836"/>
                  <a:pt x="1137949" y="1032203"/>
                  <a:pt x="1140681" y="1034025"/>
                </a:cubicBezTo>
                <a:cubicBezTo>
                  <a:pt x="1142503" y="1034025"/>
                  <a:pt x="1142503" y="1032203"/>
                  <a:pt x="1144326" y="1030381"/>
                </a:cubicBezTo>
                <a:lnTo>
                  <a:pt x="1142275" y="1026963"/>
                </a:lnTo>
                <a:lnTo>
                  <a:pt x="1142503" y="1026736"/>
                </a:lnTo>
                <a:lnTo>
                  <a:pt x="1141896" y="1026331"/>
                </a:lnTo>
                <a:lnTo>
                  <a:pt x="1139310" y="1022021"/>
                </a:lnTo>
                <a:lnTo>
                  <a:pt x="1140681" y="1018764"/>
                </a:lnTo>
                <a:cubicBezTo>
                  <a:pt x="1140681" y="1017625"/>
                  <a:pt x="1140681" y="1016714"/>
                  <a:pt x="1142503" y="1015803"/>
                </a:cubicBezTo>
                <a:cubicBezTo>
                  <a:pt x="1142503" y="1017625"/>
                  <a:pt x="1140681" y="1021270"/>
                  <a:pt x="1140681" y="1023092"/>
                </a:cubicBezTo>
                <a:cubicBezTo>
                  <a:pt x="1142503" y="1023092"/>
                  <a:pt x="1140681" y="1021270"/>
                  <a:pt x="1142503" y="1019448"/>
                </a:cubicBezTo>
                <a:cubicBezTo>
                  <a:pt x="1142503" y="1026736"/>
                  <a:pt x="1146148" y="1028559"/>
                  <a:pt x="1149792" y="1035847"/>
                </a:cubicBezTo>
                <a:cubicBezTo>
                  <a:pt x="1149792" y="1035847"/>
                  <a:pt x="1151614" y="1035847"/>
                  <a:pt x="1151614" y="1035847"/>
                </a:cubicBezTo>
                <a:cubicBezTo>
                  <a:pt x="1157081" y="1030381"/>
                  <a:pt x="1157081" y="1019448"/>
                  <a:pt x="1147970" y="1015803"/>
                </a:cubicBezTo>
                <a:cubicBezTo>
                  <a:pt x="1149792" y="1015803"/>
                  <a:pt x="1153436" y="1017625"/>
                  <a:pt x="1155259" y="1017625"/>
                </a:cubicBezTo>
                <a:lnTo>
                  <a:pt x="1155779" y="1021270"/>
                </a:lnTo>
                <a:lnTo>
                  <a:pt x="1155259" y="1021270"/>
                </a:lnTo>
                <a:cubicBezTo>
                  <a:pt x="1158903" y="1023092"/>
                  <a:pt x="1158903" y="1026736"/>
                  <a:pt x="1157081" y="1030381"/>
                </a:cubicBezTo>
                <a:lnTo>
                  <a:pt x="1155779" y="1021270"/>
                </a:lnTo>
                <a:lnTo>
                  <a:pt x="1158903" y="1021270"/>
                </a:lnTo>
                <a:cubicBezTo>
                  <a:pt x="1160725" y="1013981"/>
                  <a:pt x="1166192" y="1001226"/>
                  <a:pt x="1157081" y="1001226"/>
                </a:cubicBezTo>
                <a:lnTo>
                  <a:pt x="1159604" y="999964"/>
                </a:lnTo>
                <a:lnTo>
                  <a:pt x="1162547" y="1004870"/>
                </a:lnTo>
                <a:cubicBezTo>
                  <a:pt x="1164370" y="1003047"/>
                  <a:pt x="1164370" y="1003047"/>
                  <a:pt x="1166192" y="1003047"/>
                </a:cubicBezTo>
                <a:lnTo>
                  <a:pt x="1165463" y="1005963"/>
                </a:lnTo>
                <a:lnTo>
                  <a:pt x="1164370" y="1004870"/>
                </a:lnTo>
                <a:cubicBezTo>
                  <a:pt x="1162547" y="1012159"/>
                  <a:pt x="1164370" y="1021270"/>
                  <a:pt x="1158903" y="1030381"/>
                </a:cubicBezTo>
                <a:lnTo>
                  <a:pt x="1163417" y="1020942"/>
                </a:lnTo>
                <a:lnTo>
                  <a:pt x="1164370" y="1024914"/>
                </a:lnTo>
                <a:cubicBezTo>
                  <a:pt x="1169836" y="1017625"/>
                  <a:pt x="1173481" y="1015803"/>
                  <a:pt x="1175303" y="1006692"/>
                </a:cubicBezTo>
                <a:lnTo>
                  <a:pt x="1178923" y="1006692"/>
                </a:lnTo>
                <a:lnTo>
                  <a:pt x="1171886" y="1020586"/>
                </a:lnTo>
                <a:cubicBezTo>
                  <a:pt x="1169836" y="1026736"/>
                  <a:pt x="1168925" y="1033114"/>
                  <a:pt x="1169836" y="1039492"/>
                </a:cubicBezTo>
                <a:cubicBezTo>
                  <a:pt x="1171658" y="1032203"/>
                  <a:pt x="1177125" y="1026736"/>
                  <a:pt x="1173481" y="1019448"/>
                </a:cubicBezTo>
                <a:cubicBezTo>
                  <a:pt x="1178947" y="1017625"/>
                  <a:pt x="1175303" y="1024914"/>
                  <a:pt x="1178947" y="1024914"/>
                </a:cubicBezTo>
                <a:cubicBezTo>
                  <a:pt x="1175303" y="1028559"/>
                  <a:pt x="1175303" y="1032203"/>
                  <a:pt x="1175303" y="1035847"/>
                </a:cubicBezTo>
                <a:cubicBezTo>
                  <a:pt x="1175303" y="1039492"/>
                  <a:pt x="1177125" y="1034025"/>
                  <a:pt x="1178947" y="1035847"/>
                </a:cubicBezTo>
                <a:cubicBezTo>
                  <a:pt x="1178947" y="1039492"/>
                  <a:pt x="1171658" y="1041314"/>
                  <a:pt x="1175303" y="1043136"/>
                </a:cubicBezTo>
                <a:cubicBezTo>
                  <a:pt x="1188058" y="1032203"/>
                  <a:pt x="1188058" y="1019448"/>
                  <a:pt x="1188058" y="1006692"/>
                </a:cubicBezTo>
                <a:cubicBezTo>
                  <a:pt x="1186236" y="1004870"/>
                  <a:pt x="1186236" y="1008515"/>
                  <a:pt x="1184414" y="1004870"/>
                </a:cubicBezTo>
                <a:cubicBezTo>
                  <a:pt x="1188058" y="1006692"/>
                  <a:pt x="1186236" y="1004870"/>
                  <a:pt x="1189880" y="1001226"/>
                </a:cubicBezTo>
                <a:cubicBezTo>
                  <a:pt x="1191703" y="997582"/>
                  <a:pt x="1191703" y="988471"/>
                  <a:pt x="1184414" y="988471"/>
                </a:cubicBezTo>
                <a:cubicBezTo>
                  <a:pt x="1188058" y="984826"/>
                  <a:pt x="1184414" y="981182"/>
                  <a:pt x="1186236" y="979360"/>
                </a:cubicBezTo>
                <a:close/>
                <a:moveTo>
                  <a:pt x="1031351" y="979360"/>
                </a:moveTo>
                <a:cubicBezTo>
                  <a:pt x="1027707" y="983004"/>
                  <a:pt x="1029529" y="988471"/>
                  <a:pt x="1024062" y="992115"/>
                </a:cubicBezTo>
                <a:cubicBezTo>
                  <a:pt x="1027707" y="997582"/>
                  <a:pt x="1029529" y="1003047"/>
                  <a:pt x="1033173" y="1006692"/>
                </a:cubicBezTo>
                <a:cubicBezTo>
                  <a:pt x="1033173" y="997582"/>
                  <a:pt x="1034995" y="988471"/>
                  <a:pt x="1031351" y="979360"/>
                </a:cubicBezTo>
                <a:close/>
                <a:moveTo>
                  <a:pt x="916555" y="979360"/>
                </a:moveTo>
                <a:cubicBezTo>
                  <a:pt x="914732" y="977538"/>
                  <a:pt x="912909" y="981182"/>
                  <a:pt x="912909" y="983004"/>
                </a:cubicBezTo>
                <a:cubicBezTo>
                  <a:pt x="914732" y="984826"/>
                  <a:pt x="916555" y="986649"/>
                  <a:pt x="918376" y="984826"/>
                </a:cubicBezTo>
                <a:cubicBezTo>
                  <a:pt x="918376" y="983004"/>
                  <a:pt x="916555" y="981182"/>
                  <a:pt x="916555" y="979360"/>
                </a:cubicBezTo>
                <a:close/>
                <a:moveTo>
                  <a:pt x="612251" y="979360"/>
                </a:moveTo>
                <a:cubicBezTo>
                  <a:pt x="612251" y="981182"/>
                  <a:pt x="610429" y="981182"/>
                  <a:pt x="608606" y="981182"/>
                </a:cubicBezTo>
                <a:cubicBezTo>
                  <a:pt x="608606" y="986649"/>
                  <a:pt x="623185" y="986649"/>
                  <a:pt x="621362" y="992115"/>
                </a:cubicBezTo>
                <a:lnTo>
                  <a:pt x="621362" y="985434"/>
                </a:lnTo>
                <a:lnTo>
                  <a:pt x="625917" y="988471"/>
                </a:lnTo>
                <a:lnTo>
                  <a:pt x="623185" y="988471"/>
                </a:lnTo>
                <a:cubicBezTo>
                  <a:pt x="626828" y="990293"/>
                  <a:pt x="630472" y="992115"/>
                  <a:pt x="635939" y="993937"/>
                </a:cubicBezTo>
                <a:cubicBezTo>
                  <a:pt x="635939" y="992115"/>
                  <a:pt x="634117" y="988471"/>
                  <a:pt x="628650" y="990293"/>
                </a:cubicBezTo>
                <a:lnTo>
                  <a:pt x="625917" y="988471"/>
                </a:lnTo>
                <a:lnTo>
                  <a:pt x="630472" y="988471"/>
                </a:lnTo>
                <a:cubicBezTo>
                  <a:pt x="626828" y="986649"/>
                  <a:pt x="625006" y="986649"/>
                  <a:pt x="621362" y="984826"/>
                </a:cubicBezTo>
                <a:lnTo>
                  <a:pt x="621362" y="985434"/>
                </a:lnTo>
                <a:close/>
                <a:moveTo>
                  <a:pt x="453722" y="979360"/>
                </a:moveTo>
                <a:cubicBezTo>
                  <a:pt x="444611" y="986649"/>
                  <a:pt x="451899" y="993937"/>
                  <a:pt x="462832" y="1003047"/>
                </a:cubicBezTo>
                <a:cubicBezTo>
                  <a:pt x="466478" y="1004870"/>
                  <a:pt x="470121" y="1004870"/>
                  <a:pt x="473766" y="1004870"/>
                </a:cubicBezTo>
                <a:lnTo>
                  <a:pt x="471943" y="1006692"/>
                </a:lnTo>
                <a:cubicBezTo>
                  <a:pt x="475589" y="1008515"/>
                  <a:pt x="479232" y="1010337"/>
                  <a:pt x="482876" y="1013981"/>
                </a:cubicBezTo>
                <a:cubicBezTo>
                  <a:pt x="482876" y="1008515"/>
                  <a:pt x="473766" y="1006692"/>
                  <a:pt x="475589" y="1003047"/>
                </a:cubicBezTo>
                <a:cubicBezTo>
                  <a:pt x="486521" y="1010337"/>
                  <a:pt x="493809" y="1021270"/>
                  <a:pt x="508387" y="1021270"/>
                </a:cubicBezTo>
                <a:cubicBezTo>
                  <a:pt x="495632" y="1008515"/>
                  <a:pt x="486521" y="992115"/>
                  <a:pt x="466478" y="988471"/>
                </a:cubicBezTo>
                <a:cubicBezTo>
                  <a:pt x="462832" y="984826"/>
                  <a:pt x="457367" y="981182"/>
                  <a:pt x="453722" y="979360"/>
                </a:cubicBezTo>
                <a:close/>
                <a:moveTo>
                  <a:pt x="437322" y="979360"/>
                </a:moveTo>
                <a:cubicBezTo>
                  <a:pt x="437322" y="981182"/>
                  <a:pt x="435500" y="981182"/>
                  <a:pt x="435500" y="981182"/>
                </a:cubicBezTo>
                <a:cubicBezTo>
                  <a:pt x="437322" y="981182"/>
                  <a:pt x="439145" y="984826"/>
                  <a:pt x="440966" y="984826"/>
                </a:cubicBezTo>
                <a:cubicBezTo>
                  <a:pt x="440966" y="983004"/>
                  <a:pt x="437322" y="981182"/>
                  <a:pt x="437322" y="979360"/>
                </a:cubicBezTo>
                <a:close/>
                <a:moveTo>
                  <a:pt x="211372" y="979360"/>
                </a:moveTo>
                <a:cubicBezTo>
                  <a:pt x="215017" y="990293"/>
                  <a:pt x="224128" y="997582"/>
                  <a:pt x="231416" y="995759"/>
                </a:cubicBezTo>
                <a:cubicBezTo>
                  <a:pt x="229594" y="993937"/>
                  <a:pt x="225950" y="992115"/>
                  <a:pt x="222306" y="990293"/>
                </a:cubicBezTo>
                <a:cubicBezTo>
                  <a:pt x="220483" y="984826"/>
                  <a:pt x="216839" y="983004"/>
                  <a:pt x="211372" y="979360"/>
                </a:cubicBezTo>
                <a:close/>
                <a:moveTo>
                  <a:pt x="1044789" y="979132"/>
                </a:moveTo>
                <a:lnTo>
                  <a:pt x="1045101" y="979416"/>
                </a:lnTo>
                <a:lnTo>
                  <a:pt x="1044678" y="979134"/>
                </a:lnTo>
                <a:close/>
                <a:moveTo>
                  <a:pt x="960286" y="977538"/>
                </a:moveTo>
                <a:cubicBezTo>
                  <a:pt x="958464" y="983004"/>
                  <a:pt x="958464" y="986649"/>
                  <a:pt x="954819" y="990293"/>
                </a:cubicBezTo>
                <a:cubicBezTo>
                  <a:pt x="958464" y="995759"/>
                  <a:pt x="962108" y="1004870"/>
                  <a:pt x="967575" y="1008515"/>
                </a:cubicBezTo>
                <a:cubicBezTo>
                  <a:pt x="971219" y="1004870"/>
                  <a:pt x="967575" y="997582"/>
                  <a:pt x="965753" y="993937"/>
                </a:cubicBezTo>
                <a:cubicBezTo>
                  <a:pt x="963930" y="988471"/>
                  <a:pt x="962108" y="983004"/>
                  <a:pt x="960286" y="977538"/>
                </a:cubicBezTo>
                <a:close/>
                <a:moveTo>
                  <a:pt x="484700" y="977538"/>
                </a:moveTo>
                <a:cubicBezTo>
                  <a:pt x="486521" y="981182"/>
                  <a:pt x="490165" y="983004"/>
                  <a:pt x="491987" y="984826"/>
                </a:cubicBezTo>
                <a:cubicBezTo>
                  <a:pt x="493809" y="983004"/>
                  <a:pt x="490165" y="981182"/>
                  <a:pt x="490165" y="979360"/>
                </a:cubicBezTo>
                <a:cubicBezTo>
                  <a:pt x="490165" y="979360"/>
                  <a:pt x="495632" y="983004"/>
                  <a:pt x="495632" y="984826"/>
                </a:cubicBezTo>
                <a:cubicBezTo>
                  <a:pt x="497454" y="983004"/>
                  <a:pt x="488343" y="972071"/>
                  <a:pt x="484700" y="977538"/>
                </a:cubicBezTo>
                <a:close/>
                <a:moveTo>
                  <a:pt x="317059" y="977538"/>
                </a:moveTo>
                <a:cubicBezTo>
                  <a:pt x="318882" y="981182"/>
                  <a:pt x="313414" y="986649"/>
                  <a:pt x="322525" y="983004"/>
                </a:cubicBezTo>
                <a:cubicBezTo>
                  <a:pt x="320703" y="979360"/>
                  <a:pt x="318882" y="981182"/>
                  <a:pt x="317059" y="977538"/>
                </a:cubicBezTo>
                <a:close/>
                <a:moveTo>
                  <a:pt x="275149" y="977538"/>
                </a:moveTo>
                <a:cubicBezTo>
                  <a:pt x="276971" y="983004"/>
                  <a:pt x="276971" y="986649"/>
                  <a:pt x="282438" y="983004"/>
                </a:cubicBezTo>
                <a:cubicBezTo>
                  <a:pt x="280615" y="981182"/>
                  <a:pt x="276971" y="979360"/>
                  <a:pt x="275149" y="977538"/>
                </a:cubicBezTo>
                <a:close/>
                <a:moveTo>
                  <a:pt x="256927" y="977538"/>
                </a:moveTo>
                <a:cubicBezTo>
                  <a:pt x="258749" y="983004"/>
                  <a:pt x="267860" y="988471"/>
                  <a:pt x="275149" y="986649"/>
                </a:cubicBezTo>
                <a:cubicBezTo>
                  <a:pt x="267860" y="983004"/>
                  <a:pt x="262393" y="983004"/>
                  <a:pt x="256927" y="977538"/>
                </a:cubicBezTo>
                <a:close/>
                <a:moveTo>
                  <a:pt x="755292" y="977082"/>
                </a:moveTo>
                <a:lnTo>
                  <a:pt x="756203" y="977538"/>
                </a:lnTo>
                <a:lnTo>
                  <a:pt x="755995" y="977668"/>
                </a:lnTo>
                <a:close/>
                <a:moveTo>
                  <a:pt x="865077" y="976399"/>
                </a:moveTo>
                <a:lnTo>
                  <a:pt x="865214" y="977286"/>
                </a:lnTo>
                <a:lnTo>
                  <a:pt x="864293" y="976679"/>
                </a:lnTo>
                <a:close/>
                <a:moveTo>
                  <a:pt x="2297762" y="975715"/>
                </a:moveTo>
                <a:cubicBezTo>
                  <a:pt x="2288651" y="975715"/>
                  <a:pt x="2290473" y="986649"/>
                  <a:pt x="2285007" y="981182"/>
                </a:cubicBezTo>
                <a:cubicBezTo>
                  <a:pt x="2283184" y="986649"/>
                  <a:pt x="2285007" y="988471"/>
                  <a:pt x="2286829" y="995759"/>
                </a:cubicBezTo>
                <a:lnTo>
                  <a:pt x="2288439" y="994190"/>
                </a:lnTo>
                <a:lnTo>
                  <a:pt x="2283184" y="1003047"/>
                </a:lnTo>
                <a:lnTo>
                  <a:pt x="2274986" y="997582"/>
                </a:lnTo>
                <a:lnTo>
                  <a:pt x="2277718" y="997582"/>
                </a:lnTo>
                <a:cubicBezTo>
                  <a:pt x="2279540" y="990293"/>
                  <a:pt x="2275896" y="990293"/>
                  <a:pt x="2270429" y="990293"/>
                </a:cubicBezTo>
                <a:cubicBezTo>
                  <a:pt x="2270429" y="993937"/>
                  <a:pt x="2266785" y="993937"/>
                  <a:pt x="2266785" y="997582"/>
                </a:cubicBezTo>
                <a:lnTo>
                  <a:pt x="2274984" y="997582"/>
                </a:lnTo>
                <a:lnTo>
                  <a:pt x="2266785" y="1003047"/>
                </a:lnTo>
                <a:cubicBezTo>
                  <a:pt x="2264963" y="997582"/>
                  <a:pt x="2261318" y="1003047"/>
                  <a:pt x="2257674" y="1004870"/>
                </a:cubicBezTo>
                <a:cubicBezTo>
                  <a:pt x="2257674" y="1006692"/>
                  <a:pt x="2257674" y="1006692"/>
                  <a:pt x="2257674" y="1008515"/>
                </a:cubicBezTo>
                <a:lnTo>
                  <a:pt x="2277718" y="1013981"/>
                </a:lnTo>
                <a:lnTo>
                  <a:pt x="2277718" y="1043136"/>
                </a:lnTo>
                <a:cubicBezTo>
                  <a:pt x="2275896" y="1043136"/>
                  <a:pt x="2275896" y="1043136"/>
                  <a:pt x="2274074" y="1043136"/>
                </a:cubicBezTo>
                <a:cubicBezTo>
                  <a:pt x="2275896" y="1046780"/>
                  <a:pt x="2277718" y="1050425"/>
                  <a:pt x="2281362" y="1048602"/>
                </a:cubicBezTo>
                <a:cubicBezTo>
                  <a:pt x="2286829" y="1044958"/>
                  <a:pt x="2290473" y="1044958"/>
                  <a:pt x="2288651" y="1037669"/>
                </a:cubicBezTo>
                <a:cubicBezTo>
                  <a:pt x="2288651" y="1034025"/>
                  <a:pt x="2292295" y="1035847"/>
                  <a:pt x="2294117" y="1035847"/>
                </a:cubicBezTo>
                <a:cubicBezTo>
                  <a:pt x="2294117" y="1032203"/>
                  <a:pt x="2294117" y="1026736"/>
                  <a:pt x="2295940" y="1023092"/>
                </a:cubicBezTo>
                <a:cubicBezTo>
                  <a:pt x="2297762" y="1023092"/>
                  <a:pt x="2297762" y="1023092"/>
                  <a:pt x="2299584" y="1024914"/>
                </a:cubicBezTo>
                <a:cubicBezTo>
                  <a:pt x="2299584" y="1021270"/>
                  <a:pt x="2301406" y="1019448"/>
                  <a:pt x="2303228" y="1017625"/>
                </a:cubicBezTo>
                <a:lnTo>
                  <a:pt x="2305050" y="1010337"/>
                </a:lnTo>
                <a:cubicBezTo>
                  <a:pt x="2299584" y="1006692"/>
                  <a:pt x="2294117" y="1010337"/>
                  <a:pt x="2286829" y="1008515"/>
                </a:cubicBezTo>
                <a:cubicBezTo>
                  <a:pt x="2292295" y="1004870"/>
                  <a:pt x="2299584" y="1008515"/>
                  <a:pt x="2306873" y="1006692"/>
                </a:cubicBezTo>
                <a:lnTo>
                  <a:pt x="2306873" y="1003047"/>
                </a:lnTo>
                <a:lnTo>
                  <a:pt x="2310517" y="1004870"/>
                </a:lnTo>
                <a:cubicBezTo>
                  <a:pt x="2312339" y="1004870"/>
                  <a:pt x="2312339" y="1003047"/>
                  <a:pt x="2314161" y="1001226"/>
                </a:cubicBezTo>
                <a:cubicBezTo>
                  <a:pt x="2317806" y="1010337"/>
                  <a:pt x="2334205" y="1008515"/>
                  <a:pt x="2336027" y="999403"/>
                </a:cubicBezTo>
                <a:cubicBezTo>
                  <a:pt x="2337850" y="1001226"/>
                  <a:pt x="2339672" y="1003047"/>
                  <a:pt x="2341494" y="1004870"/>
                </a:cubicBezTo>
                <a:cubicBezTo>
                  <a:pt x="2341494" y="1004870"/>
                  <a:pt x="2343316" y="1004870"/>
                  <a:pt x="2343316" y="1004870"/>
                </a:cubicBezTo>
                <a:lnTo>
                  <a:pt x="2354249" y="993937"/>
                </a:lnTo>
                <a:lnTo>
                  <a:pt x="2357893" y="1001226"/>
                </a:lnTo>
                <a:cubicBezTo>
                  <a:pt x="2359716" y="999403"/>
                  <a:pt x="2361538" y="995759"/>
                  <a:pt x="2359716" y="992115"/>
                </a:cubicBezTo>
                <a:cubicBezTo>
                  <a:pt x="2357893" y="984826"/>
                  <a:pt x="2348782" y="981182"/>
                  <a:pt x="2343316" y="981182"/>
                </a:cubicBezTo>
                <a:cubicBezTo>
                  <a:pt x="2330561" y="981182"/>
                  <a:pt x="2314161" y="979360"/>
                  <a:pt x="2303228" y="983004"/>
                </a:cubicBezTo>
                <a:lnTo>
                  <a:pt x="2295682" y="987133"/>
                </a:lnTo>
                <a:lnTo>
                  <a:pt x="2295712" y="987103"/>
                </a:lnTo>
                <a:cubicBezTo>
                  <a:pt x="2298218" y="983459"/>
                  <a:pt x="2299584" y="979359"/>
                  <a:pt x="2297762" y="975715"/>
                </a:cubicBezTo>
                <a:close/>
                <a:moveTo>
                  <a:pt x="1169836" y="975715"/>
                </a:moveTo>
                <a:lnTo>
                  <a:pt x="1167467" y="984009"/>
                </a:lnTo>
                <a:lnTo>
                  <a:pt x="1166192" y="984826"/>
                </a:lnTo>
                <a:cubicBezTo>
                  <a:pt x="1162547" y="981182"/>
                  <a:pt x="1169836" y="977538"/>
                  <a:pt x="1169836" y="975715"/>
                </a:cubicBezTo>
                <a:close/>
                <a:moveTo>
                  <a:pt x="703359" y="975715"/>
                </a:moveTo>
                <a:cubicBezTo>
                  <a:pt x="703359" y="977538"/>
                  <a:pt x="699715" y="979360"/>
                  <a:pt x="703359" y="981182"/>
                </a:cubicBezTo>
                <a:cubicBezTo>
                  <a:pt x="707004" y="981182"/>
                  <a:pt x="707004" y="979360"/>
                  <a:pt x="707004" y="977538"/>
                </a:cubicBezTo>
                <a:cubicBezTo>
                  <a:pt x="707004" y="977538"/>
                  <a:pt x="705182" y="977538"/>
                  <a:pt x="703359" y="975715"/>
                </a:cubicBezTo>
                <a:close/>
                <a:moveTo>
                  <a:pt x="481054" y="975715"/>
                </a:moveTo>
                <a:cubicBezTo>
                  <a:pt x="482876" y="984826"/>
                  <a:pt x="490165" y="997582"/>
                  <a:pt x="502920" y="1001226"/>
                </a:cubicBezTo>
                <a:cubicBezTo>
                  <a:pt x="499276" y="992115"/>
                  <a:pt x="491987" y="986649"/>
                  <a:pt x="481054" y="975715"/>
                </a:cubicBezTo>
                <a:close/>
                <a:moveTo>
                  <a:pt x="278793" y="975715"/>
                </a:moveTo>
                <a:cubicBezTo>
                  <a:pt x="280615" y="979360"/>
                  <a:pt x="287904" y="986649"/>
                  <a:pt x="291549" y="984826"/>
                </a:cubicBezTo>
                <a:cubicBezTo>
                  <a:pt x="289726" y="979360"/>
                  <a:pt x="282438" y="979360"/>
                  <a:pt x="278793" y="975715"/>
                </a:cubicBezTo>
                <a:close/>
                <a:moveTo>
                  <a:pt x="3298925" y="974594"/>
                </a:moveTo>
                <a:lnTo>
                  <a:pt x="3304715" y="1006435"/>
                </a:lnTo>
                <a:lnTo>
                  <a:pt x="3303602" y="1006692"/>
                </a:lnTo>
                <a:cubicBezTo>
                  <a:pt x="3301780" y="999403"/>
                  <a:pt x="3300868" y="993481"/>
                  <a:pt x="3300185" y="987331"/>
                </a:cubicBezTo>
                <a:close/>
                <a:moveTo>
                  <a:pt x="1064151" y="973893"/>
                </a:moveTo>
                <a:cubicBezTo>
                  <a:pt x="1062328" y="975715"/>
                  <a:pt x="1064151" y="977538"/>
                  <a:pt x="1065972" y="979360"/>
                </a:cubicBezTo>
                <a:cubicBezTo>
                  <a:pt x="1065972" y="979360"/>
                  <a:pt x="1065972" y="979360"/>
                  <a:pt x="1067794" y="979360"/>
                </a:cubicBezTo>
                <a:cubicBezTo>
                  <a:pt x="1067794" y="984826"/>
                  <a:pt x="1062328" y="983004"/>
                  <a:pt x="1060506" y="986649"/>
                </a:cubicBezTo>
                <a:cubicBezTo>
                  <a:pt x="1062328" y="988471"/>
                  <a:pt x="1064151" y="988471"/>
                  <a:pt x="1065972" y="990293"/>
                </a:cubicBezTo>
                <a:cubicBezTo>
                  <a:pt x="1064151" y="988471"/>
                  <a:pt x="1062328" y="988471"/>
                  <a:pt x="1060506" y="988471"/>
                </a:cubicBezTo>
                <a:cubicBezTo>
                  <a:pt x="1060506" y="990293"/>
                  <a:pt x="1058683" y="992115"/>
                  <a:pt x="1056861" y="993937"/>
                </a:cubicBezTo>
                <a:cubicBezTo>
                  <a:pt x="1060506" y="995759"/>
                  <a:pt x="1062328" y="992115"/>
                  <a:pt x="1065972" y="990293"/>
                </a:cubicBezTo>
                <a:cubicBezTo>
                  <a:pt x="1067794" y="986649"/>
                  <a:pt x="1071439" y="990293"/>
                  <a:pt x="1075083" y="986649"/>
                </a:cubicBezTo>
                <a:cubicBezTo>
                  <a:pt x="1075083" y="986649"/>
                  <a:pt x="1075083" y="984826"/>
                  <a:pt x="1075083" y="984826"/>
                </a:cubicBezTo>
                <a:lnTo>
                  <a:pt x="1069616" y="984826"/>
                </a:lnTo>
                <a:lnTo>
                  <a:pt x="1067794" y="973893"/>
                </a:lnTo>
                <a:cubicBezTo>
                  <a:pt x="1065972" y="973893"/>
                  <a:pt x="1065972" y="973893"/>
                  <a:pt x="1064151" y="973893"/>
                </a:cubicBezTo>
                <a:close/>
                <a:moveTo>
                  <a:pt x="909265" y="973893"/>
                </a:moveTo>
                <a:cubicBezTo>
                  <a:pt x="907444" y="975715"/>
                  <a:pt x="909265" y="977538"/>
                  <a:pt x="905621" y="979360"/>
                </a:cubicBezTo>
                <a:cubicBezTo>
                  <a:pt x="907444" y="981182"/>
                  <a:pt x="907444" y="983004"/>
                  <a:pt x="909265" y="981182"/>
                </a:cubicBezTo>
                <a:cubicBezTo>
                  <a:pt x="905621" y="979360"/>
                  <a:pt x="911087" y="977538"/>
                  <a:pt x="909265" y="973893"/>
                </a:cubicBezTo>
                <a:close/>
                <a:moveTo>
                  <a:pt x="723404" y="973893"/>
                </a:moveTo>
                <a:cubicBezTo>
                  <a:pt x="723404" y="973893"/>
                  <a:pt x="721581" y="975715"/>
                  <a:pt x="719759" y="977538"/>
                </a:cubicBezTo>
                <a:cubicBezTo>
                  <a:pt x="721581" y="979360"/>
                  <a:pt x="725226" y="975715"/>
                  <a:pt x="723404" y="973893"/>
                </a:cubicBezTo>
                <a:close/>
                <a:moveTo>
                  <a:pt x="677849" y="973893"/>
                </a:moveTo>
                <a:cubicBezTo>
                  <a:pt x="674205" y="972071"/>
                  <a:pt x="676027" y="977538"/>
                  <a:pt x="676027" y="979360"/>
                </a:cubicBezTo>
                <a:cubicBezTo>
                  <a:pt x="677849" y="979360"/>
                  <a:pt x="677849" y="975715"/>
                  <a:pt x="677849" y="973893"/>
                </a:cubicBezTo>
                <a:close/>
                <a:moveTo>
                  <a:pt x="661449" y="973893"/>
                </a:moveTo>
                <a:cubicBezTo>
                  <a:pt x="659627" y="977538"/>
                  <a:pt x="668738" y="981182"/>
                  <a:pt x="670560" y="979360"/>
                </a:cubicBezTo>
                <a:cubicBezTo>
                  <a:pt x="666916" y="975715"/>
                  <a:pt x="665094" y="977538"/>
                  <a:pt x="661449" y="973893"/>
                </a:cubicBezTo>
                <a:close/>
                <a:moveTo>
                  <a:pt x="497454" y="973893"/>
                </a:moveTo>
                <a:cubicBezTo>
                  <a:pt x="493809" y="975715"/>
                  <a:pt x="499276" y="979360"/>
                  <a:pt x="502920" y="979360"/>
                </a:cubicBezTo>
                <a:cubicBezTo>
                  <a:pt x="501098" y="977538"/>
                  <a:pt x="499276" y="975715"/>
                  <a:pt x="497454" y="973893"/>
                </a:cubicBezTo>
                <a:close/>
                <a:moveTo>
                  <a:pt x="457367" y="973893"/>
                </a:moveTo>
                <a:cubicBezTo>
                  <a:pt x="461010" y="984826"/>
                  <a:pt x="477410" y="992115"/>
                  <a:pt x="484700" y="993937"/>
                </a:cubicBezTo>
                <a:cubicBezTo>
                  <a:pt x="481054" y="981182"/>
                  <a:pt x="475589" y="970249"/>
                  <a:pt x="457367" y="973893"/>
                </a:cubicBezTo>
                <a:close/>
                <a:moveTo>
                  <a:pt x="309771" y="973893"/>
                </a:moveTo>
                <a:cubicBezTo>
                  <a:pt x="306126" y="977538"/>
                  <a:pt x="309771" y="981182"/>
                  <a:pt x="315236" y="979360"/>
                </a:cubicBezTo>
                <a:cubicBezTo>
                  <a:pt x="313414" y="977538"/>
                  <a:pt x="313414" y="973893"/>
                  <a:pt x="309771" y="973893"/>
                </a:cubicBezTo>
                <a:close/>
                <a:moveTo>
                  <a:pt x="189506" y="973893"/>
                </a:moveTo>
                <a:cubicBezTo>
                  <a:pt x="191329" y="983004"/>
                  <a:pt x="202262" y="984826"/>
                  <a:pt x="205906" y="988471"/>
                </a:cubicBezTo>
                <a:cubicBezTo>
                  <a:pt x="205906" y="984826"/>
                  <a:pt x="204084" y="981182"/>
                  <a:pt x="198617" y="975715"/>
                </a:cubicBezTo>
                <a:cubicBezTo>
                  <a:pt x="194973" y="975715"/>
                  <a:pt x="193151" y="975715"/>
                  <a:pt x="189506" y="973893"/>
                </a:cubicBezTo>
                <a:close/>
                <a:moveTo>
                  <a:pt x="156707" y="973893"/>
                </a:moveTo>
                <a:cubicBezTo>
                  <a:pt x="159440" y="973893"/>
                  <a:pt x="161263" y="976170"/>
                  <a:pt x="163085" y="978448"/>
                </a:cubicBezTo>
                <a:lnTo>
                  <a:pt x="165589" y="980237"/>
                </a:lnTo>
                <a:lnTo>
                  <a:pt x="163313" y="979131"/>
                </a:lnTo>
                <a:cubicBezTo>
                  <a:pt x="161263" y="977081"/>
                  <a:pt x="159440" y="974804"/>
                  <a:pt x="156707" y="973893"/>
                </a:cubicBezTo>
                <a:close/>
                <a:moveTo>
                  <a:pt x="2558332" y="972071"/>
                </a:moveTo>
                <a:cubicBezTo>
                  <a:pt x="2551044" y="973893"/>
                  <a:pt x="2543755" y="970249"/>
                  <a:pt x="2541933" y="983004"/>
                </a:cubicBezTo>
                <a:cubicBezTo>
                  <a:pt x="2549222" y="983004"/>
                  <a:pt x="2556510" y="984826"/>
                  <a:pt x="2560155" y="977538"/>
                </a:cubicBezTo>
                <a:cubicBezTo>
                  <a:pt x="2560155" y="977538"/>
                  <a:pt x="2560155" y="977538"/>
                  <a:pt x="2558332" y="977538"/>
                </a:cubicBezTo>
                <a:cubicBezTo>
                  <a:pt x="2558332" y="975715"/>
                  <a:pt x="2558332" y="973893"/>
                  <a:pt x="2558332" y="972071"/>
                </a:cubicBezTo>
                <a:close/>
                <a:moveTo>
                  <a:pt x="1211747" y="972071"/>
                </a:moveTo>
                <a:cubicBezTo>
                  <a:pt x="1209925" y="973893"/>
                  <a:pt x="1211747" y="975715"/>
                  <a:pt x="1209925" y="977538"/>
                </a:cubicBezTo>
                <a:cubicBezTo>
                  <a:pt x="1209925" y="975715"/>
                  <a:pt x="1209925" y="975715"/>
                  <a:pt x="1208102" y="973893"/>
                </a:cubicBezTo>
                <a:cubicBezTo>
                  <a:pt x="1209925" y="973893"/>
                  <a:pt x="1209925" y="972071"/>
                  <a:pt x="1211747" y="972071"/>
                </a:cubicBezTo>
                <a:close/>
                <a:moveTo>
                  <a:pt x="479232" y="972071"/>
                </a:moveTo>
                <a:cubicBezTo>
                  <a:pt x="477410" y="975715"/>
                  <a:pt x="484700" y="977538"/>
                  <a:pt x="484700" y="973893"/>
                </a:cubicBezTo>
                <a:cubicBezTo>
                  <a:pt x="482876" y="970249"/>
                  <a:pt x="481054" y="973893"/>
                  <a:pt x="479232" y="972071"/>
                </a:cubicBezTo>
                <a:close/>
                <a:moveTo>
                  <a:pt x="256927" y="972071"/>
                </a:moveTo>
                <a:cubicBezTo>
                  <a:pt x="256927" y="973893"/>
                  <a:pt x="262393" y="977538"/>
                  <a:pt x="264216" y="977538"/>
                </a:cubicBezTo>
                <a:cubicBezTo>
                  <a:pt x="262393" y="972071"/>
                  <a:pt x="258749" y="973893"/>
                  <a:pt x="256927" y="972071"/>
                </a:cubicBezTo>
                <a:close/>
                <a:moveTo>
                  <a:pt x="52843" y="970293"/>
                </a:moveTo>
                <a:cubicBezTo>
                  <a:pt x="56488" y="977582"/>
                  <a:pt x="63776" y="983049"/>
                  <a:pt x="69243" y="988516"/>
                </a:cubicBezTo>
                <a:lnTo>
                  <a:pt x="69245" y="988517"/>
                </a:lnTo>
                <a:lnTo>
                  <a:pt x="69246" y="988518"/>
                </a:lnTo>
                <a:lnTo>
                  <a:pt x="69246" y="988519"/>
                </a:lnTo>
                <a:lnTo>
                  <a:pt x="69248" y="988520"/>
                </a:lnTo>
                <a:lnTo>
                  <a:pt x="69247" y="988520"/>
                </a:lnTo>
                <a:lnTo>
                  <a:pt x="69254" y="988527"/>
                </a:lnTo>
                <a:lnTo>
                  <a:pt x="89288" y="1012205"/>
                </a:lnTo>
                <a:cubicBezTo>
                  <a:pt x="76532" y="999449"/>
                  <a:pt x="61954" y="986694"/>
                  <a:pt x="52843" y="970293"/>
                </a:cubicBezTo>
                <a:close/>
                <a:moveTo>
                  <a:pt x="2498201" y="970249"/>
                </a:moveTo>
                <a:cubicBezTo>
                  <a:pt x="2494556" y="977538"/>
                  <a:pt x="2490912" y="983004"/>
                  <a:pt x="2492734" y="992115"/>
                </a:cubicBezTo>
                <a:cubicBezTo>
                  <a:pt x="2489090" y="992115"/>
                  <a:pt x="2485446" y="999403"/>
                  <a:pt x="2485446" y="1006692"/>
                </a:cubicBezTo>
                <a:cubicBezTo>
                  <a:pt x="2496379" y="999403"/>
                  <a:pt x="2500023" y="988471"/>
                  <a:pt x="2509134" y="981182"/>
                </a:cubicBezTo>
                <a:cubicBezTo>
                  <a:pt x="2507312" y="972071"/>
                  <a:pt x="2500023" y="975715"/>
                  <a:pt x="2498201" y="970249"/>
                </a:cubicBezTo>
                <a:close/>
                <a:moveTo>
                  <a:pt x="818156" y="970249"/>
                </a:moveTo>
                <a:cubicBezTo>
                  <a:pt x="810868" y="972071"/>
                  <a:pt x="805401" y="968427"/>
                  <a:pt x="801757" y="972071"/>
                </a:cubicBezTo>
                <a:cubicBezTo>
                  <a:pt x="807223" y="972071"/>
                  <a:pt x="812690" y="973893"/>
                  <a:pt x="818156" y="970249"/>
                </a:cubicBezTo>
                <a:close/>
                <a:moveTo>
                  <a:pt x="734336" y="970249"/>
                </a:moveTo>
                <a:lnTo>
                  <a:pt x="734336" y="971463"/>
                </a:lnTo>
                <a:lnTo>
                  <a:pt x="733832" y="970624"/>
                </a:lnTo>
                <a:close/>
                <a:moveTo>
                  <a:pt x="683316" y="970249"/>
                </a:moveTo>
                <a:cubicBezTo>
                  <a:pt x="679671" y="970249"/>
                  <a:pt x="681493" y="973893"/>
                  <a:pt x="679671" y="975715"/>
                </a:cubicBezTo>
                <a:cubicBezTo>
                  <a:pt x="683316" y="975715"/>
                  <a:pt x="685138" y="977538"/>
                  <a:pt x="686960" y="979360"/>
                </a:cubicBezTo>
                <a:cubicBezTo>
                  <a:pt x="690604" y="975715"/>
                  <a:pt x="683316" y="973893"/>
                  <a:pt x="683316" y="970249"/>
                </a:cubicBezTo>
                <a:close/>
                <a:moveTo>
                  <a:pt x="650516" y="970249"/>
                </a:moveTo>
                <a:cubicBezTo>
                  <a:pt x="650516" y="979360"/>
                  <a:pt x="650516" y="988471"/>
                  <a:pt x="659627" y="993937"/>
                </a:cubicBezTo>
                <a:cubicBezTo>
                  <a:pt x="659627" y="992115"/>
                  <a:pt x="654161" y="988471"/>
                  <a:pt x="655983" y="984826"/>
                </a:cubicBezTo>
                <a:cubicBezTo>
                  <a:pt x="657805" y="984826"/>
                  <a:pt x="657805" y="988471"/>
                  <a:pt x="661449" y="990293"/>
                </a:cubicBezTo>
                <a:cubicBezTo>
                  <a:pt x="657805" y="983004"/>
                  <a:pt x="655983" y="975715"/>
                  <a:pt x="650516" y="970249"/>
                </a:cubicBezTo>
                <a:close/>
                <a:moveTo>
                  <a:pt x="619539" y="970249"/>
                </a:moveTo>
                <a:cubicBezTo>
                  <a:pt x="617717" y="970249"/>
                  <a:pt x="617717" y="972071"/>
                  <a:pt x="615895" y="973893"/>
                </a:cubicBezTo>
                <a:cubicBezTo>
                  <a:pt x="621362" y="979360"/>
                  <a:pt x="625006" y="981182"/>
                  <a:pt x="630472" y="983004"/>
                </a:cubicBezTo>
                <a:cubicBezTo>
                  <a:pt x="628650" y="979360"/>
                  <a:pt x="626828" y="973893"/>
                  <a:pt x="619539" y="970249"/>
                </a:cubicBezTo>
                <a:close/>
                <a:moveTo>
                  <a:pt x="72887" y="970249"/>
                </a:moveTo>
                <a:lnTo>
                  <a:pt x="74123" y="972273"/>
                </a:lnTo>
                <a:lnTo>
                  <a:pt x="83592" y="987787"/>
                </a:lnTo>
                <a:cubicBezTo>
                  <a:pt x="87464" y="993481"/>
                  <a:pt x="92020" y="998492"/>
                  <a:pt x="98398" y="1001226"/>
                </a:cubicBezTo>
                <a:cubicBezTo>
                  <a:pt x="94753" y="997582"/>
                  <a:pt x="91109" y="992115"/>
                  <a:pt x="87465" y="988471"/>
                </a:cubicBezTo>
                <a:cubicBezTo>
                  <a:pt x="103864" y="1003047"/>
                  <a:pt x="118442" y="1026736"/>
                  <a:pt x="140308" y="1034025"/>
                </a:cubicBezTo>
                <a:cubicBezTo>
                  <a:pt x="123908" y="1019448"/>
                  <a:pt x="105686" y="1006692"/>
                  <a:pt x="92931" y="990293"/>
                </a:cubicBezTo>
                <a:cubicBezTo>
                  <a:pt x="100220" y="990293"/>
                  <a:pt x="100220" y="1003047"/>
                  <a:pt x="107509" y="1003047"/>
                </a:cubicBezTo>
                <a:cubicBezTo>
                  <a:pt x="94753" y="983004"/>
                  <a:pt x="83820" y="981182"/>
                  <a:pt x="72887" y="970249"/>
                </a:cubicBezTo>
                <a:close/>
                <a:moveTo>
                  <a:pt x="418645" y="968882"/>
                </a:moveTo>
                <a:lnTo>
                  <a:pt x="413634" y="973893"/>
                </a:lnTo>
                <a:lnTo>
                  <a:pt x="411812" y="975715"/>
                </a:lnTo>
                <a:cubicBezTo>
                  <a:pt x="409989" y="975715"/>
                  <a:pt x="408167" y="977538"/>
                  <a:pt x="406345" y="977538"/>
                </a:cubicBezTo>
                <a:cubicBezTo>
                  <a:pt x="408167" y="979360"/>
                  <a:pt x="411812" y="981182"/>
                  <a:pt x="415456" y="983004"/>
                </a:cubicBezTo>
                <a:cubicBezTo>
                  <a:pt x="413634" y="981182"/>
                  <a:pt x="411812" y="977538"/>
                  <a:pt x="411812" y="975715"/>
                </a:cubicBezTo>
                <a:cubicBezTo>
                  <a:pt x="411812" y="979360"/>
                  <a:pt x="420923" y="986649"/>
                  <a:pt x="430034" y="990293"/>
                </a:cubicBezTo>
                <a:cubicBezTo>
                  <a:pt x="424567" y="986649"/>
                  <a:pt x="422745" y="979360"/>
                  <a:pt x="415456" y="979360"/>
                </a:cubicBezTo>
                <a:cubicBezTo>
                  <a:pt x="415456" y="979360"/>
                  <a:pt x="417278" y="977538"/>
                  <a:pt x="419100" y="979360"/>
                </a:cubicBezTo>
                <a:lnTo>
                  <a:pt x="413634" y="973893"/>
                </a:lnTo>
                <a:lnTo>
                  <a:pt x="428211" y="975715"/>
                </a:lnTo>
                <a:cubicBezTo>
                  <a:pt x="426389" y="970248"/>
                  <a:pt x="422289" y="968426"/>
                  <a:pt x="418645" y="968882"/>
                </a:cubicBezTo>
                <a:close/>
                <a:moveTo>
                  <a:pt x="2285007" y="968427"/>
                </a:moveTo>
                <a:cubicBezTo>
                  <a:pt x="2281362" y="972071"/>
                  <a:pt x="2277718" y="973893"/>
                  <a:pt x="2275896" y="979360"/>
                </a:cubicBezTo>
                <a:cubicBezTo>
                  <a:pt x="2277718" y="981182"/>
                  <a:pt x="2286829" y="979360"/>
                  <a:pt x="2290473" y="975715"/>
                </a:cubicBezTo>
                <a:cubicBezTo>
                  <a:pt x="2292295" y="970249"/>
                  <a:pt x="2288651" y="964782"/>
                  <a:pt x="2285007" y="968427"/>
                </a:cubicBezTo>
                <a:close/>
                <a:moveTo>
                  <a:pt x="1058683" y="968427"/>
                </a:moveTo>
                <a:cubicBezTo>
                  <a:pt x="1056861" y="968427"/>
                  <a:pt x="1058683" y="970249"/>
                  <a:pt x="1056861" y="970249"/>
                </a:cubicBezTo>
                <a:cubicBezTo>
                  <a:pt x="1051395" y="968427"/>
                  <a:pt x="1045929" y="973893"/>
                  <a:pt x="1042284" y="977538"/>
                </a:cubicBezTo>
                <a:lnTo>
                  <a:pt x="1044678" y="979134"/>
                </a:lnTo>
                <a:lnTo>
                  <a:pt x="1033173" y="979360"/>
                </a:lnTo>
                <a:cubicBezTo>
                  <a:pt x="1036818" y="988471"/>
                  <a:pt x="1033173" y="995759"/>
                  <a:pt x="1036818" y="1004870"/>
                </a:cubicBezTo>
                <a:cubicBezTo>
                  <a:pt x="1042284" y="1001226"/>
                  <a:pt x="1049573" y="1001226"/>
                  <a:pt x="1053217" y="993937"/>
                </a:cubicBezTo>
                <a:cubicBezTo>
                  <a:pt x="1053217" y="992115"/>
                  <a:pt x="1049573" y="992115"/>
                  <a:pt x="1047750" y="990293"/>
                </a:cubicBezTo>
                <a:cubicBezTo>
                  <a:pt x="1049573" y="988471"/>
                  <a:pt x="1053217" y="992115"/>
                  <a:pt x="1055040" y="988471"/>
                </a:cubicBezTo>
                <a:lnTo>
                  <a:pt x="1045101" y="979416"/>
                </a:lnTo>
                <a:lnTo>
                  <a:pt x="1053217" y="984826"/>
                </a:lnTo>
                <a:cubicBezTo>
                  <a:pt x="1055040" y="981182"/>
                  <a:pt x="1053217" y="984826"/>
                  <a:pt x="1056861" y="984826"/>
                </a:cubicBezTo>
                <a:cubicBezTo>
                  <a:pt x="1058683" y="983004"/>
                  <a:pt x="1058683" y="983004"/>
                  <a:pt x="1060506" y="981182"/>
                </a:cubicBezTo>
                <a:cubicBezTo>
                  <a:pt x="1060506" y="977538"/>
                  <a:pt x="1058683" y="973893"/>
                  <a:pt x="1056861" y="970249"/>
                </a:cubicBezTo>
                <a:cubicBezTo>
                  <a:pt x="1058683" y="968427"/>
                  <a:pt x="1058683" y="973893"/>
                  <a:pt x="1060506" y="973893"/>
                </a:cubicBezTo>
                <a:cubicBezTo>
                  <a:pt x="1062328" y="972071"/>
                  <a:pt x="1060506" y="968427"/>
                  <a:pt x="1058683" y="968427"/>
                </a:cubicBezTo>
                <a:close/>
                <a:moveTo>
                  <a:pt x="1049573" y="968427"/>
                </a:moveTo>
                <a:cubicBezTo>
                  <a:pt x="1044106" y="966604"/>
                  <a:pt x="1038639" y="972071"/>
                  <a:pt x="1034995" y="972071"/>
                </a:cubicBezTo>
                <a:cubicBezTo>
                  <a:pt x="1034995" y="975715"/>
                  <a:pt x="1045929" y="970249"/>
                  <a:pt x="1049573" y="968427"/>
                </a:cubicBezTo>
                <a:close/>
                <a:moveTo>
                  <a:pt x="1031351" y="968427"/>
                </a:moveTo>
                <a:cubicBezTo>
                  <a:pt x="1027707" y="968427"/>
                  <a:pt x="1025884" y="970249"/>
                  <a:pt x="1024062" y="973893"/>
                </a:cubicBezTo>
                <a:cubicBezTo>
                  <a:pt x="1027707" y="975715"/>
                  <a:pt x="1031351" y="970249"/>
                  <a:pt x="1031351" y="968427"/>
                </a:cubicBezTo>
                <a:close/>
                <a:moveTo>
                  <a:pt x="1005840" y="968427"/>
                </a:moveTo>
                <a:cubicBezTo>
                  <a:pt x="1002196" y="968427"/>
                  <a:pt x="1000374" y="973893"/>
                  <a:pt x="998552" y="975715"/>
                </a:cubicBezTo>
                <a:cubicBezTo>
                  <a:pt x="998552" y="977538"/>
                  <a:pt x="998552" y="975715"/>
                  <a:pt x="1000374" y="977538"/>
                </a:cubicBezTo>
                <a:cubicBezTo>
                  <a:pt x="1002196" y="973893"/>
                  <a:pt x="1004018" y="970249"/>
                  <a:pt x="1005840" y="968427"/>
                </a:cubicBezTo>
                <a:close/>
                <a:moveTo>
                  <a:pt x="949353" y="968427"/>
                </a:moveTo>
                <a:cubicBezTo>
                  <a:pt x="947531" y="973893"/>
                  <a:pt x="947531" y="981182"/>
                  <a:pt x="952997" y="986649"/>
                </a:cubicBezTo>
                <a:cubicBezTo>
                  <a:pt x="954819" y="983004"/>
                  <a:pt x="956642" y="979360"/>
                  <a:pt x="958464" y="975715"/>
                </a:cubicBezTo>
                <a:cubicBezTo>
                  <a:pt x="954819" y="973893"/>
                  <a:pt x="951175" y="972071"/>
                  <a:pt x="949353" y="968427"/>
                </a:cubicBezTo>
                <a:close/>
                <a:moveTo>
                  <a:pt x="317059" y="968427"/>
                </a:moveTo>
                <a:cubicBezTo>
                  <a:pt x="315236" y="970249"/>
                  <a:pt x="315236" y="970249"/>
                  <a:pt x="315236" y="970249"/>
                </a:cubicBezTo>
                <a:cubicBezTo>
                  <a:pt x="317059" y="972071"/>
                  <a:pt x="318882" y="973893"/>
                  <a:pt x="320703" y="973893"/>
                </a:cubicBezTo>
                <a:cubicBezTo>
                  <a:pt x="320703" y="972071"/>
                  <a:pt x="318882" y="970249"/>
                  <a:pt x="317059" y="968427"/>
                </a:cubicBezTo>
                <a:close/>
                <a:moveTo>
                  <a:pt x="284259" y="968427"/>
                </a:moveTo>
                <a:cubicBezTo>
                  <a:pt x="284259" y="975715"/>
                  <a:pt x="293370" y="981182"/>
                  <a:pt x="298837" y="984826"/>
                </a:cubicBezTo>
                <a:cubicBezTo>
                  <a:pt x="298837" y="983004"/>
                  <a:pt x="295193" y="979360"/>
                  <a:pt x="298837" y="977538"/>
                </a:cubicBezTo>
                <a:cubicBezTo>
                  <a:pt x="300660" y="984826"/>
                  <a:pt x="311592" y="988471"/>
                  <a:pt x="315236" y="993937"/>
                </a:cubicBezTo>
                <a:cubicBezTo>
                  <a:pt x="313414" y="983004"/>
                  <a:pt x="300660" y="979360"/>
                  <a:pt x="297015" y="972071"/>
                </a:cubicBezTo>
                <a:cubicBezTo>
                  <a:pt x="295193" y="973893"/>
                  <a:pt x="289726" y="970249"/>
                  <a:pt x="284259" y="968427"/>
                </a:cubicBezTo>
                <a:close/>
                <a:moveTo>
                  <a:pt x="242349" y="968427"/>
                </a:moveTo>
                <a:cubicBezTo>
                  <a:pt x="244172" y="973893"/>
                  <a:pt x="253282" y="981182"/>
                  <a:pt x="258749" y="986649"/>
                </a:cubicBezTo>
                <a:cubicBezTo>
                  <a:pt x="256927" y="988471"/>
                  <a:pt x="262393" y="992115"/>
                  <a:pt x="264216" y="990293"/>
                </a:cubicBezTo>
                <a:cubicBezTo>
                  <a:pt x="262393" y="988471"/>
                  <a:pt x="260571" y="988471"/>
                  <a:pt x="258749" y="986649"/>
                </a:cubicBezTo>
                <a:cubicBezTo>
                  <a:pt x="256927" y="977538"/>
                  <a:pt x="245994" y="972071"/>
                  <a:pt x="242349" y="968427"/>
                </a:cubicBezTo>
                <a:close/>
                <a:moveTo>
                  <a:pt x="222306" y="968427"/>
                </a:moveTo>
                <a:cubicBezTo>
                  <a:pt x="222306" y="973893"/>
                  <a:pt x="229594" y="986649"/>
                  <a:pt x="236883" y="984826"/>
                </a:cubicBezTo>
                <a:cubicBezTo>
                  <a:pt x="235061" y="981182"/>
                  <a:pt x="235061" y="983004"/>
                  <a:pt x="235061" y="981182"/>
                </a:cubicBezTo>
                <a:cubicBezTo>
                  <a:pt x="238705" y="981182"/>
                  <a:pt x="244172" y="990293"/>
                  <a:pt x="247816" y="986649"/>
                </a:cubicBezTo>
                <a:cubicBezTo>
                  <a:pt x="240527" y="975715"/>
                  <a:pt x="231416" y="973893"/>
                  <a:pt x="222306" y="968427"/>
                </a:cubicBezTo>
                <a:close/>
                <a:moveTo>
                  <a:pt x="187684" y="968427"/>
                </a:moveTo>
                <a:cubicBezTo>
                  <a:pt x="187684" y="975715"/>
                  <a:pt x="193151" y="970249"/>
                  <a:pt x="196795" y="973893"/>
                </a:cubicBezTo>
                <a:cubicBezTo>
                  <a:pt x="194973" y="972071"/>
                  <a:pt x="189506" y="972071"/>
                  <a:pt x="187684" y="968427"/>
                </a:cubicBezTo>
                <a:close/>
                <a:moveTo>
                  <a:pt x="2339672" y="968427"/>
                </a:moveTo>
                <a:lnTo>
                  <a:pt x="2341521" y="969351"/>
                </a:lnTo>
                <a:lnTo>
                  <a:pt x="2341494" y="970249"/>
                </a:lnTo>
                <a:lnTo>
                  <a:pt x="2339276" y="968823"/>
                </a:lnTo>
                <a:close/>
                <a:moveTo>
                  <a:pt x="1326221" y="968248"/>
                </a:moveTo>
                <a:lnTo>
                  <a:pt x="1328365" y="968427"/>
                </a:lnTo>
                <a:lnTo>
                  <a:pt x="1327089" y="969702"/>
                </a:lnTo>
                <a:lnTo>
                  <a:pt x="1324721" y="970249"/>
                </a:lnTo>
                <a:close/>
                <a:moveTo>
                  <a:pt x="3172405" y="966604"/>
                </a:moveTo>
                <a:cubicBezTo>
                  <a:pt x="3161472" y="968427"/>
                  <a:pt x="3159650" y="977538"/>
                  <a:pt x="3154184" y="981182"/>
                </a:cubicBezTo>
                <a:cubicBezTo>
                  <a:pt x="3156006" y="984826"/>
                  <a:pt x="3163294" y="983004"/>
                  <a:pt x="3168761" y="983004"/>
                </a:cubicBezTo>
                <a:cubicBezTo>
                  <a:pt x="3168761" y="975715"/>
                  <a:pt x="3172405" y="973893"/>
                  <a:pt x="3172405" y="966604"/>
                </a:cubicBezTo>
                <a:close/>
                <a:moveTo>
                  <a:pt x="2425314" y="966604"/>
                </a:moveTo>
                <a:cubicBezTo>
                  <a:pt x="2421669" y="968427"/>
                  <a:pt x="2419847" y="973893"/>
                  <a:pt x="2416203" y="975715"/>
                </a:cubicBezTo>
                <a:cubicBezTo>
                  <a:pt x="2427136" y="984826"/>
                  <a:pt x="2447180" y="1003047"/>
                  <a:pt x="2458113" y="990293"/>
                </a:cubicBezTo>
                <a:cubicBezTo>
                  <a:pt x="2459935" y="993937"/>
                  <a:pt x="2454469" y="1001226"/>
                  <a:pt x="2463580" y="1001226"/>
                </a:cubicBezTo>
                <a:cubicBezTo>
                  <a:pt x="2461757" y="997582"/>
                  <a:pt x="2465402" y="997582"/>
                  <a:pt x="2463580" y="993937"/>
                </a:cubicBezTo>
                <a:cubicBezTo>
                  <a:pt x="2465402" y="997582"/>
                  <a:pt x="2467224" y="1001226"/>
                  <a:pt x="2469046" y="1004870"/>
                </a:cubicBezTo>
                <a:cubicBezTo>
                  <a:pt x="2470868" y="1010337"/>
                  <a:pt x="2463580" y="999403"/>
                  <a:pt x="2463580" y="1006692"/>
                </a:cubicBezTo>
                <a:cubicBezTo>
                  <a:pt x="2463580" y="1008515"/>
                  <a:pt x="2467224" y="1010337"/>
                  <a:pt x="2467224" y="1013981"/>
                </a:cubicBezTo>
                <a:cubicBezTo>
                  <a:pt x="2474513" y="1003047"/>
                  <a:pt x="2481801" y="992115"/>
                  <a:pt x="2479979" y="975715"/>
                </a:cubicBezTo>
                <a:cubicBezTo>
                  <a:pt x="2469046" y="977538"/>
                  <a:pt x="2454469" y="973893"/>
                  <a:pt x="2454469" y="990293"/>
                </a:cubicBezTo>
                <a:cubicBezTo>
                  <a:pt x="2450824" y="990293"/>
                  <a:pt x="2449002" y="981182"/>
                  <a:pt x="2450824" y="975715"/>
                </a:cubicBezTo>
                <a:cubicBezTo>
                  <a:pt x="2449002" y="975715"/>
                  <a:pt x="2447180" y="977538"/>
                  <a:pt x="2445358" y="975715"/>
                </a:cubicBezTo>
                <a:cubicBezTo>
                  <a:pt x="2443536" y="972071"/>
                  <a:pt x="2447180" y="970249"/>
                  <a:pt x="2445358" y="966604"/>
                </a:cubicBezTo>
                <a:cubicBezTo>
                  <a:pt x="2443536" y="964782"/>
                  <a:pt x="2441713" y="964782"/>
                  <a:pt x="2439891" y="966604"/>
                </a:cubicBezTo>
                <a:cubicBezTo>
                  <a:pt x="2441713" y="970249"/>
                  <a:pt x="2443536" y="973893"/>
                  <a:pt x="2441713" y="975715"/>
                </a:cubicBezTo>
                <a:cubicBezTo>
                  <a:pt x="2438069" y="977538"/>
                  <a:pt x="2434425" y="973893"/>
                  <a:pt x="2434425" y="970249"/>
                </a:cubicBezTo>
                <a:cubicBezTo>
                  <a:pt x="2432603" y="973893"/>
                  <a:pt x="2432603" y="977538"/>
                  <a:pt x="2430780" y="983004"/>
                </a:cubicBezTo>
                <a:cubicBezTo>
                  <a:pt x="2425314" y="983004"/>
                  <a:pt x="2428958" y="968427"/>
                  <a:pt x="2425314" y="966604"/>
                </a:cubicBezTo>
                <a:close/>
                <a:moveTo>
                  <a:pt x="236883" y="966604"/>
                </a:moveTo>
                <a:lnTo>
                  <a:pt x="245565" y="976527"/>
                </a:lnTo>
                <a:lnTo>
                  <a:pt x="245994" y="977538"/>
                </a:lnTo>
                <a:cubicBezTo>
                  <a:pt x="247816" y="979360"/>
                  <a:pt x="249638" y="979360"/>
                  <a:pt x="249638" y="981182"/>
                </a:cubicBezTo>
                <a:lnTo>
                  <a:pt x="245565" y="976527"/>
                </a:lnTo>
                <a:lnTo>
                  <a:pt x="242805" y="970021"/>
                </a:lnTo>
                <a:cubicBezTo>
                  <a:pt x="240983" y="968427"/>
                  <a:pt x="238705" y="967516"/>
                  <a:pt x="236883" y="966604"/>
                </a:cubicBezTo>
                <a:close/>
                <a:moveTo>
                  <a:pt x="982152" y="965693"/>
                </a:moveTo>
                <a:lnTo>
                  <a:pt x="983366" y="965997"/>
                </a:lnTo>
                <a:lnTo>
                  <a:pt x="983974" y="966604"/>
                </a:lnTo>
                <a:close/>
                <a:moveTo>
                  <a:pt x="2563799" y="964782"/>
                </a:moveTo>
                <a:cubicBezTo>
                  <a:pt x="2558332" y="964782"/>
                  <a:pt x="2565621" y="973893"/>
                  <a:pt x="2563799" y="981182"/>
                </a:cubicBezTo>
                <a:cubicBezTo>
                  <a:pt x="2569266" y="981182"/>
                  <a:pt x="2574732" y="981182"/>
                  <a:pt x="2578377" y="979360"/>
                </a:cubicBezTo>
                <a:cubicBezTo>
                  <a:pt x="2574732" y="972071"/>
                  <a:pt x="2567443" y="970249"/>
                  <a:pt x="2563799" y="964782"/>
                </a:cubicBezTo>
                <a:close/>
                <a:moveTo>
                  <a:pt x="2337850" y="964782"/>
                </a:moveTo>
                <a:cubicBezTo>
                  <a:pt x="2338761" y="964782"/>
                  <a:pt x="2338305" y="966604"/>
                  <a:pt x="2338305" y="968199"/>
                </a:cubicBezTo>
                <a:lnTo>
                  <a:pt x="2339276" y="968823"/>
                </a:lnTo>
                <a:lnTo>
                  <a:pt x="2336640" y="971459"/>
                </a:lnTo>
                <a:lnTo>
                  <a:pt x="2336158" y="971546"/>
                </a:lnTo>
                <a:close/>
                <a:moveTo>
                  <a:pt x="1198991" y="964782"/>
                </a:moveTo>
                <a:cubicBezTo>
                  <a:pt x="1200814" y="970249"/>
                  <a:pt x="1208102" y="977538"/>
                  <a:pt x="1209925" y="983004"/>
                </a:cubicBezTo>
                <a:cubicBezTo>
                  <a:pt x="1209925" y="983004"/>
                  <a:pt x="1211747" y="981182"/>
                  <a:pt x="1211747" y="981182"/>
                </a:cubicBezTo>
                <a:cubicBezTo>
                  <a:pt x="1213568" y="984826"/>
                  <a:pt x="1209925" y="988471"/>
                  <a:pt x="1213568" y="992115"/>
                </a:cubicBezTo>
                <a:cubicBezTo>
                  <a:pt x="1213568" y="990293"/>
                  <a:pt x="1217213" y="988471"/>
                  <a:pt x="1219036" y="986649"/>
                </a:cubicBezTo>
                <a:cubicBezTo>
                  <a:pt x="1219036" y="988471"/>
                  <a:pt x="1215390" y="992115"/>
                  <a:pt x="1213568" y="993937"/>
                </a:cubicBezTo>
                <a:cubicBezTo>
                  <a:pt x="1215390" y="995759"/>
                  <a:pt x="1215390" y="997582"/>
                  <a:pt x="1217213" y="999403"/>
                </a:cubicBezTo>
                <a:cubicBezTo>
                  <a:pt x="1215390" y="997582"/>
                  <a:pt x="1215390" y="999403"/>
                  <a:pt x="1213568" y="999403"/>
                </a:cubicBezTo>
                <a:cubicBezTo>
                  <a:pt x="1213568" y="997582"/>
                  <a:pt x="1215390" y="995759"/>
                  <a:pt x="1211747" y="995759"/>
                </a:cubicBezTo>
                <a:cubicBezTo>
                  <a:pt x="1211747" y="997582"/>
                  <a:pt x="1209925" y="999403"/>
                  <a:pt x="1211747" y="1003047"/>
                </a:cubicBezTo>
                <a:cubicBezTo>
                  <a:pt x="1211747" y="1003047"/>
                  <a:pt x="1213568" y="1001226"/>
                  <a:pt x="1213568" y="1001226"/>
                </a:cubicBezTo>
                <a:cubicBezTo>
                  <a:pt x="1211747" y="1004870"/>
                  <a:pt x="1211747" y="1010337"/>
                  <a:pt x="1211747" y="1012159"/>
                </a:cubicBezTo>
                <a:cubicBezTo>
                  <a:pt x="1217213" y="1008515"/>
                  <a:pt x="1220858" y="1004870"/>
                  <a:pt x="1226323" y="999403"/>
                </a:cubicBezTo>
                <a:cubicBezTo>
                  <a:pt x="1224501" y="997582"/>
                  <a:pt x="1226323" y="997582"/>
                  <a:pt x="1224501" y="995759"/>
                </a:cubicBezTo>
                <a:cubicBezTo>
                  <a:pt x="1226323" y="997582"/>
                  <a:pt x="1226323" y="999403"/>
                  <a:pt x="1229969" y="995759"/>
                </a:cubicBezTo>
                <a:cubicBezTo>
                  <a:pt x="1228146" y="1001226"/>
                  <a:pt x="1219036" y="1006692"/>
                  <a:pt x="1213568" y="1012159"/>
                </a:cubicBezTo>
                <a:cubicBezTo>
                  <a:pt x="1213568" y="1013981"/>
                  <a:pt x="1217213" y="1017625"/>
                  <a:pt x="1217213" y="1019448"/>
                </a:cubicBezTo>
                <a:cubicBezTo>
                  <a:pt x="1222679" y="1019448"/>
                  <a:pt x="1222679" y="1012159"/>
                  <a:pt x="1222679" y="1012159"/>
                </a:cubicBezTo>
                <a:cubicBezTo>
                  <a:pt x="1224501" y="1010337"/>
                  <a:pt x="1224501" y="1013981"/>
                  <a:pt x="1226323" y="1015803"/>
                </a:cubicBezTo>
                <a:cubicBezTo>
                  <a:pt x="1231790" y="1006692"/>
                  <a:pt x="1235434" y="995759"/>
                  <a:pt x="1239080" y="986649"/>
                </a:cubicBezTo>
                <a:cubicBezTo>
                  <a:pt x="1237256" y="983004"/>
                  <a:pt x="1231790" y="983004"/>
                  <a:pt x="1231790" y="979360"/>
                </a:cubicBezTo>
                <a:cubicBezTo>
                  <a:pt x="1228146" y="981182"/>
                  <a:pt x="1226323" y="977538"/>
                  <a:pt x="1222679" y="979360"/>
                </a:cubicBezTo>
                <a:cubicBezTo>
                  <a:pt x="1219036" y="973893"/>
                  <a:pt x="1215390" y="975715"/>
                  <a:pt x="1211747" y="972071"/>
                </a:cubicBezTo>
                <a:cubicBezTo>
                  <a:pt x="1209925" y="970249"/>
                  <a:pt x="1209925" y="970249"/>
                  <a:pt x="1209925" y="968427"/>
                </a:cubicBezTo>
                <a:cubicBezTo>
                  <a:pt x="1206279" y="966604"/>
                  <a:pt x="1202636" y="962960"/>
                  <a:pt x="1198991" y="964782"/>
                </a:cubicBezTo>
                <a:close/>
                <a:moveTo>
                  <a:pt x="1197169" y="964782"/>
                </a:moveTo>
                <a:cubicBezTo>
                  <a:pt x="1193525" y="966604"/>
                  <a:pt x="1189880" y="972071"/>
                  <a:pt x="1191703" y="975715"/>
                </a:cubicBezTo>
                <a:cubicBezTo>
                  <a:pt x="1193525" y="972071"/>
                  <a:pt x="1197169" y="973893"/>
                  <a:pt x="1198991" y="972071"/>
                </a:cubicBezTo>
                <a:cubicBezTo>
                  <a:pt x="1195346" y="973893"/>
                  <a:pt x="1191703" y="973893"/>
                  <a:pt x="1188058" y="977538"/>
                </a:cubicBezTo>
                <a:cubicBezTo>
                  <a:pt x="1189880" y="983004"/>
                  <a:pt x="1189880" y="990293"/>
                  <a:pt x="1193525" y="997582"/>
                </a:cubicBezTo>
                <a:cubicBezTo>
                  <a:pt x="1195346" y="997582"/>
                  <a:pt x="1195346" y="995759"/>
                  <a:pt x="1197169" y="995759"/>
                </a:cubicBezTo>
                <a:cubicBezTo>
                  <a:pt x="1195346" y="1008515"/>
                  <a:pt x="1191703" y="1019448"/>
                  <a:pt x="1189880" y="1030381"/>
                </a:cubicBezTo>
                <a:cubicBezTo>
                  <a:pt x="1188058" y="1030381"/>
                  <a:pt x="1186236" y="1030381"/>
                  <a:pt x="1186236" y="1032203"/>
                </a:cubicBezTo>
                <a:cubicBezTo>
                  <a:pt x="1188058" y="1034025"/>
                  <a:pt x="1189880" y="1034025"/>
                  <a:pt x="1189880" y="1032203"/>
                </a:cubicBezTo>
                <a:cubicBezTo>
                  <a:pt x="1189880" y="1032203"/>
                  <a:pt x="1189880" y="1034025"/>
                  <a:pt x="1191703" y="1035847"/>
                </a:cubicBezTo>
                <a:cubicBezTo>
                  <a:pt x="1193525" y="1035847"/>
                  <a:pt x="1193525" y="1034025"/>
                  <a:pt x="1195346" y="1032203"/>
                </a:cubicBezTo>
                <a:cubicBezTo>
                  <a:pt x="1197169" y="1032203"/>
                  <a:pt x="1195346" y="1035847"/>
                  <a:pt x="1193525" y="1037669"/>
                </a:cubicBezTo>
                <a:cubicBezTo>
                  <a:pt x="1202636" y="1032203"/>
                  <a:pt x="1206279" y="1019448"/>
                  <a:pt x="1204457" y="1010337"/>
                </a:cubicBezTo>
                <a:cubicBezTo>
                  <a:pt x="1209925" y="1006692"/>
                  <a:pt x="1204457" y="995759"/>
                  <a:pt x="1208102" y="990293"/>
                </a:cubicBezTo>
                <a:cubicBezTo>
                  <a:pt x="1204457" y="986649"/>
                  <a:pt x="1202636" y="983004"/>
                  <a:pt x="1198991" y="979360"/>
                </a:cubicBezTo>
                <a:cubicBezTo>
                  <a:pt x="1198991" y="978449"/>
                  <a:pt x="1199447" y="978905"/>
                  <a:pt x="1200130" y="979360"/>
                </a:cubicBezTo>
                <a:lnTo>
                  <a:pt x="1202635" y="979360"/>
                </a:lnTo>
                <a:lnTo>
                  <a:pt x="1202636" y="979360"/>
                </a:lnTo>
                <a:lnTo>
                  <a:pt x="1203774" y="983688"/>
                </a:lnTo>
                <a:cubicBezTo>
                  <a:pt x="1204457" y="985282"/>
                  <a:pt x="1205368" y="986649"/>
                  <a:pt x="1206279" y="986649"/>
                </a:cubicBezTo>
                <a:lnTo>
                  <a:pt x="1202636" y="979360"/>
                </a:lnTo>
                <a:lnTo>
                  <a:pt x="1202636" y="979360"/>
                </a:lnTo>
                <a:lnTo>
                  <a:pt x="1202635" y="979360"/>
                </a:lnTo>
                <a:lnTo>
                  <a:pt x="1198991" y="972071"/>
                </a:lnTo>
                <a:cubicBezTo>
                  <a:pt x="1198991" y="968427"/>
                  <a:pt x="1193525" y="968427"/>
                  <a:pt x="1197169" y="964782"/>
                </a:cubicBezTo>
                <a:close/>
                <a:moveTo>
                  <a:pt x="836378" y="964782"/>
                </a:moveTo>
                <a:lnTo>
                  <a:pt x="816933" y="967774"/>
                </a:lnTo>
                <a:lnTo>
                  <a:pt x="816334" y="967288"/>
                </a:lnTo>
                <a:cubicBezTo>
                  <a:pt x="814512" y="967971"/>
                  <a:pt x="812690" y="969338"/>
                  <a:pt x="812690" y="968427"/>
                </a:cubicBezTo>
                <a:lnTo>
                  <a:pt x="816933" y="967774"/>
                </a:lnTo>
                <a:lnTo>
                  <a:pt x="819979" y="970249"/>
                </a:lnTo>
                <a:cubicBezTo>
                  <a:pt x="812690" y="973893"/>
                  <a:pt x="807223" y="972071"/>
                  <a:pt x="801757" y="973893"/>
                </a:cubicBezTo>
                <a:cubicBezTo>
                  <a:pt x="812690" y="983004"/>
                  <a:pt x="816334" y="997582"/>
                  <a:pt x="825445" y="1004870"/>
                </a:cubicBezTo>
                <a:cubicBezTo>
                  <a:pt x="825445" y="997582"/>
                  <a:pt x="823623" y="990293"/>
                  <a:pt x="823623" y="983004"/>
                </a:cubicBezTo>
                <a:cubicBezTo>
                  <a:pt x="829089" y="986649"/>
                  <a:pt x="832734" y="990293"/>
                  <a:pt x="840022" y="990293"/>
                </a:cubicBezTo>
                <a:cubicBezTo>
                  <a:pt x="825445" y="993937"/>
                  <a:pt x="829089" y="999403"/>
                  <a:pt x="829089" y="1010337"/>
                </a:cubicBezTo>
                <a:lnTo>
                  <a:pt x="823623" y="1013070"/>
                </a:lnTo>
                <a:lnTo>
                  <a:pt x="823623" y="1012159"/>
                </a:lnTo>
                <a:cubicBezTo>
                  <a:pt x="821801" y="993937"/>
                  <a:pt x="799935" y="986649"/>
                  <a:pt x="785357" y="975715"/>
                </a:cubicBezTo>
                <a:cubicBezTo>
                  <a:pt x="796290" y="977538"/>
                  <a:pt x="801757" y="986649"/>
                  <a:pt x="810868" y="992115"/>
                </a:cubicBezTo>
                <a:cubicBezTo>
                  <a:pt x="810868" y="984826"/>
                  <a:pt x="803579" y="975715"/>
                  <a:pt x="799935" y="975715"/>
                </a:cubicBezTo>
                <a:cubicBezTo>
                  <a:pt x="794468" y="973893"/>
                  <a:pt x="787179" y="972071"/>
                  <a:pt x="776246" y="973893"/>
                </a:cubicBezTo>
                <a:cubicBezTo>
                  <a:pt x="779892" y="972071"/>
                  <a:pt x="781713" y="972071"/>
                  <a:pt x="785357" y="972071"/>
                </a:cubicBezTo>
                <a:cubicBezTo>
                  <a:pt x="774424" y="964782"/>
                  <a:pt x="761670" y="970249"/>
                  <a:pt x="748914" y="966604"/>
                </a:cubicBezTo>
                <a:cubicBezTo>
                  <a:pt x="748914" y="968427"/>
                  <a:pt x="748914" y="968427"/>
                  <a:pt x="747092" y="970249"/>
                </a:cubicBezTo>
                <a:lnTo>
                  <a:pt x="755292" y="977082"/>
                </a:lnTo>
                <a:lnTo>
                  <a:pt x="748914" y="973893"/>
                </a:lnTo>
                <a:cubicBezTo>
                  <a:pt x="747092" y="979360"/>
                  <a:pt x="747092" y="981182"/>
                  <a:pt x="741626" y="986649"/>
                </a:cubicBezTo>
                <a:lnTo>
                  <a:pt x="755995" y="977668"/>
                </a:lnTo>
                <a:lnTo>
                  <a:pt x="758025" y="979360"/>
                </a:lnTo>
                <a:cubicBezTo>
                  <a:pt x="748914" y="983004"/>
                  <a:pt x="739803" y="990293"/>
                  <a:pt x="734336" y="997582"/>
                </a:cubicBezTo>
                <a:cubicBezTo>
                  <a:pt x="734336" y="999403"/>
                  <a:pt x="737981" y="999403"/>
                  <a:pt x="739803" y="997582"/>
                </a:cubicBezTo>
                <a:cubicBezTo>
                  <a:pt x="739803" y="1001226"/>
                  <a:pt x="732515" y="999403"/>
                  <a:pt x="730692" y="1001226"/>
                </a:cubicBezTo>
                <a:cubicBezTo>
                  <a:pt x="728870" y="1006692"/>
                  <a:pt x="731148" y="1008059"/>
                  <a:pt x="734109" y="1008742"/>
                </a:cubicBezTo>
                <a:lnTo>
                  <a:pt x="734115" y="1008744"/>
                </a:lnTo>
                <a:lnTo>
                  <a:pt x="736842" y="1015348"/>
                </a:lnTo>
                <a:cubicBezTo>
                  <a:pt x="739347" y="1016714"/>
                  <a:pt x="742536" y="1015803"/>
                  <a:pt x="745269" y="1012159"/>
                </a:cubicBezTo>
                <a:lnTo>
                  <a:pt x="743569" y="1011187"/>
                </a:lnTo>
                <a:lnTo>
                  <a:pt x="744358" y="1010792"/>
                </a:lnTo>
                <a:cubicBezTo>
                  <a:pt x="744814" y="1010337"/>
                  <a:pt x="745269" y="1010337"/>
                  <a:pt x="747092" y="1012159"/>
                </a:cubicBezTo>
                <a:lnTo>
                  <a:pt x="747091" y="1007213"/>
                </a:lnTo>
                <a:lnTo>
                  <a:pt x="754380" y="1010337"/>
                </a:lnTo>
                <a:cubicBezTo>
                  <a:pt x="754380" y="1013981"/>
                  <a:pt x="750737" y="1013981"/>
                  <a:pt x="747092" y="1013981"/>
                </a:cubicBezTo>
                <a:cubicBezTo>
                  <a:pt x="748914" y="1015803"/>
                  <a:pt x="750737" y="1019448"/>
                  <a:pt x="754380" y="1019448"/>
                </a:cubicBezTo>
                <a:cubicBezTo>
                  <a:pt x="754380" y="1017625"/>
                  <a:pt x="754380" y="1017625"/>
                  <a:pt x="752558" y="1015803"/>
                </a:cubicBezTo>
                <a:cubicBezTo>
                  <a:pt x="754380" y="1015803"/>
                  <a:pt x="756203" y="1017625"/>
                  <a:pt x="758025" y="1019448"/>
                </a:cubicBezTo>
                <a:cubicBezTo>
                  <a:pt x="756203" y="1023092"/>
                  <a:pt x="758025" y="1026736"/>
                  <a:pt x="758025" y="1028559"/>
                </a:cubicBezTo>
                <a:cubicBezTo>
                  <a:pt x="759848" y="1028559"/>
                  <a:pt x="759848" y="1026736"/>
                  <a:pt x="761670" y="1026736"/>
                </a:cubicBezTo>
                <a:cubicBezTo>
                  <a:pt x="763491" y="1028559"/>
                  <a:pt x="765313" y="1032203"/>
                  <a:pt x="767136" y="1035847"/>
                </a:cubicBezTo>
                <a:lnTo>
                  <a:pt x="767136" y="1034025"/>
                </a:lnTo>
                <a:cubicBezTo>
                  <a:pt x="768959" y="1034025"/>
                  <a:pt x="768959" y="1035847"/>
                  <a:pt x="770781" y="1037669"/>
                </a:cubicBezTo>
                <a:cubicBezTo>
                  <a:pt x="770781" y="1039492"/>
                  <a:pt x="768959" y="1039492"/>
                  <a:pt x="768959" y="1039492"/>
                </a:cubicBezTo>
                <a:cubicBezTo>
                  <a:pt x="772602" y="1046780"/>
                  <a:pt x="770781" y="1055891"/>
                  <a:pt x="774424" y="1063180"/>
                </a:cubicBezTo>
                <a:cubicBezTo>
                  <a:pt x="777157" y="1058624"/>
                  <a:pt x="778070" y="1054069"/>
                  <a:pt x="777842" y="1049741"/>
                </a:cubicBezTo>
                <a:lnTo>
                  <a:pt x="775294" y="1040743"/>
                </a:lnTo>
                <a:lnTo>
                  <a:pt x="770779" y="1037732"/>
                </a:lnTo>
                <a:lnTo>
                  <a:pt x="772601" y="1037732"/>
                </a:lnTo>
                <a:lnTo>
                  <a:pt x="775169" y="1040300"/>
                </a:lnTo>
                <a:lnTo>
                  <a:pt x="774424" y="1037669"/>
                </a:lnTo>
                <a:cubicBezTo>
                  <a:pt x="776246" y="1037669"/>
                  <a:pt x="776246" y="1037669"/>
                  <a:pt x="778070" y="1037669"/>
                </a:cubicBezTo>
                <a:cubicBezTo>
                  <a:pt x="776246" y="1035847"/>
                  <a:pt x="774424" y="1034025"/>
                  <a:pt x="772602" y="1032203"/>
                </a:cubicBezTo>
                <a:cubicBezTo>
                  <a:pt x="781713" y="1037669"/>
                  <a:pt x="779892" y="1043136"/>
                  <a:pt x="790824" y="1037669"/>
                </a:cubicBezTo>
                <a:cubicBezTo>
                  <a:pt x="792646" y="1044958"/>
                  <a:pt x="794468" y="1039492"/>
                  <a:pt x="798112" y="1037669"/>
                </a:cubicBezTo>
                <a:cubicBezTo>
                  <a:pt x="798112" y="1043136"/>
                  <a:pt x="796290" y="1054069"/>
                  <a:pt x="799935" y="1052247"/>
                </a:cubicBezTo>
                <a:cubicBezTo>
                  <a:pt x="805401" y="1055891"/>
                  <a:pt x="801757" y="1048602"/>
                  <a:pt x="799935" y="1044958"/>
                </a:cubicBezTo>
                <a:cubicBezTo>
                  <a:pt x="803579" y="1044958"/>
                  <a:pt x="803579" y="1046780"/>
                  <a:pt x="805401" y="1048602"/>
                </a:cubicBezTo>
                <a:cubicBezTo>
                  <a:pt x="807223" y="1043136"/>
                  <a:pt x="807223" y="1035847"/>
                  <a:pt x="803579" y="1030381"/>
                </a:cubicBezTo>
                <a:lnTo>
                  <a:pt x="808853" y="1028623"/>
                </a:lnTo>
                <a:lnTo>
                  <a:pt x="807223" y="1028623"/>
                </a:lnTo>
                <a:cubicBezTo>
                  <a:pt x="805401" y="1026801"/>
                  <a:pt x="805401" y="1024978"/>
                  <a:pt x="805401" y="1023156"/>
                </a:cubicBezTo>
                <a:lnTo>
                  <a:pt x="809011" y="1028570"/>
                </a:lnTo>
                <a:lnTo>
                  <a:pt x="809046" y="1028559"/>
                </a:lnTo>
                <a:cubicBezTo>
                  <a:pt x="809046" y="1030381"/>
                  <a:pt x="809046" y="1030381"/>
                  <a:pt x="810868" y="1030381"/>
                </a:cubicBezTo>
                <a:cubicBezTo>
                  <a:pt x="803579" y="1034025"/>
                  <a:pt x="809046" y="1037669"/>
                  <a:pt x="810868" y="1039492"/>
                </a:cubicBezTo>
                <a:cubicBezTo>
                  <a:pt x="810868" y="1039492"/>
                  <a:pt x="810868" y="1035847"/>
                  <a:pt x="814512" y="1034025"/>
                </a:cubicBezTo>
                <a:cubicBezTo>
                  <a:pt x="812690" y="1032203"/>
                  <a:pt x="812690" y="1032203"/>
                  <a:pt x="810868" y="1030381"/>
                </a:cubicBezTo>
                <a:cubicBezTo>
                  <a:pt x="810868" y="1030381"/>
                  <a:pt x="810868" y="1028559"/>
                  <a:pt x="810868" y="1028559"/>
                </a:cubicBezTo>
                <a:cubicBezTo>
                  <a:pt x="812690" y="1026736"/>
                  <a:pt x="812690" y="1026736"/>
                  <a:pt x="814512" y="1026736"/>
                </a:cubicBezTo>
                <a:cubicBezTo>
                  <a:pt x="816334" y="1028559"/>
                  <a:pt x="816334" y="1030381"/>
                  <a:pt x="818156" y="1032203"/>
                </a:cubicBezTo>
                <a:lnTo>
                  <a:pt x="819213" y="1031147"/>
                </a:lnTo>
                <a:lnTo>
                  <a:pt x="818273" y="1034316"/>
                </a:lnTo>
                <a:lnTo>
                  <a:pt x="818156" y="1034708"/>
                </a:lnTo>
                <a:lnTo>
                  <a:pt x="818731" y="1035462"/>
                </a:lnTo>
                <a:lnTo>
                  <a:pt x="821801" y="1039492"/>
                </a:lnTo>
                <a:cubicBezTo>
                  <a:pt x="823623" y="1037669"/>
                  <a:pt x="824079" y="1035847"/>
                  <a:pt x="823623" y="1034025"/>
                </a:cubicBezTo>
                <a:lnTo>
                  <a:pt x="820707" y="1029651"/>
                </a:lnTo>
                <a:lnTo>
                  <a:pt x="823050" y="1027308"/>
                </a:lnTo>
                <a:lnTo>
                  <a:pt x="823851" y="1035847"/>
                </a:lnTo>
                <a:lnTo>
                  <a:pt x="826599" y="1053435"/>
                </a:lnTo>
                <a:lnTo>
                  <a:pt x="825217" y="1055891"/>
                </a:lnTo>
                <a:cubicBezTo>
                  <a:pt x="824989" y="1057257"/>
                  <a:pt x="825445" y="1058624"/>
                  <a:pt x="827267" y="1059535"/>
                </a:cubicBezTo>
                <a:lnTo>
                  <a:pt x="827267" y="1057713"/>
                </a:lnTo>
                <a:lnTo>
                  <a:pt x="826599" y="1053435"/>
                </a:lnTo>
                <a:lnTo>
                  <a:pt x="827267" y="1052247"/>
                </a:lnTo>
                <a:lnTo>
                  <a:pt x="827267" y="1034025"/>
                </a:lnTo>
                <a:cubicBezTo>
                  <a:pt x="829089" y="1037669"/>
                  <a:pt x="830456" y="1041769"/>
                  <a:pt x="832506" y="1045641"/>
                </a:cubicBezTo>
                <a:lnTo>
                  <a:pt x="841618" y="1055641"/>
                </a:lnTo>
                <a:lnTo>
                  <a:pt x="841574" y="1055674"/>
                </a:lnTo>
                <a:lnTo>
                  <a:pt x="832734" y="1048602"/>
                </a:lnTo>
                <a:cubicBezTo>
                  <a:pt x="830912" y="1054069"/>
                  <a:pt x="827267" y="1059535"/>
                  <a:pt x="829089" y="1065002"/>
                </a:cubicBezTo>
                <a:lnTo>
                  <a:pt x="841574" y="1055674"/>
                </a:lnTo>
                <a:lnTo>
                  <a:pt x="841845" y="1055891"/>
                </a:lnTo>
                <a:lnTo>
                  <a:pt x="841618" y="1055641"/>
                </a:lnTo>
                <a:lnTo>
                  <a:pt x="848905" y="1050197"/>
                </a:lnTo>
                <a:cubicBezTo>
                  <a:pt x="852778" y="1044502"/>
                  <a:pt x="852778" y="1037669"/>
                  <a:pt x="845489" y="1028559"/>
                </a:cubicBezTo>
                <a:cubicBezTo>
                  <a:pt x="847311" y="1032203"/>
                  <a:pt x="849133" y="1034025"/>
                  <a:pt x="852778" y="1035847"/>
                </a:cubicBezTo>
                <a:cubicBezTo>
                  <a:pt x="856422" y="1026736"/>
                  <a:pt x="850956" y="1017625"/>
                  <a:pt x="847311" y="1008515"/>
                </a:cubicBezTo>
                <a:cubicBezTo>
                  <a:pt x="841845" y="1006692"/>
                  <a:pt x="836378" y="1008515"/>
                  <a:pt x="830912" y="1010337"/>
                </a:cubicBezTo>
                <a:cubicBezTo>
                  <a:pt x="838200" y="995759"/>
                  <a:pt x="858244" y="968427"/>
                  <a:pt x="841845" y="972071"/>
                </a:cubicBezTo>
                <a:cubicBezTo>
                  <a:pt x="840022" y="972071"/>
                  <a:pt x="838200" y="972071"/>
                  <a:pt x="836378" y="972071"/>
                </a:cubicBezTo>
                <a:cubicBezTo>
                  <a:pt x="832734" y="970249"/>
                  <a:pt x="840022" y="966604"/>
                  <a:pt x="836378" y="964782"/>
                </a:cubicBezTo>
                <a:close/>
                <a:moveTo>
                  <a:pt x="737980" y="964782"/>
                </a:moveTo>
                <a:cubicBezTo>
                  <a:pt x="734792" y="963415"/>
                  <a:pt x="730692" y="963871"/>
                  <a:pt x="727048" y="966604"/>
                </a:cubicBezTo>
                <a:cubicBezTo>
                  <a:pt x="728870" y="968427"/>
                  <a:pt x="730692" y="968427"/>
                  <a:pt x="732515" y="968427"/>
                </a:cubicBezTo>
                <a:lnTo>
                  <a:pt x="733832" y="970624"/>
                </a:lnTo>
                <a:lnTo>
                  <a:pt x="723632" y="978221"/>
                </a:lnTo>
                <a:cubicBezTo>
                  <a:pt x="721581" y="982093"/>
                  <a:pt x="721581" y="986648"/>
                  <a:pt x="725226" y="990293"/>
                </a:cubicBezTo>
                <a:cubicBezTo>
                  <a:pt x="727048" y="986649"/>
                  <a:pt x="727048" y="984826"/>
                  <a:pt x="727048" y="981182"/>
                </a:cubicBezTo>
                <a:cubicBezTo>
                  <a:pt x="730692" y="981182"/>
                  <a:pt x="727048" y="990293"/>
                  <a:pt x="730692" y="988471"/>
                </a:cubicBezTo>
                <a:cubicBezTo>
                  <a:pt x="732515" y="986649"/>
                  <a:pt x="730692" y="986649"/>
                  <a:pt x="730692" y="983004"/>
                </a:cubicBezTo>
                <a:cubicBezTo>
                  <a:pt x="730692" y="984826"/>
                  <a:pt x="732515" y="983004"/>
                  <a:pt x="734336" y="984826"/>
                </a:cubicBezTo>
                <a:lnTo>
                  <a:pt x="734336" y="971463"/>
                </a:lnTo>
                <a:lnTo>
                  <a:pt x="737981" y="977538"/>
                </a:lnTo>
                <a:cubicBezTo>
                  <a:pt x="748914" y="977538"/>
                  <a:pt x="730692" y="973893"/>
                  <a:pt x="737981" y="970249"/>
                </a:cubicBezTo>
                <a:cubicBezTo>
                  <a:pt x="737981" y="968427"/>
                  <a:pt x="741626" y="972071"/>
                  <a:pt x="743447" y="973893"/>
                </a:cubicBezTo>
                <a:cubicBezTo>
                  <a:pt x="743447" y="969337"/>
                  <a:pt x="741170" y="966148"/>
                  <a:pt x="737980" y="964782"/>
                </a:cubicBezTo>
                <a:close/>
                <a:moveTo>
                  <a:pt x="561230" y="964782"/>
                </a:moveTo>
                <a:cubicBezTo>
                  <a:pt x="557586" y="966604"/>
                  <a:pt x="564874" y="968427"/>
                  <a:pt x="566697" y="970249"/>
                </a:cubicBezTo>
                <a:cubicBezTo>
                  <a:pt x="566697" y="966604"/>
                  <a:pt x="564874" y="966604"/>
                  <a:pt x="561230" y="964782"/>
                </a:cubicBezTo>
                <a:close/>
                <a:moveTo>
                  <a:pt x="251460" y="964782"/>
                </a:moveTo>
                <a:cubicBezTo>
                  <a:pt x="252371" y="965693"/>
                  <a:pt x="253738" y="966149"/>
                  <a:pt x="254649" y="966604"/>
                </a:cubicBezTo>
                <a:lnTo>
                  <a:pt x="254752" y="967016"/>
                </a:lnTo>
                <a:lnTo>
                  <a:pt x="251511" y="965215"/>
                </a:lnTo>
                <a:close/>
                <a:moveTo>
                  <a:pt x="2722329" y="963096"/>
                </a:moveTo>
                <a:cubicBezTo>
                  <a:pt x="2731440" y="977680"/>
                  <a:pt x="2736906" y="977680"/>
                  <a:pt x="2736906" y="994077"/>
                </a:cubicBezTo>
                <a:lnTo>
                  <a:pt x="2736906" y="1001367"/>
                </a:lnTo>
                <a:cubicBezTo>
                  <a:pt x="2736906" y="1026885"/>
                  <a:pt x="2727795" y="1021418"/>
                  <a:pt x="2715040" y="1015950"/>
                </a:cubicBezTo>
                <a:lnTo>
                  <a:pt x="2693174" y="1039638"/>
                </a:lnTo>
                <a:lnTo>
                  <a:pt x="2687708" y="1014128"/>
                </a:lnTo>
                <a:cubicBezTo>
                  <a:pt x="2691352" y="999545"/>
                  <a:pt x="2691352" y="992255"/>
                  <a:pt x="2684063" y="977680"/>
                </a:cubicBezTo>
                <a:cubicBezTo>
                  <a:pt x="2716862" y="975858"/>
                  <a:pt x="2698641" y="979503"/>
                  <a:pt x="2722329" y="963096"/>
                </a:cubicBezTo>
                <a:close/>
                <a:moveTo>
                  <a:pt x="2503667" y="962960"/>
                </a:moveTo>
                <a:cubicBezTo>
                  <a:pt x="2503667" y="972071"/>
                  <a:pt x="2514600" y="981182"/>
                  <a:pt x="2518245" y="972071"/>
                </a:cubicBezTo>
                <a:cubicBezTo>
                  <a:pt x="2518245" y="968427"/>
                  <a:pt x="2516423" y="966604"/>
                  <a:pt x="2518245" y="962960"/>
                </a:cubicBezTo>
                <a:cubicBezTo>
                  <a:pt x="2512778" y="962960"/>
                  <a:pt x="2509134" y="961138"/>
                  <a:pt x="2503667" y="962960"/>
                </a:cubicBezTo>
                <a:close/>
                <a:moveTo>
                  <a:pt x="1330188" y="962960"/>
                </a:moveTo>
                <a:lnTo>
                  <a:pt x="1326221" y="968248"/>
                </a:lnTo>
                <a:lnTo>
                  <a:pt x="1306499" y="966604"/>
                </a:lnTo>
                <a:cubicBezTo>
                  <a:pt x="1306499" y="968427"/>
                  <a:pt x="1317432" y="973893"/>
                  <a:pt x="1321077" y="975715"/>
                </a:cubicBezTo>
                <a:lnTo>
                  <a:pt x="1327089" y="969702"/>
                </a:lnTo>
                <a:lnTo>
                  <a:pt x="1330644" y="968882"/>
                </a:lnTo>
                <a:cubicBezTo>
                  <a:pt x="1332465" y="967971"/>
                  <a:pt x="1333832" y="966604"/>
                  <a:pt x="1333832" y="964782"/>
                </a:cubicBezTo>
                <a:cubicBezTo>
                  <a:pt x="1332009" y="962960"/>
                  <a:pt x="1332009" y="964782"/>
                  <a:pt x="1330188" y="962960"/>
                </a:cubicBezTo>
                <a:close/>
                <a:moveTo>
                  <a:pt x="717937" y="962960"/>
                </a:moveTo>
                <a:cubicBezTo>
                  <a:pt x="714293" y="964782"/>
                  <a:pt x="708826" y="968427"/>
                  <a:pt x="714293" y="970249"/>
                </a:cubicBezTo>
                <a:cubicBezTo>
                  <a:pt x="714293" y="968427"/>
                  <a:pt x="714293" y="966604"/>
                  <a:pt x="717937" y="962960"/>
                </a:cubicBezTo>
                <a:close/>
                <a:moveTo>
                  <a:pt x="610429" y="962960"/>
                </a:moveTo>
                <a:cubicBezTo>
                  <a:pt x="603140" y="966604"/>
                  <a:pt x="615895" y="966604"/>
                  <a:pt x="614074" y="966604"/>
                </a:cubicBezTo>
                <a:cubicBezTo>
                  <a:pt x="614074" y="964782"/>
                  <a:pt x="612251" y="964782"/>
                  <a:pt x="610429" y="962960"/>
                </a:cubicBezTo>
                <a:close/>
                <a:moveTo>
                  <a:pt x="524786" y="962960"/>
                </a:moveTo>
                <a:cubicBezTo>
                  <a:pt x="532075" y="972071"/>
                  <a:pt x="539364" y="986649"/>
                  <a:pt x="557586" y="983004"/>
                </a:cubicBezTo>
                <a:cubicBezTo>
                  <a:pt x="555763" y="981182"/>
                  <a:pt x="552119" y="979360"/>
                  <a:pt x="550297" y="977538"/>
                </a:cubicBezTo>
                <a:cubicBezTo>
                  <a:pt x="552119" y="975715"/>
                  <a:pt x="553941" y="977538"/>
                  <a:pt x="555763" y="979360"/>
                </a:cubicBezTo>
                <a:cubicBezTo>
                  <a:pt x="548475" y="972071"/>
                  <a:pt x="533897" y="966604"/>
                  <a:pt x="524786" y="962960"/>
                </a:cubicBezTo>
                <a:close/>
                <a:moveTo>
                  <a:pt x="431856" y="962960"/>
                </a:moveTo>
                <a:cubicBezTo>
                  <a:pt x="435500" y="964782"/>
                  <a:pt x="437322" y="966604"/>
                  <a:pt x="440966" y="970249"/>
                </a:cubicBezTo>
                <a:lnTo>
                  <a:pt x="441044" y="970795"/>
                </a:lnTo>
                <a:close/>
                <a:moveTo>
                  <a:pt x="333458" y="962960"/>
                </a:moveTo>
                <a:cubicBezTo>
                  <a:pt x="335280" y="966604"/>
                  <a:pt x="337102" y="966604"/>
                  <a:pt x="338926" y="968427"/>
                </a:cubicBezTo>
                <a:cubicBezTo>
                  <a:pt x="340747" y="968427"/>
                  <a:pt x="337102" y="964782"/>
                  <a:pt x="337102" y="962960"/>
                </a:cubicBezTo>
                <a:cubicBezTo>
                  <a:pt x="335280" y="962960"/>
                  <a:pt x="335280" y="966604"/>
                  <a:pt x="333458" y="962960"/>
                </a:cubicBezTo>
                <a:close/>
                <a:moveTo>
                  <a:pt x="291549" y="962960"/>
                </a:moveTo>
                <a:cubicBezTo>
                  <a:pt x="291549" y="968427"/>
                  <a:pt x="300660" y="973893"/>
                  <a:pt x="304303" y="972071"/>
                </a:cubicBezTo>
                <a:cubicBezTo>
                  <a:pt x="302481" y="966604"/>
                  <a:pt x="297015" y="964782"/>
                  <a:pt x="291549" y="962960"/>
                </a:cubicBezTo>
                <a:close/>
                <a:moveTo>
                  <a:pt x="275149" y="962960"/>
                </a:moveTo>
                <a:cubicBezTo>
                  <a:pt x="278793" y="966604"/>
                  <a:pt x="282438" y="973893"/>
                  <a:pt x="286082" y="975715"/>
                </a:cubicBezTo>
                <a:cubicBezTo>
                  <a:pt x="287904" y="973893"/>
                  <a:pt x="278793" y="968427"/>
                  <a:pt x="278793" y="964782"/>
                </a:cubicBezTo>
                <a:cubicBezTo>
                  <a:pt x="284259" y="968427"/>
                  <a:pt x="289726" y="970249"/>
                  <a:pt x="293370" y="970249"/>
                </a:cubicBezTo>
                <a:cubicBezTo>
                  <a:pt x="289726" y="968427"/>
                  <a:pt x="280615" y="959316"/>
                  <a:pt x="275149" y="962960"/>
                </a:cubicBezTo>
                <a:close/>
                <a:moveTo>
                  <a:pt x="267860" y="962960"/>
                </a:moveTo>
                <a:cubicBezTo>
                  <a:pt x="267860" y="972071"/>
                  <a:pt x="276971" y="968427"/>
                  <a:pt x="278793" y="973893"/>
                </a:cubicBezTo>
                <a:cubicBezTo>
                  <a:pt x="276971" y="970249"/>
                  <a:pt x="271504" y="966604"/>
                  <a:pt x="267860" y="962960"/>
                </a:cubicBezTo>
                <a:close/>
                <a:moveTo>
                  <a:pt x="2244919" y="961138"/>
                </a:moveTo>
                <a:cubicBezTo>
                  <a:pt x="2241274" y="966604"/>
                  <a:pt x="2232163" y="961138"/>
                  <a:pt x="2232163" y="966604"/>
                </a:cubicBezTo>
                <a:cubicBezTo>
                  <a:pt x="2232163" y="973893"/>
                  <a:pt x="2237630" y="977538"/>
                  <a:pt x="2230341" y="984826"/>
                </a:cubicBezTo>
                <a:cubicBezTo>
                  <a:pt x="2226697" y="986649"/>
                  <a:pt x="2224875" y="984826"/>
                  <a:pt x="2224875" y="983004"/>
                </a:cubicBezTo>
                <a:cubicBezTo>
                  <a:pt x="2224875" y="984826"/>
                  <a:pt x="2223053" y="986649"/>
                  <a:pt x="2223053" y="988471"/>
                </a:cubicBezTo>
                <a:cubicBezTo>
                  <a:pt x="2223053" y="992115"/>
                  <a:pt x="2226697" y="993937"/>
                  <a:pt x="2224875" y="997582"/>
                </a:cubicBezTo>
                <a:cubicBezTo>
                  <a:pt x="2232163" y="997582"/>
                  <a:pt x="2233986" y="990293"/>
                  <a:pt x="2241274" y="993937"/>
                </a:cubicBezTo>
                <a:cubicBezTo>
                  <a:pt x="2239452" y="993937"/>
                  <a:pt x="2237630" y="997582"/>
                  <a:pt x="2233986" y="997582"/>
                </a:cubicBezTo>
                <a:cubicBezTo>
                  <a:pt x="2235808" y="1001226"/>
                  <a:pt x="2243096" y="1001226"/>
                  <a:pt x="2239452" y="1006692"/>
                </a:cubicBezTo>
                <a:cubicBezTo>
                  <a:pt x="2243096" y="1001226"/>
                  <a:pt x="2244919" y="1010337"/>
                  <a:pt x="2246741" y="1008515"/>
                </a:cubicBezTo>
                <a:cubicBezTo>
                  <a:pt x="2248563" y="1004870"/>
                  <a:pt x="2252207" y="1001226"/>
                  <a:pt x="2250385" y="995759"/>
                </a:cubicBezTo>
                <a:cubicBezTo>
                  <a:pt x="2259496" y="1003047"/>
                  <a:pt x="2263140" y="979360"/>
                  <a:pt x="2266785" y="973893"/>
                </a:cubicBezTo>
                <a:cubicBezTo>
                  <a:pt x="2257674" y="968427"/>
                  <a:pt x="2254030" y="981182"/>
                  <a:pt x="2250385" y="988471"/>
                </a:cubicBezTo>
                <a:cubicBezTo>
                  <a:pt x="2244919" y="983004"/>
                  <a:pt x="2250385" y="972071"/>
                  <a:pt x="2257674" y="973893"/>
                </a:cubicBezTo>
                <a:cubicBezTo>
                  <a:pt x="2254030" y="966604"/>
                  <a:pt x="2254030" y="970249"/>
                  <a:pt x="2246741" y="970249"/>
                </a:cubicBezTo>
                <a:cubicBezTo>
                  <a:pt x="2246741" y="966604"/>
                  <a:pt x="2250385" y="964782"/>
                  <a:pt x="2248563" y="962960"/>
                </a:cubicBezTo>
                <a:cubicBezTo>
                  <a:pt x="2246741" y="961138"/>
                  <a:pt x="2243096" y="964782"/>
                  <a:pt x="2243096" y="968427"/>
                </a:cubicBezTo>
                <a:cubicBezTo>
                  <a:pt x="2239452" y="968427"/>
                  <a:pt x="2244919" y="962960"/>
                  <a:pt x="2244919" y="961138"/>
                </a:cubicBezTo>
                <a:close/>
                <a:moveTo>
                  <a:pt x="1311966" y="961138"/>
                </a:moveTo>
                <a:cubicBezTo>
                  <a:pt x="1313788" y="964782"/>
                  <a:pt x="1321077" y="962960"/>
                  <a:pt x="1324721" y="962960"/>
                </a:cubicBezTo>
                <a:cubicBezTo>
                  <a:pt x="1321077" y="961138"/>
                  <a:pt x="1317432" y="962960"/>
                  <a:pt x="1311966" y="961138"/>
                </a:cubicBezTo>
                <a:close/>
                <a:moveTo>
                  <a:pt x="1208102" y="961138"/>
                </a:moveTo>
                <a:cubicBezTo>
                  <a:pt x="1208102" y="962960"/>
                  <a:pt x="1215390" y="972071"/>
                  <a:pt x="1219036" y="968427"/>
                </a:cubicBezTo>
                <a:cubicBezTo>
                  <a:pt x="1222679" y="973893"/>
                  <a:pt x="1233612" y="977538"/>
                  <a:pt x="1240901" y="973893"/>
                </a:cubicBezTo>
                <a:cubicBezTo>
                  <a:pt x="1240901" y="973893"/>
                  <a:pt x="1239080" y="973893"/>
                  <a:pt x="1237256" y="973893"/>
                </a:cubicBezTo>
                <a:cubicBezTo>
                  <a:pt x="1239080" y="972071"/>
                  <a:pt x="1242723" y="966604"/>
                  <a:pt x="1244545" y="962960"/>
                </a:cubicBezTo>
                <a:cubicBezTo>
                  <a:pt x="1233612" y="961138"/>
                  <a:pt x="1220858" y="966604"/>
                  <a:pt x="1208102" y="961138"/>
                </a:cubicBezTo>
                <a:close/>
                <a:moveTo>
                  <a:pt x="459188" y="961138"/>
                </a:moveTo>
                <a:lnTo>
                  <a:pt x="457367" y="964782"/>
                </a:lnTo>
                <a:lnTo>
                  <a:pt x="455544" y="968427"/>
                </a:lnTo>
                <a:cubicBezTo>
                  <a:pt x="457367" y="970249"/>
                  <a:pt x="459188" y="966604"/>
                  <a:pt x="461010" y="968427"/>
                </a:cubicBezTo>
                <a:cubicBezTo>
                  <a:pt x="461921" y="967516"/>
                  <a:pt x="461465" y="967060"/>
                  <a:pt x="460554" y="966604"/>
                </a:cubicBezTo>
                <a:lnTo>
                  <a:pt x="457367" y="964782"/>
                </a:lnTo>
                <a:lnTo>
                  <a:pt x="462832" y="964782"/>
                </a:lnTo>
                <a:cubicBezTo>
                  <a:pt x="462832" y="962960"/>
                  <a:pt x="461010" y="962960"/>
                  <a:pt x="459188" y="961138"/>
                </a:cubicBezTo>
                <a:close/>
                <a:moveTo>
                  <a:pt x="435500" y="961138"/>
                </a:moveTo>
                <a:cubicBezTo>
                  <a:pt x="433678" y="962960"/>
                  <a:pt x="431856" y="961138"/>
                  <a:pt x="431856" y="962960"/>
                </a:cubicBezTo>
                <a:cubicBezTo>
                  <a:pt x="433678" y="968427"/>
                  <a:pt x="435500" y="970249"/>
                  <a:pt x="439145" y="973893"/>
                </a:cubicBezTo>
                <a:cubicBezTo>
                  <a:pt x="440966" y="974804"/>
                  <a:pt x="441422" y="974348"/>
                  <a:pt x="441422" y="973437"/>
                </a:cubicBezTo>
                <a:lnTo>
                  <a:pt x="441044" y="970795"/>
                </a:lnTo>
                <a:lnTo>
                  <a:pt x="441137" y="970875"/>
                </a:lnTo>
                <a:cubicBezTo>
                  <a:pt x="446433" y="974804"/>
                  <a:pt x="440967" y="967971"/>
                  <a:pt x="435500" y="961138"/>
                </a:cubicBezTo>
                <a:close/>
                <a:moveTo>
                  <a:pt x="399844" y="960940"/>
                </a:moveTo>
                <a:lnTo>
                  <a:pt x="400136" y="962218"/>
                </a:lnTo>
                <a:lnTo>
                  <a:pt x="399056" y="961138"/>
                </a:lnTo>
                <a:close/>
                <a:moveTo>
                  <a:pt x="2172032" y="959316"/>
                </a:moveTo>
                <a:cubicBezTo>
                  <a:pt x="2170210" y="959316"/>
                  <a:pt x="2168387" y="961138"/>
                  <a:pt x="2168387" y="961138"/>
                </a:cubicBezTo>
                <a:cubicBezTo>
                  <a:pt x="2170210" y="961138"/>
                  <a:pt x="2170210" y="961138"/>
                  <a:pt x="2172032" y="961138"/>
                </a:cubicBezTo>
                <a:close/>
                <a:moveTo>
                  <a:pt x="1198991" y="959316"/>
                </a:moveTo>
                <a:cubicBezTo>
                  <a:pt x="1198991" y="962960"/>
                  <a:pt x="1204457" y="961138"/>
                  <a:pt x="1206279" y="962960"/>
                </a:cubicBezTo>
                <a:cubicBezTo>
                  <a:pt x="1206279" y="959316"/>
                  <a:pt x="1200814" y="961138"/>
                  <a:pt x="1198991" y="959316"/>
                </a:cubicBezTo>
                <a:close/>
                <a:moveTo>
                  <a:pt x="1191703" y="959316"/>
                </a:moveTo>
                <a:cubicBezTo>
                  <a:pt x="1189880" y="962960"/>
                  <a:pt x="1191703" y="966604"/>
                  <a:pt x="1189880" y="968427"/>
                </a:cubicBezTo>
                <a:cubicBezTo>
                  <a:pt x="1191703" y="968427"/>
                  <a:pt x="1191703" y="964782"/>
                  <a:pt x="1193525" y="962960"/>
                </a:cubicBezTo>
                <a:cubicBezTo>
                  <a:pt x="1193525" y="961138"/>
                  <a:pt x="1191703" y="961138"/>
                  <a:pt x="1191703" y="961138"/>
                </a:cubicBezTo>
                <a:cubicBezTo>
                  <a:pt x="1193525" y="961138"/>
                  <a:pt x="1191703" y="959316"/>
                  <a:pt x="1191703" y="959316"/>
                </a:cubicBezTo>
                <a:close/>
                <a:moveTo>
                  <a:pt x="707004" y="959316"/>
                </a:moveTo>
                <a:cubicBezTo>
                  <a:pt x="705182" y="961138"/>
                  <a:pt x="707004" y="962960"/>
                  <a:pt x="708826" y="964782"/>
                </a:cubicBezTo>
                <a:cubicBezTo>
                  <a:pt x="710648" y="962960"/>
                  <a:pt x="714293" y="962960"/>
                  <a:pt x="714293" y="962960"/>
                </a:cubicBezTo>
                <a:cubicBezTo>
                  <a:pt x="712470" y="959316"/>
                  <a:pt x="708826" y="959316"/>
                  <a:pt x="707004" y="959316"/>
                </a:cubicBezTo>
                <a:close/>
                <a:moveTo>
                  <a:pt x="558042" y="959316"/>
                </a:moveTo>
                <a:cubicBezTo>
                  <a:pt x="556674" y="958860"/>
                  <a:pt x="554852" y="959316"/>
                  <a:pt x="553941" y="961138"/>
                </a:cubicBezTo>
                <a:cubicBezTo>
                  <a:pt x="555763" y="962960"/>
                  <a:pt x="557586" y="962960"/>
                  <a:pt x="559408" y="962960"/>
                </a:cubicBezTo>
                <a:cubicBezTo>
                  <a:pt x="560319" y="961138"/>
                  <a:pt x="559408" y="959771"/>
                  <a:pt x="558042" y="959316"/>
                </a:cubicBezTo>
                <a:close/>
                <a:moveTo>
                  <a:pt x="180396" y="959316"/>
                </a:moveTo>
                <a:cubicBezTo>
                  <a:pt x="180396" y="961138"/>
                  <a:pt x="187684" y="968427"/>
                  <a:pt x="189506" y="968427"/>
                </a:cubicBezTo>
                <a:cubicBezTo>
                  <a:pt x="187684" y="964782"/>
                  <a:pt x="184040" y="964782"/>
                  <a:pt x="180396" y="959316"/>
                </a:cubicBezTo>
                <a:close/>
                <a:moveTo>
                  <a:pt x="1124992" y="958250"/>
                </a:moveTo>
                <a:lnTo>
                  <a:pt x="1125420" y="960910"/>
                </a:lnTo>
                <a:lnTo>
                  <a:pt x="1125051" y="961622"/>
                </a:lnTo>
                <a:lnTo>
                  <a:pt x="1124281" y="959315"/>
                </a:lnTo>
                <a:close/>
                <a:moveTo>
                  <a:pt x="1322898" y="957949"/>
                </a:moveTo>
                <a:cubicBezTo>
                  <a:pt x="1319710" y="958405"/>
                  <a:pt x="1316521" y="959316"/>
                  <a:pt x="1313788" y="959316"/>
                </a:cubicBezTo>
                <a:cubicBezTo>
                  <a:pt x="1317432" y="961138"/>
                  <a:pt x="1328365" y="962960"/>
                  <a:pt x="1332009" y="959316"/>
                </a:cubicBezTo>
                <a:cubicBezTo>
                  <a:pt x="1329276" y="957494"/>
                  <a:pt x="1326087" y="957494"/>
                  <a:pt x="1322898" y="957949"/>
                </a:cubicBezTo>
                <a:close/>
                <a:moveTo>
                  <a:pt x="3309068" y="957494"/>
                </a:moveTo>
                <a:cubicBezTo>
                  <a:pt x="3303602" y="959316"/>
                  <a:pt x="3305424" y="968427"/>
                  <a:pt x="3298135" y="966604"/>
                </a:cubicBezTo>
                <a:lnTo>
                  <a:pt x="3298925" y="974594"/>
                </a:lnTo>
                <a:lnTo>
                  <a:pt x="3298135" y="970249"/>
                </a:lnTo>
                <a:cubicBezTo>
                  <a:pt x="3292669" y="970249"/>
                  <a:pt x="3289024" y="962960"/>
                  <a:pt x="3281736" y="970249"/>
                </a:cubicBezTo>
                <a:cubicBezTo>
                  <a:pt x="3283558" y="972071"/>
                  <a:pt x="3287202" y="981182"/>
                  <a:pt x="3281736" y="981182"/>
                </a:cubicBezTo>
                <a:cubicBezTo>
                  <a:pt x="3278091" y="979360"/>
                  <a:pt x="3283558" y="975715"/>
                  <a:pt x="3281736" y="972071"/>
                </a:cubicBezTo>
                <a:cubicBezTo>
                  <a:pt x="3278091" y="972071"/>
                  <a:pt x="3279913" y="973893"/>
                  <a:pt x="3279913" y="977538"/>
                </a:cubicBezTo>
                <a:cubicBezTo>
                  <a:pt x="3278091" y="977538"/>
                  <a:pt x="3276269" y="977538"/>
                  <a:pt x="3276269" y="979360"/>
                </a:cubicBezTo>
                <a:cubicBezTo>
                  <a:pt x="3272625" y="979360"/>
                  <a:pt x="3274447" y="972071"/>
                  <a:pt x="3274447" y="970249"/>
                </a:cubicBezTo>
                <a:cubicBezTo>
                  <a:pt x="3268980" y="968427"/>
                  <a:pt x="3268980" y="970249"/>
                  <a:pt x="3261692" y="970249"/>
                </a:cubicBezTo>
                <a:cubicBezTo>
                  <a:pt x="3256225" y="975715"/>
                  <a:pt x="3259869" y="981182"/>
                  <a:pt x="3261692" y="988471"/>
                </a:cubicBezTo>
                <a:lnTo>
                  <a:pt x="3265267" y="990316"/>
                </a:lnTo>
                <a:lnTo>
                  <a:pt x="3261236" y="991659"/>
                </a:lnTo>
                <a:cubicBezTo>
                  <a:pt x="3260781" y="993026"/>
                  <a:pt x="3260781" y="994848"/>
                  <a:pt x="3259869" y="995759"/>
                </a:cubicBezTo>
                <a:cubicBezTo>
                  <a:pt x="3256225" y="993937"/>
                  <a:pt x="3261692" y="992115"/>
                  <a:pt x="3259869" y="990293"/>
                </a:cubicBezTo>
                <a:cubicBezTo>
                  <a:pt x="3252581" y="993937"/>
                  <a:pt x="3259869" y="995759"/>
                  <a:pt x="3261692" y="999403"/>
                </a:cubicBezTo>
                <a:cubicBezTo>
                  <a:pt x="3261692" y="1004870"/>
                  <a:pt x="3254403" y="1004870"/>
                  <a:pt x="3258047" y="1010337"/>
                </a:cubicBezTo>
                <a:cubicBezTo>
                  <a:pt x="3263514" y="1004870"/>
                  <a:pt x="3261692" y="1006692"/>
                  <a:pt x="3268980" y="1008515"/>
                </a:cubicBezTo>
                <a:cubicBezTo>
                  <a:pt x="3267158" y="1013981"/>
                  <a:pt x="3268980" y="1015803"/>
                  <a:pt x="3270803" y="1017625"/>
                </a:cubicBezTo>
                <a:cubicBezTo>
                  <a:pt x="3281736" y="1013981"/>
                  <a:pt x="3294491" y="1013981"/>
                  <a:pt x="3305424" y="1010337"/>
                </a:cubicBezTo>
                <a:lnTo>
                  <a:pt x="3304715" y="1006435"/>
                </a:lnTo>
                <a:lnTo>
                  <a:pt x="3327290" y="1001226"/>
                </a:lnTo>
                <a:lnTo>
                  <a:pt x="3325165" y="1004870"/>
                </a:lnTo>
                <a:lnTo>
                  <a:pt x="3318635" y="1004870"/>
                </a:lnTo>
                <a:cubicBezTo>
                  <a:pt x="3315902" y="1005781"/>
                  <a:pt x="3313624" y="1007603"/>
                  <a:pt x="3314535" y="1010337"/>
                </a:cubicBezTo>
                <a:cubicBezTo>
                  <a:pt x="3317268" y="1011248"/>
                  <a:pt x="3319546" y="1010336"/>
                  <a:pt x="3321368" y="1008970"/>
                </a:cubicBezTo>
                <a:lnTo>
                  <a:pt x="3324740" y="1005598"/>
                </a:lnTo>
                <a:lnTo>
                  <a:pt x="3324102" y="1006692"/>
                </a:lnTo>
                <a:cubicBezTo>
                  <a:pt x="3323191" y="1008514"/>
                  <a:pt x="3322735" y="1010337"/>
                  <a:pt x="3323646" y="1012159"/>
                </a:cubicBezTo>
                <a:cubicBezTo>
                  <a:pt x="3325468" y="1013981"/>
                  <a:pt x="3330934" y="1012159"/>
                  <a:pt x="3330934" y="1012159"/>
                </a:cubicBezTo>
                <a:cubicBezTo>
                  <a:pt x="3332757" y="1006692"/>
                  <a:pt x="3335946" y="1003503"/>
                  <a:pt x="3339590" y="1001909"/>
                </a:cubicBezTo>
                <a:lnTo>
                  <a:pt x="3341585" y="1001789"/>
                </a:lnTo>
                <a:lnTo>
                  <a:pt x="3338223" y="1008515"/>
                </a:lnTo>
                <a:cubicBezTo>
                  <a:pt x="3341868" y="1008515"/>
                  <a:pt x="3343690" y="1007148"/>
                  <a:pt x="3344145" y="1005553"/>
                </a:cubicBezTo>
                <a:lnTo>
                  <a:pt x="3342146" y="1001756"/>
                </a:lnTo>
                <a:lnTo>
                  <a:pt x="3350978" y="1001226"/>
                </a:lnTo>
                <a:cubicBezTo>
                  <a:pt x="3352800" y="1001226"/>
                  <a:pt x="3350978" y="1003047"/>
                  <a:pt x="3349156" y="1004870"/>
                </a:cubicBezTo>
                <a:cubicBezTo>
                  <a:pt x="3358267" y="1003047"/>
                  <a:pt x="3361911" y="999403"/>
                  <a:pt x="3369200" y="993937"/>
                </a:cubicBezTo>
                <a:cubicBezTo>
                  <a:pt x="3367378" y="990293"/>
                  <a:pt x="3363734" y="986649"/>
                  <a:pt x="3358267" y="990293"/>
                </a:cubicBezTo>
                <a:cubicBezTo>
                  <a:pt x="3358267" y="993937"/>
                  <a:pt x="3358267" y="995759"/>
                  <a:pt x="3356445" y="997582"/>
                </a:cubicBezTo>
                <a:cubicBezTo>
                  <a:pt x="3354623" y="997582"/>
                  <a:pt x="3352800" y="997582"/>
                  <a:pt x="3350978" y="997582"/>
                </a:cubicBezTo>
                <a:cubicBezTo>
                  <a:pt x="3350978" y="992115"/>
                  <a:pt x="3354623" y="979360"/>
                  <a:pt x="3361911" y="983004"/>
                </a:cubicBezTo>
                <a:cubicBezTo>
                  <a:pt x="3361911" y="984826"/>
                  <a:pt x="3361911" y="984826"/>
                  <a:pt x="3363734" y="986649"/>
                </a:cubicBezTo>
                <a:cubicBezTo>
                  <a:pt x="3367378" y="988471"/>
                  <a:pt x="3367378" y="983004"/>
                  <a:pt x="3369200" y="981182"/>
                </a:cubicBezTo>
                <a:cubicBezTo>
                  <a:pt x="3371022" y="977538"/>
                  <a:pt x="3374666" y="984826"/>
                  <a:pt x="3378311" y="983004"/>
                </a:cubicBezTo>
                <a:cubicBezTo>
                  <a:pt x="3383777" y="977538"/>
                  <a:pt x="3378311" y="977538"/>
                  <a:pt x="3376489" y="975715"/>
                </a:cubicBezTo>
                <a:cubicBezTo>
                  <a:pt x="3380133" y="972071"/>
                  <a:pt x="3385600" y="975715"/>
                  <a:pt x="3387422" y="973893"/>
                </a:cubicBezTo>
                <a:cubicBezTo>
                  <a:pt x="3392888" y="966604"/>
                  <a:pt x="3380133" y="970249"/>
                  <a:pt x="3376489" y="968427"/>
                </a:cubicBezTo>
                <a:cubicBezTo>
                  <a:pt x="3374666" y="966604"/>
                  <a:pt x="3371022" y="968427"/>
                  <a:pt x="3369200" y="970249"/>
                </a:cubicBezTo>
                <a:cubicBezTo>
                  <a:pt x="3369200" y="968427"/>
                  <a:pt x="3363734" y="972071"/>
                  <a:pt x="3365556" y="968427"/>
                </a:cubicBezTo>
                <a:cubicBezTo>
                  <a:pt x="3367378" y="966604"/>
                  <a:pt x="3369200" y="966604"/>
                  <a:pt x="3369200" y="964782"/>
                </a:cubicBezTo>
                <a:cubicBezTo>
                  <a:pt x="3365556" y="955672"/>
                  <a:pt x="3352800" y="959316"/>
                  <a:pt x="3345512" y="962960"/>
                </a:cubicBezTo>
                <a:cubicBezTo>
                  <a:pt x="3350978" y="970249"/>
                  <a:pt x="3345512" y="970249"/>
                  <a:pt x="3343690" y="977538"/>
                </a:cubicBezTo>
                <a:cubicBezTo>
                  <a:pt x="3341867" y="977538"/>
                  <a:pt x="3336401" y="979360"/>
                  <a:pt x="3338223" y="975715"/>
                </a:cubicBezTo>
                <a:cubicBezTo>
                  <a:pt x="3340045" y="972071"/>
                  <a:pt x="3343690" y="970249"/>
                  <a:pt x="3341867" y="970249"/>
                </a:cubicBezTo>
                <a:cubicBezTo>
                  <a:pt x="3338223" y="966604"/>
                  <a:pt x="3336401" y="973893"/>
                  <a:pt x="3334579" y="983004"/>
                </a:cubicBezTo>
                <a:cubicBezTo>
                  <a:pt x="3329112" y="983004"/>
                  <a:pt x="3334579" y="975715"/>
                  <a:pt x="3329112" y="975715"/>
                </a:cubicBezTo>
                <a:cubicBezTo>
                  <a:pt x="3327290" y="975715"/>
                  <a:pt x="3327290" y="979360"/>
                  <a:pt x="3325468" y="979360"/>
                </a:cubicBezTo>
                <a:cubicBezTo>
                  <a:pt x="3321824" y="977538"/>
                  <a:pt x="3325468" y="970249"/>
                  <a:pt x="3323646" y="972071"/>
                </a:cubicBezTo>
                <a:cubicBezTo>
                  <a:pt x="3314535" y="972071"/>
                  <a:pt x="3316357" y="983004"/>
                  <a:pt x="3307246" y="984826"/>
                </a:cubicBezTo>
                <a:cubicBezTo>
                  <a:pt x="3310890" y="975715"/>
                  <a:pt x="3309068" y="966604"/>
                  <a:pt x="3309068" y="957494"/>
                </a:cubicBezTo>
                <a:close/>
                <a:moveTo>
                  <a:pt x="2419847" y="957494"/>
                </a:moveTo>
                <a:cubicBezTo>
                  <a:pt x="2418025" y="961138"/>
                  <a:pt x="2412559" y="962960"/>
                  <a:pt x="2414381" y="970249"/>
                </a:cubicBezTo>
                <a:cubicBezTo>
                  <a:pt x="2418025" y="968427"/>
                  <a:pt x="2418025" y="962960"/>
                  <a:pt x="2423492" y="962960"/>
                </a:cubicBezTo>
                <a:cubicBezTo>
                  <a:pt x="2425314" y="957494"/>
                  <a:pt x="2421669" y="959316"/>
                  <a:pt x="2419847" y="957494"/>
                </a:cubicBezTo>
                <a:close/>
                <a:moveTo>
                  <a:pt x="2184787" y="957494"/>
                </a:moveTo>
                <a:cubicBezTo>
                  <a:pt x="2184787" y="959316"/>
                  <a:pt x="2184787" y="959316"/>
                  <a:pt x="2184787" y="961138"/>
                </a:cubicBezTo>
                <a:cubicBezTo>
                  <a:pt x="2184787" y="979360"/>
                  <a:pt x="2182965" y="979360"/>
                  <a:pt x="2175676" y="992115"/>
                </a:cubicBezTo>
                <a:lnTo>
                  <a:pt x="2181143" y="995759"/>
                </a:lnTo>
                <a:cubicBezTo>
                  <a:pt x="2186609" y="995759"/>
                  <a:pt x="2188431" y="999403"/>
                  <a:pt x="2188431" y="1001226"/>
                </a:cubicBezTo>
                <a:lnTo>
                  <a:pt x="2193898" y="1004870"/>
                </a:lnTo>
                <a:cubicBezTo>
                  <a:pt x="2193898" y="1008515"/>
                  <a:pt x="2192076" y="1008515"/>
                  <a:pt x="2192076" y="1010337"/>
                </a:cubicBezTo>
                <a:cubicBezTo>
                  <a:pt x="2193898" y="1010337"/>
                  <a:pt x="2195720" y="1010337"/>
                  <a:pt x="2195720" y="1012159"/>
                </a:cubicBezTo>
                <a:cubicBezTo>
                  <a:pt x="2195720" y="1017625"/>
                  <a:pt x="2197542" y="1021270"/>
                  <a:pt x="2201187" y="1023092"/>
                </a:cubicBezTo>
                <a:cubicBezTo>
                  <a:pt x="2203009" y="1021270"/>
                  <a:pt x="2203009" y="1015803"/>
                  <a:pt x="2203009" y="1004870"/>
                </a:cubicBezTo>
                <a:cubicBezTo>
                  <a:pt x="2206653" y="1008515"/>
                  <a:pt x="2208475" y="1008515"/>
                  <a:pt x="2210297" y="1010337"/>
                </a:cubicBezTo>
                <a:cubicBezTo>
                  <a:pt x="2212120" y="1008515"/>
                  <a:pt x="2212120" y="1006692"/>
                  <a:pt x="2212120" y="1004870"/>
                </a:cubicBezTo>
                <a:cubicBezTo>
                  <a:pt x="2212120" y="1004870"/>
                  <a:pt x="2210297" y="1004870"/>
                  <a:pt x="2210297" y="1006692"/>
                </a:cubicBezTo>
                <a:cubicBezTo>
                  <a:pt x="2210297" y="1003047"/>
                  <a:pt x="2210297" y="1001226"/>
                  <a:pt x="2213942" y="999403"/>
                </a:cubicBezTo>
                <a:cubicBezTo>
                  <a:pt x="2215764" y="1003047"/>
                  <a:pt x="2210297" y="1012159"/>
                  <a:pt x="2217586" y="1010337"/>
                </a:cubicBezTo>
                <a:cubicBezTo>
                  <a:pt x="2224875" y="1010337"/>
                  <a:pt x="2226697" y="997582"/>
                  <a:pt x="2223053" y="990293"/>
                </a:cubicBezTo>
                <a:cubicBezTo>
                  <a:pt x="2221230" y="990293"/>
                  <a:pt x="2219408" y="990293"/>
                  <a:pt x="2217586" y="988471"/>
                </a:cubicBezTo>
                <a:cubicBezTo>
                  <a:pt x="2217586" y="990293"/>
                  <a:pt x="2217586" y="992115"/>
                  <a:pt x="2219408" y="993937"/>
                </a:cubicBezTo>
                <a:cubicBezTo>
                  <a:pt x="2217586" y="993937"/>
                  <a:pt x="2217586" y="993937"/>
                  <a:pt x="2217586" y="993937"/>
                </a:cubicBezTo>
                <a:lnTo>
                  <a:pt x="2217586" y="999403"/>
                </a:lnTo>
                <a:lnTo>
                  <a:pt x="2213942" y="999403"/>
                </a:lnTo>
                <a:lnTo>
                  <a:pt x="2210297" y="999403"/>
                </a:lnTo>
                <a:lnTo>
                  <a:pt x="2201187" y="999403"/>
                </a:lnTo>
                <a:lnTo>
                  <a:pt x="2206653" y="993937"/>
                </a:lnTo>
                <a:cubicBezTo>
                  <a:pt x="2204831" y="990293"/>
                  <a:pt x="2206653" y="986649"/>
                  <a:pt x="2206653" y="984826"/>
                </a:cubicBezTo>
                <a:cubicBezTo>
                  <a:pt x="2210297" y="984826"/>
                  <a:pt x="2212120" y="984826"/>
                  <a:pt x="2213942" y="984826"/>
                </a:cubicBezTo>
                <a:lnTo>
                  <a:pt x="2215764" y="983004"/>
                </a:lnTo>
                <a:lnTo>
                  <a:pt x="2215764" y="984826"/>
                </a:lnTo>
                <a:cubicBezTo>
                  <a:pt x="2217586" y="983004"/>
                  <a:pt x="2221230" y="981182"/>
                  <a:pt x="2221230" y="977538"/>
                </a:cubicBezTo>
                <a:cubicBezTo>
                  <a:pt x="2213942" y="981182"/>
                  <a:pt x="2219408" y="968427"/>
                  <a:pt x="2217586" y="966604"/>
                </a:cubicBezTo>
                <a:cubicBezTo>
                  <a:pt x="2226697" y="968427"/>
                  <a:pt x="2221230" y="968427"/>
                  <a:pt x="2223053" y="975715"/>
                </a:cubicBezTo>
                <a:cubicBezTo>
                  <a:pt x="2224875" y="977538"/>
                  <a:pt x="2226697" y="975715"/>
                  <a:pt x="2228519" y="973893"/>
                </a:cubicBezTo>
                <a:cubicBezTo>
                  <a:pt x="2230341" y="968427"/>
                  <a:pt x="2230341" y="959316"/>
                  <a:pt x="2223053" y="957494"/>
                </a:cubicBezTo>
                <a:cubicBezTo>
                  <a:pt x="2217586" y="957494"/>
                  <a:pt x="2213942" y="962960"/>
                  <a:pt x="2208475" y="964782"/>
                </a:cubicBezTo>
                <a:cubicBezTo>
                  <a:pt x="2208475" y="961138"/>
                  <a:pt x="2210297" y="961138"/>
                  <a:pt x="2212120" y="959316"/>
                </a:cubicBezTo>
                <a:cubicBezTo>
                  <a:pt x="2203009" y="961138"/>
                  <a:pt x="2193898" y="959316"/>
                  <a:pt x="2184787" y="957494"/>
                </a:cubicBezTo>
                <a:close/>
                <a:moveTo>
                  <a:pt x="1275522" y="957494"/>
                </a:moveTo>
                <a:cubicBezTo>
                  <a:pt x="1273700" y="959316"/>
                  <a:pt x="1266411" y="961138"/>
                  <a:pt x="1268233" y="964782"/>
                </a:cubicBezTo>
                <a:cubicBezTo>
                  <a:pt x="1270056" y="962960"/>
                  <a:pt x="1271878" y="962960"/>
                  <a:pt x="1271878" y="961138"/>
                </a:cubicBezTo>
                <a:cubicBezTo>
                  <a:pt x="1273700" y="962960"/>
                  <a:pt x="1270056" y="964782"/>
                  <a:pt x="1270056" y="966604"/>
                </a:cubicBezTo>
                <a:cubicBezTo>
                  <a:pt x="1264589" y="966604"/>
                  <a:pt x="1259123" y="966604"/>
                  <a:pt x="1253656" y="962960"/>
                </a:cubicBezTo>
                <a:cubicBezTo>
                  <a:pt x="1248189" y="966604"/>
                  <a:pt x="1248189" y="972071"/>
                  <a:pt x="1248189" y="975715"/>
                </a:cubicBezTo>
                <a:cubicBezTo>
                  <a:pt x="1250012" y="975715"/>
                  <a:pt x="1253656" y="973893"/>
                  <a:pt x="1255478" y="972071"/>
                </a:cubicBezTo>
                <a:cubicBezTo>
                  <a:pt x="1251834" y="977538"/>
                  <a:pt x="1246367" y="979360"/>
                  <a:pt x="1240901" y="983004"/>
                </a:cubicBezTo>
                <a:cubicBezTo>
                  <a:pt x="1242723" y="984826"/>
                  <a:pt x="1242723" y="986649"/>
                  <a:pt x="1240901" y="986649"/>
                </a:cubicBezTo>
                <a:cubicBezTo>
                  <a:pt x="1237256" y="993937"/>
                  <a:pt x="1233612" y="1001226"/>
                  <a:pt x="1233612" y="1010337"/>
                </a:cubicBezTo>
                <a:cubicBezTo>
                  <a:pt x="1228146" y="1010337"/>
                  <a:pt x="1226323" y="1015803"/>
                  <a:pt x="1224501" y="1019448"/>
                </a:cubicBezTo>
                <a:cubicBezTo>
                  <a:pt x="1230878" y="1015803"/>
                  <a:pt x="1236345" y="1012614"/>
                  <a:pt x="1242039" y="1009425"/>
                </a:cubicBezTo>
                <a:lnTo>
                  <a:pt x="1257324" y="1001323"/>
                </a:lnTo>
                <a:lnTo>
                  <a:pt x="1248189" y="1008515"/>
                </a:lnTo>
                <a:cubicBezTo>
                  <a:pt x="1253656" y="1010337"/>
                  <a:pt x="1260945" y="1004870"/>
                  <a:pt x="1264589" y="999403"/>
                </a:cubicBezTo>
                <a:cubicBezTo>
                  <a:pt x="1264589" y="1001226"/>
                  <a:pt x="1262767" y="1004870"/>
                  <a:pt x="1259123" y="1006692"/>
                </a:cubicBezTo>
                <a:cubicBezTo>
                  <a:pt x="1271878" y="1010337"/>
                  <a:pt x="1290100" y="992115"/>
                  <a:pt x="1301033" y="981182"/>
                </a:cubicBezTo>
                <a:cubicBezTo>
                  <a:pt x="1302855" y="983004"/>
                  <a:pt x="1295566" y="984826"/>
                  <a:pt x="1297388" y="988471"/>
                </a:cubicBezTo>
                <a:cubicBezTo>
                  <a:pt x="1302855" y="984826"/>
                  <a:pt x="1310143" y="979360"/>
                  <a:pt x="1317432" y="979360"/>
                </a:cubicBezTo>
                <a:cubicBezTo>
                  <a:pt x="1315610" y="975715"/>
                  <a:pt x="1310143" y="973893"/>
                  <a:pt x="1306499" y="972071"/>
                </a:cubicBezTo>
                <a:cubicBezTo>
                  <a:pt x="1308321" y="975715"/>
                  <a:pt x="1304677" y="979360"/>
                  <a:pt x="1301033" y="983004"/>
                </a:cubicBezTo>
                <a:cubicBezTo>
                  <a:pt x="1301945" y="980271"/>
                  <a:pt x="1303311" y="977537"/>
                  <a:pt x="1303995" y="975032"/>
                </a:cubicBezTo>
                <a:lnTo>
                  <a:pt x="1303016" y="969361"/>
                </a:lnTo>
                <a:lnTo>
                  <a:pt x="1304677" y="970249"/>
                </a:lnTo>
                <a:cubicBezTo>
                  <a:pt x="1304677" y="970249"/>
                  <a:pt x="1302855" y="968427"/>
                  <a:pt x="1302855" y="968427"/>
                </a:cubicBezTo>
                <a:lnTo>
                  <a:pt x="1303016" y="969361"/>
                </a:lnTo>
                <a:lnTo>
                  <a:pt x="1291466" y="963188"/>
                </a:lnTo>
                <a:cubicBezTo>
                  <a:pt x="1285999" y="962048"/>
                  <a:pt x="1280077" y="961138"/>
                  <a:pt x="1275522" y="957494"/>
                </a:cubicBezTo>
                <a:close/>
                <a:moveTo>
                  <a:pt x="1100593" y="957494"/>
                </a:moveTo>
                <a:lnTo>
                  <a:pt x="1098771" y="961138"/>
                </a:lnTo>
                <a:cubicBezTo>
                  <a:pt x="1098771" y="962960"/>
                  <a:pt x="1098771" y="964782"/>
                  <a:pt x="1096949" y="966604"/>
                </a:cubicBezTo>
                <a:lnTo>
                  <a:pt x="1095127" y="972071"/>
                </a:lnTo>
                <a:cubicBezTo>
                  <a:pt x="1095127" y="973893"/>
                  <a:pt x="1095127" y="977538"/>
                  <a:pt x="1098771" y="979360"/>
                </a:cubicBezTo>
                <a:cubicBezTo>
                  <a:pt x="1102416" y="979360"/>
                  <a:pt x="1102416" y="977538"/>
                  <a:pt x="1104238" y="975715"/>
                </a:cubicBezTo>
                <a:cubicBezTo>
                  <a:pt x="1104238" y="977538"/>
                  <a:pt x="1102416" y="979360"/>
                  <a:pt x="1104238" y="981182"/>
                </a:cubicBezTo>
                <a:cubicBezTo>
                  <a:pt x="1106060" y="981182"/>
                  <a:pt x="1107882" y="981182"/>
                  <a:pt x="1109704" y="979360"/>
                </a:cubicBezTo>
                <a:cubicBezTo>
                  <a:pt x="1107882" y="977538"/>
                  <a:pt x="1109704" y="975715"/>
                  <a:pt x="1107882" y="973893"/>
                </a:cubicBezTo>
                <a:cubicBezTo>
                  <a:pt x="1107882" y="973893"/>
                  <a:pt x="1109704" y="973893"/>
                  <a:pt x="1111526" y="972071"/>
                </a:cubicBezTo>
                <a:cubicBezTo>
                  <a:pt x="1109704" y="966604"/>
                  <a:pt x="1111526" y="962960"/>
                  <a:pt x="1107882" y="957494"/>
                </a:cubicBezTo>
                <a:cubicBezTo>
                  <a:pt x="1104238" y="959316"/>
                  <a:pt x="1102416" y="957494"/>
                  <a:pt x="1100593" y="957494"/>
                </a:cubicBezTo>
                <a:close/>
                <a:moveTo>
                  <a:pt x="1064151" y="957494"/>
                </a:moveTo>
                <a:cubicBezTo>
                  <a:pt x="1060506" y="955672"/>
                  <a:pt x="1056861" y="957494"/>
                  <a:pt x="1051395" y="959316"/>
                </a:cubicBezTo>
                <a:cubicBezTo>
                  <a:pt x="1051395" y="962960"/>
                  <a:pt x="1055040" y="961138"/>
                  <a:pt x="1056861" y="962960"/>
                </a:cubicBezTo>
                <a:cubicBezTo>
                  <a:pt x="1058683" y="962960"/>
                  <a:pt x="1058683" y="961138"/>
                  <a:pt x="1056861" y="959316"/>
                </a:cubicBezTo>
                <a:cubicBezTo>
                  <a:pt x="1060506" y="959316"/>
                  <a:pt x="1058683" y="961138"/>
                  <a:pt x="1060506" y="962960"/>
                </a:cubicBezTo>
                <a:cubicBezTo>
                  <a:pt x="1060506" y="961138"/>
                  <a:pt x="1062328" y="961138"/>
                  <a:pt x="1064151" y="961138"/>
                </a:cubicBezTo>
                <a:close/>
                <a:moveTo>
                  <a:pt x="819979" y="957494"/>
                </a:moveTo>
                <a:cubicBezTo>
                  <a:pt x="818156" y="959316"/>
                  <a:pt x="812690" y="962960"/>
                  <a:pt x="816334" y="964782"/>
                </a:cubicBezTo>
                <a:cubicBezTo>
                  <a:pt x="821801" y="964782"/>
                  <a:pt x="827267" y="959316"/>
                  <a:pt x="819979" y="957494"/>
                </a:cubicBezTo>
                <a:close/>
                <a:moveTo>
                  <a:pt x="515676" y="957494"/>
                </a:moveTo>
                <a:cubicBezTo>
                  <a:pt x="513853" y="962960"/>
                  <a:pt x="522964" y="966604"/>
                  <a:pt x="528431" y="972071"/>
                </a:cubicBezTo>
                <a:cubicBezTo>
                  <a:pt x="526609" y="968427"/>
                  <a:pt x="521142" y="961138"/>
                  <a:pt x="515676" y="957494"/>
                </a:cubicBezTo>
                <a:close/>
                <a:moveTo>
                  <a:pt x="457367" y="957494"/>
                </a:moveTo>
                <a:cubicBezTo>
                  <a:pt x="455544" y="961138"/>
                  <a:pt x="444611" y="959316"/>
                  <a:pt x="444611" y="962960"/>
                </a:cubicBezTo>
                <a:cubicBezTo>
                  <a:pt x="446433" y="962960"/>
                  <a:pt x="446433" y="962960"/>
                  <a:pt x="450077" y="962960"/>
                </a:cubicBezTo>
                <a:cubicBezTo>
                  <a:pt x="448256" y="962960"/>
                  <a:pt x="448256" y="962960"/>
                  <a:pt x="446433" y="964782"/>
                </a:cubicBezTo>
                <a:cubicBezTo>
                  <a:pt x="448256" y="964782"/>
                  <a:pt x="450077" y="968427"/>
                  <a:pt x="453722" y="968427"/>
                </a:cubicBezTo>
                <a:cubicBezTo>
                  <a:pt x="455544" y="962960"/>
                  <a:pt x="459188" y="962960"/>
                  <a:pt x="457367" y="957494"/>
                </a:cubicBezTo>
                <a:close/>
                <a:moveTo>
                  <a:pt x="348037" y="957494"/>
                </a:moveTo>
                <a:cubicBezTo>
                  <a:pt x="348037" y="972071"/>
                  <a:pt x="358969" y="981182"/>
                  <a:pt x="375368" y="979360"/>
                </a:cubicBezTo>
                <a:cubicBezTo>
                  <a:pt x="371724" y="972071"/>
                  <a:pt x="360791" y="973893"/>
                  <a:pt x="355324" y="966604"/>
                </a:cubicBezTo>
                <a:lnTo>
                  <a:pt x="362426" y="969268"/>
                </a:lnTo>
                <a:lnTo>
                  <a:pt x="368079" y="973893"/>
                </a:lnTo>
                <a:lnTo>
                  <a:pt x="364738" y="970134"/>
                </a:lnTo>
                <a:lnTo>
                  <a:pt x="369902" y="972071"/>
                </a:lnTo>
                <a:cubicBezTo>
                  <a:pt x="373546" y="975715"/>
                  <a:pt x="377190" y="977538"/>
                  <a:pt x="384479" y="975715"/>
                </a:cubicBezTo>
                <a:cubicBezTo>
                  <a:pt x="386301" y="970249"/>
                  <a:pt x="369902" y="973893"/>
                  <a:pt x="375368" y="964782"/>
                </a:cubicBezTo>
                <a:cubicBezTo>
                  <a:pt x="379012" y="966604"/>
                  <a:pt x="382657" y="970249"/>
                  <a:pt x="386301" y="972071"/>
                </a:cubicBezTo>
                <a:cubicBezTo>
                  <a:pt x="386301" y="970249"/>
                  <a:pt x="386301" y="968427"/>
                  <a:pt x="384479" y="966604"/>
                </a:cubicBezTo>
                <a:cubicBezTo>
                  <a:pt x="386301" y="968427"/>
                  <a:pt x="388123" y="970249"/>
                  <a:pt x="389946" y="973893"/>
                </a:cubicBezTo>
                <a:cubicBezTo>
                  <a:pt x="389946" y="972071"/>
                  <a:pt x="391768" y="972071"/>
                  <a:pt x="393590" y="970249"/>
                </a:cubicBezTo>
                <a:cubicBezTo>
                  <a:pt x="384479" y="961138"/>
                  <a:pt x="368079" y="950204"/>
                  <a:pt x="353502" y="957494"/>
                </a:cubicBezTo>
                <a:lnTo>
                  <a:pt x="364738" y="970134"/>
                </a:lnTo>
                <a:lnTo>
                  <a:pt x="362426" y="969268"/>
                </a:lnTo>
                <a:close/>
                <a:moveTo>
                  <a:pt x="100220" y="957494"/>
                </a:moveTo>
                <a:lnTo>
                  <a:pt x="106930" y="962352"/>
                </a:lnTo>
                <a:lnTo>
                  <a:pt x="107509" y="962960"/>
                </a:lnTo>
                <a:cubicBezTo>
                  <a:pt x="103864" y="961138"/>
                  <a:pt x="102042" y="959316"/>
                  <a:pt x="100220" y="957494"/>
                </a:cubicBezTo>
                <a:close/>
                <a:moveTo>
                  <a:pt x="390173" y="956810"/>
                </a:moveTo>
                <a:cubicBezTo>
                  <a:pt x="387668" y="957493"/>
                  <a:pt x="385390" y="958405"/>
                  <a:pt x="382657" y="957494"/>
                </a:cubicBezTo>
                <a:cubicBezTo>
                  <a:pt x="386301" y="964782"/>
                  <a:pt x="391768" y="970249"/>
                  <a:pt x="397234" y="972071"/>
                </a:cubicBezTo>
                <a:cubicBezTo>
                  <a:pt x="401789" y="971160"/>
                  <a:pt x="401789" y="968427"/>
                  <a:pt x="400878" y="965465"/>
                </a:cubicBezTo>
                <a:lnTo>
                  <a:pt x="400136" y="962218"/>
                </a:lnTo>
                <a:lnTo>
                  <a:pt x="404523" y="966604"/>
                </a:lnTo>
                <a:cubicBezTo>
                  <a:pt x="406345" y="964782"/>
                  <a:pt x="408167" y="964782"/>
                  <a:pt x="409989" y="961138"/>
                </a:cubicBezTo>
                <a:cubicBezTo>
                  <a:pt x="408167" y="961138"/>
                  <a:pt x="406345" y="960227"/>
                  <a:pt x="404523" y="959771"/>
                </a:cubicBezTo>
                <a:lnTo>
                  <a:pt x="399844" y="960940"/>
                </a:lnTo>
                <a:lnTo>
                  <a:pt x="399056" y="957494"/>
                </a:lnTo>
                <a:cubicBezTo>
                  <a:pt x="395412" y="955671"/>
                  <a:pt x="392680" y="956126"/>
                  <a:pt x="390173" y="956810"/>
                </a:cubicBezTo>
                <a:close/>
                <a:moveTo>
                  <a:pt x="1178380" y="956238"/>
                </a:moveTo>
                <a:lnTo>
                  <a:pt x="1180769" y="957317"/>
                </a:lnTo>
                <a:lnTo>
                  <a:pt x="1180769" y="957494"/>
                </a:lnTo>
                <a:lnTo>
                  <a:pt x="1181122" y="957477"/>
                </a:lnTo>
                <a:lnTo>
                  <a:pt x="1184186" y="958860"/>
                </a:lnTo>
                <a:lnTo>
                  <a:pt x="1184208" y="959418"/>
                </a:lnTo>
                <a:lnTo>
                  <a:pt x="1180769" y="961138"/>
                </a:lnTo>
                <a:cubicBezTo>
                  <a:pt x="1178947" y="959316"/>
                  <a:pt x="1178947" y="959316"/>
                  <a:pt x="1177125" y="957494"/>
                </a:cubicBezTo>
                <a:close/>
                <a:moveTo>
                  <a:pt x="958460" y="955675"/>
                </a:moveTo>
                <a:lnTo>
                  <a:pt x="952997" y="961138"/>
                </a:lnTo>
                <a:lnTo>
                  <a:pt x="952927" y="959824"/>
                </a:lnTo>
                <a:close/>
                <a:moveTo>
                  <a:pt x="701537" y="955672"/>
                </a:moveTo>
                <a:cubicBezTo>
                  <a:pt x="696071" y="959316"/>
                  <a:pt x="685138" y="959316"/>
                  <a:pt x="686960" y="968427"/>
                </a:cubicBezTo>
                <a:cubicBezTo>
                  <a:pt x="686960" y="968427"/>
                  <a:pt x="688782" y="966604"/>
                  <a:pt x="688782" y="966604"/>
                </a:cubicBezTo>
                <a:cubicBezTo>
                  <a:pt x="685138" y="972071"/>
                  <a:pt x="696071" y="970249"/>
                  <a:pt x="697893" y="973893"/>
                </a:cubicBezTo>
                <a:cubicBezTo>
                  <a:pt x="705182" y="968427"/>
                  <a:pt x="697893" y="961138"/>
                  <a:pt x="701537" y="955672"/>
                </a:cubicBezTo>
                <a:close/>
                <a:moveTo>
                  <a:pt x="663272" y="955672"/>
                </a:moveTo>
                <a:cubicBezTo>
                  <a:pt x="663272" y="961138"/>
                  <a:pt x="661449" y="966604"/>
                  <a:pt x="666916" y="968427"/>
                </a:cubicBezTo>
                <a:cubicBezTo>
                  <a:pt x="674205" y="968427"/>
                  <a:pt x="668738" y="962960"/>
                  <a:pt x="670560" y="959316"/>
                </a:cubicBezTo>
                <a:cubicBezTo>
                  <a:pt x="668738" y="957494"/>
                  <a:pt x="665094" y="955672"/>
                  <a:pt x="663272" y="955672"/>
                </a:cubicBezTo>
                <a:close/>
                <a:moveTo>
                  <a:pt x="537542" y="955672"/>
                </a:moveTo>
                <a:cubicBezTo>
                  <a:pt x="533897" y="959316"/>
                  <a:pt x="537542" y="962960"/>
                  <a:pt x="543008" y="961138"/>
                </a:cubicBezTo>
                <a:cubicBezTo>
                  <a:pt x="543008" y="959316"/>
                  <a:pt x="539364" y="957494"/>
                  <a:pt x="537542" y="955672"/>
                </a:cubicBezTo>
                <a:close/>
                <a:moveTo>
                  <a:pt x="255105" y="955672"/>
                </a:moveTo>
                <a:cubicBezTo>
                  <a:pt x="256927" y="957494"/>
                  <a:pt x="255105" y="962960"/>
                  <a:pt x="262393" y="961138"/>
                </a:cubicBezTo>
                <a:cubicBezTo>
                  <a:pt x="258749" y="957494"/>
                  <a:pt x="256927" y="955672"/>
                  <a:pt x="255105" y="955672"/>
                </a:cubicBezTo>
                <a:close/>
                <a:moveTo>
                  <a:pt x="227772" y="955672"/>
                </a:moveTo>
                <a:cubicBezTo>
                  <a:pt x="233239" y="961138"/>
                  <a:pt x="229594" y="966604"/>
                  <a:pt x="238705" y="962960"/>
                </a:cubicBezTo>
                <a:cubicBezTo>
                  <a:pt x="235061" y="957494"/>
                  <a:pt x="231416" y="959316"/>
                  <a:pt x="227772" y="955672"/>
                </a:cubicBezTo>
                <a:close/>
                <a:moveTo>
                  <a:pt x="158529" y="955672"/>
                </a:moveTo>
                <a:cubicBezTo>
                  <a:pt x="158529" y="957494"/>
                  <a:pt x="162174" y="961138"/>
                  <a:pt x="165818" y="962960"/>
                </a:cubicBezTo>
                <a:cubicBezTo>
                  <a:pt x="165818" y="961138"/>
                  <a:pt x="160352" y="955672"/>
                  <a:pt x="158529" y="955672"/>
                </a:cubicBezTo>
                <a:close/>
                <a:moveTo>
                  <a:pt x="2150166" y="953848"/>
                </a:moveTo>
                <a:cubicBezTo>
                  <a:pt x="2148344" y="955672"/>
                  <a:pt x="2146521" y="955672"/>
                  <a:pt x="2142877" y="955672"/>
                </a:cubicBezTo>
                <a:cubicBezTo>
                  <a:pt x="2148344" y="955672"/>
                  <a:pt x="2155632" y="957494"/>
                  <a:pt x="2164743" y="959316"/>
                </a:cubicBezTo>
                <a:cubicBezTo>
                  <a:pt x="2164743" y="957494"/>
                  <a:pt x="2164743" y="957494"/>
                  <a:pt x="2162921" y="955672"/>
                </a:cubicBezTo>
                <a:cubicBezTo>
                  <a:pt x="2159277" y="952026"/>
                  <a:pt x="2153810" y="952026"/>
                  <a:pt x="2150166" y="953848"/>
                </a:cubicBezTo>
                <a:close/>
                <a:moveTo>
                  <a:pt x="2137410" y="953848"/>
                </a:moveTo>
                <a:cubicBezTo>
                  <a:pt x="2133766" y="957494"/>
                  <a:pt x="2128300" y="955672"/>
                  <a:pt x="2122833" y="957494"/>
                </a:cubicBezTo>
                <a:lnTo>
                  <a:pt x="2126477" y="961138"/>
                </a:lnTo>
                <a:cubicBezTo>
                  <a:pt x="2131944" y="959316"/>
                  <a:pt x="2133766" y="957494"/>
                  <a:pt x="2137410" y="957494"/>
                </a:cubicBezTo>
                <a:cubicBezTo>
                  <a:pt x="2137410" y="957494"/>
                  <a:pt x="2137410" y="955672"/>
                  <a:pt x="2137410" y="953848"/>
                </a:cubicBezTo>
                <a:close/>
                <a:moveTo>
                  <a:pt x="1124282" y="953848"/>
                </a:moveTo>
                <a:cubicBezTo>
                  <a:pt x="1120637" y="955672"/>
                  <a:pt x="1115171" y="953848"/>
                  <a:pt x="1111526" y="955672"/>
                </a:cubicBezTo>
                <a:cubicBezTo>
                  <a:pt x="1111526" y="966604"/>
                  <a:pt x="1115171" y="977538"/>
                  <a:pt x="1124282" y="986649"/>
                </a:cubicBezTo>
                <a:cubicBezTo>
                  <a:pt x="1126104" y="981182"/>
                  <a:pt x="1126104" y="975715"/>
                  <a:pt x="1122459" y="966604"/>
                </a:cubicBezTo>
                <a:lnTo>
                  <a:pt x="1125051" y="961622"/>
                </a:lnTo>
                <a:lnTo>
                  <a:pt x="1126104" y="964782"/>
                </a:lnTo>
                <a:cubicBezTo>
                  <a:pt x="1124282" y="975715"/>
                  <a:pt x="1122459" y="986649"/>
                  <a:pt x="1126104" y="997582"/>
                </a:cubicBezTo>
                <a:cubicBezTo>
                  <a:pt x="1126104" y="995759"/>
                  <a:pt x="1127926" y="993937"/>
                  <a:pt x="1129748" y="993937"/>
                </a:cubicBezTo>
                <a:cubicBezTo>
                  <a:pt x="1129748" y="997582"/>
                  <a:pt x="1126104" y="997582"/>
                  <a:pt x="1126104" y="999403"/>
                </a:cubicBezTo>
                <a:cubicBezTo>
                  <a:pt x="1124282" y="997582"/>
                  <a:pt x="1124282" y="993937"/>
                  <a:pt x="1122459" y="990293"/>
                </a:cubicBezTo>
                <a:cubicBezTo>
                  <a:pt x="1120637" y="984826"/>
                  <a:pt x="1115171" y="981182"/>
                  <a:pt x="1115171" y="977538"/>
                </a:cubicBezTo>
                <a:cubicBezTo>
                  <a:pt x="1109704" y="979360"/>
                  <a:pt x="1111526" y="984826"/>
                  <a:pt x="1106060" y="988471"/>
                </a:cubicBezTo>
                <a:cubicBezTo>
                  <a:pt x="1109704" y="992115"/>
                  <a:pt x="1111526" y="988471"/>
                  <a:pt x="1113349" y="992115"/>
                </a:cubicBezTo>
                <a:cubicBezTo>
                  <a:pt x="1116993" y="986649"/>
                  <a:pt x="1118815" y="993937"/>
                  <a:pt x="1122459" y="990293"/>
                </a:cubicBezTo>
                <a:cubicBezTo>
                  <a:pt x="1120637" y="990293"/>
                  <a:pt x="1118815" y="992115"/>
                  <a:pt x="1118815" y="993937"/>
                </a:cubicBezTo>
                <a:cubicBezTo>
                  <a:pt x="1115171" y="995759"/>
                  <a:pt x="1106060" y="986649"/>
                  <a:pt x="1106060" y="993937"/>
                </a:cubicBezTo>
                <a:cubicBezTo>
                  <a:pt x="1104238" y="993937"/>
                  <a:pt x="1102416" y="990293"/>
                  <a:pt x="1100593" y="992115"/>
                </a:cubicBezTo>
                <a:cubicBezTo>
                  <a:pt x="1096949" y="995759"/>
                  <a:pt x="1102416" y="997582"/>
                  <a:pt x="1104238" y="1001226"/>
                </a:cubicBezTo>
                <a:cubicBezTo>
                  <a:pt x="1111526" y="999403"/>
                  <a:pt x="1118815" y="1001226"/>
                  <a:pt x="1126104" y="999403"/>
                </a:cubicBezTo>
                <a:cubicBezTo>
                  <a:pt x="1135215" y="1006692"/>
                  <a:pt x="1146148" y="997582"/>
                  <a:pt x="1151614" y="990293"/>
                </a:cubicBezTo>
                <a:cubicBezTo>
                  <a:pt x="1151614" y="995759"/>
                  <a:pt x="1155259" y="990293"/>
                  <a:pt x="1158903" y="990293"/>
                </a:cubicBezTo>
                <a:cubicBezTo>
                  <a:pt x="1160725" y="988471"/>
                  <a:pt x="1160725" y="984826"/>
                  <a:pt x="1162547" y="983004"/>
                </a:cubicBezTo>
                <a:cubicBezTo>
                  <a:pt x="1166192" y="983004"/>
                  <a:pt x="1160725" y="988471"/>
                  <a:pt x="1162547" y="990293"/>
                </a:cubicBezTo>
                <a:cubicBezTo>
                  <a:pt x="1164370" y="990293"/>
                  <a:pt x="1164370" y="986649"/>
                  <a:pt x="1166192" y="988471"/>
                </a:cubicBezTo>
                <a:lnTo>
                  <a:pt x="1167467" y="984009"/>
                </a:lnTo>
                <a:lnTo>
                  <a:pt x="1175075" y="979132"/>
                </a:lnTo>
                <a:cubicBezTo>
                  <a:pt x="1178491" y="977537"/>
                  <a:pt x="1181680" y="975715"/>
                  <a:pt x="1182592" y="972071"/>
                </a:cubicBezTo>
                <a:cubicBezTo>
                  <a:pt x="1184414" y="972071"/>
                  <a:pt x="1182592" y="973893"/>
                  <a:pt x="1184414" y="973893"/>
                </a:cubicBezTo>
                <a:cubicBezTo>
                  <a:pt x="1188058" y="970249"/>
                  <a:pt x="1182592" y="964782"/>
                  <a:pt x="1178947" y="961138"/>
                </a:cubicBezTo>
                <a:cubicBezTo>
                  <a:pt x="1180769" y="961138"/>
                  <a:pt x="1182592" y="964782"/>
                  <a:pt x="1184414" y="964782"/>
                </a:cubicBezTo>
                <a:lnTo>
                  <a:pt x="1184208" y="959418"/>
                </a:lnTo>
                <a:lnTo>
                  <a:pt x="1184414" y="959316"/>
                </a:lnTo>
                <a:cubicBezTo>
                  <a:pt x="1186236" y="959316"/>
                  <a:pt x="1186236" y="961138"/>
                  <a:pt x="1186236" y="961138"/>
                </a:cubicBezTo>
                <a:cubicBezTo>
                  <a:pt x="1187147" y="959316"/>
                  <a:pt x="1186691" y="957949"/>
                  <a:pt x="1185552" y="957266"/>
                </a:cubicBezTo>
                <a:lnTo>
                  <a:pt x="1181122" y="957477"/>
                </a:lnTo>
                <a:lnTo>
                  <a:pt x="1180769" y="957317"/>
                </a:lnTo>
                <a:lnTo>
                  <a:pt x="1180769" y="955672"/>
                </a:lnTo>
                <a:cubicBezTo>
                  <a:pt x="1180769" y="955672"/>
                  <a:pt x="1178947" y="955672"/>
                  <a:pt x="1178947" y="955672"/>
                </a:cubicBezTo>
                <a:lnTo>
                  <a:pt x="1178380" y="956238"/>
                </a:lnTo>
                <a:lnTo>
                  <a:pt x="1177125" y="955672"/>
                </a:lnTo>
                <a:lnTo>
                  <a:pt x="1177125" y="957494"/>
                </a:lnTo>
                <a:lnTo>
                  <a:pt x="1177125" y="959316"/>
                </a:lnTo>
                <a:cubicBezTo>
                  <a:pt x="1173481" y="957494"/>
                  <a:pt x="1169836" y="964782"/>
                  <a:pt x="1166192" y="968427"/>
                </a:cubicBezTo>
                <a:cubicBezTo>
                  <a:pt x="1164370" y="966604"/>
                  <a:pt x="1164370" y="962960"/>
                  <a:pt x="1164370" y="961138"/>
                </a:cubicBezTo>
                <a:cubicBezTo>
                  <a:pt x="1166192" y="961138"/>
                  <a:pt x="1166192" y="964782"/>
                  <a:pt x="1166192" y="964782"/>
                </a:cubicBezTo>
                <a:cubicBezTo>
                  <a:pt x="1169836" y="964782"/>
                  <a:pt x="1173481" y="959316"/>
                  <a:pt x="1175303" y="957494"/>
                </a:cubicBezTo>
                <a:cubicBezTo>
                  <a:pt x="1173481" y="959316"/>
                  <a:pt x="1171658" y="955672"/>
                  <a:pt x="1168014" y="953848"/>
                </a:cubicBezTo>
                <a:cubicBezTo>
                  <a:pt x="1162547" y="952026"/>
                  <a:pt x="1155259" y="957494"/>
                  <a:pt x="1149792" y="957494"/>
                </a:cubicBezTo>
                <a:cubicBezTo>
                  <a:pt x="1142503" y="957494"/>
                  <a:pt x="1138859" y="953848"/>
                  <a:pt x="1131570" y="953848"/>
                </a:cubicBezTo>
                <a:cubicBezTo>
                  <a:pt x="1133393" y="957494"/>
                  <a:pt x="1129748" y="955672"/>
                  <a:pt x="1127926" y="959316"/>
                </a:cubicBezTo>
                <a:cubicBezTo>
                  <a:pt x="1124282" y="957494"/>
                  <a:pt x="1129748" y="955672"/>
                  <a:pt x="1127926" y="953848"/>
                </a:cubicBezTo>
                <a:lnTo>
                  <a:pt x="1124992" y="958250"/>
                </a:lnTo>
                <a:close/>
                <a:moveTo>
                  <a:pt x="1034995" y="953848"/>
                </a:moveTo>
                <a:cubicBezTo>
                  <a:pt x="1031351" y="957494"/>
                  <a:pt x="1038639" y="957494"/>
                  <a:pt x="1033173" y="959316"/>
                </a:cubicBezTo>
                <a:cubicBezTo>
                  <a:pt x="1033173" y="961138"/>
                  <a:pt x="1034995" y="961138"/>
                  <a:pt x="1034995" y="962960"/>
                </a:cubicBezTo>
                <a:cubicBezTo>
                  <a:pt x="1038639" y="962960"/>
                  <a:pt x="1040462" y="962960"/>
                  <a:pt x="1044106" y="959316"/>
                </a:cubicBezTo>
                <a:cubicBezTo>
                  <a:pt x="1044106" y="957494"/>
                  <a:pt x="1042284" y="957494"/>
                  <a:pt x="1042284" y="955672"/>
                </a:cubicBezTo>
                <a:cubicBezTo>
                  <a:pt x="1040462" y="957494"/>
                  <a:pt x="1040462" y="957494"/>
                  <a:pt x="1038639" y="957494"/>
                </a:cubicBezTo>
                <a:cubicBezTo>
                  <a:pt x="1038639" y="957494"/>
                  <a:pt x="1040462" y="955672"/>
                  <a:pt x="1040462" y="955672"/>
                </a:cubicBezTo>
                <a:cubicBezTo>
                  <a:pt x="1038639" y="952026"/>
                  <a:pt x="1036818" y="955672"/>
                  <a:pt x="1034995" y="953848"/>
                </a:cubicBezTo>
                <a:close/>
                <a:moveTo>
                  <a:pt x="967575" y="953848"/>
                </a:moveTo>
                <a:cubicBezTo>
                  <a:pt x="965753" y="953848"/>
                  <a:pt x="967575" y="955672"/>
                  <a:pt x="965753" y="957494"/>
                </a:cubicBezTo>
                <a:cubicBezTo>
                  <a:pt x="963930" y="957494"/>
                  <a:pt x="963930" y="955672"/>
                  <a:pt x="962108" y="955672"/>
                </a:cubicBezTo>
                <a:cubicBezTo>
                  <a:pt x="963930" y="953848"/>
                  <a:pt x="965753" y="955672"/>
                  <a:pt x="967575" y="953848"/>
                </a:cubicBezTo>
                <a:close/>
                <a:moveTo>
                  <a:pt x="872822" y="953848"/>
                </a:moveTo>
                <a:lnTo>
                  <a:pt x="871000" y="958953"/>
                </a:lnTo>
                <a:lnTo>
                  <a:pt x="870544" y="960227"/>
                </a:lnTo>
                <a:cubicBezTo>
                  <a:pt x="871000" y="962504"/>
                  <a:pt x="871910" y="964782"/>
                  <a:pt x="871000" y="966604"/>
                </a:cubicBezTo>
                <a:cubicBezTo>
                  <a:pt x="867355" y="966604"/>
                  <a:pt x="865533" y="968427"/>
                  <a:pt x="860066" y="973893"/>
                </a:cubicBezTo>
                <a:lnTo>
                  <a:pt x="864293" y="976679"/>
                </a:lnTo>
                <a:lnTo>
                  <a:pt x="861889" y="977538"/>
                </a:lnTo>
                <a:cubicBezTo>
                  <a:pt x="863711" y="979360"/>
                  <a:pt x="863711" y="977538"/>
                  <a:pt x="865533" y="979360"/>
                </a:cubicBezTo>
                <a:lnTo>
                  <a:pt x="865214" y="977286"/>
                </a:lnTo>
                <a:lnTo>
                  <a:pt x="870088" y="980498"/>
                </a:lnTo>
                <a:lnTo>
                  <a:pt x="874279" y="981546"/>
                </a:lnTo>
                <a:lnTo>
                  <a:pt x="880111" y="983004"/>
                </a:lnTo>
                <a:cubicBezTo>
                  <a:pt x="876466" y="979360"/>
                  <a:pt x="878288" y="977538"/>
                  <a:pt x="876466" y="973893"/>
                </a:cubicBezTo>
                <a:cubicBezTo>
                  <a:pt x="880111" y="979360"/>
                  <a:pt x="887399" y="984826"/>
                  <a:pt x="894688" y="981182"/>
                </a:cubicBezTo>
                <a:cubicBezTo>
                  <a:pt x="891043" y="979360"/>
                  <a:pt x="892866" y="975715"/>
                  <a:pt x="892866" y="972071"/>
                </a:cubicBezTo>
                <a:cubicBezTo>
                  <a:pt x="887399" y="968427"/>
                  <a:pt x="880111" y="955672"/>
                  <a:pt x="872822" y="953848"/>
                </a:cubicBezTo>
                <a:close/>
                <a:moveTo>
                  <a:pt x="484700" y="953848"/>
                </a:moveTo>
                <a:cubicBezTo>
                  <a:pt x="504743" y="968427"/>
                  <a:pt x="521142" y="983004"/>
                  <a:pt x="546653" y="992115"/>
                </a:cubicBezTo>
                <a:cubicBezTo>
                  <a:pt x="548475" y="986649"/>
                  <a:pt x="535719" y="984826"/>
                  <a:pt x="535719" y="981182"/>
                </a:cubicBezTo>
                <a:cubicBezTo>
                  <a:pt x="526609" y="970249"/>
                  <a:pt x="512031" y="961138"/>
                  <a:pt x="499276" y="957494"/>
                </a:cubicBezTo>
                <a:cubicBezTo>
                  <a:pt x="499276" y="957494"/>
                  <a:pt x="501098" y="957494"/>
                  <a:pt x="501098" y="957494"/>
                </a:cubicBezTo>
                <a:cubicBezTo>
                  <a:pt x="495632" y="955672"/>
                  <a:pt x="490165" y="953848"/>
                  <a:pt x="484700" y="953848"/>
                </a:cubicBezTo>
                <a:close/>
                <a:moveTo>
                  <a:pt x="267860" y="953848"/>
                </a:moveTo>
                <a:cubicBezTo>
                  <a:pt x="267860" y="959316"/>
                  <a:pt x="275149" y="959316"/>
                  <a:pt x="276971" y="961138"/>
                </a:cubicBezTo>
                <a:cubicBezTo>
                  <a:pt x="275149" y="957494"/>
                  <a:pt x="271504" y="957494"/>
                  <a:pt x="267860" y="953848"/>
                </a:cubicBezTo>
                <a:close/>
                <a:moveTo>
                  <a:pt x="233239" y="953848"/>
                </a:moveTo>
                <a:cubicBezTo>
                  <a:pt x="238705" y="959316"/>
                  <a:pt x="242349" y="968427"/>
                  <a:pt x="251460" y="966604"/>
                </a:cubicBezTo>
                <a:cubicBezTo>
                  <a:pt x="249638" y="964782"/>
                  <a:pt x="245994" y="962960"/>
                  <a:pt x="244172" y="961138"/>
                </a:cubicBezTo>
                <a:lnTo>
                  <a:pt x="251511" y="965215"/>
                </a:lnTo>
                <a:lnTo>
                  <a:pt x="251916" y="968654"/>
                </a:lnTo>
                <a:cubicBezTo>
                  <a:pt x="253283" y="968427"/>
                  <a:pt x="255105" y="967516"/>
                  <a:pt x="255105" y="968427"/>
                </a:cubicBezTo>
                <a:lnTo>
                  <a:pt x="254752" y="967016"/>
                </a:lnTo>
                <a:lnTo>
                  <a:pt x="260571" y="970249"/>
                </a:lnTo>
                <a:cubicBezTo>
                  <a:pt x="256927" y="966604"/>
                  <a:pt x="256927" y="955672"/>
                  <a:pt x="249638" y="961138"/>
                </a:cubicBezTo>
                <a:cubicBezTo>
                  <a:pt x="247816" y="961138"/>
                  <a:pt x="247816" y="959316"/>
                  <a:pt x="247816" y="957494"/>
                </a:cubicBezTo>
                <a:cubicBezTo>
                  <a:pt x="245994" y="953848"/>
                  <a:pt x="240527" y="952026"/>
                  <a:pt x="236883" y="953848"/>
                </a:cubicBezTo>
                <a:cubicBezTo>
                  <a:pt x="236883" y="955672"/>
                  <a:pt x="236883" y="957494"/>
                  <a:pt x="238705" y="959316"/>
                </a:cubicBezTo>
                <a:cubicBezTo>
                  <a:pt x="235061" y="957494"/>
                  <a:pt x="235061" y="955672"/>
                  <a:pt x="233239" y="953848"/>
                </a:cubicBezTo>
                <a:close/>
                <a:moveTo>
                  <a:pt x="198617" y="953848"/>
                </a:moveTo>
                <a:cubicBezTo>
                  <a:pt x="202262" y="957494"/>
                  <a:pt x="211372" y="968427"/>
                  <a:pt x="216839" y="970249"/>
                </a:cubicBezTo>
                <a:cubicBezTo>
                  <a:pt x="213195" y="964782"/>
                  <a:pt x="204084" y="953848"/>
                  <a:pt x="198617" y="953848"/>
                </a:cubicBezTo>
                <a:close/>
                <a:moveTo>
                  <a:pt x="193151" y="953848"/>
                </a:moveTo>
                <a:cubicBezTo>
                  <a:pt x="196795" y="968427"/>
                  <a:pt x="213195" y="979360"/>
                  <a:pt x="224128" y="983004"/>
                </a:cubicBezTo>
                <a:cubicBezTo>
                  <a:pt x="213195" y="973893"/>
                  <a:pt x="204084" y="962960"/>
                  <a:pt x="193151" y="953848"/>
                </a:cubicBezTo>
                <a:close/>
                <a:moveTo>
                  <a:pt x="2749661" y="952026"/>
                </a:moveTo>
                <a:cubicBezTo>
                  <a:pt x="2746016" y="950204"/>
                  <a:pt x="2749661" y="959316"/>
                  <a:pt x="2753305" y="959316"/>
                </a:cubicBezTo>
                <a:cubicBezTo>
                  <a:pt x="2751483" y="955672"/>
                  <a:pt x="2749661" y="955672"/>
                  <a:pt x="2749661" y="952026"/>
                </a:cubicBezTo>
                <a:close/>
                <a:moveTo>
                  <a:pt x="1053217" y="952026"/>
                </a:moveTo>
                <a:cubicBezTo>
                  <a:pt x="1051395" y="952026"/>
                  <a:pt x="1053217" y="959316"/>
                  <a:pt x="1056861" y="955672"/>
                </a:cubicBezTo>
                <a:cubicBezTo>
                  <a:pt x="1056861" y="953848"/>
                  <a:pt x="1055040" y="952026"/>
                  <a:pt x="1053217" y="952026"/>
                </a:cubicBezTo>
                <a:close/>
                <a:moveTo>
                  <a:pt x="834556" y="952026"/>
                </a:moveTo>
                <a:cubicBezTo>
                  <a:pt x="832734" y="953848"/>
                  <a:pt x="834556" y="955672"/>
                  <a:pt x="832734" y="957494"/>
                </a:cubicBezTo>
                <a:cubicBezTo>
                  <a:pt x="836378" y="957494"/>
                  <a:pt x="836378" y="957494"/>
                  <a:pt x="838200" y="955672"/>
                </a:cubicBezTo>
                <a:cubicBezTo>
                  <a:pt x="838200" y="953848"/>
                  <a:pt x="836378" y="953848"/>
                  <a:pt x="834556" y="952026"/>
                </a:cubicBezTo>
                <a:close/>
                <a:moveTo>
                  <a:pt x="830912" y="952026"/>
                </a:moveTo>
                <a:cubicBezTo>
                  <a:pt x="827267" y="953848"/>
                  <a:pt x="830912" y="957494"/>
                  <a:pt x="827267" y="959316"/>
                </a:cubicBezTo>
                <a:cubicBezTo>
                  <a:pt x="829089" y="959316"/>
                  <a:pt x="830912" y="961138"/>
                  <a:pt x="832734" y="961138"/>
                </a:cubicBezTo>
                <a:cubicBezTo>
                  <a:pt x="832734" y="957494"/>
                  <a:pt x="830912" y="953848"/>
                  <a:pt x="830912" y="952026"/>
                </a:cubicBezTo>
                <a:close/>
                <a:moveTo>
                  <a:pt x="681493" y="952026"/>
                </a:moveTo>
                <a:cubicBezTo>
                  <a:pt x="681493" y="955672"/>
                  <a:pt x="677849" y="957494"/>
                  <a:pt x="679671" y="959316"/>
                </a:cubicBezTo>
                <a:cubicBezTo>
                  <a:pt x="679671" y="957494"/>
                  <a:pt x="685138" y="953848"/>
                  <a:pt x="681493" y="952026"/>
                </a:cubicBezTo>
                <a:close/>
                <a:moveTo>
                  <a:pt x="544830" y="952026"/>
                </a:moveTo>
                <a:cubicBezTo>
                  <a:pt x="546653" y="955672"/>
                  <a:pt x="546653" y="952026"/>
                  <a:pt x="550297" y="953848"/>
                </a:cubicBezTo>
                <a:cubicBezTo>
                  <a:pt x="550297" y="952026"/>
                  <a:pt x="546653" y="950204"/>
                  <a:pt x="544830" y="952026"/>
                </a:cubicBezTo>
                <a:close/>
                <a:moveTo>
                  <a:pt x="524786" y="952026"/>
                </a:moveTo>
                <a:cubicBezTo>
                  <a:pt x="524786" y="957494"/>
                  <a:pt x="530253" y="955672"/>
                  <a:pt x="533897" y="957494"/>
                </a:cubicBezTo>
                <a:cubicBezTo>
                  <a:pt x="533897" y="953848"/>
                  <a:pt x="528431" y="953848"/>
                  <a:pt x="524786" y="952026"/>
                </a:cubicBezTo>
                <a:close/>
                <a:moveTo>
                  <a:pt x="477410" y="952026"/>
                </a:moveTo>
                <a:cubicBezTo>
                  <a:pt x="477410" y="953848"/>
                  <a:pt x="482876" y="953848"/>
                  <a:pt x="484700" y="955672"/>
                </a:cubicBezTo>
                <a:cubicBezTo>
                  <a:pt x="486521" y="952026"/>
                  <a:pt x="479232" y="953848"/>
                  <a:pt x="477410" y="952026"/>
                </a:cubicBezTo>
                <a:close/>
                <a:moveTo>
                  <a:pt x="335280" y="952026"/>
                </a:moveTo>
                <a:cubicBezTo>
                  <a:pt x="332547" y="951116"/>
                  <a:pt x="331180" y="951571"/>
                  <a:pt x="331180" y="952482"/>
                </a:cubicBezTo>
                <a:lnTo>
                  <a:pt x="332690" y="953657"/>
                </a:lnTo>
                <a:lnTo>
                  <a:pt x="335280" y="955672"/>
                </a:lnTo>
                <a:cubicBezTo>
                  <a:pt x="337102" y="953848"/>
                  <a:pt x="335280" y="952026"/>
                  <a:pt x="335280" y="952026"/>
                </a:cubicBezTo>
                <a:close/>
                <a:moveTo>
                  <a:pt x="278793" y="952026"/>
                </a:moveTo>
                <a:cubicBezTo>
                  <a:pt x="276971" y="955672"/>
                  <a:pt x="284259" y="955672"/>
                  <a:pt x="286082" y="957494"/>
                </a:cubicBezTo>
                <a:cubicBezTo>
                  <a:pt x="286082" y="955672"/>
                  <a:pt x="280615" y="953848"/>
                  <a:pt x="278793" y="952026"/>
                </a:cubicBezTo>
                <a:close/>
                <a:moveTo>
                  <a:pt x="151241" y="952026"/>
                </a:moveTo>
                <a:cubicBezTo>
                  <a:pt x="151241" y="955672"/>
                  <a:pt x="160352" y="964782"/>
                  <a:pt x="163996" y="964782"/>
                </a:cubicBezTo>
                <a:cubicBezTo>
                  <a:pt x="160352" y="961138"/>
                  <a:pt x="154885" y="952026"/>
                  <a:pt x="151241" y="952026"/>
                </a:cubicBezTo>
                <a:close/>
                <a:moveTo>
                  <a:pt x="1192841" y="950888"/>
                </a:moveTo>
                <a:cubicBezTo>
                  <a:pt x="1191246" y="951116"/>
                  <a:pt x="1189880" y="952026"/>
                  <a:pt x="1189880" y="953848"/>
                </a:cubicBezTo>
                <a:cubicBezTo>
                  <a:pt x="1193525" y="957494"/>
                  <a:pt x="1198991" y="955672"/>
                  <a:pt x="1197169" y="952026"/>
                </a:cubicBezTo>
                <a:cubicBezTo>
                  <a:pt x="1196257" y="951116"/>
                  <a:pt x="1194435" y="950660"/>
                  <a:pt x="1192841" y="950888"/>
                </a:cubicBezTo>
                <a:close/>
                <a:moveTo>
                  <a:pt x="621134" y="950888"/>
                </a:moveTo>
                <a:cubicBezTo>
                  <a:pt x="619995" y="951571"/>
                  <a:pt x="618628" y="952938"/>
                  <a:pt x="617717" y="953848"/>
                </a:cubicBezTo>
                <a:cubicBezTo>
                  <a:pt x="619539" y="955672"/>
                  <a:pt x="621362" y="950204"/>
                  <a:pt x="623185" y="952026"/>
                </a:cubicBezTo>
                <a:cubicBezTo>
                  <a:pt x="623185" y="950205"/>
                  <a:pt x="622273" y="950205"/>
                  <a:pt x="621134" y="950888"/>
                </a:cubicBezTo>
                <a:close/>
                <a:moveTo>
                  <a:pt x="3279913" y="950204"/>
                </a:moveTo>
                <a:cubicBezTo>
                  <a:pt x="3274447" y="950204"/>
                  <a:pt x="3268980" y="959316"/>
                  <a:pt x="3265336" y="964782"/>
                </a:cubicBezTo>
                <a:cubicBezTo>
                  <a:pt x="3270803" y="964782"/>
                  <a:pt x="3276269" y="964782"/>
                  <a:pt x="3279913" y="962960"/>
                </a:cubicBezTo>
                <a:cubicBezTo>
                  <a:pt x="3278091" y="957494"/>
                  <a:pt x="3279913" y="955672"/>
                  <a:pt x="3279913" y="950204"/>
                </a:cubicBezTo>
                <a:close/>
                <a:moveTo>
                  <a:pt x="2527356" y="950204"/>
                </a:moveTo>
                <a:cubicBezTo>
                  <a:pt x="2527356" y="955672"/>
                  <a:pt x="2525534" y="959316"/>
                  <a:pt x="2529178" y="962960"/>
                </a:cubicBezTo>
                <a:cubicBezTo>
                  <a:pt x="2534644" y="959316"/>
                  <a:pt x="2541933" y="959316"/>
                  <a:pt x="2543755" y="952026"/>
                </a:cubicBezTo>
                <a:cubicBezTo>
                  <a:pt x="2538289" y="948383"/>
                  <a:pt x="2534644" y="952026"/>
                  <a:pt x="2527356" y="950204"/>
                </a:cubicBezTo>
                <a:close/>
                <a:moveTo>
                  <a:pt x="2516423" y="950204"/>
                </a:moveTo>
                <a:cubicBezTo>
                  <a:pt x="2516423" y="955672"/>
                  <a:pt x="2520067" y="953848"/>
                  <a:pt x="2521889" y="953848"/>
                </a:cubicBezTo>
                <a:cubicBezTo>
                  <a:pt x="2521889" y="950204"/>
                  <a:pt x="2520067" y="950204"/>
                  <a:pt x="2516423" y="950204"/>
                </a:cubicBezTo>
                <a:close/>
                <a:moveTo>
                  <a:pt x="1211747" y="950204"/>
                </a:moveTo>
                <a:lnTo>
                  <a:pt x="1212266" y="950204"/>
                </a:lnTo>
                <a:lnTo>
                  <a:pt x="1216625" y="953595"/>
                </a:lnTo>
                <a:lnTo>
                  <a:pt x="1214707" y="953393"/>
                </a:lnTo>
                <a:cubicBezTo>
                  <a:pt x="1213113" y="952938"/>
                  <a:pt x="1211747" y="952026"/>
                  <a:pt x="1211747" y="950204"/>
                </a:cubicBezTo>
                <a:close/>
                <a:moveTo>
                  <a:pt x="1056861" y="950204"/>
                </a:moveTo>
                <a:cubicBezTo>
                  <a:pt x="1060506" y="952026"/>
                  <a:pt x="1058683" y="953848"/>
                  <a:pt x="1060506" y="955672"/>
                </a:cubicBezTo>
                <a:cubicBezTo>
                  <a:pt x="1060506" y="955672"/>
                  <a:pt x="1062328" y="955672"/>
                  <a:pt x="1064151" y="953848"/>
                </a:cubicBezTo>
                <a:cubicBezTo>
                  <a:pt x="1064151" y="953848"/>
                  <a:pt x="1065972" y="952026"/>
                  <a:pt x="1067794" y="952026"/>
                </a:cubicBezTo>
                <a:cubicBezTo>
                  <a:pt x="1064151" y="950204"/>
                  <a:pt x="1060506" y="950204"/>
                  <a:pt x="1056861" y="950204"/>
                </a:cubicBezTo>
                <a:close/>
                <a:moveTo>
                  <a:pt x="1045929" y="950204"/>
                </a:moveTo>
                <a:cubicBezTo>
                  <a:pt x="1044106" y="950204"/>
                  <a:pt x="1042284" y="950204"/>
                  <a:pt x="1040462" y="952026"/>
                </a:cubicBezTo>
                <a:cubicBezTo>
                  <a:pt x="1042284" y="955672"/>
                  <a:pt x="1044106" y="955672"/>
                  <a:pt x="1045929" y="955672"/>
                </a:cubicBezTo>
                <a:cubicBezTo>
                  <a:pt x="1047750" y="953848"/>
                  <a:pt x="1047750" y="953848"/>
                  <a:pt x="1045929" y="950204"/>
                </a:cubicBezTo>
                <a:close/>
                <a:moveTo>
                  <a:pt x="996729" y="950204"/>
                </a:moveTo>
                <a:cubicBezTo>
                  <a:pt x="994907" y="953848"/>
                  <a:pt x="994907" y="957494"/>
                  <a:pt x="996729" y="961138"/>
                </a:cubicBezTo>
                <a:cubicBezTo>
                  <a:pt x="998552" y="959316"/>
                  <a:pt x="1000374" y="959316"/>
                  <a:pt x="1004018" y="957494"/>
                </a:cubicBezTo>
                <a:cubicBezTo>
                  <a:pt x="1002196" y="955672"/>
                  <a:pt x="998552" y="952026"/>
                  <a:pt x="996729" y="950204"/>
                </a:cubicBezTo>
                <a:close/>
                <a:moveTo>
                  <a:pt x="694249" y="950204"/>
                </a:moveTo>
                <a:cubicBezTo>
                  <a:pt x="692426" y="952026"/>
                  <a:pt x="688782" y="953848"/>
                  <a:pt x="688782" y="955672"/>
                </a:cubicBezTo>
                <a:cubicBezTo>
                  <a:pt x="690604" y="955672"/>
                  <a:pt x="699715" y="952026"/>
                  <a:pt x="694249" y="950204"/>
                </a:cubicBezTo>
                <a:close/>
                <a:moveTo>
                  <a:pt x="3126851" y="948383"/>
                </a:moveTo>
                <a:cubicBezTo>
                  <a:pt x="3134140" y="957494"/>
                  <a:pt x="3130495" y="981182"/>
                  <a:pt x="3145073" y="973893"/>
                </a:cubicBezTo>
                <a:cubicBezTo>
                  <a:pt x="3145073" y="972071"/>
                  <a:pt x="3143250" y="972071"/>
                  <a:pt x="3143250" y="968427"/>
                </a:cubicBezTo>
                <a:cubicBezTo>
                  <a:pt x="3145073" y="970249"/>
                  <a:pt x="3145073" y="970249"/>
                  <a:pt x="3145073" y="972071"/>
                </a:cubicBezTo>
                <a:cubicBezTo>
                  <a:pt x="3145073" y="962960"/>
                  <a:pt x="3143250" y="957494"/>
                  <a:pt x="3137784" y="952026"/>
                </a:cubicBezTo>
                <a:cubicBezTo>
                  <a:pt x="3135962" y="952026"/>
                  <a:pt x="3134140" y="957494"/>
                  <a:pt x="3132317" y="953848"/>
                </a:cubicBezTo>
                <a:cubicBezTo>
                  <a:pt x="3132317" y="952026"/>
                  <a:pt x="3130495" y="950204"/>
                  <a:pt x="3134140" y="950204"/>
                </a:cubicBezTo>
                <a:cubicBezTo>
                  <a:pt x="3130495" y="948383"/>
                  <a:pt x="3128673" y="948383"/>
                  <a:pt x="3126851" y="948383"/>
                </a:cubicBezTo>
                <a:close/>
                <a:moveTo>
                  <a:pt x="3108629" y="948383"/>
                </a:moveTo>
                <a:cubicBezTo>
                  <a:pt x="3106807" y="952026"/>
                  <a:pt x="3108629" y="950204"/>
                  <a:pt x="3108629" y="953848"/>
                </a:cubicBezTo>
                <a:cubicBezTo>
                  <a:pt x="3099518" y="950204"/>
                  <a:pt x="3097696" y="952026"/>
                  <a:pt x="3095874" y="959316"/>
                </a:cubicBezTo>
                <a:cubicBezTo>
                  <a:pt x="3104985" y="959316"/>
                  <a:pt x="3092230" y="968427"/>
                  <a:pt x="3094052" y="975715"/>
                </a:cubicBezTo>
                <a:cubicBezTo>
                  <a:pt x="3101340" y="972071"/>
                  <a:pt x="3112274" y="981182"/>
                  <a:pt x="3125029" y="975715"/>
                </a:cubicBezTo>
                <a:cubicBezTo>
                  <a:pt x="3123206" y="972071"/>
                  <a:pt x="3121384" y="962960"/>
                  <a:pt x="3126851" y="961138"/>
                </a:cubicBezTo>
                <a:cubicBezTo>
                  <a:pt x="3125029" y="955672"/>
                  <a:pt x="3123206" y="961138"/>
                  <a:pt x="3117740" y="959316"/>
                </a:cubicBezTo>
                <a:cubicBezTo>
                  <a:pt x="3115918" y="955672"/>
                  <a:pt x="3121384" y="955672"/>
                  <a:pt x="3119562" y="950204"/>
                </a:cubicBezTo>
                <a:cubicBezTo>
                  <a:pt x="3115918" y="950204"/>
                  <a:pt x="3110451" y="952026"/>
                  <a:pt x="3112274" y="948383"/>
                </a:cubicBezTo>
                <a:cubicBezTo>
                  <a:pt x="3112274" y="948383"/>
                  <a:pt x="3110451" y="948383"/>
                  <a:pt x="3108629" y="948383"/>
                </a:cubicBezTo>
                <a:close/>
                <a:moveTo>
                  <a:pt x="1304677" y="948383"/>
                </a:moveTo>
                <a:cubicBezTo>
                  <a:pt x="1302855" y="952026"/>
                  <a:pt x="1297388" y="952026"/>
                  <a:pt x="1295566" y="953848"/>
                </a:cubicBezTo>
                <a:cubicBezTo>
                  <a:pt x="1299210" y="955672"/>
                  <a:pt x="1302855" y="955672"/>
                  <a:pt x="1308321" y="953848"/>
                </a:cubicBezTo>
                <a:cubicBezTo>
                  <a:pt x="1310143" y="952026"/>
                  <a:pt x="1306499" y="952026"/>
                  <a:pt x="1304677" y="948383"/>
                </a:cubicBezTo>
                <a:close/>
                <a:moveTo>
                  <a:pt x="1291922" y="948383"/>
                </a:moveTo>
                <a:cubicBezTo>
                  <a:pt x="1286455" y="946560"/>
                  <a:pt x="1280989" y="952026"/>
                  <a:pt x="1275522" y="950204"/>
                </a:cubicBezTo>
                <a:cubicBezTo>
                  <a:pt x="1275522" y="955672"/>
                  <a:pt x="1286455" y="948383"/>
                  <a:pt x="1291922" y="948383"/>
                </a:cubicBezTo>
                <a:close/>
                <a:moveTo>
                  <a:pt x="517498" y="948383"/>
                </a:moveTo>
                <a:cubicBezTo>
                  <a:pt x="522964" y="952026"/>
                  <a:pt x="524786" y="948383"/>
                  <a:pt x="528431" y="952026"/>
                </a:cubicBezTo>
                <a:cubicBezTo>
                  <a:pt x="528431" y="950204"/>
                  <a:pt x="521142" y="946560"/>
                  <a:pt x="517498" y="948383"/>
                </a:cubicBezTo>
                <a:close/>
                <a:moveTo>
                  <a:pt x="284259" y="948383"/>
                </a:moveTo>
                <a:cubicBezTo>
                  <a:pt x="282438" y="952026"/>
                  <a:pt x="289726" y="957494"/>
                  <a:pt x="293370" y="959316"/>
                </a:cubicBezTo>
                <a:cubicBezTo>
                  <a:pt x="291549" y="955672"/>
                  <a:pt x="287904" y="952026"/>
                  <a:pt x="287904" y="948383"/>
                </a:cubicBezTo>
                <a:cubicBezTo>
                  <a:pt x="286082" y="950204"/>
                  <a:pt x="286082" y="952026"/>
                  <a:pt x="284259" y="948383"/>
                </a:cubicBezTo>
                <a:close/>
                <a:moveTo>
                  <a:pt x="1313104" y="948155"/>
                </a:moveTo>
                <a:cubicBezTo>
                  <a:pt x="1311054" y="948383"/>
                  <a:pt x="1309232" y="949294"/>
                  <a:pt x="1308321" y="952026"/>
                </a:cubicBezTo>
                <a:cubicBezTo>
                  <a:pt x="1308321" y="952026"/>
                  <a:pt x="1310143" y="953848"/>
                  <a:pt x="1310143" y="953848"/>
                </a:cubicBezTo>
                <a:cubicBezTo>
                  <a:pt x="1315610" y="952026"/>
                  <a:pt x="1315610" y="950204"/>
                  <a:pt x="1319254" y="948383"/>
                </a:cubicBezTo>
                <a:cubicBezTo>
                  <a:pt x="1317432" y="948383"/>
                  <a:pt x="1315154" y="947927"/>
                  <a:pt x="1313104" y="948155"/>
                </a:cubicBezTo>
                <a:close/>
                <a:moveTo>
                  <a:pt x="1327682" y="947016"/>
                </a:moveTo>
                <a:cubicBezTo>
                  <a:pt x="1323810" y="946560"/>
                  <a:pt x="1320165" y="947471"/>
                  <a:pt x="1317432" y="952026"/>
                </a:cubicBezTo>
                <a:cubicBezTo>
                  <a:pt x="1321077" y="953848"/>
                  <a:pt x="1322899" y="952026"/>
                  <a:pt x="1324721" y="950204"/>
                </a:cubicBezTo>
                <a:cubicBezTo>
                  <a:pt x="1322899" y="953848"/>
                  <a:pt x="1317432" y="953848"/>
                  <a:pt x="1315610" y="955672"/>
                </a:cubicBezTo>
                <a:cubicBezTo>
                  <a:pt x="1324721" y="953848"/>
                  <a:pt x="1332009" y="957494"/>
                  <a:pt x="1339299" y="950204"/>
                </a:cubicBezTo>
                <a:cubicBezTo>
                  <a:pt x="1335653" y="949294"/>
                  <a:pt x="1331554" y="947471"/>
                  <a:pt x="1327682" y="947016"/>
                </a:cubicBezTo>
                <a:close/>
                <a:moveTo>
                  <a:pt x="3334579" y="946560"/>
                </a:moveTo>
                <a:lnTo>
                  <a:pt x="3332730" y="949126"/>
                </a:lnTo>
                <a:lnTo>
                  <a:pt x="3331979" y="947292"/>
                </a:lnTo>
                <a:close/>
                <a:moveTo>
                  <a:pt x="3299957" y="946560"/>
                </a:moveTo>
                <a:cubicBezTo>
                  <a:pt x="3294491" y="946560"/>
                  <a:pt x="3294491" y="953848"/>
                  <a:pt x="3301780" y="952026"/>
                </a:cubicBezTo>
                <a:cubicBezTo>
                  <a:pt x="3301780" y="948383"/>
                  <a:pt x="3299957" y="948383"/>
                  <a:pt x="3299957" y="946560"/>
                </a:cubicBezTo>
                <a:close/>
                <a:moveTo>
                  <a:pt x="2439891" y="946560"/>
                </a:moveTo>
                <a:cubicBezTo>
                  <a:pt x="2436247" y="948383"/>
                  <a:pt x="2438069" y="957494"/>
                  <a:pt x="2439891" y="959316"/>
                </a:cubicBezTo>
                <a:cubicBezTo>
                  <a:pt x="2441713" y="957494"/>
                  <a:pt x="2439891" y="953848"/>
                  <a:pt x="2441713" y="953848"/>
                </a:cubicBezTo>
                <a:cubicBezTo>
                  <a:pt x="2438069" y="952026"/>
                  <a:pt x="2439891" y="952026"/>
                  <a:pt x="2439891" y="946560"/>
                </a:cubicBezTo>
                <a:close/>
                <a:moveTo>
                  <a:pt x="2430780" y="946560"/>
                </a:moveTo>
                <a:cubicBezTo>
                  <a:pt x="2428958" y="946560"/>
                  <a:pt x="2427136" y="953848"/>
                  <a:pt x="2427136" y="950204"/>
                </a:cubicBezTo>
                <a:cubicBezTo>
                  <a:pt x="2421669" y="953848"/>
                  <a:pt x="2428958" y="950204"/>
                  <a:pt x="2430780" y="952026"/>
                </a:cubicBezTo>
                <a:cubicBezTo>
                  <a:pt x="2432603" y="952026"/>
                  <a:pt x="2432603" y="948383"/>
                  <a:pt x="2430780" y="946560"/>
                </a:cubicBezTo>
                <a:close/>
                <a:moveTo>
                  <a:pt x="819979" y="946560"/>
                </a:moveTo>
                <a:cubicBezTo>
                  <a:pt x="816334" y="950204"/>
                  <a:pt x="823623" y="953848"/>
                  <a:pt x="827267" y="952026"/>
                </a:cubicBezTo>
                <a:cubicBezTo>
                  <a:pt x="821801" y="950204"/>
                  <a:pt x="825445" y="948383"/>
                  <a:pt x="819979" y="946560"/>
                </a:cubicBezTo>
                <a:close/>
                <a:moveTo>
                  <a:pt x="701537" y="946560"/>
                </a:moveTo>
                <a:cubicBezTo>
                  <a:pt x="696071" y="957494"/>
                  <a:pt x="703359" y="946560"/>
                  <a:pt x="705182" y="948383"/>
                </a:cubicBezTo>
                <a:cubicBezTo>
                  <a:pt x="705182" y="946560"/>
                  <a:pt x="703359" y="946560"/>
                  <a:pt x="701537" y="946560"/>
                </a:cubicBezTo>
                <a:close/>
                <a:moveTo>
                  <a:pt x="632296" y="946560"/>
                </a:moveTo>
                <a:cubicBezTo>
                  <a:pt x="628650" y="944738"/>
                  <a:pt x="630472" y="948383"/>
                  <a:pt x="630472" y="950204"/>
                </a:cubicBezTo>
                <a:cubicBezTo>
                  <a:pt x="634117" y="950204"/>
                  <a:pt x="632296" y="946560"/>
                  <a:pt x="632296" y="946560"/>
                </a:cubicBezTo>
                <a:close/>
                <a:moveTo>
                  <a:pt x="163996" y="946560"/>
                </a:moveTo>
                <a:cubicBezTo>
                  <a:pt x="165818" y="953848"/>
                  <a:pt x="176751" y="964782"/>
                  <a:pt x="182218" y="962960"/>
                </a:cubicBezTo>
                <a:cubicBezTo>
                  <a:pt x="176751" y="952026"/>
                  <a:pt x="171285" y="952026"/>
                  <a:pt x="163996" y="946560"/>
                </a:cubicBezTo>
                <a:close/>
                <a:moveTo>
                  <a:pt x="2113722" y="944738"/>
                </a:moveTo>
                <a:lnTo>
                  <a:pt x="2121011" y="953848"/>
                </a:lnTo>
                <a:cubicBezTo>
                  <a:pt x="2122833" y="952026"/>
                  <a:pt x="2122833" y="952026"/>
                  <a:pt x="2122833" y="950204"/>
                </a:cubicBezTo>
                <a:cubicBezTo>
                  <a:pt x="2122833" y="946560"/>
                  <a:pt x="2119189" y="946560"/>
                  <a:pt x="2113722" y="944738"/>
                </a:cubicBezTo>
                <a:close/>
                <a:moveTo>
                  <a:pt x="1193525" y="944738"/>
                </a:moveTo>
                <a:cubicBezTo>
                  <a:pt x="1188058" y="946560"/>
                  <a:pt x="1193525" y="950204"/>
                  <a:pt x="1197169" y="950204"/>
                </a:cubicBezTo>
                <a:cubicBezTo>
                  <a:pt x="1197169" y="948383"/>
                  <a:pt x="1193525" y="946560"/>
                  <a:pt x="1193525" y="944738"/>
                </a:cubicBezTo>
                <a:close/>
                <a:moveTo>
                  <a:pt x="1118815" y="944738"/>
                </a:moveTo>
                <a:cubicBezTo>
                  <a:pt x="1115171" y="948383"/>
                  <a:pt x="1115171" y="948383"/>
                  <a:pt x="1111526" y="952026"/>
                </a:cubicBezTo>
                <a:cubicBezTo>
                  <a:pt x="1115171" y="952026"/>
                  <a:pt x="1120637" y="952026"/>
                  <a:pt x="1122459" y="952026"/>
                </a:cubicBezTo>
                <a:cubicBezTo>
                  <a:pt x="1124282" y="950204"/>
                  <a:pt x="1120637" y="946560"/>
                  <a:pt x="1118815" y="944738"/>
                </a:cubicBezTo>
                <a:close/>
                <a:moveTo>
                  <a:pt x="963930" y="944738"/>
                </a:moveTo>
                <a:lnTo>
                  <a:pt x="965546" y="948774"/>
                </a:lnTo>
                <a:lnTo>
                  <a:pt x="961880" y="955671"/>
                </a:lnTo>
                <a:cubicBezTo>
                  <a:pt x="960741" y="957949"/>
                  <a:pt x="960286" y="960227"/>
                  <a:pt x="962108" y="962960"/>
                </a:cubicBezTo>
                <a:cubicBezTo>
                  <a:pt x="962108" y="968427"/>
                  <a:pt x="960286" y="973893"/>
                  <a:pt x="965753" y="979360"/>
                </a:cubicBezTo>
                <a:cubicBezTo>
                  <a:pt x="965753" y="981182"/>
                  <a:pt x="963930" y="979360"/>
                  <a:pt x="963930" y="979360"/>
                </a:cubicBezTo>
                <a:cubicBezTo>
                  <a:pt x="967575" y="986649"/>
                  <a:pt x="967575" y="993937"/>
                  <a:pt x="973041" y="1001226"/>
                </a:cubicBezTo>
                <a:cubicBezTo>
                  <a:pt x="974863" y="995759"/>
                  <a:pt x="971219" y="990293"/>
                  <a:pt x="967575" y="983004"/>
                </a:cubicBezTo>
                <a:cubicBezTo>
                  <a:pt x="967575" y="983004"/>
                  <a:pt x="971219" y="983004"/>
                  <a:pt x="969397" y="984826"/>
                </a:cubicBezTo>
                <a:cubicBezTo>
                  <a:pt x="971219" y="983004"/>
                  <a:pt x="969397" y="975715"/>
                  <a:pt x="971219" y="972071"/>
                </a:cubicBezTo>
                <a:cubicBezTo>
                  <a:pt x="973041" y="975715"/>
                  <a:pt x="971219" y="981182"/>
                  <a:pt x="974863" y="983004"/>
                </a:cubicBezTo>
                <a:cubicBezTo>
                  <a:pt x="971219" y="988471"/>
                  <a:pt x="974863" y="993937"/>
                  <a:pt x="974863" y="999403"/>
                </a:cubicBezTo>
                <a:cubicBezTo>
                  <a:pt x="978508" y="999403"/>
                  <a:pt x="980330" y="988471"/>
                  <a:pt x="974863" y="983004"/>
                </a:cubicBezTo>
                <a:cubicBezTo>
                  <a:pt x="976686" y="977538"/>
                  <a:pt x="974863" y="973893"/>
                  <a:pt x="973041" y="968427"/>
                </a:cubicBezTo>
                <a:cubicBezTo>
                  <a:pt x="973041" y="968427"/>
                  <a:pt x="971219" y="970249"/>
                  <a:pt x="971219" y="970249"/>
                </a:cubicBezTo>
                <a:cubicBezTo>
                  <a:pt x="971219" y="966604"/>
                  <a:pt x="971219" y="964782"/>
                  <a:pt x="969397" y="962960"/>
                </a:cubicBezTo>
                <a:cubicBezTo>
                  <a:pt x="967575" y="961138"/>
                  <a:pt x="971219" y="961138"/>
                  <a:pt x="971219" y="959316"/>
                </a:cubicBezTo>
                <a:cubicBezTo>
                  <a:pt x="967575" y="957494"/>
                  <a:pt x="971219" y="955672"/>
                  <a:pt x="967575" y="953848"/>
                </a:cubicBezTo>
                <a:lnTo>
                  <a:pt x="965546" y="948774"/>
                </a:lnTo>
                <a:lnTo>
                  <a:pt x="965753" y="948383"/>
                </a:lnTo>
                <a:cubicBezTo>
                  <a:pt x="963930" y="948383"/>
                  <a:pt x="962108" y="946560"/>
                  <a:pt x="963930" y="944738"/>
                </a:cubicBezTo>
                <a:close/>
                <a:moveTo>
                  <a:pt x="821801" y="944738"/>
                </a:moveTo>
                <a:cubicBezTo>
                  <a:pt x="818156" y="946560"/>
                  <a:pt x="825445" y="946560"/>
                  <a:pt x="827267" y="948383"/>
                </a:cubicBezTo>
                <a:cubicBezTo>
                  <a:pt x="827267" y="946560"/>
                  <a:pt x="823623" y="944738"/>
                  <a:pt x="821801" y="944738"/>
                </a:cubicBezTo>
                <a:close/>
                <a:moveTo>
                  <a:pt x="803579" y="944738"/>
                </a:moveTo>
                <a:cubicBezTo>
                  <a:pt x="803579" y="948383"/>
                  <a:pt x="814512" y="952026"/>
                  <a:pt x="818156" y="953848"/>
                </a:cubicBezTo>
                <a:cubicBezTo>
                  <a:pt x="818156" y="952026"/>
                  <a:pt x="816334" y="950204"/>
                  <a:pt x="818156" y="946560"/>
                </a:cubicBezTo>
                <a:cubicBezTo>
                  <a:pt x="816334" y="944738"/>
                  <a:pt x="809046" y="944738"/>
                  <a:pt x="803579" y="944738"/>
                </a:cubicBezTo>
                <a:close/>
                <a:moveTo>
                  <a:pt x="789003" y="944738"/>
                </a:moveTo>
                <a:cubicBezTo>
                  <a:pt x="794468" y="953848"/>
                  <a:pt x="794468" y="959316"/>
                  <a:pt x="801757" y="964782"/>
                </a:cubicBezTo>
                <a:cubicBezTo>
                  <a:pt x="807223" y="972071"/>
                  <a:pt x="816334" y="964782"/>
                  <a:pt x="818156" y="957494"/>
                </a:cubicBezTo>
                <a:cubicBezTo>
                  <a:pt x="818156" y="955672"/>
                  <a:pt x="812690" y="953848"/>
                  <a:pt x="809046" y="955672"/>
                </a:cubicBezTo>
                <a:cubicBezTo>
                  <a:pt x="810868" y="953848"/>
                  <a:pt x="810868" y="953848"/>
                  <a:pt x="810868" y="953848"/>
                </a:cubicBezTo>
                <a:cubicBezTo>
                  <a:pt x="809046" y="952026"/>
                  <a:pt x="807223" y="952026"/>
                  <a:pt x="805401" y="952026"/>
                </a:cubicBezTo>
                <a:cubicBezTo>
                  <a:pt x="801757" y="944738"/>
                  <a:pt x="794468" y="944738"/>
                  <a:pt x="789003" y="944738"/>
                </a:cubicBezTo>
                <a:close/>
                <a:moveTo>
                  <a:pt x="512031" y="944738"/>
                </a:moveTo>
                <a:cubicBezTo>
                  <a:pt x="513853" y="952026"/>
                  <a:pt x="519320" y="952026"/>
                  <a:pt x="524786" y="953848"/>
                </a:cubicBezTo>
                <a:cubicBezTo>
                  <a:pt x="521142" y="952026"/>
                  <a:pt x="515676" y="946560"/>
                  <a:pt x="512031" y="944738"/>
                </a:cubicBezTo>
                <a:close/>
                <a:moveTo>
                  <a:pt x="371724" y="944738"/>
                </a:moveTo>
                <a:cubicBezTo>
                  <a:pt x="375368" y="952026"/>
                  <a:pt x="382657" y="952026"/>
                  <a:pt x="388123" y="953848"/>
                </a:cubicBezTo>
                <a:cubicBezTo>
                  <a:pt x="384479" y="948383"/>
                  <a:pt x="377190" y="946560"/>
                  <a:pt x="371724" y="944738"/>
                </a:cubicBezTo>
                <a:close/>
                <a:moveTo>
                  <a:pt x="317059" y="944738"/>
                </a:moveTo>
                <a:cubicBezTo>
                  <a:pt x="317970" y="946560"/>
                  <a:pt x="319792" y="948838"/>
                  <a:pt x="321842" y="950204"/>
                </a:cubicBezTo>
                <a:lnTo>
                  <a:pt x="326169" y="950204"/>
                </a:lnTo>
                <a:lnTo>
                  <a:pt x="327993" y="950204"/>
                </a:lnTo>
                <a:cubicBezTo>
                  <a:pt x="329814" y="952026"/>
                  <a:pt x="331636" y="950204"/>
                  <a:pt x="333458" y="948383"/>
                </a:cubicBezTo>
                <a:cubicBezTo>
                  <a:pt x="329814" y="946560"/>
                  <a:pt x="327993" y="946560"/>
                  <a:pt x="326169" y="944738"/>
                </a:cubicBezTo>
                <a:lnTo>
                  <a:pt x="326169" y="950204"/>
                </a:lnTo>
                <a:lnTo>
                  <a:pt x="322525" y="944738"/>
                </a:lnTo>
                <a:cubicBezTo>
                  <a:pt x="320703" y="946560"/>
                  <a:pt x="317059" y="942916"/>
                  <a:pt x="317059" y="944738"/>
                </a:cubicBezTo>
                <a:close/>
                <a:moveTo>
                  <a:pt x="304303" y="944738"/>
                </a:moveTo>
                <a:lnTo>
                  <a:pt x="304970" y="945627"/>
                </a:lnTo>
                <a:lnTo>
                  <a:pt x="304366" y="945139"/>
                </a:lnTo>
                <a:close/>
                <a:moveTo>
                  <a:pt x="273327" y="944738"/>
                </a:moveTo>
                <a:cubicBezTo>
                  <a:pt x="278793" y="948383"/>
                  <a:pt x="278793" y="953848"/>
                  <a:pt x="282438" y="953848"/>
                </a:cubicBezTo>
                <a:cubicBezTo>
                  <a:pt x="278793" y="948383"/>
                  <a:pt x="278793" y="946560"/>
                  <a:pt x="273327" y="944738"/>
                </a:cubicBezTo>
                <a:close/>
                <a:moveTo>
                  <a:pt x="253282" y="944738"/>
                </a:moveTo>
                <a:cubicBezTo>
                  <a:pt x="256927" y="953848"/>
                  <a:pt x="266038" y="961138"/>
                  <a:pt x="273327" y="964782"/>
                </a:cubicBezTo>
                <a:cubicBezTo>
                  <a:pt x="267860" y="957494"/>
                  <a:pt x="260571" y="946560"/>
                  <a:pt x="253282" y="944738"/>
                </a:cubicBezTo>
                <a:close/>
                <a:moveTo>
                  <a:pt x="760705" y="943988"/>
                </a:moveTo>
                <a:lnTo>
                  <a:pt x="756203" y="946560"/>
                </a:lnTo>
                <a:lnTo>
                  <a:pt x="755291" y="945405"/>
                </a:lnTo>
                <a:close/>
                <a:moveTo>
                  <a:pt x="2656730" y="942916"/>
                </a:moveTo>
                <a:cubicBezTo>
                  <a:pt x="2656730" y="944738"/>
                  <a:pt x="2658552" y="944738"/>
                  <a:pt x="2658552" y="946560"/>
                </a:cubicBezTo>
                <a:cubicBezTo>
                  <a:pt x="2656730" y="953848"/>
                  <a:pt x="2654908" y="959316"/>
                  <a:pt x="2660374" y="966604"/>
                </a:cubicBezTo>
                <a:cubicBezTo>
                  <a:pt x="2658552" y="966604"/>
                  <a:pt x="2658552" y="966604"/>
                  <a:pt x="2656730" y="968427"/>
                </a:cubicBezTo>
                <a:cubicBezTo>
                  <a:pt x="2656730" y="962960"/>
                  <a:pt x="2653086" y="955672"/>
                  <a:pt x="2654908" y="948383"/>
                </a:cubicBezTo>
                <a:cubicBezTo>
                  <a:pt x="2654908" y="946560"/>
                  <a:pt x="2653086" y="946560"/>
                  <a:pt x="2651263" y="948383"/>
                </a:cubicBezTo>
                <a:cubicBezTo>
                  <a:pt x="2649441" y="952026"/>
                  <a:pt x="2647619" y="955672"/>
                  <a:pt x="2649441" y="959316"/>
                </a:cubicBezTo>
                <a:cubicBezTo>
                  <a:pt x="2649441" y="959316"/>
                  <a:pt x="2645797" y="959316"/>
                  <a:pt x="2645797" y="957494"/>
                </a:cubicBezTo>
                <a:cubicBezTo>
                  <a:pt x="2636686" y="977538"/>
                  <a:pt x="2643975" y="1003047"/>
                  <a:pt x="2656730" y="1017625"/>
                </a:cubicBezTo>
                <a:cubicBezTo>
                  <a:pt x="2654908" y="1019448"/>
                  <a:pt x="2653086" y="1019448"/>
                  <a:pt x="2651263" y="1019448"/>
                </a:cubicBezTo>
                <a:cubicBezTo>
                  <a:pt x="2651263" y="1028559"/>
                  <a:pt x="2658552" y="1043136"/>
                  <a:pt x="2671307" y="1039492"/>
                </a:cubicBezTo>
                <a:cubicBezTo>
                  <a:pt x="2673130" y="1039492"/>
                  <a:pt x="2669485" y="1034025"/>
                  <a:pt x="2667663" y="1030381"/>
                </a:cubicBezTo>
                <a:cubicBezTo>
                  <a:pt x="2682240" y="1032203"/>
                  <a:pt x="2674952" y="1041314"/>
                  <a:pt x="2680418" y="1052247"/>
                </a:cubicBezTo>
                <a:cubicBezTo>
                  <a:pt x="2680418" y="1050425"/>
                  <a:pt x="2680418" y="1048602"/>
                  <a:pt x="2680418" y="1046780"/>
                </a:cubicBezTo>
                <a:cubicBezTo>
                  <a:pt x="2682240" y="1046780"/>
                  <a:pt x="2689529" y="1054069"/>
                  <a:pt x="2682240" y="1055891"/>
                </a:cubicBezTo>
                <a:cubicBezTo>
                  <a:pt x="2680418" y="1055891"/>
                  <a:pt x="2678596" y="1054069"/>
                  <a:pt x="2676774" y="1054069"/>
                </a:cubicBezTo>
                <a:cubicBezTo>
                  <a:pt x="2676774" y="1057713"/>
                  <a:pt x="2678596" y="1063180"/>
                  <a:pt x="2674952" y="1061358"/>
                </a:cubicBezTo>
                <a:cubicBezTo>
                  <a:pt x="2669485" y="1059535"/>
                  <a:pt x="2676774" y="1048602"/>
                  <a:pt x="2667663" y="1046780"/>
                </a:cubicBezTo>
                <a:cubicBezTo>
                  <a:pt x="2667663" y="1048602"/>
                  <a:pt x="2667663" y="1052247"/>
                  <a:pt x="2669485" y="1054069"/>
                </a:cubicBezTo>
                <a:cubicBezTo>
                  <a:pt x="2665841" y="1054069"/>
                  <a:pt x="2662197" y="1050425"/>
                  <a:pt x="2662197" y="1052247"/>
                </a:cubicBezTo>
                <a:cubicBezTo>
                  <a:pt x="2662197" y="1055891"/>
                  <a:pt x="2664019" y="1059535"/>
                  <a:pt x="2664019" y="1063180"/>
                </a:cubicBezTo>
                <a:cubicBezTo>
                  <a:pt x="2660374" y="1061358"/>
                  <a:pt x="2660374" y="1055891"/>
                  <a:pt x="2656730" y="1057713"/>
                </a:cubicBezTo>
                <a:cubicBezTo>
                  <a:pt x="2654908" y="1059535"/>
                  <a:pt x="2656730" y="1065002"/>
                  <a:pt x="2658552" y="1066824"/>
                </a:cubicBezTo>
                <a:cubicBezTo>
                  <a:pt x="2653086" y="1068646"/>
                  <a:pt x="2653086" y="1061358"/>
                  <a:pt x="2651263" y="1061358"/>
                </a:cubicBezTo>
                <a:cubicBezTo>
                  <a:pt x="2640330" y="1066824"/>
                  <a:pt x="2633042" y="1070469"/>
                  <a:pt x="2629397" y="1081402"/>
                </a:cubicBezTo>
                <a:cubicBezTo>
                  <a:pt x="2629397" y="1081402"/>
                  <a:pt x="2625753" y="1079579"/>
                  <a:pt x="2625753" y="1077757"/>
                </a:cubicBezTo>
                <a:cubicBezTo>
                  <a:pt x="2614820" y="1085046"/>
                  <a:pt x="2603887" y="1095979"/>
                  <a:pt x="2592954" y="1106912"/>
                </a:cubicBezTo>
                <a:cubicBezTo>
                  <a:pt x="2592954" y="1117845"/>
                  <a:pt x="2598421" y="1123312"/>
                  <a:pt x="2600243" y="1130600"/>
                </a:cubicBezTo>
                <a:cubicBezTo>
                  <a:pt x="2602065" y="1130600"/>
                  <a:pt x="2605709" y="1130600"/>
                  <a:pt x="2607531" y="1128778"/>
                </a:cubicBezTo>
                <a:cubicBezTo>
                  <a:pt x="2607531" y="1130600"/>
                  <a:pt x="2607531" y="1134245"/>
                  <a:pt x="2607531" y="1136067"/>
                </a:cubicBezTo>
                <a:cubicBezTo>
                  <a:pt x="2616642" y="1137889"/>
                  <a:pt x="2622109" y="1143355"/>
                  <a:pt x="2627575" y="1147000"/>
                </a:cubicBezTo>
                <a:cubicBezTo>
                  <a:pt x="2638508" y="1145178"/>
                  <a:pt x="2649441" y="1147000"/>
                  <a:pt x="2654908" y="1136067"/>
                </a:cubicBezTo>
                <a:cubicBezTo>
                  <a:pt x="2660374" y="1137889"/>
                  <a:pt x="2660374" y="1139711"/>
                  <a:pt x="2665841" y="1137889"/>
                </a:cubicBezTo>
                <a:cubicBezTo>
                  <a:pt x="2667663" y="1143355"/>
                  <a:pt x="2662197" y="1141533"/>
                  <a:pt x="2664019" y="1145178"/>
                </a:cubicBezTo>
                <a:cubicBezTo>
                  <a:pt x="2667663" y="1145178"/>
                  <a:pt x="2671307" y="1148822"/>
                  <a:pt x="2671307" y="1152466"/>
                </a:cubicBezTo>
                <a:cubicBezTo>
                  <a:pt x="2680418" y="1148822"/>
                  <a:pt x="2687707" y="1150644"/>
                  <a:pt x="2696818" y="1154288"/>
                </a:cubicBezTo>
                <a:cubicBezTo>
                  <a:pt x="2696818" y="1154288"/>
                  <a:pt x="2696818" y="1156111"/>
                  <a:pt x="2694996" y="1156111"/>
                </a:cubicBezTo>
                <a:cubicBezTo>
                  <a:pt x="2696818" y="1157933"/>
                  <a:pt x="2702284" y="1156111"/>
                  <a:pt x="2705929" y="1157933"/>
                </a:cubicBezTo>
                <a:cubicBezTo>
                  <a:pt x="2705929" y="1150644"/>
                  <a:pt x="2705929" y="1147000"/>
                  <a:pt x="2698640" y="1143355"/>
                </a:cubicBezTo>
                <a:cubicBezTo>
                  <a:pt x="2704106" y="1136067"/>
                  <a:pt x="2707751" y="1147000"/>
                  <a:pt x="2709573" y="1141533"/>
                </a:cubicBezTo>
                <a:cubicBezTo>
                  <a:pt x="2713217" y="1148822"/>
                  <a:pt x="2713217" y="1159755"/>
                  <a:pt x="2720506" y="1165222"/>
                </a:cubicBezTo>
                <a:cubicBezTo>
                  <a:pt x="2724150" y="1163399"/>
                  <a:pt x="2718684" y="1161577"/>
                  <a:pt x="2722328" y="1159755"/>
                </a:cubicBezTo>
                <a:cubicBezTo>
                  <a:pt x="2725973" y="1161577"/>
                  <a:pt x="2731439" y="1167044"/>
                  <a:pt x="2731439" y="1159755"/>
                </a:cubicBezTo>
                <a:cubicBezTo>
                  <a:pt x="2733261" y="1161577"/>
                  <a:pt x="2733261" y="1163399"/>
                  <a:pt x="2733261" y="1165222"/>
                </a:cubicBezTo>
                <a:cubicBezTo>
                  <a:pt x="2740550" y="1167044"/>
                  <a:pt x="2746016" y="1163399"/>
                  <a:pt x="2746016" y="1157933"/>
                </a:cubicBezTo>
                <a:cubicBezTo>
                  <a:pt x="2749661" y="1163399"/>
                  <a:pt x="2753305" y="1168866"/>
                  <a:pt x="2758772" y="1172510"/>
                </a:cubicBezTo>
                <a:cubicBezTo>
                  <a:pt x="2758772" y="1163399"/>
                  <a:pt x="2762416" y="1150644"/>
                  <a:pt x="2756950" y="1147000"/>
                </a:cubicBezTo>
                <a:cubicBezTo>
                  <a:pt x="2756950" y="1145178"/>
                  <a:pt x="2760594" y="1145178"/>
                  <a:pt x="2762416" y="1145178"/>
                </a:cubicBezTo>
                <a:cubicBezTo>
                  <a:pt x="2764238" y="1141533"/>
                  <a:pt x="2756950" y="1141533"/>
                  <a:pt x="2760594" y="1137889"/>
                </a:cubicBezTo>
                <a:cubicBezTo>
                  <a:pt x="2764238" y="1141533"/>
                  <a:pt x="2766060" y="1147000"/>
                  <a:pt x="2773349" y="1147000"/>
                </a:cubicBezTo>
                <a:cubicBezTo>
                  <a:pt x="2776993" y="1141533"/>
                  <a:pt x="2775171" y="1137889"/>
                  <a:pt x="2773349" y="1132422"/>
                </a:cubicBezTo>
                <a:cubicBezTo>
                  <a:pt x="2769705" y="1132422"/>
                  <a:pt x="2764238" y="1132422"/>
                  <a:pt x="2762416" y="1130600"/>
                </a:cubicBezTo>
                <a:cubicBezTo>
                  <a:pt x="2775171" y="1128778"/>
                  <a:pt x="2791571" y="1125134"/>
                  <a:pt x="2786104" y="1108734"/>
                </a:cubicBezTo>
                <a:cubicBezTo>
                  <a:pt x="2793393" y="1108734"/>
                  <a:pt x="2787927" y="1117845"/>
                  <a:pt x="2789749" y="1116023"/>
                </a:cubicBezTo>
                <a:cubicBezTo>
                  <a:pt x="2795216" y="1112378"/>
                  <a:pt x="2798405" y="1105090"/>
                  <a:pt x="2802049" y="1097801"/>
                </a:cubicBezTo>
                <a:lnTo>
                  <a:pt x="2810650" y="1087375"/>
                </a:lnTo>
                <a:lnTo>
                  <a:pt x="2811615" y="1090512"/>
                </a:lnTo>
                <a:cubicBezTo>
                  <a:pt x="2814348" y="1089601"/>
                  <a:pt x="2815715" y="1088234"/>
                  <a:pt x="2815942" y="1086640"/>
                </a:cubicBezTo>
                <a:lnTo>
                  <a:pt x="2814223" y="1083044"/>
                </a:lnTo>
                <a:lnTo>
                  <a:pt x="2817081" y="1079579"/>
                </a:lnTo>
                <a:cubicBezTo>
                  <a:pt x="2807971" y="1066824"/>
                  <a:pt x="2807971" y="1057713"/>
                  <a:pt x="2797037" y="1046780"/>
                </a:cubicBezTo>
                <a:cubicBezTo>
                  <a:pt x="2800682" y="1046780"/>
                  <a:pt x="2800682" y="1054069"/>
                  <a:pt x="2806148" y="1052247"/>
                </a:cubicBezTo>
                <a:cubicBezTo>
                  <a:pt x="2800682" y="1043136"/>
                  <a:pt x="2787927" y="1028559"/>
                  <a:pt x="2776993" y="1035847"/>
                </a:cubicBezTo>
                <a:cubicBezTo>
                  <a:pt x="2773349" y="1037669"/>
                  <a:pt x="2774260" y="1041769"/>
                  <a:pt x="2775172" y="1045869"/>
                </a:cubicBezTo>
                <a:lnTo>
                  <a:pt x="2774134" y="1051578"/>
                </a:lnTo>
                <a:lnTo>
                  <a:pt x="2771755" y="1045869"/>
                </a:lnTo>
                <a:cubicBezTo>
                  <a:pt x="2770161" y="1043591"/>
                  <a:pt x="2767883" y="1042225"/>
                  <a:pt x="2764238" y="1043136"/>
                </a:cubicBezTo>
                <a:cubicBezTo>
                  <a:pt x="2760594" y="1043136"/>
                  <a:pt x="2758772" y="1046780"/>
                  <a:pt x="2756950" y="1050425"/>
                </a:cubicBezTo>
                <a:cubicBezTo>
                  <a:pt x="2747839" y="1043136"/>
                  <a:pt x="2738728" y="1052247"/>
                  <a:pt x="2731439" y="1055891"/>
                </a:cubicBezTo>
                <a:cubicBezTo>
                  <a:pt x="2731439" y="1050425"/>
                  <a:pt x="2733261" y="1048602"/>
                  <a:pt x="2735084" y="1048602"/>
                </a:cubicBezTo>
                <a:cubicBezTo>
                  <a:pt x="2751483" y="1044958"/>
                  <a:pt x="2766060" y="1037669"/>
                  <a:pt x="2778816" y="1028559"/>
                </a:cubicBezTo>
                <a:cubicBezTo>
                  <a:pt x="2760594" y="1001226"/>
                  <a:pt x="2742372" y="975715"/>
                  <a:pt x="2718684" y="955672"/>
                </a:cubicBezTo>
                <a:cubicBezTo>
                  <a:pt x="2720506" y="959316"/>
                  <a:pt x="2718684" y="962960"/>
                  <a:pt x="2716862" y="964782"/>
                </a:cubicBezTo>
                <a:cubicBezTo>
                  <a:pt x="2716862" y="959316"/>
                  <a:pt x="2713217" y="955672"/>
                  <a:pt x="2705929" y="957494"/>
                </a:cubicBezTo>
                <a:cubicBezTo>
                  <a:pt x="2702284" y="957494"/>
                  <a:pt x="2704106" y="962960"/>
                  <a:pt x="2704106" y="966604"/>
                </a:cubicBezTo>
                <a:cubicBezTo>
                  <a:pt x="2694996" y="961138"/>
                  <a:pt x="2700462" y="946560"/>
                  <a:pt x="2693174" y="942916"/>
                </a:cubicBezTo>
                <a:cubicBezTo>
                  <a:pt x="2689529" y="941094"/>
                  <a:pt x="2689529" y="948383"/>
                  <a:pt x="2687707" y="950204"/>
                </a:cubicBezTo>
                <a:cubicBezTo>
                  <a:pt x="2693174" y="948383"/>
                  <a:pt x="2700462" y="959316"/>
                  <a:pt x="2693174" y="961138"/>
                </a:cubicBezTo>
                <a:cubicBezTo>
                  <a:pt x="2687707" y="961138"/>
                  <a:pt x="2680418" y="961138"/>
                  <a:pt x="2678596" y="961138"/>
                </a:cubicBezTo>
                <a:cubicBezTo>
                  <a:pt x="2678596" y="962960"/>
                  <a:pt x="2678596" y="964782"/>
                  <a:pt x="2678596" y="966604"/>
                </a:cubicBezTo>
                <a:cubicBezTo>
                  <a:pt x="2676774" y="966604"/>
                  <a:pt x="2673130" y="966604"/>
                  <a:pt x="2671307" y="964782"/>
                </a:cubicBezTo>
                <a:cubicBezTo>
                  <a:pt x="2664019" y="955672"/>
                  <a:pt x="2669485" y="944738"/>
                  <a:pt x="2656730" y="942916"/>
                </a:cubicBezTo>
                <a:close/>
                <a:moveTo>
                  <a:pt x="1204457" y="942916"/>
                </a:moveTo>
                <a:lnTo>
                  <a:pt x="1202636" y="944738"/>
                </a:lnTo>
                <a:lnTo>
                  <a:pt x="1200814" y="944738"/>
                </a:lnTo>
                <a:cubicBezTo>
                  <a:pt x="1204457" y="944738"/>
                  <a:pt x="1202636" y="942916"/>
                  <a:pt x="1204457" y="942916"/>
                </a:cubicBezTo>
                <a:close/>
                <a:moveTo>
                  <a:pt x="1204457" y="942916"/>
                </a:moveTo>
                <a:cubicBezTo>
                  <a:pt x="1200814" y="942916"/>
                  <a:pt x="1198991" y="942916"/>
                  <a:pt x="1197169" y="944738"/>
                </a:cubicBezTo>
                <a:cubicBezTo>
                  <a:pt x="1197169" y="944738"/>
                  <a:pt x="1197169" y="946560"/>
                  <a:pt x="1198991" y="948383"/>
                </a:cubicBezTo>
                <a:cubicBezTo>
                  <a:pt x="1200814" y="947472"/>
                  <a:pt x="1201268" y="946560"/>
                  <a:pt x="1201724" y="945649"/>
                </a:cubicBezTo>
                <a:lnTo>
                  <a:pt x="1202636" y="944738"/>
                </a:lnTo>
                <a:lnTo>
                  <a:pt x="1209925" y="944738"/>
                </a:lnTo>
                <a:cubicBezTo>
                  <a:pt x="1208102" y="942916"/>
                  <a:pt x="1206279" y="946560"/>
                  <a:pt x="1204457" y="942916"/>
                </a:cubicBezTo>
                <a:close/>
                <a:moveTo>
                  <a:pt x="849133" y="942916"/>
                </a:moveTo>
                <a:cubicBezTo>
                  <a:pt x="847311" y="944738"/>
                  <a:pt x="852778" y="948383"/>
                  <a:pt x="852778" y="944738"/>
                </a:cubicBezTo>
                <a:cubicBezTo>
                  <a:pt x="850956" y="942916"/>
                  <a:pt x="850956" y="944738"/>
                  <a:pt x="849133" y="942916"/>
                </a:cubicBezTo>
                <a:close/>
                <a:moveTo>
                  <a:pt x="840022" y="942916"/>
                </a:moveTo>
                <a:cubicBezTo>
                  <a:pt x="840933" y="944738"/>
                  <a:pt x="842757" y="945194"/>
                  <a:pt x="844351" y="945649"/>
                </a:cubicBezTo>
                <a:lnTo>
                  <a:pt x="844944" y="946197"/>
                </a:lnTo>
                <a:close/>
                <a:moveTo>
                  <a:pt x="674205" y="942916"/>
                </a:moveTo>
                <a:cubicBezTo>
                  <a:pt x="674205" y="944738"/>
                  <a:pt x="674205" y="944738"/>
                  <a:pt x="677849" y="946560"/>
                </a:cubicBezTo>
                <a:cubicBezTo>
                  <a:pt x="681493" y="944738"/>
                  <a:pt x="676027" y="942916"/>
                  <a:pt x="674205" y="942916"/>
                </a:cubicBezTo>
                <a:close/>
                <a:moveTo>
                  <a:pt x="670560" y="942916"/>
                </a:moveTo>
                <a:cubicBezTo>
                  <a:pt x="666916" y="946560"/>
                  <a:pt x="663272" y="952026"/>
                  <a:pt x="670560" y="953848"/>
                </a:cubicBezTo>
                <a:cubicBezTo>
                  <a:pt x="670560" y="950204"/>
                  <a:pt x="668738" y="946560"/>
                  <a:pt x="670560" y="942916"/>
                </a:cubicBezTo>
                <a:close/>
                <a:moveTo>
                  <a:pt x="548475" y="942916"/>
                </a:moveTo>
                <a:cubicBezTo>
                  <a:pt x="548475" y="944738"/>
                  <a:pt x="553941" y="948383"/>
                  <a:pt x="553941" y="946560"/>
                </a:cubicBezTo>
                <a:cubicBezTo>
                  <a:pt x="552119" y="946560"/>
                  <a:pt x="552119" y="944738"/>
                  <a:pt x="548475" y="942916"/>
                </a:cubicBezTo>
                <a:close/>
                <a:moveTo>
                  <a:pt x="502920" y="942916"/>
                </a:moveTo>
                <a:cubicBezTo>
                  <a:pt x="506565" y="946560"/>
                  <a:pt x="506565" y="948383"/>
                  <a:pt x="512031" y="950204"/>
                </a:cubicBezTo>
                <a:cubicBezTo>
                  <a:pt x="513853" y="948383"/>
                  <a:pt x="512031" y="944738"/>
                  <a:pt x="510209" y="942916"/>
                </a:cubicBezTo>
                <a:cubicBezTo>
                  <a:pt x="506565" y="941094"/>
                  <a:pt x="504743" y="941094"/>
                  <a:pt x="502920" y="942916"/>
                </a:cubicBezTo>
                <a:close/>
                <a:moveTo>
                  <a:pt x="497454" y="942916"/>
                </a:moveTo>
                <a:cubicBezTo>
                  <a:pt x="495632" y="944738"/>
                  <a:pt x="493809" y="944738"/>
                  <a:pt x="495632" y="946560"/>
                </a:cubicBezTo>
                <a:cubicBezTo>
                  <a:pt x="497454" y="948383"/>
                  <a:pt x="499276" y="946560"/>
                  <a:pt x="502920" y="948383"/>
                </a:cubicBezTo>
                <a:cubicBezTo>
                  <a:pt x="502920" y="946560"/>
                  <a:pt x="499276" y="944738"/>
                  <a:pt x="497454" y="942916"/>
                </a:cubicBezTo>
                <a:close/>
                <a:moveTo>
                  <a:pt x="402701" y="942916"/>
                </a:moveTo>
                <a:cubicBezTo>
                  <a:pt x="404523" y="944738"/>
                  <a:pt x="408167" y="946560"/>
                  <a:pt x="409989" y="946560"/>
                </a:cubicBezTo>
                <a:cubicBezTo>
                  <a:pt x="409989" y="942916"/>
                  <a:pt x="404523" y="944738"/>
                  <a:pt x="402701" y="942916"/>
                </a:cubicBezTo>
                <a:close/>
                <a:moveTo>
                  <a:pt x="397234" y="942916"/>
                </a:moveTo>
                <a:cubicBezTo>
                  <a:pt x="395412" y="944738"/>
                  <a:pt x="395412" y="944738"/>
                  <a:pt x="395412" y="946560"/>
                </a:cubicBezTo>
                <a:cubicBezTo>
                  <a:pt x="397234" y="948383"/>
                  <a:pt x="399056" y="948383"/>
                  <a:pt x="400879" y="946560"/>
                </a:cubicBezTo>
                <a:cubicBezTo>
                  <a:pt x="400879" y="944738"/>
                  <a:pt x="399056" y="944738"/>
                  <a:pt x="397234" y="942916"/>
                </a:cubicBezTo>
                <a:close/>
                <a:moveTo>
                  <a:pt x="762756" y="942816"/>
                </a:moveTo>
                <a:lnTo>
                  <a:pt x="761754" y="943713"/>
                </a:lnTo>
                <a:lnTo>
                  <a:pt x="760705" y="943988"/>
                </a:lnTo>
                <a:close/>
                <a:moveTo>
                  <a:pt x="1216529" y="942005"/>
                </a:moveTo>
                <a:cubicBezTo>
                  <a:pt x="1214479" y="942916"/>
                  <a:pt x="1212657" y="944738"/>
                  <a:pt x="1211747" y="946560"/>
                </a:cubicBezTo>
                <a:cubicBezTo>
                  <a:pt x="1211747" y="948383"/>
                  <a:pt x="1213568" y="948383"/>
                  <a:pt x="1215390" y="950204"/>
                </a:cubicBezTo>
                <a:lnTo>
                  <a:pt x="1212266" y="950204"/>
                </a:lnTo>
                <a:lnTo>
                  <a:pt x="1209925" y="948383"/>
                </a:lnTo>
                <a:cubicBezTo>
                  <a:pt x="1206279" y="948383"/>
                  <a:pt x="1204457" y="948383"/>
                  <a:pt x="1200814" y="950204"/>
                </a:cubicBezTo>
                <a:cubicBezTo>
                  <a:pt x="1204457" y="959316"/>
                  <a:pt x="1211747" y="959316"/>
                  <a:pt x="1219036" y="961138"/>
                </a:cubicBezTo>
                <a:cubicBezTo>
                  <a:pt x="1219036" y="959316"/>
                  <a:pt x="1220858" y="959316"/>
                  <a:pt x="1220858" y="957494"/>
                </a:cubicBezTo>
                <a:cubicBezTo>
                  <a:pt x="1222679" y="959316"/>
                  <a:pt x="1220858" y="959316"/>
                  <a:pt x="1222679" y="961138"/>
                </a:cubicBezTo>
                <a:cubicBezTo>
                  <a:pt x="1229969" y="961138"/>
                  <a:pt x="1239080" y="959316"/>
                  <a:pt x="1244545" y="957494"/>
                </a:cubicBezTo>
                <a:cubicBezTo>
                  <a:pt x="1244545" y="953848"/>
                  <a:pt x="1244545" y="950204"/>
                  <a:pt x="1240901" y="946560"/>
                </a:cubicBezTo>
                <a:cubicBezTo>
                  <a:pt x="1240901" y="946560"/>
                  <a:pt x="1224501" y="942916"/>
                  <a:pt x="1224501" y="942916"/>
                </a:cubicBezTo>
                <a:cubicBezTo>
                  <a:pt x="1220858" y="942916"/>
                  <a:pt x="1219036" y="946560"/>
                  <a:pt x="1220858" y="950204"/>
                </a:cubicBezTo>
                <a:cubicBezTo>
                  <a:pt x="1220858" y="950204"/>
                  <a:pt x="1222679" y="948383"/>
                  <a:pt x="1224501" y="948383"/>
                </a:cubicBezTo>
                <a:cubicBezTo>
                  <a:pt x="1226323" y="948383"/>
                  <a:pt x="1222679" y="952026"/>
                  <a:pt x="1226323" y="950204"/>
                </a:cubicBezTo>
                <a:cubicBezTo>
                  <a:pt x="1224501" y="952938"/>
                  <a:pt x="1221312" y="954760"/>
                  <a:pt x="1218123" y="954760"/>
                </a:cubicBezTo>
                <a:lnTo>
                  <a:pt x="1216625" y="953595"/>
                </a:lnTo>
                <a:lnTo>
                  <a:pt x="1219036" y="953848"/>
                </a:lnTo>
                <a:cubicBezTo>
                  <a:pt x="1220858" y="952026"/>
                  <a:pt x="1220858" y="952026"/>
                  <a:pt x="1219036" y="950204"/>
                </a:cubicBezTo>
                <a:lnTo>
                  <a:pt x="1215390" y="950204"/>
                </a:lnTo>
                <a:cubicBezTo>
                  <a:pt x="1219036" y="948383"/>
                  <a:pt x="1219036" y="946560"/>
                  <a:pt x="1222679" y="942916"/>
                </a:cubicBezTo>
                <a:cubicBezTo>
                  <a:pt x="1220858" y="941094"/>
                  <a:pt x="1218579" y="941094"/>
                  <a:pt x="1216529" y="942005"/>
                </a:cubicBezTo>
                <a:close/>
                <a:moveTo>
                  <a:pt x="2735084" y="941094"/>
                </a:moveTo>
                <a:cubicBezTo>
                  <a:pt x="2736906" y="946560"/>
                  <a:pt x="2742372" y="946560"/>
                  <a:pt x="2744194" y="952026"/>
                </a:cubicBezTo>
                <a:cubicBezTo>
                  <a:pt x="2747839" y="953848"/>
                  <a:pt x="2746016" y="944738"/>
                  <a:pt x="2744194" y="942916"/>
                </a:cubicBezTo>
                <a:cubicBezTo>
                  <a:pt x="2740550" y="944738"/>
                  <a:pt x="2738728" y="942916"/>
                  <a:pt x="2735084" y="941094"/>
                </a:cubicBezTo>
                <a:close/>
                <a:moveTo>
                  <a:pt x="2472690" y="941094"/>
                </a:moveTo>
                <a:cubicBezTo>
                  <a:pt x="2463580" y="942916"/>
                  <a:pt x="2469046" y="948383"/>
                  <a:pt x="2467224" y="948383"/>
                </a:cubicBezTo>
                <a:cubicBezTo>
                  <a:pt x="2465402" y="950204"/>
                  <a:pt x="2459935" y="946560"/>
                  <a:pt x="2456291" y="948383"/>
                </a:cubicBezTo>
                <a:cubicBezTo>
                  <a:pt x="2452647" y="948383"/>
                  <a:pt x="2450824" y="955672"/>
                  <a:pt x="2445358" y="957494"/>
                </a:cubicBezTo>
                <a:cubicBezTo>
                  <a:pt x="2450824" y="959316"/>
                  <a:pt x="2449002" y="970249"/>
                  <a:pt x="2452647" y="972071"/>
                </a:cubicBezTo>
                <a:cubicBezTo>
                  <a:pt x="2465402" y="975715"/>
                  <a:pt x="2481801" y="975715"/>
                  <a:pt x="2478157" y="955672"/>
                </a:cubicBezTo>
                <a:cubicBezTo>
                  <a:pt x="2487268" y="959316"/>
                  <a:pt x="2474513" y="968427"/>
                  <a:pt x="2479979" y="970249"/>
                </a:cubicBezTo>
                <a:cubicBezTo>
                  <a:pt x="2487268" y="970249"/>
                  <a:pt x="2479979" y="959316"/>
                  <a:pt x="2483624" y="955672"/>
                </a:cubicBezTo>
                <a:cubicBezTo>
                  <a:pt x="2476335" y="957494"/>
                  <a:pt x="2474513" y="948383"/>
                  <a:pt x="2472690" y="941094"/>
                </a:cubicBezTo>
                <a:close/>
                <a:moveTo>
                  <a:pt x="1353876" y="941094"/>
                </a:moveTo>
                <a:cubicBezTo>
                  <a:pt x="1350231" y="944738"/>
                  <a:pt x="1344765" y="944738"/>
                  <a:pt x="1342942" y="950204"/>
                </a:cubicBezTo>
                <a:cubicBezTo>
                  <a:pt x="1346587" y="950204"/>
                  <a:pt x="1355698" y="948383"/>
                  <a:pt x="1353876" y="941094"/>
                </a:cubicBezTo>
                <a:close/>
                <a:moveTo>
                  <a:pt x="1324721" y="941094"/>
                </a:moveTo>
                <a:cubicBezTo>
                  <a:pt x="1322899" y="939272"/>
                  <a:pt x="1319254" y="944738"/>
                  <a:pt x="1315610" y="942916"/>
                </a:cubicBezTo>
                <a:cubicBezTo>
                  <a:pt x="1315610" y="946560"/>
                  <a:pt x="1319254" y="942916"/>
                  <a:pt x="1321077" y="944738"/>
                </a:cubicBezTo>
                <a:cubicBezTo>
                  <a:pt x="1322899" y="944738"/>
                  <a:pt x="1322899" y="942916"/>
                  <a:pt x="1324721" y="941094"/>
                </a:cubicBezTo>
                <a:close/>
                <a:moveTo>
                  <a:pt x="876466" y="941094"/>
                </a:moveTo>
                <a:cubicBezTo>
                  <a:pt x="874644" y="941094"/>
                  <a:pt x="872822" y="941094"/>
                  <a:pt x="871000" y="942916"/>
                </a:cubicBezTo>
                <a:cubicBezTo>
                  <a:pt x="872822" y="944738"/>
                  <a:pt x="874644" y="946560"/>
                  <a:pt x="874644" y="948383"/>
                </a:cubicBezTo>
                <a:cubicBezTo>
                  <a:pt x="876466" y="944738"/>
                  <a:pt x="876466" y="942916"/>
                  <a:pt x="876466" y="941094"/>
                </a:cubicBezTo>
                <a:close/>
                <a:moveTo>
                  <a:pt x="787179" y="941094"/>
                </a:moveTo>
                <a:cubicBezTo>
                  <a:pt x="783535" y="944738"/>
                  <a:pt x="789003" y="942916"/>
                  <a:pt x="790824" y="944738"/>
                </a:cubicBezTo>
                <a:cubicBezTo>
                  <a:pt x="792646" y="942916"/>
                  <a:pt x="789003" y="942916"/>
                  <a:pt x="787179" y="941094"/>
                </a:cubicBezTo>
                <a:close/>
                <a:moveTo>
                  <a:pt x="750737" y="941094"/>
                </a:moveTo>
                <a:cubicBezTo>
                  <a:pt x="747092" y="942916"/>
                  <a:pt x="741626" y="946560"/>
                  <a:pt x="737981" y="950204"/>
                </a:cubicBezTo>
                <a:cubicBezTo>
                  <a:pt x="743447" y="950204"/>
                  <a:pt x="758025" y="944738"/>
                  <a:pt x="750737" y="941094"/>
                </a:cubicBezTo>
                <a:close/>
                <a:moveTo>
                  <a:pt x="2310289" y="940638"/>
                </a:moveTo>
                <a:cubicBezTo>
                  <a:pt x="2308240" y="941094"/>
                  <a:pt x="2305962" y="942005"/>
                  <a:pt x="2305050" y="942916"/>
                </a:cubicBezTo>
                <a:cubicBezTo>
                  <a:pt x="2303228" y="946560"/>
                  <a:pt x="2308695" y="944738"/>
                  <a:pt x="2306873" y="950204"/>
                </a:cubicBezTo>
                <a:cubicBezTo>
                  <a:pt x="2312339" y="950204"/>
                  <a:pt x="2310517" y="942916"/>
                  <a:pt x="2314161" y="941094"/>
                </a:cubicBezTo>
                <a:cubicBezTo>
                  <a:pt x="2314161" y="940183"/>
                  <a:pt x="2312339" y="940183"/>
                  <a:pt x="2310289" y="940638"/>
                </a:cubicBezTo>
                <a:close/>
                <a:moveTo>
                  <a:pt x="1210379" y="940638"/>
                </a:moveTo>
                <a:cubicBezTo>
                  <a:pt x="1208557" y="940638"/>
                  <a:pt x="1206279" y="941094"/>
                  <a:pt x="1204457" y="941094"/>
                </a:cubicBezTo>
                <a:cubicBezTo>
                  <a:pt x="1208102" y="942916"/>
                  <a:pt x="1209925" y="941094"/>
                  <a:pt x="1213568" y="942916"/>
                </a:cubicBezTo>
                <a:cubicBezTo>
                  <a:pt x="1213568" y="941094"/>
                  <a:pt x="1212201" y="940638"/>
                  <a:pt x="1210379" y="940638"/>
                </a:cubicBezTo>
                <a:close/>
                <a:moveTo>
                  <a:pt x="2213942" y="939272"/>
                </a:moveTo>
                <a:lnTo>
                  <a:pt x="2213346" y="940265"/>
                </a:lnTo>
                <a:lnTo>
                  <a:pt x="2213243" y="939495"/>
                </a:lnTo>
                <a:close/>
                <a:moveTo>
                  <a:pt x="723404" y="939272"/>
                </a:moveTo>
                <a:cubicBezTo>
                  <a:pt x="723404" y="941094"/>
                  <a:pt x="725226" y="942916"/>
                  <a:pt x="725226" y="944738"/>
                </a:cubicBezTo>
                <a:cubicBezTo>
                  <a:pt x="717937" y="944738"/>
                  <a:pt x="712470" y="950204"/>
                  <a:pt x="705182" y="953848"/>
                </a:cubicBezTo>
                <a:cubicBezTo>
                  <a:pt x="712470" y="961138"/>
                  <a:pt x="714293" y="952026"/>
                  <a:pt x="721581" y="952026"/>
                </a:cubicBezTo>
                <a:cubicBezTo>
                  <a:pt x="727048" y="950204"/>
                  <a:pt x="728870" y="942916"/>
                  <a:pt x="723404" y="939272"/>
                </a:cubicBezTo>
                <a:close/>
                <a:moveTo>
                  <a:pt x="317059" y="939272"/>
                </a:moveTo>
                <a:cubicBezTo>
                  <a:pt x="320703" y="942916"/>
                  <a:pt x="326169" y="944738"/>
                  <a:pt x="329814" y="944738"/>
                </a:cubicBezTo>
                <a:cubicBezTo>
                  <a:pt x="327993" y="942916"/>
                  <a:pt x="326169" y="941094"/>
                  <a:pt x="324347" y="939272"/>
                </a:cubicBezTo>
                <a:cubicBezTo>
                  <a:pt x="322525" y="939272"/>
                  <a:pt x="320703" y="939272"/>
                  <a:pt x="317059" y="939272"/>
                </a:cubicBezTo>
                <a:close/>
                <a:moveTo>
                  <a:pt x="260571" y="939272"/>
                </a:moveTo>
                <a:cubicBezTo>
                  <a:pt x="264216" y="942916"/>
                  <a:pt x="269682" y="948383"/>
                  <a:pt x="275149" y="948383"/>
                </a:cubicBezTo>
                <a:cubicBezTo>
                  <a:pt x="269682" y="941094"/>
                  <a:pt x="266038" y="941094"/>
                  <a:pt x="260571" y="939272"/>
                </a:cubicBezTo>
                <a:close/>
                <a:moveTo>
                  <a:pt x="213195" y="939272"/>
                </a:moveTo>
                <a:cubicBezTo>
                  <a:pt x="213195" y="942916"/>
                  <a:pt x="222306" y="952026"/>
                  <a:pt x="225950" y="955672"/>
                </a:cubicBezTo>
                <a:cubicBezTo>
                  <a:pt x="229594" y="953848"/>
                  <a:pt x="222306" y="952026"/>
                  <a:pt x="224128" y="950204"/>
                </a:cubicBezTo>
                <a:cubicBezTo>
                  <a:pt x="227772" y="952026"/>
                  <a:pt x="231416" y="955672"/>
                  <a:pt x="235061" y="959316"/>
                </a:cubicBezTo>
                <a:cubicBezTo>
                  <a:pt x="231416" y="953848"/>
                  <a:pt x="224128" y="944738"/>
                  <a:pt x="213195" y="939272"/>
                </a:cubicBezTo>
                <a:close/>
                <a:moveTo>
                  <a:pt x="767503" y="938563"/>
                </a:moveTo>
                <a:lnTo>
                  <a:pt x="768959" y="939272"/>
                </a:lnTo>
                <a:lnTo>
                  <a:pt x="762756" y="942816"/>
                </a:lnTo>
                <a:close/>
                <a:moveTo>
                  <a:pt x="2516423" y="937450"/>
                </a:moveTo>
                <a:cubicBezTo>
                  <a:pt x="2510956" y="939272"/>
                  <a:pt x="2514600" y="942916"/>
                  <a:pt x="2516423" y="944738"/>
                </a:cubicBezTo>
                <a:cubicBezTo>
                  <a:pt x="2510956" y="944738"/>
                  <a:pt x="2505490" y="942916"/>
                  <a:pt x="2507312" y="952026"/>
                </a:cubicBezTo>
                <a:cubicBezTo>
                  <a:pt x="2509134" y="946560"/>
                  <a:pt x="2518245" y="953848"/>
                  <a:pt x="2516423" y="944738"/>
                </a:cubicBezTo>
                <a:cubicBezTo>
                  <a:pt x="2521889" y="941094"/>
                  <a:pt x="2518245" y="952026"/>
                  <a:pt x="2525534" y="950204"/>
                </a:cubicBezTo>
                <a:cubicBezTo>
                  <a:pt x="2525534" y="941094"/>
                  <a:pt x="2518245" y="942916"/>
                  <a:pt x="2516423" y="937450"/>
                </a:cubicBezTo>
                <a:close/>
                <a:moveTo>
                  <a:pt x="2461757" y="937450"/>
                </a:moveTo>
                <a:cubicBezTo>
                  <a:pt x="2459935" y="937450"/>
                  <a:pt x="2458113" y="941094"/>
                  <a:pt x="2459935" y="944738"/>
                </a:cubicBezTo>
                <a:cubicBezTo>
                  <a:pt x="2461757" y="944738"/>
                  <a:pt x="2461757" y="942916"/>
                  <a:pt x="2463580" y="942916"/>
                </a:cubicBezTo>
                <a:cubicBezTo>
                  <a:pt x="2463580" y="939272"/>
                  <a:pt x="2461757" y="939272"/>
                  <a:pt x="2461757" y="937450"/>
                </a:cubicBezTo>
                <a:close/>
                <a:moveTo>
                  <a:pt x="2447180" y="937450"/>
                </a:moveTo>
                <a:cubicBezTo>
                  <a:pt x="2443536" y="941094"/>
                  <a:pt x="2439891" y="944738"/>
                  <a:pt x="2443536" y="950204"/>
                </a:cubicBezTo>
                <a:cubicBezTo>
                  <a:pt x="2443536" y="950204"/>
                  <a:pt x="2447180" y="946560"/>
                  <a:pt x="2449002" y="952026"/>
                </a:cubicBezTo>
                <a:cubicBezTo>
                  <a:pt x="2452647" y="948383"/>
                  <a:pt x="2445358" y="946560"/>
                  <a:pt x="2447180" y="937450"/>
                </a:cubicBezTo>
                <a:close/>
                <a:moveTo>
                  <a:pt x="1377564" y="937450"/>
                </a:moveTo>
                <a:lnTo>
                  <a:pt x="1375924" y="939089"/>
                </a:lnTo>
                <a:lnTo>
                  <a:pt x="1375971" y="938588"/>
                </a:lnTo>
                <a:cubicBezTo>
                  <a:pt x="1376653" y="937905"/>
                  <a:pt x="1377564" y="937450"/>
                  <a:pt x="1377564" y="937450"/>
                </a:cubicBezTo>
                <a:close/>
                <a:moveTo>
                  <a:pt x="1270056" y="937450"/>
                </a:moveTo>
                <a:cubicBezTo>
                  <a:pt x="1268233" y="937450"/>
                  <a:pt x="1260945" y="942916"/>
                  <a:pt x="1260945" y="946560"/>
                </a:cubicBezTo>
                <a:cubicBezTo>
                  <a:pt x="1266411" y="946560"/>
                  <a:pt x="1270056" y="941094"/>
                  <a:pt x="1270056" y="937450"/>
                </a:cubicBezTo>
                <a:close/>
                <a:moveTo>
                  <a:pt x="1193525" y="937450"/>
                </a:moveTo>
                <a:cubicBezTo>
                  <a:pt x="1191703" y="939272"/>
                  <a:pt x="1193525" y="939272"/>
                  <a:pt x="1195346" y="941094"/>
                </a:cubicBezTo>
                <a:cubicBezTo>
                  <a:pt x="1197169" y="939272"/>
                  <a:pt x="1197169" y="941094"/>
                  <a:pt x="1198991" y="939272"/>
                </a:cubicBezTo>
                <a:cubicBezTo>
                  <a:pt x="1197169" y="937450"/>
                  <a:pt x="1195346" y="939272"/>
                  <a:pt x="1193525" y="937450"/>
                </a:cubicBezTo>
                <a:close/>
                <a:moveTo>
                  <a:pt x="355324" y="937450"/>
                </a:moveTo>
                <a:cubicBezTo>
                  <a:pt x="353502" y="937450"/>
                  <a:pt x="353502" y="939272"/>
                  <a:pt x="351680" y="939272"/>
                </a:cubicBezTo>
                <a:cubicBezTo>
                  <a:pt x="353502" y="942916"/>
                  <a:pt x="357146" y="941094"/>
                  <a:pt x="358969" y="941094"/>
                </a:cubicBezTo>
                <a:cubicBezTo>
                  <a:pt x="357146" y="939272"/>
                  <a:pt x="355324" y="937450"/>
                  <a:pt x="355324" y="937450"/>
                </a:cubicBezTo>
                <a:close/>
                <a:moveTo>
                  <a:pt x="184040" y="937450"/>
                </a:moveTo>
                <a:cubicBezTo>
                  <a:pt x="189506" y="946560"/>
                  <a:pt x="193151" y="950204"/>
                  <a:pt x="200439" y="953848"/>
                </a:cubicBezTo>
                <a:cubicBezTo>
                  <a:pt x="198617" y="948383"/>
                  <a:pt x="187684" y="939272"/>
                  <a:pt x="184040" y="937450"/>
                </a:cubicBezTo>
                <a:close/>
                <a:moveTo>
                  <a:pt x="180396" y="937450"/>
                </a:moveTo>
                <a:cubicBezTo>
                  <a:pt x="176751" y="935628"/>
                  <a:pt x="185862" y="942916"/>
                  <a:pt x="184040" y="942916"/>
                </a:cubicBezTo>
                <a:cubicBezTo>
                  <a:pt x="187684" y="944738"/>
                  <a:pt x="182218" y="939272"/>
                  <a:pt x="180396" y="937450"/>
                </a:cubicBezTo>
                <a:close/>
                <a:moveTo>
                  <a:pt x="541869" y="936994"/>
                </a:moveTo>
                <a:cubicBezTo>
                  <a:pt x="540276" y="936994"/>
                  <a:pt x="538453" y="937450"/>
                  <a:pt x="537542" y="937450"/>
                </a:cubicBezTo>
                <a:cubicBezTo>
                  <a:pt x="537542" y="939272"/>
                  <a:pt x="538908" y="939727"/>
                  <a:pt x="540504" y="939727"/>
                </a:cubicBezTo>
                <a:lnTo>
                  <a:pt x="542266" y="939541"/>
                </a:lnTo>
                <a:lnTo>
                  <a:pt x="544830" y="939272"/>
                </a:lnTo>
                <a:cubicBezTo>
                  <a:pt x="544830" y="937450"/>
                  <a:pt x="543463" y="936994"/>
                  <a:pt x="541869" y="936994"/>
                </a:cubicBezTo>
                <a:close/>
                <a:moveTo>
                  <a:pt x="1072806" y="935855"/>
                </a:moveTo>
                <a:cubicBezTo>
                  <a:pt x="1069616" y="936083"/>
                  <a:pt x="1065972" y="937450"/>
                  <a:pt x="1064151" y="939272"/>
                </a:cubicBezTo>
                <a:cubicBezTo>
                  <a:pt x="1069616" y="941094"/>
                  <a:pt x="1073262" y="944738"/>
                  <a:pt x="1078727" y="944738"/>
                </a:cubicBezTo>
                <a:cubicBezTo>
                  <a:pt x="1076905" y="942916"/>
                  <a:pt x="1078727" y="939272"/>
                  <a:pt x="1075083" y="937450"/>
                </a:cubicBezTo>
                <a:lnTo>
                  <a:pt x="1075704" y="937528"/>
                </a:lnTo>
                <a:lnTo>
                  <a:pt x="1078727" y="939272"/>
                </a:lnTo>
                <a:cubicBezTo>
                  <a:pt x="1077816" y="939272"/>
                  <a:pt x="1077361" y="938361"/>
                  <a:pt x="1076905" y="937678"/>
                </a:cubicBezTo>
                <a:lnTo>
                  <a:pt x="1075704" y="937528"/>
                </a:lnTo>
                <a:close/>
                <a:moveTo>
                  <a:pt x="3426197" y="935843"/>
                </a:moveTo>
                <a:lnTo>
                  <a:pt x="3427510" y="941094"/>
                </a:lnTo>
                <a:lnTo>
                  <a:pt x="3423856" y="936805"/>
                </a:lnTo>
                <a:lnTo>
                  <a:pt x="3425232" y="936538"/>
                </a:lnTo>
                <a:close/>
                <a:moveTo>
                  <a:pt x="2179320" y="935628"/>
                </a:moveTo>
                <a:cubicBezTo>
                  <a:pt x="2168387" y="933804"/>
                  <a:pt x="2179320" y="941094"/>
                  <a:pt x="2173854" y="942916"/>
                </a:cubicBezTo>
                <a:cubicBezTo>
                  <a:pt x="2179320" y="948383"/>
                  <a:pt x="2186609" y="944738"/>
                  <a:pt x="2192076" y="948383"/>
                </a:cubicBezTo>
                <a:cubicBezTo>
                  <a:pt x="2192076" y="944738"/>
                  <a:pt x="2186609" y="944738"/>
                  <a:pt x="2188431" y="939272"/>
                </a:cubicBezTo>
                <a:cubicBezTo>
                  <a:pt x="2184787" y="939272"/>
                  <a:pt x="2182965" y="939272"/>
                  <a:pt x="2181143" y="941094"/>
                </a:cubicBezTo>
                <a:cubicBezTo>
                  <a:pt x="2182965" y="937450"/>
                  <a:pt x="2181143" y="935628"/>
                  <a:pt x="2179320" y="935628"/>
                </a:cubicBezTo>
                <a:close/>
                <a:moveTo>
                  <a:pt x="1260945" y="935628"/>
                </a:moveTo>
                <a:cubicBezTo>
                  <a:pt x="1257300" y="937450"/>
                  <a:pt x="1251834" y="946560"/>
                  <a:pt x="1257300" y="948383"/>
                </a:cubicBezTo>
                <a:cubicBezTo>
                  <a:pt x="1260945" y="944738"/>
                  <a:pt x="1260945" y="939272"/>
                  <a:pt x="1260945" y="935628"/>
                </a:cubicBezTo>
                <a:close/>
                <a:moveTo>
                  <a:pt x="1224501" y="935628"/>
                </a:moveTo>
                <a:cubicBezTo>
                  <a:pt x="1224501" y="939272"/>
                  <a:pt x="1235434" y="942916"/>
                  <a:pt x="1240901" y="942916"/>
                </a:cubicBezTo>
                <a:cubicBezTo>
                  <a:pt x="1240901" y="937450"/>
                  <a:pt x="1229969" y="935628"/>
                  <a:pt x="1224501" y="935628"/>
                </a:cubicBezTo>
                <a:close/>
                <a:moveTo>
                  <a:pt x="920198" y="935628"/>
                </a:moveTo>
                <a:cubicBezTo>
                  <a:pt x="918376" y="939272"/>
                  <a:pt x="923843" y="944738"/>
                  <a:pt x="925666" y="950204"/>
                </a:cubicBezTo>
                <a:cubicBezTo>
                  <a:pt x="927487" y="948383"/>
                  <a:pt x="927487" y="944738"/>
                  <a:pt x="927487" y="942916"/>
                </a:cubicBezTo>
                <a:cubicBezTo>
                  <a:pt x="925666" y="939272"/>
                  <a:pt x="922020" y="939272"/>
                  <a:pt x="920198" y="935628"/>
                </a:cubicBezTo>
                <a:close/>
                <a:moveTo>
                  <a:pt x="885577" y="935628"/>
                </a:moveTo>
                <a:cubicBezTo>
                  <a:pt x="878288" y="941094"/>
                  <a:pt x="881933" y="944738"/>
                  <a:pt x="880111" y="950204"/>
                </a:cubicBezTo>
                <a:cubicBezTo>
                  <a:pt x="885577" y="961138"/>
                  <a:pt x="896510" y="968427"/>
                  <a:pt x="901976" y="979360"/>
                </a:cubicBezTo>
                <a:cubicBezTo>
                  <a:pt x="901976" y="977538"/>
                  <a:pt x="905621" y="973893"/>
                  <a:pt x="905621" y="972071"/>
                </a:cubicBezTo>
                <a:cubicBezTo>
                  <a:pt x="903799" y="970249"/>
                  <a:pt x="903799" y="970249"/>
                  <a:pt x="901976" y="968427"/>
                </a:cubicBezTo>
                <a:cubicBezTo>
                  <a:pt x="903799" y="966604"/>
                  <a:pt x="905621" y="966604"/>
                  <a:pt x="905621" y="968427"/>
                </a:cubicBezTo>
                <a:cubicBezTo>
                  <a:pt x="905621" y="966604"/>
                  <a:pt x="900154" y="962960"/>
                  <a:pt x="903799" y="961138"/>
                </a:cubicBezTo>
                <a:cubicBezTo>
                  <a:pt x="900154" y="955672"/>
                  <a:pt x="896510" y="953848"/>
                  <a:pt x="892866" y="953848"/>
                </a:cubicBezTo>
                <a:cubicBezTo>
                  <a:pt x="892866" y="952026"/>
                  <a:pt x="894688" y="952026"/>
                  <a:pt x="894688" y="952026"/>
                </a:cubicBezTo>
                <a:cubicBezTo>
                  <a:pt x="898333" y="952026"/>
                  <a:pt x="901976" y="953848"/>
                  <a:pt x="905621" y="957494"/>
                </a:cubicBezTo>
                <a:cubicBezTo>
                  <a:pt x="905621" y="948383"/>
                  <a:pt x="892866" y="942916"/>
                  <a:pt x="885577" y="935628"/>
                </a:cubicBezTo>
                <a:close/>
                <a:moveTo>
                  <a:pt x="838200" y="935628"/>
                </a:moveTo>
                <a:cubicBezTo>
                  <a:pt x="843667" y="939272"/>
                  <a:pt x="847311" y="941094"/>
                  <a:pt x="850956" y="942916"/>
                </a:cubicBezTo>
                <a:lnTo>
                  <a:pt x="852778" y="939272"/>
                </a:lnTo>
                <a:lnTo>
                  <a:pt x="854600" y="944738"/>
                </a:lnTo>
                <a:cubicBezTo>
                  <a:pt x="856422" y="942916"/>
                  <a:pt x="858244" y="941094"/>
                  <a:pt x="860066" y="941094"/>
                </a:cubicBezTo>
                <a:lnTo>
                  <a:pt x="852778" y="939272"/>
                </a:lnTo>
                <a:close/>
                <a:moveTo>
                  <a:pt x="297015" y="935628"/>
                </a:moveTo>
                <a:cubicBezTo>
                  <a:pt x="297015" y="937450"/>
                  <a:pt x="298381" y="939727"/>
                  <a:pt x="300204" y="941777"/>
                </a:cubicBezTo>
                <a:lnTo>
                  <a:pt x="304366" y="945139"/>
                </a:lnTo>
                <a:lnTo>
                  <a:pt x="304987" y="949066"/>
                </a:lnTo>
                <a:cubicBezTo>
                  <a:pt x="306126" y="950205"/>
                  <a:pt x="307948" y="951116"/>
                  <a:pt x="309771" y="952026"/>
                </a:cubicBezTo>
                <a:lnTo>
                  <a:pt x="304970" y="945627"/>
                </a:lnTo>
                <a:lnTo>
                  <a:pt x="306126" y="946560"/>
                </a:lnTo>
                <a:cubicBezTo>
                  <a:pt x="306126" y="942916"/>
                  <a:pt x="300660" y="939272"/>
                  <a:pt x="297015" y="935628"/>
                </a:cubicBezTo>
                <a:close/>
                <a:moveTo>
                  <a:pt x="501782" y="935172"/>
                </a:moveTo>
                <a:cubicBezTo>
                  <a:pt x="499732" y="935172"/>
                  <a:pt x="497454" y="935628"/>
                  <a:pt x="495632" y="935628"/>
                </a:cubicBezTo>
                <a:cubicBezTo>
                  <a:pt x="501098" y="941094"/>
                  <a:pt x="502920" y="935628"/>
                  <a:pt x="506565" y="937450"/>
                </a:cubicBezTo>
                <a:cubicBezTo>
                  <a:pt x="505654" y="935627"/>
                  <a:pt x="503832" y="935172"/>
                  <a:pt x="501782" y="935172"/>
                </a:cubicBezTo>
                <a:close/>
                <a:moveTo>
                  <a:pt x="760530" y="935171"/>
                </a:moveTo>
                <a:cubicBezTo>
                  <a:pt x="757114" y="935171"/>
                  <a:pt x="753469" y="936538"/>
                  <a:pt x="750737" y="939272"/>
                </a:cubicBezTo>
                <a:cubicBezTo>
                  <a:pt x="752558" y="940183"/>
                  <a:pt x="752558" y="941094"/>
                  <a:pt x="752786" y="942232"/>
                </a:cubicBezTo>
                <a:lnTo>
                  <a:pt x="755291" y="945405"/>
                </a:lnTo>
                <a:lnTo>
                  <a:pt x="749141" y="947016"/>
                </a:lnTo>
                <a:cubicBezTo>
                  <a:pt x="740714" y="948838"/>
                  <a:pt x="733425" y="951116"/>
                  <a:pt x="734336" y="961138"/>
                </a:cubicBezTo>
                <a:cubicBezTo>
                  <a:pt x="732515" y="966604"/>
                  <a:pt x="747092" y="953848"/>
                  <a:pt x="750737" y="962960"/>
                </a:cubicBezTo>
                <a:cubicBezTo>
                  <a:pt x="752558" y="964782"/>
                  <a:pt x="754380" y="961138"/>
                  <a:pt x="754380" y="959316"/>
                </a:cubicBezTo>
                <a:cubicBezTo>
                  <a:pt x="763491" y="970249"/>
                  <a:pt x="779892" y="961138"/>
                  <a:pt x="790824" y="968427"/>
                </a:cubicBezTo>
                <a:cubicBezTo>
                  <a:pt x="794468" y="961138"/>
                  <a:pt x="790824" y="952026"/>
                  <a:pt x="781713" y="946560"/>
                </a:cubicBezTo>
                <a:cubicBezTo>
                  <a:pt x="781713" y="948383"/>
                  <a:pt x="783535" y="948383"/>
                  <a:pt x="783535" y="948383"/>
                </a:cubicBezTo>
                <a:cubicBezTo>
                  <a:pt x="783535" y="939272"/>
                  <a:pt x="776246" y="939272"/>
                  <a:pt x="770781" y="935628"/>
                </a:cubicBezTo>
                <a:lnTo>
                  <a:pt x="767503" y="938563"/>
                </a:lnTo>
                <a:close/>
                <a:moveTo>
                  <a:pt x="2336027" y="933804"/>
                </a:moveTo>
                <a:cubicBezTo>
                  <a:pt x="2330561" y="939272"/>
                  <a:pt x="2337850" y="946560"/>
                  <a:pt x="2334205" y="955672"/>
                </a:cubicBezTo>
                <a:cubicBezTo>
                  <a:pt x="2336027" y="957494"/>
                  <a:pt x="2339672" y="955672"/>
                  <a:pt x="2339672" y="959316"/>
                </a:cubicBezTo>
                <a:cubicBezTo>
                  <a:pt x="2336027" y="957494"/>
                  <a:pt x="2334205" y="961138"/>
                  <a:pt x="2328739" y="962960"/>
                </a:cubicBezTo>
                <a:cubicBezTo>
                  <a:pt x="2330561" y="953848"/>
                  <a:pt x="2326916" y="953848"/>
                  <a:pt x="2326916" y="948383"/>
                </a:cubicBezTo>
                <a:cubicBezTo>
                  <a:pt x="2325094" y="948383"/>
                  <a:pt x="2323272" y="948383"/>
                  <a:pt x="2321450" y="948383"/>
                </a:cubicBezTo>
                <a:cubicBezTo>
                  <a:pt x="2323272" y="950204"/>
                  <a:pt x="2326916" y="950204"/>
                  <a:pt x="2326916" y="952026"/>
                </a:cubicBezTo>
                <a:cubicBezTo>
                  <a:pt x="2325094" y="952026"/>
                  <a:pt x="2323272" y="953848"/>
                  <a:pt x="2323272" y="955672"/>
                </a:cubicBezTo>
                <a:cubicBezTo>
                  <a:pt x="2319628" y="955672"/>
                  <a:pt x="2319628" y="953848"/>
                  <a:pt x="2319628" y="950204"/>
                </a:cubicBezTo>
                <a:cubicBezTo>
                  <a:pt x="2317806" y="950204"/>
                  <a:pt x="2315983" y="950204"/>
                  <a:pt x="2314161" y="950204"/>
                </a:cubicBezTo>
                <a:cubicBezTo>
                  <a:pt x="2317806" y="953848"/>
                  <a:pt x="2308695" y="955672"/>
                  <a:pt x="2310517" y="962960"/>
                </a:cubicBezTo>
                <a:cubicBezTo>
                  <a:pt x="2314161" y="962960"/>
                  <a:pt x="2310517" y="961138"/>
                  <a:pt x="2314161" y="959316"/>
                </a:cubicBezTo>
                <a:cubicBezTo>
                  <a:pt x="2315983" y="959316"/>
                  <a:pt x="2315983" y="962960"/>
                  <a:pt x="2317806" y="964782"/>
                </a:cubicBezTo>
                <a:cubicBezTo>
                  <a:pt x="2317806" y="966604"/>
                  <a:pt x="2314161" y="966604"/>
                  <a:pt x="2312339" y="966604"/>
                </a:cubicBezTo>
                <a:cubicBezTo>
                  <a:pt x="2312339" y="972071"/>
                  <a:pt x="2317806" y="972071"/>
                  <a:pt x="2321450" y="973893"/>
                </a:cubicBezTo>
                <a:cubicBezTo>
                  <a:pt x="2323272" y="970249"/>
                  <a:pt x="2319628" y="966604"/>
                  <a:pt x="2323272" y="962960"/>
                </a:cubicBezTo>
                <a:cubicBezTo>
                  <a:pt x="2323272" y="959316"/>
                  <a:pt x="2321450" y="962960"/>
                  <a:pt x="2319628" y="962960"/>
                </a:cubicBezTo>
                <a:cubicBezTo>
                  <a:pt x="2319628" y="959316"/>
                  <a:pt x="2325094" y="961138"/>
                  <a:pt x="2323272" y="955672"/>
                </a:cubicBezTo>
                <a:cubicBezTo>
                  <a:pt x="2327372" y="961138"/>
                  <a:pt x="2326347" y="970704"/>
                  <a:pt x="2333266" y="972071"/>
                </a:cubicBezTo>
                <a:lnTo>
                  <a:pt x="2336158" y="971546"/>
                </a:lnTo>
                <a:lnTo>
                  <a:pt x="2336027" y="972071"/>
                </a:lnTo>
                <a:lnTo>
                  <a:pt x="2336640" y="971459"/>
                </a:lnTo>
                <a:lnTo>
                  <a:pt x="2343316" y="970249"/>
                </a:lnTo>
                <a:lnTo>
                  <a:pt x="2341521" y="969351"/>
                </a:lnTo>
                <a:lnTo>
                  <a:pt x="2341608" y="966434"/>
                </a:lnTo>
                <a:cubicBezTo>
                  <a:pt x="2341950" y="966263"/>
                  <a:pt x="2343316" y="974804"/>
                  <a:pt x="2348782" y="972071"/>
                </a:cubicBezTo>
                <a:cubicBezTo>
                  <a:pt x="2361538" y="952026"/>
                  <a:pt x="2339672" y="946560"/>
                  <a:pt x="2336027" y="933804"/>
                </a:cubicBezTo>
                <a:close/>
                <a:moveTo>
                  <a:pt x="2155632" y="933804"/>
                </a:moveTo>
                <a:cubicBezTo>
                  <a:pt x="2157454" y="939272"/>
                  <a:pt x="2164743" y="937450"/>
                  <a:pt x="2164743" y="933804"/>
                </a:cubicBezTo>
                <a:cubicBezTo>
                  <a:pt x="2161099" y="931983"/>
                  <a:pt x="2159277" y="931983"/>
                  <a:pt x="2155632" y="933804"/>
                </a:cubicBezTo>
                <a:close/>
                <a:moveTo>
                  <a:pt x="750737" y="933804"/>
                </a:moveTo>
                <a:cubicBezTo>
                  <a:pt x="750737" y="933804"/>
                  <a:pt x="750737" y="935628"/>
                  <a:pt x="748914" y="935628"/>
                </a:cubicBezTo>
                <a:cubicBezTo>
                  <a:pt x="750737" y="937450"/>
                  <a:pt x="752558" y="935628"/>
                  <a:pt x="754380" y="935628"/>
                </a:cubicBezTo>
                <a:cubicBezTo>
                  <a:pt x="752558" y="933804"/>
                  <a:pt x="752558" y="933804"/>
                  <a:pt x="750737" y="933804"/>
                </a:cubicBezTo>
                <a:close/>
                <a:moveTo>
                  <a:pt x="462832" y="933804"/>
                </a:moveTo>
                <a:cubicBezTo>
                  <a:pt x="459188" y="931983"/>
                  <a:pt x="459188" y="933804"/>
                  <a:pt x="457367" y="935628"/>
                </a:cubicBezTo>
                <a:cubicBezTo>
                  <a:pt x="459188" y="939272"/>
                  <a:pt x="461010" y="933804"/>
                  <a:pt x="462832" y="933804"/>
                </a:cubicBezTo>
                <a:close/>
                <a:moveTo>
                  <a:pt x="171285" y="933804"/>
                </a:moveTo>
                <a:cubicBezTo>
                  <a:pt x="174929" y="935628"/>
                  <a:pt x="176751" y="937450"/>
                  <a:pt x="178573" y="939272"/>
                </a:cubicBezTo>
                <a:cubicBezTo>
                  <a:pt x="178573" y="942916"/>
                  <a:pt x="184040" y="950204"/>
                  <a:pt x="189506" y="955672"/>
                </a:cubicBezTo>
                <a:cubicBezTo>
                  <a:pt x="189506" y="952026"/>
                  <a:pt x="182218" y="942916"/>
                  <a:pt x="178573" y="939272"/>
                </a:cubicBezTo>
                <a:cubicBezTo>
                  <a:pt x="180396" y="939272"/>
                  <a:pt x="176751" y="935628"/>
                  <a:pt x="176751" y="935628"/>
                </a:cubicBezTo>
                <a:cubicBezTo>
                  <a:pt x="174929" y="933804"/>
                  <a:pt x="173107" y="931983"/>
                  <a:pt x="171285" y="933804"/>
                </a:cubicBezTo>
                <a:close/>
                <a:moveTo>
                  <a:pt x="486522" y="933351"/>
                </a:moveTo>
                <a:lnTo>
                  <a:pt x="488343" y="935628"/>
                </a:lnTo>
                <a:lnTo>
                  <a:pt x="487350" y="935628"/>
                </a:lnTo>
                <a:close/>
                <a:moveTo>
                  <a:pt x="333037" y="932683"/>
                </a:moveTo>
                <a:lnTo>
                  <a:pt x="335280" y="933805"/>
                </a:lnTo>
                <a:lnTo>
                  <a:pt x="334141" y="934033"/>
                </a:lnTo>
                <a:close/>
                <a:moveTo>
                  <a:pt x="1080711" y="932506"/>
                </a:moveTo>
                <a:lnTo>
                  <a:pt x="1080549" y="933804"/>
                </a:lnTo>
                <a:lnTo>
                  <a:pt x="1079996" y="933068"/>
                </a:lnTo>
                <a:close/>
                <a:moveTo>
                  <a:pt x="1284633" y="931983"/>
                </a:moveTo>
                <a:cubicBezTo>
                  <a:pt x="1282811" y="933804"/>
                  <a:pt x="1280989" y="935628"/>
                  <a:pt x="1277344" y="937450"/>
                </a:cubicBezTo>
                <a:cubicBezTo>
                  <a:pt x="1279166" y="937450"/>
                  <a:pt x="1286455" y="935628"/>
                  <a:pt x="1284633" y="931983"/>
                </a:cubicBezTo>
                <a:close/>
                <a:moveTo>
                  <a:pt x="368079" y="931983"/>
                </a:moveTo>
                <a:cubicBezTo>
                  <a:pt x="369902" y="937450"/>
                  <a:pt x="382657" y="944738"/>
                  <a:pt x="388123" y="941094"/>
                </a:cubicBezTo>
                <a:cubicBezTo>
                  <a:pt x="384479" y="933804"/>
                  <a:pt x="373546" y="937450"/>
                  <a:pt x="368079" y="931983"/>
                </a:cubicBezTo>
                <a:close/>
                <a:moveTo>
                  <a:pt x="313414" y="931983"/>
                </a:moveTo>
                <a:cubicBezTo>
                  <a:pt x="309771" y="937450"/>
                  <a:pt x="317059" y="935628"/>
                  <a:pt x="320703" y="937450"/>
                </a:cubicBezTo>
                <a:cubicBezTo>
                  <a:pt x="318882" y="935628"/>
                  <a:pt x="315236" y="933804"/>
                  <a:pt x="313414" y="931983"/>
                </a:cubicBezTo>
                <a:close/>
                <a:moveTo>
                  <a:pt x="287904" y="931983"/>
                </a:moveTo>
                <a:cubicBezTo>
                  <a:pt x="291549" y="933804"/>
                  <a:pt x="286082" y="942916"/>
                  <a:pt x="295193" y="941094"/>
                </a:cubicBezTo>
                <a:cubicBezTo>
                  <a:pt x="297015" y="939272"/>
                  <a:pt x="289726" y="933804"/>
                  <a:pt x="287904" y="931983"/>
                </a:cubicBezTo>
                <a:close/>
                <a:moveTo>
                  <a:pt x="3095874" y="930160"/>
                </a:moveTo>
                <a:cubicBezTo>
                  <a:pt x="3086763" y="935628"/>
                  <a:pt x="3084941" y="941094"/>
                  <a:pt x="3083119" y="952026"/>
                </a:cubicBezTo>
                <a:cubicBezTo>
                  <a:pt x="3088585" y="953848"/>
                  <a:pt x="3094052" y="948383"/>
                  <a:pt x="3094052" y="942916"/>
                </a:cubicBezTo>
                <a:cubicBezTo>
                  <a:pt x="3097696" y="942916"/>
                  <a:pt x="3101340" y="942916"/>
                  <a:pt x="3103163" y="941094"/>
                </a:cubicBezTo>
                <a:cubicBezTo>
                  <a:pt x="3101340" y="935628"/>
                  <a:pt x="3097696" y="933804"/>
                  <a:pt x="3095874" y="930160"/>
                </a:cubicBezTo>
                <a:close/>
                <a:moveTo>
                  <a:pt x="2461757" y="930160"/>
                </a:moveTo>
                <a:cubicBezTo>
                  <a:pt x="2456291" y="931983"/>
                  <a:pt x="2452647" y="931983"/>
                  <a:pt x="2456291" y="939272"/>
                </a:cubicBezTo>
                <a:cubicBezTo>
                  <a:pt x="2459935" y="937450"/>
                  <a:pt x="2461757" y="935628"/>
                  <a:pt x="2461757" y="930160"/>
                </a:cubicBezTo>
                <a:close/>
                <a:moveTo>
                  <a:pt x="1326543" y="930160"/>
                </a:moveTo>
                <a:cubicBezTo>
                  <a:pt x="1324721" y="931983"/>
                  <a:pt x="1321077" y="933804"/>
                  <a:pt x="1321077" y="937450"/>
                </a:cubicBezTo>
                <a:cubicBezTo>
                  <a:pt x="1324721" y="939272"/>
                  <a:pt x="1330188" y="933804"/>
                  <a:pt x="1326543" y="930160"/>
                </a:cubicBezTo>
                <a:close/>
                <a:moveTo>
                  <a:pt x="1240901" y="930160"/>
                </a:moveTo>
                <a:cubicBezTo>
                  <a:pt x="1237256" y="930160"/>
                  <a:pt x="1233612" y="931983"/>
                  <a:pt x="1231790" y="933804"/>
                </a:cubicBezTo>
                <a:cubicBezTo>
                  <a:pt x="1235434" y="935628"/>
                  <a:pt x="1237256" y="935628"/>
                  <a:pt x="1240901" y="935628"/>
                </a:cubicBezTo>
                <a:cubicBezTo>
                  <a:pt x="1242723" y="933804"/>
                  <a:pt x="1242723" y="931983"/>
                  <a:pt x="1240901" y="930160"/>
                </a:cubicBezTo>
                <a:close/>
                <a:moveTo>
                  <a:pt x="880111" y="930160"/>
                </a:moveTo>
                <a:cubicBezTo>
                  <a:pt x="878288" y="931983"/>
                  <a:pt x="878288" y="933804"/>
                  <a:pt x="880111" y="935628"/>
                </a:cubicBezTo>
                <a:cubicBezTo>
                  <a:pt x="881933" y="933804"/>
                  <a:pt x="881933" y="935628"/>
                  <a:pt x="883755" y="933804"/>
                </a:cubicBezTo>
                <a:cubicBezTo>
                  <a:pt x="883755" y="931983"/>
                  <a:pt x="881933" y="931983"/>
                  <a:pt x="880111" y="930160"/>
                </a:cubicBezTo>
                <a:close/>
                <a:moveTo>
                  <a:pt x="663272" y="930160"/>
                </a:moveTo>
                <a:cubicBezTo>
                  <a:pt x="655983" y="930160"/>
                  <a:pt x="643228" y="931983"/>
                  <a:pt x="650516" y="939272"/>
                </a:cubicBezTo>
                <a:cubicBezTo>
                  <a:pt x="654161" y="933804"/>
                  <a:pt x="659627" y="933804"/>
                  <a:pt x="663272" y="930160"/>
                </a:cubicBezTo>
                <a:close/>
                <a:moveTo>
                  <a:pt x="313414" y="930160"/>
                </a:moveTo>
                <a:cubicBezTo>
                  <a:pt x="320703" y="931983"/>
                  <a:pt x="322525" y="941094"/>
                  <a:pt x="329814" y="937450"/>
                </a:cubicBezTo>
                <a:cubicBezTo>
                  <a:pt x="327993" y="931983"/>
                  <a:pt x="317059" y="930160"/>
                  <a:pt x="313414" y="930160"/>
                </a:cubicBezTo>
                <a:close/>
                <a:moveTo>
                  <a:pt x="163996" y="930160"/>
                </a:moveTo>
                <a:cubicBezTo>
                  <a:pt x="163996" y="939272"/>
                  <a:pt x="174929" y="952026"/>
                  <a:pt x="182218" y="955672"/>
                </a:cubicBezTo>
                <a:cubicBezTo>
                  <a:pt x="182218" y="948383"/>
                  <a:pt x="169462" y="939272"/>
                  <a:pt x="163996" y="930160"/>
                </a:cubicBezTo>
                <a:close/>
                <a:moveTo>
                  <a:pt x="1167558" y="929022"/>
                </a:moveTo>
                <a:cubicBezTo>
                  <a:pt x="1160270" y="928339"/>
                  <a:pt x="1152525" y="929249"/>
                  <a:pt x="1146148" y="930160"/>
                </a:cubicBezTo>
                <a:cubicBezTo>
                  <a:pt x="1146148" y="931983"/>
                  <a:pt x="1147970" y="931983"/>
                  <a:pt x="1147970" y="933804"/>
                </a:cubicBezTo>
                <a:cubicBezTo>
                  <a:pt x="1140681" y="930160"/>
                  <a:pt x="1133393" y="935628"/>
                  <a:pt x="1126104" y="941094"/>
                </a:cubicBezTo>
                <a:cubicBezTo>
                  <a:pt x="1126104" y="944738"/>
                  <a:pt x="1126104" y="946560"/>
                  <a:pt x="1127926" y="950204"/>
                </a:cubicBezTo>
                <a:cubicBezTo>
                  <a:pt x="1140681" y="952026"/>
                  <a:pt x="1153436" y="959316"/>
                  <a:pt x="1168014" y="950204"/>
                </a:cubicBezTo>
                <a:cubicBezTo>
                  <a:pt x="1169836" y="948383"/>
                  <a:pt x="1169836" y="946560"/>
                  <a:pt x="1169836" y="944738"/>
                </a:cubicBezTo>
                <a:cubicBezTo>
                  <a:pt x="1171658" y="942916"/>
                  <a:pt x="1171658" y="946560"/>
                  <a:pt x="1173481" y="946560"/>
                </a:cubicBezTo>
                <a:cubicBezTo>
                  <a:pt x="1175303" y="946560"/>
                  <a:pt x="1175303" y="944738"/>
                  <a:pt x="1177125" y="942916"/>
                </a:cubicBezTo>
                <a:cubicBezTo>
                  <a:pt x="1177125" y="944738"/>
                  <a:pt x="1173481" y="946560"/>
                  <a:pt x="1173481" y="948383"/>
                </a:cubicBezTo>
                <a:cubicBezTo>
                  <a:pt x="1175303" y="950204"/>
                  <a:pt x="1180769" y="946560"/>
                  <a:pt x="1180769" y="944738"/>
                </a:cubicBezTo>
                <a:cubicBezTo>
                  <a:pt x="1182592" y="946560"/>
                  <a:pt x="1186236" y="946560"/>
                  <a:pt x="1186236" y="942916"/>
                </a:cubicBezTo>
                <a:cubicBezTo>
                  <a:pt x="1188058" y="942916"/>
                  <a:pt x="1186236" y="944738"/>
                  <a:pt x="1188058" y="944738"/>
                </a:cubicBezTo>
                <a:cubicBezTo>
                  <a:pt x="1189880" y="942916"/>
                  <a:pt x="1188058" y="939272"/>
                  <a:pt x="1191703" y="942916"/>
                </a:cubicBezTo>
                <a:cubicBezTo>
                  <a:pt x="1191703" y="941094"/>
                  <a:pt x="1189880" y="935628"/>
                  <a:pt x="1186236" y="937450"/>
                </a:cubicBezTo>
                <a:cubicBezTo>
                  <a:pt x="1181680" y="931983"/>
                  <a:pt x="1174847" y="929705"/>
                  <a:pt x="1167558" y="929022"/>
                </a:cubicBezTo>
                <a:close/>
                <a:moveTo>
                  <a:pt x="2689529" y="928339"/>
                </a:moveTo>
                <a:cubicBezTo>
                  <a:pt x="2691351" y="931983"/>
                  <a:pt x="2691351" y="937450"/>
                  <a:pt x="2694996" y="937450"/>
                </a:cubicBezTo>
                <a:cubicBezTo>
                  <a:pt x="2694996" y="931983"/>
                  <a:pt x="2694996" y="928339"/>
                  <a:pt x="2689529" y="928339"/>
                </a:cubicBezTo>
                <a:close/>
                <a:moveTo>
                  <a:pt x="1264589" y="928339"/>
                </a:moveTo>
                <a:cubicBezTo>
                  <a:pt x="1262767" y="931983"/>
                  <a:pt x="1268233" y="933804"/>
                  <a:pt x="1264589" y="935628"/>
                </a:cubicBezTo>
                <a:cubicBezTo>
                  <a:pt x="1264589" y="937450"/>
                  <a:pt x="1266411" y="933804"/>
                  <a:pt x="1268233" y="933804"/>
                </a:cubicBezTo>
                <a:cubicBezTo>
                  <a:pt x="1268233" y="931983"/>
                  <a:pt x="1268233" y="930160"/>
                  <a:pt x="1266411" y="928339"/>
                </a:cubicBezTo>
                <a:cubicBezTo>
                  <a:pt x="1266411" y="930160"/>
                  <a:pt x="1264589" y="928339"/>
                  <a:pt x="1264589" y="928339"/>
                </a:cubicBezTo>
                <a:close/>
                <a:moveTo>
                  <a:pt x="1204457" y="928339"/>
                </a:moveTo>
                <a:lnTo>
                  <a:pt x="1204779" y="928339"/>
                </a:lnTo>
                <a:lnTo>
                  <a:pt x="1204408" y="928435"/>
                </a:lnTo>
                <a:close/>
                <a:moveTo>
                  <a:pt x="956642" y="928339"/>
                </a:moveTo>
                <a:cubicBezTo>
                  <a:pt x="954819" y="933805"/>
                  <a:pt x="952997" y="938816"/>
                  <a:pt x="952086" y="944055"/>
                </a:cubicBezTo>
                <a:lnTo>
                  <a:pt x="952927" y="959824"/>
                </a:lnTo>
                <a:lnTo>
                  <a:pt x="951175" y="961138"/>
                </a:lnTo>
                <a:cubicBezTo>
                  <a:pt x="949353" y="964782"/>
                  <a:pt x="954819" y="972071"/>
                  <a:pt x="958464" y="970249"/>
                </a:cubicBezTo>
                <a:cubicBezTo>
                  <a:pt x="958464" y="966604"/>
                  <a:pt x="960286" y="959316"/>
                  <a:pt x="958464" y="955672"/>
                </a:cubicBezTo>
                <a:lnTo>
                  <a:pt x="958460" y="955675"/>
                </a:lnTo>
                <a:lnTo>
                  <a:pt x="960286" y="953848"/>
                </a:lnTo>
                <a:cubicBezTo>
                  <a:pt x="956642" y="944738"/>
                  <a:pt x="965753" y="937450"/>
                  <a:pt x="956642" y="928339"/>
                </a:cubicBezTo>
                <a:close/>
                <a:moveTo>
                  <a:pt x="747092" y="928339"/>
                </a:moveTo>
                <a:cubicBezTo>
                  <a:pt x="743447" y="926516"/>
                  <a:pt x="741626" y="928339"/>
                  <a:pt x="737981" y="930160"/>
                </a:cubicBezTo>
                <a:cubicBezTo>
                  <a:pt x="737981" y="931983"/>
                  <a:pt x="739803" y="931983"/>
                  <a:pt x="739803" y="931983"/>
                </a:cubicBezTo>
                <a:cubicBezTo>
                  <a:pt x="734336" y="930160"/>
                  <a:pt x="728870" y="933804"/>
                  <a:pt x="727048" y="939272"/>
                </a:cubicBezTo>
                <a:cubicBezTo>
                  <a:pt x="727048" y="941094"/>
                  <a:pt x="732515" y="944738"/>
                  <a:pt x="730692" y="952026"/>
                </a:cubicBezTo>
                <a:cubicBezTo>
                  <a:pt x="736159" y="952026"/>
                  <a:pt x="736159" y="946560"/>
                  <a:pt x="736159" y="942916"/>
                </a:cubicBezTo>
                <a:cubicBezTo>
                  <a:pt x="745269" y="944738"/>
                  <a:pt x="748914" y="939272"/>
                  <a:pt x="745269" y="935628"/>
                </a:cubicBezTo>
                <a:cubicBezTo>
                  <a:pt x="745269" y="933804"/>
                  <a:pt x="743447" y="933804"/>
                  <a:pt x="741626" y="930160"/>
                </a:cubicBezTo>
                <a:cubicBezTo>
                  <a:pt x="745269" y="930160"/>
                  <a:pt x="747092" y="930160"/>
                  <a:pt x="747092" y="928339"/>
                </a:cubicBezTo>
                <a:close/>
                <a:moveTo>
                  <a:pt x="428211" y="928339"/>
                </a:moveTo>
                <a:cubicBezTo>
                  <a:pt x="428211" y="933804"/>
                  <a:pt x="439145" y="931983"/>
                  <a:pt x="442789" y="937450"/>
                </a:cubicBezTo>
                <a:cubicBezTo>
                  <a:pt x="440966" y="931983"/>
                  <a:pt x="433678" y="933804"/>
                  <a:pt x="428211" y="928339"/>
                </a:cubicBezTo>
                <a:close/>
                <a:moveTo>
                  <a:pt x="355324" y="928339"/>
                </a:moveTo>
                <a:cubicBezTo>
                  <a:pt x="369902" y="942916"/>
                  <a:pt x="371724" y="944738"/>
                  <a:pt x="360791" y="933804"/>
                </a:cubicBezTo>
                <a:cubicBezTo>
                  <a:pt x="362613" y="933804"/>
                  <a:pt x="364435" y="931983"/>
                  <a:pt x="364435" y="931983"/>
                </a:cubicBezTo>
                <a:cubicBezTo>
                  <a:pt x="362613" y="928339"/>
                  <a:pt x="362613" y="930160"/>
                  <a:pt x="360791" y="931983"/>
                </a:cubicBezTo>
                <a:cubicBezTo>
                  <a:pt x="358969" y="930160"/>
                  <a:pt x="358969" y="930160"/>
                  <a:pt x="355324" y="928339"/>
                </a:cubicBezTo>
                <a:close/>
                <a:moveTo>
                  <a:pt x="1323734" y="926669"/>
                </a:moveTo>
                <a:lnTo>
                  <a:pt x="1323289" y="928377"/>
                </a:lnTo>
                <a:lnTo>
                  <a:pt x="1322899" y="928339"/>
                </a:lnTo>
                <a:close/>
                <a:moveTo>
                  <a:pt x="2177498" y="926516"/>
                </a:moveTo>
                <a:cubicBezTo>
                  <a:pt x="2175676" y="926516"/>
                  <a:pt x="2177498" y="931983"/>
                  <a:pt x="2177498" y="933804"/>
                </a:cubicBezTo>
                <a:cubicBezTo>
                  <a:pt x="2177498" y="931983"/>
                  <a:pt x="2179320" y="931983"/>
                  <a:pt x="2181143" y="931983"/>
                </a:cubicBezTo>
                <a:cubicBezTo>
                  <a:pt x="2182965" y="926516"/>
                  <a:pt x="2177498" y="930160"/>
                  <a:pt x="2177498" y="926516"/>
                </a:cubicBezTo>
                <a:close/>
                <a:moveTo>
                  <a:pt x="1251834" y="926516"/>
                </a:moveTo>
                <a:cubicBezTo>
                  <a:pt x="1250012" y="931983"/>
                  <a:pt x="1248189" y="935628"/>
                  <a:pt x="1246367" y="939272"/>
                </a:cubicBezTo>
                <a:cubicBezTo>
                  <a:pt x="1250012" y="941094"/>
                  <a:pt x="1244545" y="939272"/>
                  <a:pt x="1246367" y="942916"/>
                </a:cubicBezTo>
                <a:cubicBezTo>
                  <a:pt x="1250012" y="944738"/>
                  <a:pt x="1248189" y="942916"/>
                  <a:pt x="1250012" y="946560"/>
                </a:cubicBezTo>
                <a:cubicBezTo>
                  <a:pt x="1253656" y="946560"/>
                  <a:pt x="1257300" y="939272"/>
                  <a:pt x="1253656" y="935628"/>
                </a:cubicBezTo>
                <a:cubicBezTo>
                  <a:pt x="1257300" y="937450"/>
                  <a:pt x="1259123" y="931983"/>
                  <a:pt x="1259123" y="930160"/>
                </a:cubicBezTo>
                <a:cubicBezTo>
                  <a:pt x="1255478" y="926516"/>
                  <a:pt x="1253656" y="928339"/>
                  <a:pt x="1251834" y="926516"/>
                </a:cubicBezTo>
                <a:close/>
                <a:moveTo>
                  <a:pt x="1248189" y="926516"/>
                </a:moveTo>
                <a:cubicBezTo>
                  <a:pt x="1246367" y="926516"/>
                  <a:pt x="1244545" y="930160"/>
                  <a:pt x="1240901" y="928339"/>
                </a:cubicBezTo>
                <a:cubicBezTo>
                  <a:pt x="1240901" y="930160"/>
                  <a:pt x="1240901" y="933804"/>
                  <a:pt x="1242723" y="933804"/>
                </a:cubicBezTo>
                <a:cubicBezTo>
                  <a:pt x="1246367" y="931983"/>
                  <a:pt x="1246367" y="928339"/>
                  <a:pt x="1248189" y="926516"/>
                </a:cubicBezTo>
                <a:close/>
                <a:moveTo>
                  <a:pt x="1204457" y="926516"/>
                </a:moveTo>
                <a:cubicBezTo>
                  <a:pt x="1204457" y="926516"/>
                  <a:pt x="1204457" y="928339"/>
                  <a:pt x="1204457" y="928339"/>
                </a:cubicBezTo>
                <a:lnTo>
                  <a:pt x="1203282" y="928730"/>
                </a:lnTo>
                <a:lnTo>
                  <a:pt x="1199751" y="929654"/>
                </a:lnTo>
                <a:close/>
                <a:moveTo>
                  <a:pt x="756430" y="926516"/>
                </a:moveTo>
                <a:cubicBezTo>
                  <a:pt x="753469" y="925605"/>
                  <a:pt x="749825" y="926516"/>
                  <a:pt x="747092" y="930160"/>
                </a:cubicBezTo>
                <a:cubicBezTo>
                  <a:pt x="747092" y="930160"/>
                  <a:pt x="748914" y="930160"/>
                  <a:pt x="748914" y="931983"/>
                </a:cubicBezTo>
                <a:cubicBezTo>
                  <a:pt x="750737" y="930160"/>
                  <a:pt x="748914" y="930160"/>
                  <a:pt x="752558" y="933804"/>
                </a:cubicBezTo>
                <a:cubicBezTo>
                  <a:pt x="756203" y="933804"/>
                  <a:pt x="761670" y="931983"/>
                  <a:pt x="761670" y="933804"/>
                </a:cubicBezTo>
                <a:cubicBezTo>
                  <a:pt x="761670" y="930160"/>
                  <a:pt x="759391" y="927427"/>
                  <a:pt x="756430" y="926516"/>
                </a:cubicBezTo>
                <a:close/>
                <a:moveTo>
                  <a:pt x="688782" y="926516"/>
                </a:moveTo>
                <a:cubicBezTo>
                  <a:pt x="683316" y="930160"/>
                  <a:pt x="677849" y="935628"/>
                  <a:pt x="674205" y="937450"/>
                </a:cubicBezTo>
                <a:cubicBezTo>
                  <a:pt x="679671" y="935628"/>
                  <a:pt x="683316" y="937450"/>
                  <a:pt x="688782" y="941094"/>
                </a:cubicBezTo>
                <a:cubicBezTo>
                  <a:pt x="694249" y="937450"/>
                  <a:pt x="697893" y="931983"/>
                  <a:pt x="688782" y="926516"/>
                </a:cubicBezTo>
                <a:close/>
                <a:moveTo>
                  <a:pt x="597673" y="926516"/>
                </a:moveTo>
                <a:cubicBezTo>
                  <a:pt x="594030" y="933804"/>
                  <a:pt x="604963" y="942916"/>
                  <a:pt x="612251" y="939272"/>
                </a:cubicBezTo>
                <a:cubicBezTo>
                  <a:pt x="610429" y="933804"/>
                  <a:pt x="610429" y="922872"/>
                  <a:pt x="597673" y="926516"/>
                </a:cubicBezTo>
                <a:close/>
                <a:moveTo>
                  <a:pt x="386301" y="926516"/>
                </a:moveTo>
                <a:cubicBezTo>
                  <a:pt x="386301" y="928339"/>
                  <a:pt x="391768" y="931983"/>
                  <a:pt x="393590" y="933804"/>
                </a:cubicBezTo>
                <a:cubicBezTo>
                  <a:pt x="395412" y="931983"/>
                  <a:pt x="389946" y="930160"/>
                  <a:pt x="391768" y="928339"/>
                </a:cubicBezTo>
                <a:cubicBezTo>
                  <a:pt x="389946" y="926516"/>
                  <a:pt x="388123" y="928339"/>
                  <a:pt x="386301" y="926516"/>
                </a:cubicBezTo>
                <a:close/>
                <a:moveTo>
                  <a:pt x="327993" y="926516"/>
                </a:moveTo>
                <a:lnTo>
                  <a:pt x="333037" y="932683"/>
                </a:lnTo>
                <a:lnTo>
                  <a:pt x="331636" y="931983"/>
                </a:lnTo>
                <a:cubicBezTo>
                  <a:pt x="333458" y="935628"/>
                  <a:pt x="335280" y="935628"/>
                  <a:pt x="337102" y="939272"/>
                </a:cubicBezTo>
                <a:cubicBezTo>
                  <a:pt x="333458" y="937450"/>
                  <a:pt x="327993" y="937450"/>
                  <a:pt x="329814" y="939272"/>
                </a:cubicBezTo>
                <a:cubicBezTo>
                  <a:pt x="338926" y="957494"/>
                  <a:pt x="358969" y="952026"/>
                  <a:pt x="377190" y="952026"/>
                </a:cubicBezTo>
                <a:cubicBezTo>
                  <a:pt x="366257" y="942916"/>
                  <a:pt x="349858" y="942916"/>
                  <a:pt x="338926" y="935628"/>
                </a:cubicBezTo>
                <a:lnTo>
                  <a:pt x="335280" y="933805"/>
                </a:lnTo>
                <a:lnTo>
                  <a:pt x="344391" y="931983"/>
                </a:lnTo>
                <a:cubicBezTo>
                  <a:pt x="340747" y="928339"/>
                  <a:pt x="333458" y="926516"/>
                  <a:pt x="327993" y="926516"/>
                </a:cubicBezTo>
                <a:close/>
                <a:moveTo>
                  <a:pt x="291549" y="926516"/>
                </a:moveTo>
                <a:cubicBezTo>
                  <a:pt x="293370" y="928339"/>
                  <a:pt x="295193" y="928339"/>
                  <a:pt x="295193" y="931983"/>
                </a:cubicBezTo>
                <a:cubicBezTo>
                  <a:pt x="300660" y="935628"/>
                  <a:pt x="289726" y="926516"/>
                  <a:pt x="291549" y="926516"/>
                </a:cubicBezTo>
                <a:close/>
                <a:moveTo>
                  <a:pt x="218661" y="926516"/>
                </a:moveTo>
                <a:cubicBezTo>
                  <a:pt x="225950" y="939272"/>
                  <a:pt x="236883" y="946560"/>
                  <a:pt x="247816" y="953848"/>
                </a:cubicBezTo>
                <a:cubicBezTo>
                  <a:pt x="245994" y="950204"/>
                  <a:pt x="238705" y="946560"/>
                  <a:pt x="238705" y="941094"/>
                </a:cubicBezTo>
                <a:cubicBezTo>
                  <a:pt x="231416" y="931983"/>
                  <a:pt x="224128" y="933804"/>
                  <a:pt x="218661" y="926516"/>
                </a:cubicBezTo>
                <a:close/>
                <a:moveTo>
                  <a:pt x="3351684" y="925517"/>
                </a:moveTo>
                <a:lnTo>
                  <a:pt x="3350978" y="928339"/>
                </a:lnTo>
                <a:lnTo>
                  <a:pt x="3350330" y="926395"/>
                </a:lnTo>
                <a:close/>
                <a:moveTo>
                  <a:pt x="2213914" y="924922"/>
                </a:moveTo>
                <a:cubicBezTo>
                  <a:pt x="2210754" y="925036"/>
                  <a:pt x="2207109" y="926061"/>
                  <a:pt x="2203009" y="928339"/>
                </a:cubicBezTo>
                <a:cubicBezTo>
                  <a:pt x="2207565" y="930161"/>
                  <a:pt x="2210754" y="931983"/>
                  <a:pt x="2212576" y="934488"/>
                </a:cubicBezTo>
                <a:lnTo>
                  <a:pt x="2213243" y="939495"/>
                </a:lnTo>
                <a:lnTo>
                  <a:pt x="2208248" y="941094"/>
                </a:lnTo>
                <a:cubicBezTo>
                  <a:pt x="2206653" y="941549"/>
                  <a:pt x="2205742" y="941094"/>
                  <a:pt x="2206653" y="937450"/>
                </a:cubicBezTo>
                <a:cubicBezTo>
                  <a:pt x="2203009" y="937450"/>
                  <a:pt x="2203009" y="941094"/>
                  <a:pt x="2201187" y="942916"/>
                </a:cubicBezTo>
                <a:cubicBezTo>
                  <a:pt x="2201187" y="941094"/>
                  <a:pt x="2203009" y="933804"/>
                  <a:pt x="2195720" y="935628"/>
                </a:cubicBezTo>
                <a:cubicBezTo>
                  <a:pt x="2195720" y="933804"/>
                  <a:pt x="2197542" y="933804"/>
                  <a:pt x="2199364" y="933804"/>
                </a:cubicBezTo>
                <a:cubicBezTo>
                  <a:pt x="2199364" y="930160"/>
                  <a:pt x="2197542" y="930160"/>
                  <a:pt x="2193898" y="930160"/>
                </a:cubicBezTo>
                <a:cubicBezTo>
                  <a:pt x="2195720" y="935628"/>
                  <a:pt x="2193898" y="939272"/>
                  <a:pt x="2192076" y="944738"/>
                </a:cubicBezTo>
                <a:cubicBezTo>
                  <a:pt x="2195720" y="946560"/>
                  <a:pt x="2199364" y="948383"/>
                  <a:pt x="2208475" y="948383"/>
                </a:cubicBezTo>
                <a:lnTo>
                  <a:pt x="2213346" y="940265"/>
                </a:lnTo>
                <a:lnTo>
                  <a:pt x="2213942" y="944738"/>
                </a:lnTo>
                <a:cubicBezTo>
                  <a:pt x="2219408" y="944738"/>
                  <a:pt x="2223053" y="939272"/>
                  <a:pt x="2228519" y="939272"/>
                </a:cubicBezTo>
                <a:cubicBezTo>
                  <a:pt x="2228519" y="934716"/>
                  <a:pt x="2226242" y="929705"/>
                  <a:pt x="2221914" y="926972"/>
                </a:cubicBezTo>
                <a:cubicBezTo>
                  <a:pt x="2219750" y="925606"/>
                  <a:pt x="2217074" y="924808"/>
                  <a:pt x="2213914" y="924922"/>
                </a:cubicBezTo>
                <a:close/>
                <a:moveTo>
                  <a:pt x="2526160" y="924808"/>
                </a:moveTo>
                <a:cubicBezTo>
                  <a:pt x="2523598" y="924352"/>
                  <a:pt x="2520979" y="924694"/>
                  <a:pt x="2518245" y="926516"/>
                </a:cubicBezTo>
                <a:cubicBezTo>
                  <a:pt x="2527356" y="942916"/>
                  <a:pt x="2547400" y="952026"/>
                  <a:pt x="2565621" y="946560"/>
                </a:cubicBezTo>
                <a:cubicBezTo>
                  <a:pt x="2560155" y="937450"/>
                  <a:pt x="2547400" y="942916"/>
                  <a:pt x="2549222" y="931983"/>
                </a:cubicBezTo>
                <a:cubicBezTo>
                  <a:pt x="2541023" y="934717"/>
                  <a:pt x="2533848" y="926175"/>
                  <a:pt x="2526160" y="924808"/>
                </a:cubicBezTo>
                <a:close/>
                <a:moveTo>
                  <a:pt x="3219782" y="924695"/>
                </a:moveTo>
                <a:cubicBezTo>
                  <a:pt x="3212493" y="930160"/>
                  <a:pt x="3199738" y="930160"/>
                  <a:pt x="3201560" y="941094"/>
                </a:cubicBezTo>
                <a:cubicBezTo>
                  <a:pt x="3203382" y="942916"/>
                  <a:pt x="3205204" y="942916"/>
                  <a:pt x="3207027" y="942916"/>
                </a:cubicBezTo>
                <a:cubicBezTo>
                  <a:pt x="3203382" y="948383"/>
                  <a:pt x="3196093" y="946560"/>
                  <a:pt x="3192449" y="950204"/>
                </a:cubicBezTo>
                <a:cubicBezTo>
                  <a:pt x="3192449" y="952026"/>
                  <a:pt x="3194271" y="957494"/>
                  <a:pt x="3190627" y="959316"/>
                </a:cubicBezTo>
                <a:cubicBezTo>
                  <a:pt x="3186982" y="961138"/>
                  <a:pt x="3186982" y="957494"/>
                  <a:pt x="3185160" y="957494"/>
                </a:cubicBezTo>
                <a:cubicBezTo>
                  <a:pt x="3172405" y="964782"/>
                  <a:pt x="3172405" y="979360"/>
                  <a:pt x="3174227" y="992115"/>
                </a:cubicBezTo>
                <a:cubicBezTo>
                  <a:pt x="3176050" y="993937"/>
                  <a:pt x="3168761" y="992115"/>
                  <a:pt x="3168761" y="993937"/>
                </a:cubicBezTo>
                <a:cubicBezTo>
                  <a:pt x="3170583" y="1003047"/>
                  <a:pt x="3177872" y="1004870"/>
                  <a:pt x="3185160" y="1004870"/>
                </a:cubicBezTo>
                <a:cubicBezTo>
                  <a:pt x="3188805" y="1003047"/>
                  <a:pt x="3190627" y="1001226"/>
                  <a:pt x="3192449" y="999403"/>
                </a:cubicBezTo>
                <a:cubicBezTo>
                  <a:pt x="3192449" y="995759"/>
                  <a:pt x="3190627" y="993937"/>
                  <a:pt x="3190627" y="992115"/>
                </a:cubicBezTo>
                <a:cubicBezTo>
                  <a:pt x="3205204" y="979360"/>
                  <a:pt x="3219782" y="961138"/>
                  <a:pt x="3228893" y="942916"/>
                </a:cubicBezTo>
                <a:cubicBezTo>
                  <a:pt x="3230715" y="939272"/>
                  <a:pt x="3239826" y="939272"/>
                  <a:pt x="3241648" y="930160"/>
                </a:cubicBezTo>
                <a:cubicBezTo>
                  <a:pt x="3236181" y="931983"/>
                  <a:pt x="3232537" y="926516"/>
                  <a:pt x="3227071" y="928339"/>
                </a:cubicBezTo>
                <a:cubicBezTo>
                  <a:pt x="3228893" y="931983"/>
                  <a:pt x="3227071" y="931983"/>
                  <a:pt x="3227071" y="935628"/>
                </a:cubicBezTo>
                <a:cubicBezTo>
                  <a:pt x="3221604" y="935628"/>
                  <a:pt x="3225248" y="926516"/>
                  <a:pt x="3219782" y="924695"/>
                </a:cubicBezTo>
                <a:close/>
                <a:moveTo>
                  <a:pt x="2725973" y="924695"/>
                </a:moveTo>
                <a:cubicBezTo>
                  <a:pt x="2724151" y="925605"/>
                  <a:pt x="2724606" y="926972"/>
                  <a:pt x="2725745" y="928339"/>
                </a:cubicBezTo>
                <a:lnTo>
                  <a:pt x="2729303" y="931687"/>
                </a:lnTo>
                <a:lnTo>
                  <a:pt x="2729389" y="931983"/>
                </a:lnTo>
                <a:cubicBezTo>
                  <a:pt x="2730528" y="933350"/>
                  <a:pt x="2731439" y="933805"/>
                  <a:pt x="2729617" y="931983"/>
                </a:cubicBezTo>
                <a:lnTo>
                  <a:pt x="2729303" y="931687"/>
                </a:lnTo>
                <a:lnTo>
                  <a:pt x="2727795" y="926516"/>
                </a:lnTo>
                <a:cubicBezTo>
                  <a:pt x="2727795" y="926516"/>
                  <a:pt x="2725973" y="926516"/>
                  <a:pt x="2725973" y="924695"/>
                </a:cubicBezTo>
                <a:close/>
                <a:moveTo>
                  <a:pt x="2469046" y="924695"/>
                </a:moveTo>
                <a:cubicBezTo>
                  <a:pt x="2465402" y="930160"/>
                  <a:pt x="2467224" y="928339"/>
                  <a:pt x="2461757" y="928339"/>
                </a:cubicBezTo>
                <a:cubicBezTo>
                  <a:pt x="2461757" y="935628"/>
                  <a:pt x="2467224" y="937450"/>
                  <a:pt x="2470868" y="939272"/>
                </a:cubicBezTo>
                <a:cubicBezTo>
                  <a:pt x="2469046" y="933804"/>
                  <a:pt x="2470868" y="930160"/>
                  <a:pt x="2469046" y="924695"/>
                </a:cubicBezTo>
                <a:close/>
                <a:moveTo>
                  <a:pt x="1344765" y="924695"/>
                </a:moveTo>
                <a:cubicBezTo>
                  <a:pt x="1342942" y="926516"/>
                  <a:pt x="1341120" y="926516"/>
                  <a:pt x="1339299" y="926516"/>
                </a:cubicBezTo>
                <a:cubicBezTo>
                  <a:pt x="1337476" y="931983"/>
                  <a:pt x="1328365" y="937450"/>
                  <a:pt x="1326543" y="944738"/>
                </a:cubicBezTo>
                <a:cubicBezTo>
                  <a:pt x="1330188" y="946560"/>
                  <a:pt x="1333832" y="939272"/>
                  <a:pt x="1335654" y="937450"/>
                </a:cubicBezTo>
                <a:cubicBezTo>
                  <a:pt x="1335654" y="939272"/>
                  <a:pt x="1333832" y="941094"/>
                  <a:pt x="1332009" y="942916"/>
                </a:cubicBezTo>
                <a:cubicBezTo>
                  <a:pt x="1335654" y="944738"/>
                  <a:pt x="1341120" y="941094"/>
                  <a:pt x="1341120" y="937450"/>
                </a:cubicBezTo>
                <a:cubicBezTo>
                  <a:pt x="1341120" y="935628"/>
                  <a:pt x="1339299" y="937450"/>
                  <a:pt x="1339299" y="937450"/>
                </a:cubicBezTo>
                <a:cubicBezTo>
                  <a:pt x="1337476" y="935628"/>
                  <a:pt x="1341120" y="937450"/>
                  <a:pt x="1341120" y="935628"/>
                </a:cubicBezTo>
                <a:cubicBezTo>
                  <a:pt x="1341120" y="933804"/>
                  <a:pt x="1341120" y="931983"/>
                  <a:pt x="1339299" y="930160"/>
                </a:cubicBezTo>
                <a:cubicBezTo>
                  <a:pt x="1339299" y="930160"/>
                  <a:pt x="1341120" y="931983"/>
                  <a:pt x="1341120" y="931983"/>
                </a:cubicBezTo>
                <a:cubicBezTo>
                  <a:pt x="1342942" y="928339"/>
                  <a:pt x="1342942" y="926516"/>
                  <a:pt x="1344765" y="924695"/>
                </a:cubicBezTo>
                <a:close/>
                <a:moveTo>
                  <a:pt x="1335654" y="924695"/>
                </a:moveTo>
                <a:cubicBezTo>
                  <a:pt x="1332009" y="921049"/>
                  <a:pt x="1326543" y="928339"/>
                  <a:pt x="1330188" y="930160"/>
                </a:cubicBezTo>
                <a:cubicBezTo>
                  <a:pt x="1333832" y="930160"/>
                  <a:pt x="1333832" y="926516"/>
                  <a:pt x="1335654" y="924695"/>
                </a:cubicBezTo>
                <a:close/>
                <a:moveTo>
                  <a:pt x="1239080" y="924695"/>
                </a:moveTo>
                <a:cubicBezTo>
                  <a:pt x="1237256" y="922872"/>
                  <a:pt x="1237256" y="926516"/>
                  <a:pt x="1235434" y="926516"/>
                </a:cubicBezTo>
                <a:cubicBezTo>
                  <a:pt x="1237256" y="930160"/>
                  <a:pt x="1237256" y="926516"/>
                  <a:pt x="1239080" y="924695"/>
                </a:cubicBezTo>
                <a:close/>
                <a:moveTo>
                  <a:pt x="867355" y="924695"/>
                </a:moveTo>
                <a:cubicBezTo>
                  <a:pt x="865533" y="926516"/>
                  <a:pt x="865533" y="928339"/>
                  <a:pt x="863711" y="930160"/>
                </a:cubicBezTo>
                <a:cubicBezTo>
                  <a:pt x="865533" y="931983"/>
                  <a:pt x="867355" y="935628"/>
                  <a:pt x="869177" y="935628"/>
                </a:cubicBezTo>
                <a:cubicBezTo>
                  <a:pt x="871000" y="933804"/>
                  <a:pt x="869177" y="933804"/>
                  <a:pt x="867355" y="931983"/>
                </a:cubicBezTo>
                <a:cubicBezTo>
                  <a:pt x="869177" y="930160"/>
                  <a:pt x="871000" y="933804"/>
                  <a:pt x="872822" y="933804"/>
                </a:cubicBezTo>
                <a:cubicBezTo>
                  <a:pt x="872822" y="935628"/>
                  <a:pt x="871000" y="939272"/>
                  <a:pt x="874644" y="941094"/>
                </a:cubicBezTo>
                <a:cubicBezTo>
                  <a:pt x="876466" y="939272"/>
                  <a:pt x="876466" y="941094"/>
                  <a:pt x="878288" y="939272"/>
                </a:cubicBezTo>
                <a:cubicBezTo>
                  <a:pt x="878288" y="937450"/>
                  <a:pt x="874644" y="933804"/>
                  <a:pt x="876466" y="930160"/>
                </a:cubicBezTo>
                <a:cubicBezTo>
                  <a:pt x="872822" y="930160"/>
                  <a:pt x="869177" y="928339"/>
                  <a:pt x="867355" y="924695"/>
                </a:cubicBezTo>
                <a:close/>
                <a:moveTo>
                  <a:pt x="665094" y="924695"/>
                </a:moveTo>
                <a:cubicBezTo>
                  <a:pt x="663272" y="928339"/>
                  <a:pt x="657805" y="926516"/>
                  <a:pt x="654161" y="930160"/>
                </a:cubicBezTo>
                <a:cubicBezTo>
                  <a:pt x="654161" y="930160"/>
                  <a:pt x="668738" y="928339"/>
                  <a:pt x="665094" y="924695"/>
                </a:cubicBezTo>
                <a:close/>
                <a:moveTo>
                  <a:pt x="373546" y="924695"/>
                </a:moveTo>
                <a:cubicBezTo>
                  <a:pt x="368079" y="935628"/>
                  <a:pt x="382657" y="931983"/>
                  <a:pt x="388123" y="937450"/>
                </a:cubicBezTo>
                <a:cubicBezTo>
                  <a:pt x="384479" y="930160"/>
                  <a:pt x="379012" y="928339"/>
                  <a:pt x="373546" y="924695"/>
                </a:cubicBezTo>
                <a:close/>
                <a:moveTo>
                  <a:pt x="2279250" y="924622"/>
                </a:moveTo>
                <a:lnTo>
                  <a:pt x="2279540" y="924695"/>
                </a:lnTo>
                <a:lnTo>
                  <a:pt x="2279412" y="925047"/>
                </a:lnTo>
                <a:close/>
                <a:moveTo>
                  <a:pt x="1376653" y="924239"/>
                </a:moveTo>
                <a:cubicBezTo>
                  <a:pt x="1377564" y="924239"/>
                  <a:pt x="1378475" y="924695"/>
                  <a:pt x="1379386" y="924695"/>
                </a:cubicBezTo>
                <a:lnTo>
                  <a:pt x="1375965" y="924813"/>
                </a:lnTo>
                <a:close/>
                <a:moveTo>
                  <a:pt x="651427" y="923555"/>
                </a:moveTo>
                <a:cubicBezTo>
                  <a:pt x="649606" y="924239"/>
                  <a:pt x="647783" y="925605"/>
                  <a:pt x="646872" y="926516"/>
                </a:cubicBezTo>
                <a:cubicBezTo>
                  <a:pt x="650516" y="928339"/>
                  <a:pt x="652339" y="926516"/>
                  <a:pt x="655983" y="924695"/>
                </a:cubicBezTo>
                <a:cubicBezTo>
                  <a:pt x="655072" y="922872"/>
                  <a:pt x="653250" y="922872"/>
                  <a:pt x="651427" y="923555"/>
                </a:cubicBezTo>
                <a:close/>
                <a:moveTo>
                  <a:pt x="3343690" y="922872"/>
                </a:moveTo>
                <a:cubicBezTo>
                  <a:pt x="3341867" y="924695"/>
                  <a:pt x="3338223" y="926516"/>
                  <a:pt x="3338223" y="930160"/>
                </a:cubicBezTo>
                <a:cubicBezTo>
                  <a:pt x="3340045" y="930160"/>
                  <a:pt x="3341867" y="930160"/>
                  <a:pt x="3341867" y="931983"/>
                </a:cubicBezTo>
                <a:cubicBezTo>
                  <a:pt x="3345512" y="931983"/>
                  <a:pt x="3347334" y="926516"/>
                  <a:pt x="3343690" y="922872"/>
                </a:cubicBezTo>
                <a:close/>
                <a:moveTo>
                  <a:pt x="1293744" y="922872"/>
                </a:moveTo>
                <a:cubicBezTo>
                  <a:pt x="1282811" y="919227"/>
                  <a:pt x="1279166" y="930160"/>
                  <a:pt x="1270056" y="933804"/>
                </a:cubicBezTo>
                <a:cubicBezTo>
                  <a:pt x="1270056" y="935628"/>
                  <a:pt x="1270056" y="935628"/>
                  <a:pt x="1271878" y="937450"/>
                </a:cubicBezTo>
                <a:cubicBezTo>
                  <a:pt x="1279166" y="935628"/>
                  <a:pt x="1286455" y="928339"/>
                  <a:pt x="1293744" y="922872"/>
                </a:cubicBezTo>
                <a:close/>
                <a:moveTo>
                  <a:pt x="481054" y="922872"/>
                </a:moveTo>
                <a:cubicBezTo>
                  <a:pt x="484700" y="928339"/>
                  <a:pt x="488343" y="924695"/>
                  <a:pt x="491987" y="928339"/>
                </a:cubicBezTo>
                <a:cubicBezTo>
                  <a:pt x="488343" y="930160"/>
                  <a:pt x="481054" y="928339"/>
                  <a:pt x="481054" y="922872"/>
                </a:cubicBezTo>
                <a:close/>
                <a:moveTo>
                  <a:pt x="477410" y="922872"/>
                </a:moveTo>
                <a:cubicBezTo>
                  <a:pt x="477410" y="928339"/>
                  <a:pt x="479232" y="930160"/>
                  <a:pt x="479232" y="930160"/>
                </a:cubicBezTo>
                <a:cubicBezTo>
                  <a:pt x="479232" y="931982"/>
                  <a:pt x="479232" y="934260"/>
                  <a:pt x="480371" y="935627"/>
                </a:cubicBezTo>
                <a:lnTo>
                  <a:pt x="487350" y="935628"/>
                </a:lnTo>
                <a:lnTo>
                  <a:pt x="487433" y="935855"/>
                </a:lnTo>
                <a:cubicBezTo>
                  <a:pt x="489255" y="937905"/>
                  <a:pt x="491988" y="939272"/>
                  <a:pt x="495632" y="939272"/>
                </a:cubicBezTo>
                <a:cubicBezTo>
                  <a:pt x="495632" y="935628"/>
                  <a:pt x="490165" y="933804"/>
                  <a:pt x="490165" y="931983"/>
                </a:cubicBezTo>
                <a:cubicBezTo>
                  <a:pt x="491987" y="931983"/>
                  <a:pt x="493809" y="933804"/>
                  <a:pt x="497454" y="931983"/>
                </a:cubicBezTo>
                <a:cubicBezTo>
                  <a:pt x="493809" y="928339"/>
                  <a:pt x="488343" y="930160"/>
                  <a:pt x="484700" y="928339"/>
                </a:cubicBezTo>
                <a:lnTo>
                  <a:pt x="486522" y="933351"/>
                </a:lnTo>
                <a:lnTo>
                  <a:pt x="484699" y="931072"/>
                </a:lnTo>
                <a:cubicBezTo>
                  <a:pt x="484243" y="929705"/>
                  <a:pt x="483788" y="928338"/>
                  <a:pt x="481054" y="926516"/>
                </a:cubicBezTo>
                <a:cubicBezTo>
                  <a:pt x="481054" y="926516"/>
                  <a:pt x="481054" y="924695"/>
                  <a:pt x="481054" y="924695"/>
                </a:cubicBezTo>
                <a:cubicBezTo>
                  <a:pt x="479232" y="922872"/>
                  <a:pt x="479232" y="924695"/>
                  <a:pt x="477410" y="922872"/>
                </a:cubicBezTo>
                <a:close/>
                <a:moveTo>
                  <a:pt x="457367" y="922872"/>
                </a:moveTo>
                <a:cubicBezTo>
                  <a:pt x="455544" y="924695"/>
                  <a:pt x="453722" y="924695"/>
                  <a:pt x="453722" y="924695"/>
                </a:cubicBezTo>
                <a:cubicBezTo>
                  <a:pt x="453722" y="926516"/>
                  <a:pt x="453722" y="928339"/>
                  <a:pt x="455544" y="930160"/>
                </a:cubicBezTo>
                <a:cubicBezTo>
                  <a:pt x="455544" y="926516"/>
                  <a:pt x="462832" y="926516"/>
                  <a:pt x="457367" y="922872"/>
                </a:cubicBezTo>
                <a:close/>
                <a:moveTo>
                  <a:pt x="433678" y="922872"/>
                </a:moveTo>
                <a:cubicBezTo>
                  <a:pt x="433678" y="926516"/>
                  <a:pt x="440966" y="930160"/>
                  <a:pt x="442789" y="928339"/>
                </a:cubicBezTo>
                <a:cubicBezTo>
                  <a:pt x="440966" y="924695"/>
                  <a:pt x="437322" y="924695"/>
                  <a:pt x="433678" y="922872"/>
                </a:cubicBezTo>
                <a:close/>
                <a:moveTo>
                  <a:pt x="426389" y="922872"/>
                </a:moveTo>
                <a:cubicBezTo>
                  <a:pt x="426389" y="924695"/>
                  <a:pt x="431856" y="928339"/>
                  <a:pt x="431856" y="924695"/>
                </a:cubicBezTo>
                <a:cubicBezTo>
                  <a:pt x="430034" y="924695"/>
                  <a:pt x="428211" y="922872"/>
                  <a:pt x="426389" y="922872"/>
                </a:cubicBezTo>
                <a:close/>
                <a:moveTo>
                  <a:pt x="311592" y="922872"/>
                </a:moveTo>
                <a:cubicBezTo>
                  <a:pt x="309771" y="928339"/>
                  <a:pt x="318882" y="928339"/>
                  <a:pt x="320703" y="930160"/>
                </a:cubicBezTo>
                <a:cubicBezTo>
                  <a:pt x="320703" y="928339"/>
                  <a:pt x="313414" y="924695"/>
                  <a:pt x="311592" y="922872"/>
                </a:cubicBezTo>
                <a:close/>
                <a:moveTo>
                  <a:pt x="2213942" y="921049"/>
                </a:moveTo>
                <a:cubicBezTo>
                  <a:pt x="2212120" y="926516"/>
                  <a:pt x="2219408" y="926516"/>
                  <a:pt x="2219408" y="921049"/>
                </a:cubicBezTo>
                <a:cubicBezTo>
                  <a:pt x="2217586" y="921049"/>
                  <a:pt x="2215764" y="921049"/>
                  <a:pt x="2213942" y="921049"/>
                </a:cubicBezTo>
                <a:close/>
                <a:moveTo>
                  <a:pt x="1051395" y="921049"/>
                </a:moveTo>
                <a:cubicBezTo>
                  <a:pt x="1040462" y="919227"/>
                  <a:pt x="1044106" y="935628"/>
                  <a:pt x="1036818" y="941094"/>
                </a:cubicBezTo>
                <a:cubicBezTo>
                  <a:pt x="1040462" y="942916"/>
                  <a:pt x="1044106" y="941094"/>
                  <a:pt x="1047750" y="939272"/>
                </a:cubicBezTo>
                <a:cubicBezTo>
                  <a:pt x="1051395" y="933804"/>
                  <a:pt x="1049573" y="926516"/>
                  <a:pt x="1051395" y="921049"/>
                </a:cubicBezTo>
                <a:close/>
                <a:moveTo>
                  <a:pt x="878288" y="921049"/>
                </a:moveTo>
                <a:cubicBezTo>
                  <a:pt x="878288" y="921049"/>
                  <a:pt x="876466" y="921049"/>
                  <a:pt x="874644" y="922872"/>
                </a:cubicBezTo>
                <a:cubicBezTo>
                  <a:pt x="878288" y="926516"/>
                  <a:pt x="881933" y="928339"/>
                  <a:pt x="883755" y="930160"/>
                </a:cubicBezTo>
                <a:cubicBezTo>
                  <a:pt x="883755" y="926516"/>
                  <a:pt x="880111" y="922872"/>
                  <a:pt x="878288" y="921049"/>
                </a:cubicBezTo>
                <a:close/>
                <a:moveTo>
                  <a:pt x="635939" y="921049"/>
                </a:moveTo>
                <a:lnTo>
                  <a:pt x="635494" y="924728"/>
                </a:lnTo>
                <a:lnTo>
                  <a:pt x="623867" y="925605"/>
                </a:lnTo>
                <a:cubicBezTo>
                  <a:pt x="619995" y="926517"/>
                  <a:pt x="616806" y="928339"/>
                  <a:pt x="615895" y="931983"/>
                </a:cubicBezTo>
                <a:lnTo>
                  <a:pt x="619539" y="931983"/>
                </a:lnTo>
                <a:lnTo>
                  <a:pt x="617717" y="937450"/>
                </a:lnTo>
                <a:cubicBezTo>
                  <a:pt x="619539" y="939272"/>
                  <a:pt x="621362" y="935628"/>
                  <a:pt x="623185" y="935628"/>
                </a:cubicBezTo>
                <a:lnTo>
                  <a:pt x="619539" y="931983"/>
                </a:lnTo>
                <a:lnTo>
                  <a:pt x="629333" y="931983"/>
                </a:lnTo>
                <a:cubicBezTo>
                  <a:pt x="631725" y="931072"/>
                  <a:pt x="633832" y="929705"/>
                  <a:pt x="635113" y="927883"/>
                </a:cubicBezTo>
                <a:lnTo>
                  <a:pt x="635494" y="924728"/>
                </a:lnTo>
                <a:lnTo>
                  <a:pt x="635939" y="924695"/>
                </a:lnTo>
                <a:cubicBezTo>
                  <a:pt x="635939" y="924695"/>
                  <a:pt x="635939" y="921049"/>
                  <a:pt x="635939" y="921049"/>
                </a:cubicBezTo>
                <a:close/>
                <a:moveTo>
                  <a:pt x="3239826" y="919227"/>
                </a:moveTo>
                <a:cubicBezTo>
                  <a:pt x="3238003" y="921049"/>
                  <a:pt x="3239826" y="926516"/>
                  <a:pt x="3239826" y="928339"/>
                </a:cubicBezTo>
                <a:cubicBezTo>
                  <a:pt x="3248937" y="928339"/>
                  <a:pt x="3243470" y="921049"/>
                  <a:pt x="3239826" y="919227"/>
                </a:cubicBezTo>
                <a:close/>
                <a:moveTo>
                  <a:pt x="2321450" y="919227"/>
                </a:moveTo>
                <a:cubicBezTo>
                  <a:pt x="2319628" y="922872"/>
                  <a:pt x="2328739" y="924695"/>
                  <a:pt x="2323272" y="928339"/>
                </a:cubicBezTo>
                <a:cubicBezTo>
                  <a:pt x="2321450" y="926516"/>
                  <a:pt x="2319628" y="926516"/>
                  <a:pt x="2319628" y="928339"/>
                </a:cubicBezTo>
                <a:cubicBezTo>
                  <a:pt x="2323272" y="937450"/>
                  <a:pt x="2323272" y="941094"/>
                  <a:pt x="2332383" y="941094"/>
                </a:cubicBezTo>
                <a:cubicBezTo>
                  <a:pt x="2328739" y="935628"/>
                  <a:pt x="2330561" y="921049"/>
                  <a:pt x="2321450" y="919227"/>
                </a:cubicBezTo>
                <a:close/>
                <a:moveTo>
                  <a:pt x="2168387" y="919227"/>
                </a:moveTo>
                <a:cubicBezTo>
                  <a:pt x="2164743" y="921049"/>
                  <a:pt x="2166565" y="924695"/>
                  <a:pt x="2164743" y="930160"/>
                </a:cubicBezTo>
                <a:cubicBezTo>
                  <a:pt x="2166565" y="928339"/>
                  <a:pt x="2173854" y="931983"/>
                  <a:pt x="2172032" y="924695"/>
                </a:cubicBezTo>
                <a:cubicBezTo>
                  <a:pt x="2172032" y="924695"/>
                  <a:pt x="2170210" y="924695"/>
                  <a:pt x="2170210" y="926516"/>
                </a:cubicBezTo>
                <a:cubicBezTo>
                  <a:pt x="2168387" y="924695"/>
                  <a:pt x="2168387" y="921049"/>
                  <a:pt x="2168387" y="919227"/>
                </a:cubicBezTo>
                <a:close/>
                <a:moveTo>
                  <a:pt x="1228146" y="919227"/>
                </a:moveTo>
                <a:cubicBezTo>
                  <a:pt x="1224501" y="924695"/>
                  <a:pt x="1211747" y="924695"/>
                  <a:pt x="1217213" y="930160"/>
                </a:cubicBezTo>
                <a:cubicBezTo>
                  <a:pt x="1224501" y="933804"/>
                  <a:pt x="1240901" y="926516"/>
                  <a:pt x="1228146" y="919227"/>
                </a:cubicBezTo>
                <a:close/>
                <a:moveTo>
                  <a:pt x="1124282" y="919227"/>
                </a:moveTo>
                <a:lnTo>
                  <a:pt x="1122699" y="927140"/>
                </a:lnTo>
                <a:lnTo>
                  <a:pt x="1121932" y="927546"/>
                </a:lnTo>
                <a:lnTo>
                  <a:pt x="1118815" y="922872"/>
                </a:lnTo>
                <a:cubicBezTo>
                  <a:pt x="1120637" y="922872"/>
                  <a:pt x="1122459" y="922872"/>
                  <a:pt x="1120637" y="921049"/>
                </a:cubicBezTo>
                <a:cubicBezTo>
                  <a:pt x="1115171" y="924695"/>
                  <a:pt x="1100593" y="930160"/>
                  <a:pt x="1095127" y="935628"/>
                </a:cubicBezTo>
                <a:cubicBezTo>
                  <a:pt x="1093305" y="935628"/>
                  <a:pt x="1089660" y="935628"/>
                  <a:pt x="1086016" y="928339"/>
                </a:cubicBezTo>
                <a:lnTo>
                  <a:pt x="1080711" y="932506"/>
                </a:lnTo>
                <a:lnTo>
                  <a:pt x="1081005" y="930160"/>
                </a:lnTo>
                <a:cubicBezTo>
                  <a:pt x="1081005" y="928794"/>
                  <a:pt x="1080549" y="927428"/>
                  <a:pt x="1078727" y="926516"/>
                </a:cubicBezTo>
                <a:cubicBezTo>
                  <a:pt x="1080549" y="928339"/>
                  <a:pt x="1080549" y="926516"/>
                  <a:pt x="1080549" y="924695"/>
                </a:cubicBezTo>
                <a:cubicBezTo>
                  <a:pt x="1075083" y="924695"/>
                  <a:pt x="1069616" y="930160"/>
                  <a:pt x="1065972" y="933804"/>
                </a:cubicBezTo>
                <a:cubicBezTo>
                  <a:pt x="1069616" y="935628"/>
                  <a:pt x="1073262" y="935628"/>
                  <a:pt x="1076905" y="933804"/>
                </a:cubicBezTo>
                <a:cubicBezTo>
                  <a:pt x="1076905" y="931983"/>
                  <a:pt x="1076905" y="930160"/>
                  <a:pt x="1075083" y="928339"/>
                </a:cubicBezTo>
                <a:cubicBezTo>
                  <a:pt x="1077816" y="928339"/>
                  <a:pt x="1078271" y="929705"/>
                  <a:pt x="1078499" y="931072"/>
                </a:cubicBezTo>
                <a:lnTo>
                  <a:pt x="1079996" y="933068"/>
                </a:lnTo>
                <a:lnTo>
                  <a:pt x="1079638" y="933350"/>
                </a:lnTo>
                <a:cubicBezTo>
                  <a:pt x="1078727" y="935627"/>
                  <a:pt x="1078727" y="938361"/>
                  <a:pt x="1078727" y="941094"/>
                </a:cubicBezTo>
                <a:cubicBezTo>
                  <a:pt x="1084194" y="941094"/>
                  <a:pt x="1093305" y="942916"/>
                  <a:pt x="1100593" y="941094"/>
                </a:cubicBezTo>
                <a:cubicBezTo>
                  <a:pt x="1106060" y="939272"/>
                  <a:pt x="1111526" y="933804"/>
                  <a:pt x="1116993" y="930160"/>
                </a:cubicBezTo>
                <a:lnTo>
                  <a:pt x="1121932" y="927546"/>
                </a:lnTo>
                <a:lnTo>
                  <a:pt x="1122459" y="928339"/>
                </a:lnTo>
                <a:lnTo>
                  <a:pt x="1122699" y="927140"/>
                </a:lnTo>
                <a:lnTo>
                  <a:pt x="1124737" y="926061"/>
                </a:lnTo>
                <a:cubicBezTo>
                  <a:pt x="1126559" y="924239"/>
                  <a:pt x="1127015" y="921961"/>
                  <a:pt x="1124282" y="919227"/>
                </a:cubicBezTo>
                <a:close/>
                <a:moveTo>
                  <a:pt x="701537" y="919227"/>
                </a:moveTo>
                <a:cubicBezTo>
                  <a:pt x="697893" y="922872"/>
                  <a:pt x="696071" y="922872"/>
                  <a:pt x="692426" y="924695"/>
                </a:cubicBezTo>
                <a:cubicBezTo>
                  <a:pt x="699715" y="930160"/>
                  <a:pt x="696071" y="937450"/>
                  <a:pt x="692426" y="942916"/>
                </a:cubicBezTo>
                <a:cubicBezTo>
                  <a:pt x="701537" y="939272"/>
                  <a:pt x="710648" y="931983"/>
                  <a:pt x="712470" y="922872"/>
                </a:cubicBezTo>
                <a:cubicBezTo>
                  <a:pt x="712470" y="919227"/>
                  <a:pt x="705182" y="924695"/>
                  <a:pt x="701537" y="919227"/>
                </a:cubicBezTo>
                <a:close/>
                <a:moveTo>
                  <a:pt x="608606" y="919227"/>
                </a:moveTo>
                <a:cubicBezTo>
                  <a:pt x="606784" y="921049"/>
                  <a:pt x="606784" y="919227"/>
                  <a:pt x="604963" y="921049"/>
                </a:cubicBezTo>
                <a:cubicBezTo>
                  <a:pt x="606784" y="922872"/>
                  <a:pt x="610429" y="924695"/>
                  <a:pt x="608606" y="919227"/>
                </a:cubicBezTo>
                <a:close/>
                <a:moveTo>
                  <a:pt x="499276" y="919227"/>
                </a:moveTo>
                <a:cubicBezTo>
                  <a:pt x="495632" y="921049"/>
                  <a:pt x="497454" y="921049"/>
                  <a:pt x="495632" y="921049"/>
                </a:cubicBezTo>
                <a:cubicBezTo>
                  <a:pt x="495632" y="921049"/>
                  <a:pt x="499276" y="921049"/>
                  <a:pt x="501098" y="922872"/>
                </a:cubicBezTo>
                <a:cubicBezTo>
                  <a:pt x="502920" y="921049"/>
                  <a:pt x="501098" y="921049"/>
                  <a:pt x="499276" y="919227"/>
                </a:cubicBezTo>
                <a:close/>
                <a:moveTo>
                  <a:pt x="300660" y="919227"/>
                </a:moveTo>
                <a:cubicBezTo>
                  <a:pt x="297015" y="924695"/>
                  <a:pt x="307948" y="928339"/>
                  <a:pt x="306126" y="931983"/>
                </a:cubicBezTo>
                <a:cubicBezTo>
                  <a:pt x="307948" y="930160"/>
                  <a:pt x="302481" y="926516"/>
                  <a:pt x="304303" y="922872"/>
                </a:cubicBezTo>
                <a:cubicBezTo>
                  <a:pt x="302481" y="921049"/>
                  <a:pt x="302481" y="919227"/>
                  <a:pt x="300660" y="919227"/>
                </a:cubicBezTo>
                <a:close/>
                <a:moveTo>
                  <a:pt x="2618009" y="918544"/>
                </a:moveTo>
                <a:cubicBezTo>
                  <a:pt x="2615731" y="918772"/>
                  <a:pt x="2613909" y="920139"/>
                  <a:pt x="2614820" y="922872"/>
                </a:cubicBezTo>
                <a:cubicBezTo>
                  <a:pt x="2618464" y="922872"/>
                  <a:pt x="2620287" y="922872"/>
                  <a:pt x="2623931" y="921049"/>
                </a:cubicBezTo>
                <a:cubicBezTo>
                  <a:pt x="2623020" y="919227"/>
                  <a:pt x="2620287" y="918317"/>
                  <a:pt x="2618009" y="918544"/>
                </a:cubicBezTo>
                <a:close/>
                <a:moveTo>
                  <a:pt x="3365556" y="918129"/>
                </a:moveTo>
                <a:lnTo>
                  <a:pt x="3365556" y="919227"/>
                </a:lnTo>
                <a:lnTo>
                  <a:pt x="3365224" y="918229"/>
                </a:lnTo>
                <a:close/>
                <a:moveTo>
                  <a:pt x="414766" y="918046"/>
                </a:moveTo>
                <a:lnTo>
                  <a:pt x="419100" y="919227"/>
                </a:lnTo>
                <a:lnTo>
                  <a:pt x="415193" y="918401"/>
                </a:lnTo>
                <a:close/>
                <a:moveTo>
                  <a:pt x="1991636" y="917502"/>
                </a:moveTo>
                <a:lnTo>
                  <a:pt x="2006214" y="930258"/>
                </a:lnTo>
                <a:lnTo>
                  <a:pt x="1997103" y="937547"/>
                </a:lnTo>
                <a:lnTo>
                  <a:pt x="1982525" y="932081"/>
                </a:lnTo>
                <a:close/>
                <a:moveTo>
                  <a:pt x="134841" y="917447"/>
                </a:moveTo>
                <a:cubicBezTo>
                  <a:pt x="136663" y="919269"/>
                  <a:pt x="138486" y="921093"/>
                  <a:pt x="140308" y="922915"/>
                </a:cubicBezTo>
                <a:cubicBezTo>
                  <a:pt x="138486" y="921093"/>
                  <a:pt x="136663" y="921093"/>
                  <a:pt x="134841" y="919269"/>
                </a:cubicBezTo>
                <a:lnTo>
                  <a:pt x="134841" y="918055"/>
                </a:lnTo>
                <a:close/>
                <a:moveTo>
                  <a:pt x="3412932" y="917405"/>
                </a:moveTo>
                <a:cubicBezTo>
                  <a:pt x="3409288" y="919227"/>
                  <a:pt x="3407466" y="926516"/>
                  <a:pt x="3409288" y="928339"/>
                </a:cubicBezTo>
                <a:cubicBezTo>
                  <a:pt x="3412932" y="926516"/>
                  <a:pt x="3411110" y="921049"/>
                  <a:pt x="3412932" y="917405"/>
                </a:cubicBezTo>
                <a:close/>
                <a:moveTo>
                  <a:pt x="408167" y="917405"/>
                </a:moveTo>
                <a:cubicBezTo>
                  <a:pt x="408167" y="922872"/>
                  <a:pt x="409989" y="926516"/>
                  <a:pt x="415456" y="928339"/>
                </a:cubicBezTo>
                <a:cubicBezTo>
                  <a:pt x="415456" y="926516"/>
                  <a:pt x="413634" y="924695"/>
                  <a:pt x="411812" y="922872"/>
                </a:cubicBezTo>
                <a:cubicBezTo>
                  <a:pt x="415456" y="926516"/>
                  <a:pt x="419100" y="933804"/>
                  <a:pt x="424567" y="928339"/>
                </a:cubicBezTo>
                <a:cubicBezTo>
                  <a:pt x="420923" y="921049"/>
                  <a:pt x="411812" y="921049"/>
                  <a:pt x="408167" y="917405"/>
                </a:cubicBezTo>
                <a:close/>
                <a:moveTo>
                  <a:pt x="315236" y="917405"/>
                </a:moveTo>
                <a:cubicBezTo>
                  <a:pt x="324347" y="926516"/>
                  <a:pt x="331636" y="922872"/>
                  <a:pt x="338926" y="926516"/>
                </a:cubicBezTo>
                <a:cubicBezTo>
                  <a:pt x="331636" y="919227"/>
                  <a:pt x="324347" y="921049"/>
                  <a:pt x="315236" y="917405"/>
                </a:cubicBezTo>
                <a:close/>
                <a:moveTo>
                  <a:pt x="291549" y="917405"/>
                </a:moveTo>
                <a:cubicBezTo>
                  <a:pt x="291549" y="921049"/>
                  <a:pt x="291549" y="921049"/>
                  <a:pt x="289726" y="921049"/>
                </a:cubicBezTo>
                <a:cubicBezTo>
                  <a:pt x="295193" y="924695"/>
                  <a:pt x="298837" y="928339"/>
                  <a:pt x="298837" y="930160"/>
                </a:cubicBezTo>
                <a:cubicBezTo>
                  <a:pt x="302481" y="928338"/>
                  <a:pt x="301116" y="926061"/>
                  <a:pt x="298609" y="923783"/>
                </a:cubicBezTo>
                <a:lnTo>
                  <a:pt x="296129" y="921543"/>
                </a:lnTo>
                <a:close/>
                <a:moveTo>
                  <a:pt x="3359449" y="917307"/>
                </a:moveTo>
                <a:lnTo>
                  <a:pt x="3360089" y="919227"/>
                </a:lnTo>
                <a:lnTo>
                  <a:pt x="3359005" y="918714"/>
                </a:lnTo>
                <a:close/>
                <a:moveTo>
                  <a:pt x="413697" y="917154"/>
                </a:moveTo>
                <a:lnTo>
                  <a:pt x="414766" y="918046"/>
                </a:lnTo>
                <a:lnTo>
                  <a:pt x="414089" y="917861"/>
                </a:lnTo>
                <a:close/>
                <a:moveTo>
                  <a:pt x="885576" y="915638"/>
                </a:moveTo>
                <a:cubicBezTo>
                  <a:pt x="885576" y="917461"/>
                  <a:pt x="889222" y="915638"/>
                  <a:pt x="889222" y="917461"/>
                </a:cubicBezTo>
                <a:cubicBezTo>
                  <a:pt x="885576" y="919284"/>
                  <a:pt x="883754" y="917461"/>
                  <a:pt x="883754" y="917461"/>
                </a:cubicBezTo>
                <a:cubicBezTo>
                  <a:pt x="883754" y="915638"/>
                  <a:pt x="885576" y="915638"/>
                  <a:pt x="885576" y="915638"/>
                </a:cubicBezTo>
                <a:close/>
                <a:moveTo>
                  <a:pt x="1342942" y="915583"/>
                </a:moveTo>
                <a:cubicBezTo>
                  <a:pt x="1339299" y="915583"/>
                  <a:pt x="1337476" y="917405"/>
                  <a:pt x="1333832" y="921049"/>
                </a:cubicBezTo>
                <a:cubicBezTo>
                  <a:pt x="1335654" y="922872"/>
                  <a:pt x="1339299" y="921049"/>
                  <a:pt x="1337476" y="919227"/>
                </a:cubicBezTo>
                <a:cubicBezTo>
                  <a:pt x="1337476" y="921049"/>
                  <a:pt x="1339299" y="922872"/>
                  <a:pt x="1342942" y="921049"/>
                </a:cubicBezTo>
                <a:cubicBezTo>
                  <a:pt x="1344765" y="919227"/>
                  <a:pt x="1341120" y="917405"/>
                  <a:pt x="1342942" y="915583"/>
                </a:cubicBezTo>
                <a:close/>
                <a:moveTo>
                  <a:pt x="1306499" y="915583"/>
                </a:moveTo>
                <a:cubicBezTo>
                  <a:pt x="1304677" y="919227"/>
                  <a:pt x="1302855" y="926516"/>
                  <a:pt x="1297388" y="928339"/>
                </a:cubicBezTo>
                <a:lnTo>
                  <a:pt x="1297271" y="925640"/>
                </a:lnTo>
                <a:close/>
                <a:moveTo>
                  <a:pt x="736159" y="915583"/>
                </a:moveTo>
                <a:cubicBezTo>
                  <a:pt x="727048" y="913761"/>
                  <a:pt x="721581" y="915583"/>
                  <a:pt x="716115" y="921049"/>
                </a:cubicBezTo>
                <a:cubicBezTo>
                  <a:pt x="719759" y="921049"/>
                  <a:pt x="721581" y="921049"/>
                  <a:pt x="723404" y="921049"/>
                </a:cubicBezTo>
                <a:cubicBezTo>
                  <a:pt x="712470" y="924695"/>
                  <a:pt x="707004" y="935628"/>
                  <a:pt x="699715" y="944738"/>
                </a:cubicBezTo>
                <a:cubicBezTo>
                  <a:pt x="708826" y="948383"/>
                  <a:pt x="712470" y="941094"/>
                  <a:pt x="721581" y="939272"/>
                </a:cubicBezTo>
                <a:cubicBezTo>
                  <a:pt x="719759" y="933804"/>
                  <a:pt x="714293" y="933804"/>
                  <a:pt x="710648" y="935628"/>
                </a:cubicBezTo>
                <a:cubicBezTo>
                  <a:pt x="712470" y="935628"/>
                  <a:pt x="712470" y="933804"/>
                  <a:pt x="716115" y="933804"/>
                </a:cubicBezTo>
                <a:cubicBezTo>
                  <a:pt x="716115" y="933804"/>
                  <a:pt x="716115" y="931983"/>
                  <a:pt x="716115" y="931983"/>
                </a:cubicBezTo>
                <a:cubicBezTo>
                  <a:pt x="719759" y="937450"/>
                  <a:pt x="727048" y="930160"/>
                  <a:pt x="736159" y="930160"/>
                </a:cubicBezTo>
                <a:cubicBezTo>
                  <a:pt x="732515" y="924695"/>
                  <a:pt x="739803" y="921049"/>
                  <a:pt x="736159" y="917405"/>
                </a:cubicBezTo>
                <a:cubicBezTo>
                  <a:pt x="734336" y="922872"/>
                  <a:pt x="728870" y="921049"/>
                  <a:pt x="723404" y="922872"/>
                </a:cubicBezTo>
                <a:cubicBezTo>
                  <a:pt x="725226" y="921049"/>
                  <a:pt x="732515" y="919227"/>
                  <a:pt x="736159" y="915583"/>
                </a:cubicBezTo>
                <a:close/>
                <a:moveTo>
                  <a:pt x="705182" y="915583"/>
                </a:moveTo>
                <a:cubicBezTo>
                  <a:pt x="703359" y="915583"/>
                  <a:pt x="703359" y="919227"/>
                  <a:pt x="703359" y="919227"/>
                </a:cubicBezTo>
                <a:cubicBezTo>
                  <a:pt x="705182" y="922872"/>
                  <a:pt x="707004" y="919227"/>
                  <a:pt x="710648" y="917405"/>
                </a:cubicBezTo>
                <a:cubicBezTo>
                  <a:pt x="710648" y="915583"/>
                  <a:pt x="707004" y="915583"/>
                  <a:pt x="705182" y="915583"/>
                </a:cubicBezTo>
                <a:close/>
                <a:moveTo>
                  <a:pt x="701537" y="915583"/>
                </a:moveTo>
                <a:cubicBezTo>
                  <a:pt x="694249" y="915583"/>
                  <a:pt x="694249" y="917405"/>
                  <a:pt x="694249" y="921049"/>
                </a:cubicBezTo>
                <a:cubicBezTo>
                  <a:pt x="696071" y="919227"/>
                  <a:pt x="703359" y="919227"/>
                  <a:pt x="701537" y="915583"/>
                </a:cubicBezTo>
                <a:close/>
                <a:moveTo>
                  <a:pt x="628650" y="915583"/>
                </a:moveTo>
                <a:cubicBezTo>
                  <a:pt x="626828" y="915583"/>
                  <a:pt x="625006" y="917405"/>
                  <a:pt x="625006" y="919227"/>
                </a:cubicBezTo>
                <a:cubicBezTo>
                  <a:pt x="628650" y="921049"/>
                  <a:pt x="630472" y="919227"/>
                  <a:pt x="634117" y="919227"/>
                </a:cubicBezTo>
                <a:cubicBezTo>
                  <a:pt x="637761" y="917405"/>
                  <a:pt x="632296" y="915583"/>
                  <a:pt x="628650" y="915583"/>
                </a:cubicBezTo>
                <a:close/>
                <a:moveTo>
                  <a:pt x="515676" y="915583"/>
                </a:moveTo>
                <a:cubicBezTo>
                  <a:pt x="513853" y="917405"/>
                  <a:pt x="519320" y="921049"/>
                  <a:pt x="519320" y="917405"/>
                </a:cubicBezTo>
                <a:cubicBezTo>
                  <a:pt x="517498" y="915583"/>
                  <a:pt x="517498" y="917405"/>
                  <a:pt x="515676" y="915583"/>
                </a:cubicBezTo>
                <a:close/>
                <a:moveTo>
                  <a:pt x="491987" y="915583"/>
                </a:moveTo>
                <a:cubicBezTo>
                  <a:pt x="490165" y="915583"/>
                  <a:pt x="488343" y="917405"/>
                  <a:pt x="488343" y="917405"/>
                </a:cubicBezTo>
                <a:cubicBezTo>
                  <a:pt x="491987" y="922872"/>
                  <a:pt x="497454" y="915583"/>
                  <a:pt x="502920" y="917405"/>
                </a:cubicBezTo>
                <a:cubicBezTo>
                  <a:pt x="501098" y="917405"/>
                  <a:pt x="501098" y="917405"/>
                  <a:pt x="501098" y="915583"/>
                </a:cubicBezTo>
                <a:cubicBezTo>
                  <a:pt x="499276" y="917405"/>
                  <a:pt x="495632" y="917405"/>
                  <a:pt x="491987" y="915583"/>
                </a:cubicBezTo>
                <a:close/>
                <a:moveTo>
                  <a:pt x="411812" y="915583"/>
                </a:moveTo>
                <a:lnTo>
                  <a:pt x="412927" y="915770"/>
                </a:lnTo>
                <a:lnTo>
                  <a:pt x="413697" y="917154"/>
                </a:lnTo>
                <a:close/>
                <a:moveTo>
                  <a:pt x="275149" y="915583"/>
                </a:moveTo>
                <a:cubicBezTo>
                  <a:pt x="275149" y="915583"/>
                  <a:pt x="278793" y="921049"/>
                  <a:pt x="280615" y="921049"/>
                </a:cubicBezTo>
                <a:cubicBezTo>
                  <a:pt x="282438" y="919227"/>
                  <a:pt x="276971" y="915583"/>
                  <a:pt x="275149" y="915583"/>
                </a:cubicBezTo>
                <a:close/>
                <a:moveTo>
                  <a:pt x="200439" y="915583"/>
                </a:moveTo>
                <a:cubicBezTo>
                  <a:pt x="200439" y="922872"/>
                  <a:pt x="211372" y="935628"/>
                  <a:pt x="218661" y="939272"/>
                </a:cubicBezTo>
                <a:cubicBezTo>
                  <a:pt x="220483" y="939272"/>
                  <a:pt x="216839" y="937450"/>
                  <a:pt x="216839" y="935628"/>
                </a:cubicBezTo>
                <a:cubicBezTo>
                  <a:pt x="220483" y="937450"/>
                  <a:pt x="227772" y="948383"/>
                  <a:pt x="229594" y="942916"/>
                </a:cubicBezTo>
                <a:cubicBezTo>
                  <a:pt x="220483" y="931983"/>
                  <a:pt x="211372" y="922872"/>
                  <a:pt x="200439" y="915583"/>
                </a:cubicBezTo>
                <a:close/>
                <a:moveTo>
                  <a:pt x="2154682" y="914672"/>
                </a:moveTo>
                <a:lnTo>
                  <a:pt x="2155632" y="915355"/>
                </a:lnTo>
                <a:cubicBezTo>
                  <a:pt x="2156999" y="917861"/>
                  <a:pt x="2157454" y="921050"/>
                  <a:pt x="2157454" y="924695"/>
                </a:cubicBezTo>
                <a:lnTo>
                  <a:pt x="2155632" y="926517"/>
                </a:lnTo>
                <a:lnTo>
                  <a:pt x="2155632" y="922872"/>
                </a:lnTo>
                <a:lnTo>
                  <a:pt x="2153810" y="924695"/>
                </a:lnTo>
                <a:close/>
                <a:moveTo>
                  <a:pt x="3363734" y="913761"/>
                </a:moveTo>
                <a:lnTo>
                  <a:pt x="3365224" y="918229"/>
                </a:lnTo>
                <a:lnTo>
                  <a:pt x="3361911" y="919227"/>
                </a:lnTo>
                <a:lnTo>
                  <a:pt x="3360670" y="915974"/>
                </a:lnTo>
                <a:close/>
                <a:moveTo>
                  <a:pt x="3234359" y="913761"/>
                </a:moveTo>
                <a:cubicBezTo>
                  <a:pt x="3228893" y="911939"/>
                  <a:pt x="3232537" y="919227"/>
                  <a:pt x="3230715" y="919227"/>
                </a:cubicBezTo>
                <a:cubicBezTo>
                  <a:pt x="3232537" y="921049"/>
                  <a:pt x="3232537" y="919227"/>
                  <a:pt x="3232537" y="917405"/>
                </a:cubicBezTo>
                <a:cubicBezTo>
                  <a:pt x="3236181" y="917405"/>
                  <a:pt x="3234359" y="922872"/>
                  <a:pt x="3238003" y="921049"/>
                </a:cubicBezTo>
                <a:cubicBezTo>
                  <a:pt x="3236181" y="919227"/>
                  <a:pt x="3236181" y="915583"/>
                  <a:pt x="3234359" y="913761"/>
                </a:cubicBezTo>
                <a:close/>
                <a:moveTo>
                  <a:pt x="1326543" y="913761"/>
                </a:moveTo>
                <a:cubicBezTo>
                  <a:pt x="1324721" y="915583"/>
                  <a:pt x="1324721" y="917405"/>
                  <a:pt x="1324721" y="919227"/>
                </a:cubicBezTo>
                <a:cubicBezTo>
                  <a:pt x="1328365" y="921049"/>
                  <a:pt x="1330188" y="921049"/>
                  <a:pt x="1332009" y="922872"/>
                </a:cubicBezTo>
                <a:cubicBezTo>
                  <a:pt x="1337476" y="919227"/>
                  <a:pt x="1333832" y="915583"/>
                  <a:pt x="1339299" y="915583"/>
                </a:cubicBezTo>
                <a:cubicBezTo>
                  <a:pt x="1337476" y="913761"/>
                  <a:pt x="1333832" y="915583"/>
                  <a:pt x="1332009" y="913761"/>
                </a:cubicBezTo>
                <a:cubicBezTo>
                  <a:pt x="1330188" y="915583"/>
                  <a:pt x="1330188" y="917405"/>
                  <a:pt x="1330188" y="919227"/>
                </a:cubicBezTo>
                <a:cubicBezTo>
                  <a:pt x="1326543" y="917405"/>
                  <a:pt x="1330188" y="915583"/>
                  <a:pt x="1328365" y="913761"/>
                </a:cubicBezTo>
                <a:cubicBezTo>
                  <a:pt x="1328365" y="915583"/>
                  <a:pt x="1328365" y="915583"/>
                  <a:pt x="1326543" y="913761"/>
                </a:cubicBezTo>
                <a:close/>
                <a:moveTo>
                  <a:pt x="1237256" y="913761"/>
                </a:moveTo>
                <a:cubicBezTo>
                  <a:pt x="1235434" y="915583"/>
                  <a:pt x="1231790" y="917405"/>
                  <a:pt x="1231790" y="919227"/>
                </a:cubicBezTo>
                <a:cubicBezTo>
                  <a:pt x="1239080" y="924695"/>
                  <a:pt x="1240901" y="919227"/>
                  <a:pt x="1237256" y="913761"/>
                </a:cubicBezTo>
                <a:close/>
                <a:moveTo>
                  <a:pt x="881933" y="913761"/>
                </a:moveTo>
                <a:cubicBezTo>
                  <a:pt x="881933" y="915583"/>
                  <a:pt x="881933" y="915583"/>
                  <a:pt x="881933" y="917405"/>
                </a:cubicBezTo>
                <a:cubicBezTo>
                  <a:pt x="883755" y="917405"/>
                  <a:pt x="883755" y="919227"/>
                  <a:pt x="885577" y="919227"/>
                </a:cubicBezTo>
                <a:cubicBezTo>
                  <a:pt x="883755" y="919227"/>
                  <a:pt x="883755" y="919227"/>
                  <a:pt x="881933" y="919227"/>
                </a:cubicBezTo>
                <a:cubicBezTo>
                  <a:pt x="885577" y="922872"/>
                  <a:pt x="885577" y="922872"/>
                  <a:pt x="887399" y="926516"/>
                </a:cubicBezTo>
                <a:cubicBezTo>
                  <a:pt x="887399" y="924695"/>
                  <a:pt x="887399" y="922872"/>
                  <a:pt x="889222" y="921049"/>
                </a:cubicBezTo>
                <a:cubicBezTo>
                  <a:pt x="891043" y="921049"/>
                  <a:pt x="891043" y="921049"/>
                  <a:pt x="891043" y="921049"/>
                </a:cubicBezTo>
                <a:cubicBezTo>
                  <a:pt x="891043" y="921049"/>
                  <a:pt x="891043" y="922872"/>
                  <a:pt x="889222" y="922872"/>
                </a:cubicBezTo>
                <a:cubicBezTo>
                  <a:pt x="889222" y="924695"/>
                  <a:pt x="891043" y="922872"/>
                  <a:pt x="891043" y="922872"/>
                </a:cubicBezTo>
                <a:cubicBezTo>
                  <a:pt x="887399" y="930160"/>
                  <a:pt x="894688" y="937450"/>
                  <a:pt x="901976" y="942916"/>
                </a:cubicBezTo>
                <a:cubicBezTo>
                  <a:pt x="901976" y="942916"/>
                  <a:pt x="901976" y="941094"/>
                  <a:pt x="900154" y="939272"/>
                </a:cubicBezTo>
                <a:cubicBezTo>
                  <a:pt x="900154" y="939272"/>
                  <a:pt x="901976" y="941094"/>
                  <a:pt x="901976" y="941094"/>
                </a:cubicBezTo>
                <a:cubicBezTo>
                  <a:pt x="900154" y="933804"/>
                  <a:pt x="896510" y="928339"/>
                  <a:pt x="891043" y="921049"/>
                </a:cubicBezTo>
                <a:cubicBezTo>
                  <a:pt x="891043" y="921049"/>
                  <a:pt x="892866" y="921049"/>
                  <a:pt x="892866" y="921049"/>
                </a:cubicBezTo>
                <a:cubicBezTo>
                  <a:pt x="889222" y="919227"/>
                  <a:pt x="889222" y="913761"/>
                  <a:pt x="881933" y="913761"/>
                </a:cubicBezTo>
                <a:close/>
                <a:moveTo>
                  <a:pt x="266038" y="913761"/>
                </a:moveTo>
                <a:cubicBezTo>
                  <a:pt x="267860" y="924695"/>
                  <a:pt x="276971" y="928339"/>
                  <a:pt x="289726" y="931983"/>
                </a:cubicBezTo>
                <a:cubicBezTo>
                  <a:pt x="287904" y="930160"/>
                  <a:pt x="276971" y="921049"/>
                  <a:pt x="271504" y="919227"/>
                </a:cubicBezTo>
                <a:cubicBezTo>
                  <a:pt x="269682" y="915583"/>
                  <a:pt x="267860" y="917405"/>
                  <a:pt x="266038" y="913761"/>
                </a:cubicBezTo>
                <a:close/>
                <a:moveTo>
                  <a:pt x="1319254" y="911939"/>
                </a:moveTo>
                <a:cubicBezTo>
                  <a:pt x="1321077" y="913761"/>
                  <a:pt x="1321077" y="915583"/>
                  <a:pt x="1322899" y="917405"/>
                </a:cubicBezTo>
                <a:cubicBezTo>
                  <a:pt x="1326543" y="915583"/>
                  <a:pt x="1322899" y="910117"/>
                  <a:pt x="1319254" y="911939"/>
                </a:cubicBezTo>
                <a:close/>
                <a:moveTo>
                  <a:pt x="1217213" y="911939"/>
                </a:moveTo>
                <a:cubicBezTo>
                  <a:pt x="1204457" y="917405"/>
                  <a:pt x="1191703" y="917405"/>
                  <a:pt x="1178947" y="926516"/>
                </a:cubicBezTo>
                <a:cubicBezTo>
                  <a:pt x="1180769" y="926516"/>
                  <a:pt x="1182592" y="928339"/>
                  <a:pt x="1184414" y="928339"/>
                </a:cubicBezTo>
                <a:cubicBezTo>
                  <a:pt x="1188058" y="928339"/>
                  <a:pt x="1184414" y="926516"/>
                  <a:pt x="1186236" y="924695"/>
                </a:cubicBezTo>
                <a:cubicBezTo>
                  <a:pt x="1188058" y="931072"/>
                  <a:pt x="1192159" y="931528"/>
                  <a:pt x="1196941" y="930389"/>
                </a:cubicBezTo>
                <a:lnTo>
                  <a:pt x="1199751" y="929654"/>
                </a:lnTo>
                <a:lnTo>
                  <a:pt x="1198991" y="930160"/>
                </a:lnTo>
                <a:lnTo>
                  <a:pt x="1203282" y="928730"/>
                </a:lnTo>
                <a:lnTo>
                  <a:pt x="1204408" y="928435"/>
                </a:lnTo>
                <a:lnTo>
                  <a:pt x="1202636" y="931983"/>
                </a:lnTo>
                <a:cubicBezTo>
                  <a:pt x="1204457" y="935628"/>
                  <a:pt x="1213568" y="931983"/>
                  <a:pt x="1215390" y="928339"/>
                </a:cubicBezTo>
                <a:lnTo>
                  <a:pt x="1204779" y="928339"/>
                </a:lnTo>
                <a:lnTo>
                  <a:pt x="1211747" y="926516"/>
                </a:lnTo>
                <a:cubicBezTo>
                  <a:pt x="1211747" y="924695"/>
                  <a:pt x="1211747" y="924695"/>
                  <a:pt x="1211747" y="922872"/>
                </a:cubicBezTo>
                <a:cubicBezTo>
                  <a:pt x="1217213" y="924695"/>
                  <a:pt x="1220858" y="922872"/>
                  <a:pt x="1226323" y="919227"/>
                </a:cubicBezTo>
                <a:cubicBezTo>
                  <a:pt x="1222679" y="917405"/>
                  <a:pt x="1220858" y="915583"/>
                  <a:pt x="1217213" y="911939"/>
                </a:cubicBezTo>
                <a:close/>
                <a:moveTo>
                  <a:pt x="506565" y="911939"/>
                </a:moveTo>
                <a:cubicBezTo>
                  <a:pt x="506565" y="913761"/>
                  <a:pt x="512031" y="917405"/>
                  <a:pt x="512031" y="915583"/>
                </a:cubicBezTo>
                <a:cubicBezTo>
                  <a:pt x="510209" y="913761"/>
                  <a:pt x="508387" y="911939"/>
                  <a:pt x="506565" y="911939"/>
                </a:cubicBezTo>
                <a:close/>
                <a:moveTo>
                  <a:pt x="258749" y="911939"/>
                </a:moveTo>
                <a:cubicBezTo>
                  <a:pt x="266038" y="922872"/>
                  <a:pt x="273327" y="937450"/>
                  <a:pt x="287904" y="941094"/>
                </a:cubicBezTo>
                <a:cubicBezTo>
                  <a:pt x="284259" y="937450"/>
                  <a:pt x="280615" y="931983"/>
                  <a:pt x="273327" y="930160"/>
                </a:cubicBezTo>
                <a:cubicBezTo>
                  <a:pt x="275149" y="924695"/>
                  <a:pt x="260571" y="913761"/>
                  <a:pt x="258749" y="911939"/>
                </a:cubicBezTo>
                <a:close/>
                <a:moveTo>
                  <a:pt x="3251215" y="911711"/>
                </a:moveTo>
                <a:cubicBezTo>
                  <a:pt x="3248481" y="910572"/>
                  <a:pt x="3244382" y="911027"/>
                  <a:pt x="3239826" y="911939"/>
                </a:cubicBezTo>
                <a:cubicBezTo>
                  <a:pt x="3241648" y="917405"/>
                  <a:pt x="3245292" y="921049"/>
                  <a:pt x="3254403" y="921049"/>
                </a:cubicBezTo>
                <a:cubicBezTo>
                  <a:pt x="3255314" y="915583"/>
                  <a:pt x="3253948" y="912850"/>
                  <a:pt x="3251215" y="911711"/>
                </a:cubicBezTo>
                <a:close/>
                <a:moveTo>
                  <a:pt x="3376261" y="910572"/>
                </a:moveTo>
                <a:lnTo>
                  <a:pt x="3380319" y="911958"/>
                </a:lnTo>
                <a:lnTo>
                  <a:pt x="3378539" y="914217"/>
                </a:lnTo>
                <a:lnTo>
                  <a:pt x="3365556" y="918129"/>
                </a:lnTo>
                <a:lnTo>
                  <a:pt x="3365556" y="915583"/>
                </a:lnTo>
                <a:cubicBezTo>
                  <a:pt x="3368289" y="912850"/>
                  <a:pt x="3372389" y="911028"/>
                  <a:pt x="3376261" y="910572"/>
                </a:cubicBezTo>
                <a:close/>
                <a:moveTo>
                  <a:pt x="909265" y="910163"/>
                </a:moveTo>
                <a:lnTo>
                  <a:pt x="912909" y="911985"/>
                </a:lnTo>
                <a:lnTo>
                  <a:pt x="912910" y="911986"/>
                </a:lnTo>
                <a:lnTo>
                  <a:pt x="912909" y="911987"/>
                </a:lnTo>
                <a:lnTo>
                  <a:pt x="911090" y="913806"/>
                </a:lnTo>
                <a:lnTo>
                  <a:pt x="920198" y="919271"/>
                </a:lnTo>
                <a:cubicBezTo>
                  <a:pt x="920198" y="922915"/>
                  <a:pt x="918376" y="928383"/>
                  <a:pt x="918376" y="932027"/>
                </a:cubicBezTo>
                <a:cubicBezTo>
                  <a:pt x="916555" y="928383"/>
                  <a:pt x="912909" y="921093"/>
                  <a:pt x="911087" y="915626"/>
                </a:cubicBezTo>
                <a:lnTo>
                  <a:pt x="911087" y="913808"/>
                </a:lnTo>
                <a:cubicBezTo>
                  <a:pt x="911087" y="913808"/>
                  <a:pt x="909265" y="913808"/>
                  <a:pt x="909265" y="911986"/>
                </a:cubicBezTo>
                <a:cubicBezTo>
                  <a:pt x="909265" y="911986"/>
                  <a:pt x="909265" y="910163"/>
                  <a:pt x="909265" y="910163"/>
                </a:cubicBezTo>
                <a:close/>
                <a:moveTo>
                  <a:pt x="1228146" y="910117"/>
                </a:moveTo>
                <a:cubicBezTo>
                  <a:pt x="1229969" y="910117"/>
                  <a:pt x="1228146" y="911939"/>
                  <a:pt x="1229969" y="911939"/>
                </a:cubicBezTo>
                <a:cubicBezTo>
                  <a:pt x="1226323" y="913761"/>
                  <a:pt x="1228146" y="910117"/>
                  <a:pt x="1228146" y="910117"/>
                </a:cubicBezTo>
                <a:close/>
                <a:moveTo>
                  <a:pt x="1228146" y="910117"/>
                </a:moveTo>
                <a:cubicBezTo>
                  <a:pt x="1224501" y="910117"/>
                  <a:pt x="1222679" y="910117"/>
                  <a:pt x="1220858" y="911939"/>
                </a:cubicBezTo>
                <a:cubicBezTo>
                  <a:pt x="1222679" y="913761"/>
                  <a:pt x="1231790" y="921049"/>
                  <a:pt x="1229969" y="913761"/>
                </a:cubicBezTo>
                <a:cubicBezTo>
                  <a:pt x="1231790" y="911939"/>
                  <a:pt x="1229969" y="915583"/>
                  <a:pt x="1231790" y="915583"/>
                </a:cubicBezTo>
                <a:cubicBezTo>
                  <a:pt x="1233612" y="915583"/>
                  <a:pt x="1235434" y="913761"/>
                  <a:pt x="1237256" y="911939"/>
                </a:cubicBezTo>
                <a:cubicBezTo>
                  <a:pt x="1233612" y="908295"/>
                  <a:pt x="1231790" y="908295"/>
                  <a:pt x="1228146" y="910117"/>
                </a:cubicBezTo>
                <a:close/>
                <a:moveTo>
                  <a:pt x="723404" y="910117"/>
                </a:moveTo>
                <a:cubicBezTo>
                  <a:pt x="717937" y="911939"/>
                  <a:pt x="714293" y="911939"/>
                  <a:pt x="708826" y="913761"/>
                </a:cubicBezTo>
                <a:cubicBezTo>
                  <a:pt x="714293" y="917405"/>
                  <a:pt x="717937" y="911939"/>
                  <a:pt x="723404" y="910117"/>
                </a:cubicBezTo>
                <a:cubicBezTo>
                  <a:pt x="725226" y="911939"/>
                  <a:pt x="719759" y="913761"/>
                  <a:pt x="719759" y="915583"/>
                </a:cubicBezTo>
                <a:cubicBezTo>
                  <a:pt x="723404" y="915583"/>
                  <a:pt x="725226" y="913761"/>
                  <a:pt x="728870" y="913761"/>
                </a:cubicBezTo>
                <a:cubicBezTo>
                  <a:pt x="727048" y="911939"/>
                  <a:pt x="725226" y="911939"/>
                  <a:pt x="723404" y="910117"/>
                </a:cubicBezTo>
                <a:close/>
                <a:moveTo>
                  <a:pt x="362613" y="910117"/>
                </a:moveTo>
                <a:cubicBezTo>
                  <a:pt x="362613" y="913761"/>
                  <a:pt x="369902" y="917405"/>
                  <a:pt x="371724" y="917405"/>
                </a:cubicBezTo>
                <a:cubicBezTo>
                  <a:pt x="369902" y="911939"/>
                  <a:pt x="366257" y="913761"/>
                  <a:pt x="362613" y="910117"/>
                </a:cubicBezTo>
                <a:close/>
                <a:moveTo>
                  <a:pt x="1204457" y="909206"/>
                </a:moveTo>
                <a:cubicBezTo>
                  <a:pt x="1201268" y="910572"/>
                  <a:pt x="1198079" y="912850"/>
                  <a:pt x="1195346" y="913761"/>
                </a:cubicBezTo>
                <a:cubicBezTo>
                  <a:pt x="1198991" y="915583"/>
                  <a:pt x="1208102" y="911939"/>
                  <a:pt x="1213568" y="910117"/>
                </a:cubicBezTo>
                <a:cubicBezTo>
                  <a:pt x="1210835" y="907383"/>
                  <a:pt x="1207646" y="907839"/>
                  <a:pt x="1204457" y="909206"/>
                </a:cubicBezTo>
                <a:close/>
                <a:moveTo>
                  <a:pt x="487432" y="909206"/>
                </a:moveTo>
                <a:cubicBezTo>
                  <a:pt x="486065" y="908295"/>
                  <a:pt x="484698" y="908295"/>
                  <a:pt x="482876" y="910117"/>
                </a:cubicBezTo>
                <a:cubicBezTo>
                  <a:pt x="488343" y="921049"/>
                  <a:pt x="486521" y="910117"/>
                  <a:pt x="491987" y="913761"/>
                </a:cubicBezTo>
                <a:cubicBezTo>
                  <a:pt x="490165" y="911939"/>
                  <a:pt x="488798" y="910117"/>
                  <a:pt x="487432" y="909206"/>
                </a:cubicBezTo>
                <a:close/>
                <a:moveTo>
                  <a:pt x="1304677" y="908295"/>
                </a:moveTo>
                <a:cubicBezTo>
                  <a:pt x="1302855" y="911939"/>
                  <a:pt x="1301033" y="915583"/>
                  <a:pt x="1297388" y="919227"/>
                </a:cubicBezTo>
                <a:cubicBezTo>
                  <a:pt x="1299210" y="921049"/>
                  <a:pt x="1299210" y="921049"/>
                  <a:pt x="1301033" y="919227"/>
                </a:cubicBezTo>
                <a:cubicBezTo>
                  <a:pt x="1300122" y="920138"/>
                  <a:pt x="1298300" y="921505"/>
                  <a:pt x="1297161" y="923100"/>
                </a:cubicBezTo>
                <a:lnTo>
                  <a:pt x="1297271" y="925640"/>
                </a:lnTo>
                <a:lnTo>
                  <a:pt x="1288733" y="934944"/>
                </a:lnTo>
                <a:cubicBezTo>
                  <a:pt x="1279622" y="940183"/>
                  <a:pt x="1269145" y="944738"/>
                  <a:pt x="1262767" y="950204"/>
                </a:cubicBezTo>
                <a:cubicBezTo>
                  <a:pt x="1264589" y="952026"/>
                  <a:pt x="1268233" y="950204"/>
                  <a:pt x="1270056" y="948383"/>
                </a:cubicBezTo>
                <a:cubicBezTo>
                  <a:pt x="1280989" y="952026"/>
                  <a:pt x="1297388" y="939272"/>
                  <a:pt x="1306499" y="946560"/>
                </a:cubicBezTo>
                <a:cubicBezTo>
                  <a:pt x="1308321" y="942916"/>
                  <a:pt x="1311966" y="939272"/>
                  <a:pt x="1311966" y="935628"/>
                </a:cubicBezTo>
                <a:cubicBezTo>
                  <a:pt x="1313788" y="937450"/>
                  <a:pt x="1310143" y="941094"/>
                  <a:pt x="1311966" y="942916"/>
                </a:cubicBezTo>
                <a:cubicBezTo>
                  <a:pt x="1317432" y="941094"/>
                  <a:pt x="1320167" y="937905"/>
                  <a:pt x="1321761" y="934260"/>
                </a:cubicBezTo>
                <a:lnTo>
                  <a:pt x="1323289" y="928377"/>
                </a:lnTo>
                <a:lnTo>
                  <a:pt x="1325176" y="928566"/>
                </a:lnTo>
                <a:cubicBezTo>
                  <a:pt x="1326087" y="927428"/>
                  <a:pt x="1326543" y="925605"/>
                  <a:pt x="1324721" y="924695"/>
                </a:cubicBezTo>
                <a:lnTo>
                  <a:pt x="1323734" y="926669"/>
                </a:lnTo>
                <a:lnTo>
                  <a:pt x="1324721" y="922872"/>
                </a:lnTo>
                <a:cubicBezTo>
                  <a:pt x="1319254" y="917405"/>
                  <a:pt x="1315610" y="911939"/>
                  <a:pt x="1311966" y="910117"/>
                </a:cubicBezTo>
                <a:cubicBezTo>
                  <a:pt x="1310143" y="911939"/>
                  <a:pt x="1308321" y="906473"/>
                  <a:pt x="1304677" y="908295"/>
                </a:cubicBezTo>
                <a:close/>
                <a:moveTo>
                  <a:pt x="1051395" y="908295"/>
                </a:moveTo>
                <a:cubicBezTo>
                  <a:pt x="1045929" y="908295"/>
                  <a:pt x="1045929" y="913761"/>
                  <a:pt x="1044106" y="917405"/>
                </a:cubicBezTo>
                <a:cubicBezTo>
                  <a:pt x="1045929" y="917405"/>
                  <a:pt x="1047750" y="919227"/>
                  <a:pt x="1049573" y="919227"/>
                </a:cubicBezTo>
                <a:cubicBezTo>
                  <a:pt x="1051395" y="915583"/>
                  <a:pt x="1051395" y="911939"/>
                  <a:pt x="1051395" y="908295"/>
                </a:cubicBezTo>
                <a:close/>
                <a:moveTo>
                  <a:pt x="743447" y="908295"/>
                </a:moveTo>
                <a:cubicBezTo>
                  <a:pt x="741626" y="908295"/>
                  <a:pt x="741626" y="910117"/>
                  <a:pt x="739803" y="910117"/>
                </a:cubicBezTo>
                <a:cubicBezTo>
                  <a:pt x="739803" y="910117"/>
                  <a:pt x="745269" y="921049"/>
                  <a:pt x="743447" y="908295"/>
                </a:cubicBezTo>
                <a:close/>
                <a:moveTo>
                  <a:pt x="736159" y="908295"/>
                </a:moveTo>
                <a:cubicBezTo>
                  <a:pt x="732515" y="908295"/>
                  <a:pt x="730692" y="908295"/>
                  <a:pt x="727048" y="910117"/>
                </a:cubicBezTo>
                <a:cubicBezTo>
                  <a:pt x="730692" y="913761"/>
                  <a:pt x="736159" y="910117"/>
                  <a:pt x="736159" y="908295"/>
                </a:cubicBezTo>
                <a:close/>
                <a:moveTo>
                  <a:pt x="614074" y="908295"/>
                </a:moveTo>
                <a:cubicBezTo>
                  <a:pt x="619539" y="917405"/>
                  <a:pt x="621362" y="908295"/>
                  <a:pt x="625006" y="910117"/>
                </a:cubicBezTo>
                <a:cubicBezTo>
                  <a:pt x="623185" y="908295"/>
                  <a:pt x="617717" y="908295"/>
                  <a:pt x="614074" y="908295"/>
                </a:cubicBezTo>
                <a:close/>
                <a:moveTo>
                  <a:pt x="612251" y="908295"/>
                </a:moveTo>
                <a:cubicBezTo>
                  <a:pt x="610429" y="910117"/>
                  <a:pt x="610429" y="908295"/>
                  <a:pt x="608606" y="910117"/>
                </a:cubicBezTo>
                <a:cubicBezTo>
                  <a:pt x="626828" y="922872"/>
                  <a:pt x="610429" y="908295"/>
                  <a:pt x="612251" y="908295"/>
                </a:cubicBezTo>
                <a:close/>
                <a:moveTo>
                  <a:pt x="424567" y="908295"/>
                </a:moveTo>
                <a:cubicBezTo>
                  <a:pt x="420923" y="911939"/>
                  <a:pt x="428211" y="919227"/>
                  <a:pt x="431856" y="915583"/>
                </a:cubicBezTo>
                <a:cubicBezTo>
                  <a:pt x="428211" y="913761"/>
                  <a:pt x="428211" y="908295"/>
                  <a:pt x="424567" y="908295"/>
                </a:cubicBezTo>
                <a:close/>
                <a:moveTo>
                  <a:pt x="349858" y="908295"/>
                </a:moveTo>
                <a:cubicBezTo>
                  <a:pt x="353502" y="917405"/>
                  <a:pt x="366257" y="917405"/>
                  <a:pt x="371724" y="921049"/>
                </a:cubicBezTo>
                <a:cubicBezTo>
                  <a:pt x="369902" y="913761"/>
                  <a:pt x="358969" y="917405"/>
                  <a:pt x="355324" y="910117"/>
                </a:cubicBezTo>
                <a:cubicBezTo>
                  <a:pt x="355324" y="910117"/>
                  <a:pt x="355324" y="910117"/>
                  <a:pt x="351680" y="908295"/>
                </a:cubicBezTo>
                <a:cubicBezTo>
                  <a:pt x="351680" y="908295"/>
                  <a:pt x="349858" y="908295"/>
                  <a:pt x="349858" y="908295"/>
                </a:cubicBezTo>
                <a:close/>
                <a:moveTo>
                  <a:pt x="335280" y="908295"/>
                </a:moveTo>
                <a:cubicBezTo>
                  <a:pt x="335280" y="915583"/>
                  <a:pt x="342569" y="921049"/>
                  <a:pt x="346213" y="924695"/>
                </a:cubicBezTo>
                <a:lnTo>
                  <a:pt x="346213" y="921049"/>
                </a:lnTo>
                <a:cubicBezTo>
                  <a:pt x="346213" y="924695"/>
                  <a:pt x="349858" y="926516"/>
                  <a:pt x="355324" y="926516"/>
                </a:cubicBezTo>
                <a:cubicBezTo>
                  <a:pt x="355324" y="924695"/>
                  <a:pt x="351680" y="924695"/>
                  <a:pt x="349858" y="922872"/>
                </a:cubicBezTo>
                <a:cubicBezTo>
                  <a:pt x="355324" y="921049"/>
                  <a:pt x="360791" y="930160"/>
                  <a:pt x="368079" y="924695"/>
                </a:cubicBezTo>
                <a:cubicBezTo>
                  <a:pt x="355324" y="928339"/>
                  <a:pt x="355324" y="910117"/>
                  <a:pt x="342569" y="908295"/>
                </a:cubicBezTo>
                <a:cubicBezTo>
                  <a:pt x="340747" y="908295"/>
                  <a:pt x="337102" y="908295"/>
                  <a:pt x="338926" y="911939"/>
                </a:cubicBezTo>
                <a:cubicBezTo>
                  <a:pt x="337102" y="910117"/>
                  <a:pt x="337102" y="908295"/>
                  <a:pt x="335280" y="908295"/>
                </a:cubicBezTo>
                <a:close/>
                <a:moveTo>
                  <a:pt x="693110" y="907840"/>
                </a:moveTo>
                <a:cubicBezTo>
                  <a:pt x="691060" y="907840"/>
                  <a:pt x="688782" y="908295"/>
                  <a:pt x="686960" y="908295"/>
                </a:cubicBezTo>
                <a:cubicBezTo>
                  <a:pt x="685138" y="910117"/>
                  <a:pt x="683316" y="911939"/>
                  <a:pt x="683316" y="913761"/>
                </a:cubicBezTo>
                <a:cubicBezTo>
                  <a:pt x="686960" y="915583"/>
                  <a:pt x="692426" y="913761"/>
                  <a:pt x="697893" y="910117"/>
                </a:cubicBezTo>
                <a:cubicBezTo>
                  <a:pt x="696982" y="908295"/>
                  <a:pt x="695160" y="907840"/>
                  <a:pt x="693110" y="907840"/>
                </a:cubicBezTo>
                <a:close/>
                <a:moveTo>
                  <a:pt x="1354951" y="907650"/>
                </a:moveTo>
                <a:lnTo>
                  <a:pt x="1353878" y="908293"/>
                </a:lnTo>
                <a:lnTo>
                  <a:pt x="1353876" y="908294"/>
                </a:lnTo>
                <a:lnTo>
                  <a:pt x="1353930" y="908173"/>
                </a:lnTo>
                <a:close/>
                <a:moveTo>
                  <a:pt x="1322899" y="906473"/>
                </a:moveTo>
                <a:cubicBezTo>
                  <a:pt x="1321077" y="908295"/>
                  <a:pt x="1321077" y="906473"/>
                  <a:pt x="1319254" y="910117"/>
                </a:cubicBezTo>
                <a:cubicBezTo>
                  <a:pt x="1321077" y="910117"/>
                  <a:pt x="1322899" y="911939"/>
                  <a:pt x="1324721" y="910117"/>
                </a:cubicBezTo>
                <a:cubicBezTo>
                  <a:pt x="1324721" y="908295"/>
                  <a:pt x="1324721" y="908295"/>
                  <a:pt x="1322899" y="906473"/>
                </a:cubicBezTo>
                <a:close/>
                <a:moveTo>
                  <a:pt x="1297388" y="906473"/>
                </a:moveTo>
                <a:cubicBezTo>
                  <a:pt x="1295566" y="911939"/>
                  <a:pt x="1288277" y="917405"/>
                  <a:pt x="1284633" y="921049"/>
                </a:cubicBezTo>
                <a:cubicBezTo>
                  <a:pt x="1291922" y="924695"/>
                  <a:pt x="1301033" y="913761"/>
                  <a:pt x="1297388" y="906473"/>
                </a:cubicBezTo>
                <a:close/>
                <a:moveTo>
                  <a:pt x="1295566" y="906473"/>
                </a:moveTo>
                <a:cubicBezTo>
                  <a:pt x="1290100" y="904651"/>
                  <a:pt x="1286455" y="911939"/>
                  <a:pt x="1286455" y="915583"/>
                </a:cubicBezTo>
                <a:cubicBezTo>
                  <a:pt x="1291922" y="915583"/>
                  <a:pt x="1293744" y="908295"/>
                  <a:pt x="1295566" y="906473"/>
                </a:cubicBezTo>
                <a:close/>
                <a:moveTo>
                  <a:pt x="1270056" y="906473"/>
                </a:moveTo>
                <a:cubicBezTo>
                  <a:pt x="1268233" y="908295"/>
                  <a:pt x="1270056" y="913761"/>
                  <a:pt x="1268233" y="910117"/>
                </a:cubicBezTo>
                <a:cubicBezTo>
                  <a:pt x="1264589" y="915583"/>
                  <a:pt x="1273700" y="919227"/>
                  <a:pt x="1271878" y="921049"/>
                </a:cubicBezTo>
                <a:cubicBezTo>
                  <a:pt x="1273700" y="922872"/>
                  <a:pt x="1273700" y="921049"/>
                  <a:pt x="1275522" y="922872"/>
                </a:cubicBezTo>
                <a:cubicBezTo>
                  <a:pt x="1277344" y="921049"/>
                  <a:pt x="1275522" y="921049"/>
                  <a:pt x="1277344" y="919227"/>
                </a:cubicBezTo>
                <a:cubicBezTo>
                  <a:pt x="1277344" y="922872"/>
                  <a:pt x="1280989" y="919227"/>
                  <a:pt x="1282811" y="917405"/>
                </a:cubicBezTo>
                <a:cubicBezTo>
                  <a:pt x="1282811" y="915583"/>
                  <a:pt x="1280989" y="917405"/>
                  <a:pt x="1280989" y="915583"/>
                </a:cubicBezTo>
                <a:cubicBezTo>
                  <a:pt x="1286455" y="917405"/>
                  <a:pt x="1282811" y="910117"/>
                  <a:pt x="1280989" y="908295"/>
                </a:cubicBezTo>
                <a:cubicBezTo>
                  <a:pt x="1277344" y="906473"/>
                  <a:pt x="1273700" y="908295"/>
                  <a:pt x="1270056" y="906473"/>
                </a:cubicBezTo>
                <a:close/>
                <a:moveTo>
                  <a:pt x="1080549" y="906473"/>
                </a:moveTo>
                <a:cubicBezTo>
                  <a:pt x="1084194" y="908295"/>
                  <a:pt x="1086016" y="911939"/>
                  <a:pt x="1087838" y="908295"/>
                </a:cubicBezTo>
                <a:cubicBezTo>
                  <a:pt x="1086016" y="906473"/>
                  <a:pt x="1082373" y="904651"/>
                  <a:pt x="1080549" y="906473"/>
                </a:cubicBezTo>
                <a:close/>
                <a:moveTo>
                  <a:pt x="1078727" y="906473"/>
                </a:moveTo>
                <a:cubicBezTo>
                  <a:pt x="1076905" y="908295"/>
                  <a:pt x="1071439" y="910117"/>
                  <a:pt x="1067794" y="913761"/>
                </a:cubicBezTo>
                <a:cubicBezTo>
                  <a:pt x="1067794" y="915583"/>
                  <a:pt x="1067794" y="915583"/>
                  <a:pt x="1069616" y="915583"/>
                </a:cubicBezTo>
                <a:cubicBezTo>
                  <a:pt x="1055040" y="919227"/>
                  <a:pt x="1053217" y="931983"/>
                  <a:pt x="1055040" y="942916"/>
                </a:cubicBezTo>
                <a:cubicBezTo>
                  <a:pt x="1060506" y="935628"/>
                  <a:pt x="1069616" y="919227"/>
                  <a:pt x="1080549" y="919227"/>
                </a:cubicBezTo>
                <a:cubicBezTo>
                  <a:pt x="1082373" y="917405"/>
                  <a:pt x="1080549" y="917405"/>
                  <a:pt x="1082373" y="915583"/>
                </a:cubicBezTo>
                <a:cubicBezTo>
                  <a:pt x="1082373" y="915583"/>
                  <a:pt x="1084194" y="919227"/>
                  <a:pt x="1086016" y="919227"/>
                </a:cubicBezTo>
                <a:cubicBezTo>
                  <a:pt x="1087838" y="917405"/>
                  <a:pt x="1086016" y="915583"/>
                  <a:pt x="1084194" y="911939"/>
                </a:cubicBezTo>
                <a:cubicBezTo>
                  <a:pt x="1082373" y="915583"/>
                  <a:pt x="1082373" y="911939"/>
                  <a:pt x="1082373" y="910117"/>
                </a:cubicBezTo>
                <a:cubicBezTo>
                  <a:pt x="1082373" y="908295"/>
                  <a:pt x="1080549" y="908295"/>
                  <a:pt x="1078727" y="906473"/>
                </a:cubicBezTo>
                <a:close/>
                <a:moveTo>
                  <a:pt x="1067794" y="906473"/>
                </a:moveTo>
                <a:cubicBezTo>
                  <a:pt x="1065972" y="906473"/>
                  <a:pt x="1067794" y="908295"/>
                  <a:pt x="1065972" y="910117"/>
                </a:cubicBezTo>
                <a:cubicBezTo>
                  <a:pt x="1067794" y="911939"/>
                  <a:pt x="1071439" y="908295"/>
                  <a:pt x="1067794" y="906473"/>
                </a:cubicBezTo>
                <a:close/>
                <a:moveTo>
                  <a:pt x="1056861" y="906473"/>
                </a:moveTo>
                <a:cubicBezTo>
                  <a:pt x="1055040" y="910117"/>
                  <a:pt x="1056861" y="913761"/>
                  <a:pt x="1055040" y="917405"/>
                </a:cubicBezTo>
                <a:cubicBezTo>
                  <a:pt x="1062328" y="915583"/>
                  <a:pt x="1062328" y="911939"/>
                  <a:pt x="1065972" y="908295"/>
                </a:cubicBezTo>
                <a:cubicBezTo>
                  <a:pt x="1062328" y="906473"/>
                  <a:pt x="1060506" y="908295"/>
                  <a:pt x="1056861" y="906473"/>
                </a:cubicBezTo>
                <a:close/>
                <a:moveTo>
                  <a:pt x="765313" y="906473"/>
                </a:moveTo>
                <a:cubicBezTo>
                  <a:pt x="756203" y="904651"/>
                  <a:pt x="737981" y="910117"/>
                  <a:pt x="741626" y="921049"/>
                </a:cubicBezTo>
                <a:cubicBezTo>
                  <a:pt x="741626" y="922872"/>
                  <a:pt x="745269" y="922872"/>
                  <a:pt x="745269" y="924695"/>
                </a:cubicBezTo>
                <a:cubicBezTo>
                  <a:pt x="747092" y="922872"/>
                  <a:pt x="750737" y="922872"/>
                  <a:pt x="748914" y="921049"/>
                </a:cubicBezTo>
                <a:cubicBezTo>
                  <a:pt x="750737" y="922872"/>
                  <a:pt x="752558" y="922872"/>
                  <a:pt x="754380" y="921049"/>
                </a:cubicBezTo>
                <a:cubicBezTo>
                  <a:pt x="750737" y="921049"/>
                  <a:pt x="750737" y="919227"/>
                  <a:pt x="748914" y="917405"/>
                </a:cubicBezTo>
                <a:cubicBezTo>
                  <a:pt x="756203" y="915583"/>
                  <a:pt x="756203" y="921049"/>
                  <a:pt x="763491" y="926516"/>
                </a:cubicBezTo>
                <a:cubicBezTo>
                  <a:pt x="763491" y="926516"/>
                  <a:pt x="765313" y="924695"/>
                  <a:pt x="767136" y="922872"/>
                </a:cubicBezTo>
                <a:cubicBezTo>
                  <a:pt x="767136" y="926516"/>
                  <a:pt x="765313" y="926516"/>
                  <a:pt x="763491" y="928339"/>
                </a:cubicBezTo>
                <a:cubicBezTo>
                  <a:pt x="779892" y="931983"/>
                  <a:pt x="790824" y="948383"/>
                  <a:pt x="807223" y="941094"/>
                </a:cubicBezTo>
                <a:cubicBezTo>
                  <a:pt x="807223" y="941094"/>
                  <a:pt x="807223" y="939272"/>
                  <a:pt x="807223" y="939272"/>
                </a:cubicBezTo>
                <a:cubicBezTo>
                  <a:pt x="810868" y="942916"/>
                  <a:pt x="812690" y="944738"/>
                  <a:pt x="818156" y="942916"/>
                </a:cubicBezTo>
                <a:lnTo>
                  <a:pt x="814512" y="942916"/>
                </a:lnTo>
                <a:cubicBezTo>
                  <a:pt x="825445" y="941094"/>
                  <a:pt x="836378" y="950204"/>
                  <a:pt x="847311" y="948383"/>
                </a:cubicBezTo>
                <a:lnTo>
                  <a:pt x="844944" y="946197"/>
                </a:lnTo>
                <a:lnTo>
                  <a:pt x="845489" y="946560"/>
                </a:lnTo>
                <a:cubicBezTo>
                  <a:pt x="840022" y="933804"/>
                  <a:pt x="827267" y="933804"/>
                  <a:pt x="814512" y="926516"/>
                </a:cubicBezTo>
                <a:lnTo>
                  <a:pt x="818156" y="926516"/>
                </a:lnTo>
                <a:cubicBezTo>
                  <a:pt x="803579" y="917405"/>
                  <a:pt x="790824" y="913761"/>
                  <a:pt x="774424" y="915583"/>
                </a:cubicBezTo>
                <a:cubicBezTo>
                  <a:pt x="778070" y="913761"/>
                  <a:pt x="779892" y="913761"/>
                  <a:pt x="781713" y="911939"/>
                </a:cubicBezTo>
                <a:cubicBezTo>
                  <a:pt x="778070" y="910117"/>
                  <a:pt x="774424" y="913761"/>
                  <a:pt x="770781" y="911939"/>
                </a:cubicBezTo>
                <a:cubicBezTo>
                  <a:pt x="772602" y="908295"/>
                  <a:pt x="778070" y="911939"/>
                  <a:pt x="781713" y="908295"/>
                </a:cubicBezTo>
                <a:cubicBezTo>
                  <a:pt x="774424" y="906473"/>
                  <a:pt x="763491" y="906473"/>
                  <a:pt x="758025" y="910117"/>
                </a:cubicBezTo>
                <a:cubicBezTo>
                  <a:pt x="761670" y="911939"/>
                  <a:pt x="767136" y="915583"/>
                  <a:pt x="772602" y="915583"/>
                </a:cubicBezTo>
                <a:cubicBezTo>
                  <a:pt x="772602" y="915583"/>
                  <a:pt x="770781" y="915583"/>
                  <a:pt x="770781" y="915583"/>
                </a:cubicBezTo>
                <a:cubicBezTo>
                  <a:pt x="770781" y="917405"/>
                  <a:pt x="772602" y="919227"/>
                  <a:pt x="774424" y="917405"/>
                </a:cubicBezTo>
                <a:cubicBezTo>
                  <a:pt x="763491" y="922872"/>
                  <a:pt x="758025" y="906473"/>
                  <a:pt x="748914" y="910117"/>
                </a:cubicBezTo>
                <a:cubicBezTo>
                  <a:pt x="754380" y="908295"/>
                  <a:pt x="759848" y="908295"/>
                  <a:pt x="765313" y="906473"/>
                </a:cubicBezTo>
                <a:close/>
                <a:moveTo>
                  <a:pt x="477410" y="906473"/>
                </a:moveTo>
                <a:cubicBezTo>
                  <a:pt x="473766" y="908295"/>
                  <a:pt x="479232" y="911939"/>
                  <a:pt x="481054" y="908295"/>
                </a:cubicBezTo>
                <a:cubicBezTo>
                  <a:pt x="479232" y="906473"/>
                  <a:pt x="479232" y="908295"/>
                  <a:pt x="477410" y="906473"/>
                </a:cubicBezTo>
                <a:close/>
                <a:moveTo>
                  <a:pt x="266038" y="906473"/>
                </a:moveTo>
                <a:cubicBezTo>
                  <a:pt x="269682" y="911939"/>
                  <a:pt x="273327" y="911939"/>
                  <a:pt x="276971" y="913761"/>
                </a:cubicBezTo>
                <a:cubicBezTo>
                  <a:pt x="276971" y="911939"/>
                  <a:pt x="271504" y="910117"/>
                  <a:pt x="271504" y="906473"/>
                </a:cubicBezTo>
                <a:cubicBezTo>
                  <a:pt x="269682" y="906473"/>
                  <a:pt x="267860" y="906473"/>
                  <a:pt x="266038" y="906473"/>
                </a:cubicBezTo>
                <a:close/>
                <a:moveTo>
                  <a:pt x="231416" y="906473"/>
                </a:moveTo>
                <a:cubicBezTo>
                  <a:pt x="242349" y="919227"/>
                  <a:pt x="249638" y="937450"/>
                  <a:pt x="267860" y="939272"/>
                </a:cubicBezTo>
                <a:cubicBezTo>
                  <a:pt x="260571" y="931983"/>
                  <a:pt x="255105" y="922872"/>
                  <a:pt x="251460" y="911939"/>
                </a:cubicBezTo>
                <a:cubicBezTo>
                  <a:pt x="245994" y="910117"/>
                  <a:pt x="240527" y="906473"/>
                  <a:pt x="231416" y="906473"/>
                </a:cubicBezTo>
                <a:close/>
                <a:moveTo>
                  <a:pt x="229594" y="906473"/>
                </a:moveTo>
                <a:cubicBezTo>
                  <a:pt x="227772" y="906473"/>
                  <a:pt x="227772" y="910117"/>
                  <a:pt x="225950" y="908295"/>
                </a:cubicBezTo>
                <a:cubicBezTo>
                  <a:pt x="225950" y="910117"/>
                  <a:pt x="235061" y="915583"/>
                  <a:pt x="236883" y="919227"/>
                </a:cubicBezTo>
                <a:cubicBezTo>
                  <a:pt x="235061" y="915583"/>
                  <a:pt x="233239" y="911939"/>
                  <a:pt x="229594" y="906473"/>
                </a:cubicBezTo>
                <a:close/>
                <a:moveTo>
                  <a:pt x="1263450" y="906245"/>
                </a:moveTo>
                <a:lnTo>
                  <a:pt x="1264589" y="908294"/>
                </a:lnTo>
                <a:lnTo>
                  <a:pt x="1262949" y="906654"/>
                </a:lnTo>
                <a:close/>
                <a:moveTo>
                  <a:pt x="2454863" y="905457"/>
                </a:moveTo>
                <a:lnTo>
                  <a:pt x="2455656" y="905704"/>
                </a:lnTo>
                <a:lnTo>
                  <a:pt x="2454469" y="906473"/>
                </a:lnTo>
                <a:close/>
                <a:moveTo>
                  <a:pt x="1299210" y="904651"/>
                </a:moveTo>
                <a:cubicBezTo>
                  <a:pt x="1297388" y="906473"/>
                  <a:pt x="1301033" y="908295"/>
                  <a:pt x="1299210" y="910117"/>
                </a:cubicBezTo>
                <a:cubicBezTo>
                  <a:pt x="1301033" y="911939"/>
                  <a:pt x="1301033" y="908295"/>
                  <a:pt x="1302855" y="906473"/>
                </a:cubicBezTo>
                <a:cubicBezTo>
                  <a:pt x="1302855" y="904651"/>
                  <a:pt x="1301033" y="908295"/>
                  <a:pt x="1299210" y="904651"/>
                </a:cubicBezTo>
                <a:close/>
                <a:moveTo>
                  <a:pt x="1158903" y="904651"/>
                </a:moveTo>
                <a:cubicBezTo>
                  <a:pt x="1153436" y="906473"/>
                  <a:pt x="1146148" y="908295"/>
                  <a:pt x="1138859" y="908295"/>
                </a:cubicBezTo>
                <a:cubicBezTo>
                  <a:pt x="1137037" y="910117"/>
                  <a:pt x="1137037" y="911939"/>
                  <a:pt x="1135215" y="913761"/>
                </a:cubicBezTo>
                <a:cubicBezTo>
                  <a:pt x="1135215" y="915583"/>
                  <a:pt x="1137037" y="913761"/>
                  <a:pt x="1137037" y="913761"/>
                </a:cubicBezTo>
                <a:cubicBezTo>
                  <a:pt x="1137037" y="915583"/>
                  <a:pt x="1133393" y="917405"/>
                  <a:pt x="1131570" y="919227"/>
                </a:cubicBezTo>
                <a:cubicBezTo>
                  <a:pt x="1131570" y="921049"/>
                  <a:pt x="1131570" y="921049"/>
                  <a:pt x="1131570" y="922872"/>
                </a:cubicBezTo>
                <a:cubicBezTo>
                  <a:pt x="1127926" y="924695"/>
                  <a:pt x="1129748" y="924695"/>
                  <a:pt x="1127926" y="926516"/>
                </a:cubicBezTo>
                <a:cubicBezTo>
                  <a:pt x="1137037" y="930160"/>
                  <a:pt x="1142503" y="921049"/>
                  <a:pt x="1146148" y="913761"/>
                </a:cubicBezTo>
                <a:cubicBezTo>
                  <a:pt x="1147970" y="911939"/>
                  <a:pt x="1147970" y="915583"/>
                  <a:pt x="1146148" y="915583"/>
                </a:cubicBezTo>
                <a:cubicBezTo>
                  <a:pt x="1151614" y="917405"/>
                  <a:pt x="1158903" y="908295"/>
                  <a:pt x="1158903" y="904651"/>
                </a:cubicBezTo>
                <a:close/>
                <a:moveTo>
                  <a:pt x="1095127" y="904651"/>
                </a:moveTo>
                <a:cubicBezTo>
                  <a:pt x="1089660" y="906473"/>
                  <a:pt x="1091484" y="913761"/>
                  <a:pt x="1089660" y="917405"/>
                </a:cubicBezTo>
                <a:cubicBezTo>
                  <a:pt x="1095127" y="919227"/>
                  <a:pt x="1098771" y="908295"/>
                  <a:pt x="1095127" y="904651"/>
                </a:cubicBezTo>
                <a:close/>
                <a:moveTo>
                  <a:pt x="123784" y="904503"/>
                </a:moveTo>
                <a:lnTo>
                  <a:pt x="123908" y="904651"/>
                </a:lnTo>
                <a:lnTo>
                  <a:pt x="123826" y="904602"/>
                </a:lnTo>
                <a:close/>
                <a:moveTo>
                  <a:pt x="1280988" y="903967"/>
                </a:moveTo>
                <a:cubicBezTo>
                  <a:pt x="1279622" y="904650"/>
                  <a:pt x="1278255" y="905562"/>
                  <a:pt x="1277344" y="904651"/>
                </a:cubicBezTo>
                <a:cubicBezTo>
                  <a:pt x="1277344" y="906473"/>
                  <a:pt x="1282811" y="906473"/>
                  <a:pt x="1284633" y="904651"/>
                </a:cubicBezTo>
                <a:cubicBezTo>
                  <a:pt x="1283723" y="902828"/>
                  <a:pt x="1282355" y="903283"/>
                  <a:pt x="1280988" y="903967"/>
                </a:cubicBezTo>
                <a:close/>
                <a:moveTo>
                  <a:pt x="2422125" y="903966"/>
                </a:moveTo>
                <a:cubicBezTo>
                  <a:pt x="2419848" y="903283"/>
                  <a:pt x="2417114" y="904650"/>
                  <a:pt x="2414381" y="908295"/>
                </a:cubicBezTo>
                <a:cubicBezTo>
                  <a:pt x="2414381" y="919227"/>
                  <a:pt x="2418025" y="924695"/>
                  <a:pt x="2423492" y="926516"/>
                </a:cubicBezTo>
                <a:cubicBezTo>
                  <a:pt x="2421669" y="921049"/>
                  <a:pt x="2427136" y="919227"/>
                  <a:pt x="2427136" y="911939"/>
                </a:cubicBezTo>
                <a:cubicBezTo>
                  <a:pt x="2426225" y="907383"/>
                  <a:pt x="2424403" y="904650"/>
                  <a:pt x="2422125" y="903966"/>
                </a:cubicBezTo>
                <a:close/>
                <a:moveTo>
                  <a:pt x="3493014" y="903015"/>
                </a:moveTo>
                <a:lnTo>
                  <a:pt x="3493791" y="903056"/>
                </a:lnTo>
                <a:cubicBezTo>
                  <a:pt x="3494930" y="902828"/>
                  <a:pt x="3495841" y="902828"/>
                  <a:pt x="3496752" y="904651"/>
                </a:cubicBezTo>
                <a:lnTo>
                  <a:pt x="3492124" y="904795"/>
                </a:lnTo>
                <a:close/>
                <a:moveTo>
                  <a:pt x="3429332" y="902827"/>
                </a:moveTo>
                <a:cubicBezTo>
                  <a:pt x="3429332" y="902827"/>
                  <a:pt x="3427510" y="904651"/>
                  <a:pt x="3425687" y="904651"/>
                </a:cubicBezTo>
                <a:cubicBezTo>
                  <a:pt x="3429332" y="908295"/>
                  <a:pt x="3431154" y="913761"/>
                  <a:pt x="3436621" y="913761"/>
                </a:cubicBezTo>
                <a:cubicBezTo>
                  <a:pt x="3432976" y="910117"/>
                  <a:pt x="3432976" y="904651"/>
                  <a:pt x="3429332" y="902827"/>
                </a:cubicBezTo>
                <a:close/>
                <a:moveTo>
                  <a:pt x="3387422" y="902827"/>
                </a:moveTo>
                <a:cubicBezTo>
                  <a:pt x="3383777" y="904651"/>
                  <a:pt x="3385600" y="908295"/>
                  <a:pt x="3387422" y="910117"/>
                </a:cubicBezTo>
                <a:cubicBezTo>
                  <a:pt x="3391066" y="910117"/>
                  <a:pt x="3391066" y="904651"/>
                  <a:pt x="3387422" y="902827"/>
                </a:cubicBezTo>
                <a:close/>
                <a:moveTo>
                  <a:pt x="3121384" y="902827"/>
                </a:moveTo>
                <a:cubicBezTo>
                  <a:pt x="3106807" y="906473"/>
                  <a:pt x="3106807" y="919227"/>
                  <a:pt x="3095874" y="928339"/>
                </a:cubicBezTo>
                <a:cubicBezTo>
                  <a:pt x="3103163" y="935628"/>
                  <a:pt x="3108629" y="935628"/>
                  <a:pt x="3117740" y="941094"/>
                </a:cubicBezTo>
                <a:cubicBezTo>
                  <a:pt x="3117740" y="939272"/>
                  <a:pt x="3117740" y="937450"/>
                  <a:pt x="3117740" y="935628"/>
                </a:cubicBezTo>
                <a:lnTo>
                  <a:pt x="3127534" y="932211"/>
                </a:lnTo>
                <a:lnTo>
                  <a:pt x="3128673" y="937450"/>
                </a:lnTo>
                <a:cubicBezTo>
                  <a:pt x="3134140" y="944738"/>
                  <a:pt x="3139606" y="933804"/>
                  <a:pt x="3146895" y="931983"/>
                </a:cubicBezTo>
                <a:cubicBezTo>
                  <a:pt x="3145073" y="928339"/>
                  <a:pt x="3135962" y="935628"/>
                  <a:pt x="3135962" y="928339"/>
                </a:cubicBezTo>
                <a:lnTo>
                  <a:pt x="3127534" y="932210"/>
                </a:lnTo>
                <a:lnTo>
                  <a:pt x="3125029" y="919227"/>
                </a:lnTo>
                <a:cubicBezTo>
                  <a:pt x="3125029" y="917405"/>
                  <a:pt x="3126851" y="917405"/>
                  <a:pt x="3128673" y="917405"/>
                </a:cubicBezTo>
                <a:cubicBezTo>
                  <a:pt x="3126851" y="910117"/>
                  <a:pt x="3121384" y="910117"/>
                  <a:pt x="3121384" y="902827"/>
                </a:cubicBezTo>
                <a:close/>
                <a:moveTo>
                  <a:pt x="2583843" y="902827"/>
                </a:moveTo>
                <a:cubicBezTo>
                  <a:pt x="2592954" y="913761"/>
                  <a:pt x="2596598" y="924695"/>
                  <a:pt x="2589310" y="937450"/>
                </a:cubicBezTo>
                <a:cubicBezTo>
                  <a:pt x="2591132" y="937450"/>
                  <a:pt x="2592954" y="935628"/>
                  <a:pt x="2592954" y="933804"/>
                </a:cubicBezTo>
                <a:cubicBezTo>
                  <a:pt x="2598421" y="944738"/>
                  <a:pt x="2609353" y="950204"/>
                  <a:pt x="2618464" y="957494"/>
                </a:cubicBezTo>
                <a:cubicBezTo>
                  <a:pt x="2611176" y="957494"/>
                  <a:pt x="2616642" y="964782"/>
                  <a:pt x="2618464" y="968427"/>
                </a:cubicBezTo>
                <a:cubicBezTo>
                  <a:pt x="2618464" y="970249"/>
                  <a:pt x="2616642" y="973893"/>
                  <a:pt x="2614820" y="970249"/>
                </a:cubicBezTo>
                <a:cubicBezTo>
                  <a:pt x="2614820" y="966604"/>
                  <a:pt x="2614820" y="964782"/>
                  <a:pt x="2612998" y="962960"/>
                </a:cubicBezTo>
                <a:cubicBezTo>
                  <a:pt x="2609353" y="962960"/>
                  <a:pt x="2603887" y="959316"/>
                  <a:pt x="2602065" y="964782"/>
                </a:cubicBezTo>
                <a:cubicBezTo>
                  <a:pt x="2600243" y="968427"/>
                  <a:pt x="2607531" y="972071"/>
                  <a:pt x="2605709" y="977538"/>
                </a:cubicBezTo>
                <a:cubicBezTo>
                  <a:pt x="2603887" y="975715"/>
                  <a:pt x="2602065" y="973893"/>
                  <a:pt x="2602065" y="970249"/>
                </a:cubicBezTo>
                <a:cubicBezTo>
                  <a:pt x="2598421" y="973893"/>
                  <a:pt x="2591132" y="975715"/>
                  <a:pt x="2591132" y="983004"/>
                </a:cubicBezTo>
                <a:cubicBezTo>
                  <a:pt x="2596598" y="981182"/>
                  <a:pt x="2602065" y="986649"/>
                  <a:pt x="2607531" y="983004"/>
                </a:cubicBezTo>
                <a:cubicBezTo>
                  <a:pt x="2602065" y="990293"/>
                  <a:pt x="2616642" y="995759"/>
                  <a:pt x="2618464" y="1004870"/>
                </a:cubicBezTo>
                <a:cubicBezTo>
                  <a:pt x="2623931" y="997582"/>
                  <a:pt x="2627575" y="1006692"/>
                  <a:pt x="2633042" y="1008515"/>
                </a:cubicBezTo>
                <a:cubicBezTo>
                  <a:pt x="2623931" y="984826"/>
                  <a:pt x="2634864" y="955672"/>
                  <a:pt x="2622109" y="933804"/>
                </a:cubicBezTo>
                <a:cubicBezTo>
                  <a:pt x="2618464" y="930160"/>
                  <a:pt x="2623931" y="944738"/>
                  <a:pt x="2616642" y="948383"/>
                </a:cubicBezTo>
                <a:cubicBezTo>
                  <a:pt x="2614820" y="941094"/>
                  <a:pt x="2611176" y="939272"/>
                  <a:pt x="2603887" y="941094"/>
                </a:cubicBezTo>
                <a:cubicBezTo>
                  <a:pt x="2603887" y="939272"/>
                  <a:pt x="2603887" y="935628"/>
                  <a:pt x="2603887" y="933804"/>
                </a:cubicBezTo>
                <a:cubicBezTo>
                  <a:pt x="2605709" y="931983"/>
                  <a:pt x="2605709" y="931983"/>
                  <a:pt x="2607531" y="933804"/>
                </a:cubicBezTo>
                <a:cubicBezTo>
                  <a:pt x="2607531" y="937450"/>
                  <a:pt x="2607531" y="939272"/>
                  <a:pt x="2607531" y="941094"/>
                </a:cubicBezTo>
                <a:cubicBezTo>
                  <a:pt x="2612998" y="937450"/>
                  <a:pt x="2605709" y="933804"/>
                  <a:pt x="2607531" y="930160"/>
                </a:cubicBezTo>
                <a:lnTo>
                  <a:pt x="2605709" y="931983"/>
                </a:lnTo>
                <a:cubicBezTo>
                  <a:pt x="2603887" y="930160"/>
                  <a:pt x="2605709" y="926516"/>
                  <a:pt x="2602065" y="926516"/>
                </a:cubicBezTo>
                <a:cubicBezTo>
                  <a:pt x="2603887" y="917405"/>
                  <a:pt x="2594776" y="901005"/>
                  <a:pt x="2583843" y="902827"/>
                </a:cubicBezTo>
                <a:close/>
                <a:moveTo>
                  <a:pt x="2303228" y="902827"/>
                </a:moveTo>
                <a:cubicBezTo>
                  <a:pt x="2297762" y="904651"/>
                  <a:pt x="2301406" y="908295"/>
                  <a:pt x="2303228" y="910117"/>
                </a:cubicBezTo>
                <a:cubicBezTo>
                  <a:pt x="2305050" y="908295"/>
                  <a:pt x="2303228" y="902827"/>
                  <a:pt x="2303228" y="902827"/>
                </a:cubicBezTo>
                <a:close/>
                <a:moveTo>
                  <a:pt x="1362987" y="902827"/>
                </a:moveTo>
                <a:cubicBezTo>
                  <a:pt x="1361164" y="905561"/>
                  <a:pt x="1358431" y="906472"/>
                  <a:pt x="1355470" y="907383"/>
                </a:cubicBezTo>
                <a:lnTo>
                  <a:pt x="1354951" y="907650"/>
                </a:lnTo>
                <a:close/>
                <a:moveTo>
                  <a:pt x="1286455" y="902827"/>
                </a:moveTo>
                <a:cubicBezTo>
                  <a:pt x="1284633" y="902827"/>
                  <a:pt x="1284633" y="904651"/>
                  <a:pt x="1286455" y="906473"/>
                </a:cubicBezTo>
                <a:cubicBezTo>
                  <a:pt x="1288277" y="906473"/>
                  <a:pt x="1290100" y="904651"/>
                  <a:pt x="1288277" y="904651"/>
                </a:cubicBezTo>
                <a:cubicBezTo>
                  <a:pt x="1288277" y="904651"/>
                  <a:pt x="1286455" y="902827"/>
                  <a:pt x="1286455" y="902827"/>
                </a:cubicBezTo>
                <a:close/>
                <a:moveTo>
                  <a:pt x="1270056" y="902827"/>
                </a:moveTo>
                <a:cubicBezTo>
                  <a:pt x="1270056" y="906473"/>
                  <a:pt x="1277344" y="902827"/>
                  <a:pt x="1280989" y="902827"/>
                </a:cubicBezTo>
                <a:cubicBezTo>
                  <a:pt x="1279166" y="901005"/>
                  <a:pt x="1273700" y="902827"/>
                  <a:pt x="1270056" y="902827"/>
                </a:cubicBezTo>
                <a:close/>
                <a:moveTo>
                  <a:pt x="1259123" y="902827"/>
                </a:moveTo>
                <a:lnTo>
                  <a:pt x="1262949" y="906654"/>
                </a:lnTo>
                <a:lnTo>
                  <a:pt x="1260945" y="908295"/>
                </a:lnTo>
                <a:cubicBezTo>
                  <a:pt x="1260945" y="906473"/>
                  <a:pt x="1255478" y="904651"/>
                  <a:pt x="1259123" y="902827"/>
                </a:cubicBezTo>
                <a:close/>
                <a:moveTo>
                  <a:pt x="1259123" y="902827"/>
                </a:moveTo>
                <a:cubicBezTo>
                  <a:pt x="1251834" y="901005"/>
                  <a:pt x="1246367" y="906473"/>
                  <a:pt x="1240901" y="911939"/>
                </a:cubicBezTo>
                <a:cubicBezTo>
                  <a:pt x="1240901" y="917405"/>
                  <a:pt x="1246367" y="921049"/>
                  <a:pt x="1244545" y="924695"/>
                </a:cubicBezTo>
                <a:cubicBezTo>
                  <a:pt x="1251834" y="926516"/>
                  <a:pt x="1255478" y="915583"/>
                  <a:pt x="1255478" y="910117"/>
                </a:cubicBezTo>
                <a:cubicBezTo>
                  <a:pt x="1257300" y="915583"/>
                  <a:pt x="1255478" y="919227"/>
                  <a:pt x="1255478" y="922872"/>
                </a:cubicBezTo>
                <a:cubicBezTo>
                  <a:pt x="1257300" y="924695"/>
                  <a:pt x="1259123" y="921049"/>
                  <a:pt x="1260945" y="921049"/>
                </a:cubicBezTo>
                <a:cubicBezTo>
                  <a:pt x="1260945" y="919227"/>
                  <a:pt x="1257300" y="917405"/>
                  <a:pt x="1257300" y="915583"/>
                </a:cubicBezTo>
                <a:cubicBezTo>
                  <a:pt x="1259123" y="915583"/>
                  <a:pt x="1259123" y="919227"/>
                  <a:pt x="1264589" y="919227"/>
                </a:cubicBezTo>
                <a:cubicBezTo>
                  <a:pt x="1266411" y="917405"/>
                  <a:pt x="1266411" y="913761"/>
                  <a:pt x="1266411" y="910117"/>
                </a:cubicBezTo>
                <a:lnTo>
                  <a:pt x="1264589" y="908294"/>
                </a:lnTo>
                <a:lnTo>
                  <a:pt x="1263222" y="904878"/>
                </a:lnTo>
                <a:cubicBezTo>
                  <a:pt x="1261856" y="904195"/>
                  <a:pt x="1260034" y="903739"/>
                  <a:pt x="1259123" y="902827"/>
                </a:cubicBezTo>
                <a:close/>
                <a:moveTo>
                  <a:pt x="1124282" y="902827"/>
                </a:moveTo>
                <a:cubicBezTo>
                  <a:pt x="1122459" y="908295"/>
                  <a:pt x="1120637" y="911939"/>
                  <a:pt x="1120637" y="917405"/>
                </a:cubicBezTo>
                <a:cubicBezTo>
                  <a:pt x="1122459" y="915583"/>
                  <a:pt x="1124282" y="913761"/>
                  <a:pt x="1127926" y="910117"/>
                </a:cubicBezTo>
                <a:cubicBezTo>
                  <a:pt x="1126104" y="908295"/>
                  <a:pt x="1126104" y="904651"/>
                  <a:pt x="1124282" y="902827"/>
                </a:cubicBezTo>
                <a:close/>
                <a:moveTo>
                  <a:pt x="1113349" y="902827"/>
                </a:moveTo>
                <a:cubicBezTo>
                  <a:pt x="1109704" y="906473"/>
                  <a:pt x="1111526" y="908295"/>
                  <a:pt x="1109704" y="911939"/>
                </a:cubicBezTo>
                <a:cubicBezTo>
                  <a:pt x="1100593" y="911939"/>
                  <a:pt x="1087838" y="922872"/>
                  <a:pt x="1093305" y="930160"/>
                </a:cubicBezTo>
                <a:cubicBezTo>
                  <a:pt x="1098771" y="924695"/>
                  <a:pt x="1102416" y="926516"/>
                  <a:pt x="1109704" y="919227"/>
                </a:cubicBezTo>
                <a:cubicBezTo>
                  <a:pt x="1109704" y="921049"/>
                  <a:pt x="1107882" y="922872"/>
                  <a:pt x="1106060" y="924695"/>
                </a:cubicBezTo>
                <a:cubicBezTo>
                  <a:pt x="1115171" y="924695"/>
                  <a:pt x="1120637" y="913761"/>
                  <a:pt x="1120637" y="906473"/>
                </a:cubicBezTo>
                <a:cubicBezTo>
                  <a:pt x="1118815" y="904651"/>
                  <a:pt x="1115171" y="904651"/>
                  <a:pt x="1113349" y="902827"/>
                </a:cubicBezTo>
                <a:close/>
                <a:moveTo>
                  <a:pt x="1104238" y="902827"/>
                </a:moveTo>
                <a:cubicBezTo>
                  <a:pt x="1104238" y="906473"/>
                  <a:pt x="1102416" y="908295"/>
                  <a:pt x="1104238" y="911939"/>
                </a:cubicBezTo>
                <a:cubicBezTo>
                  <a:pt x="1109704" y="911939"/>
                  <a:pt x="1109704" y="902827"/>
                  <a:pt x="1104238" y="902827"/>
                </a:cubicBezTo>
                <a:close/>
                <a:moveTo>
                  <a:pt x="1102416" y="902827"/>
                </a:moveTo>
                <a:cubicBezTo>
                  <a:pt x="1095127" y="901005"/>
                  <a:pt x="1096949" y="910117"/>
                  <a:pt x="1096949" y="913761"/>
                </a:cubicBezTo>
                <a:cubicBezTo>
                  <a:pt x="1100593" y="910117"/>
                  <a:pt x="1102416" y="906473"/>
                  <a:pt x="1102416" y="902827"/>
                </a:cubicBezTo>
                <a:close/>
                <a:moveTo>
                  <a:pt x="422745" y="902827"/>
                </a:moveTo>
                <a:cubicBezTo>
                  <a:pt x="426389" y="906473"/>
                  <a:pt x="435500" y="917405"/>
                  <a:pt x="439145" y="915583"/>
                </a:cubicBezTo>
                <a:lnTo>
                  <a:pt x="437550" y="913306"/>
                </a:lnTo>
                <a:lnTo>
                  <a:pt x="439145" y="910117"/>
                </a:lnTo>
                <a:cubicBezTo>
                  <a:pt x="440966" y="911939"/>
                  <a:pt x="440966" y="910117"/>
                  <a:pt x="442789" y="911939"/>
                </a:cubicBezTo>
                <a:cubicBezTo>
                  <a:pt x="442789" y="911939"/>
                  <a:pt x="439145" y="910117"/>
                  <a:pt x="439145" y="908295"/>
                </a:cubicBezTo>
                <a:cubicBezTo>
                  <a:pt x="437322" y="908295"/>
                  <a:pt x="437322" y="910117"/>
                  <a:pt x="437322" y="910117"/>
                </a:cubicBezTo>
                <a:cubicBezTo>
                  <a:pt x="431856" y="904651"/>
                  <a:pt x="426389" y="902827"/>
                  <a:pt x="422745" y="902827"/>
                </a:cubicBezTo>
                <a:close/>
                <a:moveTo>
                  <a:pt x="304303" y="902827"/>
                </a:moveTo>
                <a:cubicBezTo>
                  <a:pt x="307948" y="908295"/>
                  <a:pt x="309771" y="908295"/>
                  <a:pt x="313414" y="906473"/>
                </a:cubicBezTo>
                <a:cubicBezTo>
                  <a:pt x="313414" y="906473"/>
                  <a:pt x="311592" y="906473"/>
                  <a:pt x="309771" y="902827"/>
                </a:cubicBezTo>
                <a:cubicBezTo>
                  <a:pt x="307948" y="902827"/>
                  <a:pt x="306126" y="904651"/>
                  <a:pt x="304303" y="902827"/>
                </a:cubicBezTo>
                <a:close/>
                <a:moveTo>
                  <a:pt x="147596" y="902827"/>
                </a:moveTo>
                <a:cubicBezTo>
                  <a:pt x="149419" y="910117"/>
                  <a:pt x="162174" y="913761"/>
                  <a:pt x="167640" y="921049"/>
                </a:cubicBezTo>
                <a:cubicBezTo>
                  <a:pt x="162174" y="915583"/>
                  <a:pt x="156707" y="899183"/>
                  <a:pt x="147596" y="902827"/>
                </a:cubicBezTo>
                <a:close/>
                <a:moveTo>
                  <a:pt x="3375247" y="901450"/>
                </a:moveTo>
                <a:lnTo>
                  <a:pt x="3367378" y="904651"/>
                </a:lnTo>
                <a:cubicBezTo>
                  <a:pt x="3370111" y="903739"/>
                  <a:pt x="3372844" y="902372"/>
                  <a:pt x="3375122" y="901461"/>
                </a:cubicBezTo>
                <a:close/>
                <a:moveTo>
                  <a:pt x="1194618" y="901370"/>
                </a:moveTo>
                <a:lnTo>
                  <a:pt x="1195346" y="902827"/>
                </a:lnTo>
                <a:lnTo>
                  <a:pt x="1194236" y="904423"/>
                </a:lnTo>
                <a:close/>
                <a:moveTo>
                  <a:pt x="3456664" y="901005"/>
                </a:moveTo>
                <a:cubicBezTo>
                  <a:pt x="3449376" y="899183"/>
                  <a:pt x="3443909" y="902827"/>
                  <a:pt x="3447553" y="908295"/>
                </a:cubicBezTo>
                <a:cubicBezTo>
                  <a:pt x="3453020" y="908295"/>
                  <a:pt x="3449376" y="901005"/>
                  <a:pt x="3456664" y="901005"/>
                </a:cubicBezTo>
                <a:close/>
                <a:moveTo>
                  <a:pt x="2582021" y="901005"/>
                </a:moveTo>
                <a:cubicBezTo>
                  <a:pt x="2578377" y="901005"/>
                  <a:pt x="2578377" y="902827"/>
                  <a:pt x="2574732" y="902827"/>
                </a:cubicBezTo>
                <a:cubicBezTo>
                  <a:pt x="2578377" y="906473"/>
                  <a:pt x="2578377" y="915583"/>
                  <a:pt x="2580199" y="919227"/>
                </a:cubicBezTo>
                <a:cubicBezTo>
                  <a:pt x="2587487" y="919227"/>
                  <a:pt x="2582021" y="908295"/>
                  <a:pt x="2582021" y="901005"/>
                </a:cubicBezTo>
                <a:close/>
                <a:moveTo>
                  <a:pt x="661449" y="901005"/>
                </a:moveTo>
                <a:cubicBezTo>
                  <a:pt x="657805" y="901005"/>
                  <a:pt x="654161" y="902827"/>
                  <a:pt x="650516" y="902827"/>
                </a:cubicBezTo>
                <a:cubicBezTo>
                  <a:pt x="652339" y="906473"/>
                  <a:pt x="657805" y="908295"/>
                  <a:pt x="663272" y="906473"/>
                </a:cubicBezTo>
                <a:cubicBezTo>
                  <a:pt x="661449" y="904651"/>
                  <a:pt x="661449" y="902827"/>
                  <a:pt x="661449" y="901005"/>
                </a:cubicBezTo>
                <a:close/>
                <a:moveTo>
                  <a:pt x="643228" y="901005"/>
                </a:moveTo>
                <a:cubicBezTo>
                  <a:pt x="637761" y="906473"/>
                  <a:pt x="645050" y="901005"/>
                  <a:pt x="645050" y="902827"/>
                </a:cubicBezTo>
                <a:cubicBezTo>
                  <a:pt x="645050" y="902827"/>
                  <a:pt x="643228" y="901005"/>
                  <a:pt x="643228" y="901005"/>
                </a:cubicBezTo>
                <a:close/>
                <a:moveTo>
                  <a:pt x="244172" y="901005"/>
                </a:moveTo>
                <a:lnTo>
                  <a:pt x="249448" y="903267"/>
                </a:lnTo>
                <a:lnTo>
                  <a:pt x="251460" y="904651"/>
                </a:lnTo>
                <a:lnTo>
                  <a:pt x="251391" y="904100"/>
                </a:lnTo>
                <a:lnTo>
                  <a:pt x="256927" y="906473"/>
                </a:lnTo>
                <a:cubicBezTo>
                  <a:pt x="256927" y="904651"/>
                  <a:pt x="251460" y="899183"/>
                  <a:pt x="249638" y="901005"/>
                </a:cubicBezTo>
                <a:cubicBezTo>
                  <a:pt x="249638" y="901005"/>
                  <a:pt x="250549" y="901917"/>
                  <a:pt x="251232" y="902828"/>
                </a:cubicBezTo>
                <a:lnTo>
                  <a:pt x="251391" y="904100"/>
                </a:lnTo>
                <a:lnTo>
                  <a:pt x="249448" y="903267"/>
                </a:lnTo>
                <a:lnTo>
                  <a:pt x="247816" y="902145"/>
                </a:lnTo>
                <a:cubicBezTo>
                  <a:pt x="246450" y="901006"/>
                  <a:pt x="245084" y="900094"/>
                  <a:pt x="244172" y="901005"/>
                </a:cubicBezTo>
                <a:close/>
                <a:moveTo>
                  <a:pt x="156707" y="901005"/>
                </a:moveTo>
                <a:cubicBezTo>
                  <a:pt x="160352" y="908295"/>
                  <a:pt x="173107" y="922872"/>
                  <a:pt x="178573" y="928339"/>
                </a:cubicBezTo>
                <a:cubicBezTo>
                  <a:pt x="173107" y="921049"/>
                  <a:pt x="163996" y="908295"/>
                  <a:pt x="156707" y="901005"/>
                </a:cubicBezTo>
                <a:close/>
                <a:moveTo>
                  <a:pt x="142130" y="901005"/>
                </a:moveTo>
                <a:cubicBezTo>
                  <a:pt x="147596" y="908295"/>
                  <a:pt x="154885" y="921049"/>
                  <a:pt x="163996" y="928339"/>
                </a:cubicBezTo>
                <a:lnTo>
                  <a:pt x="163996" y="924695"/>
                </a:lnTo>
                <a:cubicBezTo>
                  <a:pt x="167640" y="919227"/>
                  <a:pt x="169462" y="930160"/>
                  <a:pt x="176751" y="931983"/>
                </a:cubicBezTo>
                <a:cubicBezTo>
                  <a:pt x="165818" y="919227"/>
                  <a:pt x="153063" y="913761"/>
                  <a:pt x="142130" y="901005"/>
                </a:cubicBezTo>
                <a:close/>
                <a:moveTo>
                  <a:pt x="2591132" y="899183"/>
                </a:moveTo>
                <a:cubicBezTo>
                  <a:pt x="2598421" y="906473"/>
                  <a:pt x="2605709" y="910117"/>
                  <a:pt x="2603887" y="921049"/>
                </a:cubicBezTo>
                <a:cubicBezTo>
                  <a:pt x="2607531" y="921049"/>
                  <a:pt x="2609353" y="921049"/>
                  <a:pt x="2611176" y="921049"/>
                </a:cubicBezTo>
                <a:cubicBezTo>
                  <a:pt x="2609353" y="919227"/>
                  <a:pt x="2607531" y="919227"/>
                  <a:pt x="2605709" y="915583"/>
                </a:cubicBezTo>
                <a:cubicBezTo>
                  <a:pt x="2605709" y="915583"/>
                  <a:pt x="2607531" y="915583"/>
                  <a:pt x="2607531" y="913761"/>
                </a:cubicBezTo>
                <a:cubicBezTo>
                  <a:pt x="2611176" y="911939"/>
                  <a:pt x="2609353" y="915583"/>
                  <a:pt x="2611176" y="917405"/>
                </a:cubicBezTo>
                <a:cubicBezTo>
                  <a:pt x="2614820" y="910117"/>
                  <a:pt x="2611176" y="910117"/>
                  <a:pt x="2605709" y="908295"/>
                </a:cubicBezTo>
                <a:cubicBezTo>
                  <a:pt x="2609353" y="906473"/>
                  <a:pt x="2609353" y="904651"/>
                  <a:pt x="2607531" y="904651"/>
                </a:cubicBezTo>
                <a:cubicBezTo>
                  <a:pt x="2602065" y="904651"/>
                  <a:pt x="2598421" y="899183"/>
                  <a:pt x="2591132" y="899183"/>
                </a:cubicBezTo>
                <a:close/>
                <a:moveTo>
                  <a:pt x="2489090" y="899183"/>
                </a:moveTo>
                <a:cubicBezTo>
                  <a:pt x="2479979" y="901005"/>
                  <a:pt x="2485446" y="915583"/>
                  <a:pt x="2478157" y="919227"/>
                </a:cubicBezTo>
                <a:cubicBezTo>
                  <a:pt x="2476335" y="915583"/>
                  <a:pt x="2474513" y="911939"/>
                  <a:pt x="2474513" y="913761"/>
                </a:cubicBezTo>
                <a:cubicBezTo>
                  <a:pt x="2470868" y="924695"/>
                  <a:pt x="2469046" y="937450"/>
                  <a:pt x="2481801" y="944738"/>
                </a:cubicBezTo>
                <a:cubicBezTo>
                  <a:pt x="2492734" y="928339"/>
                  <a:pt x="2489090" y="917405"/>
                  <a:pt x="2489090" y="899183"/>
                </a:cubicBezTo>
                <a:close/>
                <a:moveTo>
                  <a:pt x="2474513" y="899183"/>
                </a:moveTo>
                <a:cubicBezTo>
                  <a:pt x="2461757" y="895539"/>
                  <a:pt x="2454469" y="919227"/>
                  <a:pt x="2443536" y="924695"/>
                </a:cubicBezTo>
                <a:cubicBezTo>
                  <a:pt x="2443536" y="928339"/>
                  <a:pt x="2445358" y="928339"/>
                  <a:pt x="2445358" y="931983"/>
                </a:cubicBezTo>
                <a:cubicBezTo>
                  <a:pt x="2454469" y="922872"/>
                  <a:pt x="2465402" y="911939"/>
                  <a:pt x="2474513" y="899183"/>
                </a:cubicBezTo>
                <a:close/>
                <a:moveTo>
                  <a:pt x="2408914" y="899183"/>
                </a:moveTo>
                <a:cubicBezTo>
                  <a:pt x="2407092" y="901005"/>
                  <a:pt x="2407092" y="902827"/>
                  <a:pt x="2405270" y="902827"/>
                </a:cubicBezTo>
                <a:cubicBezTo>
                  <a:pt x="2407092" y="904651"/>
                  <a:pt x="2408914" y="908295"/>
                  <a:pt x="2410737" y="908295"/>
                </a:cubicBezTo>
                <a:cubicBezTo>
                  <a:pt x="2407092" y="913761"/>
                  <a:pt x="2407092" y="915583"/>
                  <a:pt x="2408914" y="922872"/>
                </a:cubicBezTo>
                <a:cubicBezTo>
                  <a:pt x="2401626" y="924695"/>
                  <a:pt x="2410737" y="906473"/>
                  <a:pt x="2403448" y="910117"/>
                </a:cubicBezTo>
                <a:cubicBezTo>
                  <a:pt x="2403448" y="915583"/>
                  <a:pt x="2403448" y="919227"/>
                  <a:pt x="2403448" y="922872"/>
                </a:cubicBezTo>
                <a:cubicBezTo>
                  <a:pt x="2401626" y="928339"/>
                  <a:pt x="2399803" y="917405"/>
                  <a:pt x="2399803" y="922872"/>
                </a:cubicBezTo>
                <a:cubicBezTo>
                  <a:pt x="2392515" y="931983"/>
                  <a:pt x="2403448" y="937450"/>
                  <a:pt x="2403448" y="944738"/>
                </a:cubicBezTo>
                <a:cubicBezTo>
                  <a:pt x="2410737" y="939272"/>
                  <a:pt x="2412559" y="939272"/>
                  <a:pt x="2418025" y="931983"/>
                </a:cubicBezTo>
                <a:cubicBezTo>
                  <a:pt x="2414381" y="922872"/>
                  <a:pt x="2410737" y="910117"/>
                  <a:pt x="2408914" y="899183"/>
                </a:cubicBezTo>
                <a:close/>
                <a:moveTo>
                  <a:pt x="1344765" y="899183"/>
                </a:moveTo>
                <a:cubicBezTo>
                  <a:pt x="1337476" y="906473"/>
                  <a:pt x="1332009" y="906473"/>
                  <a:pt x="1324721" y="908295"/>
                </a:cubicBezTo>
                <a:cubicBezTo>
                  <a:pt x="1326543" y="910117"/>
                  <a:pt x="1326543" y="910117"/>
                  <a:pt x="1328365" y="911939"/>
                </a:cubicBezTo>
                <a:cubicBezTo>
                  <a:pt x="1333832" y="910117"/>
                  <a:pt x="1337476" y="913761"/>
                  <a:pt x="1341120" y="911939"/>
                </a:cubicBezTo>
                <a:cubicBezTo>
                  <a:pt x="1342942" y="910117"/>
                  <a:pt x="1342942" y="908295"/>
                  <a:pt x="1341120" y="906473"/>
                </a:cubicBezTo>
                <a:cubicBezTo>
                  <a:pt x="1342942" y="906473"/>
                  <a:pt x="1342942" y="906473"/>
                  <a:pt x="1344765" y="904651"/>
                </a:cubicBezTo>
                <a:cubicBezTo>
                  <a:pt x="1348410" y="908295"/>
                  <a:pt x="1341120" y="906473"/>
                  <a:pt x="1344765" y="908295"/>
                </a:cubicBezTo>
                <a:lnTo>
                  <a:pt x="1344765" y="904651"/>
                </a:lnTo>
                <a:close/>
                <a:moveTo>
                  <a:pt x="668738" y="899183"/>
                </a:moveTo>
                <a:cubicBezTo>
                  <a:pt x="666916" y="899183"/>
                  <a:pt x="665094" y="899183"/>
                  <a:pt x="663272" y="901005"/>
                </a:cubicBezTo>
                <a:cubicBezTo>
                  <a:pt x="663272" y="902827"/>
                  <a:pt x="665094" y="904651"/>
                  <a:pt x="665094" y="906473"/>
                </a:cubicBezTo>
                <a:cubicBezTo>
                  <a:pt x="666916" y="906473"/>
                  <a:pt x="665094" y="902827"/>
                  <a:pt x="672383" y="901005"/>
                </a:cubicBezTo>
                <a:cubicBezTo>
                  <a:pt x="668738" y="901005"/>
                  <a:pt x="670560" y="901005"/>
                  <a:pt x="668738" y="899183"/>
                </a:cubicBezTo>
                <a:close/>
                <a:moveTo>
                  <a:pt x="563052" y="899183"/>
                </a:moveTo>
                <a:cubicBezTo>
                  <a:pt x="555763" y="902827"/>
                  <a:pt x="566697" y="902827"/>
                  <a:pt x="568519" y="904651"/>
                </a:cubicBezTo>
                <a:cubicBezTo>
                  <a:pt x="568519" y="901005"/>
                  <a:pt x="564874" y="901005"/>
                  <a:pt x="563052" y="899183"/>
                </a:cubicBezTo>
                <a:close/>
                <a:moveTo>
                  <a:pt x="377190" y="899183"/>
                </a:moveTo>
                <a:cubicBezTo>
                  <a:pt x="382657" y="906473"/>
                  <a:pt x="380835" y="915583"/>
                  <a:pt x="391768" y="919227"/>
                </a:cubicBezTo>
                <a:cubicBezTo>
                  <a:pt x="386301" y="911939"/>
                  <a:pt x="388123" y="904651"/>
                  <a:pt x="379012" y="899183"/>
                </a:cubicBezTo>
                <a:cubicBezTo>
                  <a:pt x="379012" y="899183"/>
                  <a:pt x="377190" y="899183"/>
                  <a:pt x="377190" y="899183"/>
                </a:cubicBezTo>
                <a:close/>
                <a:moveTo>
                  <a:pt x="375368" y="899183"/>
                </a:moveTo>
                <a:cubicBezTo>
                  <a:pt x="375368" y="901005"/>
                  <a:pt x="373546" y="901005"/>
                  <a:pt x="373546" y="901005"/>
                </a:cubicBezTo>
                <a:cubicBezTo>
                  <a:pt x="375368" y="902827"/>
                  <a:pt x="377190" y="906473"/>
                  <a:pt x="379012" y="904651"/>
                </a:cubicBezTo>
                <a:cubicBezTo>
                  <a:pt x="377190" y="902827"/>
                  <a:pt x="375368" y="901005"/>
                  <a:pt x="375368" y="899183"/>
                </a:cubicBezTo>
                <a:close/>
                <a:moveTo>
                  <a:pt x="262393" y="899183"/>
                </a:moveTo>
                <a:cubicBezTo>
                  <a:pt x="260571" y="899183"/>
                  <a:pt x="256927" y="901005"/>
                  <a:pt x="256927" y="902827"/>
                </a:cubicBezTo>
                <a:cubicBezTo>
                  <a:pt x="260571" y="904651"/>
                  <a:pt x="267860" y="908295"/>
                  <a:pt x="269682" y="904651"/>
                </a:cubicBezTo>
                <a:cubicBezTo>
                  <a:pt x="269682" y="902827"/>
                  <a:pt x="266038" y="906473"/>
                  <a:pt x="264216" y="902827"/>
                </a:cubicBezTo>
                <a:cubicBezTo>
                  <a:pt x="262393" y="901005"/>
                  <a:pt x="262393" y="899183"/>
                  <a:pt x="262393" y="899183"/>
                </a:cubicBezTo>
                <a:close/>
                <a:moveTo>
                  <a:pt x="909265" y="897401"/>
                </a:moveTo>
                <a:cubicBezTo>
                  <a:pt x="911087" y="899223"/>
                  <a:pt x="912910" y="901046"/>
                  <a:pt x="914732" y="901046"/>
                </a:cubicBezTo>
                <a:cubicBezTo>
                  <a:pt x="914732" y="902868"/>
                  <a:pt x="914732" y="902868"/>
                  <a:pt x="914732" y="902868"/>
                </a:cubicBezTo>
                <a:cubicBezTo>
                  <a:pt x="914732" y="904700"/>
                  <a:pt x="912910" y="904700"/>
                  <a:pt x="911087" y="904700"/>
                </a:cubicBezTo>
                <a:lnTo>
                  <a:pt x="911087" y="904699"/>
                </a:lnTo>
                <a:close/>
                <a:moveTo>
                  <a:pt x="903799" y="897397"/>
                </a:moveTo>
                <a:cubicBezTo>
                  <a:pt x="905621" y="897397"/>
                  <a:pt x="907444" y="904694"/>
                  <a:pt x="905621" y="904694"/>
                </a:cubicBezTo>
                <a:cubicBezTo>
                  <a:pt x="907444" y="902864"/>
                  <a:pt x="901976" y="899219"/>
                  <a:pt x="903799" y="897397"/>
                </a:cubicBezTo>
                <a:close/>
                <a:moveTo>
                  <a:pt x="3427510" y="897361"/>
                </a:moveTo>
                <a:cubicBezTo>
                  <a:pt x="3422043" y="899183"/>
                  <a:pt x="3418399" y="897361"/>
                  <a:pt x="3416577" y="899183"/>
                </a:cubicBezTo>
                <a:cubicBezTo>
                  <a:pt x="3416577" y="906473"/>
                  <a:pt x="3427510" y="897361"/>
                  <a:pt x="3427510" y="901005"/>
                </a:cubicBezTo>
                <a:cubicBezTo>
                  <a:pt x="3432976" y="901005"/>
                  <a:pt x="3425687" y="899183"/>
                  <a:pt x="3427510" y="897361"/>
                </a:cubicBezTo>
                <a:close/>
                <a:moveTo>
                  <a:pt x="3135962" y="897361"/>
                </a:moveTo>
                <a:cubicBezTo>
                  <a:pt x="3134140" y="913761"/>
                  <a:pt x="3150539" y="921049"/>
                  <a:pt x="3161472" y="928339"/>
                </a:cubicBezTo>
                <a:cubicBezTo>
                  <a:pt x="3145073" y="941094"/>
                  <a:pt x="3134140" y="950204"/>
                  <a:pt x="3150539" y="964782"/>
                </a:cubicBezTo>
                <a:cubicBezTo>
                  <a:pt x="3152361" y="968427"/>
                  <a:pt x="3156006" y="955672"/>
                  <a:pt x="3159650" y="957494"/>
                </a:cubicBezTo>
                <a:cubicBezTo>
                  <a:pt x="3165116" y="959316"/>
                  <a:pt x="3168761" y="955672"/>
                  <a:pt x="3174227" y="948383"/>
                </a:cubicBezTo>
                <a:cubicBezTo>
                  <a:pt x="3177872" y="944738"/>
                  <a:pt x="3179694" y="942916"/>
                  <a:pt x="3181516" y="937450"/>
                </a:cubicBezTo>
                <a:cubicBezTo>
                  <a:pt x="3181516" y="939272"/>
                  <a:pt x="3181516" y="941094"/>
                  <a:pt x="3183338" y="942916"/>
                </a:cubicBezTo>
                <a:cubicBezTo>
                  <a:pt x="3188805" y="933804"/>
                  <a:pt x="3199738" y="928339"/>
                  <a:pt x="3207027" y="921049"/>
                </a:cubicBezTo>
                <a:cubicBezTo>
                  <a:pt x="3194271" y="915583"/>
                  <a:pt x="3181516" y="913761"/>
                  <a:pt x="3168761" y="910117"/>
                </a:cubicBezTo>
                <a:cubicBezTo>
                  <a:pt x="3168761" y="911939"/>
                  <a:pt x="3168761" y="913761"/>
                  <a:pt x="3168761" y="913761"/>
                </a:cubicBezTo>
                <a:cubicBezTo>
                  <a:pt x="3161472" y="917405"/>
                  <a:pt x="3166939" y="906473"/>
                  <a:pt x="3163294" y="906473"/>
                </a:cubicBezTo>
                <a:cubicBezTo>
                  <a:pt x="3156006" y="904651"/>
                  <a:pt x="3157828" y="917405"/>
                  <a:pt x="3152361" y="915583"/>
                </a:cubicBezTo>
                <a:cubicBezTo>
                  <a:pt x="3148717" y="915583"/>
                  <a:pt x="3152361" y="908295"/>
                  <a:pt x="3150539" y="904651"/>
                </a:cubicBezTo>
                <a:cubicBezTo>
                  <a:pt x="3141428" y="906473"/>
                  <a:pt x="3145073" y="895539"/>
                  <a:pt x="3135962" y="897361"/>
                </a:cubicBezTo>
                <a:close/>
                <a:moveTo>
                  <a:pt x="3134140" y="897361"/>
                </a:moveTo>
                <a:cubicBezTo>
                  <a:pt x="3128673" y="895539"/>
                  <a:pt x="3132317" y="904651"/>
                  <a:pt x="3135962" y="902827"/>
                </a:cubicBezTo>
                <a:cubicBezTo>
                  <a:pt x="3135962" y="899183"/>
                  <a:pt x="3134140" y="901005"/>
                  <a:pt x="3134140" y="897361"/>
                </a:cubicBezTo>
                <a:close/>
                <a:moveTo>
                  <a:pt x="2509134" y="897361"/>
                </a:moveTo>
                <a:cubicBezTo>
                  <a:pt x="2505490" y="901005"/>
                  <a:pt x="2503667" y="904651"/>
                  <a:pt x="2503667" y="910117"/>
                </a:cubicBezTo>
                <a:cubicBezTo>
                  <a:pt x="2505490" y="910117"/>
                  <a:pt x="2507312" y="908295"/>
                  <a:pt x="2509134" y="908295"/>
                </a:cubicBezTo>
                <a:cubicBezTo>
                  <a:pt x="2509134" y="904651"/>
                  <a:pt x="2509134" y="901005"/>
                  <a:pt x="2509134" y="897361"/>
                </a:cubicBezTo>
                <a:close/>
                <a:moveTo>
                  <a:pt x="1326543" y="897361"/>
                </a:moveTo>
                <a:lnTo>
                  <a:pt x="1326283" y="899704"/>
                </a:lnTo>
                <a:lnTo>
                  <a:pt x="1325983" y="898202"/>
                </a:lnTo>
                <a:close/>
                <a:moveTo>
                  <a:pt x="592207" y="897361"/>
                </a:moveTo>
                <a:cubicBezTo>
                  <a:pt x="590385" y="901005"/>
                  <a:pt x="592207" y="902827"/>
                  <a:pt x="592207" y="904651"/>
                </a:cubicBezTo>
                <a:cubicBezTo>
                  <a:pt x="599496" y="899183"/>
                  <a:pt x="588562" y="917405"/>
                  <a:pt x="599496" y="908295"/>
                </a:cubicBezTo>
                <a:cubicBezTo>
                  <a:pt x="601318" y="908295"/>
                  <a:pt x="599496" y="904651"/>
                  <a:pt x="597673" y="902827"/>
                </a:cubicBezTo>
                <a:cubicBezTo>
                  <a:pt x="601318" y="904651"/>
                  <a:pt x="603140" y="911939"/>
                  <a:pt x="612251" y="906473"/>
                </a:cubicBezTo>
                <a:cubicBezTo>
                  <a:pt x="604963" y="902827"/>
                  <a:pt x="599496" y="901005"/>
                  <a:pt x="592207" y="897361"/>
                </a:cubicBezTo>
                <a:close/>
                <a:moveTo>
                  <a:pt x="482876" y="897361"/>
                </a:moveTo>
                <a:cubicBezTo>
                  <a:pt x="484700" y="899183"/>
                  <a:pt x="491987" y="904651"/>
                  <a:pt x="495632" y="902827"/>
                </a:cubicBezTo>
                <a:cubicBezTo>
                  <a:pt x="491987" y="902827"/>
                  <a:pt x="488343" y="901005"/>
                  <a:pt x="482876" y="897361"/>
                </a:cubicBezTo>
                <a:close/>
                <a:moveTo>
                  <a:pt x="701537" y="896906"/>
                </a:moveTo>
                <a:cubicBezTo>
                  <a:pt x="699259" y="895995"/>
                  <a:pt x="696983" y="895539"/>
                  <a:pt x="694249" y="897361"/>
                </a:cubicBezTo>
                <a:cubicBezTo>
                  <a:pt x="692426" y="899183"/>
                  <a:pt x="692426" y="901005"/>
                  <a:pt x="688782" y="902827"/>
                </a:cubicBezTo>
                <a:cubicBezTo>
                  <a:pt x="694249" y="908295"/>
                  <a:pt x="707004" y="904651"/>
                  <a:pt x="708826" y="899183"/>
                </a:cubicBezTo>
                <a:cubicBezTo>
                  <a:pt x="706092" y="899183"/>
                  <a:pt x="703815" y="897817"/>
                  <a:pt x="701537" y="896906"/>
                </a:cubicBezTo>
                <a:close/>
                <a:moveTo>
                  <a:pt x="651428" y="896906"/>
                </a:moveTo>
                <a:cubicBezTo>
                  <a:pt x="648695" y="896906"/>
                  <a:pt x="645961" y="897361"/>
                  <a:pt x="643228" y="899183"/>
                </a:cubicBezTo>
                <a:cubicBezTo>
                  <a:pt x="650516" y="901005"/>
                  <a:pt x="654161" y="902827"/>
                  <a:pt x="659627" y="897361"/>
                </a:cubicBezTo>
                <a:cubicBezTo>
                  <a:pt x="656894" y="897361"/>
                  <a:pt x="654161" y="896906"/>
                  <a:pt x="651428" y="896906"/>
                </a:cubicBezTo>
                <a:close/>
                <a:moveTo>
                  <a:pt x="274465" y="896223"/>
                </a:moveTo>
                <a:cubicBezTo>
                  <a:pt x="273327" y="895539"/>
                  <a:pt x="272415" y="895539"/>
                  <a:pt x="271504" y="897361"/>
                </a:cubicBezTo>
                <a:cubicBezTo>
                  <a:pt x="273327" y="901005"/>
                  <a:pt x="276971" y="895539"/>
                  <a:pt x="278793" y="899183"/>
                </a:cubicBezTo>
                <a:cubicBezTo>
                  <a:pt x="276971" y="898272"/>
                  <a:pt x="275604" y="896906"/>
                  <a:pt x="274465" y="896223"/>
                </a:cubicBezTo>
                <a:close/>
                <a:moveTo>
                  <a:pt x="3196092" y="895560"/>
                </a:moveTo>
                <a:cubicBezTo>
                  <a:pt x="3196092" y="901027"/>
                  <a:pt x="3201559" y="902849"/>
                  <a:pt x="3199737" y="910141"/>
                </a:cubicBezTo>
                <a:cubicBezTo>
                  <a:pt x="3197915" y="910141"/>
                  <a:pt x="3196092" y="910141"/>
                  <a:pt x="3194270" y="910141"/>
                </a:cubicBezTo>
                <a:cubicBezTo>
                  <a:pt x="3192448" y="904674"/>
                  <a:pt x="3190626" y="897382"/>
                  <a:pt x="3196092" y="895560"/>
                </a:cubicBezTo>
                <a:close/>
                <a:moveTo>
                  <a:pt x="3310890" y="895539"/>
                </a:moveTo>
                <a:cubicBezTo>
                  <a:pt x="3307246" y="899183"/>
                  <a:pt x="3298135" y="899183"/>
                  <a:pt x="3305424" y="904651"/>
                </a:cubicBezTo>
                <a:cubicBezTo>
                  <a:pt x="3307246" y="906473"/>
                  <a:pt x="3310890" y="899183"/>
                  <a:pt x="3314535" y="899183"/>
                </a:cubicBezTo>
                <a:cubicBezTo>
                  <a:pt x="3312713" y="897361"/>
                  <a:pt x="3310890" y="897361"/>
                  <a:pt x="3310890" y="895539"/>
                </a:cubicBezTo>
                <a:close/>
                <a:moveTo>
                  <a:pt x="1297388" y="895539"/>
                </a:moveTo>
                <a:cubicBezTo>
                  <a:pt x="1295566" y="895539"/>
                  <a:pt x="1293744" y="897361"/>
                  <a:pt x="1291922" y="899183"/>
                </a:cubicBezTo>
                <a:cubicBezTo>
                  <a:pt x="1291922" y="901005"/>
                  <a:pt x="1293744" y="901005"/>
                  <a:pt x="1297388" y="902827"/>
                </a:cubicBezTo>
                <a:cubicBezTo>
                  <a:pt x="1297388" y="901005"/>
                  <a:pt x="1301033" y="897361"/>
                  <a:pt x="1297388" y="895539"/>
                </a:cubicBezTo>
                <a:close/>
                <a:moveTo>
                  <a:pt x="295193" y="895539"/>
                </a:moveTo>
                <a:cubicBezTo>
                  <a:pt x="287904" y="902827"/>
                  <a:pt x="297015" y="897361"/>
                  <a:pt x="298837" y="899183"/>
                </a:cubicBezTo>
                <a:cubicBezTo>
                  <a:pt x="298837" y="897361"/>
                  <a:pt x="295193" y="897361"/>
                  <a:pt x="295193" y="895539"/>
                </a:cubicBezTo>
                <a:close/>
                <a:moveTo>
                  <a:pt x="2698515" y="894597"/>
                </a:moveTo>
                <a:lnTo>
                  <a:pt x="2698811" y="895386"/>
                </a:lnTo>
                <a:lnTo>
                  <a:pt x="2698640" y="895539"/>
                </a:lnTo>
                <a:close/>
                <a:moveTo>
                  <a:pt x="3186072" y="894172"/>
                </a:moveTo>
                <a:cubicBezTo>
                  <a:pt x="3182883" y="895084"/>
                  <a:pt x="3179694" y="896450"/>
                  <a:pt x="3176050" y="895539"/>
                </a:cubicBezTo>
                <a:cubicBezTo>
                  <a:pt x="3170583" y="913761"/>
                  <a:pt x="3194271" y="913761"/>
                  <a:pt x="3210671" y="919227"/>
                </a:cubicBezTo>
                <a:cubicBezTo>
                  <a:pt x="3216137" y="910117"/>
                  <a:pt x="3208849" y="895539"/>
                  <a:pt x="3196093" y="895539"/>
                </a:cubicBezTo>
                <a:cubicBezTo>
                  <a:pt x="3192449" y="892806"/>
                  <a:pt x="3189261" y="893261"/>
                  <a:pt x="3186072" y="894172"/>
                </a:cubicBezTo>
                <a:close/>
                <a:moveTo>
                  <a:pt x="852778" y="893717"/>
                </a:moveTo>
                <a:cubicBezTo>
                  <a:pt x="856422" y="899183"/>
                  <a:pt x="861889" y="901005"/>
                  <a:pt x="869177" y="902827"/>
                </a:cubicBezTo>
                <a:cubicBezTo>
                  <a:pt x="867355" y="897361"/>
                  <a:pt x="861889" y="888250"/>
                  <a:pt x="852778" y="893717"/>
                </a:cubicBezTo>
                <a:close/>
                <a:moveTo>
                  <a:pt x="829089" y="893717"/>
                </a:moveTo>
                <a:cubicBezTo>
                  <a:pt x="818156" y="895539"/>
                  <a:pt x="805401" y="897361"/>
                  <a:pt x="796290" y="901005"/>
                </a:cubicBezTo>
                <a:cubicBezTo>
                  <a:pt x="818156" y="911939"/>
                  <a:pt x="840022" y="919227"/>
                  <a:pt x="863711" y="921049"/>
                </a:cubicBezTo>
                <a:cubicBezTo>
                  <a:pt x="858244" y="921049"/>
                  <a:pt x="852778" y="919227"/>
                  <a:pt x="847311" y="915583"/>
                </a:cubicBezTo>
                <a:cubicBezTo>
                  <a:pt x="854600" y="915583"/>
                  <a:pt x="860066" y="919227"/>
                  <a:pt x="867355" y="919227"/>
                </a:cubicBezTo>
                <a:cubicBezTo>
                  <a:pt x="863711" y="917405"/>
                  <a:pt x="861889" y="915583"/>
                  <a:pt x="858244" y="913761"/>
                </a:cubicBezTo>
                <a:cubicBezTo>
                  <a:pt x="863711" y="915583"/>
                  <a:pt x="867355" y="917405"/>
                  <a:pt x="871000" y="921049"/>
                </a:cubicBezTo>
                <a:cubicBezTo>
                  <a:pt x="874644" y="915583"/>
                  <a:pt x="869177" y="911939"/>
                  <a:pt x="869177" y="908295"/>
                </a:cubicBezTo>
                <a:cubicBezTo>
                  <a:pt x="871000" y="908295"/>
                  <a:pt x="871000" y="908295"/>
                  <a:pt x="872822" y="910117"/>
                </a:cubicBezTo>
                <a:cubicBezTo>
                  <a:pt x="874644" y="902827"/>
                  <a:pt x="854600" y="899183"/>
                  <a:pt x="845489" y="902827"/>
                </a:cubicBezTo>
                <a:cubicBezTo>
                  <a:pt x="847311" y="897361"/>
                  <a:pt x="854600" y="902827"/>
                  <a:pt x="858244" y="901005"/>
                </a:cubicBezTo>
                <a:cubicBezTo>
                  <a:pt x="841845" y="886428"/>
                  <a:pt x="821801" y="902827"/>
                  <a:pt x="803579" y="902827"/>
                </a:cubicBezTo>
                <a:cubicBezTo>
                  <a:pt x="810868" y="899183"/>
                  <a:pt x="821801" y="899183"/>
                  <a:pt x="829089" y="893717"/>
                </a:cubicBezTo>
                <a:close/>
                <a:moveTo>
                  <a:pt x="548475" y="893717"/>
                </a:moveTo>
                <a:cubicBezTo>
                  <a:pt x="546653" y="895539"/>
                  <a:pt x="552119" y="899183"/>
                  <a:pt x="555763" y="902827"/>
                </a:cubicBezTo>
                <a:cubicBezTo>
                  <a:pt x="557586" y="901005"/>
                  <a:pt x="555763" y="897361"/>
                  <a:pt x="555763" y="895539"/>
                </a:cubicBezTo>
                <a:cubicBezTo>
                  <a:pt x="553941" y="895539"/>
                  <a:pt x="552119" y="893717"/>
                  <a:pt x="548475" y="893717"/>
                </a:cubicBezTo>
                <a:close/>
                <a:moveTo>
                  <a:pt x="249638" y="893717"/>
                </a:moveTo>
                <a:cubicBezTo>
                  <a:pt x="253282" y="899183"/>
                  <a:pt x="255105" y="897361"/>
                  <a:pt x="256927" y="895539"/>
                </a:cubicBezTo>
                <a:cubicBezTo>
                  <a:pt x="255105" y="895539"/>
                  <a:pt x="251460" y="893717"/>
                  <a:pt x="249638" y="893717"/>
                </a:cubicBezTo>
                <a:close/>
                <a:moveTo>
                  <a:pt x="165818" y="893717"/>
                </a:moveTo>
                <a:lnTo>
                  <a:pt x="167578" y="895037"/>
                </a:lnTo>
                <a:lnTo>
                  <a:pt x="172195" y="900095"/>
                </a:lnTo>
                <a:lnTo>
                  <a:pt x="177297" y="916532"/>
                </a:lnTo>
                <a:close/>
                <a:moveTo>
                  <a:pt x="1066883" y="892807"/>
                </a:moveTo>
                <a:lnTo>
                  <a:pt x="1066200" y="894856"/>
                </a:lnTo>
                <a:lnTo>
                  <a:pt x="1064647" y="895042"/>
                </a:lnTo>
                <a:close/>
                <a:moveTo>
                  <a:pt x="3411110" y="891894"/>
                </a:moveTo>
                <a:cubicBezTo>
                  <a:pt x="3405643" y="891894"/>
                  <a:pt x="3407466" y="895539"/>
                  <a:pt x="3409288" y="897361"/>
                </a:cubicBezTo>
                <a:cubicBezTo>
                  <a:pt x="3412932" y="897361"/>
                  <a:pt x="3412932" y="893717"/>
                  <a:pt x="3418399" y="895539"/>
                </a:cubicBezTo>
                <a:cubicBezTo>
                  <a:pt x="3420221" y="891894"/>
                  <a:pt x="3411110" y="895539"/>
                  <a:pt x="3411110" y="891894"/>
                </a:cubicBezTo>
                <a:close/>
                <a:moveTo>
                  <a:pt x="3156006" y="891894"/>
                </a:moveTo>
                <a:cubicBezTo>
                  <a:pt x="3152361" y="891894"/>
                  <a:pt x="3146895" y="891894"/>
                  <a:pt x="3146895" y="897361"/>
                </a:cubicBezTo>
                <a:cubicBezTo>
                  <a:pt x="3150539" y="899183"/>
                  <a:pt x="3157828" y="897361"/>
                  <a:pt x="3156006" y="891894"/>
                </a:cubicBezTo>
                <a:close/>
                <a:moveTo>
                  <a:pt x="2421669" y="891894"/>
                </a:moveTo>
                <a:cubicBezTo>
                  <a:pt x="2418025" y="891894"/>
                  <a:pt x="2418025" y="906473"/>
                  <a:pt x="2421669" y="902827"/>
                </a:cubicBezTo>
                <a:cubicBezTo>
                  <a:pt x="2419847" y="899183"/>
                  <a:pt x="2421669" y="897361"/>
                  <a:pt x="2421669" y="891894"/>
                </a:cubicBezTo>
                <a:close/>
                <a:moveTo>
                  <a:pt x="1264589" y="891894"/>
                </a:moveTo>
                <a:cubicBezTo>
                  <a:pt x="1262767" y="893717"/>
                  <a:pt x="1257300" y="895539"/>
                  <a:pt x="1257300" y="899183"/>
                </a:cubicBezTo>
                <a:cubicBezTo>
                  <a:pt x="1260945" y="901005"/>
                  <a:pt x="1268233" y="897361"/>
                  <a:pt x="1264589" y="891894"/>
                </a:cubicBezTo>
                <a:close/>
                <a:moveTo>
                  <a:pt x="1160725" y="891894"/>
                </a:moveTo>
                <a:cubicBezTo>
                  <a:pt x="1157081" y="893717"/>
                  <a:pt x="1158903" y="901005"/>
                  <a:pt x="1153436" y="902827"/>
                </a:cubicBezTo>
                <a:cubicBezTo>
                  <a:pt x="1160725" y="902827"/>
                  <a:pt x="1160725" y="897361"/>
                  <a:pt x="1160725" y="891894"/>
                </a:cubicBezTo>
                <a:close/>
                <a:moveTo>
                  <a:pt x="1118815" y="891894"/>
                </a:moveTo>
                <a:lnTo>
                  <a:pt x="1118953" y="892860"/>
                </a:lnTo>
                <a:lnTo>
                  <a:pt x="1117676" y="894400"/>
                </a:lnTo>
                <a:lnTo>
                  <a:pt x="1115108" y="896528"/>
                </a:lnTo>
                <a:close/>
                <a:moveTo>
                  <a:pt x="650516" y="891894"/>
                </a:moveTo>
                <a:cubicBezTo>
                  <a:pt x="648694" y="893717"/>
                  <a:pt x="648694" y="893717"/>
                  <a:pt x="646872" y="895539"/>
                </a:cubicBezTo>
                <a:cubicBezTo>
                  <a:pt x="650516" y="895539"/>
                  <a:pt x="654161" y="895539"/>
                  <a:pt x="657805" y="895539"/>
                </a:cubicBezTo>
                <a:cubicBezTo>
                  <a:pt x="657805" y="893717"/>
                  <a:pt x="652339" y="891894"/>
                  <a:pt x="650516" y="891894"/>
                </a:cubicBezTo>
                <a:close/>
                <a:moveTo>
                  <a:pt x="625006" y="891894"/>
                </a:moveTo>
                <a:cubicBezTo>
                  <a:pt x="626828" y="899183"/>
                  <a:pt x="632296" y="901005"/>
                  <a:pt x="637761" y="897361"/>
                </a:cubicBezTo>
                <a:cubicBezTo>
                  <a:pt x="635939" y="895539"/>
                  <a:pt x="628650" y="893717"/>
                  <a:pt x="625006" y="891894"/>
                </a:cubicBezTo>
                <a:close/>
                <a:moveTo>
                  <a:pt x="404523" y="891894"/>
                </a:moveTo>
                <a:cubicBezTo>
                  <a:pt x="404523" y="897361"/>
                  <a:pt x="413634" y="899183"/>
                  <a:pt x="417278" y="902827"/>
                </a:cubicBezTo>
                <a:cubicBezTo>
                  <a:pt x="404523" y="895539"/>
                  <a:pt x="393590" y="890072"/>
                  <a:pt x="382657" y="895539"/>
                </a:cubicBezTo>
                <a:cubicBezTo>
                  <a:pt x="389946" y="897361"/>
                  <a:pt x="389946" y="908295"/>
                  <a:pt x="397234" y="910117"/>
                </a:cubicBezTo>
                <a:lnTo>
                  <a:pt x="395412" y="910117"/>
                </a:lnTo>
                <a:cubicBezTo>
                  <a:pt x="395412" y="913761"/>
                  <a:pt x="397234" y="915583"/>
                  <a:pt x="400879" y="919227"/>
                </a:cubicBezTo>
                <a:cubicBezTo>
                  <a:pt x="400879" y="917405"/>
                  <a:pt x="399056" y="913761"/>
                  <a:pt x="397234" y="911939"/>
                </a:cubicBezTo>
                <a:cubicBezTo>
                  <a:pt x="397234" y="911939"/>
                  <a:pt x="395412" y="910117"/>
                  <a:pt x="395412" y="910117"/>
                </a:cubicBezTo>
                <a:lnTo>
                  <a:pt x="398680" y="911939"/>
                </a:lnTo>
                <a:lnTo>
                  <a:pt x="407256" y="916722"/>
                </a:lnTo>
                <a:lnTo>
                  <a:pt x="415193" y="918401"/>
                </a:lnTo>
                <a:lnTo>
                  <a:pt x="422745" y="924695"/>
                </a:lnTo>
                <a:cubicBezTo>
                  <a:pt x="424567" y="921049"/>
                  <a:pt x="422745" y="919227"/>
                  <a:pt x="422745" y="917405"/>
                </a:cubicBezTo>
                <a:lnTo>
                  <a:pt x="412927" y="915770"/>
                </a:lnTo>
                <a:lnTo>
                  <a:pt x="411812" y="913761"/>
                </a:lnTo>
                <a:cubicBezTo>
                  <a:pt x="411812" y="913761"/>
                  <a:pt x="411812" y="915583"/>
                  <a:pt x="409989" y="915583"/>
                </a:cubicBezTo>
                <a:cubicBezTo>
                  <a:pt x="411812" y="910117"/>
                  <a:pt x="411812" y="908295"/>
                  <a:pt x="404523" y="902827"/>
                </a:cubicBezTo>
                <a:cubicBezTo>
                  <a:pt x="411812" y="906473"/>
                  <a:pt x="415456" y="913761"/>
                  <a:pt x="422745" y="915583"/>
                </a:cubicBezTo>
                <a:cubicBezTo>
                  <a:pt x="424567" y="911939"/>
                  <a:pt x="417278" y="908295"/>
                  <a:pt x="417278" y="904651"/>
                </a:cubicBezTo>
                <a:cubicBezTo>
                  <a:pt x="422745" y="904651"/>
                  <a:pt x="411812" y="899183"/>
                  <a:pt x="419100" y="897361"/>
                </a:cubicBezTo>
                <a:cubicBezTo>
                  <a:pt x="415456" y="895539"/>
                  <a:pt x="409989" y="893717"/>
                  <a:pt x="404523" y="891894"/>
                </a:cubicBezTo>
                <a:close/>
                <a:moveTo>
                  <a:pt x="338926" y="891894"/>
                </a:moveTo>
                <a:cubicBezTo>
                  <a:pt x="337102" y="901005"/>
                  <a:pt x="344391" y="893717"/>
                  <a:pt x="348037" y="895539"/>
                </a:cubicBezTo>
                <a:cubicBezTo>
                  <a:pt x="346213" y="893717"/>
                  <a:pt x="340747" y="891894"/>
                  <a:pt x="338926" y="891894"/>
                </a:cubicBezTo>
                <a:close/>
                <a:moveTo>
                  <a:pt x="118442" y="891894"/>
                </a:moveTo>
                <a:lnTo>
                  <a:pt x="123784" y="904503"/>
                </a:lnTo>
                <a:lnTo>
                  <a:pt x="119125" y="898956"/>
                </a:lnTo>
                <a:cubicBezTo>
                  <a:pt x="118442" y="896906"/>
                  <a:pt x="118442" y="894628"/>
                  <a:pt x="118442" y="891894"/>
                </a:cubicBezTo>
                <a:close/>
                <a:moveTo>
                  <a:pt x="3225248" y="890072"/>
                </a:moveTo>
                <a:cubicBezTo>
                  <a:pt x="3221604" y="890072"/>
                  <a:pt x="3217960" y="893717"/>
                  <a:pt x="3219782" y="895539"/>
                </a:cubicBezTo>
                <a:cubicBezTo>
                  <a:pt x="3223426" y="890072"/>
                  <a:pt x="3225248" y="895539"/>
                  <a:pt x="3227071" y="897361"/>
                </a:cubicBezTo>
                <a:cubicBezTo>
                  <a:pt x="3232537" y="897361"/>
                  <a:pt x="3225248" y="893717"/>
                  <a:pt x="3225248" y="890072"/>
                </a:cubicBezTo>
                <a:close/>
                <a:moveTo>
                  <a:pt x="3205204" y="890072"/>
                </a:moveTo>
                <a:cubicBezTo>
                  <a:pt x="3201560" y="891894"/>
                  <a:pt x="3208849" y="895539"/>
                  <a:pt x="3210671" y="897361"/>
                </a:cubicBezTo>
                <a:cubicBezTo>
                  <a:pt x="3216137" y="895539"/>
                  <a:pt x="3208849" y="890072"/>
                  <a:pt x="3205204" y="890072"/>
                </a:cubicBezTo>
                <a:close/>
                <a:moveTo>
                  <a:pt x="419100" y="890072"/>
                </a:moveTo>
                <a:cubicBezTo>
                  <a:pt x="420923" y="893717"/>
                  <a:pt x="422745" y="891894"/>
                  <a:pt x="424567" y="893717"/>
                </a:cubicBezTo>
                <a:cubicBezTo>
                  <a:pt x="422745" y="895539"/>
                  <a:pt x="417278" y="893717"/>
                  <a:pt x="419100" y="890072"/>
                </a:cubicBezTo>
                <a:close/>
                <a:moveTo>
                  <a:pt x="1303267" y="889969"/>
                </a:moveTo>
                <a:lnTo>
                  <a:pt x="1302855" y="891894"/>
                </a:lnTo>
                <a:lnTo>
                  <a:pt x="1302490" y="891530"/>
                </a:lnTo>
                <a:lnTo>
                  <a:pt x="1302855" y="890072"/>
                </a:lnTo>
                <a:close/>
                <a:moveTo>
                  <a:pt x="238846" y="889477"/>
                </a:moveTo>
                <a:lnTo>
                  <a:pt x="240251" y="889784"/>
                </a:lnTo>
                <a:lnTo>
                  <a:pt x="240527" y="890072"/>
                </a:lnTo>
                <a:close/>
                <a:moveTo>
                  <a:pt x="3161700" y="889389"/>
                </a:moveTo>
                <a:cubicBezTo>
                  <a:pt x="3160106" y="890072"/>
                  <a:pt x="3158739" y="890983"/>
                  <a:pt x="3157828" y="890072"/>
                </a:cubicBezTo>
                <a:cubicBezTo>
                  <a:pt x="3163294" y="895539"/>
                  <a:pt x="3166939" y="890072"/>
                  <a:pt x="3165116" y="897361"/>
                </a:cubicBezTo>
                <a:cubicBezTo>
                  <a:pt x="3157828" y="893717"/>
                  <a:pt x="3161472" y="899183"/>
                  <a:pt x="3159650" y="899183"/>
                </a:cubicBezTo>
                <a:cubicBezTo>
                  <a:pt x="3163294" y="899183"/>
                  <a:pt x="3166939" y="902827"/>
                  <a:pt x="3168761" y="904651"/>
                </a:cubicBezTo>
                <a:cubicBezTo>
                  <a:pt x="3174227" y="899183"/>
                  <a:pt x="3161472" y="895539"/>
                  <a:pt x="3166939" y="890072"/>
                </a:cubicBezTo>
                <a:cubicBezTo>
                  <a:pt x="3165117" y="888250"/>
                  <a:pt x="3163294" y="888706"/>
                  <a:pt x="3161700" y="889389"/>
                </a:cubicBezTo>
                <a:close/>
                <a:moveTo>
                  <a:pt x="1425404" y="888343"/>
                </a:moveTo>
                <a:lnTo>
                  <a:pt x="1427217" y="888706"/>
                </a:lnTo>
                <a:lnTo>
                  <a:pt x="1434051" y="895539"/>
                </a:lnTo>
                <a:cubicBezTo>
                  <a:pt x="1430407" y="893717"/>
                  <a:pt x="1426763" y="893717"/>
                  <a:pt x="1423118" y="895539"/>
                </a:cubicBezTo>
                <a:cubicBezTo>
                  <a:pt x="1423118" y="893717"/>
                  <a:pt x="1426763" y="891894"/>
                  <a:pt x="1426763" y="890072"/>
                </a:cubicBezTo>
                <a:close/>
                <a:moveTo>
                  <a:pt x="3429332" y="888250"/>
                </a:moveTo>
                <a:cubicBezTo>
                  <a:pt x="3429332" y="890072"/>
                  <a:pt x="3429332" y="891894"/>
                  <a:pt x="3429332" y="893717"/>
                </a:cubicBezTo>
                <a:cubicBezTo>
                  <a:pt x="3431154" y="899183"/>
                  <a:pt x="3438443" y="901005"/>
                  <a:pt x="3440265" y="897361"/>
                </a:cubicBezTo>
                <a:cubicBezTo>
                  <a:pt x="3436621" y="895539"/>
                  <a:pt x="3432976" y="893717"/>
                  <a:pt x="3429332" y="893717"/>
                </a:cubicBezTo>
                <a:cubicBezTo>
                  <a:pt x="3431154" y="890072"/>
                  <a:pt x="3434798" y="890072"/>
                  <a:pt x="3436621" y="890072"/>
                </a:cubicBezTo>
                <a:cubicBezTo>
                  <a:pt x="3436621" y="888250"/>
                  <a:pt x="3432976" y="888250"/>
                  <a:pt x="3429332" y="888250"/>
                </a:cubicBezTo>
                <a:close/>
                <a:moveTo>
                  <a:pt x="3254403" y="888250"/>
                </a:moveTo>
                <a:cubicBezTo>
                  <a:pt x="3250759" y="884606"/>
                  <a:pt x="3254403" y="897361"/>
                  <a:pt x="3261692" y="897361"/>
                </a:cubicBezTo>
                <a:cubicBezTo>
                  <a:pt x="3259869" y="891894"/>
                  <a:pt x="3256225" y="891894"/>
                  <a:pt x="3254403" y="888250"/>
                </a:cubicBezTo>
                <a:close/>
                <a:moveTo>
                  <a:pt x="2297762" y="888250"/>
                </a:moveTo>
                <a:cubicBezTo>
                  <a:pt x="2294117" y="888250"/>
                  <a:pt x="2294117" y="891894"/>
                  <a:pt x="2290473" y="893717"/>
                </a:cubicBezTo>
                <a:cubicBezTo>
                  <a:pt x="2295940" y="893717"/>
                  <a:pt x="2294117" y="899183"/>
                  <a:pt x="2297762" y="901005"/>
                </a:cubicBezTo>
                <a:cubicBezTo>
                  <a:pt x="2295940" y="904651"/>
                  <a:pt x="2295940" y="899183"/>
                  <a:pt x="2292295" y="901005"/>
                </a:cubicBezTo>
                <a:cubicBezTo>
                  <a:pt x="2290473" y="904651"/>
                  <a:pt x="2290473" y="906473"/>
                  <a:pt x="2290473" y="910117"/>
                </a:cubicBezTo>
                <a:cubicBezTo>
                  <a:pt x="2297762" y="910117"/>
                  <a:pt x="2297762" y="901005"/>
                  <a:pt x="2301406" y="897361"/>
                </a:cubicBezTo>
                <a:cubicBezTo>
                  <a:pt x="2303228" y="891894"/>
                  <a:pt x="2295940" y="895539"/>
                  <a:pt x="2297762" y="888250"/>
                </a:cubicBezTo>
                <a:close/>
                <a:moveTo>
                  <a:pt x="572163" y="888250"/>
                </a:moveTo>
                <a:cubicBezTo>
                  <a:pt x="570341" y="891894"/>
                  <a:pt x="570341" y="895539"/>
                  <a:pt x="573985" y="901005"/>
                </a:cubicBezTo>
                <a:cubicBezTo>
                  <a:pt x="583096" y="902827"/>
                  <a:pt x="573985" y="891894"/>
                  <a:pt x="572163" y="888250"/>
                </a:cubicBezTo>
                <a:close/>
                <a:moveTo>
                  <a:pt x="484700" y="888250"/>
                </a:moveTo>
                <a:cubicBezTo>
                  <a:pt x="484700" y="897361"/>
                  <a:pt x="491987" y="893717"/>
                  <a:pt x="493809" y="897361"/>
                </a:cubicBezTo>
                <a:cubicBezTo>
                  <a:pt x="495632" y="893717"/>
                  <a:pt x="488343" y="890072"/>
                  <a:pt x="484700" y="888250"/>
                </a:cubicBezTo>
                <a:close/>
                <a:moveTo>
                  <a:pt x="1425198" y="888079"/>
                </a:moveTo>
                <a:lnTo>
                  <a:pt x="1425404" y="888343"/>
                </a:lnTo>
                <a:lnTo>
                  <a:pt x="1424940" y="888250"/>
                </a:lnTo>
                <a:close/>
                <a:moveTo>
                  <a:pt x="596534" y="887795"/>
                </a:moveTo>
                <a:cubicBezTo>
                  <a:pt x="593573" y="888251"/>
                  <a:pt x="592206" y="890073"/>
                  <a:pt x="595852" y="893717"/>
                </a:cubicBezTo>
                <a:cubicBezTo>
                  <a:pt x="603140" y="902827"/>
                  <a:pt x="617717" y="908295"/>
                  <a:pt x="630472" y="904651"/>
                </a:cubicBezTo>
                <a:cubicBezTo>
                  <a:pt x="626828" y="901005"/>
                  <a:pt x="615895" y="902827"/>
                  <a:pt x="608606" y="901005"/>
                </a:cubicBezTo>
                <a:cubicBezTo>
                  <a:pt x="612251" y="899183"/>
                  <a:pt x="617717" y="901005"/>
                  <a:pt x="623185" y="901005"/>
                </a:cubicBezTo>
                <a:cubicBezTo>
                  <a:pt x="617717" y="895539"/>
                  <a:pt x="612251" y="893717"/>
                  <a:pt x="604963" y="891894"/>
                </a:cubicBezTo>
                <a:cubicBezTo>
                  <a:pt x="604963" y="890072"/>
                  <a:pt x="606784" y="890072"/>
                  <a:pt x="606784" y="890072"/>
                </a:cubicBezTo>
                <a:cubicBezTo>
                  <a:pt x="604051" y="888250"/>
                  <a:pt x="599495" y="887339"/>
                  <a:pt x="596534" y="887795"/>
                </a:cubicBezTo>
                <a:close/>
                <a:moveTo>
                  <a:pt x="2546944" y="887567"/>
                </a:moveTo>
                <a:cubicBezTo>
                  <a:pt x="2544211" y="886884"/>
                  <a:pt x="2541933" y="887339"/>
                  <a:pt x="2541933" y="891894"/>
                </a:cubicBezTo>
                <a:cubicBezTo>
                  <a:pt x="2532822" y="882784"/>
                  <a:pt x="2520067" y="890072"/>
                  <a:pt x="2512778" y="897361"/>
                </a:cubicBezTo>
                <a:cubicBezTo>
                  <a:pt x="2512778" y="897361"/>
                  <a:pt x="2514600" y="904651"/>
                  <a:pt x="2516423" y="904651"/>
                </a:cubicBezTo>
                <a:cubicBezTo>
                  <a:pt x="2520067" y="906473"/>
                  <a:pt x="2520067" y="897361"/>
                  <a:pt x="2527356" y="899183"/>
                </a:cubicBezTo>
                <a:cubicBezTo>
                  <a:pt x="2525534" y="904651"/>
                  <a:pt x="2520067" y="904651"/>
                  <a:pt x="2516423" y="908295"/>
                </a:cubicBezTo>
                <a:cubicBezTo>
                  <a:pt x="2525534" y="913761"/>
                  <a:pt x="2534644" y="919227"/>
                  <a:pt x="2543755" y="924695"/>
                </a:cubicBezTo>
                <a:cubicBezTo>
                  <a:pt x="2543755" y="917405"/>
                  <a:pt x="2549222" y="919227"/>
                  <a:pt x="2554688" y="919227"/>
                </a:cubicBezTo>
                <a:cubicBezTo>
                  <a:pt x="2551044" y="921049"/>
                  <a:pt x="2551044" y="928339"/>
                  <a:pt x="2552866" y="928339"/>
                </a:cubicBezTo>
                <a:cubicBezTo>
                  <a:pt x="2560155" y="928339"/>
                  <a:pt x="2563799" y="935628"/>
                  <a:pt x="2571088" y="939272"/>
                </a:cubicBezTo>
                <a:cubicBezTo>
                  <a:pt x="2574732" y="941094"/>
                  <a:pt x="2580199" y="944738"/>
                  <a:pt x="2583843" y="942916"/>
                </a:cubicBezTo>
                <a:cubicBezTo>
                  <a:pt x="2589310" y="937450"/>
                  <a:pt x="2582021" y="930160"/>
                  <a:pt x="2580199" y="922872"/>
                </a:cubicBezTo>
                <a:cubicBezTo>
                  <a:pt x="2572910" y="930160"/>
                  <a:pt x="2569266" y="926516"/>
                  <a:pt x="2561977" y="921049"/>
                </a:cubicBezTo>
                <a:cubicBezTo>
                  <a:pt x="2565621" y="917405"/>
                  <a:pt x="2567443" y="913761"/>
                  <a:pt x="2565621" y="910117"/>
                </a:cubicBezTo>
                <a:cubicBezTo>
                  <a:pt x="2565621" y="910117"/>
                  <a:pt x="2561977" y="919227"/>
                  <a:pt x="2558332" y="911939"/>
                </a:cubicBezTo>
                <a:cubicBezTo>
                  <a:pt x="2567443" y="910117"/>
                  <a:pt x="2569266" y="904651"/>
                  <a:pt x="2565621" y="897361"/>
                </a:cubicBezTo>
                <a:cubicBezTo>
                  <a:pt x="2563799" y="893717"/>
                  <a:pt x="2556510" y="893717"/>
                  <a:pt x="2554688" y="895539"/>
                </a:cubicBezTo>
                <a:cubicBezTo>
                  <a:pt x="2552866" y="899183"/>
                  <a:pt x="2554688" y="904651"/>
                  <a:pt x="2558332" y="906473"/>
                </a:cubicBezTo>
                <a:cubicBezTo>
                  <a:pt x="2547400" y="902827"/>
                  <a:pt x="2551044" y="897361"/>
                  <a:pt x="2554688" y="890072"/>
                </a:cubicBezTo>
                <a:cubicBezTo>
                  <a:pt x="2552866" y="890072"/>
                  <a:pt x="2549677" y="888250"/>
                  <a:pt x="2546944" y="887567"/>
                </a:cubicBezTo>
                <a:close/>
                <a:moveTo>
                  <a:pt x="667600" y="887112"/>
                </a:moveTo>
                <a:cubicBezTo>
                  <a:pt x="666005" y="886884"/>
                  <a:pt x="664183" y="887339"/>
                  <a:pt x="663272" y="888250"/>
                </a:cubicBezTo>
                <a:cubicBezTo>
                  <a:pt x="663272" y="891894"/>
                  <a:pt x="665094" y="893717"/>
                  <a:pt x="668738" y="893717"/>
                </a:cubicBezTo>
                <a:cubicBezTo>
                  <a:pt x="670560" y="891894"/>
                  <a:pt x="663272" y="891894"/>
                  <a:pt x="665094" y="890072"/>
                </a:cubicBezTo>
                <a:cubicBezTo>
                  <a:pt x="666916" y="890072"/>
                  <a:pt x="666916" y="890072"/>
                  <a:pt x="670560" y="890072"/>
                </a:cubicBezTo>
                <a:cubicBezTo>
                  <a:pt x="670560" y="888250"/>
                  <a:pt x="669194" y="887339"/>
                  <a:pt x="667600" y="887112"/>
                </a:cubicBezTo>
                <a:close/>
                <a:moveTo>
                  <a:pt x="906077" y="886770"/>
                </a:moveTo>
                <a:cubicBezTo>
                  <a:pt x="902318" y="886315"/>
                  <a:pt x="898332" y="886884"/>
                  <a:pt x="894232" y="887795"/>
                </a:cubicBezTo>
                <a:cubicBezTo>
                  <a:pt x="886032" y="889617"/>
                  <a:pt x="877377" y="892806"/>
                  <a:pt x="869177" y="891894"/>
                </a:cubicBezTo>
                <a:cubicBezTo>
                  <a:pt x="872822" y="899183"/>
                  <a:pt x="874644" y="911939"/>
                  <a:pt x="881933" y="911939"/>
                </a:cubicBezTo>
                <a:cubicBezTo>
                  <a:pt x="892866" y="910117"/>
                  <a:pt x="896510" y="919227"/>
                  <a:pt x="901976" y="928339"/>
                </a:cubicBezTo>
                <a:cubicBezTo>
                  <a:pt x="901976" y="922872"/>
                  <a:pt x="907444" y="921049"/>
                  <a:pt x="911087" y="917405"/>
                </a:cubicBezTo>
                <a:cubicBezTo>
                  <a:pt x="903799" y="926516"/>
                  <a:pt x="903799" y="933804"/>
                  <a:pt x="918376" y="941094"/>
                </a:cubicBezTo>
                <a:cubicBezTo>
                  <a:pt x="918376" y="939272"/>
                  <a:pt x="918376" y="937450"/>
                  <a:pt x="918376" y="933804"/>
                </a:cubicBezTo>
                <a:cubicBezTo>
                  <a:pt x="920198" y="931983"/>
                  <a:pt x="920198" y="930160"/>
                  <a:pt x="920198" y="928339"/>
                </a:cubicBezTo>
                <a:cubicBezTo>
                  <a:pt x="920198" y="930160"/>
                  <a:pt x="922020" y="937450"/>
                  <a:pt x="927487" y="939272"/>
                </a:cubicBezTo>
                <a:cubicBezTo>
                  <a:pt x="931131" y="933804"/>
                  <a:pt x="925666" y="926516"/>
                  <a:pt x="923843" y="924695"/>
                </a:cubicBezTo>
                <a:cubicBezTo>
                  <a:pt x="923843" y="922872"/>
                  <a:pt x="923843" y="921049"/>
                  <a:pt x="923843" y="919227"/>
                </a:cubicBezTo>
                <a:cubicBezTo>
                  <a:pt x="923843" y="921049"/>
                  <a:pt x="925666" y="922872"/>
                  <a:pt x="927487" y="924695"/>
                </a:cubicBezTo>
                <a:cubicBezTo>
                  <a:pt x="927487" y="921049"/>
                  <a:pt x="925666" y="917405"/>
                  <a:pt x="922020" y="913761"/>
                </a:cubicBezTo>
                <a:cubicBezTo>
                  <a:pt x="923843" y="915583"/>
                  <a:pt x="923843" y="917405"/>
                  <a:pt x="923843" y="919227"/>
                </a:cubicBezTo>
                <a:cubicBezTo>
                  <a:pt x="920198" y="915583"/>
                  <a:pt x="916555" y="911939"/>
                  <a:pt x="914732" y="908295"/>
                </a:cubicBezTo>
                <a:cubicBezTo>
                  <a:pt x="916555" y="908295"/>
                  <a:pt x="918376" y="908295"/>
                  <a:pt x="920198" y="910117"/>
                </a:cubicBezTo>
                <a:cubicBezTo>
                  <a:pt x="918376" y="908295"/>
                  <a:pt x="918376" y="906473"/>
                  <a:pt x="918376" y="904651"/>
                </a:cubicBezTo>
                <a:cubicBezTo>
                  <a:pt x="920198" y="901005"/>
                  <a:pt x="918376" y="895539"/>
                  <a:pt x="916555" y="891894"/>
                </a:cubicBezTo>
                <a:cubicBezTo>
                  <a:pt x="913365" y="888706"/>
                  <a:pt x="909835" y="887225"/>
                  <a:pt x="906077" y="886770"/>
                </a:cubicBezTo>
                <a:close/>
                <a:moveTo>
                  <a:pt x="1427567" y="886499"/>
                </a:moveTo>
                <a:lnTo>
                  <a:pt x="1434727" y="886691"/>
                </a:lnTo>
                <a:lnTo>
                  <a:pt x="1434051" y="890072"/>
                </a:lnTo>
                <a:lnTo>
                  <a:pt x="1427217" y="888706"/>
                </a:lnTo>
                <a:lnTo>
                  <a:pt x="1426033" y="887522"/>
                </a:lnTo>
                <a:close/>
                <a:moveTo>
                  <a:pt x="779892" y="886428"/>
                </a:moveTo>
                <a:cubicBezTo>
                  <a:pt x="778070" y="886428"/>
                  <a:pt x="772602" y="888250"/>
                  <a:pt x="772602" y="890072"/>
                </a:cubicBezTo>
                <a:cubicBezTo>
                  <a:pt x="776246" y="890072"/>
                  <a:pt x="776246" y="897361"/>
                  <a:pt x="783535" y="893717"/>
                </a:cubicBezTo>
                <a:cubicBezTo>
                  <a:pt x="783535" y="891894"/>
                  <a:pt x="778070" y="890072"/>
                  <a:pt x="779892" y="886428"/>
                </a:cubicBezTo>
                <a:close/>
                <a:moveTo>
                  <a:pt x="732515" y="886428"/>
                </a:moveTo>
                <a:cubicBezTo>
                  <a:pt x="730692" y="888250"/>
                  <a:pt x="728870" y="888250"/>
                  <a:pt x="728870" y="890072"/>
                </a:cubicBezTo>
                <a:cubicBezTo>
                  <a:pt x="734336" y="891894"/>
                  <a:pt x="737981" y="895539"/>
                  <a:pt x="743447" y="893717"/>
                </a:cubicBezTo>
                <a:cubicBezTo>
                  <a:pt x="739803" y="890072"/>
                  <a:pt x="736159" y="890072"/>
                  <a:pt x="732515" y="886428"/>
                </a:cubicBezTo>
                <a:close/>
                <a:moveTo>
                  <a:pt x="433678" y="886428"/>
                </a:moveTo>
                <a:cubicBezTo>
                  <a:pt x="433678" y="890072"/>
                  <a:pt x="440966" y="895539"/>
                  <a:pt x="444611" y="893717"/>
                </a:cubicBezTo>
                <a:cubicBezTo>
                  <a:pt x="446433" y="888250"/>
                  <a:pt x="435500" y="886428"/>
                  <a:pt x="433678" y="886428"/>
                </a:cubicBezTo>
                <a:close/>
                <a:moveTo>
                  <a:pt x="406082" y="886208"/>
                </a:moveTo>
                <a:lnTo>
                  <a:pt x="406345" y="886428"/>
                </a:lnTo>
                <a:lnTo>
                  <a:pt x="406210" y="886407"/>
                </a:lnTo>
                <a:close/>
                <a:moveTo>
                  <a:pt x="154233" y="885574"/>
                </a:moveTo>
                <a:lnTo>
                  <a:pt x="156707" y="890072"/>
                </a:lnTo>
                <a:lnTo>
                  <a:pt x="154570" y="887427"/>
                </a:lnTo>
                <a:close/>
                <a:moveTo>
                  <a:pt x="315773" y="884820"/>
                </a:moveTo>
                <a:lnTo>
                  <a:pt x="317059" y="888250"/>
                </a:lnTo>
                <a:lnTo>
                  <a:pt x="315377" y="886007"/>
                </a:lnTo>
                <a:close/>
                <a:moveTo>
                  <a:pt x="2702284" y="884606"/>
                </a:moveTo>
                <a:cubicBezTo>
                  <a:pt x="2699551" y="885517"/>
                  <a:pt x="2698185" y="886884"/>
                  <a:pt x="2697729" y="888706"/>
                </a:cubicBezTo>
                <a:lnTo>
                  <a:pt x="2698515" y="894597"/>
                </a:lnTo>
                <a:lnTo>
                  <a:pt x="2696818" y="890072"/>
                </a:lnTo>
                <a:cubicBezTo>
                  <a:pt x="2693174" y="891894"/>
                  <a:pt x="2693174" y="895539"/>
                  <a:pt x="2693174" y="901005"/>
                </a:cubicBezTo>
                <a:cubicBezTo>
                  <a:pt x="2698640" y="901005"/>
                  <a:pt x="2696818" y="906473"/>
                  <a:pt x="2702284" y="904651"/>
                </a:cubicBezTo>
                <a:lnTo>
                  <a:pt x="2698811" y="895386"/>
                </a:lnTo>
                <a:lnTo>
                  <a:pt x="2703195" y="891439"/>
                </a:lnTo>
                <a:cubicBezTo>
                  <a:pt x="2703651" y="889162"/>
                  <a:pt x="2703195" y="886428"/>
                  <a:pt x="2702284" y="884606"/>
                </a:cubicBezTo>
                <a:close/>
                <a:moveTo>
                  <a:pt x="2580199" y="884606"/>
                </a:moveTo>
                <a:cubicBezTo>
                  <a:pt x="2578377" y="886428"/>
                  <a:pt x="2578377" y="890072"/>
                  <a:pt x="2578377" y="891894"/>
                </a:cubicBezTo>
                <a:cubicBezTo>
                  <a:pt x="2580199" y="893717"/>
                  <a:pt x="2582021" y="893717"/>
                  <a:pt x="2583843" y="893717"/>
                </a:cubicBezTo>
                <a:cubicBezTo>
                  <a:pt x="2583843" y="891894"/>
                  <a:pt x="2583843" y="888250"/>
                  <a:pt x="2583843" y="886428"/>
                </a:cubicBezTo>
                <a:cubicBezTo>
                  <a:pt x="2582021" y="886428"/>
                  <a:pt x="2580199" y="886428"/>
                  <a:pt x="2580199" y="884606"/>
                </a:cubicBezTo>
                <a:close/>
                <a:moveTo>
                  <a:pt x="2483624" y="884606"/>
                </a:moveTo>
                <a:cubicBezTo>
                  <a:pt x="2478157" y="886428"/>
                  <a:pt x="2478157" y="893717"/>
                  <a:pt x="2472690" y="893717"/>
                </a:cubicBezTo>
                <a:cubicBezTo>
                  <a:pt x="2474513" y="897361"/>
                  <a:pt x="2478157" y="895539"/>
                  <a:pt x="2479979" y="893717"/>
                </a:cubicBezTo>
                <a:cubicBezTo>
                  <a:pt x="2479979" y="886428"/>
                  <a:pt x="2485446" y="891894"/>
                  <a:pt x="2483624" y="884606"/>
                </a:cubicBezTo>
                <a:close/>
                <a:moveTo>
                  <a:pt x="2394337" y="884606"/>
                </a:moveTo>
                <a:cubicBezTo>
                  <a:pt x="2390693" y="888250"/>
                  <a:pt x="2392515" y="897361"/>
                  <a:pt x="2390693" y="904651"/>
                </a:cubicBezTo>
                <a:cubicBezTo>
                  <a:pt x="2396159" y="901005"/>
                  <a:pt x="2397981" y="890072"/>
                  <a:pt x="2394337" y="884606"/>
                </a:cubicBezTo>
                <a:close/>
                <a:moveTo>
                  <a:pt x="632296" y="884606"/>
                </a:moveTo>
                <a:cubicBezTo>
                  <a:pt x="628650" y="886428"/>
                  <a:pt x="630472" y="886428"/>
                  <a:pt x="630472" y="888250"/>
                </a:cubicBezTo>
                <a:cubicBezTo>
                  <a:pt x="632296" y="890072"/>
                  <a:pt x="635939" y="890072"/>
                  <a:pt x="637761" y="890072"/>
                </a:cubicBezTo>
                <a:cubicBezTo>
                  <a:pt x="634117" y="886428"/>
                  <a:pt x="637761" y="884606"/>
                  <a:pt x="632296" y="884606"/>
                </a:cubicBezTo>
                <a:close/>
                <a:moveTo>
                  <a:pt x="579452" y="884606"/>
                </a:moveTo>
                <a:cubicBezTo>
                  <a:pt x="579452" y="886428"/>
                  <a:pt x="581274" y="888250"/>
                  <a:pt x="583096" y="890072"/>
                </a:cubicBezTo>
                <a:cubicBezTo>
                  <a:pt x="584919" y="888250"/>
                  <a:pt x="583096" y="886428"/>
                  <a:pt x="584919" y="886428"/>
                </a:cubicBezTo>
                <a:cubicBezTo>
                  <a:pt x="583096" y="884606"/>
                  <a:pt x="581274" y="886428"/>
                  <a:pt x="579452" y="884606"/>
                </a:cubicBezTo>
                <a:close/>
                <a:moveTo>
                  <a:pt x="360791" y="884606"/>
                </a:moveTo>
                <a:cubicBezTo>
                  <a:pt x="362613" y="888250"/>
                  <a:pt x="364435" y="888250"/>
                  <a:pt x="368079" y="886428"/>
                </a:cubicBezTo>
                <a:cubicBezTo>
                  <a:pt x="369902" y="888250"/>
                  <a:pt x="362613" y="882784"/>
                  <a:pt x="360791" y="884606"/>
                </a:cubicBezTo>
                <a:close/>
                <a:moveTo>
                  <a:pt x="224128" y="884606"/>
                </a:moveTo>
                <a:cubicBezTo>
                  <a:pt x="227772" y="886428"/>
                  <a:pt x="231416" y="893717"/>
                  <a:pt x="235061" y="895539"/>
                </a:cubicBezTo>
                <a:cubicBezTo>
                  <a:pt x="233239" y="893717"/>
                  <a:pt x="227772" y="884606"/>
                  <a:pt x="224128" y="884606"/>
                </a:cubicBezTo>
                <a:close/>
                <a:moveTo>
                  <a:pt x="792418" y="884379"/>
                </a:moveTo>
                <a:cubicBezTo>
                  <a:pt x="789457" y="884151"/>
                  <a:pt x="785357" y="884606"/>
                  <a:pt x="783535" y="886428"/>
                </a:cubicBezTo>
                <a:cubicBezTo>
                  <a:pt x="785357" y="897361"/>
                  <a:pt x="801757" y="895539"/>
                  <a:pt x="807223" y="890072"/>
                </a:cubicBezTo>
                <a:cubicBezTo>
                  <a:pt x="805401" y="884606"/>
                  <a:pt x="798112" y="888250"/>
                  <a:pt x="794468" y="886428"/>
                </a:cubicBezTo>
                <a:cubicBezTo>
                  <a:pt x="797202" y="885517"/>
                  <a:pt x="795379" y="884606"/>
                  <a:pt x="792418" y="884379"/>
                </a:cubicBezTo>
                <a:close/>
                <a:moveTo>
                  <a:pt x="3454842" y="882784"/>
                </a:moveTo>
                <a:cubicBezTo>
                  <a:pt x="3454842" y="891894"/>
                  <a:pt x="3449376" y="890072"/>
                  <a:pt x="3443909" y="891894"/>
                </a:cubicBezTo>
                <a:cubicBezTo>
                  <a:pt x="3449376" y="901005"/>
                  <a:pt x="3460309" y="888250"/>
                  <a:pt x="3458487" y="899183"/>
                </a:cubicBezTo>
                <a:cubicBezTo>
                  <a:pt x="3458487" y="899183"/>
                  <a:pt x="3458487" y="899183"/>
                  <a:pt x="3460309" y="897361"/>
                </a:cubicBezTo>
                <a:cubicBezTo>
                  <a:pt x="3458487" y="891894"/>
                  <a:pt x="3458487" y="886428"/>
                  <a:pt x="3454842" y="882784"/>
                </a:cubicBezTo>
                <a:close/>
                <a:moveTo>
                  <a:pt x="1366632" y="882784"/>
                </a:moveTo>
                <a:cubicBezTo>
                  <a:pt x="1364809" y="887339"/>
                  <a:pt x="1362076" y="891439"/>
                  <a:pt x="1359570" y="895539"/>
                </a:cubicBezTo>
                <a:lnTo>
                  <a:pt x="1353930" y="908173"/>
                </a:lnTo>
                <a:lnTo>
                  <a:pt x="1346587" y="911939"/>
                </a:lnTo>
                <a:lnTo>
                  <a:pt x="1353876" y="908294"/>
                </a:lnTo>
                <a:lnTo>
                  <a:pt x="1353876" y="908295"/>
                </a:lnTo>
                <a:lnTo>
                  <a:pt x="1353878" y="908293"/>
                </a:lnTo>
                <a:lnTo>
                  <a:pt x="1364809" y="902828"/>
                </a:lnTo>
                <a:cubicBezTo>
                  <a:pt x="1368909" y="896906"/>
                  <a:pt x="1370275" y="889162"/>
                  <a:pt x="1366632" y="882784"/>
                </a:cubicBezTo>
                <a:close/>
                <a:moveTo>
                  <a:pt x="796290" y="882784"/>
                </a:moveTo>
                <a:cubicBezTo>
                  <a:pt x="798112" y="886428"/>
                  <a:pt x="805401" y="884606"/>
                  <a:pt x="809046" y="888250"/>
                </a:cubicBezTo>
                <a:cubicBezTo>
                  <a:pt x="807223" y="886428"/>
                  <a:pt x="799935" y="882784"/>
                  <a:pt x="796290" y="882784"/>
                </a:cubicBezTo>
                <a:close/>
                <a:moveTo>
                  <a:pt x="657805" y="882784"/>
                </a:moveTo>
                <a:cubicBezTo>
                  <a:pt x="657805" y="890072"/>
                  <a:pt x="661449" y="888250"/>
                  <a:pt x="666916" y="886428"/>
                </a:cubicBezTo>
                <a:cubicBezTo>
                  <a:pt x="665094" y="884606"/>
                  <a:pt x="663272" y="884606"/>
                  <a:pt x="661449" y="882784"/>
                </a:cubicBezTo>
                <a:cubicBezTo>
                  <a:pt x="661449" y="882784"/>
                  <a:pt x="657805" y="882784"/>
                  <a:pt x="657805" y="882784"/>
                </a:cubicBezTo>
                <a:close/>
                <a:moveTo>
                  <a:pt x="461010" y="882784"/>
                </a:moveTo>
                <a:cubicBezTo>
                  <a:pt x="462832" y="890072"/>
                  <a:pt x="471943" y="891894"/>
                  <a:pt x="475589" y="897361"/>
                </a:cubicBezTo>
                <a:lnTo>
                  <a:pt x="473766" y="897361"/>
                </a:lnTo>
                <a:cubicBezTo>
                  <a:pt x="475589" y="897361"/>
                  <a:pt x="475589" y="899183"/>
                  <a:pt x="477410" y="901005"/>
                </a:cubicBezTo>
                <a:cubicBezTo>
                  <a:pt x="471943" y="899183"/>
                  <a:pt x="464655" y="897361"/>
                  <a:pt x="461010" y="890072"/>
                </a:cubicBezTo>
                <a:cubicBezTo>
                  <a:pt x="451899" y="899183"/>
                  <a:pt x="471943" y="895539"/>
                  <a:pt x="473766" y="904651"/>
                </a:cubicBezTo>
                <a:cubicBezTo>
                  <a:pt x="475589" y="902827"/>
                  <a:pt x="479232" y="901005"/>
                  <a:pt x="481054" y="897361"/>
                </a:cubicBezTo>
                <a:lnTo>
                  <a:pt x="475589" y="897361"/>
                </a:lnTo>
                <a:cubicBezTo>
                  <a:pt x="475589" y="891894"/>
                  <a:pt x="464655" y="884606"/>
                  <a:pt x="461010" y="882784"/>
                </a:cubicBezTo>
                <a:close/>
                <a:moveTo>
                  <a:pt x="129375" y="882784"/>
                </a:moveTo>
                <a:cubicBezTo>
                  <a:pt x="134841" y="888250"/>
                  <a:pt x="143952" y="906473"/>
                  <a:pt x="151241" y="901005"/>
                </a:cubicBezTo>
                <a:cubicBezTo>
                  <a:pt x="145774" y="897361"/>
                  <a:pt x="136663" y="891894"/>
                  <a:pt x="129375" y="882784"/>
                </a:cubicBezTo>
                <a:close/>
                <a:moveTo>
                  <a:pt x="1277344" y="880961"/>
                </a:moveTo>
                <a:cubicBezTo>
                  <a:pt x="1273700" y="880961"/>
                  <a:pt x="1270056" y="888250"/>
                  <a:pt x="1271878" y="891894"/>
                </a:cubicBezTo>
                <a:cubicBezTo>
                  <a:pt x="1273700" y="888250"/>
                  <a:pt x="1275522" y="884606"/>
                  <a:pt x="1277344" y="880961"/>
                </a:cubicBezTo>
                <a:close/>
                <a:moveTo>
                  <a:pt x="799935" y="880961"/>
                </a:moveTo>
                <a:cubicBezTo>
                  <a:pt x="805401" y="886428"/>
                  <a:pt x="814512" y="891894"/>
                  <a:pt x="823623" y="890072"/>
                </a:cubicBezTo>
                <a:cubicBezTo>
                  <a:pt x="818156" y="886428"/>
                  <a:pt x="814512" y="886428"/>
                  <a:pt x="809046" y="884606"/>
                </a:cubicBezTo>
                <a:cubicBezTo>
                  <a:pt x="821801" y="882784"/>
                  <a:pt x="830912" y="888250"/>
                  <a:pt x="840022" y="888250"/>
                </a:cubicBezTo>
                <a:cubicBezTo>
                  <a:pt x="827267" y="882784"/>
                  <a:pt x="814512" y="877317"/>
                  <a:pt x="799935" y="880961"/>
                </a:cubicBezTo>
                <a:close/>
                <a:moveTo>
                  <a:pt x="311592" y="880961"/>
                </a:moveTo>
                <a:lnTo>
                  <a:pt x="315377" y="886007"/>
                </a:lnTo>
                <a:lnTo>
                  <a:pt x="315236" y="886428"/>
                </a:lnTo>
                <a:cubicBezTo>
                  <a:pt x="313414" y="886428"/>
                  <a:pt x="311592" y="884606"/>
                  <a:pt x="311592" y="882784"/>
                </a:cubicBezTo>
                <a:cubicBezTo>
                  <a:pt x="310681" y="881873"/>
                  <a:pt x="311592" y="882784"/>
                  <a:pt x="312958" y="884151"/>
                </a:cubicBezTo>
                <a:lnTo>
                  <a:pt x="315236" y="886428"/>
                </a:lnTo>
                <a:lnTo>
                  <a:pt x="317059" y="888250"/>
                </a:lnTo>
                <a:cubicBezTo>
                  <a:pt x="317059" y="888250"/>
                  <a:pt x="317059" y="886428"/>
                  <a:pt x="317059" y="886428"/>
                </a:cubicBezTo>
                <a:cubicBezTo>
                  <a:pt x="318882" y="888250"/>
                  <a:pt x="318882" y="888250"/>
                  <a:pt x="318882" y="888250"/>
                </a:cubicBezTo>
                <a:cubicBezTo>
                  <a:pt x="318882" y="888250"/>
                  <a:pt x="320703" y="888250"/>
                  <a:pt x="324347" y="886428"/>
                </a:cubicBezTo>
                <a:cubicBezTo>
                  <a:pt x="322525" y="884606"/>
                  <a:pt x="320703" y="884606"/>
                  <a:pt x="322525" y="882784"/>
                </a:cubicBezTo>
                <a:cubicBezTo>
                  <a:pt x="320703" y="880961"/>
                  <a:pt x="318882" y="879139"/>
                  <a:pt x="317059" y="880961"/>
                </a:cubicBezTo>
                <a:lnTo>
                  <a:pt x="315773" y="884820"/>
                </a:lnTo>
                <a:lnTo>
                  <a:pt x="315692" y="884606"/>
                </a:lnTo>
                <a:cubicBezTo>
                  <a:pt x="314325" y="883240"/>
                  <a:pt x="312503" y="881873"/>
                  <a:pt x="311592" y="880961"/>
                </a:cubicBezTo>
                <a:close/>
                <a:moveTo>
                  <a:pt x="230277" y="879367"/>
                </a:moveTo>
                <a:cubicBezTo>
                  <a:pt x="225950" y="877773"/>
                  <a:pt x="221394" y="878228"/>
                  <a:pt x="218661" y="880961"/>
                </a:cubicBezTo>
                <a:cubicBezTo>
                  <a:pt x="222305" y="884606"/>
                  <a:pt x="225950" y="885517"/>
                  <a:pt x="229594" y="886201"/>
                </a:cubicBezTo>
                <a:lnTo>
                  <a:pt x="238846" y="889477"/>
                </a:lnTo>
                <a:lnTo>
                  <a:pt x="233239" y="888250"/>
                </a:lnTo>
                <a:cubicBezTo>
                  <a:pt x="235061" y="893717"/>
                  <a:pt x="242349" y="897361"/>
                  <a:pt x="247816" y="895539"/>
                </a:cubicBezTo>
                <a:cubicBezTo>
                  <a:pt x="245994" y="891895"/>
                  <a:pt x="243261" y="890528"/>
                  <a:pt x="240527" y="889845"/>
                </a:cubicBezTo>
                <a:lnTo>
                  <a:pt x="240251" y="889784"/>
                </a:lnTo>
                <a:close/>
                <a:moveTo>
                  <a:pt x="2563799" y="879139"/>
                </a:moveTo>
                <a:cubicBezTo>
                  <a:pt x="2567443" y="879139"/>
                  <a:pt x="2563799" y="886428"/>
                  <a:pt x="2567443" y="888250"/>
                </a:cubicBezTo>
                <a:cubicBezTo>
                  <a:pt x="2571088" y="886428"/>
                  <a:pt x="2561977" y="873673"/>
                  <a:pt x="2563799" y="879139"/>
                </a:cubicBezTo>
                <a:close/>
                <a:moveTo>
                  <a:pt x="2558332" y="879139"/>
                </a:moveTo>
                <a:cubicBezTo>
                  <a:pt x="2560155" y="882784"/>
                  <a:pt x="2558332" y="891894"/>
                  <a:pt x="2565621" y="888250"/>
                </a:cubicBezTo>
                <a:cubicBezTo>
                  <a:pt x="2561977" y="884606"/>
                  <a:pt x="2561977" y="879139"/>
                  <a:pt x="2558332" y="879139"/>
                </a:cubicBezTo>
                <a:close/>
                <a:moveTo>
                  <a:pt x="2552866" y="879139"/>
                </a:moveTo>
                <a:cubicBezTo>
                  <a:pt x="2549222" y="882784"/>
                  <a:pt x="2540111" y="879139"/>
                  <a:pt x="2541933" y="884606"/>
                </a:cubicBezTo>
                <a:cubicBezTo>
                  <a:pt x="2551044" y="884606"/>
                  <a:pt x="2549222" y="882784"/>
                  <a:pt x="2554688" y="884606"/>
                </a:cubicBezTo>
                <a:cubicBezTo>
                  <a:pt x="2554688" y="880961"/>
                  <a:pt x="2552866" y="880961"/>
                  <a:pt x="2552866" y="879139"/>
                </a:cubicBezTo>
                <a:close/>
                <a:moveTo>
                  <a:pt x="2290473" y="879139"/>
                </a:moveTo>
                <a:cubicBezTo>
                  <a:pt x="2286829" y="879139"/>
                  <a:pt x="2283184" y="880961"/>
                  <a:pt x="2285007" y="886428"/>
                </a:cubicBezTo>
                <a:cubicBezTo>
                  <a:pt x="2286829" y="890072"/>
                  <a:pt x="2288651" y="882784"/>
                  <a:pt x="2290473" y="886428"/>
                </a:cubicBezTo>
                <a:cubicBezTo>
                  <a:pt x="2294117" y="886428"/>
                  <a:pt x="2292295" y="880961"/>
                  <a:pt x="2290473" y="879139"/>
                </a:cubicBezTo>
                <a:close/>
                <a:moveTo>
                  <a:pt x="579452" y="879139"/>
                </a:moveTo>
                <a:cubicBezTo>
                  <a:pt x="577630" y="879139"/>
                  <a:pt x="579452" y="880961"/>
                  <a:pt x="577630" y="880961"/>
                </a:cubicBezTo>
                <a:cubicBezTo>
                  <a:pt x="581274" y="882784"/>
                  <a:pt x="583096" y="884606"/>
                  <a:pt x="586741" y="882784"/>
                </a:cubicBezTo>
                <a:cubicBezTo>
                  <a:pt x="584919" y="880961"/>
                  <a:pt x="583096" y="882784"/>
                  <a:pt x="581274" y="879139"/>
                </a:cubicBezTo>
                <a:cubicBezTo>
                  <a:pt x="581274" y="879139"/>
                  <a:pt x="579452" y="879139"/>
                  <a:pt x="579452" y="879139"/>
                </a:cubicBezTo>
                <a:close/>
                <a:moveTo>
                  <a:pt x="236883" y="879139"/>
                </a:moveTo>
                <a:cubicBezTo>
                  <a:pt x="242349" y="884606"/>
                  <a:pt x="249638" y="893717"/>
                  <a:pt x="255105" y="891894"/>
                </a:cubicBezTo>
                <a:cubicBezTo>
                  <a:pt x="267860" y="888250"/>
                  <a:pt x="245994" y="888250"/>
                  <a:pt x="249638" y="882784"/>
                </a:cubicBezTo>
                <a:cubicBezTo>
                  <a:pt x="245994" y="884606"/>
                  <a:pt x="242349" y="880961"/>
                  <a:pt x="236883" y="879139"/>
                </a:cubicBezTo>
                <a:close/>
                <a:moveTo>
                  <a:pt x="1264782" y="879098"/>
                </a:moveTo>
                <a:lnTo>
                  <a:pt x="1266411" y="882784"/>
                </a:lnTo>
                <a:lnTo>
                  <a:pt x="1265830" y="883808"/>
                </a:lnTo>
                <a:close/>
                <a:moveTo>
                  <a:pt x="2720962" y="878912"/>
                </a:moveTo>
                <a:cubicBezTo>
                  <a:pt x="2722328" y="880051"/>
                  <a:pt x="2723239" y="881873"/>
                  <a:pt x="2722328" y="880961"/>
                </a:cubicBezTo>
                <a:lnTo>
                  <a:pt x="2720791" y="878997"/>
                </a:lnTo>
                <a:close/>
                <a:moveTo>
                  <a:pt x="2515056" y="878228"/>
                </a:moveTo>
                <a:cubicBezTo>
                  <a:pt x="2512323" y="879595"/>
                  <a:pt x="2510045" y="882784"/>
                  <a:pt x="2510956" y="886428"/>
                </a:cubicBezTo>
                <a:cubicBezTo>
                  <a:pt x="2516423" y="884606"/>
                  <a:pt x="2520067" y="884606"/>
                  <a:pt x="2521889" y="880961"/>
                </a:cubicBezTo>
                <a:cubicBezTo>
                  <a:pt x="2520978" y="877317"/>
                  <a:pt x="2517789" y="876862"/>
                  <a:pt x="2515056" y="878228"/>
                </a:cubicBezTo>
                <a:close/>
                <a:moveTo>
                  <a:pt x="3298135" y="877317"/>
                </a:moveTo>
                <a:cubicBezTo>
                  <a:pt x="3299957" y="882784"/>
                  <a:pt x="3298135" y="897361"/>
                  <a:pt x="3309068" y="893717"/>
                </a:cubicBezTo>
                <a:cubicBezTo>
                  <a:pt x="3307246" y="886428"/>
                  <a:pt x="3309068" y="879139"/>
                  <a:pt x="3298135" y="877317"/>
                </a:cubicBezTo>
                <a:close/>
                <a:moveTo>
                  <a:pt x="2583843" y="877317"/>
                </a:moveTo>
                <a:cubicBezTo>
                  <a:pt x="2576554" y="880961"/>
                  <a:pt x="2587487" y="884606"/>
                  <a:pt x="2587487" y="890072"/>
                </a:cubicBezTo>
                <a:cubicBezTo>
                  <a:pt x="2589310" y="888250"/>
                  <a:pt x="2589310" y="888250"/>
                  <a:pt x="2591132" y="888250"/>
                </a:cubicBezTo>
                <a:cubicBezTo>
                  <a:pt x="2592954" y="884606"/>
                  <a:pt x="2589310" y="884606"/>
                  <a:pt x="2589310" y="882784"/>
                </a:cubicBezTo>
                <a:cubicBezTo>
                  <a:pt x="2587487" y="888250"/>
                  <a:pt x="2583843" y="882784"/>
                  <a:pt x="2583843" y="877317"/>
                </a:cubicBezTo>
                <a:close/>
                <a:moveTo>
                  <a:pt x="1313788" y="877317"/>
                </a:moveTo>
                <a:cubicBezTo>
                  <a:pt x="1310143" y="873673"/>
                  <a:pt x="1304677" y="879139"/>
                  <a:pt x="1308321" y="882784"/>
                </a:cubicBezTo>
                <a:cubicBezTo>
                  <a:pt x="1311966" y="880961"/>
                  <a:pt x="1310143" y="879139"/>
                  <a:pt x="1313788" y="877317"/>
                </a:cubicBezTo>
                <a:close/>
                <a:moveTo>
                  <a:pt x="759848" y="877317"/>
                </a:moveTo>
                <a:cubicBezTo>
                  <a:pt x="759848" y="877317"/>
                  <a:pt x="759848" y="879139"/>
                  <a:pt x="761670" y="882784"/>
                </a:cubicBezTo>
                <a:cubicBezTo>
                  <a:pt x="763491" y="880961"/>
                  <a:pt x="761670" y="879139"/>
                  <a:pt x="765313" y="877317"/>
                </a:cubicBezTo>
                <a:cubicBezTo>
                  <a:pt x="763491" y="875495"/>
                  <a:pt x="761670" y="877317"/>
                  <a:pt x="759848" y="877317"/>
                </a:cubicBezTo>
                <a:close/>
                <a:moveTo>
                  <a:pt x="750737" y="877317"/>
                </a:moveTo>
                <a:cubicBezTo>
                  <a:pt x="750737" y="879139"/>
                  <a:pt x="750737" y="880961"/>
                  <a:pt x="754380" y="882784"/>
                </a:cubicBezTo>
                <a:cubicBezTo>
                  <a:pt x="758025" y="882784"/>
                  <a:pt x="756203" y="880961"/>
                  <a:pt x="758025" y="879139"/>
                </a:cubicBezTo>
                <a:cubicBezTo>
                  <a:pt x="754380" y="879139"/>
                  <a:pt x="752558" y="880961"/>
                  <a:pt x="750737" y="877317"/>
                </a:cubicBezTo>
                <a:close/>
                <a:moveTo>
                  <a:pt x="543008" y="877317"/>
                </a:moveTo>
                <a:cubicBezTo>
                  <a:pt x="541186" y="877317"/>
                  <a:pt x="541186" y="880961"/>
                  <a:pt x="541186" y="882784"/>
                </a:cubicBezTo>
                <a:cubicBezTo>
                  <a:pt x="543008" y="884606"/>
                  <a:pt x="541186" y="880961"/>
                  <a:pt x="543008" y="880961"/>
                </a:cubicBezTo>
                <a:cubicBezTo>
                  <a:pt x="543008" y="882784"/>
                  <a:pt x="544830" y="884606"/>
                  <a:pt x="544830" y="886428"/>
                </a:cubicBezTo>
                <a:cubicBezTo>
                  <a:pt x="550297" y="884606"/>
                  <a:pt x="543008" y="879139"/>
                  <a:pt x="543008" y="877317"/>
                </a:cubicBezTo>
                <a:close/>
                <a:moveTo>
                  <a:pt x="326169" y="877317"/>
                </a:moveTo>
                <a:cubicBezTo>
                  <a:pt x="329814" y="880961"/>
                  <a:pt x="333458" y="879139"/>
                  <a:pt x="337102" y="880961"/>
                </a:cubicBezTo>
                <a:cubicBezTo>
                  <a:pt x="337102" y="879139"/>
                  <a:pt x="329814" y="875495"/>
                  <a:pt x="326169" y="877317"/>
                </a:cubicBezTo>
                <a:close/>
                <a:moveTo>
                  <a:pt x="260571" y="877317"/>
                </a:moveTo>
                <a:cubicBezTo>
                  <a:pt x="264216" y="884606"/>
                  <a:pt x="271504" y="884606"/>
                  <a:pt x="276971" y="890072"/>
                </a:cubicBezTo>
                <a:cubicBezTo>
                  <a:pt x="273327" y="888250"/>
                  <a:pt x="266038" y="877317"/>
                  <a:pt x="260571" y="877317"/>
                </a:cubicBezTo>
                <a:close/>
                <a:moveTo>
                  <a:pt x="258749" y="877317"/>
                </a:moveTo>
                <a:cubicBezTo>
                  <a:pt x="256927" y="879139"/>
                  <a:pt x="262393" y="884606"/>
                  <a:pt x="264216" y="882784"/>
                </a:cubicBezTo>
                <a:cubicBezTo>
                  <a:pt x="262393" y="880961"/>
                  <a:pt x="260571" y="879139"/>
                  <a:pt x="258749" y="877317"/>
                </a:cubicBezTo>
                <a:close/>
                <a:moveTo>
                  <a:pt x="665321" y="877090"/>
                </a:moveTo>
                <a:cubicBezTo>
                  <a:pt x="664182" y="877317"/>
                  <a:pt x="663271" y="878228"/>
                  <a:pt x="665094" y="880961"/>
                </a:cubicBezTo>
                <a:cubicBezTo>
                  <a:pt x="666916" y="879139"/>
                  <a:pt x="663272" y="877317"/>
                  <a:pt x="666916" y="877317"/>
                </a:cubicBezTo>
                <a:cubicBezTo>
                  <a:pt x="667828" y="877317"/>
                  <a:pt x="666460" y="876862"/>
                  <a:pt x="665321" y="877090"/>
                </a:cubicBezTo>
                <a:close/>
                <a:moveTo>
                  <a:pt x="778752" y="876406"/>
                </a:moveTo>
                <a:cubicBezTo>
                  <a:pt x="777157" y="875495"/>
                  <a:pt x="774424" y="875495"/>
                  <a:pt x="772602" y="877317"/>
                </a:cubicBezTo>
                <a:cubicBezTo>
                  <a:pt x="774424" y="879139"/>
                  <a:pt x="776246" y="880961"/>
                  <a:pt x="778070" y="880961"/>
                </a:cubicBezTo>
                <a:cubicBezTo>
                  <a:pt x="780802" y="879139"/>
                  <a:pt x="780346" y="877317"/>
                  <a:pt x="778752" y="876406"/>
                </a:cubicBezTo>
                <a:close/>
                <a:moveTo>
                  <a:pt x="160989" y="876339"/>
                </a:moveTo>
                <a:lnTo>
                  <a:pt x="165818" y="884606"/>
                </a:lnTo>
                <a:lnTo>
                  <a:pt x="164021" y="883730"/>
                </a:lnTo>
                <a:lnTo>
                  <a:pt x="162829" y="881702"/>
                </a:lnTo>
                <a:close/>
                <a:moveTo>
                  <a:pt x="2478157" y="875495"/>
                </a:moveTo>
                <a:cubicBezTo>
                  <a:pt x="2474513" y="875495"/>
                  <a:pt x="2467224" y="880961"/>
                  <a:pt x="2467224" y="888250"/>
                </a:cubicBezTo>
                <a:cubicBezTo>
                  <a:pt x="2462669" y="887339"/>
                  <a:pt x="2460391" y="890984"/>
                  <a:pt x="2458797" y="895311"/>
                </a:cubicBezTo>
                <a:lnTo>
                  <a:pt x="2454863" y="905457"/>
                </a:lnTo>
                <a:lnTo>
                  <a:pt x="2454469" y="905333"/>
                </a:lnTo>
                <a:cubicBezTo>
                  <a:pt x="2453103" y="906472"/>
                  <a:pt x="2451736" y="908295"/>
                  <a:pt x="2450824" y="908295"/>
                </a:cubicBezTo>
                <a:cubicBezTo>
                  <a:pt x="2450824" y="908295"/>
                  <a:pt x="2450824" y="904651"/>
                  <a:pt x="2450824" y="904651"/>
                </a:cubicBezTo>
                <a:cubicBezTo>
                  <a:pt x="2443536" y="904651"/>
                  <a:pt x="2441713" y="915583"/>
                  <a:pt x="2438069" y="922872"/>
                </a:cubicBezTo>
                <a:cubicBezTo>
                  <a:pt x="2443536" y="922872"/>
                  <a:pt x="2450824" y="911939"/>
                  <a:pt x="2458113" y="906473"/>
                </a:cubicBezTo>
                <a:lnTo>
                  <a:pt x="2455656" y="905704"/>
                </a:lnTo>
                <a:lnTo>
                  <a:pt x="2462213" y="901461"/>
                </a:lnTo>
                <a:cubicBezTo>
                  <a:pt x="2464946" y="900094"/>
                  <a:pt x="2467224" y="898272"/>
                  <a:pt x="2467224" y="893717"/>
                </a:cubicBezTo>
                <a:cubicBezTo>
                  <a:pt x="2465402" y="893717"/>
                  <a:pt x="2463580" y="895539"/>
                  <a:pt x="2461757" y="895539"/>
                </a:cubicBezTo>
                <a:cubicBezTo>
                  <a:pt x="2467224" y="886428"/>
                  <a:pt x="2478157" y="888250"/>
                  <a:pt x="2478157" y="875495"/>
                </a:cubicBezTo>
                <a:close/>
                <a:moveTo>
                  <a:pt x="2179320" y="875495"/>
                </a:moveTo>
                <a:cubicBezTo>
                  <a:pt x="2173854" y="880961"/>
                  <a:pt x="2170210" y="890072"/>
                  <a:pt x="2175676" y="897361"/>
                </a:cubicBezTo>
                <a:cubicBezTo>
                  <a:pt x="2173854" y="902827"/>
                  <a:pt x="2170210" y="906473"/>
                  <a:pt x="2168387" y="913761"/>
                </a:cubicBezTo>
                <a:cubicBezTo>
                  <a:pt x="2170210" y="913761"/>
                  <a:pt x="2175676" y="911939"/>
                  <a:pt x="2177498" y="911939"/>
                </a:cubicBezTo>
                <a:lnTo>
                  <a:pt x="2177498" y="915583"/>
                </a:lnTo>
                <a:cubicBezTo>
                  <a:pt x="2182965" y="904651"/>
                  <a:pt x="2190253" y="888250"/>
                  <a:pt x="2179320" y="875495"/>
                </a:cubicBezTo>
                <a:close/>
                <a:moveTo>
                  <a:pt x="1086016" y="875495"/>
                </a:moveTo>
                <a:cubicBezTo>
                  <a:pt x="1084194" y="875495"/>
                  <a:pt x="1084194" y="877317"/>
                  <a:pt x="1084194" y="879139"/>
                </a:cubicBezTo>
                <a:cubicBezTo>
                  <a:pt x="1082373" y="879139"/>
                  <a:pt x="1084194" y="877317"/>
                  <a:pt x="1082373" y="877317"/>
                </a:cubicBezTo>
                <a:lnTo>
                  <a:pt x="1066883" y="892807"/>
                </a:lnTo>
                <a:lnTo>
                  <a:pt x="1067794" y="890072"/>
                </a:lnTo>
                <a:cubicBezTo>
                  <a:pt x="1064151" y="891894"/>
                  <a:pt x="1062328" y="893717"/>
                  <a:pt x="1060506" y="895539"/>
                </a:cubicBezTo>
                <a:lnTo>
                  <a:pt x="1064647" y="895042"/>
                </a:lnTo>
                <a:lnTo>
                  <a:pt x="1055040" y="904651"/>
                </a:lnTo>
                <a:cubicBezTo>
                  <a:pt x="1064151" y="908295"/>
                  <a:pt x="1069616" y="899183"/>
                  <a:pt x="1073262" y="893717"/>
                </a:cubicBezTo>
                <a:cubicBezTo>
                  <a:pt x="1075083" y="893717"/>
                  <a:pt x="1075083" y="895539"/>
                  <a:pt x="1075083" y="895539"/>
                </a:cubicBezTo>
                <a:cubicBezTo>
                  <a:pt x="1078727" y="895539"/>
                  <a:pt x="1080549" y="890072"/>
                  <a:pt x="1080549" y="888250"/>
                </a:cubicBezTo>
                <a:cubicBezTo>
                  <a:pt x="1082373" y="888250"/>
                  <a:pt x="1080549" y="891894"/>
                  <a:pt x="1080549" y="891894"/>
                </a:cubicBezTo>
                <a:cubicBezTo>
                  <a:pt x="1086016" y="890072"/>
                  <a:pt x="1087838" y="880961"/>
                  <a:pt x="1086016" y="875495"/>
                </a:cubicBezTo>
                <a:close/>
                <a:moveTo>
                  <a:pt x="690604" y="875495"/>
                </a:moveTo>
                <a:cubicBezTo>
                  <a:pt x="688782" y="877317"/>
                  <a:pt x="690604" y="877317"/>
                  <a:pt x="688782" y="879139"/>
                </a:cubicBezTo>
                <a:cubicBezTo>
                  <a:pt x="692426" y="879139"/>
                  <a:pt x="694249" y="880961"/>
                  <a:pt x="697893" y="877317"/>
                </a:cubicBezTo>
                <a:cubicBezTo>
                  <a:pt x="694249" y="875495"/>
                  <a:pt x="692426" y="875495"/>
                  <a:pt x="690604" y="875495"/>
                </a:cubicBezTo>
                <a:close/>
                <a:moveTo>
                  <a:pt x="625006" y="875495"/>
                </a:moveTo>
                <a:cubicBezTo>
                  <a:pt x="623185" y="877317"/>
                  <a:pt x="625006" y="879139"/>
                  <a:pt x="628650" y="880961"/>
                </a:cubicBezTo>
                <a:cubicBezTo>
                  <a:pt x="632296" y="879139"/>
                  <a:pt x="626828" y="877317"/>
                  <a:pt x="625006" y="875495"/>
                </a:cubicBezTo>
                <a:close/>
                <a:moveTo>
                  <a:pt x="577630" y="875495"/>
                </a:moveTo>
                <a:cubicBezTo>
                  <a:pt x="575808" y="875495"/>
                  <a:pt x="581274" y="879139"/>
                  <a:pt x="583096" y="879139"/>
                </a:cubicBezTo>
                <a:cubicBezTo>
                  <a:pt x="581274" y="875495"/>
                  <a:pt x="579452" y="877317"/>
                  <a:pt x="577630" y="875495"/>
                </a:cubicBezTo>
                <a:close/>
                <a:moveTo>
                  <a:pt x="882142" y="874389"/>
                </a:moveTo>
                <a:lnTo>
                  <a:pt x="880794" y="875040"/>
                </a:lnTo>
                <a:cubicBezTo>
                  <a:pt x="878289" y="875951"/>
                  <a:pt x="875555" y="876406"/>
                  <a:pt x="872822" y="875495"/>
                </a:cubicBezTo>
                <a:close/>
                <a:moveTo>
                  <a:pt x="439143" y="873799"/>
                </a:moveTo>
                <a:lnTo>
                  <a:pt x="439373" y="874129"/>
                </a:lnTo>
                <a:lnTo>
                  <a:pt x="441405" y="877012"/>
                </a:lnTo>
                <a:lnTo>
                  <a:pt x="440511" y="876634"/>
                </a:lnTo>
                <a:close/>
                <a:moveTo>
                  <a:pt x="3367378" y="873673"/>
                </a:moveTo>
                <a:cubicBezTo>
                  <a:pt x="3363734" y="873673"/>
                  <a:pt x="3363734" y="875495"/>
                  <a:pt x="3360089" y="875495"/>
                </a:cubicBezTo>
                <a:cubicBezTo>
                  <a:pt x="3360089" y="879139"/>
                  <a:pt x="3363734" y="879139"/>
                  <a:pt x="3365556" y="879139"/>
                </a:cubicBezTo>
                <a:cubicBezTo>
                  <a:pt x="3367378" y="879139"/>
                  <a:pt x="3367378" y="877317"/>
                  <a:pt x="3367378" y="873673"/>
                </a:cubicBezTo>
                <a:close/>
                <a:moveTo>
                  <a:pt x="3077652" y="873673"/>
                </a:moveTo>
                <a:cubicBezTo>
                  <a:pt x="3075830" y="879139"/>
                  <a:pt x="3083119" y="879139"/>
                  <a:pt x="3081297" y="880961"/>
                </a:cubicBezTo>
                <a:cubicBezTo>
                  <a:pt x="3055786" y="868206"/>
                  <a:pt x="3026631" y="888250"/>
                  <a:pt x="2999299" y="891894"/>
                </a:cubicBezTo>
                <a:cubicBezTo>
                  <a:pt x="2999299" y="893717"/>
                  <a:pt x="3001121" y="893717"/>
                  <a:pt x="3001121" y="895539"/>
                </a:cubicBezTo>
                <a:cubicBezTo>
                  <a:pt x="2988366" y="891894"/>
                  <a:pt x="2975610" y="899183"/>
                  <a:pt x="2968322" y="906473"/>
                </a:cubicBezTo>
                <a:cubicBezTo>
                  <a:pt x="2966500" y="908295"/>
                  <a:pt x="2977432" y="911939"/>
                  <a:pt x="2979255" y="921049"/>
                </a:cubicBezTo>
                <a:cubicBezTo>
                  <a:pt x="2973788" y="921049"/>
                  <a:pt x="2968322" y="917405"/>
                  <a:pt x="2966500" y="910117"/>
                </a:cubicBezTo>
                <a:cubicBezTo>
                  <a:pt x="2930056" y="919227"/>
                  <a:pt x="2924590" y="959316"/>
                  <a:pt x="2919123" y="988471"/>
                </a:cubicBezTo>
                <a:cubicBezTo>
                  <a:pt x="2926412" y="990293"/>
                  <a:pt x="2930056" y="984826"/>
                  <a:pt x="2935523" y="984826"/>
                </a:cubicBezTo>
                <a:cubicBezTo>
                  <a:pt x="2940989" y="984826"/>
                  <a:pt x="2944634" y="990293"/>
                  <a:pt x="2950100" y="986649"/>
                </a:cubicBezTo>
                <a:cubicBezTo>
                  <a:pt x="2942811" y="981182"/>
                  <a:pt x="2944634" y="973893"/>
                  <a:pt x="2942811" y="966604"/>
                </a:cubicBezTo>
                <a:cubicBezTo>
                  <a:pt x="2946456" y="968427"/>
                  <a:pt x="2948278" y="973893"/>
                  <a:pt x="2953744" y="970249"/>
                </a:cubicBezTo>
                <a:cubicBezTo>
                  <a:pt x="2948278" y="977538"/>
                  <a:pt x="2951922" y="986649"/>
                  <a:pt x="2959211" y="988471"/>
                </a:cubicBezTo>
                <a:cubicBezTo>
                  <a:pt x="2964677" y="990293"/>
                  <a:pt x="2968322" y="993937"/>
                  <a:pt x="2975610" y="992115"/>
                </a:cubicBezTo>
                <a:cubicBezTo>
                  <a:pt x="2986543" y="990293"/>
                  <a:pt x="3001121" y="990293"/>
                  <a:pt x="3004765" y="979360"/>
                </a:cubicBezTo>
                <a:cubicBezTo>
                  <a:pt x="3004765" y="977538"/>
                  <a:pt x="3002943" y="977538"/>
                  <a:pt x="3002943" y="975715"/>
                </a:cubicBezTo>
                <a:cubicBezTo>
                  <a:pt x="3006587" y="970249"/>
                  <a:pt x="3012054" y="973893"/>
                  <a:pt x="3013876" y="968427"/>
                </a:cubicBezTo>
                <a:cubicBezTo>
                  <a:pt x="3012054" y="973893"/>
                  <a:pt x="3004765" y="979360"/>
                  <a:pt x="3012054" y="981182"/>
                </a:cubicBezTo>
                <a:cubicBezTo>
                  <a:pt x="3015698" y="983004"/>
                  <a:pt x="3015698" y="972071"/>
                  <a:pt x="3013876" y="968427"/>
                </a:cubicBezTo>
                <a:cubicBezTo>
                  <a:pt x="3017521" y="970249"/>
                  <a:pt x="3019343" y="972071"/>
                  <a:pt x="3021165" y="975715"/>
                </a:cubicBezTo>
                <a:cubicBezTo>
                  <a:pt x="3024809" y="968427"/>
                  <a:pt x="3026631" y="977538"/>
                  <a:pt x="3032098" y="975715"/>
                </a:cubicBezTo>
                <a:cubicBezTo>
                  <a:pt x="3032098" y="975715"/>
                  <a:pt x="3032098" y="970249"/>
                  <a:pt x="3030276" y="966604"/>
                </a:cubicBezTo>
                <a:cubicBezTo>
                  <a:pt x="3041209" y="968427"/>
                  <a:pt x="3053964" y="973893"/>
                  <a:pt x="3063075" y="966604"/>
                </a:cubicBezTo>
                <a:cubicBezTo>
                  <a:pt x="3066719" y="964782"/>
                  <a:pt x="3061253" y="952026"/>
                  <a:pt x="3052142" y="953848"/>
                </a:cubicBezTo>
                <a:cubicBezTo>
                  <a:pt x="3057608" y="942916"/>
                  <a:pt x="3064897" y="937450"/>
                  <a:pt x="3075830" y="944738"/>
                </a:cubicBezTo>
                <a:cubicBezTo>
                  <a:pt x="3083119" y="924695"/>
                  <a:pt x="3103163" y="913761"/>
                  <a:pt x="3115918" y="899183"/>
                </a:cubicBezTo>
                <a:cubicBezTo>
                  <a:pt x="3119562" y="893717"/>
                  <a:pt x="3114096" y="890072"/>
                  <a:pt x="3108629" y="891894"/>
                </a:cubicBezTo>
                <a:cubicBezTo>
                  <a:pt x="3101340" y="880961"/>
                  <a:pt x="3088585" y="882784"/>
                  <a:pt x="3077652" y="873673"/>
                </a:cubicBezTo>
                <a:close/>
                <a:moveTo>
                  <a:pt x="2467224" y="873673"/>
                </a:moveTo>
                <a:cubicBezTo>
                  <a:pt x="2463580" y="873673"/>
                  <a:pt x="2456291" y="879139"/>
                  <a:pt x="2458113" y="886428"/>
                </a:cubicBezTo>
                <a:cubicBezTo>
                  <a:pt x="2459935" y="880961"/>
                  <a:pt x="2465402" y="879139"/>
                  <a:pt x="2467224" y="873673"/>
                </a:cubicBezTo>
                <a:close/>
                <a:moveTo>
                  <a:pt x="849133" y="873673"/>
                </a:moveTo>
                <a:cubicBezTo>
                  <a:pt x="849133" y="873673"/>
                  <a:pt x="849133" y="875495"/>
                  <a:pt x="849133" y="875495"/>
                </a:cubicBezTo>
                <a:cubicBezTo>
                  <a:pt x="841845" y="870028"/>
                  <a:pt x="829089" y="877317"/>
                  <a:pt x="819979" y="877317"/>
                </a:cubicBezTo>
                <a:cubicBezTo>
                  <a:pt x="830912" y="886428"/>
                  <a:pt x="847311" y="891894"/>
                  <a:pt x="858244" y="884606"/>
                </a:cubicBezTo>
                <a:cubicBezTo>
                  <a:pt x="865533" y="877317"/>
                  <a:pt x="849133" y="882784"/>
                  <a:pt x="849133" y="877317"/>
                </a:cubicBezTo>
                <a:lnTo>
                  <a:pt x="852778" y="877317"/>
                </a:lnTo>
                <a:cubicBezTo>
                  <a:pt x="850956" y="877317"/>
                  <a:pt x="850956" y="875495"/>
                  <a:pt x="849133" y="873673"/>
                </a:cubicBezTo>
                <a:close/>
                <a:moveTo>
                  <a:pt x="641407" y="873673"/>
                </a:moveTo>
                <a:cubicBezTo>
                  <a:pt x="641407" y="875495"/>
                  <a:pt x="639583" y="877317"/>
                  <a:pt x="641407" y="879139"/>
                </a:cubicBezTo>
                <a:cubicBezTo>
                  <a:pt x="643228" y="884606"/>
                  <a:pt x="646872" y="882784"/>
                  <a:pt x="650516" y="880961"/>
                </a:cubicBezTo>
                <a:cubicBezTo>
                  <a:pt x="648694" y="879139"/>
                  <a:pt x="641407" y="880961"/>
                  <a:pt x="646872" y="877317"/>
                </a:cubicBezTo>
                <a:cubicBezTo>
                  <a:pt x="646872" y="875495"/>
                  <a:pt x="645050" y="875495"/>
                  <a:pt x="641407" y="873673"/>
                </a:cubicBezTo>
                <a:close/>
                <a:moveTo>
                  <a:pt x="544830" y="873673"/>
                </a:moveTo>
                <a:cubicBezTo>
                  <a:pt x="548475" y="879139"/>
                  <a:pt x="548475" y="886428"/>
                  <a:pt x="553941" y="891894"/>
                </a:cubicBezTo>
                <a:cubicBezTo>
                  <a:pt x="557586" y="884606"/>
                  <a:pt x="552119" y="877317"/>
                  <a:pt x="544830" y="873673"/>
                </a:cubicBezTo>
                <a:close/>
                <a:moveTo>
                  <a:pt x="495632" y="873673"/>
                </a:moveTo>
                <a:cubicBezTo>
                  <a:pt x="491987" y="884606"/>
                  <a:pt x="499276" y="880961"/>
                  <a:pt x="502920" y="882784"/>
                </a:cubicBezTo>
                <a:cubicBezTo>
                  <a:pt x="502920" y="877317"/>
                  <a:pt x="497454" y="877317"/>
                  <a:pt x="495632" y="873673"/>
                </a:cubicBezTo>
                <a:close/>
                <a:moveTo>
                  <a:pt x="215017" y="873673"/>
                </a:moveTo>
                <a:cubicBezTo>
                  <a:pt x="215017" y="875495"/>
                  <a:pt x="218661" y="879139"/>
                  <a:pt x="220483" y="875495"/>
                </a:cubicBezTo>
                <a:cubicBezTo>
                  <a:pt x="218661" y="875495"/>
                  <a:pt x="216839" y="875495"/>
                  <a:pt x="215017" y="873673"/>
                </a:cubicBezTo>
                <a:close/>
                <a:moveTo>
                  <a:pt x="2526445" y="872078"/>
                </a:moveTo>
                <a:cubicBezTo>
                  <a:pt x="2523711" y="871851"/>
                  <a:pt x="2520978" y="873673"/>
                  <a:pt x="2521889" y="877317"/>
                </a:cubicBezTo>
                <a:cubicBezTo>
                  <a:pt x="2523711" y="879139"/>
                  <a:pt x="2527356" y="879139"/>
                  <a:pt x="2531000" y="879139"/>
                </a:cubicBezTo>
                <a:cubicBezTo>
                  <a:pt x="2531911" y="874584"/>
                  <a:pt x="2529178" y="872306"/>
                  <a:pt x="2526445" y="872078"/>
                </a:cubicBezTo>
                <a:close/>
                <a:moveTo>
                  <a:pt x="1084194" y="871851"/>
                </a:moveTo>
                <a:cubicBezTo>
                  <a:pt x="1075083" y="868206"/>
                  <a:pt x="1067794" y="884606"/>
                  <a:pt x="1064151" y="890072"/>
                </a:cubicBezTo>
                <a:cubicBezTo>
                  <a:pt x="1071439" y="884606"/>
                  <a:pt x="1080549" y="879139"/>
                  <a:pt x="1084194" y="871851"/>
                </a:cubicBezTo>
                <a:close/>
                <a:moveTo>
                  <a:pt x="1056861" y="871851"/>
                </a:moveTo>
                <a:cubicBezTo>
                  <a:pt x="1049573" y="873673"/>
                  <a:pt x="1044106" y="879139"/>
                  <a:pt x="1040462" y="884606"/>
                </a:cubicBezTo>
                <a:cubicBezTo>
                  <a:pt x="1042284" y="886428"/>
                  <a:pt x="1044106" y="886428"/>
                  <a:pt x="1045929" y="888250"/>
                </a:cubicBezTo>
                <a:cubicBezTo>
                  <a:pt x="1051395" y="882784"/>
                  <a:pt x="1056861" y="879139"/>
                  <a:pt x="1056861" y="871851"/>
                </a:cubicBezTo>
                <a:close/>
                <a:moveTo>
                  <a:pt x="792646" y="871851"/>
                </a:moveTo>
                <a:cubicBezTo>
                  <a:pt x="790824" y="871851"/>
                  <a:pt x="789003" y="873673"/>
                  <a:pt x="787179" y="873673"/>
                </a:cubicBezTo>
                <a:cubicBezTo>
                  <a:pt x="787179" y="875495"/>
                  <a:pt x="792646" y="875495"/>
                  <a:pt x="794468" y="873673"/>
                </a:cubicBezTo>
                <a:cubicBezTo>
                  <a:pt x="794468" y="873673"/>
                  <a:pt x="792646" y="871851"/>
                  <a:pt x="792646" y="871851"/>
                </a:cubicBezTo>
                <a:close/>
                <a:moveTo>
                  <a:pt x="650516" y="871851"/>
                </a:moveTo>
                <a:cubicBezTo>
                  <a:pt x="654161" y="873673"/>
                  <a:pt x="650516" y="875495"/>
                  <a:pt x="654161" y="877317"/>
                </a:cubicBezTo>
                <a:cubicBezTo>
                  <a:pt x="657805" y="875495"/>
                  <a:pt x="657805" y="875495"/>
                  <a:pt x="661449" y="873673"/>
                </a:cubicBezTo>
                <a:cubicBezTo>
                  <a:pt x="657805" y="870028"/>
                  <a:pt x="654161" y="870028"/>
                  <a:pt x="650516" y="871851"/>
                </a:cubicBezTo>
                <a:close/>
                <a:moveTo>
                  <a:pt x="597673" y="871851"/>
                </a:moveTo>
                <a:cubicBezTo>
                  <a:pt x="595852" y="870028"/>
                  <a:pt x="594030" y="873673"/>
                  <a:pt x="595852" y="875495"/>
                </a:cubicBezTo>
                <a:cubicBezTo>
                  <a:pt x="599496" y="873673"/>
                  <a:pt x="597673" y="873673"/>
                  <a:pt x="597673" y="871851"/>
                </a:cubicBezTo>
                <a:close/>
                <a:moveTo>
                  <a:pt x="557586" y="871851"/>
                </a:moveTo>
                <a:cubicBezTo>
                  <a:pt x="557586" y="871851"/>
                  <a:pt x="553941" y="873673"/>
                  <a:pt x="555763" y="875495"/>
                </a:cubicBezTo>
                <a:cubicBezTo>
                  <a:pt x="563052" y="873673"/>
                  <a:pt x="559408" y="880961"/>
                  <a:pt x="564874" y="882784"/>
                </a:cubicBezTo>
                <a:cubicBezTo>
                  <a:pt x="566697" y="877317"/>
                  <a:pt x="561230" y="873673"/>
                  <a:pt x="557586" y="871851"/>
                </a:cubicBezTo>
                <a:close/>
                <a:moveTo>
                  <a:pt x="475589" y="871851"/>
                </a:moveTo>
                <a:cubicBezTo>
                  <a:pt x="475589" y="873673"/>
                  <a:pt x="475589" y="877317"/>
                  <a:pt x="477410" y="879139"/>
                </a:cubicBezTo>
                <a:cubicBezTo>
                  <a:pt x="479232" y="880961"/>
                  <a:pt x="479232" y="877317"/>
                  <a:pt x="479232" y="877317"/>
                </a:cubicBezTo>
                <a:cubicBezTo>
                  <a:pt x="482876" y="888250"/>
                  <a:pt x="499276" y="890072"/>
                  <a:pt x="506565" y="897361"/>
                </a:cubicBezTo>
                <a:cubicBezTo>
                  <a:pt x="499276" y="888250"/>
                  <a:pt x="490165" y="879139"/>
                  <a:pt x="475589" y="871851"/>
                </a:cubicBezTo>
                <a:close/>
                <a:moveTo>
                  <a:pt x="411812" y="871851"/>
                </a:moveTo>
                <a:cubicBezTo>
                  <a:pt x="417278" y="879139"/>
                  <a:pt x="430034" y="890072"/>
                  <a:pt x="437322" y="886428"/>
                </a:cubicBezTo>
                <a:cubicBezTo>
                  <a:pt x="428211" y="879139"/>
                  <a:pt x="419100" y="868206"/>
                  <a:pt x="411812" y="871851"/>
                </a:cubicBezTo>
                <a:close/>
                <a:moveTo>
                  <a:pt x="467616" y="871623"/>
                </a:moveTo>
                <a:cubicBezTo>
                  <a:pt x="464199" y="870484"/>
                  <a:pt x="460099" y="870940"/>
                  <a:pt x="455544" y="873673"/>
                </a:cubicBezTo>
                <a:lnTo>
                  <a:pt x="455544" y="877317"/>
                </a:lnTo>
                <a:cubicBezTo>
                  <a:pt x="462832" y="880961"/>
                  <a:pt x="466478" y="886428"/>
                  <a:pt x="473766" y="888250"/>
                </a:cubicBezTo>
                <a:cubicBezTo>
                  <a:pt x="470121" y="882784"/>
                  <a:pt x="461010" y="879139"/>
                  <a:pt x="455544" y="873673"/>
                </a:cubicBezTo>
                <a:cubicBezTo>
                  <a:pt x="464655" y="879139"/>
                  <a:pt x="471943" y="884606"/>
                  <a:pt x="481054" y="891894"/>
                </a:cubicBezTo>
                <a:cubicBezTo>
                  <a:pt x="479232" y="884606"/>
                  <a:pt x="475589" y="880961"/>
                  <a:pt x="470121" y="875495"/>
                </a:cubicBezTo>
                <a:cubicBezTo>
                  <a:pt x="473766" y="873673"/>
                  <a:pt x="471943" y="879139"/>
                  <a:pt x="475589" y="879139"/>
                </a:cubicBezTo>
                <a:cubicBezTo>
                  <a:pt x="473765" y="875495"/>
                  <a:pt x="471032" y="872762"/>
                  <a:pt x="467616" y="871623"/>
                </a:cubicBezTo>
                <a:close/>
                <a:moveTo>
                  <a:pt x="1998963" y="870202"/>
                </a:moveTo>
                <a:lnTo>
                  <a:pt x="2000064" y="875267"/>
                </a:lnTo>
                <a:cubicBezTo>
                  <a:pt x="1999381" y="876862"/>
                  <a:pt x="1998014" y="878228"/>
                  <a:pt x="1997103" y="879139"/>
                </a:cubicBezTo>
                <a:cubicBezTo>
                  <a:pt x="1995281" y="875495"/>
                  <a:pt x="1991638" y="877317"/>
                  <a:pt x="1989814" y="877317"/>
                </a:cubicBezTo>
                <a:close/>
                <a:moveTo>
                  <a:pt x="1998925" y="870028"/>
                </a:moveTo>
                <a:lnTo>
                  <a:pt x="1998983" y="870186"/>
                </a:lnTo>
                <a:lnTo>
                  <a:pt x="1998963" y="870202"/>
                </a:lnTo>
                <a:close/>
                <a:moveTo>
                  <a:pt x="1295566" y="870028"/>
                </a:moveTo>
                <a:cubicBezTo>
                  <a:pt x="1295566" y="871851"/>
                  <a:pt x="1297388" y="871851"/>
                  <a:pt x="1301033" y="873673"/>
                </a:cubicBezTo>
                <a:cubicBezTo>
                  <a:pt x="1302855" y="873673"/>
                  <a:pt x="1302855" y="871851"/>
                  <a:pt x="1301033" y="870028"/>
                </a:cubicBezTo>
                <a:cubicBezTo>
                  <a:pt x="1299210" y="871851"/>
                  <a:pt x="1297388" y="868206"/>
                  <a:pt x="1295566" y="870028"/>
                </a:cubicBezTo>
                <a:close/>
                <a:moveTo>
                  <a:pt x="1279166" y="870028"/>
                </a:moveTo>
                <a:cubicBezTo>
                  <a:pt x="1277344" y="873673"/>
                  <a:pt x="1273700" y="875495"/>
                  <a:pt x="1275522" y="879139"/>
                </a:cubicBezTo>
                <a:cubicBezTo>
                  <a:pt x="1279166" y="879139"/>
                  <a:pt x="1280989" y="873673"/>
                  <a:pt x="1279166" y="870028"/>
                </a:cubicBezTo>
                <a:close/>
                <a:moveTo>
                  <a:pt x="577630" y="870028"/>
                </a:moveTo>
                <a:cubicBezTo>
                  <a:pt x="579452" y="871851"/>
                  <a:pt x="583096" y="873673"/>
                  <a:pt x="584919" y="873673"/>
                </a:cubicBezTo>
                <a:cubicBezTo>
                  <a:pt x="584919" y="873673"/>
                  <a:pt x="584919" y="875495"/>
                  <a:pt x="588562" y="875495"/>
                </a:cubicBezTo>
                <a:cubicBezTo>
                  <a:pt x="588562" y="875495"/>
                  <a:pt x="586741" y="875495"/>
                  <a:pt x="583096" y="871851"/>
                </a:cubicBezTo>
                <a:cubicBezTo>
                  <a:pt x="584919" y="871851"/>
                  <a:pt x="586741" y="871851"/>
                  <a:pt x="586741" y="871851"/>
                </a:cubicBezTo>
                <a:cubicBezTo>
                  <a:pt x="584919" y="871851"/>
                  <a:pt x="581274" y="871851"/>
                  <a:pt x="577630" y="870028"/>
                </a:cubicBezTo>
                <a:close/>
                <a:moveTo>
                  <a:pt x="1257300" y="868207"/>
                </a:moveTo>
                <a:lnTo>
                  <a:pt x="1262083" y="872990"/>
                </a:lnTo>
                <a:lnTo>
                  <a:pt x="1262631" y="874230"/>
                </a:lnTo>
                <a:lnTo>
                  <a:pt x="1262767" y="875495"/>
                </a:lnTo>
                <a:cubicBezTo>
                  <a:pt x="1261856" y="876406"/>
                  <a:pt x="1260945" y="875040"/>
                  <a:pt x="1260034" y="873217"/>
                </a:cubicBezTo>
                <a:close/>
                <a:moveTo>
                  <a:pt x="3121384" y="868206"/>
                </a:moveTo>
                <a:cubicBezTo>
                  <a:pt x="3115918" y="873673"/>
                  <a:pt x="3119562" y="882784"/>
                  <a:pt x="3123206" y="888250"/>
                </a:cubicBezTo>
                <a:cubicBezTo>
                  <a:pt x="3128673" y="891894"/>
                  <a:pt x="3135962" y="890072"/>
                  <a:pt x="3143250" y="888250"/>
                </a:cubicBezTo>
                <a:cubicBezTo>
                  <a:pt x="3152361" y="884606"/>
                  <a:pt x="3172405" y="890072"/>
                  <a:pt x="3170583" y="877317"/>
                </a:cubicBezTo>
                <a:cubicBezTo>
                  <a:pt x="3154184" y="882784"/>
                  <a:pt x="3139606" y="871851"/>
                  <a:pt x="3121384" y="871851"/>
                </a:cubicBezTo>
                <a:cubicBezTo>
                  <a:pt x="3121384" y="870028"/>
                  <a:pt x="3121384" y="870028"/>
                  <a:pt x="3121384" y="868206"/>
                </a:cubicBezTo>
                <a:close/>
                <a:moveTo>
                  <a:pt x="2607531" y="868206"/>
                </a:moveTo>
                <a:cubicBezTo>
                  <a:pt x="2603887" y="875495"/>
                  <a:pt x="2603887" y="897361"/>
                  <a:pt x="2614820" y="897361"/>
                </a:cubicBezTo>
                <a:cubicBezTo>
                  <a:pt x="2618464" y="891894"/>
                  <a:pt x="2616642" y="888250"/>
                  <a:pt x="2614820" y="882784"/>
                </a:cubicBezTo>
                <a:cubicBezTo>
                  <a:pt x="2614820" y="884606"/>
                  <a:pt x="2612998" y="884606"/>
                  <a:pt x="2609353" y="884606"/>
                </a:cubicBezTo>
                <a:cubicBezTo>
                  <a:pt x="2609353" y="877317"/>
                  <a:pt x="2614820" y="877317"/>
                  <a:pt x="2612998" y="868206"/>
                </a:cubicBezTo>
                <a:cubicBezTo>
                  <a:pt x="2611176" y="868206"/>
                  <a:pt x="2609353" y="868206"/>
                  <a:pt x="2607531" y="868206"/>
                </a:cubicBezTo>
                <a:close/>
                <a:moveTo>
                  <a:pt x="2600243" y="868206"/>
                </a:moveTo>
                <a:cubicBezTo>
                  <a:pt x="2596598" y="868206"/>
                  <a:pt x="2596598" y="871851"/>
                  <a:pt x="2592954" y="870028"/>
                </a:cubicBezTo>
                <a:cubicBezTo>
                  <a:pt x="2594776" y="875495"/>
                  <a:pt x="2592954" y="875495"/>
                  <a:pt x="2592954" y="879139"/>
                </a:cubicBezTo>
                <a:cubicBezTo>
                  <a:pt x="2598421" y="877317"/>
                  <a:pt x="2600243" y="880961"/>
                  <a:pt x="2600243" y="886428"/>
                </a:cubicBezTo>
                <a:cubicBezTo>
                  <a:pt x="2605709" y="886428"/>
                  <a:pt x="2602065" y="873673"/>
                  <a:pt x="2600243" y="868206"/>
                </a:cubicBezTo>
                <a:close/>
                <a:moveTo>
                  <a:pt x="863711" y="868206"/>
                </a:moveTo>
                <a:cubicBezTo>
                  <a:pt x="861889" y="868206"/>
                  <a:pt x="860066" y="871851"/>
                  <a:pt x="858244" y="870028"/>
                </a:cubicBezTo>
                <a:cubicBezTo>
                  <a:pt x="859155" y="872762"/>
                  <a:pt x="860522" y="873218"/>
                  <a:pt x="862345" y="872990"/>
                </a:cubicBezTo>
                <a:lnTo>
                  <a:pt x="862719" y="872927"/>
                </a:lnTo>
                <a:lnTo>
                  <a:pt x="870060" y="882443"/>
                </a:lnTo>
                <a:cubicBezTo>
                  <a:pt x="880567" y="886884"/>
                  <a:pt x="896966" y="875951"/>
                  <a:pt x="909265" y="877317"/>
                </a:cubicBezTo>
                <a:cubicBezTo>
                  <a:pt x="909265" y="871851"/>
                  <a:pt x="903799" y="868206"/>
                  <a:pt x="898333" y="868206"/>
                </a:cubicBezTo>
                <a:cubicBezTo>
                  <a:pt x="893777" y="868206"/>
                  <a:pt x="890133" y="871395"/>
                  <a:pt x="886261" y="873900"/>
                </a:cubicBezTo>
                <a:lnTo>
                  <a:pt x="882142" y="874389"/>
                </a:lnTo>
                <a:lnTo>
                  <a:pt x="887399" y="871851"/>
                </a:lnTo>
                <a:cubicBezTo>
                  <a:pt x="882843" y="868207"/>
                  <a:pt x="878743" y="870029"/>
                  <a:pt x="874643" y="871851"/>
                </a:cubicBezTo>
                <a:lnTo>
                  <a:pt x="869177" y="871851"/>
                </a:lnTo>
                <a:lnTo>
                  <a:pt x="862719" y="872927"/>
                </a:lnTo>
                <a:lnTo>
                  <a:pt x="861889" y="871851"/>
                </a:lnTo>
                <a:lnTo>
                  <a:pt x="869176" y="871851"/>
                </a:lnTo>
                <a:close/>
                <a:moveTo>
                  <a:pt x="814512" y="868206"/>
                </a:moveTo>
                <a:cubicBezTo>
                  <a:pt x="814512" y="868206"/>
                  <a:pt x="812690" y="871851"/>
                  <a:pt x="810868" y="870028"/>
                </a:cubicBezTo>
                <a:cubicBezTo>
                  <a:pt x="816334" y="873673"/>
                  <a:pt x="818156" y="866384"/>
                  <a:pt x="821801" y="868206"/>
                </a:cubicBezTo>
                <a:cubicBezTo>
                  <a:pt x="818156" y="868206"/>
                  <a:pt x="816334" y="866384"/>
                  <a:pt x="814512" y="868206"/>
                </a:cubicBezTo>
                <a:close/>
                <a:moveTo>
                  <a:pt x="643228" y="868206"/>
                </a:moveTo>
                <a:cubicBezTo>
                  <a:pt x="641407" y="871851"/>
                  <a:pt x="648694" y="877317"/>
                  <a:pt x="652339" y="875495"/>
                </a:cubicBezTo>
                <a:cubicBezTo>
                  <a:pt x="650516" y="871851"/>
                  <a:pt x="648694" y="870028"/>
                  <a:pt x="643228" y="868206"/>
                </a:cubicBezTo>
                <a:close/>
                <a:moveTo>
                  <a:pt x="626828" y="868206"/>
                </a:moveTo>
                <a:cubicBezTo>
                  <a:pt x="623185" y="870028"/>
                  <a:pt x="630472" y="873673"/>
                  <a:pt x="632296" y="875495"/>
                </a:cubicBezTo>
                <a:cubicBezTo>
                  <a:pt x="634117" y="871851"/>
                  <a:pt x="628650" y="870028"/>
                  <a:pt x="626828" y="868206"/>
                </a:cubicBezTo>
                <a:close/>
                <a:moveTo>
                  <a:pt x="267860" y="868206"/>
                </a:moveTo>
                <a:cubicBezTo>
                  <a:pt x="266038" y="871851"/>
                  <a:pt x="271504" y="879139"/>
                  <a:pt x="276971" y="880961"/>
                </a:cubicBezTo>
                <a:cubicBezTo>
                  <a:pt x="278793" y="879139"/>
                  <a:pt x="269682" y="875495"/>
                  <a:pt x="273327" y="873673"/>
                </a:cubicBezTo>
                <a:cubicBezTo>
                  <a:pt x="269682" y="870028"/>
                  <a:pt x="269682" y="870028"/>
                  <a:pt x="267860" y="868206"/>
                </a:cubicBezTo>
                <a:close/>
                <a:moveTo>
                  <a:pt x="225950" y="868206"/>
                </a:moveTo>
                <a:cubicBezTo>
                  <a:pt x="227772" y="873673"/>
                  <a:pt x="235061" y="880961"/>
                  <a:pt x="238705" y="877317"/>
                </a:cubicBezTo>
                <a:cubicBezTo>
                  <a:pt x="233239" y="873673"/>
                  <a:pt x="229594" y="871851"/>
                  <a:pt x="225950" y="868206"/>
                </a:cubicBezTo>
                <a:close/>
                <a:moveTo>
                  <a:pt x="120264" y="868206"/>
                </a:moveTo>
                <a:cubicBezTo>
                  <a:pt x="120264" y="873673"/>
                  <a:pt x="125730" y="875495"/>
                  <a:pt x="127552" y="879139"/>
                </a:cubicBezTo>
                <a:cubicBezTo>
                  <a:pt x="129375" y="877317"/>
                  <a:pt x="125730" y="875495"/>
                  <a:pt x="127552" y="873673"/>
                </a:cubicBezTo>
                <a:cubicBezTo>
                  <a:pt x="131197" y="882784"/>
                  <a:pt x="145774" y="897361"/>
                  <a:pt x="153063" y="897361"/>
                </a:cubicBezTo>
                <a:cubicBezTo>
                  <a:pt x="143952" y="882784"/>
                  <a:pt x="131197" y="875495"/>
                  <a:pt x="120264" y="868206"/>
                </a:cubicBezTo>
                <a:close/>
                <a:moveTo>
                  <a:pt x="1405803" y="868204"/>
                </a:moveTo>
                <a:lnTo>
                  <a:pt x="1411730" y="870940"/>
                </a:lnTo>
                <a:lnTo>
                  <a:pt x="1412415" y="871811"/>
                </a:lnTo>
                <a:close/>
                <a:moveTo>
                  <a:pt x="2543755" y="866384"/>
                </a:moveTo>
                <a:cubicBezTo>
                  <a:pt x="2536466" y="864562"/>
                  <a:pt x="2534644" y="868206"/>
                  <a:pt x="2536466" y="875495"/>
                </a:cubicBezTo>
                <a:cubicBezTo>
                  <a:pt x="2541933" y="875495"/>
                  <a:pt x="2541933" y="871851"/>
                  <a:pt x="2545577" y="873673"/>
                </a:cubicBezTo>
                <a:cubicBezTo>
                  <a:pt x="2543755" y="870028"/>
                  <a:pt x="2541933" y="870028"/>
                  <a:pt x="2543755" y="866384"/>
                </a:cubicBezTo>
                <a:close/>
                <a:moveTo>
                  <a:pt x="2385226" y="866384"/>
                </a:moveTo>
                <a:cubicBezTo>
                  <a:pt x="2385226" y="871851"/>
                  <a:pt x="2377937" y="877317"/>
                  <a:pt x="2381582" y="890072"/>
                </a:cubicBezTo>
                <a:cubicBezTo>
                  <a:pt x="2383404" y="888250"/>
                  <a:pt x="2388871" y="893717"/>
                  <a:pt x="2388871" y="890072"/>
                </a:cubicBezTo>
                <a:cubicBezTo>
                  <a:pt x="2392515" y="880961"/>
                  <a:pt x="2396159" y="880961"/>
                  <a:pt x="2401626" y="875495"/>
                </a:cubicBezTo>
                <a:cubicBezTo>
                  <a:pt x="2399803" y="873673"/>
                  <a:pt x="2397981" y="873673"/>
                  <a:pt x="2396159" y="875495"/>
                </a:cubicBezTo>
                <a:cubicBezTo>
                  <a:pt x="2392515" y="871851"/>
                  <a:pt x="2399803" y="870028"/>
                  <a:pt x="2397981" y="870028"/>
                </a:cubicBezTo>
                <a:cubicBezTo>
                  <a:pt x="2394337" y="870028"/>
                  <a:pt x="2390693" y="862740"/>
                  <a:pt x="2385226" y="866384"/>
                </a:cubicBezTo>
                <a:close/>
                <a:moveTo>
                  <a:pt x="1319254" y="866384"/>
                </a:moveTo>
                <a:cubicBezTo>
                  <a:pt x="1315610" y="866384"/>
                  <a:pt x="1311966" y="870028"/>
                  <a:pt x="1308321" y="873673"/>
                </a:cubicBezTo>
                <a:cubicBezTo>
                  <a:pt x="1311966" y="875495"/>
                  <a:pt x="1317432" y="868206"/>
                  <a:pt x="1319254" y="866384"/>
                </a:cubicBezTo>
                <a:close/>
                <a:moveTo>
                  <a:pt x="577630" y="866384"/>
                </a:moveTo>
                <a:cubicBezTo>
                  <a:pt x="577630" y="873673"/>
                  <a:pt x="583096" y="868206"/>
                  <a:pt x="584919" y="870028"/>
                </a:cubicBezTo>
                <a:cubicBezTo>
                  <a:pt x="583096" y="868206"/>
                  <a:pt x="579452" y="868206"/>
                  <a:pt x="577630" y="866384"/>
                </a:cubicBezTo>
                <a:close/>
                <a:moveTo>
                  <a:pt x="442789" y="866384"/>
                </a:moveTo>
                <a:cubicBezTo>
                  <a:pt x="442789" y="871851"/>
                  <a:pt x="446433" y="879139"/>
                  <a:pt x="451899" y="880961"/>
                </a:cubicBezTo>
                <a:cubicBezTo>
                  <a:pt x="455544" y="875495"/>
                  <a:pt x="448256" y="866384"/>
                  <a:pt x="442789" y="866384"/>
                </a:cubicBezTo>
                <a:close/>
                <a:moveTo>
                  <a:pt x="258749" y="866384"/>
                </a:moveTo>
                <a:cubicBezTo>
                  <a:pt x="256927" y="868206"/>
                  <a:pt x="266038" y="873673"/>
                  <a:pt x="269682" y="877317"/>
                </a:cubicBezTo>
                <a:cubicBezTo>
                  <a:pt x="269682" y="873673"/>
                  <a:pt x="260571" y="866384"/>
                  <a:pt x="258749" y="866384"/>
                </a:cubicBezTo>
                <a:close/>
                <a:moveTo>
                  <a:pt x="227772" y="866384"/>
                </a:moveTo>
                <a:cubicBezTo>
                  <a:pt x="227772" y="870028"/>
                  <a:pt x="238705" y="877317"/>
                  <a:pt x="244172" y="879139"/>
                </a:cubicBezTo>
                <a:cubicBezTo>
                  <a:pt x="240527" y="875495"/>
                  <a:pt x="233239" y="870028"/>
                  <a:pt x="227772" y="866384"/>
                </a:cubicBezTo>
                <a:close/>
                <a:moveTo>
                  <a:pt x="200439" y="866384"/>
                </a:moveTo>
                <a:cubicBezTo>
                  <a:pt x="200439" y="868206"/>
                  <a:pt x="204084" y="871851"/>
                  <a:pt x="205906" y="873673"/>
                </a:cubicBezTo>
                <a:cubicBezTo>
                  <a:pt x="207728" y="871851"/>
                  <a:pt x="207728" y="871851"/>
                  <a:pt x="205906" y="870028"/>
                </a:cubicBezTo>
                <a:cubicBezTo>
                  <a:pt x="204084" y="868206"/>
                  <a:pt x="202262" y="868206"/>
                  <a:pt x="200439" y="866384"/>
                </a:cubicBezTo>
                <a:close/>
                <a:moveTo>
                  <a:pt x="1334098" y="866044"/>
                </a:moveTo>
                <a:lnTo>
                  <a:pt x="1330188" y="869118"/>
                </a:lnTo>
                <a:lnTo>
                  <a:pt x="1320342" y="872634"/>
                </a:lnTo>
                <a:lnTo>
                  <a:pt x="1322215" y="870484"/>
                </a:lnTo>
                <a:close/>
                <a:moveTo>
                  <a:pt x="1424472" y="865792"/>
                </a:moveTo>
                <a:lnTo>
                  <a:pt x="1434348" y="867884"/>
                </a:lnTo>
                <a:lnTo>
                  <a:pt x="1432229" y="868890"/>
                </a:lnTo>
                <a:cubicBezTo>
                  <a:pt x="1429040" y="868662"/>
                  <a:pt x="1425851" y="867295"/>
                  <a:pt x="1423118" y="866384"/>
                </a:cubicBezTo>
                <a:close/>
                <a:moveTo>
                  <a:pt x="876238" y="865018"/>
                </a:moveTo>
                <a:cubicBezTo>
                  <a:pt x="873733" y="865473"/>
                  <a:pt x="871000" y="866384"/>
                  <a:pt x="869177" y="866384"/>
                </a:cubicBezTo>
                <a:cubicBezTo>
                  <a:pt x="867355" y="870028"/>
                  <a:pt x="878288" y="870028"/>
                  <a:pt x="881933" y="866384"/>
                </a:cubicBezTo>
                <a:cubicBezTo>
                  <a:pt x="881021" y="864562"/>
                  <a:pt x="878744" y="864562"/>
                  <a:pt x="876238" y="865018"/>
                </a:cubicBezTo>
                <a:close/>
                <a:moveTo>
                  <a:pt x="2199364" y="864562"/>
                </a:moveTo>
                <a:cubicBezTo>
                  <a:pt x="2197542" y="870028"/>
                  <a:pt x="2197542" y="873673"/>
                  <a:pt x="2195720" y="877317"/>
                </a:cubicBezTo>
                <a:cubicBezTo>
                  <a:pt x="2201187" y="875495"/>
                  <a:pt x="2204831" y="871851"/>
                  <a:pt x="2208475" y="868206"/>
                </a:cubicBezTo>
                <a:lnTo>
                  <a:pt x="2210297" y="864562"/>
                </a:lnTo>
                <a:close/>
                <a:moveTo>
                  <a:pt x="1441340" y="864562"/>
                </a:moveTo>
                <a:lnTo>
                  <a:pt x="1441947" y="865170"/>
                </a:lnTo>
                <a:lnTo>
                  <a:pt x="1435873" y="868206"/>
                </a:lnTo>
                <a:lnTo>
                  <a:pt x="1434348" y="867884"/>
                </a:lnTo>
                <a:close/>
                <a:moveTo>
                  <a:pt x="1275522" y="864562"/>
                </a:moveTo>
                <a:cubicBezTo>
                  <a:pt x="1275522" y="866384"/>
                  <a:pt x="1273700" y="870028"/>
                  <a:pt x="1275522" y="871851"/>
                </a:cubicBezTo>
                <a:cubicBezTo>
                  <a:pt x="1277344" y="870028"/>
                  <a:pt x="1275522" y="868206"/>
                  <a:pt x="1279166" y="866384"/>
                </a:cubicBezTo>
                <a:cubicBezTo>
                  <a:pt x="1277344" y="866384"/>
                  <a:pt x="1277344" y="866384"/>
                  <a:pt x="1275522" y="864562"/>
                </a:cubicBezTo>
                <a:close/>
                <a:moveTo>
                  <a:pt x="799251" y="864562"/>
                </a:moveTo>
                <a:cubicBezTo>
                  <a:pt x="796746" y="864562"/>
                  <a:pt x="794468" y="865473"/>
                  <a:pt x="792646" y="868206"/>
                </a:cubicBezTo>
                <a:cubicBezTo>
                  <a:pt x="798112" y="870028"/>
                  <a:pt x="801757" y="868206"/>
                  <a:pt x="807223" y="866384"/>
                </a:cubicBezTo>
                <a:cubicBezTo>
                  <a:pt x="804490" y="865473"/>
                  <a:pt x="801757" y="864562"/>
                  <a:pt x="799251" y="864562"/>
                </a:cubicBezTo>
                <a:close/>
                <a:moveTo>
                  <a:pt x="637761" y="864562"/>
                </a:moveTo>
                <a:cubicBezTo>
                  <a:pt x="635939" y="866384"/>
                  <a:pt x="635939" y="864562"/>
                  <a:pt x="634117" y="866384"/>
                </a:cubicBezTo>
                <a:cubicBezTo>
                  <a:pt x="635939" y="866384"/>
                  <a:pt x="643228" y="875495"/>
                  <a:pt x="637761" y="864562"/>
                </a:cubicBezTo>
                <a:close/>
                <a:moveTo>
                  <a:pt x="626828" y="864562"/>
                </a:moveTo>
                <a:cubicBezTo>
                  <a:pt x="623185" y="866384"/>
                  <a:pt x="628650" y="870028"/>
                  <a:pt x="632296" y="870028"/>
                </a:cubicBezTo>
                <a:cubicBezTo>
                  <a:pt x="635939" y="866384"/>
                  <a:pt x="628650" y="864562"/>
                  <a:pt x="626828" y="864562"/>
                </a:cubicBezTo>
                <a:close/>
                <a:moveTo>
                  <a:pt x="603453" y="864050"/>
                </a:moveTo>
                <a:cubicBezTo>
                  <a:pt x="600748" y="863537"/>
                  <a:pt x="598584" y="864107"/>
                  <a:pt x="597673" y="866384"/>
                </a:cubicBezTo>
                <a:cubicBezTo>
                  <a:pt x="599496" y="875495"/>
                  <a:pt x="606784" y="886428"/>
                  <a:pt x="621362" y="888250"/>
                </a:cubicBezTo>
                <a:cubicBezTo>
                  <a:pt x="623185" y="888250"/>
                  <a:pt x="623185" y="886428"/>
                  <a:pt x="621362" y="886428"/>
                </a:cubicBezTo>
                <a:cubicBezTo>
                  <a:pt x="625006" y="884606"/>
                  <a:pt x="626828" y="886428"/>
                  <a:pt x="628650" y="888250"/>
                </a:cubicBezTo>
                <a:cubicBezTo>
                  <a:pt x="630472" y="886428"/>
                  <a:pt x="626828" y="880961"/>
                  <a:pt x="623185" y="880961"/>
                </a:cubicBezTo>
                <a:cubicBezTo>
                  <a:pt x="624550" y="876862"/>
                  <a:pt x="611567" y="865587"/>
                  <a:pt x="603453" y="864050"/>
                </a:cubicBezTo>
                <a:close/>
                <a:moveTo>
                  <a:pt x="3247114" y="862740"/>
                </a:moveTo>
                <a:cubicBezTo>
                  <a:pt x="3247114" y="868206"/>
                  <a:pt x="3256225" y="868206"/>
                  <a:pt x="3254403" y="862740"/>
                </a:cubicBezTo>
                <a:cubicBezTo>
                  <a:pt x="3252581" y="862740"/>
                  <a:pt x="3250759" y="862740"/>
                  <a:pt x="3247114" y="862740"/>
                </a:cubicBezTo>
                <a:close/>
                <a:moveTo>
                  <a:pt x="2496379" y="862740"/>
                </a:moveTo>
                <a:cubicBezTo>
                  <a:pt x="2494556" y="862740"/>
                  <a:pt x="2492734" y="862740"/>
                  <a:pt x="2490912" y="864562"/>
                </a:cubicBezTo>
                <a:cubicBezTo>
                  <a:pt x="2494556" y="870028"/>
                  <a:pt x="2492734" y="875495"/>
                  <a:pt x="2494556" y="880961"/>
                </a:cubicBezTo>
                <a:cubicBezTo>
                  <a:pt x="2498201" y="875495"/>
                  <a:pt x="2492734" y="870028"/>
                  <a:pt x="2496379" y="862740"/>
                </a:cubicBezTo>
                <a:close/>
                <a:moveTo>
                  <a:pt x="1270056" y="862740"/>
                </a:moveTo>
                <a:cubicBezTo>
                  <a:pt x="1268233" y="864562"/>
                  <a:pt x="1270056" y="866384"/>
                  <a:pt x="1271878" y="868206"/>
                </a:cubicBezTo>
                <a:cubicBezTo>
                  <a:pt x="1273700" y="866384"/>
                  <a:pt x="1271878" y="866384"/>
                  <a:pt x="1273700" y="864562"/>
                </a:cubicBezTo>
                <a:cubicBezTo>
                  <a:pt x="1273700" y="862740"/>
                  <a:pt x="1271878" y="864562"/>
                  <a:pt x="1270056" y="862740"/>
                </a:cubicBezTo>
                <a:close/>
                <a:moveTo>
                  <a:pt x="978508" y="862740"/>
                </a:moveTo>
                <a:cubicBezTo>
                  <a:pt x="978508" y="860918"/>
                  <a:pt x="976686" y="864562"/>
                  <a:pt x="974863" y="864562"/>
                </a:cubicBezTo>
                <a:cubicBezTo>
                  <a:pt x="976686" y="864562"/>
                  <a:pt x="978508" y="864562"/>
                  <a:pt x="978508" y="864562"/>
                </a:cubicBezTo>
                <a:cubicBezTo>
                  <a:pt x="980330" y="862740"/>
                  <a:pt x="978508" y="860918"/>
                  <a:pt x="978508" y="862740"/>
                </a:cubicBezTo>
                <a:close/>
                <a:moveTo>
                  <a:pt x="947531" y="862740"/>
                </a:moveTo>
                <a:cubicBezTo>
                  <a:pt x="943886" y="862740"/>
                  <a:pt x="940242" y="868206"/>
                  <a:pt x="940242" y="871851"/>
                </a:cubicBezTo>
                <a:cubicBezTo>
                  <a:pt x="942064" y="873673"/>
                  <a:pt x="945709" y="879139"/>
                  <a:pt x="949353" y="873673"/>
                </a:cubicBezTo>
                <a:cubicBezTo>
                  <a:pt x="949353" y="870028"/>
                  <a:pt x="943886" y="870028"/>
                  <a:pt x="943886" y="868206"/>
                </a:cubicBezTo>
                <a:cubicBezTo>
                  <a:pt x="945709" y="870028"/>
                  <a:pt x="949353" y="871851"/>
                  <a:pt x="951175" y="870028"/>
                </a:cubicBezTo>
                <a:cubicBezTo>
                  <a:pt x="954819" y="868206"/>
                  <a:pt x="949353" y="864562"/>
                  <a:pt x="947531" y="862740"/>
                </a:cubicBezTo>
                <a:close/>
                <a:moveTo>
                  <a:pt x="646872" y="862740"/>
                </a:moveTo>
                <a:cubicBezTo>
                  <a:pt x="646872" y="866384"/>
                  <a:pt x="648694" y="868206"/>
                  <a:pt x="652339" y="870028"/>
                </a:cubicBezTo>
                <a:cubicBezTo>
                  <a:pt x="655983" y="866384"/>
                  <a:pt x="648694" y="864562"/>
                  <a:pt x="646872" y="862740"/>
                </a:cubicBezTo>
                <a:close/>
                <a:moveTo>
                  <a:pt x="548475" y="862740"/>
                </a:moveTo>
                <a:cubicBezTo>
                  <a:pt x="544830" y="870028"/>
                  <a:pt x="552119" y="866384"/>
                  <a:pt x="553941" y="868206"/>
                </a:cubicBezTo>
                <a:cubicBezTo>
                  <a:pt x="552119" y="866384"/>
                  <a:pt x="550297" y="862740"/>
                  <a:pt x="548475" y="862740"/>
                </a:cubicBezTo>
                <a:close/>
                <a:moveTo>
                  <a:pt x="532075" y="862740"/>
                </a:moveTo>
                <a:cubicBezTo>
                  <a:pt x="532075" y="866384"/>
                  <a:pt x="532075" y="868206"/>
                  <a:pt x="533897" y="871851"/>
                </a:cubicBezTo>
                <a:cubicBezTo>
                  <a:pt x="535719" y="868206"/>
                  <a:pt x="533897" y="866384"/>
                  <a:pt x="535719" y="864562"/>
                </a:cubicBezTo>
                <a:cubicBezTo>
                  <a:pt x="533897" y="862740"/>
                  <a:pt x="532075" y="862740"/>
                  <a:pt x="532075" y="862740"/>
                </a:cubicBezTo>
                <a:close/>
                <a:moveTo>
                  <a:pt x="433678" y="862740"/>
                </a:moveTo>
                <a:cubicBezTo>
                  <a:pt x="433678" y="866384"/>
                  <a:pt x="439145" y="870028"/>
                  <a:pt x="442789" y="873673"/>
                </a:cubicBezTo>
                <a:cubicBezTo>
                  <a:pt x="446433" y="870028"/>
                  <a:pt x="431856" y="868206"/>
                  <a:pt x="439145" y="864562"/>
                </a:cubicBezTo>
                <a:cubicBezTo>
                  <a:pt x="437322" y="862740"/>
                  <a:pt x="435500" y="866384"/>
                  <a:pt x="433678" y="862740"/>
                </a:cubicBezTo>
                <a:close/>
                <a:moveTo>
                  <a:pt x="235061" y="862740"/>
                </a:moveTo>
                <a:cubicBezTo>
                  <a:pt x="233239" y="864562"/>
                  <a:pt x="233239" y="862740"/>
                  <a:pt x="231416" y="864562"/>
                </a:cubicBezTo>
                <a:cubicBezTo>
                  <a:pt x="235061" y="866384"/>
                  <a:pt x="238705" y="868206"/>
                  <a:pt x="242349" y="871851"/>
                </a:cubicBezTo>
                <a:cubicBezTo>
                  <a:pt x="242349" y="868206"/>
                  <a:pt x="238705" y="866384"/>
                  <a:pt x="235061" y="862740"/>
                </a:cubicBezTo>
                <a:close/>
                <a:moveTo>
                  <a:pt x="140308" y="862740"/>
                </a:moveTo>
                <a:cubicBezTo>
                  <a:pt x="143952" y="866384"/>
                  <a:pt x="147596" y="870028"/>
                  <a:pt x="149419" y="873673"/>
                </a:cubicBezTo>
                <a:cubicBezTo>
                  <a:pt x="151241" y="873673"/>
                  <a:pt x="149419" y="871851"/>
                  <a:pt x="151241" y="870028"/>
                </a:cubicBezTo>
                <a:cubicBezTo>
                  <a:pt x="153063" y="873673"/>
                  <a:pt x="154429" y="877317"/>
                  <a:pt x="156479" y="880051"/>
                </a:cubicBezTo>
                <a:lnTo>
                  <a:pt x="164021" y="883730"/>
                </a:lnTo>
                <a:lnTo>
                  <a:pt x="173107" y="899183"/>
                </a:lnTo>
                <a:lnTo>
                  <a:pt x="167578" y="895037"/>
                </a:lnTo>
                <a:lnTo>
                  <a:pt x="153063" y="879139"/>
                </a:lnTo>
                <a:lnTo>
                  <a:pt x="154233" y="885574"/>
                </a:lnTo>
                <a:lnTo>
                  <a:pt x="149191" y="876406"/>
                </a:lnTo>
                <a:cubicBezTo>
                  <a:pt x="145774" y="872307"/>
                  <a:pt x="142130" y="868207"/>
                  <a:pt x="140308" y="862740"/>
                </a:cubicBezTo>
                <a:close/>
                <a:moveTo>
                  <a:pt x="1177044" y="861255"/>
                </a:moveTo>
                <a:lnTo>
                  <a:pt x="1178947" y="862740"/>
                </a:lnTo>
                <a:lnTo>
                  <a:pt x="1175965" y="865721"/>
                </a:lnTo>
                <a:close/>
                <a:moveTo>
                  <a:pt x="3236181" y="860918"/>
                </a:moveTo>
                <a:cubicBezTo>
                  <a:pt x="3234359" y="860918"/>
                  <a:pt x="3234359" y="862740"/>
                  <a:pt x="3232537" y="862740"/>
                </a:cubicBezTo>
                <a:cubicBezTo>
                  <a:pt x="3232537" y="866384"/>
                  <a:pt x="3234359" y="866384"/>
                  <a:pt x="3238003" y="866384"/>
                </a:cubicBezTo>
                <a:cubicBezTo>
                  <a:pt x="3238003" y="862740"/>
                  <a:pt x="3236181" y="862740"/>
                  <a:pt x="3236181" y="860918"/>
                </a:cubicBezTo>
                <a:close/>
                <a:moveTo>
                  <a:pt x="3143250" y="860918"/>
                </a:moveTo>
                <a:cubicBezTo>
                  <a:pt x="3141428" y="862740"/>
                  <a:pt x="3146895" y="866384"/>
                  <a:pt x="3152361" y="864562"/>
                </a:cubicBezTo>
                <a:cubicBezTo>
                  <a:pt x="3150539" y="862740"/>
                  <a:pt x="3145073" y="864562"/>
                  <a:pt x="3143250" y="860918"/>
                </a:cubicBezTo>
                <a:close/>
                <a:moveTo>
                  <a:pt x="2649441" y="860918"/>
                </a:moveTo>
                <a:cubicBezTo>
                  <a:pt x="2643975" y="866384"/>
                  <a:pt x="2627575" y="873673"/>
                  <a:pt x="2638508" y="880961"/>
                </a:cubicBezTo>
                <a:cubicBezTo>
                  <a:pt x="2633042" y="886428"/>
                  <a:pt x="2631219" y="877317"/>
                  <a:pt x="2631219" y="879139"/>
                </a:cubicBezTo>
                <a:cubicBezTo>
                  <a:pt x="2627575" y="893717"/>
                  <a:pt x="2638508" y="904651"/>
                  <a:pt x="2651263" y="911939"/>
                </a:cubicBezTo>
                <a:cubicBezTo>
                  <a:pt x="2642153" y="921049"/>
                  <a:pt x="2651263" y="928339"/>
                  <a:pt x="2658552" y="931983"/>
                </a:cubicBezTo>
                <a:cubicBezTo>
                  <a:pt x="2658552" y="924695"/>
                  <a:pt x="2664019" y="921049"/>
                  <a:pt x="2660374" y="913761"/>
                </a:cubicBezTo>
                <a:cubicBezTo>
                  <a:pt x="2664019" y="917405"/>
                  <a:pt x="2664019" y="922872"/>
                  <a:pt x="2671307" y="924695"/>
                </a:cubicBezTo>
                <a:cubicBezTo>
                  <a:pt x="2671307" y="924695"/>
                  <a:pt x="2671307" y="922872"/>
                  <a:pt x="2671307" y="922872"/>
                </a:cubicBezTo>
                <a:cubicBezTo>
                  <a:pt x="2669485" y="919227"/>
                  <a:pt x="2667663" y="919227"/>
                  <a:pt x="2673130" y="921049"/>
                </a:cubicBezTo>
                <a:cubicBezTo>
                  <a:pt x="2674952" y="915583"/>
                  <a:pt x="2673130" y="911939"/>
                  <a:pt x="2665841" y="908295"/>
                </a:cubicBezTo>
                <a:lnTo>
                  <a:pt x="2667663" y="906473"/>
                </a:lnTo>
                <a:cubicBezTo>
                  <a:pt x="2658552" y="901005"/>
                  <a:pt x="2651263" y="891894"/>
                  <a:pt x="2640330" y="886428"/>
                </a:cubicBezTo>
                <a:cubicBezTo>
                  <a:pt x="2649441" y="882784"/>
                  <a:pt x="2651263" y="897361"/>
                  <a:pt x="2660374" y="895539"/>
                </a:cubicBezTo>
                <a:cubicBezTo>
                  <a:pt x="2651263" y="884606"/>
                  <a:pt x="2647619" y="873673"/>
                  <a:pt x="2649441" y="860918"/>
                </a:cubicBezTo>
                <a:close/>
                <a:moveTo>
                  <a:pt x="2283184" y="860918"/>
                </a:moveTo>
                <a:cubicBezTo>
                  <a:pt x="2281362" y="862740"/>
                  <a:pt x="2281362" y="862740"/>
                  <a:pt x="2279540" y="864562"/>
                </a:cubicBezTo>
                <a:cubicBezTo>
                  <a:pt x="2277718" y="868206"/>
                  <a:pt x="2281362" y="873673"/>
                  <a:pt x="2281362" y="873673"/>
                </a:cubicBezTo>
                <a:cubicBezTo>
                  <a:pt x="2283184" y="871851"/>
                  <a:pt x="2285007" y="864562"/>
                  <a:pt x="2283184" y="860918"/>
                </a:cubicBezTo>
                <a:close/>
                <a:moveTo>
                  <a:pt x="1259123" y="860918"/>
                </a:moveTo>
                <a:lnTo>
                  <a:pt x="1260021" y="861091"/>
                </a:lnTo>
                <a:lnTo>
                  <a:pt x="1260433" y="861825"/>
                </a:lnTo>
                <a:close/>
                <a:moveTo>
                  <a:pt x="809046" y="860918"/>
                </a:moveTo>
                <a:cubicBezTo>
                  <a:pt x="807223" y="862740"/>
                  <a:pt x="805401" y="860918"/>
                  <a:pt x="803579" y="862740"/>
                </a:cubicBezTo>
                <a:lnTo>
                  <a:pt x="811274" y="862740"/>
                </a:lnTo>
                <a:lnTo>
                  <a:pt x="811551" y="862968"/>
                </a:lnTo>
                <a:lnTo>
                  <a:pt x="811678" y="862740"/>
                </a:lnTo>
                <a:lnTo>
                  <a:pt x="814512" y="862740"/>
                </a:lnTo>
                <a:cubicBezTo>
                  <a:pt x="814512" y="860918"/>
                  <a:pt x="812690" y="860918"/>
                  <a:pt x="812690" y="860918"/>
                </a:cubicBezTo>
                <a:lnTo>
                  <a:pt x="811678" y="862740"/>
                </a:lnTo>
                <a:lnTo>
                  <a:pt x="811274" y="862740"/>
                </a:lnTo>
                <a:close/>
                <a:moveTo>
                  <a:pt x="794468" y="860918"/>
                </a:moveTo>
                <a:cubicBezTo>
                  <a:pt x="792646" y="860918"/>
                  <a:pt x="789003" y="860918"/>
                  <a:pt x="787179" y="864562"/>
                </a:cubicBezTo>
                <a:cubicBezTo>
                  <a:pt x="794468" y="870028"/>
                  <a:pt x="794468" y="862740"/>
                  <a:pt x="794468" y="860918"/>
                </a:cubicBezTo>
                <a:close/>
                <a:moveTo>
                  <a:pt x="770781" y="860918"/>
                </a:moveTo>
                <a:cubicBezTo>
                  <a:pt x="772602" y="866384"/>
                  <a:pt x="781713" y="870028"/>
                  <a:pt x="783535" y="864562"/>
                </a:cubicBezTo>
                <a:cubicBezTo>
                  <a:pt x="779892" y="862740"/>
                  <a:pt x="774424" y="860918"/>
                  <a:pt x="770781" y="860918"/>
                </a:cubicBezTo>
                <a:close/>
                <a:moveTo>
                  <a:pt x="650516" y="860918"/>
                </a:moveTo>
                <a:cubicBezTo>
                  <a:pt x="650516" y="866384"/>
                  <a:pt x="659627" y="870028"/>
                  <a:pt x="663272" y="868206"/>
                </a:cubicBezTo>
                <a:cubicBezTo>
                  <a:pt x="665094" y="864562"/>
                  <a:pt x="654161" y="859095"/>
                  <a:pt x="650516" y="860918"/>
                </a:cubicBezTo>
                <a:close/>
                <a:moveTo>
                  <a:pt x="606784" y="860918"/>
                </a:moveTo>
                <a:cubicBezTo>
                  <a:pt x="604963" y="864562"/>
                  <a:pt x="614074" y="866384"/>
                  <a:pt x="617717" y="868206"/>
                </a:cubicBezTo>
                <a:cubicBezTo>
                  <a:pt x="615895" y="864562"/>
                  <a:pt x="610429" y="864562"/>
                  <a:pt x="606784" y="860918"/>
                </a:cubicBezTo>
                <a:close/>
                <a:moveTo>
                  <a:pt x="501098" y="860918"/>
                </a:moveTo>
                <a:cubicBezTo>
                  <a:pt x="499276" y="862740"/>
                  <a:pt x="504743" y="866384"/>
                  <a:pt x="504743" y="864562"/>
                </a:cubicBezTo>
                <a:cubicBezTo>
                  <a:pt x="506565" y="862740"/>
                  <a:pt x="502920" y="862740"/>
                  <a:pt x="501098" y="860918"/>
                </a:cubicBezTo>
                <a:close/>
                <a:moveTo>
                  <a:pt x="468299" y="860918"/>
                </a:moveTo>
                <a:cubicBezTo>
                  <a:pt x="468299" y="860918"/>
                  <a:pt x="470121" y="860918"/>
                  <a:pt x="470121" y="862740"/>
                </a:cubicBezTo>
                <a:lnTo>
                  <a:pt x="470219" y="862755"/>
                </a:lnTo>
                <a:lnTo>
                  <a:pt x="478776" y="870940"/>
                </a:lnTo>
                <a:cubicBezTo>
                  <a:pt x="483332" y="873218"/>
                  <a:pt x="488343" y="874584"/>
                  <a:pt x="491987" y="875495"/>
                </a:cubicBezTo>
                <a:cubicBezTo>
                  <a:pt x="493809" y="871851"/>
                  <a:pt x="490165" y="867751"/>
                  <a:pt x="485154" y="865018"/>
                </a:cubicBezTo>
                <a:lnTo>
                  <a:pt x="470219" y="862755"/>
                </a:lnTo>
                <a:close/>
                <a:moveTo>
                  <a:pt x="291549" y="860918"/>
                </a:moveTo>
                <a:cubicBezTo>
                  <a:pt x="291549" y="862740"/>
                  <a:pt x="289726" y="866384"/>
                  <a:pt x="295193" y="864562"/>
                </a:cubicBezTo>
                <a:cubicBezTo>
                  <a:pt x="295193" y="862740"/>
                  <a:pt x="293370" y="862740"/>
                  <a:pt x="291549" y="860918"/>
                </a:cubicBezTo>
                <a:close/>
                <a:moveTo>
                  <a:pt x="116619" y="860918"/>
                </a:moveTo>
                <a:cubicBezTo>
                  <a:pt x="120264" y="868206"/>
                  <a:pt x="127552" y="870028"/>
                  <a:pt x="131197" y="873673"/>
                </a:cubicBezTo>
                <a:cubicBezTo>
                  <a:pt x="129375" y="870028"/>
                  <a:pt x="122086" y="866384"/>
                  <a:pt x="116619" y="860918"/>
                </a:cubicBezTo>
                <a:close/>
                <a:moveTo>
                  <a:pt x="587652" y="860690"/>
                </a:moveTo>
                <a:cubicBezTo>
                  <a:pt x="586285" y="860462"/>
                  <a:pt x="584919" y="860918"/>
                  <a:pt x="583096" y="862740"/>
                </a:cubicBezTo>
                <a:cubicBezTo>
                  <a:pt x="586741" y="864562"/>
                  <a:pt x="584919" y="866384"/>
                  <a:pt x="588562" y="868206"/>
                </a:cubicBezTo>
                <a:cubicBezTo>
                  <a:pt x="592207" y="866384"/>
                  <a:pt x="588562" y="864562"/>
                  <a:pt x="592207" y="862740"/>
                </a:cubicBezTo>
                <a:cubicBezTo>
                  <a:pt x="590385" y="861829"/>
                  <a:pt x="589018" y="860918"/>
                  <a:pt x="587652" y="860690"/>
                </a:cubicBezTo>
                <a:close/>
                <a:moveTo>
                  <a:pt x="3194271" y="859095"/>
                </a:moveTo>
                <a:cubicBezTo>
                  <a:pt x="3194271" y="860918"/>
                  <a:pt x="3194271" y="860918"/>
                  <a:pt x="3192449" y="860918"/>
                </a:cubicBezTo>
                <a:cubicBezTo>
                  <a:pt x="3197916" y="862740"/>
                  <a:pt x="3199738" y="860918"/>
                  <a:pt x="3205204" y="860918"/>
                </a:cubicBezTo>
                <a:cubicBezTo>
                  <a:pt x="3203382" y="859095"/>
                  <a:pt x="3199738" y="859095"/>
                  <a:pt x="3194271" y="859095"/>
                </a:cubicBezTo>
                <a:close/>
                <a:moveTo>
                  <a:pt x="2554688" y="859095"/>
                </a:moveTo>
                <a:cubicBezTo>
                  <a:pt x="2545577" y="857273"/>
                  <a:pt x="2545577" y="864562"/>
                  <a:pt x="2545577" y="871851"/>
                </a:cubicBezTo>
                <a:cubicBezTo>
                  <a:pt x="2551044" y="871851"/>
                  <a:pt x="2556510" y="866384"/>
                  <a:pt x="2561977" y="870028"/>
                </a:cubicBezTo>
                <a:cubicBezTo>
                  <a:pt x="2561977" y="868206"/>
                  <a:pt x="2561977" y="866384"/>
                  <a:pt x="2561977" y="864562"/>
                </a:cubicBezTo>
                <a:cubicBezTo>
                  <a:pt x="2558332" y="868206"/>
                  <a:pt x="2554688" y="868206"/>
                  <a:pt x="2554688" y="859095"/>
                </a:cubicBezTo>
                <a:close/>
                <a:moveTo>
                  <a:pt x="1452273" y="859095"/>
                </a:moveTo>
                <a:cubicBezTo>
                  <a:pt x="1448629" y="862740"/>
                  <a:pt x="1446806" y="862740"/>
                  <a:pt x="1443162" y="866384"/>
                </a:cubicBezTo>
                <a:lnTo>
                  <a:pt x="1441947" y="865170"/>
                </a:lnTo>
                <a:lnTo>
                  <a:pt x="1445895" y="863196"/>
                </a:lnTo>
                <a:lnTo>
                  <a:pt x="1448157" y="859353"/>
                </a:lnTo>
                <a:close/>
                <a:moveTo>
                  <a:pt x="1277344" y="859095"/>
                </a:moveTo>
                <a:cubicBezTo>
                  <a:pt x="1275522" y="859095"/>
                  <a:pt x="1275522" y="860918"/>
                  <a:pt x="1275522" y="860918"/>
                </a:cubicBezTo>
                <a:cubicBezTo>
                  <a:pt x="1277344" y="860918"/>
                  <a:pt x="1277344" y="864562"/>
                  <a:pt x="1280989" y="864562"/>
                </a:cubicBezTo>
                <a:cubicBezTo>
                  <a:pt x="1280989" y="860918"/>
                  <a:pt x="1277344" y="862740"/>
                  <a:pt x="1277344" y="859095"/>
                </a:cubicBezTo>
                <a:close/>
                <a:moveTo>
                  <a:pt x="847311" y="859095"/>
                </a:moveTo>
                <a:cubicBezTo>
                  <a:pt x="843667" y="859095"/>
                  <a:pt x="847311" y="862740"/>
                  <a:pt x="850956" y="862740"/>
                </a:cubicBezTo>
                <a:cubicBezTo>
                  <a:pt x="854600" y="860918"/>
                  <a:pt x="849133" y="860918"/>
                  <a:pt x="847311" y="859095"/>
                </a:cubicBezTo>
                <a:close/>
                <a:moveTo>
                  <a:pt x="725226" y="859095"/>
                </a:moveTo>
                <a:cubicBezTo>
                  <a:pt x="721581" y="859095"/>
                  <a:pt x="721581" y="860918"/>
                  <a:pt x="723404" y="864562"/>
                </a:cubicBezTo>
                <a:cubicBezTo>
                  <a:pt x="727048" y="864562"/>
                  <a:pt x="727048" y="862740"/>
                  <a:pt x="728870" y="860918"/>
                </a:cubicBezTo>
                <a:cubicBezTo>
                  <a:pt x="727048" y="859095"/>
                  <a:pt x="727048" y="859095"/>
                  <a:pt x="725226" y="859095"/>
                </a:cubicBezTo>
                <a:close/>
                <a:moveTo>
                  <a:pt x="189506" y="859095"/>
                </a:moveTo>
                <a:cubicBezTo>
                  <a:pt x="189506" y="864562"/>
                  <a:pt x="200439" y="871851"/>
                  <a:pt x="204084" y="875495"/>
                </a:cubicBezTo>
                <a:cubicBezTo>
                  <a:pt x="204084" y="870028"/>
                  <a:pt x="194973" y="866384"/>
                  <a:pt x="189506" y="859095"/>
                </a:cubicBezTo>
                <a:close/>
                <a:moveTo>
                  <a:pt x="830911" y="858868"/>
                </a:moveTo>
                <a:cubicBezTo>
                  <a:pt x="829089" y="859096"/>
                  <a:pt x="827267" y="860007"/>
                  <a:pt x="825445" y="862740"/>
                </a:cubicBezTo>
                <a:cubicBezTo>
                  <a:pt x="829089" y="862740"/>
                  <a:pt x="832734" y="866384"/>
                  <a:pt x="836378" y="862740"/>
                </a:cubicBezTo>
                <a:cubicBezTo>
                  <a:pt x="834556" y="860918"/>
                  <a:pt x="836378" y="860918"/>
                  <a:pt x="836378" y="859095"/>
                </a:cubicBezTo>
                <a:cubicBezTo>
                  <a:pt x="834556" y="859095"/>
                  <a:pt x="832734" y="858640"/>
                  <a:pt x="830911" y="858868"/>
                </a:cubicBezTo>
                <a:close/>
                <a:moveTo>
                  <a:pt x="907444" y="858640"/>
                </a:moveTo>
                <a:cubicBezTo>
                  <a:pt x="905621" y="856363"/>
                  <a:pt x="902887" y="855451"/>
                  <a:pt x="898333" y="859095"/>
                </a:cubicBezTo>
                <a:cubicBezTo>
                  <a:pt x="900154" y="862740"/>
                  <a:pt x="907444" y="862740"/>
                  <a:pt x="911087" y="866384"/>
                </a:cubicBezTo>
                <a:cubicBezTo>
                  <a:pt x="910176" y="864562"/>
                  <a:pt x="909265" y="860918"/>
                  <a:pt x="907444" y="858640"/>
                </a:cubicBezTo>
                <a:close/>
                <a:moveTo>
                  <a:pt x="3486732" y="858531"/>
                </a:moveTo>
                <a:lnTo>
                  <a:pt x="3488781" y="860690"/>
                </a:lnTo>
                <a:cubicBezTo>
                  <a:pt x="3489008" y="866385"/>
                  <a:pt x="3486731" y="872762"/>
                  <a:pt x="3482175" y="873673"/>
                </a:cubicBezTo>
                <a:lnTo>
                  <a:pt x="3471998" y="875935"/>
                </a:lnTo>
                <a:lnTo>
                  <a:pt x="3469419" y="875495"/>
                </a:lnTo>
                <a:cubicBezTo>
                  <a:pt x="3467597" y="875495"/>
                  <a:pt x="3467597" y="871851"/>
                  <a:pt x="3462131" y="871851"/>
                </a:cubicBezTo>
                <a:cubicBezTo>
                  <a:pt x="3469419" y="866384"/>
                  <a:pt x="3478530" y="873673"/>
                  <a:pt x="3482175" y="866384"/>
                </a:cubicBezTo>
                <a:cubicBezTo>
                  <a:pt x="3483086" y="864562"/>
                  <a:pt x="3484908" y="861829"/>
                  <a:pt x="3486503" y="859096"/>
                </a:cubicBezTo>
                <a:close/>
                <a:moveTo>
                  <a:pt x="1347353" y="858213"/>
                </a:moveTo>
                <a:lnTo>
                  <a:pt x="1342942" y="862740"/>
                </a:lnTo>
                <a:lnTo>
                  <a:pt x="1334098" y="866044"/>
                </a:lnTo>
                <a:lnTo>
                  <a:pt x="1342942" y="859095"/>
                </a:lnTo>
                <a:close/>
                <a:moveTo>
                  <a:pt x="3349840" y="857957"/>
                </a:moveTo>
                <a:cubicBezTo>
                  <a:pt x="3348245" y="857729"/>
                  <a:pt x="3346423" y="858184"/>
                  <a:pt x="3345512" y="859095"/>
                </a:cubicBezTo>
                <a:cubicBezTo>
                  <a:pt x="3345512" y="860918"/>
                  <a:pt x="3349156" y="860918"/>
                  <a:pt x="3352800" y="860918"/>
                </a:cubicBezTo>
                <a:cubicBezTo>
                  <a:pt x="3352800" y="859096"/>
                  <a:pt x="3351434" y="858185"/>
                  <a:pt x="3349840" y="857957"/>
                </a:cubicBezTo>
                <a:close/>
                <a:moveTo>
                  <a:pt x="2476335" y="857273"/>
                </a:moveTo>
                <a:cubicBezTo>
                  <a:pt x="2472690" y="859095"/>
                  <a:pt x="2474513" y="866384"/>
                  <a:pt x="2478157" y="864562"/>
                </a:cubicBezTo>
                <a:cubicBezTo>
                  <a:pt x="2478157" y="860918"/>
                  <a:pt x="2476335" y="862740"/>
                  <a:pt x="2476335" y="857273"/>
                </a:cubicBezTo>
                <a:close/>
                <a:moveTo>
                  <a:pt x="860066" y="857273"/>
                </a:moveTo>
                <a:cubicBezTo>
                  <a:pt x="854600" y="855451"/>
                  <a:pt x="852778" y="860918"/>
                  <a:pt x="858244" y="860918"/>
                </a:cubicBezTo>
                <a:cubicBezTo>
                  <a:pt x="861889" y="859095"/>
                  <a:pt x="856422" y="859095"/>
                  <a:pt x="860066" y="857273"/>
                </a:cubicBezTo>
                <a:close/>
                <a:moveTo>
                  <a:pt x="750737" y="857273"/>
                </a:moveTo>
                <a:cubicBezTo>
                  <a:pt x="747092" y="859095"/>
                  <a:pt x="748914" y="859095"/>
                  <a:pt x="747092" y="860918"/>
                </a:cubicBezTo>
                <a:cubicBezTo>
                  <a:pt x="748914" y="862740"/>
                  <a:pt x="750737" y="860918"/>
                  <a:pt x="752558" y="862740"/>
                </a:cubicBezTo>
                <a:cubicBezTo>
                  <a:pt x="752558" y="859095"/>
                  <a:pt x="750737" y="860918"/>
                  <a:pt x="750737" y="857273"/>
                </a:cubicBezTo>
                <a:close/>
                <a:moveTo>
                  <a:pt x="555763" y="857273"/>
                </a:moveTo>
                <a:cubicBezTo>
                  <a:pt x="552119" y="859095"/>
                  <a:pt x="557586" y="862740"/>
                  <a:pt x="559408" y="860918"/>
                </a:cubicBezTo>
                <a:cubicBezTo>
                  <a:pt x="559408" y="860918"/>
                  <a:pt x="555763" y="859095"/>
                  <a:pt x="555763" y="857273"/>
                </a:cubicBezTo>
                <a:close/>
                <a:moveTo>
                  <a:pt x="1348763" y="856767"/>
                </a:moveTo>
                <a:lnTo>
                  <a:pt x="1352053" y="857273"/>
                </a:lnTo>
                <a:lnTo>
                  <a:pt x="1347353" y="858213"/>
                </a:lnTo>
                <a:close/>
                <a:moveTo>
                  <a:pt x="3411110" y="855451"/>
                </a:moveTo>
                <a:lnTo>
                  <a:pt x="3411997" y="855747"/>
                </a:lnTo>
                <a:lnTo>
                  <a:pt x="3411054" y="855808"/>
                </a:lnTo>
                <a:close/>
                <a:moveTo>
                  <a:pt x="2257674" y="855451"/>
                </a:moveTo>
                <a:cubicBezTo>
                  <a:pt x="2254030" y="855451"/>
                  <a:pt x="2255852" y="864562"/>
                  <a:pt x="2254030" y="870028"/>
                </a:cubicBezTo>
                <a:cubicBezTo>
                  <a:pt x="2255852" y="870028"/>
                  <a:pt x="2255852" y="871851"/>
                  <a:pt x="2259496" y="871851"/>
                </a:cubicBezTo>
                <a:cubicBezTo>
                  <a:pt x="2259496" y="871851"/>
                  <a:pt x="2259496" y="870028"/>
                  <a:pt x="2259496" y="868206"/>
                </a:cubicBezTo>
                <a:cubicBezTo>
                  <a:pt x="2259496" y="875495"/>
                  <a:pt x="2270429" y="871851"/>
                  <a:pt x="2275896" y="873673"/>
                </a:cubicBezTo>
                <a:cubicBezTo>
                  <a:pt x="2275896" y="870028"/>
                  <a:pt x="2272251" y="871851"/>
                  <a:pt x="2272251" y="868206"/>
                </a:cubicBezTo>
                <a:cubicBezTo>
                  <a:pt x="2272251" y="866384"/>
                  <a:pt x="2270429" y="866384"/>
                  <a:pt x="2270429" y="866384"/>
                </a:cubicBezTo>
                <a:cubicBezTo>
                  <a:pt x="2268607" y="868206"/>
                  <a:pt x="2264963" y="866384"/>
                  <a:pt x="2264963" y="871851"/>
                </a:cubicBezTo>
                <a:cubicBezTo>
                  <a:pt x="2263140" y="870028"/>
                  <a:pt x="2264963" y="866384"/>
                  <a:pt x="2264963" y="862740"/>
                </a:cubicBezTo>
                <a:cubicBezTo>
                  <a:pt x="2261318" y="860918"/>
                  <a:pt x="2263140" y="860918"/>
                  <a:pt x="2264963" y="857273"/>
                </a:cubicBezTo>
                <a:cubicBezTo>
                  <a:pt x="2263140" y="857273"/>
                  <a:pt x="2259496" y="857273"/>
                  <a:pt x="2257674" y="855451"/>
                </a:cubicBezTo>
                <a:close/>
                <a:moveTo>
                  <a:pt x="2250385" y="855451"/>
                </a:moveTo>
                <a:cubicBezTo>
                  <a:pt x="2230341" y="862740"/>
                  <a:pt x="2246741" y="877317"/>
                  <a:pt x="2204831" y="880961"/>
                </a:cubicBezTo>
                <a:cubicBezTo>
                  <a:pt x="2203009" y="884606"/>
                  <a:pt x="2199364" y="888250"/>
                  <a:pt x="2197542" y="893717"/>
                </a:cubicBezTo>
                <a:cubicBezTo>
                  <a:pt x="2195720" y="893717"/>
                  <a:pt x="2193898" y="893717"/>
                  <a:pt x="2192076" y="893717"/>
                </a:cubicBezTo>
                <a:cubicBezTo>
                  <a:pt x="2188431" y="904651"/>
                  <a:pt x="2179320" y="915583"/>
                  <a:pt x="2186609" y="926516"/>
                </a:cubicBezTo>
                <a:cubicBezTo>
                  <a:pt x="2186609" y="926516"/>
                  <a:pt x="2188431" y="921049"/>
                  <a:pt x="2190253" y="921049"/>
                </a:cubicBezTo>
                <a:cubicBezTo>
                  <a:pt x="2193898" y="922872"/>
                  <a:pt x="2193898" y="928339"/>
                  <a:pt x="2195720" y="928339"/>
                </a:cubicBezTo>
                <a:cubicBezTo>
                  <a:pt x="2206653" y="926516"/>
                  <a:pt x="2208475" y="921049"/>
                  <a:pt x="2210297" y="913761"/>
                </a:cubicBezTo>
                <a:cubicBezTo>
                  <a:pt x="2210297" y="915583"/>
                  <a:pt x="2210297" y="915583"/>
                  <a:pt x="2210297" y="915583"/>
                </a:cubicBezTo>
                <a:cubicBezTo>
                  <a:pt x="2221230" y="921049"/>
                  <a:pt x="2228519" y="919227"/>
                  <a:pt x="2232163" y="908295"/>
                </a:cubicBezTo>
                <a:cubicBezTo>
                  <a:pt x="2233986" y="906473"/>
                  <a:pt x="2232163" y="901005"/>
                  <a:pt x="2232163" y="897361"/>
                </a:cubicBezTo>
                <a:cubicBezTo>
                  <a:pt x="2237630" y="901005"/>
                  <a:pt x="2241274" y="904651"/>
                  <a:pt x="2237630" y="911939"/>
                </a:cubicBezTo>
                <a:cubicBezTo>
                  <a:pt x="2235808" y="911939"/>
                  <a:pt x="2233986" y="913761"/>
                  <a:pt x="2232163" y="913761"/>
                </a:cubicBezTo>
                <a:cubicBezTo>
                  <a:pt x="2228519" y="917405"/>
                  <a:pt x="2232163" y="921049"/>
                  <a:pt x="2233986" y="924695"/>
                </a:cubicBezTo>
                <a:cubicBezTo>
                  <a:pt x="2235808" y="922872"/>
                  <a:pt x="2233986" y="921049"/>
                  <a:pt x="2235808" y="917405"/>
                </a:cubicBezTo>
                <a:cubicBezTo>
                  <a:pt x="2246741" y="921049"/>
                  <a:pt x="2254030" y="901005"/>
                  <a:pt x="2257674" y="910117"/>
                </a:cubicBezTo>
                <a:cubicBezTo>
                  <a:pt x="2255852" y="908295"/>
                  <a:pt x="2255852" y="908295"/>
                  <a:pt x="2254030" y="910117"/>
                </a:cubicBezTo>
                <a:cubicBezTo>
                  <a:pt x="2252207" y="911939"/>
                  <a:pt x="2254030" y="913761"/>
                  <a:pt x="2255852" y="913761"/>
                </a:cubicBezTo>
                <a:cubicBezTo>
                  <a:pt x="2254030" y="913761"/>
                  <a:pt x="2252207" y="917405"/>
                  <a:pt x="2250385" y="915583"/>
                </a:cubicBezTo>
                <a:cubicBezTo>
                  <a:pt x="2250385" y="915583"/>
                  <a:pt x="2250385" y="915583"/>
                  <a:pt x="2250385" y="913761"/>
                </a:cubicBezTo>
                <a:cubicBezTo>
                  <a:pt x="2241274" y="915583"/>
                  <a:pt x="2237630" y="926516"/>
                  <a:pt x="2243096" y="930160"/>
                </a:cubicBezTo>
                <a:cubicBezTo>
                  <a:pt x="2254030" y="935628"/>
                  <a:pt x="2261318" y="922872"/>
                  <a:pt x="2270429" y="915583"/>
                </a:cubicBezTo>
                <a:cubicBezTo>
                  <a:pt x="2272251" y="921049"/>
                  <a:pt x="2263140" y="928339"/>
                  <a:pt x="2268607" y="935628"/>
                </a:cubicBezTo>
                <a:cubicBezTo>
                  <a:pt x="2271341" y="933805"/>
                  <a:pt x="2274530" y="933349"/>
                  <a:pt x="2276807" y="932210"/>
                </a:cubicBezTo>
                <a:lnTo>
                  <a:pt x="2279412" y="925047"/>
                </a:lnTo>
                <a:lnTo>
                  <a:pt x="2281362" y="930160"/>
                </a:lnTo>
                <a:cubicBezTo>
                  <a:pt x="2285007" y="931983"/>
                  <a:pt x="2292295" y="922872"/>
                  <a:pt x="2297762" y="922872"/>
                </a:cubicBezTo>
                <a:cubicBezTo>
                  <a:pt x="2299584" y="922872"/>
                  <a:pt x="2297762" y="930160"/>
                  <a:pt x="2295940" y="931983"/>
                </a:cubicBezTo>
                <a:cubicBezTo>
                  <a:pt x="2292295" y="922872"/>
                  <a:pt x="2283184" y="930160"/>
                  <a:pt x="2279540" y="933804"/>
                </a:cubicBezTo>
                <a:cubicBezTo>
                  <a:pt x="2279540" y="935628"/>
                  <a:pt x="2277718" y="939272"/>
                  <a:pt x="2277718" y="941094"/>
                </a:cubicBezTo>
                <a:cubicBezTo>
                  <a:pt x="2283184" y="939272"/>
                  <a:pt x="2290473" y="930160"/>
                  <a:pt x="2292295" y="939272"/>
                </a:cubicBezTo>
                <a:cubicBezTo>
                  <a:pt x="2294117" y="939272"/>
                  <a:pt x="2288651" y="941094"/>
                  <a:pt x="2286829" y="941094"/>
                </a:cubicBezTo>
                <a:cubicBezTo>
                  <a:pt x="2283184" y="944738"/>
                  <a:pt x="2288651" y="941094"/>
                  <a:pt x="2290473" y="942916"/>
                </a:cubicBezTo>
                <a:cubicBezTo>
                  <a:pt x="2290473" y="944738"/>
                  <a:pt x="2288651" y="946560"/>
                  <a:pt x="2286829" y="946560"/>
                </a:cubicBezTo>
                <a:cubicBezTo>
                  <a:pt x="2288651" y="950204"/>
                  <a:pt x="2290473" y="953848"/>
                  <a:pt x="2292295" y="952026"/>
                </a:cubicBezTo>
                <a:cubicBezTo>
                  <a:pt x="2295940" y="946560"/>
                  <a:pt x="2299584" y="946560"/>
                  <a:pt x="2292295" y="941094"/>
                </a:cubicBezTo>
                <a:cubicBezTo>
                  <a:pt x="2294117" y="941094"/>
                  <a:pt x="2294117" y="935628"/>
                  <a:pt x="2295940" y="935628"/>
                </a:cubicBezTo>
                <a:cubicBezTo>
                  <a:pt x="2299584" y="939272"/>
                  <a:pt x="2305050" y="941094"/>
                  <a:pt x="2308695" y="937450"/>
                </a:cubicBezTo>
                <a:cubicBezTo>
                  <a:pt x="2314161" y="935628"/>
                  <a:pt x="2312339" y="928339"/>
                  <a:pt x="2312339" y="921049"/>
                </a:cubicBezTo>
                <a:cubicBezTo>
                  <a:pt x="2312339" y="919227"/>
                  <a:pt x="2315983" y="922872"/>
                  <a:pt x="2314161" y="921049"/>
                </a:cubicBezTo>
                <a:cubicBezTo>
                  <a:pt x="2312339" y="915583"/>
                  <a:pt x="2299584" y="917405"/>
                  <a:pt x="2297762" y="910117"/>
                </a:cubicBezTo>
                <a:cubicBezTo>
                  <a:pt x="2290929" y="915583"/>
                  <a:pt x="2279996" y="917975"/>
                  <a:pt x="2278800" y="923441"/>
                </a:cubicBezTo>
                <a:lnTo>
                  <a:pt x="2279250" y="924622"/>
                </a:lnTo>
                <a:lnTo>
                  <a:pt x="2272251" y="922872"/>
                </a:lnTo>
                <a:cubicBezTo>
                  <a:pt x="2272251" y="919227"/>
                  <a:pt x="2275896" y="917405"/>
                  <a:pt x="2274074" y="915583"/>
                </a:cubicBezTo>
                <a:cubicBezTo>
                  <a:pt x="2279540" y="917405"/>
                  <a:pt x="2288651" y="915583"/>
                  <a:pt x="2290473" y="908295"/>
                </a:cubicBezTo>
                <a:cubicBezTo>
                  <a:pt x="2290473" y="906473"/>
                  <a:pt x="2286829" y="902827"/>
                  <a:pt x="2288651" y="899183"/>
                </a:cubicBezTo>
                <a:cubicBezTo>
                  <a:pt x="2286829" y="899183"/>
                  <a:pt x="2285007" y="899183"/>
                  <a:pt x="2283184" y="901005"/>
                </a:cubicBezTo>
                <a:cubicBezTo>
                  <a:pt x="2286829" y="893717"/>
                  <a:pt x="2288651" y="888250"/>
                  <a:pt x="2281362" y="886428"/>
                </a:cubicBezTo>
                <a:cubicBezTo>
                  <a:pt x="2279540" y="886428"/>
                  <a:pt x="2275896" y="890072"/>
                  <a:pt x="2274074" y="893717"/>
                </a:cubicBezTo>
                <a:cubicBezTo>
                  <a:pt x="2268607" y="891894"/>
                  <a:pt x="2270429" y="888250"/>
                  <a:pt x="2272251" y="884606"/>
                </a:cubicBezTo>
                <a:cubicBezTo>
                  <a:pt x="2274074" y="886428"/>
                  <a:pt x="2274074" y="886428"/>
                  <a:pt x="2274074" y="888250"/>
                </a:cubicBezTo>
                <a:cubicBezTo>
                  <a:pt x="2277718" y="888250"/>
                  <a:pt x="2274074" y="882784"/>
                  <a:pt x="2275896" y="880961"/>
                </a:cubicBezTo>
                <a:cubicBezTo>
                  <a:pt x="2272251" y="882784"/>
                  <a:pt x="2266785" y="879139"/>
                  <a:pt x="2263140" y="880961"/>
                </a:cubicBezTo>
                <a:cubicBezTo>
                  <a:pt x="2264963" y="875495"/>
                  <a:pt x="2272251" y="879139"/>
                  <a:pt x="2275896" y="879139"/>
                </a:cubicBezTo>
                <a:cubicBezTo>
                  <a:pt x="2261318" y="871851"/>
                  <a:pt x="2243096" y="870028"/>
                  <a:pt x="2241274" y="890072"/>
                </a:cubicBezTo>
                <a:cubicBezTo>
                  <a:pt x="2239452" y="884606"/>
                  <a:pt x="2237630" y="877317"/>
                  <a:pt x="2241274" y="873673"/>
                </a:cubicBezTo>
                <a:cubicBezTo>
                  <a:pt x="2241274" y="877317"/>
                  <a:pt x="2243096" y="879139"/>
                  <a:pt x="2244919" y="879139"/>
                </a:cubicBezTo>
                <a:cubicBezTo>
                  <a:pt x="2255852" y="873673"/>
                  <a:pt x="2252207" y="862740"/>
                  <a:pt x="2250385" y="855451"/>
                </a:cubicBezTo>
                <a:close/>
                <a:moveTo>
                  <a:pt x="1475961" y="855451"/>
                </a:moveTo>
                <a:cubicBezTo>
                  <a:pt x="1475961" y="857273"/>
                  <a:pt x="1472317" y="857273"/>
                  <a:pt x="1474139" y="859095"/>
                </a:cubicBezTo>
                <a:cubicBezTo>
                  <a:pt x="1477784" y="859095"/>
                  <a:pt x="1479606" y="851807"/>
                  <a:pt x="1483250" y="855451"/>
                </a:cubicBezTo>
                <a:cubicBezTo>
                  <a:pt x="1475961" y="859095"/>
                  <a:pt x="1466850" y="866384"/>
                  <a:pt x="1465028" y="871851"/>
                </a:cubicBezTo>
                <a:cubicBezTo>
                  <a:pt x="1457739" y="873673"/>
                  <a:pt x="1448629" y="879139"/>
                  <a:pt x="1443162" y="886428"/>
                </a:cubicBezTo>
                <a:cubicBezTo>
                  <a:pt x="1444984" y="888250"/>
                  <a:pt x="1454095" y="880961"/>
                  <a:pt x="1450451" y="886428"/>
                </a:cubicBezTo>
                <a:cubicBezTo>
                  <a:pt x="1457739" y="882784"/>
                  <a:pt x="1470495" y="884606"/>
                  <a:pt x="1474139" y="877317"/>
                </a:cubicBezTo>
                <a:cubicBezTo>
                  <a:pt x="1472317" y="880961"/>
                  <a:pt x="1477784" y="879139"/>
                  <a:pt x="1475961" y="880961"/>
                </a:cubicBezTo>
                <a:cubicBezTo>
                  <a:pt x="1466850" y="883695"/>
                  <a:pt x="1458650" y="885973"/>
                  <a:pt x="1450451" y="887112"/>
                </a:cubicBezTo>
                <a:lnTo>
                  <a:pt x="1434727" y="886691"/>
                </a:lnTo>
                <a:lnTo>
                  <a:pt x="1435873" y="880961"/>
                </a:lnTo>
                <a:lnTo>
                  <a:pt x="1427567" y="886499"/>
                </a:lnTo>
                <a:lnTo>
                  <a:pt x="1424940" y="886428"/>
                </a:lnTo>
                <a:lnTo>
                  <a:pt x="1426033" y="887522"/>
                </a:lnTo>
                <a:lnTo>
                  <a:pt x="1425198" y="888079"/>
                </a:lnTo>
                <a:lnTo>
                  <a:pt x="1412415" y="871811"/>
                </a:lnTo>
                <a:lnTo>
                  <a:pt x="1415829" y="873673"/>
                </a:lnTo>
                <a:cubicBezTo>
                  <a:pt x="1419474" y="877317"/>
                  <a:pt x="1419474" y="880961"/>
                  <a:pt x="1423118" y="882784"/>
                </a:cubicBezTo>
                <a:cubicBezTo>
                  <a:pt x="1426763" y="882784"/>
                  <a:pt x="1435873" y="875495"/>
                  <a:pt x="1441340" y="873673"/>
                </a:cubicBezTo>
                <a:cubicBezTo>
                  <a:pt x="1437696" y="871851"/>
                  <a:pt x="1437696" y="868206"/>
                  <a:pt x="1441340" y="868206"/>
                </a:cubicBezTo>
                <a:cubicBezTo>
                  <a:pt x="1439518" y="870028"/>
                  <a:pt x="1441340" y="871851"/>
                  <a:pt x="1443162" y="873673"/>
                </a:cubicBezTo>
                <a:cubicBezTo>
                  <a:pt x="1441340" y="877317"/>
                  <a:pt x="1435873" y="879139"/>
                  <a:pt x="1439518" y="884606"/>
                </a:cubicBezTo>
                <a:cubicBezTo>
                  <a:pt x="1450451" y="877317"/>
                  <a:pt x="1461384" y="870028"/>
                  <a:pt x="1468673" y="860918"/>
                </a:cubicBezTo>
                <a:cubicBezTo>
                  <a:pt x="1470495" y="859095"/>
                  <a:pt x="1472317" y="855451"/>
                  <a:pt x="1475961" y="855451"/>
                </a:cubicBezTo>
                <a:close/>
                <a:moveTo>
                  <a:pt x="1014951" y="855451"/>
                </a:moveTo>
                <a:cubicBezTo>
                  <a:pt x="1013129" y="857273"/>
                  <a:pt x="1016774" y="860918"/>
                  <a:pt x="1018596" y="862740"/>
                </a:cubicBezTo>
                <a:cubicBezTo>
                  <a:pt x="1022240" y="860918"/>
                  <a:pt x="1016774" y="857273"/>
                  <a:pt x="1014951" y="855451"/>
                </a:cubicBezTo>
                <a:close/>
                <a:moveTo>
                  <a:pt x="1000374" y="855451"/>
                </a:moveTo>
                <a:cubicBezTo>
                  <a:pt x="993085" y="857273"/>
                  <a:pt x="987619" y="853629"/>
                  <a:pt x="980330" y="857273"/>
                </a:cubicBezTo>
                <a:cubicBezTo>
                  <a:pt x="982152" y="859095"/>
                  <a:pt x="985796" y="860918"/>
                  <a:pt x="982152" y="864562"/>
                </a:cubicBezTo>
                <a:cubicBezTo>
                  <a:pt x="983974" y="864562"/>
                  <a:pt x="983974" y="866384"/>
                  <a:pt x="985796" y="868206"/>
                </a:cubicBezTo>
                <a:cubicBezTo>
                  <a:pt x="985796" y="866384"/>
                  <a:pt x="989441" y="866384"/>
                  <a:pt x="987619" y="864562"/>
                </a:cubicBezTo>
                <a:cubicBezTo>
                  <a:pt x="989441" y="864562"/>
                  <a:pt x="987619" y="868206"/>
                  <a:pt x="987619" y="868206"/>
                </a:cubicBezTo>
                <a:cubicBezTo>
                  <a:pt x="991263" y="870028"/>
                  <a:pt x="993085" y="871851"/>
                  <a:pt x="996729" y="870028"/>
                </a:cubicBezTo>
                <a:cubicBezTo>
                  <a:pt x="996729" y="870028"/>
                  <a:pt x="1000374" y="871851"/>
                  <a:pt x="998552" y="873673"/>
                </a:cubicBezTo>
                <a:cubicBezTo>
                  <a:pt x="993085" y="871851"/>
                  <a:pt x="989441" y="870028"/>
                  <a:pt x="983974" y="871851"/>
                </a:cubicBezTo>
                <a:cubicBezTo>
                  <a:pt x="980330" y="862740"/>
                  <a:pt x="965753" y="860918"/>
                  <a:pt x="971219" y="871851"/>
                </a:cubicBezTo>
                <a:cubicBezTo>
                  <a:pt x="969397" y="871851"/>
                  <a:pt x="969397" y="873673"/>
                  <a:pt x="967575" y="871851"/>
                </a:cubicBezTo>
                <a:cubicBezTo>
                  <a:pt x="960286" y="888250"/>
                  <a:pt x="960286" y="902827"/>
                  <a:pt x="956642" y="919227"/>
                </a:cubicBezTo>
                <a:cubicBezTo>
                  <a:pt x="958464" y="921049"/>
                  <a:pt x="960286" y="922872"/>
                  <a:pt x="962108" y="922872"/>
                </a:cubicBezTo>
                <a:cubicBezTo>
                  <a:pt x="958464" y="935628"/>
                  <a:pt x="965753" y="944738"/>
                  <a:pt x="973041" y="955672"/>
                </a:cubicBezTo>
                <a:cubicBezTo>
                  <a:pt x="971219" y="959316"/>
                  <a:pt x="973041" y="962960"/>
                  <a:pt x="974863" y="966604"/>
                </a:cubicBezTo>
                <a:cubicBezTo>
                  <a:pt x="976686" y="964782"/>
                  <a:pt x="982152" y="962960"/>
                  <a:pt x="978508" y="959316"/>
                </a:cubicBezTo>
                <a:cubicBezTo>
                  <a:pt x="980330" y="959316"/>
                  <a:pt x="980330" y="961138"/>
                  <a:pt x="982152" y="961138"/>
                </a:cubicBezTo>
                <a:lnTo>
                  <a:pt x="983974" y="959316"/>
                </a:lnTo>
                <a:lnTo>
                  <a:pt x="980330" y="964782"/>
                </a:lnTo>
                <a:lnTo>
                  <a:pt x="982152" y="965693"/>
                </a:lnTo>
                <a:lnTo>
                  <a:pt x="978508" y="964782"/>
                </a:lnTo>
                <a:cubicBezTo>
                  <a:pt x="973041" y="972071"/>
                  <a:pt x="976686" y="979360"/>
                  <a:pt x="978508" y="988471"/>
                </a:cubicBezTo>
                <a:cubicBezTo>
                  <a:pt x="982152" y="983004"/>
                  <a:pt x="983974" y="973893"/>
                  <a:pt x="985796" y="966604"/>
                </a:cubicBezTo>
                <a:lnTo>
                  <a:pt x="983366" y="965997"/>
                </a:lnTo>
                <a:lnTo>
                  <a:pt x="982152" y="964782"/>
                </a:lnTo>
                <a:cubicBezTo>
                  <a:pt x="983974" y="964782"/>
                  <a:pt x="985796" y="964782"/>
                  <a:pt x="985796" y="964782"/>
                </a:cubicBezTo>
                <a:lnTo>
                  <a:pt x="983974" y="959316"/>
                </a:lnTo>
                <a:lnTo>
                  <a:pt x="985796" y="957494"/>
                </a:lnTo>
                <a:cubicBezTo>
                  <a:pt x="985796" y="955672"/>
                  <a:pt x="983974" y="955672"/>
                  <a:pt x="982152" y="953848"/>
                </a:cubicBezTo>
                <a:cubicBezTo>
                  <a:pt x="983974" y="953848"/>
                  <a:pt x="987619" y="955672"/>
                  <a:pt x="989441" y="955672"/>
                </a:cubicBezTo>
                <a:cubicBezTo>
                  <a:pt x="989441" y="959316"/>
                  <a:pt x="989441" y="962960"/>
                  <a:pt x="989441" y="966604"/>
                </a:cubicBezTo>
                <a:cubicBezTo>
                  <a:pt x="994907" y="962960"/>
                  <a:pt x="996729" y="948383"/>
                  <a:pt x="987619" y="942916"/>
                </a:cubicBezTo>
                <a:cubicBezTo>
                  <a:pt x="982152" y="937450"/>
                  <a:pt x="978508" y="930160"/>
                  <a:pt x="973041" y="926516"/>
                </a:cubicBezTo>
                <a:cubicBezTo>
                  <a:pt x="980330" y="930160"/>
                  <a:pt x="983974" y="939272"/>
                  <a:pt x="991263" y="944738"/>
                </a:cubicBezTo>
                <a:cubicBezTo>
                  <a:pt x="993085" y="942916"/>
                  <a:pt x="989441" y="941094"/>
                  <a:pt x="989441" y="939272"/>
                </a:cubicBezTo>
                <a:cubicBezTo>
                  <a:pt x="991263" y="939272"/>
                  <a:pt x="993085" y="939272"/>
                  <a:pt x="993085" y="939272"/>
                </a:cubicBezTo>
                <a:cubicBezTo>
                  <a:pt x="993085" y="935628"/>
                  <a:pt x="991263" y="931983"/>
                  <a:pt x="987619" y="930160"/>
                </a:cubicBezTo>
                <a:cubicBezTo>
                  <a:pt x="989441" y="928339"/>
                  <a:pt x="993085" y="930160"/>
                  <a:pt x="994907" y="930160"/>
                </a:cubicBezTo>
                <a:cubicBezTo>
                  <a:pt x="996729" y="933804"/>
                  <a:pt x="993085" y="935628"/>
                  <a:pt x="996729" y="937450"/>
                </a:cubicBezTo>
                <a:cubicBezTo>
                  <a:pt x="993085" y="935628"/>
                  <a:pt x="998552" y="953848"/>
                  <a:pt x="1005840" y="955672"/>
                </a:cubicBezTo>
                <a:cubicBezTo>
                  <a:pt x="1013129" y="953848"/>
                  <a:pt x="1020418" y="942916"/>
                  <a:pt x="1016774" y="935628"/>
                </a:cubicBezTo>
                <a:cubicBezTo>
                  <a:pt x="1018596" y="931983"/>
                  <a:pt x="1018596" y="935628"/>
                  <a:pt x="1020418" y="933804"/>
                </a:cubicBezTo>
                <a:lnTo>
                  <a:pt x="1020418" y="928339"/>
                </a:lnTo>
                <a:cubicBezTo>
                  <a:pt x="1024062" y="922872"/>
                  <a:pt x="1024062" y="913761"/>
                  <a:pt x="1022240" y="906473"/>
                </a:cubicBezTo>
                <a:cubicBezTo>
                  <a:pt x="1025884" y="899183"/>
                  <a:pt x="1022240" y="890072"/>
                  <a:pt x="1022240" y="880961"/>
                </a:cubicBezTo>
                <a:cubicBezTo>
                  <a:pt x="1013129" y="873673"/>
                  <a:pt x="1007663" y="864562"/>
                  <a:pt x="1000374" y="855451"/>
                </a:cubicBezTo>
                <a:close/>
                <a:moveTo>
                  <a:pt x="840022" y="855451"/>
                </a:moveTo>
                <a:lnTo>
                  <a:pt x="843387" y="861058"/>
                </a:lnTo>
                <a:lnTo>
                  <a:pt x="836378" y="864562"/>
                </a:lnTo>
                <a:cubicBezTo>
                  <a:pt x="838200" y="866384"/>
                  <a:pt x="841845" y="862740"/>
                  <a:pt x="845489" y="864562"/>
                </a:cubicBezTo>
                <a:lnTo>
                  <a:pt x="843387" y="861058"/>
                </a:lnTo>
                <a:lnTo>
                  <a:pt x="843667" y="860918"/>
                </a:lnTo>
                <a:cubicBezTo>
                  <a:pt x="841845" y="859095"/>
                  <a:pt x="838200" y="857273"/>
                  <a:pt x="840022" y="855451"/>
                </a:cubicBezTo>
                <a:close/>
                <a:moveTo>
                  <a:pt x="787179" y="855451"/>
                </a:moveTo>
                <a:cubicBezTo>
                  <a:pt x="785357" y="859095"/>
                  <a:pt x="785357" y="860918"/>
                  <a:pt x="787179" y="862740"/>
                </a:cubicBezTo>
                <a:cubicBezTo>
                  <a:pt x="787179" y="853629"/>
                  <a:pt x="794468" y="859095"/>
                  <a:pt x="798112" y="859095"/>
                </a:cubicBezTo>
                <a:cubicBezTo>
                  <a:pt x="798112" y="855451"/>
                  <a:pt x="790824" y="857273"/>
                  <a:pt x="787179" y="855451"/>
                </a:cubicBezTo>
                <a:close/>
                <a:moveTo>
                  <a:pt x="603140" y="855451"/>
                </a:moveTo>
                <a:cubicBezTo>
                  <a:pt x="601318" y="857273"/>
                  <a:pt x="603140" y="857273"/>
                  <a:pt x="601318" y="859095"/>
                </a:cubicBezTo>
                <a:cubicBezTo>
                  <a:pt x="603140" y="859095"/>
                  <a:pt x="604963" y="860918"/>
                  <a:pt x="606784" y="859095"/>
                </a:cubicBezTo>
                <a:cubicBezTo>
                  <a:pt x="606784" y="859095"/>
                  <a:pt x="604963" y="857273"/>
                  <a:pt x="603140" y="855451"/>
                </a:cubicBezTo>
                <a:close/>
                <a:moveTo>
                  <a:pt x="448256" y="855451"/>
                </a:moveTo>
                <a:cubicBezTo>
                  <a:pt x="450077" y="859095"/>
                  <a:pt x="462832" y="868206"/>
                  <a:pt x="468299" y="864562"/>
                </a:cubicBezTo>
                <a:cubicBezTo>
                  <a:pt x="464655" y="860918"/>
                  <a:pt x="461010" y="864562"/>
                  <a:pt x="459188" y="860918"/>
                </a:cubicBezTo>
                <a:cubicBezTo>
                  <a:pt x="461010" y="859095"/>
                  <a:pt x="464655" y="862740"/>
                  <a:pt x="466478" y="860918"/>
                </a:cubicBezTo>
                <a:cubicBezTo>
                  <a:pt x="459188" y="857273"/>
                  <a:pt x="453722" y="857273"/>
                  <a:pt x="448256" y="855451"/>
                </a:cubicBezTo>
                <a:close/>
                <a:moveTo>
                  <a:pt x="883754" y="854768"/>
                </a:moveTo>
                <a:cubicBezTo>
                  <a:pt x="881932" y="854996"/>
                  <a:pt x="880111" y="855451"/>
                  <a:pt x="880111" y="855451"/>
                </a:cubicBezTo>
                <a:cubicBezTo>
                  <a:pt x="881933" y="857273"/>
                  <a:pt x="885577" y="855451"/>
                  <a:pt x="887399" y="855451"/>
                </a:cubicBezTo>
                <a:cubicBezTo>
                  <a:pt x="887399" y="854540"/>
                  <a:pt x="885577" y="854540"/>
                  <a:pt x="883754" y="854768"/>
                </a:cubicBezTo>
                <a:close/>
                <a:moveTo>
                  <a:pt x="3228893" y="853629"/>
                </a:moveTo>
                <a:cubicBezTo>
                  <a:pt x="3225248" y="851807"/>
                  <a:pt x="3223426" y="857273"/>
                  <a:pt x="3219782" y="857273"/>
                </a:cubicBezTo>
                <a:cubicBezTo>
                  <a:pt x="3221604" y="859095"/>
                  <a:pt x="3223426" y="860918"/>
                  <a:pt x="3225248" y="862740"/>
                </a:cubicBezTo>
                <a:cubicBezTo>
                  <a:pt x="3228893" y="860918"/>
                  <a:pt x="3225248" y="855451"/>
                  <a:pt x="3228893" y="853629"/>
                </a:cubicBezTo>
                <a:close/>
                <a:moveTo>
                  <a:pt x="2598421" y="853629"/>
                </a:moveTo>
                <a:cubicBezTo>
                  <a:pt x="2594776" y="853629"/>
                  <a:pt x="2594776" y="855451"/>
                  <a:pt x="2592954" y="855451"/>
                </a:cubicBezTo>
                <a:cubicBezTo>
                  <a:pt x="2596598" y="855451"/>
                  <a:pt x="2594776" y="860918"/>
                  <a:pt x="2598421" y="860918"/>
                </a:cubicBezTo>
                <a:cubicBezTo>
                  <a:pt x="2598421" y="859095"/>
                  <a:pt x="2598421" y="857273"/>
                  <a:pt x="2598421" y="853629"/>
                </a:cubicBezTo>
                <a:close/>
                <a:moveTo>
                  <a:pt x="1255478" y="853629"/>
                </a:moveTo>
                <a:cubicBezTo>
                  <a:pt x="1257300" y="855451"/>
                  <a:pt x="1260945" y="857273"/>
                  <a:pt x="1259123" y="857273"/>
                </a:cubicBezTo>
                <a:cubicBezTo>
                  <a:pt x="1259123" y="859095"/>
                  <a:pt x="1262767" y="857273"/>
                  <a:pt x="1262767" y="859095"/>
                </a:cubicBezTo>
                <a:cubicBezTo>
                  <a:pt x="1262767" y="857273"/>
                  <a:pt x="1262767" y="855451"/>
                  <a:pt x="1262767" y="853629"/>
                </a:cubicBezTo>
                <a:cubicBezTo>
                  <a:pt x="1260945" y="853629"/>
                  <a:pt x="1257300" y="851807"/>
                  <a:pt x="1255478" y="853629"/>
                </a:cubicBezTo>
                <a:close/>
                <a:moveTo>
                  <a:pt x="891043" y="853629"/>
                </a:moveTo>
                <a:cubicBezTo>
                  <a:pt x="891043" y="855451"/>
                  <a:pt x="891043" y="855451"/>
                  <a:pt x="887399" y="857273"/>
                </a:cubicBezTo>
                <a:cubicBezTo>
                  <a:pt x="889222" y="859095"/>
                  <a:pt x="891043" y="859095"/>
                  <a:pt x="892866" y="857273"/>
                </a:cubicBezTo>
                <a:cubicBezTo>
                  <a:pt x="892866" y="857273"/>
                  <a:pt x="892866" y="855451"/>
                  <a:pt x="891043" y="853629"/>
                </a:cubicBezTo>
                <a:close/>
                <a:moveTo>
                  <a:pt x="663272" y="853629"/>
                </a:moveTo>
                <a:cubicBezTo>
                  <a:pt x="659627" y="855451"/>
                  <a:pt x="657805" y="857273"/>
                  <a:pt x="661449" y="859095"/>
                </a:cubicBezTo>
                <a:cubicBezTo>
                  <a:pt x="663272" y="857273"/>
                  <a:pt x="663272" y="859095"/>
                  <a:pt x="666916" y="857273"/>
                </a:cubicBezTo>
                <a:cubicBezTo>
                  <a:pt x="665094" y="857273"/>
                  <a:pt x="665094" y="855451"/>
                  <a:pt x="663272" y="853629"/>
                </a:cubicBezTo>
                <a:close/>
                <a:moveTo>
                  <a:pt x="289726" y="853629"/>
                </a:moveTo>
                <a:cubicBezTo>
                  <a:pt x="287904" y="855451"/>
                  <a:pt x="295193" y="862740"/>
                  <a:pt x="297015" y="862740"/>
                </a:cubicBezTo>
                <a:cubicBezTo>
                  <a:pt x="295193" y="857273"/>
                  <a:pt x="293370" y="855451"/>
                  <a:pt x="289726" y="853629"/>
                </a:cubicBezTo>
                <a:close/>
                <a:moveTo>
                  <a:pt x="1189272" y="853224"/>
                </a:moveTo>
                <a:lnTo>
                  <a:pt x="1189880" y="853629"/>
                </a:lnTo>
                <a:cubicBezTo>
                  <a:pt x="1188058" y="855451"/>
                  <a:pt x="1188058" y="853629"/>
                  <a:pt x="1186236" y="855451"/>
                </a:cubicBezTo>
                <a:lnTo>
                  <a:pt x="1185520" y="854475"/>
                </a:lnTo>
                <a:close/>
                <a:moveTo>
                  <a:pt x="2522572" y="853174"/>
                </a:moveTo>
                <a:cubicBezTo>
                  <a:pt x="2518245" y="853174"/>
                  <a:pt x="2514600" y="854540"/>
                  <a:pt x="2514600" y="859095"/>
                </a:cubicBezTo>
                <a:cubicBezTo>
                  <a:pt x="2509134" y="853629"/>
                  <a:pt x="2503667" y="866384"/>
                  <a:pt x="2507312" y="871851"/>
                </a:cubicBezTo>
                <a:cubicBezTo>
                  <a:pt x="2518245" y="864562"/>
                  <a:pt x="2523711" y="860918"/>
                  <a:pt x="2534644" y="855451"/>
                </a:cubicBezTo>
                <a:cubicBezTo>
                  <a:pt x="2531911" y="854540"/>
                  <a:pt x="2526900" y="853174"/>
                  <a:pt x="2522572" y="853174"/>
                </a:cubicBezTo>
                <a:close/>
                <a:moveTo>
                  <a:pt x="3103533" y="852804"/>
                </a:moveTo>
                <a:cubicBezTo>
                  <a:pt x="3095419" y="851693"/>
                  <a:pt x="3084486" y="863651"/>
                  <a:pt x="3077652" y="866384"/>
                </a:cubicBezTo>
                <a:cubicBezTo>
                  <a:pt x="3084941" y="871851"/>
                  <a:pt x="3094052" y="875495"/>
                  <a:pt x="3106807" y="877317"/>
                </a:cubicBezTo>
                <a:cubicBezTo>
                  <a:pt x="3108629" y="871851"/>
                  <a:pt x="3106807" y="866384"/>
                  <a:pt x="3110451" y="859095"/>
                </a:cubicBezTo>
                <a:cubicBezTo>
                  <a:pt x="3108629" y="854996"/>
                  <a:pt x="3106238" y="853174"/>
                  <a:pt x="3103533" y="852804"/>
                </a:cubicBezTo>
                <a:close/>
                <a:moveTo>
                  <a:pt x="1404400" y="852139"/>
                </a:moveTo>
                <a:lnTo>
                  <a:pt x="1417652" y="855451"/>
                </a:lnTo>
                <a:cubicBezTo>
                  <a:pt x="1414007" y="855451"/>
                  <a:pt x="1410363" y="855451"/>
                  <a:pt x="1406946" y="854313"/>
                </a:cubicBezTo>
                <a:close/>
                <a:moveTo>
                  <a:pt x="3183338" y="851807"/>
                </a:moveTo>
                <a:cubicBezTo>
                  <a:pt x="3181516" y="860918"/>
                  <a:pt x="3190627" y="859095"/>
                  <a:pt x="3196093" y="857273"/>
                </a:cubicBezTo>
                <a:cubicBezTo>
                  <a:pt x="3196093" y="851807"/>
                  <a:pt x="3190627" y="851807"/>
                  <a:pt x="3183338" y="851807"/>
                </a:cubicBezTo>
                <a:close/>
                <a:moveTo>
                  <a:pt x="721581" y="851807"/>
                </a:moveTo>
                <a:cubicBezTo>
                  <a:pt x="717937" y="855451"/>
                  <a:pt x="716115" y="855451"/>
                  <a:pt x="710648" y="857273"/>
                </a:cubicBezTo>
                <a:cubicBezTo>
                  <a:pt x="714293" y="857273"/>
                  <a:pt x="725226" y="855451"/>
                  <a:pt x="721581" y="851807"/>
                </a:cubicBezTo>
                <a:close/>
                <a:moveTo>
                  <a:pt x="218661" y="851807"/>
                </a:moveTo>
                <a:cubicBezTo>
                  <a:pt x="216839" y="855451"/>
                  <a:pt x="225950" y="859095"/>
                  <a:pt x="227772" y="860918"/>
                </a:cubicBezTo>
                <a:cubicBezTo>
                  <a:pt x="231416" y="855451"/>
                  <a:pt x="220483" y="851807"/>
                  <a:pt x="218661" y="851807"/>
                </a:cubicBezTo>
                <a:close/>
                <a:moveTo>
                  <a:pt x="207728" y="851807"/>
                </a:moveTo>
                <a:cubicBezTo>
                  <a:pt x="209550" y="853629"/>
                  <a:pt x="215017" y="862740"/>
                  <a:pt x="218661" y="859095"/>
                </a:cubicBezTo>
                <a:cubicBezTo>
                  <a:pt x="213195" y="855451"/>
                  <a:pt x="213195" y="851807"/>
                  <a:pt x="207728" y="851807"/>
                </a:cubicBezTo>
                <a:close/>
                <a:moveTo>
                  <a:pt x="1403974" y="851775"/>
                </a:moveTo>
                <a:lnTo>
                  <a:pt x="1404400" y="852139"/>
                </a:lnTo>
                <a:lnTo>
                  <a:pt x="1403074" y="851807"/>
                </a:lnTo>
                <a:close/>
                <a:moveTo>
                  <a:pt x="2155051" y="851767"/>
                </a:moveTo>
                <a:lnTo>
                  <a:pt x="2150302" y="866333"/>
                </a:lnTo>
                <a:lnTo>
                  <a:pt x="2150166" y="866384"/>
                </a:lnTo>
                <a:cubicBezTo>
                  <a:pt x="2150166" y="862740"/>
                  <a:pt x="2150166" y="860918"/>
                  <a:pt x="2150166" y="859095"/>
                </a:cubicBezTo>
                <a:close/>
                <a:moveTo>
                  <a:pt x="3414754" y="849985"/>
                </a:moveTo>
                <a:cubicBezTo>
                  <a:pt x="3422043" y="848162"/>
                  <a:pt x="3418399" y="855451"/>
                  <a:pt x="3416577" y="857273"/>
                </a:cubicBezTo>
                <a:lnTo>
                  <a:pt x="3411997" y="855747"/>
                </a:lnTo>
                <a:lnTo>
                  <a:pt x="3416577" y="855451"/>
                </a:lnTo>
                <a:cubicBezTo>
                  <a:pt x="3416577" y="853629"/>
                  <a:pt x="3414754" y="851807"/>
                  <a:pt x="3414754" y="849985"/>
                </a:cubicBezTo>
                <a:close/>
                <a:moveTo>
                  <a:pt x="1457739" y="849985"/>
                </a:moveTo>
                <a:cubicBezTo>
                  <a:pt x="1455917" y="849985"/>
                  <a:pt x="1454095" y="849985"/>
                  <a:pt x="1452273" y="851807"/>
                </a:cubicBezTo>
                <a:cubicBezTo>
                  <a:pt x="1454095" y="855451"/>
                  <a:pt x="1457739" y="851807"/>
                  <a:pt x="1457739" y="849985"/>
                </a:cubicBezTo>
                <a:close/>
                <a:moveTo>
                  <a:pt x="1182592" y="849985"/>
                </a:moveTo>
                <a:cubicBezTo>
                  <a:pt x="1184414" y="849985"/>
                  <a:pt x="1184414" y="850441"/>
                  <a:pt x="1183730" y="850896"/>
                </a:cubicBezTo>
                <a:lnTo>
                  <a:pt x="1183189" y="851063"/>
                </a:lnTo>
                <a:close/>
                <a:moveTo>
                  <a:pt x="987619" y="849985"/>
                </a:moveTo>
                <a:cubicBezTo>
                  <a:pt x="987619" y="849985"/>
                  <a:pt x="987619" y="849985"/>
                  <a:pt x="985796" y="851807"/>
                </a:cubicBezTo>
                <a:cubicBezTo>
                  <a:pt x="987619" y="855451"/>
                  <a:pt x="989441" y="851807"/>
                  <a:pt x="991263" y="853629"/>
                </a:cubicBezTo>
                <a:cubicBezTo>
                  <a:pt x="993085" y="851807"/>
                  <a:pt x="989441" y="849985"/>
                  <a:pt x="987619" y="849985"/>
                </a:cubicBezTo>
                <a:close/>
                <a:moveTo>
                  <a:pt x="758025" y="849985"/>
                </a:moveTo>
                <a:cubicBezTo>
                  <a:pt x="758025" y="851807"/>
                  <a:pt x="758025" y="857273"/>
                  <a:pt x="761670" y="857273"/>
                </a:cubicBezTo>
                <a:cubicBezTo>
                  <a:pt x="763491" y="853629"/>
                  <a:pt x="759848" y="851807"/>
                  <a:pt x="758025" y="849985"/>
                </a:cubicBezTo>
                <a:close/>
                <a:moveTo>
                  <a:pt x="712470" y="849985"/>
                </a:moveTo>
                <a:cubicBezTo>
                  <a:pt x="710648" y="857273"/>
                  <a:pt x="712470" y="855451"/>
                  <a:pt x="714293" y="853629"/>
                </a:cubicBezTo>
                <a:cubicBezTo>
                  <a:pt x="714293" y="851807"/>
                  <a:pt x="714293" y="849985"/>
                  <a:pt x="712470" y="849985"/>
                </a:cubicBezTo>
                <a:close/>
                <a:moveTo>
                  <a:pt x="652339" y="849985"/>
                </a:moveTo>
                <a:cubicBezTo>
                  <a:pt x="652339" y="851807"/>
                  <a:pt x="650516" y="851807"/>
                  <a:pt x="648694" y="853629"/>
                </a:cubicBezTo>
                <a:cubicBezTo>
                  <a:pt x="652339" y="855451"/>
                  <a:pt x="655983" y="859095"/>
                  <a:pt x="659627" y="853629"/>
                </a:cubicBezTo>
                <a:cubicBezTo>
                  <a:pt x="655983" y="851807"/>
                  <a:pt x="654161" y="849985"/>
                  <a:pt x="652339" y="849985"/>
                </a:cubicBezTo>
                <a:close/>
                <a:moveTo>
                  <a:pt x="479232" y="849985"/>
                </a:moveTo>
                <a:cubicBezTo>
                  <a:pt x="479232" y="851807"/>
                  <a:pt x="484700" y="857273"/>
                  <a:pt x="486521" y="857273"/>
                </a:cubicBezTo>
                <a:cubicBezTo>
                  <a:pt x="486521" y="853629"/>
                  <a:pt x="481054" y="851807"/>
                  <a:pt x="479232" y="849985"/>
                </a:cubicBezTo>
                <a:close/>
                <a:moveTo>
                  <a:pt x="430034" y="849985"/>
                </a:moveTo>
                <a:cubicBezTo>
                  <a:pt x="428211" y="860918"/>
                  <a:pt x="442789" y="862740"/>
                  <a:pt x="450077" y="868206"/>
                </a:cubicBezTo>
                <a:cubicBezTo>
                  <a:pt x="451899" y="859095"/>
                  <a:pt x="435500" y="857273"/>
                  <a:pt x="430034" y="849985"/>
                </a:cubicBezTo>
                <a:close/>
                <a:moveTo>
                  <a:pt x="180396" y="849985"/>
                </a:moveTo>
                <a:lnTo>
                  <a:pt x="180497" y="850013"/>
                </a:lnTo>
                <a:lnTo>
                  <a:pt x="180605" y="850146"/>
                </a:lnTo>
                <a:close/>
                <a:moveTo>
                  <a:pt x="1174164" y="849529"/>
                </a:moveTo>
                <a:cubicBezTo>
                  <a:pt x="1173481" y="849529"/>
                  <a:pt x="1172569" y="849985"/>
                  <a:pt x="1171658" y="849985"/>
                </a:cubicBezTo>
                <a:cubicBezTo>
                  <a:pt x="1169836" y="849985"/>
                  <a:pt x="1173481" y="853629"/>
                  <a:pt x="1175303" y="851807"/>
                </a:cubicBezTo>
                <a:cubicBezTo>
                  <a:pt x="1175303" y="849985"/>
                  <a:pt x="1174848" y="849529"/>
                  <a:pt x="1174164" y="849529"/>
                </a:cubicBezTo>
                <a:close/>
                <a:moveTo>
                  <a:pt x="1359694" y="848514"/>
                </a:moveTo>
                <a:lnTo>
                  <a:pt x="1361164" y="849985"/>
                </a:lnTo>
                <a:lnTo>
                  <a:pt x="1355209" y="851474"/>
                </a:lnTo>
                <a:close/>
                <a:moveTo>
                  <a:pt x="3031414" y="848163"/>
                </a:moveTo>
                <a:lnTo>
                  <a:pt x="3032645" y="848681"/>
                </a:lnTo>
                <a:lnTo>
                  <a:pt x="3030103" y="849777"/>
                </a:lnTo>
                <a:close/>
                <a:moveTo>
                  <a:pt x="3217960" y="848162"/>
                </a:moveTo>
                <a:cubicBezTo>
                  <a:pt x="3212493" y="848162"/>
                  <a:pt x="3210671" y="848162"/>
                  <a:pt x="3208849" y="851807"/>
                </a:cubicBezTo>
                <a:cubicBezTo>
                  <a:pt x="3212493" y="857273"/>
                  <a:pt x="3214315" y="849985"/>
                  <a:pt x="3217960" y="848162"/>
                </a:cubicBezTo>
                <a:close/>
                <a:moveTo>
                  <a:pt x="2268607" y="848162"/>
                </a:moveTo>
                <a:cubicBezTo>
                  <a:pt x="2268607" y="848162"/>
                  <a:pt x="2266785" y="848162"/>
                  <a:pt x="2264963" y="849985"/>
                </a:cubicBezTo>
                <a:cubicBezTo>
                  <a:pt x="2264963" y="849985"/>
                  <a:pt x="2266785" y="851807"/>
                  <a:pt x="2266785" y="853629"/>
                </a:cubicBezTo>
                <a:cubicBezTo>
                  <a:pt x="2266785" y="851807"/>
                  <a:pt x="2268607" y="849985"/>
                  <a:pt x="2268607" y="848162"/>
                </a:cubicBezTo>
                <a:close/>
                <a:moveTo>
                  <a:pt x="2172032" y="848162"/>
                </a:moveTo>
                <a:cubicBezTo>
                  <a:pt x="2168387" y="853629"/>
                  <a:pt x="2166565" y="860918"/>
                  <a:pt x="2170210" y="868206"/>
                </a:cubicBezTo>
                <a:cubicBezTo>
                  <a:pt x="2168387" y="868206"/>
                  <a:pt x="2166565" y="868206"/>
                  <a:pt x="2166565" y="866384"/>
                </a:cubicBezTo>
                <a:cubicBezTo>
                  <a:pt x="2166565" y="862740"/>
                  <a:pt x="2164743" y="873673"/>
                  <a:pt x="2170210" y="871851"/>
                </a:cubicBezTo>
                <a:cubicBezTo>
                  <a:pt x="2170210" y="870028"/>
                  <a:pt x="2170210" y="870028"/>
                  <a:pt x="2170210" y="868206"/>
                </a:cubicBezTo>
                <a:cubicBezTo>
                  <a:pt x="2170210" y="870028"/>
                  <a:pt x="2170210" y="871851"/>
                  <a:pt x="2172032" y="873673"/>
                </a:cubicBezTo>
                <a:cubicBezTo>
                  <a:pt x="2173854" y="870028"/>
                  <a:pt x="2177498" y="870028"/>
                  <a:pt x="2179320" y="871851"/>
                </a:cubicBezTo>
                <a:cubicBezTo>
                  <a:pt x="2179320" y="871851"/>
                  <a:pt x="2179320" y="870028"/>
                  <a:pt x="2179320" y="870028"/>
                </a:cubicBezTo>
                <a:cubicBezTo>
                  <a:pt x="2177498" y="868206"/>
                  <a:pt x="2175676" y="866384"/>
                  <a:pt x="2175676" y="864562"/>
                </a:cubicBezTo>
                <a:cubicBezTo>
                  <a:pt x="2175676" y="864562"/>
                  <a:pt x="2173854" y="864562"/>
                  <a:pt x="2173854" y="864562"/>
                </a:cubicBezTo>
                <a:cubicBezTo>
                  <a:pt x="2173854" y="862740"/>
                  <a:pt x="2173854" y="862740"/>
                  <a:pt x="2173854" y="860918"/>
                </a:cubicBezTo>
                <a:cubicBezTo>
                  <a:pt x="2172032" y="859095"/>
                  <a:pt x="2173854" y="860918"/>
                  <a:pt x="2179320" y="848162"/>
                </a:cubicBezTo>
                <a:close/>
                <a:moveTo>
                  <a:pt x="707004" y="848162"/>
                </a:moveTo>
                <a:cubicBezTo>
                  <a:pt x="707004" y="849985"/>
                  <a:pt x="699715" y="853629"/>
                  <a:pt x="707004" y="857273"/>
                </a:cubicBezTo>
                <a:cubicBezTo>
                  <a:pt x="708826" y="855451"/>
                  <a:pt x="710648" y="849985"/>
                  <a:pt x="707004" y="848162"/>
                </a:cubicBezTo>
                <a:close/>
                <a:moveTo>
                  <a:pt x="559408" y="848162"/>
                </a:moveTo>
                <a:cubicBezTo>
                  <a:pt x="559408" y="848162"/>
                  <a:pt x="557586" y="849985"/>
                  <a:pt x="555763" y="849985"/>
                </a:cubicBezTo>
                <a:cubicBezTo>
                  <a:pt x="555763" y="851807"/>
                  <a:pt x="559408" y="855451"/>
                  <a:pt x="563052" y="857273"/>
                </a:cubicBezTo>
                <a:cubicBezTo>
                  <a:pt x="564874" y="853629"/>
                  <a:pt x="561230" y="849985"/>
                  <a:pt x="559408" y="848162"/>
                </a:cubicBezTo>
                <a:close/>
                <a:moveTo>
                  <a:pt x="470121" y="848162"/>
                </a:moveTo>
                <a:cubicBezTo>
                  <a:pt x="473766" y="851807"/>
                  <a:pt x="477410" y="857273"/>
                  <a:pt x="481054" y="855451"/>
                </a:cubicBezTo>
                <a:cubicBezTo>
                  <a:pt x="477410" y="851807"/>
                  <a:pt x="473766" y="844518"/>
                  <a:pt x="470121" y="848162"/>
                </a:cubicBezTo>
                <a:close/>
                <a:moveTo>
                  <a:pt x="351680" y="848162"/>
                </a:moveTo>
                <a:cubicBezTo>
                  <a:pt x="355324" y="851807"/>
                  <a:pt x="355324" y="855451"/>
                  <a:pt x="357146" y="859095"/>
                </a:cubicBezTo>
                <a:cubicBezTo>
                  <a:pt x="353502" y="868206"/>
                  <a:pt x="362613" y="877317"/>
                  <a:pt x="368079" y="882784"/>
                </a:cubicBezTo>
                <a:cubicBezTo>
                  <a:pt x="366257" y="879139"/>
                  <a:pt x="362613" y="879139"/>
                  <a:pt x="358969" y="877317"/>
                </a:cubicBezTo>
                <a:cubicBezTo>
                  <a:pt x="357146" y="882784"/>
                  <a:pt x="364435" y="884606"/>
                  <a:pt x="368079" y="884606"/>
                </a:cubicBezTo>
                <a:lnTo>
                  <a:pt x="391723" y="888243"/>
                </a:lnTo>
                <a:lnTo>
                  <a:pt x="388123" y="884643"/>
                </a:lnTo>
                <a:lnTo>
                  <a:pt x="393533" y="888250"/>
                </a:lnTo>
                <a:lnTo>
                  <a:pt x="400879" y="888250"/>
                </a:lnTo>
                <a:cubicBezTo>
                  <a:pt x="393590" y="888250"/>
                  <a:pt x="391768" y="882784"/>
                  <a:pt x="389946" y="879139"/>
                </a:cubicBezTo>
                <a:cubicBezTo>
                  <a:pt x="391768" y="880962"/>
                  <a:pt x="393590" y="883240"/>
                  <a:pt x="396095" y="884834"/>
                </a:cubicBezTo>
                <a:lnTo>
                  <a:pt x="406210" y="886407"/>
                </a:lnTo>
                <a:lnTo>
                  <a:pt x="409306" y="891211"/>
                </a:lnTo>
                <a:cubicBezTo>
                  <a:pt x="411812" y="893261"/>
                  <a:pt x="414545" y="893717"/>
                  <a:pt x="417278" y="891894"/>
                </a:cubicBezTo>
                <a:cubicBezTo>
                  <a:pt x="415456" y="886428"/>
                  <a:pt x="408167" y="886428"/>
                  <a:pt x="402701" y="880961"/>
                </a:cubicBezTo>
                <a:lnTo>
                  <a:pt x="406082" y="886208"/>
                </a:lnTo>
                <a:lnTo>
                  <a:pt x="381062" y="865246"/>
                </a:lnTo>
                <a:cubicBezTo>
                  <a:pt x="371724" y="859551"/>
                  <a:pt x="361702" y="854540"/>
                  <a:pt x="351680" y="848162"/>
                </a:cubicBezTo>
                <a:close/>
                <a:moveTo>
                  <a:pt x="251460" y="848162"/>
                </a:moveTo>
                <a:cubicBezTo>
                  <a:pt x="249638" y="849985"/>
                  <a:pt x="255105" y="853629"/>
                  <a:pt x="256927" y="853629"/>
                </a:cubicBezTo>
                <a:cubicBezTo>
                  <a:pt x="256927" y="849985"/>
                  <a:pt x="253282" y="851807"/>
                  <a:pt x="251460" y="848162"/>
                </a:cubicBezTo>
                <a:close/>
                <a:moveTo>
                  <a:pt x="2584526" y="847480"/>
                </a:moveTo>
                <a:cubicBezTo>
                  <a:pt x="2583388" y="848163"/>
                  <a:pt x="2582021" y="849074"/>
                  <a:pt x="2580199" y="848162"/>
                </a:cubicBezTo>
                <a:cubicBezTo>
                  <a:pt x="2582021" y="849985"/>
                  <a:pt x="2585665" y="860918"/>
                  <a:pt x="2585665" y="853629"/>
                </a:cubicBezTo>
                <a:cubicBezTo>
                  <a:pt x="2589310" y="853629"/>
                  <a:pt x="2587487" y="859095"/>
                  <a:pt x="2587487" y="860918"/>
                </a:cubicBezTo>
                <a:cubicBezTo>
                  <a:pt x="2583843" y="853629"/>
                  <a:pt x="2576554" y="860918"/>
                  <a:pt x="2571088" y="857273"/>
                </a:cubicBezTo>
                <a:cubicBezTo>
                  <a:pt x="2572910" y="862740"/>
                  <a:pt x="2565621" y="859095"/>
                  <a:pt x="2567443" y="866384"/>
                </a:cubicBezTo>
                <a:cubicBezTo>
                  <a:pt x="2578377" y="864562"/>
                  <a:pt x="2580199" y="864562"/>
                  <a:pt x="2589310" y="862740"/>
                </a:cubicBezTo>
                <a:cubicBezTo>
                  <a:pt x="2592954" y="857273"/>
                  <a:pt x="2587487" y="851807"/>
                  <a:pt x="2587487" y="848162"/>
                </a:cubicBezTo>
                <a:cubicBezTo>
                  <a:pt x="2586576" y="846340"/>
                  <a:pt x="2585665" y="846796"/>
                  <a:pt x="2584526" y="847480"/>
                </a:cubicBezTo>
                <a:close/>
                <a:moveTo>
                  <a:pt x="1349320" y="847480"/>
                </a:moveTo>
                <a:cubicBezTo>
                  <a:pt x="1347042" y="849074"/>
                  <a:pt x="1344764" y="851807"/>
                  <a:pt x="1342942" y="853629"/>
                </a:cubicBezTo>
                <a:cubicBezTo>
                  <a:pt x="1348410" y="857273"/>
                  <a:pt x="1353876" y="851807"/>
                  <a:pt x="1355698" y="848162"/>
                </a:cubicBezTo>
                <a:cubicBezTo>
                  <a:pt x="1353875" y="845429"/>
                  <a:pt x="1351598" y="845885"/>
                  <a:pt x="1349320" y="847480"/>
                </a:cubicBezTo>
                <a:close/>
                <a:moveTo>
                  <a:pt x="1362987" y="846340"/>
                </a:moveTo>
                <a:lnTo>
                  <a:pt x="1365207" y="847365"/>
                </a:lnTo>
                <a:lnTo>
                  <a:pt x="1364809" y="848162"/>
                </a:lnTo>
                <a:lnTo>
                  <a:pt x="1362529" y="846643"/>
                </a:lnTo>
                <a:close/>
                <a:moveTo>
                  <a:pt x="1193525" y="846340"/>
                </a:moveTo>
                <a:cubicBezTo>
                  <a:pt x="1193525" y="848162"/>
                  <a:pt x="1198991" y="851807"/>
                  <a:pt x="1200814" y="851807"/>
                </a:cubicBezTo>
                <a:cubicBezTo>
                  <a:pt x="1202636" y="862740"/>
                  <a:pt x="1217213" y="862740"/>
                  <a:pt x="1222679" y="855451"/>
                </a:cubicBezTo>
                <a:cubicBezTo>
                  <a:pt x="1220858" y="853629"/>
                  <a:pt x="1217213" y="857273"/>
                  <a:pt x="1220858" y="853629"/>
                </a:cubicBezTo>
                <a:cubicBezTo>
                  <a:pt x="1224501" y="855451"/>
                  <a:pt x="1228146" y="855451"/>
                  <a:pt x="1229969" y="853629"/>
                </a:cubicBezTo>
                <a:cubicBezTo>
                  <a:pt x="1228146" y="849985"/>
                  <a:pt x="1224501" y="849985"/>
                  <a:pt x="1222679" y="848162"/>
                </a:cubicBezTo>
                <a:cubicBezTo>
                  <a:pt x="1220858" y="849985"/>
                  <a:pt x="1222679" y="851807"/>
                  <a:pt x="1220858" y="853629"/>
                </a:cubicBezTo>
                <a:cubicBezTo>
                  <a:pt x="1211747" y="846340"/>
                  <a:pt x="1200814" y="844518"/>
                  <a:pt x="1193525" y="846340"/>
                </a:cubicBezTo>
                <a:close/>
                <a:moveTo>
                  <a:pt x="1002196" y="846340"/>
                </a:moveTo>
                <a:cubicBezTo>
                  <a:pt x="1005840" y="849985"/>
                  <a:pt x="1007663" y="851807"/>
                  <a:pt x="1011307" y="853629"/>
                </a:cubicBezTo>
                <a:cubicBezTo>
                  <a:pt x="1011307" y="851807"/>
                  <a:pt x="1011307" y="851807"/>
                  <a:pt x="1011307" y="849985"/>
                </a:cubicBezTo>
                <a:cubicBezTo>
                  <a:pt x="1013129" y="848162"/>
                  <a:pt x="1011307" y="851807"/>
                  <a:pt x="1013129" y="853629"/>
                </a:cubicBezTo>
                <a:cubicBezTo>
                  <a:pt x="1014951" y="851807"/>
                  <a:pt x="1014951" y="851807"/>
                  <a:pt x="1016774" y="853629"/>
                </a:cubicBezTo>
                <a:cubicBezTo>
                  <a:pt x="1011307" y="848162"/>
                  <a:pt x="1007663" y="842696"/>
                  <a:pt x="1002196" y="846340"/>
                </a:cubicBezTo>
                <a:close/>
                <a:moveTo>
                  <a:pt x="971219" y="846340"/>
                </a:moveTo>
                <a:cubicBezTo>
                  <a:pt x="969397" y="848162"/>
                  <a:pt x="967575" y="848162"/>
                  <a:pt x="967575" y="849985"/>
                </a:cubicBezTo>
                <a:cubicBezTo>
                  <a:pt x="967575" y="851807"/>
                  <a:pt x="969397" y="855451"/>
                  <a:pt x="973041" y="851807"/>
                </a:cubicBezTo>
                <a:cubicBezTo>
                  <a:pt x="974863" y="848162"/>
                  <a:pt x="971219" y="848162"/>
                  <a:pt x="971219" y="846340"/>
                </a:cubicBezTo>
                <a:close/>
                <a:moveTo>
                  <a:pt x="834556" y="846340"/>
                </a:moveTo>
                <a:cubicBezTo>
                  <a:pt x="832734" y="844518"/>
                  <a:pt x="829089" y="848162"/>
                  <a:pt x="825445" y="848162"/>
                </a:cubicBezTo>
                <a:cubicBezTo>
                  <a:pt x="825445" y="849985"/>
                  <a:pt x="832734" y="848162"/>
                  <a:pt x="834556" y="846340"/>
                </a:cubicBezTo>
                <a:close/>
                <a:moveTo>
                  <a:pt x="772602" y="846340"/>
                </a:moveTo>
                <a:cubicBezTo>
                  <a:pt x="770781" y="849985"/>
                  <a:pt x="774424" y="855451"/>
                  <a:pt x="779892" y="853629"/>
                </a:cubicBezTo>
                <a:cubicBezTo>
                  <a:pt x="783535" y="851807"/>
                  <a:pt x="779892" y="849985"/>
                  <a:pt x="779892" y="848162"/>
                </a:cubicBezTo>
                <a:cubicBezTo>
                  <a:pt x="778070" y="846340"/>
                  <a:pt x="774424" y="846340"/>
                  <a:pt x="772602" y="846340"/>
                </a:cubicBezTo>
                <a:close/>
                <a:moveTo>
                  <a:pt x="768959" y="846340"/>
                </a:moveTo>
                <a:cubicBezTo>
                  <a:pt x="765313" y="849985"/>
                  <a:pt x="765313" y="851807"/>
                  <a:pt x="768959" y="855451"/>
                </a:cubicBezTo>
                <a:cubicBezTo>
                  <a:pt x="770781" y="855451"/>
                  <a:pt x="770781" y="855451"/>
                  <a:pt x="774424" y="855451"/>
                </a:cubicBezTo>
                <a:cubicBezTo>
                  <a:pt x="774424" y="851807"/>
                  <a:pt x="772602" y="848162"/>
                  <a:pt x="768959" y="846340"/>
                </a:cubicBezTo>
                <a:close/>
                <a:moveTo>
                  <a:pt x="761670" y="846340"/>
                </a:moveTo>
                <a:cubicBezTo>
                  <a:pt x="759848" y="851807"/>
                  <a:pt x="761670" y="849985"/>
                  <a:pt x="765313" y="848162"/>
                </a:cubicBezTo>
                <a:cubicBezTo>
                  <a:pt x="763491" y="846340"/>
                  <a:pt x="763491" y="846340"/>
                  <a:pt x="761670" y="846340"/>
                </a:cubicBezTo>
                <a:close/>
                <a:moveTo>
                  <a:pt x="373546" y="846340"/>
                </a:moveTo>
                <a:cubicBezTo>
                  <a:pt x="382657" y="859095"/>
                  <a:pt x="397234" y="866384"/>
                  <a:pt x="408167" y="871851"/>
                </a:cubicBezTo>
                <a:cubicBezTo>
                  <a:pt x="397234" y="862740"/>
                  <a:pt x="386301" y="846340"/>
                  <a:pt x="373546" y="846340"/>
                </a:cubicBezTo>
                <a:close/>
                <a:moveTo>
                  <a:pt x="194973" y="846340"/>
                </a:moveTo>
                <a:lnTo>
                  <a:pt x="202262" y="851807"/>
                </a:lnTo>
                <a:lnTo>
                  <a:pt x="203173" y="850896"/>
                </a:lnTo>
                <a:cubicBezTo>
                  <a:pt x="204084" y="850896"/>
                  <a:pt x="204995" y="850896"/>
                  <a:pt x="204084" y="849985"/>
                </a:cubicBezTo>
                <a:cubicBezTo>
                  <a:pt x="200439" y="848162"/>
                  <a:pt x="196795" y="846340"/>
                  <a:pt x="194973" y="846340"/>
                </a:cubicBezTo>
                <a:close/>
                <a:moveTo>
                  <a:pt x="150048" y="846063"/>
                </a:moveTo>
                <a:lnTo>
                  <a:pt x="154658" y="852491"/>
                </a:lnTo>
                <a:cubicBezTo>
                  <a:pt x="158985" y="860918"/>
                  <a:pt x="162174" y="870029"/>
                  <a:pt x="163996" y="879139"/>
                </a:cubicBezTo>
                <a:lnTo>
                  <a:pt x="158788" y="869926"/>
                </a:lnTo>
                <a:lnTo>
                  <a:pt x="156479" y="863196"/>
                </a:lnTo>
                <a:close/>
                <a:moveTo>
                  <a:pt x="2153810" y="844671"/>
                </a:moveTo>
                <a:lnTo>
                  <a:pt x="2155061" y="848318"/>
                </a:lnTo>
                <a:lnTo>
                  <a:pt x="2153810" y="849985"/>
                </a:lnTo>
                <a:close/>
                <a:moveTo>
                  <a:pt x="2638508" y="844518"/>
                </a:moveTo>
                <a:cubicBezTo>
                  <a:pt x="2634864" y="846340"/>
                  <a:pt x="2634864" y="849985"/>
                  <a:pt x="2633042" y="855451"/>
                </a:cubicBezTo>
                <a:cubicBezTo>
                  <a:pt x="2638508" y="857273"/>
                  <a:pt x="2640330" y="853629"/>
                  <a:pt x="2645797" y="853629"/>
                </a:cubicBezTo>
                <a:cubicBezTo>
                  <a:pt x="2647619" y="849985"/>
                  <a:pt x="2643975" y="849985"/>
                  <a:pt x="2643975" y="844518"/>
                </a:cubicBezTo>
                <a:cubicBezTo>
                  <a:pt x="2638508" y="842696"/>
                  <a:pt x="2642153" y="851807"/>
                  <a:pt x="2640330" y="851807"/>
                </a:cubicBezTo>
                <a:cubicBezTo>
                  <a:pt x="2638508" y="851807"/>
                  <a:pt x="2640330" y="846340"/>
                  <a:pt x="2638508" y="844518"/>
                </a:cubicBezTo>
                <a:close/>
                <a:moveTo>
                  <a:pt x="2418025" y="844518"/>
                </a:moveTo>
                <a:cubicBezTo>
                  <a:pt x="2416203" y="846340"/>
                  <a:pt x="2414381" y="848162"/>
                  <a:pt x="2412559" y="849985"/>
                </a:cubicBezTo>
                <a:cubicBezTo>
                  <a:pt x="2414381" y="855451"/>
                  <a:pt x="2418025" y="853629"/>
                  <a:pt x="2419847" y="849985"/>
                </a:cubicBezTo>
                <a:close/>
                <a:moveTo>
                  <a:pt x="2153810" y="844518"/>
                </a:moveTo>
                <a:cubicBezTo>
                  <a:pt x="2154721" y="845429"/>
                  <a:pt x="2155632" y="846340"/>
                  <a:pt x="2155860" y="847252"/>
                </a:cubicBezTo>
                <a:lnTo>
                  <a:pt x="2155450" y="847798"/>
                </a:lnTo>
                <a:close/>
                <a:moveTo>
                  <a:pt x="1220858" y="844518"/>
                </a:moveTo>
                <a:cubicBezTo>
                  <a:pt x="1219036" y="848162"/>
                  <a:pt x="1215390" y="844518"/>
                  <a:pt x="1211747" y="846340"/>
                </a:cubicBezTo>
                <a:cubicBezTo>
                  <a:pt x="1215390" y="851807"/>
                  <a:pt x="1224501" y="851807"/>
                  <a:pt x="1220858" y="844518"/>
                </a:cubicBezTo>
                <a:close/>
                <a:moveTo>
                  <a:pt x="1155259" y="844518"/>
                </a:moveTo>
                <a:cubicBezTo>
                  <a:pt x="1158903" y="848162"/>
                  <a:pt x="1166192" y="851807"/>
                  <a:pt x="1171658" y="853629"/>
                </a:cubicBezTo>
                <a:cubicBezTo>
                  <a:pt x="1171658" y="855451"/>
                  <a:pt x="1173481" y="857273"/>
                  <a:pt x="1175303" y="859095"/>
                </a:cubicBezTo>
                <a:cubicBezTo>
                  <a:pt x="1178947" y="857273"/>
                  <a:pt x="1173481" y="857273"/>
                  <a:pt x="1171658" y="853629"/>
                </a:cubicBezTo>
                <a:cubicBezTo>
                  <a:pt x="1169836" y="848162"/>
                  <a:pt x="1164370" y="849985"/>
                  <a:pt x="1160725" y="844518"/>
                </a:cubicBezTo>
                <a:close/>
                <a:moveTo>
                  <a:pt x="688782" y="844518"/>
                </a:moveTo>
                <a:cubicBezTo>
                  <a:pt x="686960" y="846340"/>
                  <a:pt x="685138" y="848162"/>
                  <a:pt x="683316" y="849985"/>
                </a:cubicBezTo>
                <a:cubicBezTo>
                  <a:pt x="686960" y="851807"/>
                  <a:pt x="694249" y="848162"/>
                  <a:pt x="688782" y="844518"/>
                </a:cubicBezTo>
                <a:close/>
                <a:moveTo>
                  <a:pt x="632296" y="844518"/>
                </a:moveTo>
                <a:cubicBezTo>
                  <a:pt x="630472" y="846340"/>
                  <a:pt x="632296" y="851807"/>
                  <a:pt x="637761" y="851807"/>
                </a:cubicBezTo>
                <a:cubicBezTo>
                  <a:pt x="641407" y="848162"/>
                  <a:pt x="634117" y="848162"/>
                  <a:pt x="632296" y="844518"/>
                </a:cubicBezTo>
                <a:close/>
                <a:moveTo>
                  <a:pt x="610429" y="844518"/>
                </a:moveTo>
                <a:cubicBezTo>
                  <a:pt x="619539" y="851807"/>
                  <a:pt x="617717" y="860918"/>
                  <a:pt x="630472" y="862740"/>
                </a:cubicBezTo>
                <a:cubicBezTo>
                  <a:pt x="634117" y="857273"/>
                  <a:pt x="625006" y="857273"/>
                  <a:pt x="623185" y="853629"/>
                </a:cubicBezTo>
                <a:cubicBezTo>
                  <a:pt x="623185" y="851807"/>
                  <a:pt x="623185" y="849985"/>
                  <a:pt x="625006" y="849985"/>
                </a:cubicBezTo>
                <a:cubicBezTo>
                  <a:pt x="619539" y="848162"/>
                  <a:pt x="615895" y="844518"/>
                  <a:pt x="610429" y="844518"/>
                </a:cubicBezTo>
                <a:close/>
                <a:moveTo>
                  <a:pt x="608606" y="844518"/>
                </a:moveTo>
                <a:cubicBezTo>
                  <a:pt x="604963" y="853629"/>
                  <a:pt x="603140" y="853629"/>
                  <a:pt x="612251" y="859095"/>
                </a:cubicBezTo>
                <a:lnTo>
                  <a:pt x="612251" y="855451"/>
                </a:lnTo>
                <a:cubicBezTo>
                  <a:pt x="614074" y="855451"/>
                  <a:pt x="614074" y="857273"/>
                  <a:pt x="615895" y="857273"/>
                </a:cubicBezTo>
                <a:cubicBezTo>
                  <a:pt x="614074" y="857273"/>
                  <a:pt x="614074" y="857273"/>
                  <a:pt x="614074" y="859095"/>
                </a:cubicBezTo>
                <a:cubicBezTo>
                  <a:pt x="612251" y="862740"/>
                  <a:pt x="615895" y="862740"/>
                  <a:pt x="617717" y="862740"/>
                </a:cubicBezTo>
                <a:cubicBezTo>
                  <a:pt x="621362" y="857273"/>
                  <a:pt x="615895" y="851807"/>
                  <a:pt x="608606" y="844518"/>
                </a:cubicBezTo>
                <a:close/>
                <a:moveTo>
                  <a:pt x="504743" y="844518"/>
                </a:moveTo>
                <a:cubicBezTo>
                  <a:pt x="504743" y="849985"/>
                  <a:pt x="506565" y="848162"/>
                  <a:pt x="510209" y="846340"/>
                </a:cubicBezTo>
                <a:cubicBezTo>
                  <a:pt x="510209" y="844518"/>
                  <a:pt x="506565" y="842696"/>
                  <a:pt x="504743" y="844518"/>
                </a:cubicBezTo>
                <a:close/>
                <a:moveTo>
                  <a:pt x="703587" y="844291"/>
                </a:moveTo>
                <a:cubicBezTo>
                  <a:pt x="702448" y="845429"/>
                  <a:pt x="701537" y="847251"/>
                  <a:pt x="701537" y="848162"/>
                </a:cubicBezTo>
                <a:cubicBezTo>
                  <a:pt x="703359" y="848162"/>
                  <a:pt x="707004" y="848162"/>
                  <a:pt x="707004" y="844518"/>
                </a:cubicBezTo>
                <a:cubicBezTo>
                  <a:pt x="706094" y="842696"/>
                  <a:pt x="704726" y="843152"/>
                  <a:pt x="703587" y="844291"/>
                </a:cubicBezTo>
                <a:close/>
                <a:moveTo>
                  <a:pt x="1314441" y="844224"/>
                </a:moveTo>
                <a:lnTo>
                  <a:pt x="1317660" y="846341"/>
                </a:lnTo>
                <a:cubicBezTo>
                  <a:pt x="1323354" y="849530"/>
                  <a:pt x="1329276" y="851807"/>
                  <a:pt x="1335654" y="851807"/>
                </a:cubicBezTo>
                <a:lnTo>
                  <a:pt x="1332010" y="853629"/>
                </a:lnTo>
                <a:lnTo>
                  <a:pt x="1317432" y="849985"/>
                </a:lnTo>
                <a:cubicBezTo>
                  <a:pt x="1315610" y="848162"/>
                  <a:pt x="1315610" y="846340"/>
                  <a:pt x="1313788" y="844518"/>
                </a:cubicBezTo>
                <a:close/>
                <a:moveTo>
                  <a:pt x="499418" y="843209"/>
                </a:moveTo>
                <a:cubicBezTo>
                  <a:pt x="497795" y="844404"/>
                  <a:pt x="497453" y="856362"/>
                  <a:pt x="508387" y="859095"/>
                </a:cubicBezTo>
                <a:cubicBezTo>
                  <a:pt x="519320" y="848162"/>
                  <a:pt x="497454" y="853629"/>
                  <a:pt x="501098" y="846340"/>
                </a:cubicBezTo>
                <a:cubicBezTo>
                  <a:pt x="500642" y="843607"/>
                  <a:pt x="499959" y="842810"/>
                  <a:pt x="499418" y="843209"/>
                </a:cubicBezTo>
                <a:close/>
                <a:moveTo>
                  <a:pt x="2452647" y="842696"/>
                </a:moveTo>
                <a:cubicBezTo>
                  <a:pt x="2443536" y="842696"/>
                  <a:pt x="2436247" y="848162"/>
                  <a:pt x="2430780" y="855451"/>
                </a:cubicBezTo>
                <a:cubicBezTo>
                  <a:pt x="2432603" y="853629"/>
                  <a:pt x="2430780" y="849985"/>
                  <a:pt x="2428958" y="849985"/>
                </a:cubicBezTo>
                <a:lnTo>
                  <a:pt x="2425314" y="853629"/>
                </a:lnTo>
                <a:cubicBezTo>
                  <a:pt x="2425314" y="857273"/>
                  <a:pt x="2427136" y="855451"/>
                  <a:pt x="2428958" y="857273"/>
                </a:cubicBezTo>
                <a:cubicBezTo>
                  <a:pt x="2419847" y="873673"/>
                  <a:pt x="2418025" y="897361"/>
                  <a:pt x="2428958" y="915583"/>
                </a:cubicBezTo>
                <a:cubicBezTo>
                  <a:pt x="2438069" y="906473"/>
                  <a:pt x="2452647" y="901005"/>
                  <a:pt x="2449002" y="884606"/>
                </a:cubicBezTo>
                <a:cubicBezTo>
                  <a:pt x="2449002" y="886428"/>
                  <a:pt x="2447180" y="886428"/>
                  <a:pt x="2445358" y="888250"/>
                </a:cubicBezTo>
                <a:cubicBezTo>
                  <a:pt x="2445358" y="882784"/>
                  <a:pt x="2450824" y="880961"/>
                  <a:pt x="2447180" y="873673"/>
                </a:cubicBezTo>
                <a:cubicBezTo>
                  <a:pt x="2452647" y="870028"/>
                  <a:pt x="2456291" y="864562"/>
                  <a:pt x="2458113" y="857273"/>
                </a:cubicBezTo>
                <a:cubicBezTo>
                  <a:pt x="2461757" y="860918"/>
                  <a:pt x="2452647" y="866384"/>
                  <a:pt x="2458113" y="870028"/>
                </a:cubicBezTo>
                <a:cubicBezTo>
                  <a:pt x="2459935" y="870028"/>
                  <a:pt x="2461757" y="870028"/>
                  <a:pt x="2463580" y="870028"/>
                </a:cubicBezTo>
                <a:cubicBezTo>
                  <a:pt x="2465402" y="855451"/>
                  <a:pt x="2459935" y="840874"/>
                  <a:pt x="2452647" y="842696"/>
                </a:cubicBezTo>
                <a:close/>
                <a:moveTo>
                  <a:pt x="2377937" y="842696"/>
                </a:moveTo>
                <a:cubicBezTo>
                  <a:pt x="2376115" y="844518"/>
                  <a:pt x="2377937" y="846340"/>
                  <a:pt x="2379760" y="848162"/>
                </a:cubicBezTo>
                <a:cubicBezTo>
                  <a:pt x="2377937" y="848162"/>
                  <a:pt x="2376115" y="849985"/>
                  <a:pt x="2376115" y="848162"/>
                </a:cubicBezTo>
                <a:cubicBezTo>
                  <a:pt x="2376115" y="851807"/>
                  <a:pt x="2376115" y="855451"/>
                  <a:pt x="2376115" y="859095"/>
                </a:cubicBezTo>
                <a:cubicBezTo>
                  <a:pt x="2381582" y="857273"/>
                  <a:pt x="2388871" y="848162"/>
                  <a:pt x="2377937" y="842696"/>
                </a:cubicBezTo>
                <a:close/>
                <a:moveTo>
                  <a:pt x="969397" y="842696"/>
                </a:moveTo>
                <a:cubicBezTo>
                  <a:pt x="965753" y="846340"/>
                  <a:pt x="962108" y="842696"/>
                  <a:pt x="960286" y="844518"/>
                </a:cubicBezTo>
                <a:cubicBezTo>
                  <a:pt x="956642" y="849985"/>
                  <a:pt x="973041" y="848162"/>
                  <a:pt x="969397" y="842696"/>
                </a:cubicBezTo>
                <a:close/>
                <a:moveTo>
                  <a:pt x="655983" y="842696"/>
                </a:moveTo>
                <a:cubicBezTo>
                  <a:pt x="652339" y="842696"/>
                  <a:pt x="652339" y="846340"/>
                  <a:pt x="652339" y="846340"/>
                </a:cubicBezTo>
                <a:cubicBezTo>
                  <a:pt x="655983" y="848162"/>
                  <a:pt x="657805" y="849985"/>
                  <a:pt x="661449" y="849985"/>
                </a:cubicBezTo>
                <a:cubicBezTo>
                  <a:pt x="661449" y="848162"/>
                  <a:pt x="655983" y="844518"/>
                  <a:pt x="655983" y="842696"/>
                </a:cubicBezTo>
                <a:close/>
                <a:moveTo>
                  <a:pt x="586741" y="842696"/>
                </a:moveTo>
                <a:cubicBezTo>
                  <a:pt x="581274" y="846340"/>
                  <a:pt x="586741" y="848162"/>
                  <a:pt x="588562" y="848162"/>
                </a:cubicBezTo>
                <a:cubicBezTo>
                  <a:pt x="588562" y="846340"/>
                  <a:pt x="586741" y="844518"/>
                  <a:pt x="586741" y="842696"/>
                </a:cubicBezTo>
                <a:close/>
                <a:moveTo>
                  <a:pt x="564874" y="842696"/>
                </a:moveTo>
                <a:cubicBezTo>
                  <a:pt x="563052" y="840874"/>
                  <a:pt x="561230" y="844518"/>
                  <a:pt x="561230" y="844518"/>
                </a:cubicBezTo>
                <a:cubicBezTo>
                  <a:pt x="563052" y="846340"/>
                  <a:pt x="563052" y="846340"/>
                  <a:pt x="564874" y="848162"/>
                </a:cubicBezTo>
                <a:cubicBezTo>
                  <a:pt x="564874" y="846340"/>
                  <a:pt x="564874" y="844518"/>
                  <a:pt x="564874" y="842696"/>
                </a:cubicBezTo>
                <a:close/>
                <a:moveTo>
                  <a:pt x="464655" y="842696"/>
                </a:moveTo>
                <a:cubicBezTo>
                  <a:pt x="464655" y="844518"/>
                  <a:pt x="464655" y="848162"/>
                  <a:pt x="470121" y="846340"/>
                </a:cubicBezTo>
                <a:cubicBezTo>
                  <a:pt x="470121" y="844518"/>
                  <a:pt x="466478" y="844518"/>
                  <a:pt x="464655" y="842696"/>
                </a:cubicBezTo>
                <a:close/>
                <a:moveTo>
                  <a:pt x="1141364" y="841558"/>
                </a:moveTo>
                <a:cubicBezTo>
                  <a:pt x="1134304" y="842241"/>
                  <a:pt x="1125193" y="846341"/>
                  <a:pt x="1116993" y="849985"/>
                </a:cubicBezTo>
                <a:cubicBezTo>
                  <a:pt x="1107882" y="853629"/>
                  <a:pt x="1100593" y="853629"/>
                  <a:pt x="1095127" y="860918"/>
                </a:cubicBezTo>
                <a:cubicBezTo>
                  <a:pt x="1093305" y="860918"/>
                  <a:pt x="1093305" y="859095"/>
                  <a:pt x="1091484" y="860918"/>
                </a:cubicBezTo>
                <a:cubicBezTo>
                  <a:pt x="1093305" y="862740"/>
                  <a:pt x="1095127" y="860918"/>
                  <a:pt x="1102416" y="864562"/>
                </a:cubicBezTo>
                <a:cubicBezTo>
                  <a:pt x="1100593" y="864562"/>
                  <a:pt x="1096949" y="862740"/>
                  <a:pt x="1095127" y="862740"/>
                </a:cubicBezTo>
                <a:cubicBezTo>
                  <a:pt x="1091484" y="864562"/>
                  <a:pt x="1095127" y="866384"/>
                  <a:pt x="1093305" y="868206"/>
                </a:cubicBezTo>
                <a:cubicBezTo>
                  <a:pt x="1095127" y="866384"/>
                  <a:pt x="1095127" y="871851"/>
                  <a:pt x="1098771" y="868206"/>
                </a:cubicBezTo>
                <a:cubicBezTo>
                  <a:pt x="1098771" y="871851"/>
                  <a:pt x="1093305" y="870028"/>
                  <a:pt x="1091484" y="871851"/>
                </a:cubicBezTo>
                <a:cubicBezTo>
                  <a:pt x="1091484" y="877317"/>
                  <a:pt x="1089660" y="880961"/>
                  <a:pt x="1091484" y="886428"/>
                </a:cubicBezTo>
                <a:cubicBezTo>
                  <a:pt x="1093305" y="884606"/>
                  <a:pt x="1091484" y="884606"/>
                  <a:pt x="1093305" y="882784"/>
                </a:cubicBezTo>
                <a:cubicBezTo>
                  <a:pt x="1096949" y="888250"/>
                  <a:pt x="1084194" y="891894"/>
                  <a:pt x="1086016" y="897361"/>
                </a:cubicBezTo>
                <a:cubicBezTo>
                  <a:pt x="1084194" y="899183"/>
                  <a:pt x="1082373" y="899183"/>
                  <a:pt x="1082373" y="897361"/>
                </a:cubicBezTo>
                <a:cubicBezTo>
                  <a:pt x="1080549" y="899183"/>
                  <a:pt x="1080549" y="901005"/>
                  <a:pt x="1078727" y="902827"/>
                </a:cubicBezTo>
                <a:cubicBezTo>
                  <a:pt x="1082373" y="901005"/>
                  <a:pt x="1084194" y="902827"/>
                  <a:pt x="1087838" y="902827"/>
                </a:cubicBezTo>
                <a:cubicBezTo>
                  <a:pt x="1089660" y="901005"/>
                  <a:pt x="1098771" y="908295"/>
                  <a:pt x="1098771" y="901005"/>
                </a:cubicBezTo>
                <a:cubicBezTo>
                  <a:pt x="1100593" y="899183"/>
                  <a:pt x="1098771" y="902827"/>
                  <a:pt x="1100593" y="902827"/>
                </a:cubicBezTo>
                <a:cubicBezTo>
                  <a:pt x="1102416" y="901005"/>
                  <a:pt x="1104238" y="901005"/>
                  <a:pt x="1106060" y="901005"/>
                </a:cubicBezTo>
                <a:cubicBezTo>
                  <a:pt x="1109704" y="890072"/>
                  <a:pt x="1111526" y="877317"/>
                  <a:pt x="1100593" y="864562"/>
                </a:cubicBezTo>
                <a:cubicBezTo>
                  <a:pt x="1104238" y="862740"/>
                  <a:pt x="1104238" y="868206"/>
                  <a:pt x="1106060" y="870028"/>
                </a:cubicBezTo>
                <a:cubicBezTo>
                  <a:pt x="1107882" y="868206"/>
                  <a:pt x="1104238" y="864562"/>
                  <a:pt x="1106060" y="860918"/>
                </a:cubicBezTo>
                <a:cubicBezTo>
                  <a:pt x="1109704" y="871851"/>
                  <a:pt x="1107882" y="880961"/>
                  <a:pt x="1111526" y="891894"/>
                </a:cubicBezTo>
                <a:cubicBezTo>
                  <a:pt x="1113349" y="890072"/>
                  <a:pt x="1113349" y="890072"/>
                  <a:pt x="1115171" y="888250"/>
                </a:cubicBezTo>
                <a:cubicBezTo>
                  <a:pt x="1115171" y="891894"/>
                  <a:pt x="1106060" y="895539"/>
                  <a:pt x="1109704" y="901005"/>
                </a:cubicBezTo>
                <a:lnTo>
                  <a:pt x="1115108" y="896528"/>
                </a:lnTo>
                <a:lnTo>
                  <a:pt x="1111526" y="901005"/>
                </a:lnTo>
                <a:cubicBezTo>
                  <a:pt x="1115171" y="904651"/>
                  <a:pt x="1116993" y="904651"/>
                  <a:pt x="1120637" y="904651"/>
                </a:cubicBezTo>
                <a:lnTo>
                  <a:pt x="1118953" y="892860"/>
                </a:lnTo>
                <a:lnTo>
                  <a:pt x="1124282" y="886428"/>
                </a:lnTo>
                <a:cubicBezTo>
                  <a:pt x="1126104" y="888250"/>
                  <a:pt x="1122459" y="890072"/>
                  <a:pt x="1124282" y="891894"/>
                </a:cubicBezTo>
                <a:cubicBezTo>
                  <a:pt x="1126104" y="895539"/>
                  <a:pt x="1126104" y="891894"/>
                  <a:pt x="1127926" y="891894"/>
                </a:cubicBezTo>
                <a:cubicBezTo>
                  <a:pt x="1124282" y="899183"/>
                  <a:pt x="1129748" y="904651"/>
                  <a:pt x="1131570" y="911939"/>
                </a:cubicBezTo>
                <a:cubicBezTo>
                  <a:pt x="1138859" y="911939"/>
                  <a:pt x="1149792" y="901005"/>
                  <a:pt x="1146148" y="893717"/>
                </a:cubicBezTo>
                <a:cubicBezTo>
                  <a:pt x="1151614" y="895539"/>
                  <a:pt x="1151614" y="886428"/>
                  <a:pt x="1155259" y="884606"/>
                </a:cubicBezTo>
                <a:cubicBezTo>
                  <a:pt x="1151614" y="891894"/>
                  <a:pt x="1147970" y="899183"/>
                  <a:pt x="1144326" y="906473"/>
                </a:cubicBezTo>
                <a:cubicBezTo>
                  <a:pt x="1158903" y="904651"/>
                  <a:pt x="1166192" y="882784"/>
                  <a:pt x="1160725" y="871851"/>
                </a:cubicBezTo>
                <a:cubicBezTo>
                  <a:pt x="1162547" y="870028"/>
                  <a:pt x="1164370" y="871851"/>
                  <a:pt x="1164370" y="873673"/>
                </a:cubicBezTo>
                <a:cubicBezTo>
                  <a:pt x="1166192" y="871851"/>
                  <a:pt x="1164370" y="871851"/>
                  <a:pt x="1166192" y="870028"/>
                </a:cubicBezTo>
                <a:cubicBezTo>
                  <a:pt x="1164370" y="879139"/>
                  <a:pt x="1162547" y="888250"/>
                  <a:pt x="1162547" y="899183"/>
                </a:cubicBezTo>
                <a:cubicBezTo>
                  <a:pt x="1168014" y="890072"/>
                  <a:pt x="1175303" y="879139"/>
                  <a:pt x="1173481" y="868206"/>
                </a:cubicBezTo>
                <a:cubicBezTo>
                  <a:pt x="1175302" y="868206"/>
                  <a:pt x="1175302" y="867295"/>
                  <a:pt x="1175530" y="866157"/>
                </a:cubicBezTo>
                <a:lnTo>
                  <a:pt x="1175965" y="865721"/>
                </a:lnTo>
                <a:lnTo>
                  <a:pt x="1172342" y="880734"/>
                </a:lnTo>
                <a:cubicBezTo>
                  <a:pt x="1169836" y="886884"/>
                  <a:pt x="1167103" y="892806"/>
                  <a:pt x="1166192" y="899183"/>
                </a:cubicBezTo>
                <a:cubicBezTo>
                  <a:pt x="1171658" y="891894"/>
                  <a:pt x="1177125" y="899183"/>
                  <a:pt x="1182592" y="893717"/>
                </a:cubicBezTo>
                <a:cubicBezTo>
                  <a:pt x="1180769" y="891894"/>
                  <a:pt x="1182592" y="890072"/>
                  <a:pt x="1180769" y="888250"/>
                </a:cubicBezTo>
                <a:cubicBezTo>
                  <a:pt x="1184414" y="886428"/>
                  <a:pt x="1180769" y="890072"/>
                  <a:pt x="1184414" y="891894"/>
                </a:cubicBezTo>
                <a:cubicBezTo>
                  <a:pt x="1189880" y="890072"/>
                  <a:pt x="1191703" y="886428"/>
                  <a:pt x="1189880" y="882784"/>
                </a:cubicBezTo>
                <a:cubicBezTo>
                  <a:pt x="1189880" y="882784"/>
                  <a:pt x="1193525" y="886428"/>
                  <a:pt x="1191703" y="886428"/>
                </a:cubicBezTo>
                <a:cubicBezTo>
                  <a:pt x="1193525" y="888250"/>
                  <a:pt x="1193525" y="882784"/>
                  <a:pt x="1195346" y="882784"/>
                </a:cubicBezTo>
                <a:cubicBezTo>
                  <a:pt x="1197169" y="886428"/>
                  <a:pt x="1191703" y="888250"/>
                  <a:pt x="1195346" y="890072"/>
                </a:cubicBezTo>
                <a:cubicBezTo>
                  <a:pt x="1195346" y="890072"/>
                  <a:pt x="1193525" y="888250"/>
                  <a:pt x="1193525" y="888250"/>
                </a:cubicBezTo>
                <a:cubicBezTo>
                  <a:pt x="1189880" y="891895"/>
                  <a:pt x="1192614" y="895539"/>
                  <a:pt x="1194891" y="899183"/>
                </a:cubicBezTo>
                <a:lnTo>
                  <a:pt x="1194618" y="901370"/>
                </a:lnTo>
                <a:lnTo>
                  <a:pt x="1189880" y="891894"/>
                </a:lnTo>
                <a:cubicBezTo>
                  <a:pt x="1188058" y="895539"/>
                  <a:pt x="1184414" y="893717"/>
                  <a:pt x="1188058" y="897361"/>
                </a:cubicBezTo>
                <a:cubicBezTo>
                  <a:pt x="1178947" y="895539"/>
                  <a:pt x="1171658" y="899183"/>
                  <a:pt x="1162547" y="902827"/>
                </a:cubicBezTo>
                <a:cubicBezTo>
                  <a:pt x="1162547" y="910117"/>
                  <a:pt x="1153436" y="915583"/>
                  <a:pt x="1146148" y="922872"/>
                </a:cubicBezTo>
                <a:cubicBezTo>
                  <a:pt x="1157081" y="921049"/>
                  <a:pt x="1171658" y="924695"/>
                  <a:pt x="1180769" y="915583"/>
                </a:cubicBezTo>
                <a:cubicBezTo>
                  <a:pt x="1180769" y="916494"/>
                  <a:pt x="1184414" y="915583"/>
                  <a:pt x="1188058" y="913305"/>
                </a:cubicBezTo>
                <a:lnTo>
                  <a:pt x="1194236" y="904423"/>
                </a:lnTo>
                <a:lnTo>
                  <a:pt x="1193525" y="910117"/>
                </a:lnTo>
                <a:cubicBezTo>
                  <a:pt x="1197169" y="911939"/>
                  <a:pt x="1202636" y="906473"/>
                  <a:pt x="1206279" y="902827"/>
                </a:cubicBezTo>
                <a:cubicBezTo>
                  <a:pt x="1204457" y="899183"/>
                  <a:pt x="1202636" y="899183"/>
                  <a:pt x="1200814" y="897361"/>
                </a:cubicBezTo>
                <a:cubicBezTo>
                  <a:pt x="1202636" y="895539"/>
                  <a:pt x="1204457" y="899183"/>
                  <a:pt x="1206279" y="901005"/>
                </a:cubicBezTo>
                <a:cubicBezTo>
                  <a:pt x="1206279" y="901005"/>
                  <a:pt x="1206279" y="899183"/>
                  <a:pt x="1204457" y="897361"/>
                </a:cubicBezTo>
                <a:cubicBezTo>
                  <a:pt x="1206279" y="897361"/>
                  <a:pt x="1208102" y="904651"/>
                  <a:pt x="1211747" y="904651"/>
                </a:cubicBezTo>
                <a:cubicBezTo>
                  <a:pt x="1217213" y="902827"/>
                  <a:pt x="1215390" y="899183"/>
                  <a:pt x="1217213" y="895539"/>
                </a:cubicBezTo>
                <a:cubicBezTo>
                  <a:pt x="1215390" y="891894"/>
                  <a:pt x="1213568" y="891894"/>
                  <a:pt x="1211747" y="890072"/>
                </a:cubicBezTo>
                <a:cubicBezTo>
                  <a:pt x="1213568" y="888250"/>
                  <a:pt x="1215390" y="893717"/>
                  <a:pt x="1217213" y="893717"/>
                </a:cubicBezTo>
                <a:cubicBezTo>
                  <a:pt x="1219036" y="891894"/>
                  <a:pt x="1222679" y="890072"/>
                  <a:pt x="1224501" y="890072"/>
                </a:cubicBezTo>
                <a:cubicBezTo>
                  <a:pt x="1219036" y="893717"/>
                  <a:pt x="1219036" y="899183"/>
                  <a:pt x="1213568" y="906473"/>
                </a:cubicBezTo>
                <a:cubicBezTo>
                  <a:pt x="1219036" y="911939"/>
                  <a:pt x="1224501" y="904651"/>
                  <a:pt x="1229969" y="904651"/>
                </a:cubicBezTo>
                <a:cubicBezTo>
                  <a:pt x="1229969" y="902827"/>
                  <a:pt x="1228146" y="902827"/>
                  <a:pt x="1228146" y="901005"/>
                </a:cubicBezTo>
                <a:cubicBezTo>
                  <a:pt x="1229969" y="901005"/>
                  <a:pt x="1229969" y="904651"/>
                  <a:pt x="1231790" y="904651"/>
                </a:cubicBezTo>
                <a:cubicBezTo>
                  <a:pt x="1233612" y="904651"/>
                  <a:pt x="1237256" y="901005"/>
                  <a:pt x="1239080" y="902827"/>
                </a:cubicBezTo>
                <a:cubicBezTo>
                  <a:pt x="1240901" y="901005"/>
                  <a:pt x="1239080" y="899183"/>
                  <a:pt x="1239080" y="897361"/>
                </a:cubicBezTo>
                <a:cubicBezTo>
                  <a:pt x="1240901" y="895539"/>
                  <a:pt x="1240901" y="901005"/>
                  <a:pt x="1242723" y="897361"/>
                </a:cubicBezTo>
                <a:cubicBezTo>
                  <a:pt x="1242723" y="897361"/>
                  <a:pt x="1240901" y="899183"/>
                  <a:pt x="1240901" y="901005"/>
                </a:cubicBezTo>
                <a:cubicBezTo>
                  <a:pt x="1242723" y="901005"/>
                  <a:pt x="1246367" y="901005"/>
                  <a:pt x="1248189" y="899183"/>
                </a:cubicBezTo>
                <a:cubicBezTo>
                  <a:pt x="1251834" y="897361"/>
                  <a:pt x="1248189" y="895539"/>
                  <a:pt x="1250012" y="893717"/>
                </a:cubicBezTo>
                <a:cubicBezTo>
                  <a:pt x="1250012" y="893717"/>
                  <a:pt x="1253656" y="897361"/>
                  <a:pt x="1251834" y="899183"/>
                </a:cubicBezTo>
                <a:cubicBezTo>
                  <a:pt x="1254567" y="899183"/>
                  <a:pt x="1257300" y="897361"/>
                  <a:pt x="1259806" y="894400"/>
                </a:cubicBezTo>
                <a:lnTo>
                  <a:pt x="1265830" y="883808"/>
                </a:lnTo>
                <a:lnTo>
                  <a:pt x="1266411" y="886428"/>
                </a:lnTo>
                <a:cubicBezTo>
                  <a:pt x="1270056" y="880961"/>
                  <a:pt x="1270056" y="879139"/>
                  <a:pt x="1270056" y="873673"/>
                </a:cubicBezTo>
                <a:cubicBezTo>
                  <a:pt x="1268233" y="871851"/>
                  <a:pt x="1266411" y="868206"/>
                  <a:pt x="1262767" y="870028"/>
                </a:cubicBezTo>
                <a:lnTo>
                  <a:pt x="1264782" y="879098"/>
                </a:lnTo>
                <a:lnTo>
                  <a:pt x="1262631" y="874230"/>
                </a:lnTo>
                <a:lnTo>
                  <a:pt x="1262083" y="869118"/>
                </a:lnTo>
                <a:lnTo>
                  <a:pt x="1257300" y="868207"/>
                </a:lnTo>
                <a:lnTo>
                  <a:pt x="1255478" y="866384"/>
                </a:lnTo>
                <a:lnTo>
                  <a:pt x="1259123" y="868206"/>
                </a:lnTo>
                <a:cubicBezTo>
                  <a:pt x="1259123" y="866384"/>
                  <a:pt x="1257300" y="864562"/>
                  <a:pt x="1257300" y="864562"/>
                </a:cubicBezTo>
                <a:lnTo>
                  <a:pt x="1255478" y="866384"/>
                </a:lnTo>
                <a:lnTo>
                  <a:pt x="1253656" y="864562"/>
                </a:lnTo>
                <a:cubicBezTo>
                  <a:pt x="1253656" y="864562"/>
                  <a:pt x="1255478" y="862740"/>
                  <a:pt x="1255478" y="862740"/>
                </a:cubicBezTo>
                <a:cubicBezTo>
                  <a:pt x="1251834" y="860918"/>
                  <a:pt x="1250012" y="862740"/>
                  <a:pt x="1250012" y="859095"/>
                </a:cubicBezTo>
                <a:cubicBezTo>
                  <a:pt x="1246367" y="860918"/>
                  <a:pt x="1250012" y="864562"/>
                  <a:pt x="1246367" y="864562"/>
                </a:cubicBezTo>
                <a:cubicBezTo>
                  <a:pt x="1246367" y="862740"/>
                  <a:pt x="1250012" y="859095"/>
                  <a:pt x="1248189" y="857273"/>
                </a:cubicBezTo>
                <a:cubicBezTo>
                  <a:pt x="1250012" y="855451"/>
                  <a:pt x="1250012" y="859095"/>
                  <a:pt x="1251834" y="857273"/>
                </a:cubicBezTo>
                <a:lnTo>
                  <a:pt x="1251834" y="855451"/>
                </a:lnTo>
                <a:cubicBezTo>
                  <a:pt x="1251834" y="857273"/>
                  <a:pt x="1255478" y="862740"/>
                  <a:pt x="1260945" y="862740"/>
                </a:cubicBezTo>
                <a:lnTo>
                  <a:pt x="1260433" y="861825"/>
                </a:lnTo>
                <a:lnTo>
                  <a:pt x="1262084" y="862968"/>
                </a:lnTo>
                <a:cubicBezTo>
                  <a:pt x="1262767" y="863651"/>
                  <a:pt x="1262767" y="864562"/>
                  <a:pt x="1260945" y="866384"/>
                </a:cubicBezTo>
                <a:cubicBezTo>
                  <a:pt x="1262767" y="868206"/>
                  <a:pt x="1264589" y="871851"/>
                  <a:pt x="1268233" y="870028"/>
                </a:cubicBezTo>
                <a:cubicBezTo>
                  <a:pt x="1267322" y="867295"/>
                  <a:pt x="1266411" y="864107"/>
                  <a:pt x="1265045" y="862057"/>
                </a:cubicBezTo>
                <a:lnTo>
                  <a:pt x="1260021" y="861091"/>
                </a:lnTo>
                <a:lnTo>
                  <a:pt x="1257756" y="857046"/>
                </a:lnTo>
                <a:cubicBezTo>
                  <a:pt x="1255934" y="855907"/>
                  <a:pt x="1253656" y="855451"/>
                  <a:pt x="1251834" y="855451"/>
                </a:cubicBezTo>
                <a:lnTo>
                  <a:pt x="1251834" y="853629"/>
                </a:lnTo>
                <a:cubicBezTo>
                  <a:pt x="1239080" y="848162"/>
                  <a:pt x="1228146" y="855451"/>
                  <a:pt x="1215390" y="860918"/>
                </a:cubicBezTo>
                <a:cubicBezTo>
                  <a:pt x="1215390" y="866384"/>
                  <a:pt x="1220858" y="862740"/>
                  <a:pt x="1224501" y="860918"/>
                </a:cubicBezTo>
                <a:cubicBezTo>
                  <a:pt x="1222679" y="862740"/>
                  <a:pt x="1217213" y="866384"/>
                  <a:pt x="1215390" y="866384"/>
                </a:cubicBezTo>
                <a:cubicBezTo>
                  <a:pt x="1215390" y="866384"/>
                  <a:pt x="1219036" y="866384"/>
                  <a:pt x="1217213" y="868206"/>
                </a:cubicBezTo>
                <a:cubicBezTo>
                  <a:pt x="1208102" y="862740"/>
                  <a:pt x="1198991" y="859095"/>
                  <a:pt x="1193525" y="851807"/>
                </a:cubicBezTo>
                <a:lnTo>
                  <a:pt x="1189272" y="853224"/>
                </a:lnTo>
                <a:lnTo>
                  <a:pt x="1184414" y="849985"/>
                </a:lnTo>
                <a:cubicBezTo>
                  <a:pt x="1184414" y="844518"/>
                  <a:pt x="1177125" y="846340"/>
                  <a:pt x="1173481" y="842696"/>
                </a:cubicBezTo>
                <a:cubicBezTo>
                  <a:pt x="1171658" y="844518"/>
                  <a:pt x="1177125" y="844518"/>
                  <a:pt x="1173481" y="848162"/>
                </a:cubicBezTo>
                <a:cubicBezTo>
                  <a:pt x="1175303" y="849985"/>
                  <a:pt x="1175303" y="848162"/>
                  <a:pt x="1177125" y="849985"/>
                </a:cubicBezTo>
                <a:cubicBezTo>
                  <a:pt x="1178947" y="849985"/>
                  <a:pt x="1178947" y="848162"/>
                  <a:pt x="1178947" y="848162"/>
                </a:cubicBezTo>
                <a:cubicBezTo>
                  <a:pt x="1182592" y="846340"/>
                  <a:pt x="1178947" y="849985"/>
                  <a:pt x="1180769" y="851807"/>
                </a:cubicBezTo>
                <a:lnTo>
                  <a:pt x="1183189" y="851063"/>
                </a:lnTo>
                <a:lnTo>
                  <a:pt x="1183730" y="852035"/>
                </a:lnTo>
                <a:lnTo>
                  <a:pt x="1185520" y="854475"/>
                </a:lnTo>
                <a:lnTo>
                  <a:pt x="1182592" y="855451"/>
                </a:lnTo>
                <a:cubicBezTo>
                  <a:pt x="1178947" y="857273"/>
                  <a:pt x="1182592" y="859095"/>
                  <a:pt x="1177125" y="860918"/>
                </a:cubicBezTo>
                <a:lnTo>
                  <a:pt x="1177044" y="861255"/>
                </a:lnTo>
                <a:lnTo>
                  <a:pt x="1169608" y="855452"/>
                </a:lnTo>
                <a:cubicBezTo>
                  <a:pt x="1166192" y="854540"/>
                  <a:pt x="1162547" y="854540"/>
                  <a:pt x="1158903" y="853629"/>
                </a:cubicBezTo>
                <a:cubicBezTo>
                  <a:pt x="1169836" y="859095"/>
                  <a:pt x="1162547" y="870028"/>
                  <a:pt x="1157081" y="879139"/>
                </a:cubicBezTo>
                <a:cubicBezTo>
                  <a:pt x="1157081" y="877317"/>
                  <a:pt x="1158903" y="873673"/>
                  <a:pt x="1158903" y="870028"/>
                </a:cubicBezTo>
                <a:cubicBezTo>
                  <a:pt x="1160725" y="868206"/>
                  <a:pt x="1160725" y="870028"/>
                  <a:pt x="1162547" y="868206"/>
                </a:cubicBezTo>
                <a:cubicBezTo>
                  <a:pt x="1162547" y="864562"/>
                  <a:pt x="1160725" y="860918"/>
                  <a:pt x="1157081" y="855451"/>
                </a:cubicBezTo>
                <a:cubicBezTo>
                  <a:pt x="1155259" y="855451"/>
                  <a:pt x="1155259" y="857273"/>
                  <a:pt x="1153436" y="857273"/>
                </a:cubicBezTo>
                <a:cubicBezTo>
                  <a:pt x="1153436" y="855451"/>
                  <a:pt x="1155259" y="853629"/>
                  <a:pt x="1151614" y="853629"/>
                </a:cubicBezTo>
                <a:cubicBezTo>
                  <a:pt x="1149792" y="853629"/>
                  <a:pt x="1153436" y="853629"/>
                  <a:pt x="1153436" y="853629"/>
                </a:cubicBezTo>
                <a:cubicBezTo>
                  <a:pt x="1153436" y="843607"/>
                  <a:pt x="1148425" y="840874"/>
                  <a:pt x="1141364" y="841558"/>
                </a:cubicBezTo>
                <a:close/>
                <a:moveTo>
                  <a:pt x="1246367" y="840874"/>
                </a:moveTo>
                <a:cubicBezTo>
                  <a:pt x="1250012" y="839051"/>
                  <a:pt x="1248189" y="842696"/>
                  <a:pt x="1250012" y="842696"/>
                </a:cubicBezTo>
                <a:lnTo>
                  <a:pt x="1246783" y="844310"/>
                </a:lnTo>
                <a:close/>
                <a:moveTo>
                  <a:pt x="825445" y="840874"/>
                </a:moveTo>
                <a:cubicBezTo>
                  <a:pt x="825445" y="842696"/>
                  <a:pt x="823623" y="842696"/>
                  <a:pt x="821801" y="844518"/>
                </a:cubicBezTo>
                <a:cubicBezTo>
                  <a:pt x="825445" y="846340"/>
                  <a:pt x="830912" y="844518"/>
                  <a:pt x="830912" y="842696"/>
                </a:cubicBezTo>
                <a:cubicBezTo>
                  <a:pt x="830912" y="842696"/>
                  <a:pt x="829089" y="842696"/>
                  <a:pt x="825445" y="840874"/>
                </a:cubicBezTo>
                <a:close/>
                <a:moveTo>
                  <a:pt x="457367" y="840874"/>
                </a:moveTo>
                <a:cubicBezTo>
                  <a:pt x="457367" y="842696"/>
                  <a:pt x="457367" y="842696"/>
                  <a:pt x="455544" y="842696"/>
                </a:cubicBezTo>
                <a:cubicBezTo>
                  <a:pt x="457367" y="846340"/>
                  <a:pt x="462832" y="848162"/>
                  <a:pt x="466478" y="849985"/>
                </a:cubicBezTo>
                <a:cubicBezTo>
                  <a:pt x="466478" y="848162"/>
                  <a:pt x="459188" y="842696"/>
                  <a:pt x="457367" y="840874"/>
                </a:cubicBezTo>
                <a:close/>
                <a:moveTo>
                  <a:pt x="422745" y="840874"/>
                </a:moveTo>
                <a:cubicBezTo>
                  <a:pt x="420923" y="840874"/>
                  <a:pt x="426389" y="846340"/>
                  <a:pt x="428211" y="844518"/>
                </a:cubicBezTo>
                <a:cubicBezTo>
                  <a:pt x="426389" y="844518"/>
                  <a:pt x="426389" y="842696"/>
                  <a:pt x="422745" y="840874"/>
                </a:cubicBezTo>
                <a:close/>
                <a:moveTo>
                  <a:pt x="340747" y="840874"/>
                </a:moveTo>
                <a:cubicBezTo>
                  <a:pt x="340747" y="853629"/>
                  <a:pt x="346213" y="866384"/>
                  <a:pt x="353502" y="877317"/>
                </a:cubicBezTo>
                <a:cubicBezTo>
                  <a:pt x="353502" y="866384"/>
                  <a:pt x="353502" y="853629"/>
                  <a:pt x="340747" y="840874"/>
                </a:cubicBezTo>
                <a:close/>
                <a:moveTo>
                  <a:pt x="1478695" y="840874"/>
                </a:moveTo>
                <a:cubicBezTo>
                  <a:pt x="1477784" y="841785"/>
                  <a:pt x="1476873" y="843607"/>
                  <a:pt x="1475961" y="844518"/>
                </a:cubicBezTo>
                <a:cubicBezTo>
                  <a:pt x="1475961" y="844518"/>
                  <a:pt x="1477784" y="842696"/>
                  <a:pt x="1477784" y="842696"/>
                </a:cubicBezTo>
                <a:cubicBezTo>
                  <a:pt x="1479606" y="840874"/>
                  <a:pt x="1481428" y="840874"/>
                  <a:pt x="1481428" y="842696"/>
                </a:cubicBezTo>
                <a:cubicBezTo>
                  <a:pt x="1480517" y="839963"/>
                  <a:pt x="1479606" y="839963"/>
                  <a:pt x="1478695" y="840874"/>
                </a:cubicBezTo>
                <a:close/>
                <a:moveTo>
                  <a:pt x="268999" y="840874"/>
                </a:moveTo>
                <a:cubicBezTo>
                  <a:pt x="268316" y="840418"/>
                  <a:pt x="267860" y="839963"/>
                  <a:pt x="267860" y="840874"/>
                </a:cubicBezTo>
                <a:cubicBezTo>
                  <a:pt x="269682" y="844518"/>
                  <a:pt x="271504" y="844518"/>
                  <a:pt x="275149" y="846340"/>
                </a:cubicBezTo>
                <a:cubicBezTo>
                  <a:pt x="275149" y="844518"/>
                  <a:pt x="271504" y="842696"/>
                  <a:pt x="271504" y="840874"/>
                </a:cubicBezTo>
                <a:cubicBezTo>
                  <a:pt x="270593" y="841785"/>
                  <a:pt x="269682" y="841329"/>
                  <a:pt x="268999" y="840874"/>
                </a:cubicBezTo>
                <a:close/>
                <a:moveTo>
                  <a:pt x="1270388" y="840044"/>
                </a:moveTo>
                <a:lnTo>
                  <a:pt x="1270056" y="840874"/>
                </a:lnTo>
                <a:lnTo>
                  <a:pt x="1270056" y="840509"/>
                </a:lnTo>
                <a:close/>
                <a:moveTo>
                  <a:pt x="1169153" y="839508"/>
                </a:moveTo>
                <a:cubicBezTo>
                  <a:pt x="1166647" y="838141"/>
                  <a:pt x="1163458" y="838141"/>
                  <a:pt x="1162547" y="840874"/>
                </a:cubicBezTo>
                <a:cubicBezTo>
                  <a:pt x="1166192" y="840874"/>
                  <a:pt x="1168014" y="844518"/>
                  <a:pt x="1171658" y="846340"/>
                </a:cubicBezTo>
                <a:cubicBezTo>
                  <a:pt x="1173481" y="843607"/>
                  <a:pt x="1171658" y="840874"/>
                  <a:pt x="1169153" y="839508"/>
                </a:cubicBezTo>
                <a:close/>
                <a:moveTo>
                  <a:pt x="3245292" y="839051"/>
                </a:moveTo>
                <a:cubicBezTo>
                  <a:pt x="3243470" y="839051"/>
                  <a:pt x="3243470" y="840874"/>
                  <a:pt x="3243470" y="842696"/>
                </a:cubicBezTo>
                <a:cubicBezTo>
                  <a:pt x="3245292" y="842696"/>
                  <a:pt x="3250759" y="844518"/>
                  <a:pt x="3250759" y="842696"/>
                </a:cubicBezTo>
                <a:cubicBezTo>
                  <a:pt x="3252581" y="837229"/>
                  <a:pt x="3245292" y="842696"/>
                  <a:pt x="3245292" y="839051"/>
                </a:cubicBezTo>
                <a:close/>
                <a:moveTo>
                  <a:pt x="1257300" y="839051"/>
                </a:moveTo>
                <a:cubicBezTo>
                  <a:pt x="1253656" y="840874"/>
                  <a:pt x="1253656" y="844518"/>
                  <a:pt x="1251834" y="846340"/>
                </a:cubicBezTo>
                <a:cubicBezTo>
                  <a:pt x="1257300" y="849985"/>
                  <a:pt x="1262767" y="840874"/>
                  <a:pt x="1257300" y="839051"/>
                </a:cubicBezTo>
                <a:close/>
                <a:moveTo>
                  <a:pt x="1209925" y="839051"/>
                </a:moveTo>
                <a:cubicBezTo>
                  <a:pt x="1213568" y="840874"/>
                  <a:pt x="1217213" y="840874"/>
                  <a:pt x="1219036" y="844518"/>
                </a:cubicBezTo>
                <a:cubicBezTo>
                  <a:pt x="1222679" y="840874"/>
                  <a:pt x="1226323" y="844518"/>
                  <a:pt x="1229969" y="842696"/>
                </a:cubicBezTo>
                <a:cubicBezTo>
                  <a:pt x="1231790" y="844518"/>
                  <a:pt x="1229969" y="844518"/>
                  <a:pt x="1228146" y="846340"/>
                </a:cubicBezTo>
                <a:cubicBezTo>
                  <a:pt x="1231790" y="849985"/>
                  <a:pt x="1237256" y="849985"/>
                  <a:pt x="1239080" y="848162"/>
                </a:cubicBezTo>
                <a:cubicBezTo>
                  <a:pt x="1235434" y="846340"/>
                  <a:pt x="1233612" y="844518"/>
                  <a:pt x="1229969" y="842696"/>
                </a:cubicBezTo>
                <a:cubicBezTo>
                  <a:pt x="1222679" y="839051"/>
                  <a:pt x="1217213" y="837229"/>
                  <a:pt x="1209925" y="839051"/>
                </a:cubicBezTo>
                <a:close/>
                <a:moveTo>
                  <a:pt x="1200814" y="839051"/>
                </a:moveTo>
                <a:cubicBezTo>
                  <a:pt x="1206279" y="842696"/>
                  <a:pt x="1209925" y="846340"/>
                  <a:pt x="1215390" y="842696"/>
                </a:cubicBezTo>
                <a:cubicBezTo>
                  <a:pt x="1209925" y="840874"/>
                  <a:pt x="1206279" y="837229"/>
                  <a:pt x="1200814" y="839051"/>
                </a:cubicBezTo>
                <a:close/>
                <a:moveTo>
                  <a:pt x="1013129" y="839051"/>
                </a:moveTo>
                <a:cubicBezTo>
                  <a:pt x="1011307" y="839051"/>
                  <a:pt x="1009485" y="839051"/>
                  <a:pt x="1007663" y="840874"/>
                </a:cubicBezTo>
                <a:cubicBezTo>
                  <a:pt x="1011307" y="842696"/>
                  <a:pt x="1011307" y="842696"/>
                  <a:pt x="1014951" y="846340"/>
                </a:cubicBezTo>
                <a:cubicBezTo>
                  <a:pt x="1014951" y="842696"/>
                  <a:pt x="1014951" y="840874"/>
                  <a:pt x="1013129" y="839051"/>
                </a:cubicBezTo>
                <a:close/>
                <a:moveTo>
                  <a:pt x="971219" y="839051"/>
                </a:moveTo>
                <a:cubicBezTo>
                  <a:pt x="973041" y="842696"/>
                  <a:pt x="973041" y="844518"/>
                  <a:pt x="976686" y="848162"/>
                </a:cubicBezTo>
                <a:cubicBezTo>
                  <a:pt x="978508" y="848162"/>
                  <a:pt x="978508" y="844518"/>
                  <a:pt x="978508" y="844518"/>
                </a:cubicBezTo>
                <a:cubicBezTo>
                  <a:pt x="976686" y="842696"/>
                  <a:pt x="976686" y="842696"/>
                  <a:pt x="976686" y="840874"/>
                </a:cubicBezTo>
                <a:cubicBezTo>
                  <a:pt x="980330" y="842696"/>
                  <a:pt x="982152" y="842696"/>
                  <a:pt x="982152" y="842696"/>
                </a:cubicBezTo>
                <a:cubicBezTo>
                  <a:pt x="978508" y="840874"/>
                  <a:pt x="974863" y="839051"/>
                  <a:pt x="971219" y="839051"/>
                </a:cubicBezTo>
                <a:close/>
                <a:moveTo>
                  <a:pt x="894688" y="839051"/>
                </a:moveTo>
                <a:cubicBezTo>
                  <a:pt x="892866" y="840874"/>
                  <a:pt x="891043" y="840874"/>
                  <a:pt x="889222" y="842696"/>
                </a:cubicBezTo>
                <a:cubicBezTo>
                  <a:pt x="891043" y="844518"/>
                  <a:pt x="894688" y="849985"/>
                  <a:pt x="900154" y="846340"/>
                </a:cubicBezTo>
                <a:cubicBezTo>
                  <a:pt x="898333" y="842696"/>
                  <a:pt x="898333" y="840874"/>
                  <a:pt x="894688" y="839051"/>
                </a:cubicBezTo>
                <a:close/>
                <a:moveTo>
                  <a:pt x="889222" y="839051"/>
                </a:moveTo>
                <a:cubicBezTo>
                  <a:pt x="887399" y="839051"/>
                  <a:pt x="883755" y="840874"/>
                  <a:pt x="883755" y="842696"/>
                </a:cubicBezTo>
                <a:cubicBezTo>
                  <a:pt x="885577" y="844518"/>
                  <a:pt x="892866" y="839051"/>
                  <a:pt x="889222" y="839051"/>
                </a:cubicBezTo>
                <a:close/>
                <a:moveTo>
                  <a:pt x="204084" y="839051"/>
                </a:moveTo>
                <a:cubicBezTo>
                  <a:pt x="204084" y="844518"/>
                  <a:pt x="211372" y="844518"/>
                  <a:pt x="215017" y="846340"/>
                </a:cubicBezTo>
                <a:cubicBezTo>
                  <a:pt x="213195" y="842696"/>
                  <a:pt x="207728" y="840874"/>
                  <a:pt x="204084" y="839051"/>
                </a:cubicBezTo>
                <a:close/>
                <a:moveTo>
                  <a:pt x="173107" y="839051"/>
                </a:moveTo>
                <a:cubicBezTo>
                  <a:pt x="174929" y="842696"/>
                  <a:pt x="182218" y="848162"/>
                  <a:pt x="185862" y="848162"/>
                </a:cubicBezTo>
                <a:cubicBezTo>
                  <a:pt x="182218" y="844518"/>
                  <a:pt x="176751" y="842696"/>
                  <a:pt x="173107" y="839051"/>
                </a:cubicBezTo>
                <a:close/>
                <a:moveTo>
                  <a:pt x="1298032" y="838409"/>
                </a:moveTo>
                <a:lnTo>
                  <a:pt x="1299210" y="839051"/>
                </a:lnTo>
                <a:lnTo>
                  <a:pt x="1291923" y="844518"/>
                </a:lnTo>
                <a:close/>
                <a:moveTo>
                  <a:pt x="1353876" y="837229"/>
                </a:moveTo>
                <a:cubicBezTo>
                  <a:pt x="1352053" y="839051"/>
                  <a:pt x="1355698" y="842696"/>
                  <a:pt x="1357521" y="839051"/>
                </a:cubicBezTo>
                <a:cubicBezTo>
                  <a:pt x="1357521" y="837229"/>
                  <a:pt x="1355698" y="839051"/>
                  <a:pt x="1353876" y="837229"/>
                </a:cubicBezTo>
                <a:close/>
                <a:moveTo>
                  <a:pt x="1198991" y="837229"/>
                </a:moveTo>
                <a:cubicBezTo>
                  <a:pt x="1197169" y="839051"/>
                  <a:pt x="1198991" y="839051"/>
                  <a:pt x="1197169" y="840874"/>
                </a:cubicBezTo>
                <a:cubicBezTo>
                  <a:pt x="1198991" y="844518"/>
                  <a:pt x="1202636" y="842696"/>
                  <a:pt x="1206279" y="842696"/>
                </a:cubicBezTo>
                <a:cubicBezTo>
                  <a:pt x="1202636" y="844518"/>
                  <a:pt x="1200814" y="839051"/>
                  <a:pt x="1198991" y="837229"/>
                </a:cubicBezTo>
                <a:close/>
                <a:moveTo>
                  <a:pt x="1175303" y="837229"/>
                </a:moveTo>
                <a:cubicBezTo>
                  <a:pt x="1178947" y="840874"/>
                  <a:pt x="1188058" y="842696"/>
                  <a:pt x="1191703" y="844518"/>
                </a:cubicBezTo>
                <a:cubicBezTo>
                  <a:pt x="1193525" y="842696"/>
                  <a:pt x="1191703" y="840874"/>
                  <a:pt x="1195346" y="839051"/>
                </a:cubicBezTo>
                <a:cubicBezTo>
                  <a:pt x="1189880" y="835407"/>
                  <a:pt x="1182592" y="839051"/>
                  <a:pt x="1175303" y="837229"/>
                </a:cubicBezTo>
                <a:close/>
                <a:moveTo>
                  <a:pt x="1014951" y="837229"/>
                </a:moveTo>
                <a:cubicBezTo>
                  <a:pt x="1011307" y="840874"/>
                  <a:pt x="1016774" y="844518"/>
                  <a:pt x="1016774" y="846340"/>
                </a:cubicBezTo>
                <a:cubicBezTo>
                  <a:pt x="1016774" y="842696"/>
                  <a:pt x="1014951" y="840874"/>
                  <a:pt x="1014951" y="837229"/>
                </a:cubicBezTo>
                <a:close/>
                <a:moveTo>
                  <a:pt x="876466" y="837229"/>
                </a:moveTo>
                <a:cubicBezTo>
                  <a:pt x="858244" y="851807"/>
                  <a:pt x="876466" y="839051"/>
                  <a:pt x="878288" y="839051"/>
                </a:cubicBezTo>
                <a:cubicBezTo>
                  <a:pt x="878288" y="839051"/>
                  <a:pt x="878288" y="837229"/>
                  <a:pt x="876466" y="837229"/>
                </a:cubicBezTo>
                <a:close/>
                <a:moveTo>
                  <a:pt x="581274" y="837229"/>
                </a:moveTo>
                <a:cubicBezTo>
                  <a:pt x="575808" y="840874"/>
                  <a:pt x="583096" y="840874"/>
                  <a:pt x="583096" y="842696"/>
                </a:cubicBezTo>
                <a:cubicBezTo>
                  <a:pt x="584919" y="840874"/>
                  <a:pt x="583096" y="839051"/>
                  <a:pt x="581274" y="837229"/>
                </a:cubicBezTo>
                <a:close/>
                <a:moveTo>
                  <a:pt x="553941" y="837229"/>
                </a:moveTo>
                <a:cubicBezTo>
                  <a:pt x="548475" y="835407"/>
                  <a:pt x="546653" y="839051"/>
                  <a:pt x="544830" y="842696"/>
                </a:cubicBezTo>
                <a:cubicBezTo>
                  <a:pt x="550297" y="848162"/>
                  <a:pt x="553941" y="846340"/>
                  <a:pt x="557586" y="844518"/>
                </a:cubicBezTo>
                <a:cubicBezTo>
                  <a:pt x="564874" y="839051"/>
                  <a:pt x="546653" y="844518"/>
                  <a:pt x="553941" y="837229"/>
                </a:cubicBezTo>
                <a:close/>
                <a:moveTo>
                  <a:pt x="486521" y="837229"/>
                </a:moveTo>
                <a:cubicBezTo>
                  <a:pt x="484700" y="840874"/>
                  <a:pt x="491987" y="844518"/>
                  <a:pt x="493809" y="848162"/>
                </a:cubicBezTo>
                <a:cubicBezTo>
                  <a:pt x="495632" y="846340"/>
                  <a:pt x="495632" y="844518"/>
                  <a:pt x="495632" y="842696"/>
                </a:cubicBezTo>
                <a:cubicBezTo>
                  <a:pt x="491987" y="839051"/>
                  <a:pt x="490165" y="839051"/>
                  <a:pt x="486521" y="837229"/>
                </a:cubicBezTo>
                <a:close/>
                <a:moveTo>
                  <a:pt x="238705" y="837229"/>
                </a:moveTo>
                <a:cubicBezTo>
                  <a:pt x="238705" y="839051"/>
                  <a:pt x="244172" y="844518"/>
                  <a:pt x="245994" y="844518"/>
                </a:cubicBezTo>
                <a:cubicBezTo>
                  <a:pt x="247816" y="842696"/>
                  <a:pt x="240527" y="840874"/>
                  <a:pt x="238705" y="837229"/>
                </a:cubicBezTo>
                <a:close/>
                <a:moveTo>
                  <a:pt x="140308" y="837229"/>
                </a:moveTo>
                <a:lnTo>
                  <a:pt x="158788" y="869926"/>
                </a:lnTo>
                <a:lnTo>
                  <a:pt x="160989" y="876339"/>
                </a:lnTo>
                <a:lnTo>
                  <a:pt x="152380" y="861601"/>
                </a:lnTo>
                <a:cubicBezTo>
                  <a:pt x="148508" y="853629"/>
                  <a:pt x="144863" y="845429"/>
                  <a:pt x="140308" y="837229"/>
                </a:cubicBezTo>
                <a:close/>
                <a:moveTo>
                  <a:pt x="1303231" y="836853"/>
                </a:moveTo>
                <a:lnTo>
                  <a:pt x="1306818" y="839212"/>
                </a:lnTo>
                <a:lnTo>
                  <a:pt x="1302855" y="837229"/>
                </a:lnTo>
                <a:close/>
                <a:moveTo>
                  <a:pt x="750737" y="836546"/>
                </a:moveTo>
                <a:cubicBezTo>
                  <a:pt x="748914" y="835863"/>
                  <a:pt x="746180" y="836318"/>
                  <a:pt x="743447" y="839051"/>
                </a:cubicBezTo>
                <a:cubicBezTo>
                  <a:pt x="745269" y="840874"/>
                  <a:pt x="748914" y="840874"/>
                  <a:pt x="752558" y="840874"/>
                </a:cubicBezTo>
                <a:cubicBezTo>
                  <a:pt x="753469" y="839052"/>
                  <a:pt x="752558" y="837230"/>
                  <a:pt x="750737" y="836546"/>
                </a:cubicBezTo>
                <a:close/>
                <a:moveTo>
                  <a:pt x="787230" y="835986"/>
                </a:moveTo>
                <a:lnTo>
                  <a:pt x="791257" y="837229"/>
                </a:lnTo>
                <a:lnTo>
                  <a:pt x="788319" y="837229"/>
                </a:lnTo>
                <a:close/>
                <a:moveTo>
                  <a:pt x="3203382" y="835407"/>
                </a:moveTo>
                <a:cubicBezTo>
                  <a:pt x="3199738" y="837229"/>
                  <a:pt x="3201560" y="844518"/>
                  <a:pt x="3207027" y="846340"/>
                </a:cubicBezTo>
                <a:cubicBezTo>
                  <a:pt x="3207027" y="840874"/>
                  <a:pt x="3207027" y="842696"/>
                  <a:pt x="3207027" y="837229"/>
                </a:cubicBezTo>
                <a:cubicBezTo>
                  <a:pt x="3205204" y="837229"/>
                  <a:pt x="3203382" y="835407"/>
                  <a:pt x="3203382" y="835407"/>
                </a:cubicBezTo>
                <a:close/>
                <a:moveTo>
                  <a:pt x="1301033" y="835407"/>
                </a:moveTo>
                <a:lnTo>
                  <a:pt x="1301877" y="835963"/>
                </a:lnTo>
                <a:lnTo>
                  <a:pt x="1301033" y="837229"/>
                </a:lnTo>
                <a:lnTo>
                  <a:pt x="1299940" y="836501"/>
                </a:lnTo>
                <a:close/>
                <a:moveTo>
                  <a:pt x="1022240" y="835407"/>
                </a:moveTo>
                <a:cubicBezTo>
                  <a:pt x="1024062" y="837229"/>
                  <a:pt x="1020418" y="839051"/>
                  <a:pt x="1022240" y="839051"/>
                </a:cubicBezTo>
                <a:cubicBezTo>
                  <a:pt x="1025884" y="840874"/>
                  <a:pt x="1024062" y="842696"/>
                  <a:pt x="1025884" y="846340"/>
                </a:cubicBezTo>
                <a:cubicBezTo>
                  <a:pt x="1029529" y="840874"/>
                  <a:pt x="1025884" y="837229"/>
                  <a:pt x="1022240" y="835407"/>
                </a:cubicBezTo>
                <a:close/>
                <a:moveTo>
                  <a:pt x="973041" y="835407"/>
                </a:moveTo>
                <a:cubicBezTo>
                  <a:pt x="971219" y="837229"/>
                  <a:pt x="971219" y="837229"/>
                  <a:pt x="973041" y="839051"/>
                </a:cubicBezTo>
                <a:cubicBezTo>
                  <a:pt x="974863" y="837229"/>
                  <a:pt x="976686" y="835407"/>
                  <a:pt x="978508" y="835407"/>
                </a:cubicBezTo>
                <a:cubicBezTo>
                  <a:pt x="976686" y="833585"/>
                  <a:pt x="974863" y="835407"/>
                  <a:pt x="973041" y="835407"/>
                </a:cubicBezTo>
                <a:close/>
                <a:moveTo>
                  <a:pt x="685138" y="835407"/>
                </a:moveTo>
                <a:cubicBezTo>
                  <a:pt x="681493" y="837229"/>
                  <a:pt x="681493" y="840874"/>
                  <a:pt x="685138" y="842696"/>
                </a:cubicBezTo>
                <a:cubicBezTo>
                  <a:pt x="686960" y="842696"/>
                  <a:pt x="688782" y="840874"/>
                  <a:pt x="688782" y="839051"/>
                </a:cubicBezTo>
                <a:cubicBezTo>
                  <a:pt x="686960" y="837229"/>
                  <a:pt x="686960" y="837229"/>
                  <a:pt x="685138" y="835407"/>
                </a:cubicBezTo>
                <a:close/>
                <a:moveTo>
                  <a:pt x="532075" y="835407"/>
                </a:moveTo>
                <a:cubicBezTo>
                  <a:pt x="530253" y="837229"/>
                  <a:pt x="533897" y="837229"/>
                  <a:pt x="535719" y="840874"/>
                </a:cubicBezTo>
                <a:cubicBezTo>
                  <a:pt x="539364" y="839051"/>
                  <a:pt x="533897" y="835407"/>
                  <a:pt x="532075" y="835407"/>
                </a:cubicBezTo>
                <a:close/>
                <a:moveTo>
                  <a:pt x="322525" y="835407"/>
                </a:moveTo>
                <a:cubicBezTo>
                  <a:pt x="324347" y="840874"/>
                  <a:pt x="329814" y="844518"/>
                  <a:pt x="333458" y="849985"/>
                </a:cubicBezTo>
                <a:cubicBezTo>
                  <a:pt x="331636" y="844518"/>
                  <a:pt x="331636" y="839051"/>
                  <a:pt x="326169" y="837229"/>
                </a:cubicBezTo>
                <a:cubicBezTo>
                  <a:pt x="329814" y="837229"/>
                  <a:pt x="331636" y="840874"/>
                  <a:pt x="333458" y="842696"/>
                </a:cubicBezTo>
                <a:cubicBezTo>
                  <a:pt x="335280" y="839051"/>
                  <a:pt x="326169" y="831763"/>
                  <a:pt x="322525" y="835407"/>
                </a:cubicBezTo>
                <a:close/>
                <a:moveTo>
                  <a:pt x="961197" y="835180"/>
                </a:moveTo>
                <a:cubicBezTo>
                  <a:pt x="959830" y="834496"/>
                  <a:pt x="958464" y="834496"/>
                  <a:pt x="956642" y="837229"/>
                </a:cubicBezTo>
                <a:cubicBezTo>
                  <a:pt x="956642" y="837229"/>
                  <a:pt x="956642" y="839051"/>
                  <a:pt x="958464" y="839051"/>
                </a:cubicBezTo>
                <a:cubicBezTo>
                  <a:pt x="960286" y="840874"/>
                  <a:pt x="962108" y="840874"/>
                  <a:pt x="965753" y="837229"/>
                </a:cubicBezTo>
                <a:cubicBezTo>
                  <a:pt x="963930" y="837229"/>
                  <a:pt x="962564" y="835863"/>
                  <a:pt x="961197" y="835180"/>
                </a:cubicBezTo>
                <a:close/>
                <a:moveTo>
                  <a:pt x="3161472" y="833585"/>
                </a:moveTo>
                <a:cubicBezTo>
                  <a:pt x="3157828" y="839051"/>
                  <a:pt x="3152361" y="839051"/>
                  <a:pt x="3156006" y="846340"/>
                </a:cubicBezTo>
                <a:cubicBezTo>
                  <a:pt x="3156006" y="844518"/>
                  <a:pt x="3161472" y="842696"/>
                  <a:pt x="3159650" y="839051"/>
                </a:cubicBezTo>
                <a:cubicBezTo>
                  <a:pt x="3161472" y="840874"/>
                  <a:pt x="3165116" y="844518"/>
                  <a:pt x="3168761" y="840874"/>
                </a:cubicBezTo>
                <a:cubicBezTo>
                  <a:pt x="3165116" y="846340"/>
                  <a:pt x="3165116" y="848162"/>
                  <a:pt x="3157828" y="848162"/>
                </a:cubicBezTo>
                <a:cubicBezTo>
                  <a:pt x="3163294" y="853629"/>
                  <a:pt x="3170583" y="855451"/>
                  <a:pt x="3177872" y="857273"/>
                </a:cubicBezTo>
                <a:cubicBezTo>
                  <a:pt x="3176050" y="855451"/>
                  <a:pt x="3172405" y="855451"/>
                  <a:pt x="3170583" y="853629"/>
                </a:cubicBezTo>
                <a:cubicBezTo>
                  <a:pt x="3166939" y="848162"/>
                  <a:pt x="3177872" y="851807"/>
                  <a:pt x="3176050" y="846340"/>
                </a:cubicBezTo>
                <a:cubicBezTo>
                  <a:pt x="3174227" y="844518"/>
                  <a:pt x="3170583" y="846340"/>
                  <a:pt x="3168761" y="846340"/>
                </a:cubicBezTo>
                <a:cubicBezTo>
                  <a:pt x="3176050" y="840874"/>
                  <a:pt x="3172405" y="831763"/>
                  <a:pt x="3161472" y="833585"/>
                </a:cubicBezTo>
                <a:close/>
                <a:moveTo>
                  <a:pt x="3150539" y="833585"/>
                </a:moveTo>
                <a:cubicBezTo>
                  <a:pt x="3139606" y="833585"/>
                  <a:pt x="3134140" y="839051"/>
                  <a:pt x="3130495" y="844518"/>
                </a:cubicBezTo>
                <a:cubicBezTo>
                  <a:pt x="3135962" y="840874"/>
                  <a:pt x="3139606" y="846340"/>
                  <a:pt x="3146895" y="846340"/>
                </a:cubicBezTo>
                <a:cubicBezTo>
                  <a:pt x="3146895" y="842696"/>
                  <a:pt x="3150539" y="842696"/>
                  <a:pt x="3150539" y="837229"/>
                </a:cubicBezTo>
                <a:cubicBezTo>
                  <a:pt x="3150539" y="839051"/>
                  <a:pt x="3145073" y="840874"/>
                  <a:pt x="3146895" y="835407"/>
                </a:cubicBezTo>
                <a:cubicBezTo>
                  <a:pt x="3145073" y="833585"/>
                  <a:pt x="3152361" y="839051"/>
                  <a:pt x="3150539" y="833585"/>
                </a:cubicBezTo>
                <a:close/>
                <a:moveTo>
                  <a:pt x="2509134" y="833585"/>
                </a:moveTo>
                <a:cubicBezTo>
                  <a:pt x="2505490" y="835407"/>
                  <a:pt x="2507312" y="844518"/>
                  <a:pt x="2505490" y="849985"/>
                </a:cubicBezTo>
                <a:cubicBezTo>
                  <a:pt x="2510956" y="849985"/>
                  <a:pt x="2510956" y="848162"/>
                  <a:pt x="2514600" y="848162"/>
                </a:cubicBezTo>
                <a:cubicBezTo>
                  <a:pt x="2514600" y="840874"/>
                  <a:pt x="2510956" y="839051"/>
                  <a:pt x="2509134" y="833585"/>
                </a:cubicBezTo>
                <a:close/>
                <a:moveTo>
                  <a:pt x="1430407" y="833585"/>
                </a:moveTo>
                <a:cubicBezTo>
                  <a:pt x="1425851" y="838141"/>
                  <a:pt x="1420840" y="843607"/>
                  <a:pt x="1415829" y="847024"/>
                </a:cubicBezTo>
                <a:lnTo>
                  <a:pt x="1415235" y="847070"/>
                </a:lnTo>
                <a:close/>
                <a:moveTo>
                  <a:pt x="1335654" y="833585"/>
                </a:moveTo>
                <a:cubicBezTo>
                  <a:pt x="1332009" y="835407"/>
                  <a:pt x="1332009" y="835407"/>
                  <a:pt x="1330188" y="837229"/>
                </a:cubicBezTo>
                <a:cubicBezTo>
                  <a:pt x="1335654" y="840874"/>
                  <a:pt x="1339299" y="842696"/>
                  <a:pt x="1344765" y="840874"/>
                </a:cubicBezTo>
                <a:cubicBezTo>
                  <a:pt x="1344765" y="835407"/>
                  <a:pt x="1339299" y="833585"/>
                  <a:pt x="1335654" y="833585"/>
                </a:cubicBezTo>
                <a:close/>
                <a:moveTo>
                  <a:pt x="983974" y="833585"/>
                </a:moveTo>
                <a:cubicBezTo>
                  <a:pt x="982152" y="835407"/>
                  <a:pt x="980330" y="835407"/>
                  <a:pt x="978508" y="837229"/>
                </a:cubicBezTo>
                <a:cubicBezTo>
                  <a:pt x="980330" y="839051"/>
                  <a:pt x="987619" y="835407"/>
                  <a:pt x="983974" y="833585"/>
                </a:cubicBezTo>
                <a:close/>
                <a:moveTo>
                  <a:pt x="555763" y="833585"/>
                </a:moveTo>
                <a:cubicBezTo>
                  <a:pt x="555763" y="839051"/>
                  <a:pt x="557586" y="835407"/>
                  <a:pt x="561230" y="833585"/>
                </a:cubicBezTo>
                <a:cubicBezTo>
                  <a:pt x="559408" y="831763"/>
                  <a:pt x="557586" y="835407"/>
                  <a:pt x="555763" y="833585"/>
                </a:cubicBezTo>
                <a:close/>
                <a:moveTo>
                  <a:pt x="433678" y="833585"/>
                </a:moveTo>
                <a:cubicBezTo>
                  <a:pt x="439145" y="839051"/>
                  <a:pt x="444611" y="855451"/>
                  <a:pt x="453722" y="851807"/>
                </a:cubicBezTo>
                <a:cubicBezTo>
                  <a:pt x="451899" y="849985"/>
                  <a:pt x="453722" y="849985"/>
                  <a:pt x="451899" y="848162"/>
                </a:cubicBezTo>
                <a:cubicBezTo>
                  <a:pt x="457367" y="857273"/>
                  <a:pt x="466478" y="857273"/>
                  <a:pt x="475589" y="859095"/>
                </a:cubicBezTo>
                <a:cubicBezTo>
                  <a:pt x="470121" y="853629"/>
                  <a:pt x="466478" y="857273"/>
                  <a:pt x="461010" y="853629"/>
                </a:cubicBezTo>
                <a:cubicBezTo>
                  <a:pt x="459188" y="853629"/>
                  <a:pt x="462832" y="853629"/>
                  <a:pt x="462832" y="853629"/>
                </a:cubicBezTo>
                <a:cubicBezTo>
                  <a:pt x="453722" y="844518"/>
                  <a:pt x="442789" y="837229"/>
                  <a:pt x="433678" y="833585"/>
                </a:cubicBezTo>
                <a:close/>
                <a:moveTo>
                  <a:pt x="616806" y="832446"/>
                </a:moveTo>
                <a:cubicBezTo>
                  <a:pt x="614074" y="830396"/>
                  <a:pt x="610428" y="829941"/>
                  <a:pt x="608606" y="833585"/>
                </a:cubicBezTo>
                <a:cubicBezTo>
                  <a:pt x="612251" y="837229"/>
                  <a:pt x="615895" y="837229"/>
                  <a:pt x="619539" y="840874"/>
                </a:cubicBezTo>
                <a:cubicBezTo>
                  <a:pt x="621361" y="838141"/>
                  <a:pt x="619539" y="834496"/>
                  <a:pt x="616806" y="832446"/>
                </a:cubicBezTo>
                <a:close/>
                <a:moveTo>
                  <a:pt x="3217960" y="831763"/>
                </a:moveTo>
                <a:cubicBezTo>
                  <a:pt x="3212493" y="829941"/>
                  <a:pt x="3217960" y="837229"/>
                  <a:pt x="3216137" y="835407"/>
                </a:cubicBezTo>
                <a:cubicBezTo>
                  <a:pt x="3212493" y="831763"/>
                  <a:pt x="3212493" y="835407"/>
                  <a:pt x="3207027" y="835407"/>
                </a:cubicBezTo>
                <a:cubicBezTo>
                  <a:pt x="3207027" y="839051"/>
                  <a:pt x="3208849" y="842696"/>
                  <a:pt x="3210671" y="844518"/>
                </a:cubicBezTo>
                <a:cubicBezTo>
                  <a:pt x="3214315" y="840874"/>
                  <a:pt x="3221604" y="839051"/>
                  <a:pt x="3217960" y="831763"/>
                </a:cubicBezTo>
                <a:close/>
                <a:moveTo>
                  <a:pt x="1064151" y="831763"/>
                </a:moveTo>
                <a:cubicBezTo>
                  <a:pt x="1060506" y="835407"/>
                  <a:pt x="1058683" y="837229"/>
                  <a:pt x="1056861" y="837229"/>
                </a:cubicBezTo>
                <a:cubicBezTo>
                  <a:pt x="1060506" y="839051"/>
                  <a:pt x="1062328" y="844518"/>
                  <a:pt x="1064151" y="844518"/>
                </a:cubicBezTo>
                <a:cubicBezTo>
                  <a:pt x="1060506" y="844518"/>
                  <a:pt x="1058683" y="839051"/>
                  <a:pt x="1055040" y="835407"/>
                </a:cubicBezTo>
                <a:cubicBezTo>
                  <a:pt x="1051395" y="837229"/>
                  <a:pt x="1047750" y="839051"/>
                  <a:pt x="1045929" y="840874"/>
                </a:cubicBezTo>
                <a:cubicBezTo>
                  <a:pt x="1045929" y="842696"/>
                  <a:pt x="1047750" y="842696"/>
                  <a:pt x="1049573" y="842696"/>
                </a:cubicBezTo>
                <a:cubicBezTo>
                  <a:pt x="1045929" y="842696"/>
                  <a:pt x="1044106" y="848162"/>
                  <a:pt x="1040462" y="849985"/>
                </a:cubicBezTo>
                <a:cubicBezTo>
                  <a:pt x="1042284" y="851807"/>
                  <a:pt x="1042284" y="849985"/>
                  <a:pt x="1044106" y="849985"/>
                </a:cubicBezTo>
                <a:cubicBezTo>
                  <a:pt x="1044106" y="853629"/>
                  <a:pt x="1036818" y="857273"/>
                  <a:pt x="1040462" y="862740"/>
                </a:cubicBezTo>
                <a:cubicBezTo>
                  <a:pt x="1040462" y="862740"/>
                  <a:pt x="1042284" y="860918"/>
                  <a:pt x="1044106" y="859095"/>
                </a:cubicBezTo>
                <a:cubicBezTo>
                  <a:pt x="1044106" y="864562"/>
                  <a:pt x="1036818" y="870028"/>
                  <a:pt x="1042284" y="877317"/>
                </a:cubicBezTo>
                <a:cubicBezTo>
                  <a:pt x="1047750" y="873673"/>
                  <a:pt x="1051395" y="868206"/>
                  <a:pt x="1060506" y="866384"/>
                </a:cubicBezTo>
                <a:cubicBezTo>
                  <a:pt x="1062328" y="864562"/>
                  <a:pt x="1060506" y="862740"/>
                  <a:pt x="1060506" y="860918"/>
                </a:cubicBezTo>
                <a:cubicBezTo>
                  <a:pt x="1067794" y="855451"/>
                  <a:pt x="1060506" y="849985"/>
                  <a:pt x="1064151" y="844518"/>
                </a:cubicBezTo>
                <a:cubicBezTo>
                  <a:pt x="1067794" y="840874"/>
                  <a:pt x="1071439" y="837229"/>
                  <a:pt x="1069616" y="831763"/>
                </a:cubicBezTo>
                <a:cubicBezTo>
                  <a:pt x="1067794" y="831763"/>
                  <a:pt x="1065972" y="831763"/>
                  <a:pt x="1064151" y="831763"/>
                </a:cubicBezTo>
                <a:close/>
                <a:moveTo>
                  <a:pt x="736159" y="831763"/>
                </a:moveTo>
                <a:cubicBezTo>
                  <a:pt x="737981" y="833585"/>
                  <a:pt x="734336" y="835407"/>
                  <a:pt x="734336" y="839051"/>
                </a:cubicBezTo>
                <a:cubicBezTo>
                  <a:pt x="737981" y="840874"/>
                  <a:pt x="739803" y="840874"/>
                  <a:pt x="741626" y="835407"/>
                </a:cubicBezTo>
                <a:cubicBezTo>
                  <a:pt x="741626" y="831763"/>
                  <a:pt x="736159" y="833585"/>
                  <a:pt x="736159" y="831763"/>
                </a:cubicBezTo>
                <a:close/>
                <a:moveTo>
                  <a:pt x="717937" y="831763"/>
                </a:moveTo>
                <a:cubicBezTo>
                  <a:pt x="717937" y="829941"/>
                  <a:pt x="714293" y="835407"/>
                  <a:pt x="716115" y="837229"/>
                </a:cubicBezTo>
                <a:cubicBezTo>
                  <a:pt x="716115" y="835407"/>
                  <a:pt x="717937" y="833585"/>
                  <a:pt x="717937" y="831763"/>
                </a:cubicBezTo>
                <a:close/>
                <a:moveTo>
                  <a:pt x="382657" y="831763"/>
                </a:moveTo>
                <a:cubicBezTo>
                  <a:pt x="391768" y="842696"/>
                  <a:pt x="399056" y="859095"/>
                  <a:pt x="409989" y="868206"/>
                </a:cubicBezTo>
                <a:cubicBezTo>
                  <a:pt x="411812" y="868206"/>
                  <a:pt x="409989" y="866384"/>
                  <a:pt x="408167" y="864562"/>
                </a:cubicBezTo>
                <a:cubicBezTo>
                  <a:pt x="411812" y="866384"/>
                  <a:pt x="415456" y="871851"/>
                  <a:pt x="419100" y="868206"/>
                </a:cubicBezTo>
                <a:cubicBezTo>
                  <a:pt x="417278" y="864562"/>
                  <a:pt x="413634" y="860918"/>
                  <a:pt x="409989" y="857273"/>
                </a:cubicBezTo>
                <a:cubicBezTo>
                  <a:pt x="422745" y="864562"/>
                  <a:pt x="430034" y="877317"/>
                  <a:pt x="440966" y="884606"/>
                </a:cubicBezTo>
                <a:cubicBezTo>
                  <a:pt x="439145" y="884606"/>
                  <a:pt x="439145" y="880961"/>
                  <a:pt x="439145" y="879139"/>
                </a:cubicBezTo>
                <a:cubicBezTo>
                  <a:pt x="444611" y="884606"/>
                  <a:pt x="440966" y="891894"/>
                  <a:pt x="451899" y="891894"/>
                </a:cubicBezTo>
                <a:lnTo>
                  <a:pt x="441405" y="877012"/>
                </a:lnTo>
                <a:lnTo>
                  <a:pt x="446433" y="879139"/>
                </a:lnTo>
                <a:cubicBezTo>
                  <a:pt x="444611" y="877317"/>
                  <a:pt x="440966" y="875495"/>
                  <a:pt x="437322" y="870028"/>
                </a:cubicBezTo>
                <a:lnTo>
                  <a:pt x="439143" y="873799"/>
                </a:lnTo>
                <a:lnTo>
                  <a:pt x="433193" y="865246"/>
                </a:lnTo>
                <a:cubicBezTo>
                  <a:pt x="430603" y="862626"/>
                  <a:pt x="427300" y="860462"/>
                  <a:pt x="422745" y="859095"/>
                </a:cubicBezTo>
                <a:cubicBezTo>
                  <a:pt x="424567" y="859095"/>
                  <a:pt x="428211" y="859095"/>
                  <a:pt x="428211" y="859095"/>
                </a:cubicBezTo>
                <a:cubicBezTo>
                  <a:pt x="428211" y="851807"/>
                  <a:pt x="417278" y="848162"/>
                  <a:pt x="411812" y="844518"/>
                </a:cubicBezTo>
                <a:cubicBezTo>
                  <a:pt x="413634" y="846340"/>
                  <a:pt x="413634" y="846340"/>
                  <a:pt x="417278" y="846340"/>
                </a:cubicBezTo>
                <a:cubicBezTo>
                  <a:pt x="411812" y="839051"/>
                  <a:pt x="406345" y="846340"/>
                  <a:pt x="400879" y="844518"/>
                </a:cubicBezTo>
                <a:cubicBezTo>
                  <a:pt x="404523" y="842696"/>
                  <a:pt x="406345" y="840874"/>
                  <a:pt x="411812" y="840874"/>
                </a:cubicBezTo>
                <a:cubicBezTo>
                  <a:pt x="400879" y="840874"/>
                  <a:pt x="391768" y="829941"/>
                  <a:pt x="382657" y="831763"/>
                </a:cubicBezTo>
                <a:close/>
                <a:moveTo>
                  <a:pt x="338926" y="831763"/>
                </a:moveTo>
                <a:cubicBezTo>
                  <a:pt x="338926" y="833585"/>
                  <a:pt x="342569" y="840874"/>
                  <a:pt x="344391" y="839051"/>
                </a:cubicBezTo>
                <a:cubicBezTo>
                  <a:pt x="342569" y="837229"/>
                  <a:pt x="340747" y="835407"/>
                  <a:pt x="338926" y="831763"/>
                </a:cubicBezTo>
                <a:close/>
                <a:moveTo>
                  <a:pt x="3199738" y="829941"/>
                </a:moveTo>
                <a:cubicBezTo>
                  <a:pt x="3201560" y="833585"/>
                  <a:pt x="3192449" y="835407"/>
                  <a:pt x="3199738" y="835407"/>
                </a:cubicBezTo>
                <a:cubicBezTo>
                  <a:pt x="3199738" y="835407"/>
                  <a:pt x="3199738" y="833585"/>
                  <a:pt x="3199738" y="833585"/>
                </a:cubicBezTo>
                <a:cubicBezTo>
                  <a:pt x="3203382" y="833585"/>
                  <a:pt x="3205204" y="835407"/>
                  <a:pt x="3208849" y="833585"/>
                </a:cubicBezTo>
                <a:cubicBezTo>
                  <a:pt x="3210671" y="828118"/>
                  <a:pt x="3203382" y="831763"/>
                  <a:pt x="3199738" y="829941"/>
                </a:cubicBezTo>
                <a:close/>
                <a:moveTo>
                  <a:pt x="2337850" y="829941"/>
                </a:moveTo>
                <a:cubicBezTo>
                  <a:pt x="2336027" y="831763"/>
                  <a:pt x="2334205" y="831763"/>
                  <a:pt x="2334205" y="831763"/>
                </a:cubicBezTo>
                <a:cubicBezTo>
                  <a:pt x="2332383" y="837229"/>
                  <a:pt x="2336027" y="835407"/>
                  <a:pt x="2337850" y="835407"/>
                </a:cubicBezTo>
                <a:cubicBezTo>
                  <a:pt x="2337850" y="833585"/>
                  <a:pt x="2337850" y="831763"/>
                  <a:pt x="2337850" y="829941"/>
                </a:cubicBezTo>
                <a:close/>
                <a:moveTo>
                  <a:pt x="1109704" y="829941"/>
                </a:moveTo>
                <a:cubicBezTo>
                  <a:pt x="1102416" y="831763"/>
                  <a:pt x="1096949" y="831763"/>
                  <a:pt x="1089660" y="833585"/>
                </a:cubicBezTo>
                <a:cubicBezTo>
                  <a:pt x="1086016" y="835407"/>
                  <a:pt x="1082373" y="835407"/>
                  <a:pt x="1076905" y="835407"/>
                </a:cubicBezTo>
                <a:lnTo>
                  <a:pt x="1073262" y="835407"/>
                </a:lnTo>
                <a:cubicBezTo>
                  <a:pt x="1069616" y="839051"/>
                  <a:pt x="1067794" y="842696"/>
                  <a:pt x="1067794" y="846340"/>
                </a:cubicBezTo>
                <a:cubicBezTo>
                  <a:pt x="1073262" y="842696"/>
                  <a:pt x="1076905" y="837229"/>
                  <a:pt x="1078727" y="835407"/>
                </a:cubicBezTo>
                <a:cubicBezTo>
                  <a:pt x="1080549" y="837229"/>
                  <a:pt x="1076905" y="839051"/>
                  <a:pt x="1076905" y="840874"/>
                </a:cubicBezTo>
                <a:cubicBezTo>
                  <a:pt x="1078727" y="842696"/>
                  <a:pt x="1078727" y="839051"/>
                  <a:pt x="1080549" y="840874"/>
                </a:cubicBezTo>
                <a:cubicBezTo>
                  <a:pt x="1078727" y="842696"/>
                  <a:pt x="1071439" y="846340"/>
                  <a:pt x="1065972" y="848162"/>
                </a:cubicBezTo>
                <a:cubicBezTo>
                  <a:pt x="1065972" y="853629"/>
                  <a:pt x="1065972" y="859095"/>
                  <a:pt x="1064151" y="864562"/>
                </a:cubicBezTo>
                <a:cubicBezTo>
                  <a:pt x="1069616" y="862740"/>
                  <a:pt x="1075083" y="853629"/>
                  <a:pt x="1082373" y="849985"/>
                </a:cubicBezTo>
                <a:cubicBezTo>
                  <a:pt x="1086016" y="848162"/>
                  <a:pt x="1089660" y="848162"/>
                  <a:pt x="1089660" y="844518"/>
                </a:cubicBezTo>
                <a:cubicBezTo>
                  <a:pt x="1096949" y="844518"/>
                  <a:pt x="1109704" y="839051"/>
                  <a:pt x="1109704" y="829941"/>
                </a:cubicBezTo>
                <a:close/>
                <a:moveTo>
                  <a:pt x="1051395" y="829941"/>
                </a:moveTo>
                <a:cubicBezTo>
                  <a:pt x="1047750" y="831763"/>
                  <a:pt x="1047750" y="833585"/>
                  <a:pt x="1047750" y="835407"/>
                </a:cubicBezTo>
                <a:cubicBezTo>
                  <a:pt x="1049573" y="835407"/>
                  <a:pt x="1051395" y="835407"/>
                  <a:pt x="1053217" y="833585"/>
                </a:cubicBezTo>
                <a:cubicBezTo>
                  <a:pt x="1053217" y="833585"/>
                  <a:pt x="1053217" y="831763"/>
                  <a:pt x="1051395" y="829941"/>
                </a:cubicBezTo>
                <a:close/>
                <a:moveTo>
                  <a:pt x="1024062" y="829941"/>
                </a:moveTo>
                <a:cubicBezTo>
                  <a:pt x="1022240" y="831763"/>
                  <a:pt x="1018596" y="831763"/>
                  <a:pt x="1016774" y="833585"/>
                </a:cubicBezTo>
                <a:cubicBezTo>
                  <a:pt x="1018596" y="837229"/>
                  <a:pt x="1025884" y="833585"/>
                  <a:pt x="1024062" y="829941"/>
                </a:cubicBezTo>
                <a:close/>
                <a:moveTo>
                  <a:pt x="949353" y="829941"/>
                </a:moveTo>
                <a:cubicBezTo>
                  <a:pt x="945709" y="831763"/>
                  <a:pt x="943886" y="831763"/>
                  <a:pt x="943886" y="835407"/>
                </a:cubicBezTo>
                <a:cubicBezTo>
                  <a:pt x="945709" y="833585"/>
                  <a:pt x="951175" y="835407"/>
                  <a:pt x="949353" y="829941"/>
                </a:cubicBezTo>
                <a:close/>
                <a:moveTo>
                  <a:pt x="878288" y="829941"/>
                </a:moveTo>
                <a:cubicBezTo>
                  <a:pt x="876466" y="831763"/>
                  <a:pt x="880111" y="831763"/>
                  <a:pt x="876466" y="833585"/>
                </a:cubicBezTo>
                <a:cubicBezTo>
                  <a:pt x="878288" y="833585"/>
                  <a:pt x="880111" y="829941"/>
                  <a:pt x="881933" y="829941"/>
                </a:cubicBezTo>
                <a:cubicBezTo>
                  <a:pt x="880111" y="829941"/>
                  <a:pt x="878288" y="829941"/>
                  <a:pt x="878288" y="829941"/>
                </a:cubicBezTo>
                <a:close/>
                <a:moveTo>
                  <a:pt x="685138" y="829941"/>
                </a:moveTo>
                <a:cubicBezTo>
                  <a:pt x="681493" y="831763"/>
                  <a:pt x="688782" y="835407"/>
                  <a:pt x="690604" y="835407"/>
                </a:cubicBezTo>
                <a:cubicBezTo>
                  <a:pt x="692426" y="833585"/>
                  <a:pt x="686960" y="831763"/>
                  <a:pt x="685138" y="829941"/>
                </a:cubicBezTo>
                <a:close/>
                <a:moveTo>
                  <a:pt x="482876" y="829941"/>
                </a:moveTo>
                <a:cubicBezTo>
                  <a:pt x="484700" y="835407"/>
                  <a:pt x="491987" y="835407"/>
                  <a:pt x="495632" y="840874"/>
                </a:cubicBezTo>
                <a:cubicBezTo>
                  <a:pt x="497454" y="835407"/>
                  <a:pt x="488343" y="829941"/>
                  <a:pt x="482876" y="829941"/>
                </a:cubicBezTo>
                <a:close/>
                <a:moveTo>
                  <a:pt x="371724" y="829941"/>
                </a:moveTo>
                <a:cubicBezTo>
                  <a:pt x="375368" y="839051"/>
                  <a:pt x="382657" y="849985"/>
                  <a:pt x="391768" y="851807"/>
                </a:cubicBezTo>
                <a:cubicBezTo>
                  <a:pt x="389946" y="846340"/>
                  <a:pt x="379012" y="837229"/>
                  <a:pt x="380835" y="831763"/>
                </a:cubicBezTo>
                <a:cubicBezTo>
                  <a:pt x="377190" y="829941"/>
                  <a:pt x="375368" y="829941"/>
                  <a:pt x="371724" y="829941"/>
                </a:cubicBezTo>
                <a:close/>
                <a:moveTo>
                  <a:pt x="298837" y="829941"/>
                </a:moveTo>
                <a:cubicBezTo>
                  <a:pt x="295193" y="835407"/>
                  <a:pt x="298837" y="840874"/>
                  <a:pt x="298837" y="846340"/>
                </a:cubicBezTo>
                <a:cubicBezTo>
                  <a:pt x="298837" y="846340"/>
                  <a:pt x="297015" y="844518"/>
                  <a:pt x="297015" y="844518"/>
                </a:cubicBezTo>
                <a:cubicBezTo>
                  <a:pt x="297015" y="846340"/>
                  <a:pt x="297015" y="849985"/>
                  <a:pt x="300660" y="851807"/>
                </a:cubicBezTo>
                <a:cubicBezTo>
                  <a:pt x="298837" y="849985"/>
                  <a:pt x="297015" y="849985"/>
                  <a:pt x="297015" y="849985"/>
                </a:cubicBezTo>
                <a:cubicBezTo>
                  <a:pt x="300660" y="853629"/>
                  <a:pt x="300660" y="857273"/>
                  <a:pt x="306126" y="857273"/>
                </a:cubicBezTo>
                <a:cubicBezTo>
                  <a:pt x="306126" y="855451"/>
                  <a:pt x="304303" y="853629"/>
                  <a:pt x="302481" y="851807"/>
                </a:cubicBezTo>
                <a:cubicBezTo>
                  <a:pt x="304303" y="855451"/>
                  <a:pt x="307948" y="855451"/>
                  <a:pt x="309771" y="857273"/>
                </a:cubicBezTo>
                <a:cubicBezTo>
                  <a:pt x="307948" y="855451"/>
                  <a:pt x="307948" y="855451"/>
                  <a:pt x="307948" y="853629"/>
                </a:cubicBezTo>
                <a:cubicBezTo>
                  <a:pt x="309771" y="855451"/>
                  <a:pt x="309771" y="855451"/>
                  <a:pt x="311592" y="857273"/>
                </a:cubicBezTo>
                <a:cubicBezTo>
                  <a:pt x="311592" y="857273"/>
                  <a:pt x="311592" y="855451"/>
                  <a:pt x="311592" y="855451"/>
                </a:cubicBezTo>
                <a:cubicBezTo>
                  <a:pt x="317059" y="864562"/>
                  <a:pt x="324347" y="871851"/>
                  <a:pt x="335280" y="873673"/>
                </a:cubicBezTo>
                <a:cubicBezTo>
                  <a:pt x="329814" y="857273"/>
                  <a:pt x="317059" y="840874"/>
                  <a:pt x="298837" y="829941"/>
                </a:cubicBezTo>
                <a:close/>
                <a:moveTo>
                  <a:pt x="138486" y="829941"/>
                </a:moveTo>
                <a:cubicBezTo>
                  <a:pt x="143497" y="834497"/>
                  <a:pt x="147027" y="839735"/>
                  <a:pt x="149789" y="845373"/>
                </a:cubicBezTo>
                <a:lnTo>
                  <a:pt x="150048" y="846063"/>
                </a:lnTo>
                <a:close/>
                <a:moveTo>
                  <a:pt x="729782" y="829941"/>
                </a:moveTo>
                <a:cubicBezTo>
                  <a:pt x="728870" y="830396"/>
                  <a:pt x="727959" y="830852"/>
                  <a:pt x="727048" y="829941"/>
                </a:cubicBezTo>
                <a:cubicBezTo>
                  <a:pt x="727048" y="831763"/>
                  <a:pt x="730692" y="831763"/>
                  <a:pt x="730692" y="833585"/>
                </a:cubicBezTo>
                <a:cubicBezTo>
                  <a:pt x="732515" y="831763"/>
                  <a:pt x="732515" y="831763"/>
                  <a:pt x="732515" y="829941"/>
                </a:cubicBezTo>
                <a:cubicBezTo>
                  <a:pt x="731603" y="829030"/>
                  <a:pt x="730692" y="829485"/>
                  <a:pt x="729782" y="829941"/>
                </a:cubicBezTo>
                <a:close/>
                <a:moveTo>
                  <a:pt x="1279166" y="828118"/>
                </a:moveTo>
                <a:cubicBezTo>
                  <a:pt x="1273700" y="833585"/>
                  <a:pt x="1279166" y="844518"/>
                  <a:pt x="1280989" y="849985"/>
                </a:cubicBezTo>
                <a:cubicBezTo>
                  <a:pt x="1283723" y="849985"/>
                  <a:pt x="1286911" y="848163"/>
                  <a:pt x="1290099" y="845885"/>
                </a:cubicBezTo>
                <a:lnTo>
                  <a:pt x="1291923" y="844518"/>
                </a:lnTo>
                <a:lnTo>
                  <a:pt x="1280989" y="855451"/>
                </a:lnTo>
                <a:cubicBezTo>
                  <a:pt x="1282811" y="859095"/>
                  <a:pt x="1286455" y="860918"/>
                  <a:pt x="1290100" y="862740"/>
                </a:cubicBezTo>
                <a:cubicBezTo>
                  <a:pt x="1291922" y="862740"/>
                  <a:pt x="1290100" y="860918"/>
                  <a:pt x="1291922" y="860918"/>
                </a:cubicBezTo>
                <a:cubicBezTo>
                  <a:pt x="1293744" y="868206"/>
                  <a:pt x="1301033" y="866384"/>
                  <a:pt x="1304677" y="866384"/>
                </a:cubicBezTo>
                <a:cubicBezTo>
                  <a:pt x="1306499" y="864562"/>
                  <a:pt x="1304677" y="862740"/>
                  <a:pt x="1302855" y="859095"/>
                </a:cubicBezTo>
                <a:cubicBezTo>
                  <a:pt x="1306499" y="859095"/>
                  <a:pt x="1306499" y="860918"/>
                  <a:pt x="1308321" y="853629"/>
                </a:cubicBezTo>
                <a:cubicBezTo>
                  <a:pt x="1310143" y="857273"/>
                  <a:pt x="1310143" y="859095"/>
                  <a:pt x="1310143" y="862740"/>
                </a:cubicBezTo>
                <a:cubicBezTo>
                  <a:pt x="1311966" y="862740"/>
                  <a:pt x="1311966" y="862740"/>
                  <a:pt x="1311966" y="862740"/>
                </a:cubicBezTo>
                <a:cubicBezTo>
                  <a:pt x="1313788" y="860918"/>
                  <a:pt x="1311966" y="859095"/>
                  <a:pt x="1313788" y="859095"/>
                </a:cubicBezTo>
                <a:cubicBezTo>
                  <a:pt x="1315610" y="862740"/>
                  <a:pt x="1310143" y="860918"/>
                  <a:pt x="1313788" y="862740"/>
                </a:cubicBezTo>
                <a:lnTo>
                  <a:pt x="1332010" y="853629"/>
                </a:lnTo>
                <a:lnTo>
                  <a:pt x="1339299" y="855451"/>
                </a:lnTo>
                <a:cubicBezTo>
                  <a:pt x="1344765" y="849985"/>
                  <a:pt x="1348410" y="846340"/>
                  <a:pt x="1350231" y="842696"/>
                </a:cubicBezTo>
                <a:cubicBezTo>
                  <a:pt x="1344765" y="839051"/>
                  <a:pt x="1342942" y="842696"/>
                  <a:pt x="1341120" y="844518"/>
                </a:cubicBezTo>
                <a:cubicBezTo>
                  <a:pt x="1336564" y="843607"/>
                  <a:pt x="1332009" y="839963"/>
                  <a:pt x="1327454" y="838369"/>
                </a:cubicBezTo>
                <a:lnTo>
                  <a:pt x="1314441" y="844224"/>
                </a:lnTo>
                <a:lnTo>
                  <a:pt x="1306818" y="839212"/>
                </a:lnTo>
                <a:lnTo>
                  <a:pt x="1310143" y="840874"/>
                </a:lnTo>
                <a:cubicBezTo>
                  <a:pt x="1313788" y="839051"/>
                  <a:pt x="1315610" y="835407"/>
                  <a:pt x="1319254" y="835407"/>
                </a:cubicBezTo>
                <a:cubicBezTo>
                  <a:pt x="1317432" y="833585"/>
                  <a:pt x="1311966" y="833585"/>
                  <a:pt x="1308321" y="831763"/>
                </a:cubicBezTo>
                <a:lnTo>
                  <a:pt x="1303231" y="836853"/>
                </a:lnTo>
                <a:lnTo>
                  <a:pt x="1301877" y="835963"/>
                </a:lnTo>
                <a:lnTo>
                  <a:pt x="1304677" y="831763"/>
                </a:lnTo>
                <a:cubicBezTo>
                  <a:pt x="1301033" y="831763"/>
                  <a:pt x="1295566" y="829941"/>
                  <a:pt x="1290100" y="829941"/>
                </a:cubicBezTo>
                <a:lnTo>
                  <a:pt x="1299940" y="836501"/>
                </a:lnTo>
                <a:lnTo>
                  <a:pt x="1298032" y="838409"/>
                </a:lnTo>
                <a:close/>
                <a:moveTo>
                  <a:pt x="681493" y="828118"/>
                </a:moveTo>
                <a:cubicBezTo>
                  <a:pt x="677849" y="829941"/>
                  <a:pt x="681493" y="831763"/>
                  <a:pt x="679671" y="831763"/>
                </a:cubicBezTo>
                <a:cubicBezTo>
                  <a:pt x="681493" y="833585"/>
                  <a:pt x="683316" y="829941"/>
                  <a:pt x="681493" y="828118"/>
                </a:cubicBezTo>
                <a:close/>
                <a:moveTo>
                  <a:pt x="663272" y="828118"/>
                </a:moveTo>
                <a:cubicBezTo>
                  <a:pt x="663272" y="829941"/>
                  <a:pt x="665094" y="831763"/>
                  <a:pt x="665094" y="833585"/>
                </a:cubicBezTo>
                <a:cubicBezTo>
                  <a:pt x="666916" y="833585"/>
                  <a:pt x="665094" y="829941"/>
                  <a:pt x="666916" y="829941"/>
                </a:cubicBezTo>
                <a:cubicBezTo>
                  <a:pt x="668738" y="829941"/>
                  <a:pt x="668738" y="831763"/>
                  <a:pt x="670560" y="833585"/>
                </a:cubicBezTo>
                <a:cubicBezTo>
                  <a:pt x="670560" y="835407"/>
                  <a:pt x="670560" y="822652"/>
                  <a:pt x="663272" y="828118"/>
                </a:cubicBezTo>
                <a:close/>
                <a:moveTo>
                  <a:pt x="501098" y="828118"/>
                </a:moveTo>
                <a:cubicBezTo>
                  <a:pt x="501098" y="829941"/>
                  <a:pt x="502920" y="831763"/>
                  <a:pt x="504743" y="833585"/>
                </a:cubicBezTo>
                <a:cubicBezTo>
                  <a:pt x="504743" y="831763"/>
                  <a:pt x="504743" y="829941"/>
                  <a:pt x="502920" y="828118"/>
                </a:cubicBezTo>
                <a:cubicBezTo>
                  <a:pt x="502920" y="828118"/>
                  <a:pt x="501098" y="828118"/>
                  <a:pt x="501098" y="828118"/>
                </a:cubicBezTo>
                <a:close/>
                <a:moveTo>
                  <a:pt x="462832" y="828118"/>
                </a:moveTo>
                <a:cubicBezTo>
                  <a:pt x="464655" y="829941"/>
                  <a:pt x="462832" y="837229"/>
                  <a:pt x="473766" y="835407"/>
                </a:cubicBezTo>
                <a:cubicBezTo>
                  <a:pt x="473766" y="831763"/>
                  <a:pt x="466478" y="829941"/>
                  <a:pt x="462832" y="828118"/>
                </a:cubicBezTo>
                <a:close/>
                <a:moveTo>
                  <a:pt x="455544" y="828118"/>
                </a:moveTo>
                <a:cubicBezTo>
                  <a:pt x="457367" y="831763"/>
                  <a:pt x="461010" y="835407"/>
                  <a:pt x="464655" y="837229"/>
                </a:cubicBezTo>
                <a:cubicBezTo>
                  <a:pt x="464655" y="833585"/>
                  <a:pt x="457367" y="828118"/>
                  <a:pt x="455544" y="828118"/>
                </a:cubicBezTo>
                <a:close/>
                <a:moveTo>
                  <a:pt x="348037" y="828118"/>
                </a:moveTo>
                <a:cubicBezTo>
                  <a:pt x="351680" y="833585"/>
                  <a:pt x="356692" y="838596"/>
                  <a:pt x="362157" y="843151"/>
                </a:cubicBezTo>
                <a:lnTo>
                  <a:pt x="366372" y="846226"/>
                </a:lnTo>
                <a:lnTo>
                  <a:pt x="366257" y="846340"/>
                </a:lnTo>
                <a:lnTo>
                  <a:pt x="366876" y="846596"/>
                </a:lnTo>
                <a:lnTo>
                  <a:pt x="379012" y="855451"/>
                </a:lnTo>
                <a:cubicBezTo>
                  <a:pt x="377190" y="853629"/>
                  <a:pt x="375823" y="851352"/>
                  <a:pt x="374002" y="849529"/>
                </a:cubicBezTo>
                <a:lnTo>
                  <a:pt x="366876" y="846596"/>
                </a:lnTo>
                <a:lnTo>
                  <a:pt x="366372" y="846226"/>
                </a:lnTo>
                <a:lnTo>
                  <a:pt x="368079" y="844518"/>
                </a:lnTo>
                <a:cubicBezTo>
                  <a:pt x="360791" y="837229"/>
                  <a:pt x="355324" y="829941"/>
                  <a:pt x="348037" y="828118"/>
                </a:cubicBezTo>
                <a:close/>
                <a:moveTo>
                  <a:pt x="3449376" y="826296"/>
                </a:moveTo>
                <a:cubicBezTo>
                  <a:pt x="3453020" y="828118"/>
                  <a:pt x="3454842" y="831763"/>
                  <a:pt x="3456664" y="833585"/>
                </a:cubicBezTo>
                <a:cubicBezTo>
                  <a:pt x="3460309" y="829941"/>
                  <a:pt x="3453020" y="826296"/>
                  <a:pt x="3449376" y="826296"/>
                </a:cubicBezTo>
                <a:close/>
                <a:moveTo>
                  <a:pt x="3110451" y="826296"/>
                </a:moveTo>
                <a:cubicBezTo>
                  <a:pt x="3108629" y="828118"/>
                  <a:pt x="3106807" y="837229"/>
                  <a:pt x="3114096" y="835407"/>
                </a:cubicBezTo>
                <a:cubicBezTo>
                  <a:pt x="3117740" y="831763"/>
                  <a:pt x="3114096" y="828118"/>
                  <a:pt x="3110451" y="826296"/>
                </a:cubicBezTo>
                <a:close/>
                <a:moveTo>
                  <a:pt x="3068541" y="826296"/>
                </a:moveTo>
                <a:cubicBezTo>
                  <a:pt x="3061253" y="828118"/>
                  <a:pt x="3063075" y="835407"/>
                  <a:pt x="3064897" y="840874"/>
                </a:cubicBezTo>
                <a:cubicBezTo>
                  <a:pt x="3066719" y="837229"/>
                  <a:pt x="3070363" y="831763"/>
                  <a:pt x="3068541" y="826296"/>
                </a:cubicBezTo>
                <a:close/>
                <a:moveTo>
                  <a:pt x="2461757" y="826296"/>
                </a:moveTo>
                <a:cubicBezTo>
                  <a:pt x="2459935" y="831763"/>
                  <a:pt x="2459935" y="837229"/>
                  <a:pt x="2463580" y="842696"/>
                </a:cubicBezTo>
                <a:cubicBezTo>
                  <a:pt x="2465402" y="844518"/>
                  <a:pt x="2467224" y="842696"/>
                  <a:pt x="2469046" y="840874"/>
                </a:cubicBezTo>
                <a:cubicBezTo>
                  <a:pt x="2469046" y="844518"/>
                  <a:pt x="2467224" y="849985"/>
                  <a:pt x="2469046" y="853629"/>
                </a:cubicBezTo>
                <a:cubicBezTo>
                  <a:pt x="2474513" y="848162"/>
                  <a:pt x="2474513" y="842696"/>
                  <a:pt x="2481801" y="842696"/>
                </a:cubicBezTo>
                <a:cubicBezTo>
                  <a:pt x="2479979" y="846340"/>
                  <a:pt x="2479979" y="849985"/>
                  <a:pt x="2479979" y="853629"/>
                </a:cubicBezTo>
                <a:cubicBezTo>
                  <a:pt x="2481801" y="851807"/>
                  <a:pt x="2481801" y="848162"/>
                  <a:pt x="2483624" y="848162"/>
                </a:cubicBezTo>
                <a:cubicBezTo>
                  <a:pt x="2487268" y="849985"/>
                  <a:pt x="2481801" y="855451"/>
                  <a:pt x="2483624" y="857273"/>
                </a:cubicBezTo>
                <a:cubicBezTo>
                  <a:pt x="2489090" y="860918"/>
                  <a:pt x="2490912" y="853629"/>
                  <a:pt x="2496379" y="851807"/>
                </a:cubicBezTo>
                <a:cubicBezTo>
                  <a:pt x="2496379" y="846340"/>
                  <a:pt x="2496379" y="840874"/>
                  <a:pt x="2496379" y="837229"/>
                </a:cubicBezTo>
                <a:lnTo>
                  <a:pt x="2485446" y="828118"/>
                </a:lnTo>
                <a:cubicBezTo>
                  <a:pt x="2467224" y="833585"/>
                  <a:pt x="2483624" y="835407"/>
                  <a:pt x="2463580" y="826296"/>
                </a:cubicBezTo>
                <a:close/>
                <a:moveTo>
                  <a:pt x="2397981" y="826296"/>
                </a:moveTo>
                <a:cubicBezTo>
                  <a:pt x="2396159" y="835407"/>
                  <a:pt x="2401626" y="835407"/>
                  <a:pt x="2401626" y="840874"/>
                </a:cubicBezTo>
                <a:cubicBezTo>
                  <a:pt x="2407092" y="840874"/>
                  <a:pt x="2410737" y="837229"/>
                  <a:pt x="2414381" y="833585"/>
                </a:cubicBezTo>
                <a:lnTo>
                  <a:pt x="2412559" y="829941"/>
                </a:lnTo>
                <a:cubicBezTo>
                  <a:pt x="2410737" y="829941"/>
                  <a:pt x="2410737" y="831763"/>
                  <a:pt x="2410737" y="831763"/>
                </a:cubicBezTo>
                <a:cubicBezTo>
                  <a:pt x="2410737" y="829941"/>
                  <a:pt x="2410737" y="828118"/>
                  <a:pt x="2410737" y="826296"/>
                </a:cubicBezTo>
                <a:lnTo>
                  <a:pt x="2407092" y="826296"/>
                </a:lnTo>
                <a:cubicBezTo>
                  <a:pt x="2405270" y="828118"/>
                  <a:pt x="2399803" y="826296"/>
                  <a:pt x="2397981" y="826296"/>
                </a:cubicBezTo>
                <a:close/>
                <a:moveTo>
                  <a:pt x="1310143" y="826296"/>
                </a:moveTo>
                <a:cubicBezTo>
                  <a:pt x="1306499" y="824474"/>
                  <a:pt x="1304677" y="826296"/>
                  <a:pt x="1302855" y="828118"/>
                </a:cubicBezTo>
                <a:cubicBezTo>
                  <a:pt x="1304677" y="829941"/>
                  <a:pt x="1306499" y="828118"/>
                  <a:pt x="1308321" y="829941"/>
                </a:cubicBezTo>
                <a:cubicBezTo>
                  <a:pt x="1310143" y="828118"/>
                  <a:pt x="1308321" y="828118"/>
                  <a:pt x="1310143" y="826296"/>
                </a:cubicBezTo>
                <a:close/>
                <a:moveTo>
                  <a:pt x="1270056" y="826296"/>
                </a:moveTo>
                <a:cubicBezTo>
                  <a:pt x="1268233" y="829941"/>
                  <a:pt x="1268233" y="831763"/>
                  <a:pt x="1262767" y="835407"/>
                </a:cubicBezTo>
                <a:cubicBezTo>
                  <a:pt x="1264589" y="839051"/>
                  <a:pt x="1262767" y="840874"/>
                  <a:pt x="1262767" y="844518"/>
                </a:cubicBezTo>
                <a:cubicBezTo>
                  <a:pt x="1268233" y="844518"/>
                  <a:pt x="1268233" y="837229"/>
                  <a:pt x="1270056" y="835407"/>
                </a:cubicBezTo>
                <a:cubicBezTo>
                  <a:pt x="1270967" y="836318"/>
                  <a:pt x="1270511" y="837229"/>
                  <a:pt x="1270055" y="838141"/>
                </a:cubicBezTo>
                <a:lnTo>
                  <a:pt x="1270056" y="840509"/>
                </a:lnTo>
                <a:lnTo>
                  <a:pt x="1264589" y="848162"/>
                </a:lnTo>
                <a:cubicBezTo>
                  <a:pt x="1270056" y="853629"/>
                  <a:pt x="1273700" y="849985"/>
                  <a:pt x="1279166" y="848162"/>
                </a:cubicBezTo>
                <a:cubicBezTo>
                  <a:pt x="1275522" y="844518"/>
                  <a:pt x="1279166" y="837229"/>
                  <a:pt x="1273700" y="835407"/>
                </a:cubicBezTo>
                <a:lnTo>
                  <a:pt x="1270388" y="840044"/>
                </a:lnTo>
                <a:lnTo>
                  <a:pt x="1273700" y="831763"/>
                </a:lnTo>
                <a:cubicBezTo>
                  <a:pt x="1271878" y="828118"/>
                  <a:pt x="1271878" y="828118"/>
                  <a:pt x="1270056" y="826296"/>
                </a:cubicBezTo>
                <a:close/>
                <a:moveTo>
                  <a:pt x="832734" y="826296"/>
                </a:moveTo>
                <a:lnTo>
                  <a:pt x="836378" y="827207"/>
                </a:lnTo>
                <a:lnTo>
                  <a:pt x="836378" y="828118"/>
                </a:lnTo>
                <a:lnTo>
                  <a:pt x="832603" y="826825"/>
                </a:lnTo>
                <a:close/>
                <a:moveTo>
                  <a:pt x="781713" y="826296"/>
                </a:moveTo>
                <a:cubicBezTo>
                  <a:pt x="778070" y="826296"/>
                  <a:pt x="781713" y="828118"/>
                  <a:pt x="779892" y="829941"/>
                </a:cubicBezTo>
                <a:cubicBezTo>
                  <a:pt x="781713" y="829941"/>
                  <a:pt x="781713" y="829941"/>
                  <a:pt x="783535" y="829941"/>
                </a:cubicBezTo>
                <a:cubicBezTo>
                  <a:pt x="783535" y="829941"/>
                  <a:pt x="783535" y="829941"/>
                  <a:pt x="783535" y="831763"/>
                </a:cubicBezTo>
                <a:lnTo>
                  <a:pt x="787230" y="835986"/>
                </a:lnTo>
                <a:lnTo>
                  <a:pt x="785357" y="835407"/>
                </a:lnTo>
                <a:cubicBezTo>
                  <a:pt x="783535" y="844518"/>
                  <a:pt x="801757" y="846340"/>
                  <a:pt x="810868" y="846340"/>
                </a:cubicBezTo>
                <a:cubicBezTo>
                  <a:pt x="809957" y="842696"/>
                  <a:pt x="805857" y="841329"/>
                  <a:pt x="800846" y="840191"/>
                </a:cubicBezTo>
                <a:lnTo>
                  <a:pt x="791257" y="837229"/>
                </a:lnTo>
                <a:lnTo>
                  <a:pt x="799935" y="837229"/>
                </a:lnTo>
                <a:cubicBezTo>
                  <a:pt x="798112" y="835407"/>
                  <a:pt x="799935" y="835407"/>
                  <a:pt x="799935" y="833585"/>
                </a:cubicBezTo>
                <a:cubicBezTo>
                  <a:pt x="796290" y="833585"/>
                  <a:pt x="790824" y="829941"/>
                  <a:pt x="785357" y="829941"/>
                </a:cubicBezTo>
                <a:cubicBezTo>
                  <a:pt x="787179" y="829941"/>
                  <a:pt x="787179" y="829941"/>
                  <a:pt x="787179" y="829941"/>
                </a:cubicBezTo>
                <a:cubicBezTo>
                  <a:pt x="785357" y="828118"/>
                  <a:pt x="781713" y="828118"/>
                  <a:pt x="781713" y="826296"/>
                </a:cubicBezTo>
                <a:close/>
                <a:moveTo>
                  <a:pt x="584919" y="826296"/>
                </a:moveTo>
                <a:cubicBezTo>
                  <a:pt x="581274" y="828118"/>
                  <a:pt x="583096" y="829941"/>
                  <a:pt x="579452" y="831763"/>
                </a:cubicBezTo>
                <a:cubicBezTo>
                  <a:pt x="584919" y="837229"/>
                  <a:pt x="588562" y="835407"/>
                  <a:pt x="592207" y="839051"/>
                </a:cubicBezTo>
                <a:cubicBezTo>
                  <a:pt x="594030" y="837229"/>
                  <a:pt x="588562" y="831763"/>
                  <a:pt x="584919" y="826296"/>
                </a:cubicBezTo>
                <a:close/>
                <a:moveTo>
                  <a:pt x="552119" y="826296"/>
                </a:moveTo>
                <a:cubicBezTo>
                  <a:pt x="552119" y="826296"/>
                  <a:pt x="550297" y="828118"/>
                  <a:pt x="550297" y="828118"/>
                </a:cubicBezTo>
                <a:cubicBezTo>
                  <a:pt x="553941" y="828118"/>
                  <a:pt x="555763" y="831763"/>
                  <a:pt x="559408" y="829941"/>
                </a:cubicBezTo>
                <a:cubicBezTo>
                  <a:pt x="559408" y="828118"/>
                  <a:pt x="553941" y="826296"/>
                  <a:pt x="552119" y="826296"/>
                </a:cubicBezTo>
                <a:close/>
                <a:moveTo>
                  <a:pt x="417278" y="826296"/>
                </a:moveTo>
                <a:cubicBezTo>
                  <a:pt x="417278" y="829941"/>
                  <a:pt x="420923" y="837229"/>
                  <a:pt x="424567" y="839051"/>
                </a:cubicBezTo>
                <a:cubicBezTo>
                  <a:pt x="426389" y="839051"/>
                  <a:pt x="420923" y="835407"/>
                  <a:pt x="422745" y="831763"/>
                </a:cubicBezTo>
                <a:cubicBezTo>
                  <a:pt x="426389" y="835407"/>
                  <a:pt x="433678" y="853629"/>
                  <a:pt x="442789" y="849985"/>
                </a:cubicBezTo>
                <a:cubicBezTo>
                  <a:pt x="439145" y="839051"/>
                  <a:pt x="426389" y="828118"/>
                  <a:pt x="417278" y="826296"/>
                </a:cubicBezTo>
                <a:close/>
                <a:moveTo>
                  <a:pt x="393590" y="826296"/>
                </a:moveTo>
                <a:cubicBezTo>
                  <a:pt x="391768" y="828118"/>
                  <a:pt x="391768" y="828118"/>
                  <a:pt x="389946" y="829941"/>
                </a:cubicBezTo>
                <a:cubicBezTo>
                  <a:pt x="393590" y="833585"/>
                  <a:pt x="400879" y="835407"/>
                  <a:pt x="402701" y="835407"/>
                </a:cubicBezTo>
                <a:cubicBezTo>
                  <a:pt x="411812" y="829941"/>
                  <a:pt x="393590" y="831763"/>
                  <a:pt x="393590" y="826296"/>
                </a:cubicBezTo>
                <a:close/>
                <a:moveTo>
                  <a:pt x="3235271" y="825841"/>
                </a:moveTo>
                <a:cubicBezTo>
                  <a:pt x="3231171" y="825385"/>
                  <a:pt x="3225249" y="826296"/>
                  <a:pt x="3221604" y="826296"/>
                </a:cubicBezTo>
                <a:cubicBezTo>
                  <a:pt x="3221604" y="833585"/>
                  <a:pt x="3230715" y="831763"/>
                  <a:pt x="3238003" y="833585"/>
                </a:cubicBezTo>
                <a:cubicBezTo>
                  <a:pt x="3241648" y="828119"/>
                  <a:pt x="3239370" y="826297"/>
                  <a:pt x="3235271" y="825841"/>
                </a:cubicBezTo>
                <a:close/>
                <a:moveTo>
                  <a:pt x="3212266" y="825613"/>
                </a:moveTo>
                <a:cubicBezTo>
                  <a:pt x="3209760" y="825841"/>
                  <a:pt x="3207027" y="826296"/>
                  <a:pt x="3205204" y="826296"/>
                </a:cubicBezTo>
                <a:cubicBezTo>
                  <a:pt x="3205204" y="831763"/>
                  <a:pt x="3217960" y="829941"/>
                  <a:pt x="3217960" y="826296"/>
                </a:cubicBezTo>
                <a:cubicBezTo>
                  <a:pt x="3217049" y="825385"/>
                  <a:pt x="3214771" y="825385"/>
                  <a:pt x="3212266" y="825613"/>
                </a:cubicBezTo>
                <a:close/>
                <a:moveTo>
                  <a:pt x="3184477" y="825613"/>
                </a:moveTo>
                <a:cubicBezTo>
                  <a:pt x="3181516" y="826296"/>
                  <a:pt x="3177872" y="827207"/>
                  <a:pt x="3174227" y="826296"/>
                </a:cubicBezTo>
                <a:cubicBezTo>
                  <a:pt x="3176050" y="835407"/>
                  <a:pt x="3185160" y="829941"/>
                  <a:pt x="3190627" y="826296"/>
                </a:cubicBezTo>
                <a:cubicBezTo>
                  <a:pt x="3189716" y="824474"/>
                  <a:pt x="3187439" y="824930"/>
                  <a:pt x="3184477" y="825613"/>
                </a:cubicBezTo>
                <a:close/>
                <a:moveTo>
                  <a:pt x="968486" y="824475"/>
                </a:moveTo>
                <a:cubicBezTo>
                  <a:pt x="963476" y="824930"/>
                  <a:pt x="959375" y="827208"/>
                  <a:pt x="960286" y="831763"/>
                </a:cubicBezTo>
                <a:cubicBezTo>
                  <a:pt x="967575" y="831763"/>
                  <a:pt x="974863" y="829941"/>
                  <a:pt x="982152" y="828118"/>
                </a:cubicBezTo>
                <a:cubicBezTo>
                  <a:pt x="979419" y="825385"/>
                  <a:pt x="973497" y="824019"/>
                  <a:pt x="968486" y="824475"/>
                </a:cubicBezTo>
                <a:close/>
                <a:moveTo>
                  <a:pt x="3338223" y="824474"/>
                </a:moveTo>
                <a:cubicBezTo>
                  <a:pt x="3338223" y="828118"/>
                  <a:pt x="3340045" y="829941"/>
                  <a:pt x="3340045" y="831763"/>
                </a:cubicBezTo>
                <a:cubicBezTo>
                  <a:pt x="3338223" y="835407"/>
                  <a:pt x="3330934" y="833585"/>
                  <a:pt x="3329112" y="831763"/>
                </a:cubicBezTo>
                <a:cubicBezTo>
                  <a:pt x="3325468" y="831763"/>
                  <a:pt x="3321824" y="835407"/>
                  <a:pt x="3321824" y="839051"/>
                </a:cubicBezTo>
                <a:cubicBezTo>
                  <a:pt x="3330934" y="837229"/>
                  <a:pt x="3323646" y="842696"/>
                  <a:pt x="3325468" y="846340"/>
                </a:cubicBezTo>
                <a:cubicBezTo>
                  <a:pt x="3334579" y="848162"/>
                  <a:pt x="3330934" y="855451"/>
                  <a:pt x="3336401" y="860918"/>
                </a:cubicBezTo>
                <a:cubicBezTo>
                  <a:pt x="3343690" y="857273"/>
                  <a:pt x="3341867" y="848162"/>
                  <a:pt x="3349156" y="844518"/>
                </a:cubicBezTo>
                <a:cubicBezTo>
                  <a:pt x="3352800" y="844518"/>
                  <a:pt x="3347334" y="853629"/>
                  <a:pt x="3350978" y="855451"/>
                </a:cubicBezTo>
                <a:cubicBezTo>
                  <a:pt x="3360089" y="851807"/>
                  <a:pt x="3371022" y="849985"/>
                  <a:pt x="3380133" y="844518"/>
                </a:cubicBezTo>
                <a:cubicBezTo>
                  <a:pt x="3374666" y="842696"/>
                  <a:pt x="3372844" y="835407"/>
                  <a:pt x="3369200" y="828118"/>
                </a:cubicBezTo>
                <a:cubicBezTo>
                  <a:pt x="3350978" y="833585"/>
                  <a:pt x="3350978" y="822652"/>
                  <a:pt x="3338223" y="824474"/>
                </a:cubicBezTo>
                <a:close/>
                <a:moveTo>
                  <a:pt x="1373920" y="824474"/>
                </a:moveTo>
                <a:cubicBezTo>
                  <a:pt x="1372097" y="826296"/>
                  <a:pt x="1372097" y="829941"/>
                  <a:pt x="1368453" y="831763"/>
                </a:cubicBezTo>
                <a:cubicBezTo>
                  <a:pt x="1368453" y="829941"/>
                  <a:pt x="1372097" y="828118"/>
                  <a:pt x="1372097" y="826296"/>
                </a:cubicBezTo>
                <a:cubicBezTo>
                  <a:pt x="1366632" y="831763"/>
                  <a:pt x="1361164" y="831763"/>
                  <a:pt x="1359342" y="833585"/>
                </a:cubicBezTo>
                <a:cubicBezTo>
                  <a:pt x="1361164" y="835407"/>
                  <a:pt x="1364809" y="835407"/>
                  <a:pt x="1366632" y="837229"/>
                </a:cubicBezTo>
                <a:cubicBezTo>
                  <a:pt x="1366632" y="835407"/>
                  <a:pt x="1368453" y="833585"/>
                  <a:pt x="1370275" y="831763"/>
                </a:cubicBezTo>
                <a:cubicBezTo>
                  <a:pt x="1372097" y="833585"/>
                  <a:pt x="1368453" y="835407"/>
                  <a:pt x="1368453" y="837229"/>
                </a:cubicBezTo>
                <a:cubicBezTo>
                  <a:pt x="1375743" y="842696"/>
                  <a:pt x="1383030" y="842696"/>
                  <a:pt x="1392141" y="842696"/>
                </a:cubicBezTo>
                <a:cubicBezTo>
                  <a:pt x="1395785" y="840874"/>
                  <a:pt x="1396241" y="837685"/>
                  <a:pt x="1396469" y="834724"/>
                </a:cubicBezTo>
                <a:lnTo>
                  <a:pt x="1399280" y="828453"/>
                </a:lnTo>
                <a:lnTo>
                  <a:pt x="1399313" y="828460"/>
                </a:lnTo>
                <a:lnTo>
                  <a:pt x="1396697" y="836091"/>
                </a:lnTo>
                <a:cubicBezTo>
                  <a:pt x="1396241" y="838596"/>
                  <a:pt x="1395785" y="840874"/>
                  <a:pt x="1393963" y="842696"/>
                </a:cubicBezTo>
                <a:cubicBezTo>
                  <a:pt x="1401252" y="844518"/>
                  <a:pt x="1414007" y="833585"/>
                  <a:pt x="1415829" y="826296"/>
                </a:cubicBezTo>
                <a:cubicBezTo>
                  <a:pt x="1414007" y="826296"/>
                  <a:pt x="1403074" y="826296"/>
                  <a:pt x="1406719" y="829941"/>
                </a:cubicBezTo>
                <a:lnTo>
                  <a:pt x="1399313" y="828460"/>
                </a:lnTo>
                <a:lnTo>
                  <a:pt x="1399430" y="828118"/>
                </a:lnTo>
                <a:lnTo>
                  <a:pt x="1399280" y="828453"/>
                </a:lnTo>
                <a:lnTo>
                  <a:pt x="1397608" y="828118"/>
                </a:lnTo>
                <a:cubicBezTo>
                  <a:pt x="1390319" y="826296"/>
                  <a:pt x="1383030" y="822652"/>
                  <a:pt x="1373920" y="824474"/>
                </a:cubicBezTo>
                <a:close/>
                <a:moveTo>
                  <a:pt x="1313788" y="824474"/>
                </a:moveTo>
                <a:cubicBezTo>
                  <a:pt x="1311966" y="824474"/>
                  <a:pt x="1311966" y="826296"/>
                  <a:pt x="1310143" y="828118"/>
                </a:cubicBezTo>
                <a:cubicBezTo>
                  <a:pt x="1311966" y="828118"/>
                  <a:pt x="1313788" y="828118"/>
                  <a:pt x="1315610" y="826296"/>
                </a:cubicBezTo>
                <a:cubicBezTo>
                  <a:pt x="1315610" y="828118"/>
                  <a:pt x="1313788" y="828118"/>
                  <a:pt x="1315610" y="829941"/>
                </a:cubicBezTo>
                <a:cubicBezTo>
                  <a:pt x="1319254" y="829941"/>
                  <a:pt x="1322899" y="829941"/>
                  <a:pt x="1326543" y="829941"/>
                </a:cubicBezTo>
                <a:cubicBezTo>
                  <a:pt x="1324721" y="831763"/>
                  <a:pt x="1322899" y="831763"/>
                  <a:pt x="1321077" y="831763"/>
                </a:cubicBezTo>
                <a:cubicBezTo>
                  <a:pt x="1321077" y="833585"/>
                  <a:pt x="1324721" y="833585"/>
                  <a:pt x="1326543" y="833585"/>
                </a:cubicBezTo>
                <a:cubicBezTo>
                  <a:pt x="1328365" y="831763"/>
                  <a:pt x="1328365" y="831763"/>
                  <a:pt x="1328365" y="829941"/>
                </a:cubicBezTo>
                <a:cubicBezTo>
                  <a:pt x="1322899" y="826296"/>
                  <a:pt x="1317432" y="826296"/>
                  <a:pt x="1313788" y="824474"/>
                </a:cubicBezTo>
                <a:close/>
                <a:moveTo>
                  <a:pt x="1126104" y="824474"/>
                </a:moveTo>
                <a:cubicBezTo>
                  <a:pt x="1124282" y="826296"/>
                  <a:pt x="1126104" y="828118"/>
                  <a:pt x="1122459" y="829941"/>
                </a:cubicBezTo>
                <a:cubicBezTo>
                  <a:pt x="1124282" y="831763"/>
                  <a:pt x="1126104" y="833585"/>
                  <a:pt x="1126104" y="835407"/>
                </a:cubicBezTo>
                <a:cubicBezTo>
                  <a:pt x="1129748" y="833585"/>
                  <a:pt x="1133393" y="833585"/>
                  <a:pt x="1137037" y="831763"/>
                </a:cubicBezTo>
                <a:cubicBezTo>
                  <a:pt x="1133393" y="829941"/>
                  <a:pt x="1129748" y="828118"/>
                  <a:pt x="1126104" y="824474"/>
                </a:cubicBezTo>
                <a:close/>
                <a:moveTo>
                  <a:pt x="1031351" y="824474"/>
                </a:moveTo>
                <a:cubicBezTo>
                  <a:pt x="1031351" y="826296"/>
                  <a:pt x="1029529" y="828118"/>
                  <a:pt x="1031351" y="829941"/>
                </a:cubicBezTo>
                <a:cubicBezTo>
                  <a:pt x="1033173" y="831763"/>
                  <a:pt x="1033173" y="828118"/>
                  <a:pt x="1034995" y="829941"/>
                </a:cubicBezTo>
                <a:cubicBezTo>
                  <a:pt x="1036818" y="828118"/>
                  <a:pt x="1033173" y="829941"/>
                  <a:pt x="1031351" y="824474"/>
                </a:cubicBezTo>
                <a:close/>
                <a:moveTo>
                  <a:pt x="1014951" y="824474"/>
                </a:moveTo>
                <a:cubicBezTo>
                  <a:pt x="1014951" y="822652"/>
                  <a:pt x="1011307" y="826296"/>
                  <a:pt x="1013129" y="828118"/>
                </a:cubicBezTo>
                <a:cubicBezTo>
                  <a:pt x="1013129" y="828118"/>
                  <a:pt x="1016774" y="826296"/>
                  <a:pt x="1014951" y="824474"/>
                </a:cubicBezTo>
                <a:close/>
                <a:moveTo>
                  <a:pt x="1009485" y="824474"/>
                </a:moveTo>
                <a:cubicBezTo>
                  <a:pt x="1005840" y="828118"/>
                  <a:pt x="998552" y="829941"/>
                  <a:pt x="996729" y="833585"/>
                </a:cubicBezTo>
                <a:cubicBezTo>
                  <a:pt x="1000374" y="835407"/>
                  <a:pt x="1013129" y="831763"/>
                  <a:pt x="1009485" y="824474"/>
                </a:cubicBezTo>
                <a:close/>
                <a:moveTo>
                  <a:pt x="994907" y="824474"/>
                </a:moveTo>
                <a:cubicBezTo>
                  <a:pt x="993085" y="826296"/>
                  <a:pt x="993085" y="828118"/>
                  <a:pt x="994907" y="829941"/>
                </a:cubicBezTo>
                <a:cubicBezTo>
                  <a:pt x="998552" y="829941"/>
                  <a:pt x="996729" y="828118"/>
                  <a:pt x="996729" y="826296"/>
                </a:cubicBezTo>
                <a:cubicBezTo>
                  <a:pt x="996729" y="824474"/>
                  <a:pt x="994907" y="826296"/>
                  <a:pt x="994907" y="824474"/>
                </a:cubicBezTo>
                <a:close/>
                <a:moveTo>
                  <a:pt x="836378" y="824474"/>
                </a:moveTo>
                <a:cubicBezTo>
                  <a:pt x="836378" y="824474"/>
                  <a:pt x="828178" y="824474"/>
                  <a:pt x="830228" y="826012"/>
                </a:cubicBezTo>
                <a:lnTo>
                  <a:pt x="832603" y="826825"/>
                </a:lnTo>
                <a:lnTo>
                  <a:pt x="830912" y="833585"/>
                </a:lnTo>
                <a:cubicBezTo>
                  <a:pt x="836378" y="833585"/>
                  <a:pt x="840022" y="833585"/>
                  <a:pt x="840022" y="828118"/>
                </a:cubicBezTo>
                <a:lnTo>
                  <a:pt x="836378" y="827207"/>
                </a:lnTo>
                <a:close/>
                <a:moveTo>
                  <a:pt x="829089" y="824474"/>
                </a:moveTo>
                <a:cubicBezTo>
                  <a:pt x="827267" y="826296"/>
                  <a:pt x="825445" y="828118"/>
                  <a:pt x="821801" y="826296"/>
                </a:cubicBezTo>
                <a:cubicBezTo>
                  <a:pt x="821801" y="826296"/>
                  <a:pt x="819979" y="828118"/>
                  <a:pt x="821801" y="829941"/>
                </a:cubicBezTo>
                <a:cubicBezTo>
                  <a:pt x="827267" y="833585"/>
                  <a:pt x="830912" y="833585"/>
                  <a:pt x="829089" y="824474"/>
                </a:cubicBezTo>
                <a:close/>
                <a:moveTo>
                  <a:pt x="758025" y="824474"/>
                </a:moveTo>
                <a:cubicBezTo>
                  <a:pt x="754380" y="826296"/>
                  <a:pt x="754380" y="828118"/>
                  <a:pt x="756203" y="828118"/>
                </a:cubicBezTo>
                <a:cubicBezTo>
                  <a:pt x="759848" y="829941"/>
                  <a:pt x="761670" y="826296"/>
                  <a:pt x="758025" y="824474"/>
                </a:cubicBezTo>
                <a:close/>
                <a:moveTo>
                  <a:pt x="752558" y="824474"/>
                </a:moveTo>
                <a:cubicBezTo>
                  <a:pt x="748914" y="826296"/>
                  <a:pt x="750737" y="826296"/>
                  <a:pt x="748914" y="828118"/>
                </a:cubicBezTo>
                <a:cubicBezTo>
                  <a:pt x="750737" y="829941"/>
                  <a:pt x="752558" y="829941"/>
                  <a:pt x="756203" y="829941"/>
                </a:cubicBezTo>
                <a:cubicBezTo>
                  <a:pt x="756203" y="828118"/>
                  <a:pt x="756203" y="824474"/>
                  <a:pt x="752558" y="824474"/>
                </a:cubicBezTo>
                <a:close/>
                <a:moveTo>
                  <a:pt x="699715" y="824474"/>
                </a:moveTo>
                <a:cubicBezTo>
                  <a:pt x="694249" y="826296"/>
                  <a:pt x="699715" y="829941"/>
                  <a:pt x="701537" y="831763"/>
                </a:cubicBezTo>
                <a:cubicBezTo>
                  <a:pt x="701537" y="828118"/>
                  <a:pt x="703359" y="828118"/>
                  <a:pt x="705182" y="826296"/>
                </a:cubicBezTo>
                <a:cubicBezTo>
                  <a:pt x="703359" y="826296"/>
                  <a:pt x="701537" y="824474"/>
                  <a:pt x="699715" y="824474"/>
                </a:cubicBezTo>
                <a:close/>
                <a:moveTo>
                  <a:pt x="586741" y="824474"/>
                </a:moveTo>
                <a:cubicBezTo>
                  <a:pt x="584919" y="828118"/>
                  <a:pt x="595852" y="831763"/>
                  <a:pt x="595852" y="835407"/>
                </a:cubicBezTo>
                <a:cubicBezTo>
                  <a:pt x="601318" y="831763"/>
                  <a:pt x="590385" y="824474"/>
                  <a:pt x="586741" y="824474"/>
                </a:cubicBezTo>
                <a:close/>
                <a:moveTo>
                  <a:pt x="266038" y="824474"/>
                </a:moveTo>
                <a:cubicBezTo>
                  <a:pt x="264216" y="824474"/>
                  <a:pt x="269682" y="829941"/>
                  <a:pt x="269682" y="828118"/>
                </a:cubicBezTo>
                <a:cubicBezTo>
                  <a:pt x="267860" y="826296"/>
                  <a:pt x="267860" y="826296"/>
                  <a:pt x="266038" y="824474"/>
                </a:cubicBezTo>
                <a:close/>
                <a:moveTo>
                  <a:pt x="3046675" y="822652"/>
                </a:moveTo>
                <a:cubicBezTo>
                  <a:pt x="3041209" y="826296"/>
                  <a:pt x="3041209" y="835407"/>
                  <a:pt x="3044853" y="839051"/>
                </a:cubicBezTo>
                <a:cubicBezTo>
                  <a:pt x="3050319" y="835407"/>
                  <a:pt x="3044853" y="828118"/>
                  <a:pt x="3046675" y="822652"/>
                </a:cubicBezTo>
                <a:close/>
                <a:moveTo>
                  <a:pt x="954819" y="822652"/>
                </a:moveTo>
                <a:cubicBezTo>
                  <a:pt x="952997" y="824474"/>
                  <a:pt x="952997" y="824474"/>
                  <a:pt x="951175" y="826296"/>
                </a:cubicBezTo>
                <a:cubicBezTo>
                  <a:pt x="951175" y="826296"/>
                  <a:pt x="952997" y="828118"/>
                  <a:pt x="952997" y="828118"/>
                </a:cubicBezTo>
                <a:cubicBezTo>
                  <a:pt x="952997" y="826296"/>
                  <a:pt x="954819" y="824474"/>
                  <a:pt x="954819" y="822652"/>
                </a:cubicBezTo>
                <a:close/>
                <a:moveTo>
                  <a:pt x="767136" y="822652"/>
                </a:moveTo>
                <a:cubicBezTo>
                  <a:pt x="761670" y="826296"/>
                  <a:pt x="763491" y="835407"/>
                  <a:pt x="759848" y="839051"/>
                </a:cubicBezTo>
                <a:cubicBezTo>
                  <a:pt x="768959" y="837229"/>
                  <a:pt x="770781" y="839051"/>
                  <a:pt x="779892" y="842696"/>
                </a:cubicBezTo>
                <a:cubicBezTo>
                  <a:pt x="781713" y="835407"/>
                  <a:pt x="772602" y="828118"/>
                  <a:pt x="767136" y="822652"/>
                </a:cubicBezTo>
                <a:close/>
                <a:moveTo>
                  <a:pt x="594030" y="822652"/>
                </a:moveTo>
                <a:cubicBezTo>
                  <a:pt x="595852" y="824474"/>
                  <a:pt x="595852" y="824474"/>
                  <a:pt x="597673" y="826296"/>
                </a:cubicBezTo>
                <a:cubicBezTo>
                  <a:pt x="599496" y="824474"/>
                  <a:pt x="599496" y="820830"/>
                  <a:pt x="594030" y="822652"/>
                </a:cubicBezTo>
                <a:close/>
                <a:moveTo>
                  <a:pt x="273327" y="822652"/>
                </a:moveTo>
                <a:lnTo>
                  <a:pt x="278810" y="829416"/>
                </a:lnTo>
                <a:lnTo>
                  <a:pt x="278793" y="829941"/>
                </a:lnTo>
                <a:cubicBezTo>
                  <a:pt x="276971" y="828118"/>
                  <a:pt x="273327" y="824474"/>
                  <a:pt x="273327" y="822652"/>
                </a:cubicBezTo>
                <a:close/>
                <a:moveTo>
                  <a:pt x="231416" y="822652"/>
                </a:moveTo>
                <a:cubicBezTo>
                  <a:pt x="229594" y="826296"/>
                  <a:pt x="236883" y="829941"/>
                  <a:pt x="238705" y="829941"/>
                </a:cubicBezTo>
                <a:cubicBezTo>
                  <a:pt x="236883" y="826296"/>
                  <a:pt x="233239" y="826296"/>
                  <a:pt x="231416" y="822652"/>
                </a:cubicBezTo>
                <a:close/>
                <a:moveTo>
                  <a:pt x="1429193" y="822456"/>
                </a:moveTo>
                <a:lnTo>
                  <a:pt x="1435241" y="823701"/>
                </a:lnTo>
                <a:lnTo>
                  <a:pt x="1433596" y="824474"/>
                </a:lnTo>
                <a:cubicBezTo>
                  <a:pt x="1430863" y="824474"/>
                  <a:pt x="1428585" y="823563"/>
                  <a:pt x="1428585" y="822652"/>
                </a:cubicBezTo>
                <a:close/>
                <a:moveTo>
                  <a:pt x="1214231" y="821658"/>
                </a:moveTo>
                <a:lnTo>
                  <a:pt x="1213568" y="822652"/>
                </a:lnTo>
                <a:lnTo>
                  <a:pt x="1213462" y="822177"/>
                </a:lnTo>
                <a:close/>
                <a:moveTo>
                  <a:pt x="536533" y="821112"/>
                </a:moveTo>
                <a:lnTo>
                  <a:pt x="536630" y="821285"/>
                </a:lnTo>
                <a:lnTo>
                  <a:pt x="536643" y="821477"/>
                </a:lnTo>
                <a:close/>
                <a:moveTo>
                  <a:pt x="3587118" y="820856"/>
                </a:moveTo>
                <a:lnTo>
                  <a:pt x="3589228" y="821058"/>
                </a:lnTo>
                <a:lnTo>
                  <a:pt x="3589609" y="821239"/>
                </a:lnTo>
                <a:close/>
                <a:moveTo>
                  <a:pt x="2379760" y="820830"/>
                </a:moveTo>
                <a:cubicBezTo>
                  <a:pt x="2385226" y="828118"/>
                  <a:pt x="2387048" y="846340"/>
                  <a:pt x="2394337" y="839051"/>
                </a:cubicBezTo>
                <a:cubicBezTo>
                  <a:pt x="2396159" y="837229"/>
                  <a:pt x="2394337" y="828118"/>
                  <a:pt x="2390693" y="824474"/>
                </a:cubicBezTo>
                <a:lnTo>
                  <a:pt x="2388871" y="824474"/>
                </a:lnTo>
                <a:cubicBezTo>
                  <a:pt x="2388871" y="824474"/>
                  <a:pt x="2387048" y="826296"/>
                  <a:pt x="2387048" y="828118"/>
                </a:cubicBezTo>
                <a:cubicBezTo>
                  <a:pt x="2385226" y="828118"/>
                  <a:pt x="2385226" y="820830"/>
                  <a:pt x="2379760" y="820830"/>
                </a:cubicBezTo>
                <a:close/>
                <a:moveTo>
                  <a:pt x="2370649" y="820830"/>
                </a:moveTo>
                <a:lnTo>
                  <a:pt x="2371965" y="830042"/>
                </a:lnTo>
                <a:lnTo>
                  <a:pt x="2370649" y="831763"/>
                </a:lnTo>
                <a:lnTo>
                  <a:pt x="2372232" y="831907"/>
                </a:lnTo>
                <a:lnTo>
                  <a:pt x="2372471" y="833585"/>
                </a:lnTo>
                <a:cubicBezTo>
                  <a:pt x="2367004" y="837229"/>
                  <a:pt x="2370649" y="828118"/>
                  <a:pt x="2365182" y="831763"/>
                </a:cubicBezTo>
                <a:cubicBezTo>
                  <a:pt x="2365182" y="837229"/>
                  <a:pt x="2365182" y="842696"/>
                  <a:pt x="2367004" y="846340"/>
                </a:cubicBezTo>
                <a:cubicBezTo>
                  <a:pt x="2368827" y="846340"/>
                  <a:pt x="2368827" y="842696"/>
                  <a:pt x="2368827" y="840874"/>
                </a:cubicBezTo>
                <a:cubicBezTo>
                  <a:pt x="2369738" y="839963"/>
                  <a:pt x="2370194" y="840874"/>
                  <a:pt x="2370649" y="841785"/>
                </a:cubicBezTo>
                <a:lnTo>
                  <a:pt x="2372289" y="842605"/>
                </a:lnTo>
                <a:lnTo>
                  <a:pt x="2370649" y="849985"/>
                </a:lnTo>
                <a:cubicBezTo>
                  <a:pt x="2370649" y="846340"/>
                  <a:pt x="2372471" y="846340"/>
                  <a:pt x="2372471" y="842696"/>
                </a:cubicBezTo>
                <a:lnTo>
                  <a:pt x="2372289" y="842605"/>
                </a:lnTo>
                <a:lnTo>
                  <a:pt x="2374293" y="833585"/>
                </a:lnTo>
                <a:cubicBezTo>
                  <a:pt x="2373382" y="833585"/>
                  <a:pt x="2373382" y="832674"/>
                  <a:pt x="2373154" y="831991"/>
                </a:cubicBezTo>
                <a:lnTo>
                  <a:pt x="2372232" y="831907"/>
                </a:lnTo>
                <a:lnTo>
                  <a:pt x="2371965" y="830042"/>
                </a:lnTo>
                <a:lnTo>
                  <a:pt x="2373610" y="827891"/>
                </a:lnTo>
                <a:cubicBezTo>
                  <a:pt x="2375204" y="828119"/>
                  <a:pt x="2377026" y="829030"/>
                  <a:pt x="2377937" y="828118"/>
                </a:cubicBezTo>
                <a:cubicBezTo>
                  <a:pt x="2377937" y="822652"/>
                  <a:pt x="2374293" y="820830"/>
                  <a:pt x="2370649" y="820830"/>
                </a:cubicBezTo>
                <a:close/>
                <a:moveTo>
                  <a:pt x="2146521" y="820830"/>
                </a:moveTo>
                <a:cubicBezTo>
                  <a:pt x="2146521" y="822652"/>
                  <a:pt x="2146521" y="824474"/>
                  <a:pt x="2146521" y="826296"/>
                </a:cubicBezTo>
                <a:cubicBezTo>
                  <a:pt x="2148344" y="826296"/>
                  <a:pt x="2148344" y="826296"/>
                  <a:pt x="2150166" y="826296"/>
                </a:cubicBezTo>
                <a:cubicBezTo>
                  <a:pt x="2150166" y="826296"/>
                  <a:pt x="2150166" y="824474"/>
                  <a:pt x="2151988" y="824474"/>
                </a:cubicBezTo>
                <a:close/>
                <a:moveTo>
                  <a:pt x="1333832" y="820830"/>
                </a:moveTo>
                <a:cubicBezTo>
                  <a:pt x="1332009" y="820830"/>
                  <a:pt x="1332009" y="824474"/>
                  <a:pt x="1330188" y="824474"/>
                </a:cubicBezTo>
                <a:cubicBezTo>
                  <a:pt x="1332009" y="826296"/>
                  <a:pt x="1332009" y="824474"/>
                  <a:pt x="1333832" y="826296"/>
                </a:cubicBezTo>
                <a:cubicBezTo>
                  <a:pt x="1335654" y="824474"/>
                  <a:pt x="1332009" y="822652"/>
                  <a:pt x="1333832" y="820830"/>
                </a:cubicBezTo>
                <a:close/>
                <a:moveTo>
                  <a:pt x="1262767" y="820830"/>
                </a:moveTo>
                <a:cubicBezTo>
                  <a:pt x="1264589" y="824474"/>
                  <a:pt x="1260945" y="826296"/>
                  <a:pt x="1260945" y="828118"/>
                </a:cubicBezTo>
                <a:cubicBezTo>
                  <a:pt x="1260945" y="829941"/>
                  <a:pt x="1262767" y="829941"/>
                  <a:pt x="1262767" y="829941"/>
                </a:cubicBezTo>
                <a:cubicBezTo>
                  <a:pt x="1262767" y="829941"/>
                  <a:pt x="1260945" y="831763"/>
                  <a:pt x="1260945" y="831763"/>
                </a:cubicBezTo>
                <a:cubicBezTo>
                  <a:pt x="1268233" y="829941"/>
                  <a:pt x="1270056" y="820830"/>
                  <a:pt x="1262767" y="820830"/>
                </a:cubicBezTo>
                <a:close/>
                <a:moveTo>
                  <a:pt x="1211747" y="820830"/>
                </a:moveTo>
                <a:cubicBezTo>
                  <a:pt x="1195346" y="826296"/>
                  <a:pt x="1180769" y="826296"/>
                  <a:pt x="1164370" y="833585"/>
                </a:cubicBezTo>
                <a:cubicBezTo>
                  <a:pt x="1177125" y="833585"/>
                  <a:pt x="1188058" y="831763"/>
                  <a:pt x="1200814" y="833585"/>
                </a:cubicBezTo>
                <a:cubicBezTo>
                  <a:pt x="1206279" y="828118"/>
                  <a:pt x="1211747" y="824474"/>
                  <a:pt x="1211747" y="820830"/>
                </a:cubicBezTo>
                <a:close/>
                <a:moveTo>
                  <a:pt x="1106060" y="820830"/>
                </a:moveTo>
                <a:cubicBezTo>
                  <a:pt x="1104238" y="820830"/>
                  <a:pt x="1104238" y="822652"/>
                  <a:pt x="1102416" y="822652"/>
                </a:cubicBezTo>
                <a:cubicBezTo>
                  <a:pt x="1102416" y="822652"/>
                  <a:pt x="1104238" y="822652"/>
                  <a:pt x="1104238" y="822652"/>
                </a:cubicBezTo>
                <a:cubicBezTo>
                  <a:pt x="1102416" y="824474"/>
                  <a:pt x="1100593" y="824474"/>
                  <a:pt x="1098771" y="824474"/>
                </a:cubicBezTo>
                <a:cubicBezTo>
                  <a:pt x="1096949" y="826296"/>
                  <a:pt x="1095127" y="828118"/>
                  <a:pt x="1095127" y="829941"/>
                </a:cubicBezTo>
                <a:cubicBezTo>
                  <a:pt x="1102416" y="829941"/>
                  <a:pt x="1113349" y="829941"/>
                  <a:pt x="1115171" y="820830"/>
                </a:cubicBezTo>
                <a:cubicBezTo>
                  <a:pt x="1111526" y="820830"/>
                  <a:pt x="1109704" y="820830"/>
                  <a:pt x="1106060" y="820830"/>
                </a:cubicBezTo>
                <a:close/>
                <a:moveTo>
                  <a:pt x="1040462" y="820830"/>
                </a:moveTo>
                <a:cubicBezTo>
                  <a:pt x="1038639" y="819008"/>
                  <a:pt x="1034995" y="820830"/>
                  <a:pt x="1033173" y="822652"/>
                </a:cubicBezTo>
                <a:cubicBezTo>
                  <a:pt x="1033173" y="824474"/>
                  <a:pt x="1034995" y="824474"/>
                  <a:pt x="1036818" y="826296"/>
                </a:cubicBezTo>
                <a:cubicBezTo>
                  <a:pt x="1038639" y="824474"/>
                  <a:pt x="1038639" y="822652"/>
                  <a:pt x="1040462" y="820830"/>
                </a:cubicBezTo>
                <a:close/>
                <a:moveTo>
                  <a:pt x="871000" y="820830"/>
                </a:moveTo>
                <a:cubicBezTo>
                  <a:pt x="871000" y="822652"/>
                  <a:pt x="871000" y="831763"/>
                  <a:pt x="876466" y="826296"/>
                </a:cubicBezTo>
                <a:cubicBezTo>
                  <a:pt x="876466" y="826296"/>
                  <a:pt x="876466" y="824474"/>
                  <a:pt x="876466" y="822652"/>
                </a:cubicBezTo>
                <a:cubicBezTo>
                  <a:pt x="874644" y="822652"/>
                  <a:pt x="872822" y="822652"/>
                  <a:pt x="871000" y="820830"/>
                </a:cubicBezTo>
                <a:close/>
                <a:moveTo>
                  <a:pt x="856422" y="820830"/>
                </a:moveTo>
                <a:cubicBezTo>
                  <a:pt x="852778" y="822652"/>
                  <a:pt x="856422" y="826296"/>
                  <a:pt x="860066" y="826296"/>
                </a:cubicBezTo>
                <a:cubicBezTo>
                  <a:pt x="861889" y="824474"/>
                  <a:pt x="860066" y="822652"/>
                  <a:pt x="860066" y="820830"/>
                </a:cubicBezTo>
                <a:cubicBezTo>
                  <a:pt x="858244" y="820830"/>
                  <a:pt x="858244" y="822652"/>
                  <a:pt x="856422" y="820830"/>
                </a:cubicBezTo>
                <a:close/>
                <a:moveTo>
                  <a:pt x="849133" y="820830"/>
                </a:moveTo>
                <a:cubicBezTo>
                  <a:pt x="847311" y="820830"/>
                  <a:pt x="845489" y="824474"/>
                  <a:pt x="845489" y="824474"/>
                </a:cubicBezTo>
                <a:cubicBezTo>
                  <a:pt x="847311" y="822652"/>
                  <a:pt x="854600" y="831763"/>
                  <a:pt x="849133" y="820830"/>
                </a:cubicBezTo>
                <a:close/>
                <a:moveTo>
                  <a:pt x="313414" y="820830"/>
                </a:moveTo>
                <a:cubicBezTo>
                  <a:pt x="315236" y="826296"/>
                  <a:pt x="320703" y="826296"/>
                  <a:pt x="324347" y="828118"/>
                </a:cubicBezTo>
                <a:cubicBezTo>
                  <a:pt x="324347" y="822652"/>
                  <a:pt x="317059" y="822652"/>
                  <a:pt x="313414" y="820830"/>
                </a:cubicBezTo>
                <a:close/>
                <a:moveTo>
                  <a:pt x="1435646" y="820375"/>
                </a:moveTo>
                <a:lnTo>
                  <a:pt x="1429193" y="822456"/>
                </a:lnTo>
                <a:lnTo>
                  <a:pt x="1421296" y="820830"/>
                </a:lnTo>
                <a:cubicBezTo>
                  <a:pt x="1421296" y="828118"/>
                  <a:pt x="1414007" y="837229"/>
                  <a:pt x="1404896" y="840874"/>
                </a:cubicBezTo>
                <a:cubicBezTo>
                  <a:pt x="1404896" y="842696"/>
                  <a:pt x="1406719" y="842696"/>
                  <a:pt x="1404896" y="844518"/>
                </a:cubicBezTo>
                <a:cubicBezTo>
                  <a:pt x="1401252" y="846340"/>
                  <a:pt x="1404896" y="842696"/>
                  <a:pt x="1403074" y="842696"/>
                </a:cubicBezTo>
                <a:cubicBezTo>
                  <a:pt x="1401252" y="844518"/>
                  <a:pt x="1401252" y="844518"/>
                  <a:pt x="1399430" y="844518"/>
                </a:cubicBezTo>
                <a:cubicBezTo>
                  <a:pt x="1399430" y="846340"/>
                  <a:pt x="1403074" y="846340"/>
                  <a:pt x="1403074" y="846340"/>
                </a:cubicBezTo>
                <a:cubicBezTo>
                  <a:pt x="1403074" y="846340"/>
                  <a:pt x="1401252" y="848162"/>
                  <a:pt x="1401252" y="848162"/>
                </a:cubicBezTo>
                <a:lnTo>
                  <a:pt x="1415235" y="847070"/>
                </a:lnTo>
                <a:lnTo>
                  <a:pt x="1414007" y="848162"/>
                </a:lnTo>
                <a:cubicBezTo>
                  <a:pt x="1412185" y="848162"/>
                  <a:pt x="1415829" y="848162"/>
                  <a:pt x="1415829" y="849985"/>
                </a:cubicBezTo>
                <a:cubicBezTo>
                  <a:pt x="1414007" y="851807"/>
                  <a:pt x="1411729" y="851807"/>
                  <a:pt x="1409452" y="851580"/>
                </a:cubicBezTo>
                <a:lnTo>
                  <a:pt x="1403974" y="851775"/>
                </a:lnTo>
                <a:lnTo>
                  <a:pt x="1397608" y="846340"/>
                </a:lnTo>
                <a:cubicBezTo>
                  <a:pt x="1390319" y="842696"/>
                  <a:pt x="1381208" y="844518"/>
                  <a:pt x="1372097" y="840874"/>
                </a:cubicBezTo>
                <a:cubicBezTo>
                  <a:pt x="1370275" y="842696"/>
                  <a:pt x="1370275" y="842696"/>
                  <a:pt x="1368453" y="844518"/>
                </a:cubicBezTo>
                <a:cubicBezTo>
                  <a:pt x="1377564" y="849985"/>
                  <a:pt x="1383030" y="857273"/>
                  <a:pt x="1390319" y="859095"/>
                </a:cubicBezTo>
                <a:cubicBezTo>
                  <a:pt x="1399430" y="860918"/>
                  <a:pt x="1410363" y="855451"/>
                  <a:pt x="1419474" y="860918"/>
                </a:cubicBezTo>
                <a:cubicBezTo>
                  <a:pt x="1428585" y="859095"/>
                  <a:pt x="1435873" y="857273"/>
                  <a:pt x="1443162" y="849985"/>
                </a:cubicBezTo>
                <a:cubicBezTo>
                  <a:pt x="1444984" y="848162"/>
                  <a:pt x="1444984" y="851807"/>
                  <a:pt x="1446806" y="849985"/>
                </a:cubicBezTo>
                <a:cubicBezTo>
                  <a:pt x="1448629" y="848162"/>
                  <a:pt x="1452273" y="848162"/>
                  <a:pt x="1450451" y="844518"/>
                </a:cubicBezTo>
                <a:cubicBezTo>
                  <a:pt x="1452273" y="844518"/>
                  <a:pt x="1450451" y="848162"/>
                  <a:pt x="1452273" y="848162"/>
                </a:cubicBezTo>
                <a:cubicBezTo>
                  <a:pt x="1454095" y="842696"/>
                  <a:pt x="1450451" y="837229"/>
                  <a:pt x="1446806" y="831763"/>
                </a:cubicBezTo>
                <a:cubicBezTo>
                  <a:pt x="1452273" y="833585"/>
                  <a:pt x="1452273" y="842696"/>
                  <a:pt x="1454095" y="846340"/>
                </a:cubicBezTo>
                <a:cubicBezTo>
                  <a:pt x="1459562" y="837229"/>
                  <a:pt x="1463206" y="829941"/>
                  <a:pt x="1470495" y="820830"/>
                </a:cubicBezTo>
                <a:cubicBezTo>
                  <a:pt x="1461384" y="824474"/>
                  <a:pt x="1452728" y="825841"/>
                  <a:pt x="1444528" y="825613"/>
                </a:cubicBezTo>
                <a:lnTo>
                  <a:pt x="1435241" y="823701"/>
                </a:lnTo>
                <a:lnTo>
                  <a:pt x="1441340" y="820830"/>
                </a:lnTo>
                <a:cubicBezTo>
                  <a:pt x="1439518" y="819008"/>
                  <a:pt x="1437696" y="819463"/>
                  <a:pt x="1435646" y="820375"/>
                </a:cubicBezTo>
                <a:close/>
                <a:moveTo>
                  <a:pt x="3529551" y="819528"/>
                </a:moveTo>
                <a:lnTo>
                  <a:pt x="3534115" y="819746"/>
                </a:lnTo>
                <a:lnTo>
                  <a:pt x="3533652" y="821058"/>
                </a:lnTo>
                <a:cubicBezTo>
                  <a:pt x="3532285" y="821286"/>
                  <a:pt x="3530463" y="820830"/>
                  <a:pt x="3529551" y="820830"/>
                </a:cubicBezTo>
                <a:close/>
                <a:moveTo>
                  <a:pt x="1144326" y="819008"/>
                </a:moveTo>
                <a:cubicBezTo>
                  <a:pt x="1142503" y="820830"/>
                  <a:pt x="1144326" y="820830"/>
                  <a:pt x="1144326" y="822652"/>
                </a:cubicBezTo>
                <a:cubicBezTo>
                  <a:pt x="1144326" y="822652"/>
                  <a:pt x="1146148" y="822652"/>
                  <a:pt x="1147970" y="820830"/>
                </a:cubicBezTo>
                <a:cubicBezTo>
                  <a:pt x="1146148" y="819008"/>
                  <a:pt x="1146148" y="820830"/>
                  <a:pt x="1144326" y="819008"/>
                </a:cubicBezTo>
                <a:close/>
                <a:moveTo>
                  <a:pt x="515676" y="819008"/>
                </a:moveTo>
                <a:cubicBezTo>
                  <a:pt x="513853" y="817185"/>
                  <a:pt x="513853" y="820830"/>
                  <a:pt x="515676" y="822652"/>
                </a:cubicBezTo>
                <a:cubicBezTo>
                  <a:pt x="519320" y="822652"/>
                  <a:pt x="513853" y="820830"/>
                  <a:pt x="515676" y="819008"/>
                </a:cubicBezTo>
                <a:close/>
                <a:moveTo>
                  <a:pt x="1293744" y="818780"/>
                </a:moveTo>
                <a:cubicBezTo>
                  <a:pt x="1289644" y="817641"/>
                  <a:pt x="1285545" y="817186"/>
                  <a:pt x="1280989" y="819008"/>
                </a:cubicBezTo>
                <a:cubicBezTo>
                  <a:pt x="1288277" y="828118"/>
                  <a:pt x="1297388" y="828118"/>
                  <a:pt x="1306499" y="822652"/>
                </a:cubicBezTo>
                <a:cubicBezTo>
                  <a:pt x="1301943" y="821741"/>
                  <a:pt x="1297844" y="819919"/>
                  <a:pt x="1293744" y="818780"/>
                </a:cubicBezTo>
                <a:close/>
                <a:moveTo>
                  <a:pt x="1217213" y="817185"/>
                </a:moveTo>
                <a:cubicBezTo>
                  <a:pt x="1215390" y="816274"/>
                  <a:pt x="1213568" y="817186"/>
                  <a:pt x="1212657" y="818552"/>
                </a:cubicBezTo>
                <a:lnTo>
                  <a:pt x="1213462" y="822177"/>
                </a:lnTo>
                <a:lnTo>
                  <a:pt x="1211747" y="823335"/>
                </a:lnTo>
                <a:cubicBezTo>
                  <a:pt x="1209468" y="826752"/>
                  <a:pt x="1207190" y="830852"/>
                  <a:pt x="1202636" y="833585"/>
                </a:cubicBezTo>
                <a:cubicBezTo>
                  <a:pt x="1211747" y="835407"/>
                  <a:pt x="1219036" y="833585"/>
                  <a:pt x="1226323" y="837229"/>
                </a:cubicBezTo>
                <a:cubicBezTo>
                  <a:pt x="1228146" y="835407"/>
                  <a:pt x="1229969" y="835407"/>
                  <a:pt x="1231790" y="833585"/>
                </a:cubicBezTo>
                <a:cubicBezTo>
                  <a:pt x="1229969" y="829941"/>
                  <a:pt x="1229969" y="828118"/>
                  <a:pt x="1228146" y="826296"/>
                </a:cubicBezTo>
                <a:cubicBezTo>
                  <a:pt x="1229969" y="824474"/>
                  <a:pt x="1231790" y="829941"/>
                  <a:pt x="1231790" y="826296"/>
                </a:cubicBezTo>
                <a:cubicBezTo>
                  <a:pt x="1233612" y="828118"/>
                  <a:pt x="1231790" y="833585"/>
                  <a:pt x="1235434" y="833585"/>
                </a:cubicBezTo>
                <a:cubicBezTo>
                  <a:pt x="1237256" y="831763"/>
                  <a:pt x="1239080" y="829941"/>
                  <a:pt x="1240901" y="828118"/>
                </a:cubicBezTo>
                <a:cubicBezTo>
                  <a:pt x="1240901" y="829941"/>
                  <a:pt x="1237256" y="831763"/>
                  <a:pt x="1239080" y="833585"/>
                </a:cubicBezTo>
                <a:cubicBezTo>
                  <a:pt x="1237256" y="835407"/>
                  <a:pt x="1233612" y="831763"/>
                  <a:pt x="1233612" y="835407"/>
                </a:cubicBezTo>
                <a:cubicBezTo>
                  <a:pt x="1233612" y="835407"/>
                  <a:pt x="1231790" y="837229"/>
                  <a:pt x="1231790" y="837229"/>
                </a:cubicBezTo>
                <a:cubicBezTo>
                  <a:pt x="1233612" y="839051"/>
                  <a:pt x="1233612" y="839051"/>
                  <a:pt x="1235434" y="837229"/>
                </a:cubicBezTo>
                <a:cubicBezTo>
                  <a:pt x="1235434" y="837229"/>
                  <a:pt x="1233612" y="835407"/>
                  <a:pt x="1233612" y="835407"/>
                </a:cubicBezTo>
                <a:cubicBezTo>
                  <a:pt x="1237256" y="839051"/>
                  <a:pt x="1239080" y="837229"/>
                  <a:pt x="1242723" y="839051"/>
                </a:cubicBezTo>
                <a:cubicBezTo>
                  <a:pt x="1240901" y="840874"/>
                  <a:pt x="1240901" y="840874"/>
                  <a:pt x="1239080" y="840874"/>
                </a:cubicBezTo>
                <a:cubicBezTo>
                  <a:pt x="1239080" y="842696"/>
                  <a:pt x="1242723" y="844518"/>
                  <a:pt x="1242723" y="846340"/>
                </a:cubicBezTo>
                <a:lnTo>
                  <a:pt x="1246783" y="844310"/>
                </a:lnTo>
                <a:lnTo>
                  <a:pt x="1247233" y="848024"/>
                </a:lnTo>
                <a:lnTo>
                  <a:pt x="1242723" y="851807"/>
                </a:lnTo>
                <a:cubicBezTo>
                  <a:pt x="1245456" y="852718"/>
                  <a:pt x="1246823" y="850896"/>
                  <a:pt x="1247279" y="848391"/>
                </a:cubicBezTo>
                <a:lnTo>
                  <a:pt x="1247233" y="848024"/>
                </a:lnTo>
                <a:lnTo>
                  <a:pt x="1249784" y="845885"/>
                </a:lnTo>
                <a:cubicBezTo>
                  <a:pt x="1251378" y="844518"/>
                  <a:pt x="1251834" y="843607"/>
                  <a:pt x="1250012" y="842696"/>
                </a:cubicBezTo>
                <a:cubicBezTo>
                  <a:pt x="1253656" y="839963"/>
                  <a:pt x="1254111" y="835863"/>
                  <a:pt x="1253200" y="831991"/>
                </a:cubicBezTo>
                <a:lnTo>
                  <a:pt x="1248941" y="824054"/>
                </a:lnTo>
                <a:lnTo>
                  <a:pt x="1250012" y="824474"/>
                </a:lnTo>
                <a:lnTo>
                  <a:pt x="1248793" y="823778"/>
                </a:lnTo>
                <a:lnTo>
                  <a:pt x="1248189" y="822652"/>
                </a:lnTo>
                <a:cubicBezTo>
                  <a:pt x="1247279" y="823563"/>
                  <a:pt x="1247735" y="823563"/>
                  <a:pt x="1248417" y="823563"/>
                </a:cubicBezTo>
                <a:lnTo>
                  <a:pt x="1248793" y="823778"/>
                </a:lnTo>
                <a:lnTo>
                  <a:pt x="1248941" y="824054"/>
                </a:lnTo>
                <a:lnTo>
                  <a:pt x="1237256" y="819463"/>
                </a:lnTo>
                <a:cubicBezTo>
                  <a:pt x="1232701" y="817186"/>
                  <a:pt x="1228145" y="815363"/>
                  <a:pt x="1224501" y="817185"/>
                </a:cubicBezTo>
                <a:cubicBezTo>
                  <a:pt x="1222679" y="817185"/>
                  <a:pt x="1224501" y="819008"/>
                  <a:pt x="1220858" y="817185"/>
                </a:cubicBezTo>
                <a:lnTo>
                  <a:pt x="1214231" y="821658"/>
                </a:lnTo>
                <a:close/>
                <a:moveTo>
                  <a:pt x="996729" y="817185"/>
                </a:moveTo>
                <a:cubicBezTo>
                  <a:pt x="996729" y="819008"/>
                  <a:pt x="994907" y="820830"/>
                  <a:pt x="994907" y="822652"/>
                </a:cubicBezTo>
                <a:cubicBezTo>
                  <a:pt x="998552" y="824474"/>
                  <a:pt x="1000374" y="826296"/>
                  <a:pt x="1000374" y="824474"/>
                </a:cubicBezTo>
                <a:cubicBezTo>
                  <a:pt x="1000374" y="820830"/>
                  <a:pt x="1000374" y="817185"/>
                  <a:pt x="996729" y="817185"/>
                </a:cubicBezTo>
                <a:close/>
                <a:moveTo>
                  <a:pt x="843667" y="817185"/>
                </a:moveTo>
                <a:cubicBezTo>
                  <a:pt x="840022" y="819008"/>
                  <a:pt x="840022" y="819008"/>
                  <a:pt x="840022" y="820830"/>
                </a:cubicBezTo>
                <a:cubicBezTo>
                  <a:pt x="841845" y="820830"/>
                  <a:pt x="847311" y="819008"/>
                  <a:pt x="843667" y="817185"/>
                </a:cubicBezTo>
                <a:close/>
                <a:moveTo>
                  <a:pt x="657805" y="817185"/>
                </a:moveTo>
                <a:cubicBezTo>
                  <a:pt x="655983" y="819008"/>
                  <a:pt x="655983" y="817185"/>
                  <a:pt x="654161" y="819008"/>
                </a:cubicBezTo>
                <a:cubicBezTo>
                  <a:pt x="657805" y="819008"/>
                  <a:pt x="659627" y="820830"/>
                  <a:pt x="661449" y="819008"/>
                </a:cubicBezTo>
                <a:cubicBezTo>
                  <a:pt x="659627" y="819008"/>
                  <a:pt x="659627" y="817185"/>
                  <a:pt x="657805" y="817185"/>
                </a:cubicBezTo>
                <a:close/>
                <a:moveTo>
                  <a:pt x="448256" y="817185"/>
                </a:moveTo>
                <a:cubicBezTo>
                  <a:pt x="453722" y="820830"/>
                  <a:pt x="464655" y="829941"/>
                  <a:pt x="468299" y="826296"/>
                </a:cubicBezTo>
                <a:cubicBezTo>
                  <a:pt x="462832" y="822652"/>
                  <a:pt x="455544" y="817185"/>
                  <a:pt x="448256" y="817185"/>
                </a:cubicBezTo>
                <a:close/>
                <a:moveTo>
                  <a:pt x="431856" y="817185"/>
                </a:moveTo>
                <a:cubicBezTo>
                  <a:pt x="431856" y="820830"/>
                  <a:pt x="439145" y="824474"/>
                  <a:pt x="442789" y="828118"/>
                </a:cubicBezTo>
                <a:cubicBezTo>
                  <a:pt x="446433" y="824474"/>
                  <a:pt x="437322" y="817185"/>
                  <a:pt x="431856" y="817185"/>
                </a:cubicBezTo>
                <a:close/>
                <a:moveTo>
                  <a:pt x="298837" y="817185"/>
                </a:moveTo>
                <a:cubicBezTo>
                  <a:pt x="300660" y="824474"/>
                  <a:pt x="309771" y="831763"/>
                  <a:pt x="315236" y="835407"/>
                </a:cubicBezTo>
                <a:cubicBezTo>
                  <a:pt x="315236" y="831763"/>
                  <a:pt x="304303" y="813541"/>
                  <a:pt x="298837" y="817185"/>
                </a:cubicBezTo>
                <a:close/>
                <a:moveTo>
                  <a:pt x="275149" y="817185"/>
                </a:moveTo>
                <a:cubicBezTo>
                  <a:pt x="271504" y="819008"/>
                  <a:pt x="269682" y="817185"/>
                  <a:pt x="266038" y="819008"/>
                </a:cubicBezTo>
                <a:cubicBezTo>
                  <a:pt x="271504" y="826296"/>
                  <a:pt x="275149" y="835407"/>
                  <a:pt x="284259" y="840874"/>
                </a:cubicBezTo>
                <a:cubicBezTo>
                  <a:pt x="286081" y="836319"/>
                  <a:pt x="283348" y="833586"/>
                  <a:pt x="280159" y="831080"/>
                </a:cubicBezTo>
                <a:lnTo>
                  <a:pt x="278810" y="829416"/>
                </a:lnTo>
                <a:lnTo>
                  <a:pt x="279021" y="822880"/>
                </a:lnTo>
                <a:cubicBezTo>
                  <a:pt x="277882" y="820830"/>
                  <a:pt x="276060" y="819008"/>
                  <a:pt x="275149" y="817185"/>
                </a:cubicBezTo>
                <a:close/>
                <a:moveTo>
                  <a:pt x="671321" y="816814"/>
                </a:moveTo>
                <a:lnTo>
                  <a:pt x="672383" y="817185"/>
                </a:lnTo>
                <a:lnTo>
                  <a:pt x="671644" y="817924"/>
                </a:lnTo>
                <a:lnTo>
                  <a:pt x="671244" y="817186"/>
                </a:lnTo>
                <a:close/>
                <a:moveTo>
                  <a:pt x="3489463" y="815363"/>
                </a:moveTo>
                <a:cubicBezTo>
                  <a:pt x="3487641" y="819008"/>
                  <a:pt x="3493108" y="817185"/>
                  <a:pt x="3493108" y="819008"/>
                </a:cubicBezTo>
                <a:lnTo>
                  <a:pt x="3488601" y="819204"/>
                </a:lnTo>
                <a:lnTo>
                  <a:pt x="3488330" y="818118"/>
                </a:lnTo>
                <a:close/>
                <a:moveTo>
                  <a:pt x="3418399" y="815363"/>
                </a:moveTo>
                <a:cubicBezTo>
                  <a:pt x="3420221" y="817185"/>
                  <a:pt x="3420221" y="820830"/>
                  <a:pt x="3422043" y="822652"/>
                </a:cubicBezTo>
                <a:cubicBezTo>
                  <a:pt x="3423865" y="820830"/>
                  <a:pt x="3422043" y="817185"/>
                  <a:pt x="3423865" y="815363"/>
                </a:cubicBezTo>
                <a:cubicBezTo>
                  <a:pt x="3422043" y="815363"/>
                  <a:pt x="3420221" y="815363"/>
                  <a:pt x="3418399" y="815363"/>
                </a:cubicBezTo>
                <a:close/>
                <a:moveTo>
                  <a:pt x="3394710" y="815363"/>
                </a:moveTo>
                <a:cubicBezTo>
                  <a:pt x="3391066" y="820830"/>
                  <a:pt x="3407466" y="822652"/>
                  <a:pt x="3411110" y="820830"/>
                </a:cubicBezTo>
                <a:cubicBezTo>
                  <a:pt x="3407466" y="817185"/>
                  <a:pt x="3398355" y="819008"/>
                  <a:pt x="3394710" y="815363"/>
                </a:cubicBezTo>
                <a:close/>
                <a:moveTo>
                  <a:pt x="1330188" y="815363"/>
                </a:moveTo>
                <a:cubicBezTo>
                  <a:pt x="1326543" y="815363"/>
                  <a:pt x="1322899" y="819008"/>
                  <a:pt x="1319254" y="819008"/>
                </a:cubicBezTo>
                <a:cubicBezTo>
                  <a:pt x="1319254" y="822652"/>
                  <a:pt x="1326543" y="822652"/>
                  <a:pt x="1328365" y="824474"/>
                </a:cubicBezTo>
                <a:cubicBezTo>
                  <a:pt x="1330188" y="822652"/>
                  <a:pt x="1330188" y="819008"/>
                  <a:pt x="1330188" y="815363"/>
                </a:cubicBezTo>
                <a:close/>
                <a:moveTo>
                  <a:pt x="1262767" y="815363"/>
                </a:moveTo>
                <a:cubicBezTo>
                  <a:pt x="1262767" y="815363"/>
                  <a:pt x="1260945" y="817185"/>
                  <a:pt x="1260945" y="817185"/>
                </a:cubicBezTo>
                <a:cubicBezTo>
                  <a:pt x="1262767" y="820830"/>
                  <a:pt x="1264589" y="819008"/>
                  <a:pt x="1268233" y="820830"/>
                </a:cubicBezTo>
                <a:cubicBezTo>
                  <a:pt x="1268233" y="819008"/>
                  <a:pt x="1264589" y="815363"/>
                  <a:pt x="1262767" y="815363"/>
                </a:cubicBezTo>
                <a:close/>
                <a:moveTo>
                  <a:pt x="1014951" y="815363"/>
                </a:moveTo>
                <a:cubicBezTo>
                  <a:pt x="1013129" y="817185"/>
                  <a:pt x="1013129" y="819008"/>
                  <a:pt x="1014951" y="820830"/>
                </a:cubicBezTo>
                <a:cubicBezTo>
                  <a:pt x="1016774" y="820830"/>
                  <a:pt x="1018596" y="822652"/>
                  <a:pt x="1020418" y="822652"/>
                </a:cubicBezTo>
                <a:cubicBezTo>
                  <a:pt x="1022240" y="820830"/>
                  <a:pt x="1024062" y="820830"/>
                  <a:pt x="1024062" y="819008"/>
                </a:cubicBezTo>
                <a:cubicBezTo>
                  <a:pt x="1020418" y="815363"/>
                  <a:pt x="1016774" y="817185"/>
                  <a:pt x="1014951" y="820830"/>
                </a:cubicBezTo>
                <a:cubicBezTo>
                  <a:pt x="1014951" y="819008"/>
                  <a:pt x="1014951" y="819008"/>
                  <a:pt x="1016774" y="819008"/>
                </a:cubicBezTo>
                <a:cubicBezTo>
                  <a:pt x="1016774" y="817185"/>
                  <a:pt x="1014951" y="817185"/>
                  <a:pt x="1014951" y="815363"/>
                </a:cubicBezTo>
                <a:close/>
                <a:moveTo>
                  <a:pt x="781713" y="815363"/>
                </a:moveTo>
                <a:cubicBezTo>
                  <a:pt x="778070" y="824474"/>
                  <a:pt x="787179" y="822652"/>
                  <a:pt x="790824" y="828118"/>
                </a:cubicBezTo>
                <a:cubicBezTo>
                  <a:pt x="790824" y="828118"/>
                  <a:pt x="790824" y="826296"/>
                  <a:pt x="790824" y="826296"/>
                </a:cubicBezTo>
                <a:cubicBezTo>
                  <a:pt x="792646" y="829941"/>
                  <a:pt x="794468" y="829941"/>
                  <a:pt x="796290" y="829941"/>
                </a:cubicBezTo>
                <a:lnTo>
                  <a:pt x="799935" y="829941"/>
                </a:lnTo>
                <a:cubicBezTo>
                  <a:pt x="801757" y="829941"/>
                  <a:pt x="801757" y="828118"/>
                  <a:pt x="803579" y="828118"/>
                </a:cubicBezTo>
                <a:cubicBezTo>
                  <a:pt x="799935" y="819008"/>
                  <a:pt x="789003" y="819008"/>
                  <a:pt x="781713" y="815363"/>
                </a:cubicBezTo>
                <a:close/>
                <a:moveTo>
                  <a:pt x="750737" y="815363"/>
                </a:moveTo>
                <a:cubicBezTo>
                  <a:pt x="747092" y="815363"/>
                  <a:pt x="743447" y="819008"/>
                  <a:pt x="741626" y="822652"/>
                </a:cubicBezTo>
                <a:cubicBezTo>
                  <a:pt x="745269" y="824474"/>
                  <a:pt x="747092" y="824474"/>
                  <a:pt x="747092" y="826296"/>
                </a:cubicBezTo>
                <a:cubicBezTo>
                  <a:pt x="748914" y="824474"/>
                  <a:pt x="750737" y="822652"/>
                  <a:pt x="750737" y="819008"/>
                </a:cubicBezTo>
                <a:cubicBezTo>
                  <a:pt x="750737" y="817185"/>
                  <a:pt x="750737" y="817185"/>
                  <a:pt x="750737" y="815363"/>
                </a:cubicBezTo>
                <a:close/>
                <a:moveTo>
                  <a:pt x="564874" y="815363"/>
                </a:moveTo>
                <a:cubicBezTo>
                  <a:pt x="563052" y="819008"/>
                  <a:pt x="566697" y="822652"/>
                  <a:pt x="568519" y="824474"/>
                </a:cubicBezTo>
                <a:cubicBezTo>
                  <a:pt x="570341" y="822652"/>
                  <a:pt x="568519" y="819008"/>
                  <a:pt x="566697" y="815363"/>
                </a:cubicBezTo>
                <a:cubicBezTo>
                  <a:pt x="566697" y="815363"/>
                  <a:pt x="564874" y="815363"/>
                  <a:pt x="564874" y="815363"/>
                </a:cubicBezTo>
                <a:close/>
                <a:moveTo>
                  <a:pt x="333458" y="815363"/>
                </a:moveTo>
                <a:cubicBezTo>
                  <a:pt x="329814" y="813541"/>
                  <a:pt x="333458" y="819008"/>
                  <a:pt x="335280" y="820830"/>
                </a:cubicBezTo>
                <a:cubicBezTo>
                  <a:pt x="337102" y="820830"/>
                  <a:pt x="331636" y="817185"/>
                  <a:pt x="333458" y="815363"/>
                </a:cubicBezTo>
                <a:close/>
                <a:moveTo>
                  <a:pt x="3329568" y="814680"/>
                </a:moveTo>
                <a:cubicBezTo>
                  <a:pt x="3327746" y="814908"/>
                  <a:pt x="3325468" y="815363"/>
                  <a:pt x="3323646" y="815363"/>
                </a:cubicBezTo>
                <a:cubicBezTo>
                  <a:pt x="3323646" y="820830"/>
                  <a:pt x="3330934" y="817185"/>
                  <a:pt x="3332756" y="815363"/>
                </a:cubicBezTo>
                <a:cubicBezTo>
                  <a:pt x="3332756" y="814452"/>
                  <a:pt x="3331390" y="814452"/>
                  <a:pt x="3329568" y="814680"/>
                </a:cubicBezTo>
                <a:close/>
                <a:moveTo>
                  <a:pt x="1246823" y="814453"/>
                </a:moveTo>
                <a:cubicBezTo>
                  <a:pt x="1243634" y="813997"/>
                  <a:pt x="1239989" y="814452"/>
                  <a:pt x="1237256" y="815363"/>
                </a:cubicBezTo>
                <a:cubicBezTo>
                  <a:pt x="1240901" y="817185"/>
                  <a:pt x="1246367" y="819008"/>
                  <a:pt x="1253656" y="819008"/>
                </a:cubicBezTo>
                <a:cubicBezTo>
                  <a:pt x="1252745" y="816275"/>
                  <a:pt x="1250012" y="814908"/>
                  <a:pt x="1246823" y="814453"/>
                </a:cubicBezTo>
                <a:close/>
                <a:moveTo>
                  <a:pt x="2614820" y="813541"/>
                </a:moveTo>
                <a:cubicBezTo>
                  <a:pt x="2609353" y="811719"/>
                  <a:pt x="2611176" y="826296"/>
                  <a:pt x="2614820" y="824474"/>
                </a:cubicBezTo>
                <a:cubicBezTo>
                  <a:pt x="2618464" y="820830"/>
                  <a:pt x="2614820" y="817185"/>
                  <a:pt x="2614820" y="813541"/>
                </a:cubicBezTo>
                <a:close/>
                <a:moveTo>
                  <a:pt x="1133393" y="813541"/>
                </a:moveTo>
                <a:cubicBezTo>
                  <a:pt x="1129748" y="813541"/>
                  <a:pt x="1131570" y="819008"/>
                  <a:pt x="1127926" y="817185"/>
                </a:cubicBezTo>
                <a:cubicBezTo>
                  <a:pt x="1126104" y="817185"/>
                  <a:pt x="1127926" y="819008"/>
                  <a:pt x="1126104" y="819008"/>
                </a:cubicBezTo>
                <a:cubicBezTo>
                  <a:pt x="1127926" y="820830"/>
                  <a:pt x="1129748" y="822652"/>
                  <a:pt x="1131570" y="820830"/>
                </a:cubicBezTo>
                <a:cubicBezTo>
                  <a:pt x="1129748" y="826296"/>
                  <a:pt x="1138859" y="826296"/>
                  <a:pt x="1140681" y="826296"/>
                </a:cubicBezTo>
                <a:cubicBezTo>
                  <a:pt x="1144326" y="824474"/>
                  <a:pt x="1135215" y="820830"/>
                  <a:pt x="1138859" y="819008"/>
                </a:cubicBezTo>
                <a:cubicBezTo>
                  <a:pt x="1138859" y="819008"/>
                  <a:pt x="1137037" y="820830"/>
                  <a:pt x="1135215" y="820830"/>
                </a:cubicBezTo>
                <a:cubicBezTo>
                  <a:pt x="1137037" y="819008"/>
                  <a:pt x="1133393" y="817185"/>
                  <a:pt x="1131570" y="817185"/>
                </a:cubicBezTo>
                <a:cubicBezTo>
                  <a:pt x="1131570" y="815363"/>
                  <a:pt x="1137037" y="815363"/>
                  <a:pt x="1133393" y="813541"/>
                </a:cubicBezTo>
                <a:close/>
                <a:moveTo>
                  <a:pt x="767136" y="813541"/>
                </a:moveTo>
                <a:cubicBezTo>
                  <a:pt x="765313" y="815363"/>
                  <a:pt x="768959" y="817185"/>
                  <a:pt x="765313" y="819008"/>
                </a:cubicBezTo>
                <a:cubicBezTo>
                  <a:pt x="770781" y="822652"/>
                  <a:pt x="772602" y="828118"/>
                  <a:pt x="778070" y="828118"/>
                </a:cubicBezTo>
                <a:cubicBezTo>
                  <a:pt x="779892" y="822652"/>
                  <a:pt x="776246" y="819008"/>
                  <a:pt x="776246" y="815363"/>
                </a:cubicBezTo>
                <a:cubicBezTo>
                  <a:pt x="772602" y="811719"/>
                  <a:pt x="768959" y="815363"/>
                  <a:pt x="767136" y="813541"/>
                </a:cubicBezTo>
                <a:close/>
                <a:moveTo>
                  <a:pt x="754380" y="813541"/>
                </a:moveTo>
                <a:cubicBezTo>
                  <a:pt x="754380" y="819008"/>
                  <a:pt x="756203" y="822652"/>
                  <a:pt x="759848" y="824474"/>
                </a:cubicBezTo>
                <a:cubicBezTo>
                  <a:pt x="763491" y="822652"/>
                  <a:pt x="761670" y="820830"/>
                  <a:pt x="763491" y="819008"/>
                </a:cubicBezTo>
                <a:cubicBezTo>
                  <a:pt x="761670" y="817185"/>
                  <a:pt x="758025" y="815363"/>
                  <a:pt x="754380" y="813541"/>
                </a:cubicBezTo>
                <a:close/>
                <a:moveTo>
                  <a:pt x="568519" y="813541"/>
                </a:moveTo>
                <a:cubicBezTo>
                  <a:pt x="570341" y="817185"/>
                  <a:pt x="570341" y="819008"/>
                  <a:pt x="572163" y="824474"/>
                </a:cubicBezTo>
                <a:cubicBezTo>
                  <a:pt x="573985" y="822652"/>
                  <a:pt x="573985" y="819008"/>
                  <a:pt x="573985" y="817185"/>
                </a:cubicBezTo>
                <a:cubicBezTo>
                  <a:pt x="570341" y="815363"/>
                  <a:pt x="572163" y="815363"/>
                  <a:pt x="568519" y="813541"/>
                </a:cubicBezTo>
                <a:close/>
                <a:moveTo>
                  <a:pt x="335280" y="813541"/>
                </a:moveTo>
                <a:cubicBezTo>
                  <a:pt x="333458" y="815363"/>
                  <a:pt x="337102" y="819008"/>
                  <a:pt x="338926" y="820830"/>
                </a:cubicBezTo>
                <a:cubicBezTo>
                  <a:pt x="340747" y="819008"/>
                  <a:pt x="338926" y="817185"/>
                  <a:pt x="337102" y="813541"/>
                </a:cubicBezTo>
                <a:cubicBezTo>
                  <a:pt x="335280" y="813541"/>
                  <a:pt x="335280" y="813541"/>
                  <a:pt x="335280" y="813541"/>
                </a:cubicBezTo>
                <a:close/>
                <a:moveTo>
                  <a:pt x="409960" y="813534"/>
                </a:moveTo>
                <a:lnTo>
                  <a:pt x="409989" y="813541"/>
                </a:lnTo>
                <a:lnTo>
                  <a:pt x="409962" y="813536"/>
                </a:lnTo>
                <a:close/>
                <a:moveTo>
                  <a:pt x="409939" y="813490"/>
                </a:moveTo>
                <a:lnTo>
                  <a:pt x="409989" y="813541"/>
                </a:lnTo>
                <a:lnTo>
                  <a:pt x="409948" y="813508"/>
                </a:lnTo>
                <a:close/>
                <a:moveTo>
                  <a:pt x="2585665" y="811719"/>
                </a:moveTo>
                <a:cubicBezTo>
                  <a:pt x="2582021" y="811719"/>
                  <a:pt x="2585665" y="817185"/>
                  <a:pt x="2587487" y="819008"/>
                </a:cubicBezTo>
                <a:cubicBezTo>
                  <a:pt x="2587487" y="815363"/>
                  <a:pt x="2585665" y="813541"/>
                  <a:pt x="2585665" y="811719"/>
                </a:cubicBezTo>
                <a:close/>
                <a:moveTo>
                  <a:pt x="2582021" y="811719"/>
                </a:moveTo>
                <a:cubicBezTo>
                  <a:pt x="2578377" y="811719"/>
                  <a:pt x="2578377" y="817185"/>
                  <a:pt x="2574732" y="817185"/>
                </a:cubicBezTo>
                <a:cubicBezTo>
                  <a:pt x="2574732" y="824474"/>
                  <a:pt x="2580199" y="826296"/>
                  <a:pt x="2583843" y="829941"/>
                </a:cubicBezTo>
                <a:cubicBezTo>
                  <a:pt x="2587487" y="824474"/>
                  <a:pt x="2583843" y="817185"/>
                  <a:pt x="2582021" y="811719"/>
                </a:cubicBezTo>
                <a:close/>
                <a:moveTo>
                  <a:pt x="699715" y="811719"/>
                </a:moveTo>
                <a:cubicBezTo>
                  <a:pt x="699715" y="813541"/>
                  <a:pt x="699715" y="817185"/>
                  <a:pt x="703359" y="815363"/>
                </a:cubicBezTo>
                <a:cubicBezTo>
                  <a:pt x="705182" y="815363"/>
                  <a:pt x="703359" y="813541"/>
                  <a:pt x="703359" y="811719"/>
                </a:cubicBezTo>
                <a:cubicBezTo>
                  <a:pt x="701537" y="809897"/>
                  <a:pt x="699715" y="813541"/>
                  <a:pt x="699715" y="811719"/>
                </a:cubicBezTo>
                <a:close/>
                <a:moveTo>
                  <a:pt x="672383" y="811719"/>
                </a:moveTo>
                <a:lnTo>
                  <a:pt x="671321" y="816814"/>
                </a:lnTo>
                <a:lnTo>
                  <a:pt x="666688" y="815193"/>
                </a:lnTo>
                <a:cubicBezTo>
                  <a:pt x="664296" y="815022"/>
                  <a:pt x="670104" y="819464"/>
                  <a:pt x="668738" y="820830"/>
                </a:cubicBezTo>
                <a:cubicBezTo>
                  <a:pt x="670560" y="820830"/>
                  <a:pt x="670560" y="819919"/>
                  <a:pt x="670560" y="819008"/>
                </a:cubicBezTo>
                <a:lnTo>
                  <a:pt x="671644" y="817924"/>
                </a:lnTo>
                <a:lnTo>
                  <a:pt x="674205" y="822652"/>
                </a:lnTo>
                <a:cubicBezTo>
                  <a:pt x="674205" y="819008"/>
                  <a:pt x="676027" y="815363"/>
                  <a:pt x="672383" y="811719"/>
                </a:cubicBezTo>
                <a:close/>
                <a:moveTo>
                  <a:pt x="594030" y="811719"/>
                </a:moveTo>
                <a:cubicBezTo>
                  <a:pt x="592207" y="811719"/>
                  <a:pt x="592207" y="813541"/>
                  <a:pt x="592207" y="815363"/>
                </a:cubicBezTo>
                <a:cubicBezTo>
                  <a:pt x="592207" y="817185"/>
                  <a:pt x="594030" y="813541"/>
                  <a:pt x="595852" y="815363"/>
                </a:cubicBezTo>
                <a:cubicBezTo>
                  <a:pt x="597673" y="813541"/>
                  <a:pt x="595852" y="813541"/>
                  <a:pt x="594030" y="811719"/>
                </a:cubicBezTo>
                <a:close/>
                <a:moveTo>
                  <a:pt x="3078791" y="811264"/>
                </a:moveTo>
                <a:cubicBezTo>
                  <a:pt x="3076286" y="810352"/>
                  <a:pt x="3073097" y="811719"/>
                  <a:pt x="3070363" y="815363"/>
                </a:cubicBezTo>
                <a:cubicBezTo>
                  <a:pt x="3066719" y="817185"/>
                  <a:pt x="3079474" y="820830"/>
                  <a:pt x="3074008" y="829941"/>
                </a:cubicBezTo>
                <a:cubicBezTo>
                  <a:pt x="3072186" y="829941"/>
                  <a:pt x="3074008" y="824474"/>
                  <a:pt x="3068541" y="824474"/>
                </a:cubicBezTo>
                <a:cubicBezTo>
                  <a:pt x="3070363" y="828118"/>
                  <a:pt x="3074008" y="829941"/>
                  <a:pt x="3072186" y="837229"/>
                </a:cubicBezTo>
                <a:cubicBezTo>
                  <a:pt x="3079474" y="839051"/>
                  <a:pt x="3077652" y="829941"/>
                  <a:pt x="3081297" y="826296"/>
                </a:cubicBezTo>
                <a:cubicBezTo>
                  <a:pt x="3083119" y="826296"/>
                  <a:pt x="3083119" y="826296"/>
                  <a:pt x="3084941" y="828118"/>
                </a:cubicBezTo>
                <a:cubicBezTo>
                  <a:pt x="3084941" y="824474"/>
                  <a:pt x="3084941" y="820830"/>
                  <a:pt x="3084941" y="817185"/>
                </a:cubicBezTo>
                <a:cubicBezTo>
                  <a:pt x="3083119" y="819008"/>
                  <a:pt x="3083119" y="819008"/>
                  <a:pt x="3083119" y="820830"/>
                </a:cubicBezTo>
                <a:cubicBezTo>
                  <a:pt x="3083119" y="815364"/>
                  <a:pt x="3081297" y="812175"/>
                  <a:pt x="3078791" y="811264"/>
                </a:cubicBezTo>
                <a:close/>
                <a:moveTo>
                  <a:pt x="2609353" y="809897"/>
                </a:moveTo>
                <a:cubicBezTo>
                  <a:pt x="2603887" y="811719"/>
                  <a:pt x="2605709" y="819008"/>
                  <a:pt x="2607531" y="822652"/>
                </a:cubicBezTo>
                <a:cubicBezTo>
                  <a:pt x="2611176" y="822652"/>
                  <a:pt x="2609353" y="815363"/>
                  <a:pt x="2609353" y="809897"/>
                </a:cubicBezTo>
                <a:close/>
                <a:moveTo>
                  <a:pt x="2596598" y="809897"/>
                </a:moveTo>
                <a:cubicBezTo>
                  <a:pt x="2591132" y="809897"/>
                  <a:pt x="2589310" y="817185"/>
                  <a:pt x="2592954" y="822652"/>
                </a:cubicBezTo>
                <a:cubicBezTo>
                  <a:pt x="2596598" y="819008"/>
                  <a:pt x="2592954" y="817185"/>
                  <a:pt x="2600243" y="819008"/>
                </a:cubicBezTo>
                <a:cubicBezTo>
                  <a:pt x="2600243" y="815363"/>
                  <a:pt x="2598421" y="811719"/>
                  <a:pt x="2596598" y="809897"/>
                </a:cubicBezTo>
                <a:close/>
                <a:moveTo>
                  <a:pt x="1488716" y="809897"/>
                </a:moveTo>
                <a:cubicBezTo>
                  <a:pt x="1481428" y="813541"/>
                  <a:pt x="1475961" y="819008"/>
                  <a:pt x="1468673" y="824474"/>
                </a:cubicBezTo>
                <a:lnTo>
                  <a:pt x="1468673" y="826296"/>
                </a:lnTo>
                <a:lnTo>
                  <a:pt x="1468673" y="826297"/>
                </a:lnTo>
                <a:lnTo>
                  <a:pt x="1455917" y="846340"/>
                </a:lnTo>
                <a:cubicBezTo>
                  <a:pt x="1460472" y="846340"/>
                  <a:pt x="1463661" y="843152"/>
                  <a:pt x="1465711" y="839052"/>
                </a:cubicBezTo>
                <a:lnTo>
                  <a:pt x="1468673" y="826297"/>
                </a:lnTo>
                <a:lnTo>
                  <a:pt x="1468673" y="835407"/>
                </a:lnTo>
                <a:cubicBezTo>
                  <a:pt x="1467307" y="839052"/>
                  <a:pt x="1465028" y="842696"/>
                  <a:pt x="1463206" y="846340"/>
                </a:cubicBezTo>
                <a:cubicBezTo>
                  <a:pt x="1475961" y="851807"/>
                  <a:pt x="1490539" y="820830"/>
                  <a:pt x="1488716" y="809897"/>
                </a:cubicBezTo>
                <a:close/>
                <a:moveTo>
                  <a:pt x="1137037" y="809897"/>
                </a:moveTo>
                <a:cubicBezTo>
                  <a:pt x="1133393" y="809897"/>
                  <a:pt x="1135215" y="809897"/>
                  <a:pt x="1133393" y="811719"/>
                </a:cubicBezTo>
                <a:cubicBezTo>
                  <a:pt x="1135215" y="813541"/>
                  <a:pt x="1140681" y="811719"/>
                  <a:pt x="1137037" y="809897"/>
                </a:cubicBezTo>
                <a:close/>
                <a:moveTo>
                  <a:pt x="996729" y="809897"/>
                </a:moveTo>
                <a:lnTo>
                  <a:pt x="996836" y="810112"/>
                </a:lnTo>
                <a:lnTo>
                  <a:pt x="996547" y="810080"/>
                </a:lnTo>
                <a:close/>
                <a:moveTo>
                  <a:pt x="856422" y="809897"/>
                </a:moveTo>
                <a:cubicBezTo>
                  <a:pt x="854600" y="809897"/>
                  <a:pt x="852778" y="809897"/>
                  <a:pt x="850956" y="811719"/>
                </a:cubicBezTo>
                <a:cubicBezTo>
                  <a:pt x="852778" y="813541"/>
                  <a:pt x="856422" y="819008"/>
                  <a:pt x="863711" y="817185"/>
                </a:cubicBezTo>
                <a:cubicBezTo>
                  <a:pt x="861889" y="815363"/>
                  <a:pt x="860066" y="811719"/>
                  <a:pt x="856422" y="809897"/>
                </a:cubicBezTo>
                <a:close/>
                <a:moveTo>
                  <a:pt x="829089" y="809897"/>
                </a:moveTo>
                <a:cubicBezTo>
                  <a:pt x="825445" y="815363"/>
                  <a:pt x="829089" y="819008"/>
                  <a:pt x="830912" y="822652"/>
                </a:cubicBezTo>
                <a:cubicBezTo>
                  <a:pt x="834556" y="819008"/>
                  <a:pt x="836378" y="815363"/>
                  <a:pt x="829089" y="809897"/>
                </a:cubicBezTo>
                <a:close/>
                <a:moveTo>
                  <a:pt x="767136" y="809897"/>
                </a:moveTo>
                <a:cubicBezTo>
                  <a:pt x="768959" y="809897"/>
                  <a:pt x="774424" y="809897"/>
                  <a:pt x="774424" y="813541"/>
                </a:cubicBezTo>
                <a:cubicBezTo>
                  <a:pt x="772602" y="809897"/>
                  <a:pt x="768959" y="813541"/>
                  <a:pt x="767136" y="809897"/>
                </a:cubicBezTo>
                <a:close/>
                <a:moveTo>
                  <a:pt x="723404" y="809897"/>
                </a:moveTo>
                <a:cubicBezTo>
                  <a:pt x="721581" y="811719"/>
                  <a:pt x="723404" y="811719"/>
                  <a:pt x="725226" y="813541"/>
                </a:cubicBezTo>
                <a:cubicBezTo>
                  <a:pt x="728870" y="811719"/>
                  <a:pt x="723404" y="809897"/>
                  <a:pt x="723404" y="809897"/>
                </a:cubicBezTo>
                <a:close/>
                <a:moveTo>
                  <a:pt x="690604" y="809897"/>
                </a:moveTo>
                <a:cubicBezTo>
                  <a:pt x="685138" y="809897"/>
                  <a:pt x="692426" y="815363"/>
                  <a:pt x="685138" y="817185"/>
                </a:cubicBezTo>
                <a:cubicBezTo>
                  <a:pt x="686960" y="817185"/>
                  <a:pt x="686960" y="819008"/>
                  <a:pt x="688782" y="819008"/>
                </a:cubicBezTo>
                <a:cubicBezTo>
                  <a:pt x="692426" y="817185"/>
                  <a:pt x="694249" y="813541"/>
                  <a:pt x="690604" y="809897"/>
                </a:cubicBezTo>
                <a:close/>
                <a:moveTo>
                  <a:pt x="606784" y="809897"/>
                </a:moveTo>
                <a:cubicBezTo>
                  <a:pt x="603140" y="809897"/>
                  <a:pt x="604963" y="815363"/>
                  <a:pt x="604963" y="817185"/>
                </a:cubicBezTo>
                <a:cubicBezTo>
                  <a:pt x="608606" y="815363"/>
                  <a:pt x="604963" y="811719"/>
                  <a:pt x="606784" y="809897"/>
                </a:cubicBezTo>
                <a:close/>
                <a:moveTo>
                  <a:pt x="1029164" y="809532"/>
                </a:moveTo>
                <a:lnTo>
                  <a:pt x="1027707" y="811719"/>
                </a:lnTo>
                <a:lnTo>
                  <a:pt x="1027707" y="810505"/>
                </a:lnTo>
                <a:close/>
                <a:moveTo>
                  <a:pt x="1175804" y="809122"/>
                </a:moveTo>
                <a:lnTo>
                  <a:pt x="1175523" y="809557"/>
                </a:lnTo>
                <a:lnTo>
                  <a:pt x="1173481" y="809897"/>
                </a:lnTo>
                <a:close/>
                <a:moveTo>
                  <a:pt x="443564" y="808278"/>
                </a:moveTo>
                <a:lnTo>
                  <a:pt x="447116" y="809214"/>
                </a:lnTo>
                <a:lnTo>
                  <a:pt x="447708" y="809714"/>
                </a:lnTo>
                <a:lnTo>
                  <a:pt x="443843" y="808426"/>
                </a:lnTo>
                <a:close/>
                <a:moveTo>
                  <a:pt x="3437568" y="808074"/>
                </a:moveTo>
                <a:lnTo>
                  <a:pt x="3440265" y="808074"/>
                </a:lnTo>
                <a:lnTo>
                  <a:pt x="3438058" y="810113"/>
                </a:lnTo>
                <a:close/>
                <a:moveTo>
                  <a:pt x="732515" y="808074"/>
                </a:moveTo>
                <a:cubicBezTo>
                  <a:pt x="732515" y="811719"/>
                  <a:pt x="728870" y="813541"/>
                  <a:pt x="732515" y="815363"/>
                </a:cubicBezTo>
                <a:cubicBezTo>
                  <a:pt x="734336" y="815363"/>
                  <a:pt x="736159" y="813541"/>
                  <a:pt x="736159" y="811719"/>
                </a:cubicBezTo>
                <a:cubicBezTo>
                  <a:pt x="736159" y="811719"/>
                  <a:pt x="736159" y="808074"/>
                  <a:pt x="732515" y="808074"/>
                </a:cubicBezTo>
                <a:close/>
                <a:moveTo>
                  <a:pt x="610429" y="808074"/>
                </a:moveTo>
                <a:cubicBezTo>
                  <a:pt x="608606" y="813541"/>
                  <a:pt x="614074" y="822652"/>
                  <a:pt x="619539" y="826296"/>
                </a:cubicBezTo>
                <a:cubicBezTo>
                  <a:pt x="619539" y="820830"/>
                  <a:pt x="614074" y="813541"/>
                  <a:pt x="610429" y="808074"/>
                </a:cubicBezTo>
                <a:close/>
                <a:moveTo>
                  <a:pt x="3205204" y="806252"/>
                </a:moveTo>
                <a:cubicBezTo>
                  <a:pt x="3199738" y="806252"/>
                  <a:pt x="3199738" y="815363"/>
                  <a:pt x="3207027" y="813541"/>
                </a:cubicBezTo>
                <a:cubicBezTo>
                  <a:pt x="3207027" y="809897"/>
                  <a:pt x="3203382" y="809897"/>
                  <a:pt x="3205204" y="806252"/>
                </a:cubicBezTo>
                <a:close/>
                <a:moveTo>
                  <a:pt x="2106433" y="806252"/>
                </a:moveTo>
                <a:cubicBezTo>
                  <a:pt x="2099145" y="808074"/>
                  <a:pt x="2095500" y="815363"/>
                  <a:pt x="2093679" y="824474"/>
                </a:cubicBezTo>
                <a:cubicBezTo>
                  <a:pt x="2099145" y="826296"/>
                  <a:pt x="2102790" y="820830"/>
                  <a:pt x="2106433" y="819008"/>
                </a:cubicBezTo>
                <a:cubicBezTo>
                  <a:pt x="2108256" y="813541"/>
                  <a:pt x="2106433" y="811719"/>
                  <a:pt x="2106433" y="806252"/>
                </a:cubicBezTo>
                <a:close/>
                <a:moveTo>
                  <a:pt x="1295566" y="806252"/>
                </a:moveTo>
                <a:cubicBezTo>
                  <a:pt x="1291922" y="809897"/>
                  <a:pt x="1290100" y="809897"/>
                  <a:pt x="1286455" y="809897"/>
                </a:cubicBezTo>
                <a:cubicBezTo>
                  <a:pt x="1282811" y="811719"/>
                  <a:pt x="1288277" y="811719"/>
                  <a:pt x="1290100" y="811719"/>
                </a:cubicBezTo>
                <a:cubicBezTo>
                  <a:pt x="1291922" y="809897"/>
                  <a:pt x="1297388" y="808074"/>
                  <a:pt x="1295566" y="806252"/>
                </a:cubicBezTo>
                <a:close/>
                <a:moveTo>
                  <a:pt x="1217213" y="806252"/>
                </a:moveTo>
                <a:cubicBezTo>
                  <a:pt x="1217213" y="806252"/>
                  <a:pt x="1219036" y="808074"/>
                  <a:pt x="1219036" y="808074"/>
                </a:cubicBezTo>
                <a:lnTo>
                  <a:pt x="1219034" y="808074"/>
                </a:lnTo>
                <a:close/>
                <a:moveTo>
                  <a:pt x="845489" y="806252"/>
                </a:moveTo>
                <a:cubicBezTo>
                  <a:pt x="841845" y="809897"/>
                  <a:pt x="841845" y="811719"/>
                  <a:pt x="840022" y="813541"/>
                </a:cubicBezTo>
                <a:cubicBezTo>
                  <a:pt x="840022" y="813541"/>
                  <a:pt x="838200" y="813541"/>
                  <a:pt x="836378" y="815363"/>
                </a:cubicBezTo>
                <a:cubicBezTo>
                  <a:pt x="843667" y="820830"/>
                  <a:pt x="838200" y="813541"/>
                  <a:pt x="840022" y="813541"/>
                </a:cubicBezTo>
                <a:cubicBezTo>
                  <a:pt x="841845" y="815363"/>
                  <a:pt x="843667" y="815363"/>
                  <a:pt x="845489" y="815363"/>
                </a:cubicBezTo>
                <a:cubicBezTo>
                  <a:pt x="845489" y="811719"/>
                  <a:pt x="847311" y="808074"/>
                  <a:pt x="845489" y="806252"/>
                </a:cubicBezTo>
                <a:close/>
                <a:moveTo>
                  <a:pt x="758025" y="806252"/>
                </a:moveTo>
                <a:cubicBezTo>
                  <a:pt x="756203" y="806252"/>
                  <a:pt x="756203" y="806252"/>
                  <a:pt x="754380" y="809897"/>
                </a:cubicBezTo>
                <a:cubicBezTo>
                  <a:pt x="756203" y="811719"/>
                  <a:pt x="758025" y="811719"/>
                  <a:pt x="761670" y="811719"/>
                </a:cubicBezTo>
                <a:cubicBezTo>
                  <a:pt x="761670" y="809897"/>
                  <a:pt x="761670" y="809897"/>
                  <a:pt x="761670" y="808074"/>
                </a:cubicBezTo>
                <a:cubicBezTo>
                  <a:pt x="759848" y="808074"/>
                  <a:pt x="759848" y="806252"/>
                  <a:pt x="758025" y="806252"/>
                </a:cubicBezTo>
                <a:close/>
                <a:moveTo>
                  <a:pt x="712470" y="806252"/>
                </a:moveTo>
                <a:cubicBezTo>
                  <a:pt x="710648" y="808074"/>
                  <a:pt x="714293" y="808074"/>
                  <a:pt x="714293" y="811719"/>
                </a:cubicBezTo>
                <a:cubicBezTo>
                  <a:pt x="716115" y="809897"/>
                  <a:pt x="717937" y="808074"/>
                  <a:pt x="719759" y="806252"/>
                </a:cubicBezTo>
                <a:cubicBezTo>
                  <a:pt x="717937" y="806252"/>
                  <a:pt x="716115" y="809897"/>
                  <a:pt x="712470" y="806252"/>
                </a:cubicBezTo>
                <a:close/>
                <a:moveTo>
                  <a:pt x="612251" y="806252"/>
                </a:moveTo>
                <a:lnTo>
                  <a:pt x="618840" y="816961"/>
                </a:lnTo>
                <a:lnTo>
                  <a:pt x="617717" y="817185"/>
                </a:lnTo>
                <a:lnTo>
                  <a:pt x="619123" y="817420"/>
                </a:lnTo>
                <a:lnTo>
                  <a:pt x="625706" y="828118"/>
                </a:lnTo>
                <a:lnTo>
                  <a:pt x="625006" y="828118"/>
                </a:lnTo>
                <a:cubicBezTo>
                  <a:pt x="625006" y="828118"/>
                  <a:pt x="626828" y="829941"/>
                  <a:pt x="626828" y="829941"/>
                </a:cubicBezTo>
                <a:lnTo>
                  <a:pt x="625706" y="828118"/>
                </a:lnTo>
                <a:lnTo>
                  <a:pt x="634117" y="828118"/>
                </a:lnTo>
                <a:cubicBezTo>
                  <a:pt x="632296" y="828118"/>
                  <a:pt x="632296" y="828118"/>
                  <a:pt x="630472" y="829941"/>
                </a:cubicBezTo>
                <a:cubicBezTo>
                  <a:pt x="632296" y="831763"/>
                  <a:pt x="634117" y="831763"/>
                  <a:pt x="635939" y="833585"/>
                </a:cubicBezTo>
                <a:cubicBezTo>
                  <a:pt x="635939" y="833585"/>
                  <a:pt x="635939" y="831763"/>
                  <a:pt x="635939" y="831763"/>
                </a:cubicBezTo>
                <a:lnTo>
                  <a:pt x="640802" y="833564"/>
                </a:lnTo>
                <a:lnTo>
                  <a:pt x="641695" y="836927"/>
                </a:lnTo>
                <a:lnTo>
                  <a:pt x="641407" y="839051"/>
                </a:lnTo>
                <a:cubicBezTo>
                  <a:pt x="637761" y="835407"/>
                  <a:pt x="632296" y="831763"/>
                  <a:pt x="625006" y="829941"/>
                </a:cubicBezTo>
                <a:cubicBezTo>
                  <a:pt x="626828" y="840874"/>
                  <a:pt x="635939" y="837229"/>
                  <a:pt x="643228" y="842696"/>
                </a:cubicBezTo>
                <a:lnTo>
                  <a:pt x="641695" y="836927"/>
                </a:lnTo>
                <a:lnTo>
                  <a:pt x="642089" y="834041"/>
                </a:lnTo>
                <a:lnTo>
                  <a:pt x="640802" y="833564"/>
                </a:lnTo>
                <a:lnTo>
                  <a:pt x="639355" y="828119"/>
                </a:lnTo>
                <a:cubicBezTo>
                  <a:pt x="636394" y="824475"/>
                  <a:pt x="632294" y="821741"/>
                  <a:pt x="628650" y="819008"/>
                </a:cubicBezTo>
                <a:lnTo>
                  <a:pt x="619123" y="817420"/>
                </a:lnTo>
                <a:lnTo>
                  <a:pt x="618840" y="816961"/>
                </a:lnTo>
                <a:lnTo>
                  <a:pt x="626828" y="815363"/>
                </a:lnTo>
                <a:cubicBezTo>
                  <a:pt x="621362" y="811719"/>
                  <a:pt x="615895" y="808074"/>
                  <a:pt x="612251" y="806252"/>
                </a:cubicBezTo>
                <a:close/>
                <a:moveTo>
                  <a:pt x="400879" y="806252"/>
                </a:moveTo>
                <a:lnTo>
                  <a:pt x="409948" y="813508"/>
                </a:lnTo>
                <a:lnTo>
                  <a:pt x="409960" y="813534"/>
                </a:lnTo>
                <a:lnTo>
                  <a:pt x="402701" y="811719"/>
                </a:lnTo>
                <a:cubicBezTo>
                  <a:pt x="400879" y="809897"/>
                  <a:pt x="402701" y="808074"/>
                  <a:pt x="400879" y="806252"/>
                </a:cubicBezTo>
                <a:close/>
                <a:moveTo>
                  <a:pt x="255105" y="806252"/>
                </a:moveTo>
                <a:cubicBezTo>
                  <a:pt x="255105" y="815363"/>
                  <a:pt x="271504" y="817185"/>
                  <a:pt x="269682" y="813541"/>
                </a:cubicBezTo>
                <a:cubicBezTo>
                  <a:pt x="275149" y="806252"/>
                  <a:pt x="264216" y="813541"/>
                  <a:pt x="262393" y="809897"/>
                </a:cubicBezTo>
                <a:cubicBezTo>
                  <a:pt x="260571" y="806252"/>
                  <a:pt x="258749" y="809897"/>
                  <a:pt x="255105" y="806252"/>
                </a:cubicBezTo>
                <a:close/>
                <a:moveTo>
                  <a:pt x="356008" y="805114"/>
                </a:moveTo>
                <a:cubicBezTo>
                  <a:pt x="349402" y="805342"/>
                  <a:pt x="343480" y="808075"/>
                  <a:pt x="340747" y="815363"/>
                </a:cubicBezTo>
                <a:cubicBezTo>
                  <a:pt x="337102" y="824474"/>
                  <a:pt x="348037" y="828118"/>
                  <a:pt x="355324" y="829941"/>
                </a:cubicBezTo>
                <a:cubicBezTo>
                  <a:pt x="353502" y="824474"/>
                  <a:pt x="351680" y="817185"/>
                  <a:pt x="346213" y="813541"/>
                </a:cubicBezTo>
                <a:cubicBezTo>
                  <a:pt x="349858" y="813541"/>
                  <a:pt x="349858" y="815363"/>
                  <a:pt x="349858" y="811719"/>
                </a:cubicBezTo>
                <a:cubicBezTo>
                  <a:pt x="351680" y="826296"/>
                  <a:pt x="360791" y="840874"/>
                  <a:pt x="377190" y="844518"/>
                </a:cubicBezTo>
                <a:cubicBezTo>
                  <a:pt x="375368" y="839051"/>
                  <a:pt x="366257" y="837229"/>
                  <a:pt x="364435" y="831763"/>
                </a:cubicBezTo>
                <a:lnTo>
                  <a:pt x="368079" y="831763"/>
                </a:lnTo>
                <a:cubicBezTo>
                  <a:pt x="366257" y="829941"/>
                  <a:pt x="364435" y="828118"/>
                  <a:pt x="362613" y="826296"/>
                </a:cubicBezTo>
                <a:cubicBezTo>
                  <a:pt x="366257" y="822652"/>
                  <a:pt x="369902" y="831763"/>
                  <a:pt x="371724" y="828118"/>
                </a:cubicBezTo>
                <a:cubicBezTo>
                  <a:pt x="379012" y="820830"/>
                  <a:pt x="368079" y="817185"/>
                  <a:pt x="360791" y="817185"/>
                </a:cubicBezTo>
                <a:cubicBezTo>
                  <a:pt x="364435" y="819008"/>
                  <a:pt x="364435" y="817185"/>
                  <a:pt x="368079" y="817185"/>
                </a:cubicBezTo>
                <a:cubicBezTo>
                  <a:pt x="368079" y="815363"/>
                  <a:pt x="366257" y="817185"/>
                  <a:pt x="364435" y="815363"/>
                </a:cubicBezTo>
                <a:cubicBezTo>
                  <a:pt x="366257" y="813541"/>
                  <a:pt x="368079" y="811719"/>
                  <a:pt x="369902" y="809897"/>
                </a:cubicBezTo>
                <a:lnTo>
                  <a:pt x="371941" y="815037"/>
                </a:lnTo>
                <a:lnTo>
                  <a:pt x="371724" y="815363"/>
                </a:lnTo>
                <a:lnTo>
                  <a:pt x="372069" y="815359"/>
                </a:lnTo>
                <a:lnTo>
                  <a:pt x="375596" y="824247"/>
                </a:lnTo>
                <a:cubicBezTo>
                  <a:pt x="378557" y="827663"/>
                  <a:pt x="382657" y="829941"/>
                  <a:pt x="388123" y="831763"/>
                </a:cubicBezTo>
                <a:cubicBezTo>
                  <a:pt x="389946" y="824474"/>
                  <a:pt x="395412" y="819008"/>
                  <a:pt x="402701" y="824474"/>
                </a:cubicBezTo>
                <a:cubicBezTo>
                  <a:pt x="399056" y="820830"/>
                  <a:pt x="394956" y="817186"/>
                  <a:pt x="389945" y="815136"/>
                </a:cubicBezTo>
                <a:lnTo>
                  <a:pt x="372069" y="815359"/>
                </a:lnTo>
                <a:lnTo>
                  <a:pt x="371941" y="815037"/>
                </a:lnTo>
                <a:lnTo>
                  <a:pt x="375368" y="809897"/>
                </a:lnTo>
                <a:cubicBezTo>
                  <a:pt x="369901" y="807164"/>
                  <a:pt x="362613" y="804886"/>
                  <a:pt x="356008" y="805114"/>
                </a:cubicBezTo>
                <a:close/>
                <a:moveTo>
                  <a:pt x="1204457" y="804472"/>
                </a:moveTo>
                <a:cubicBezTo>
                  <a:pt x="1198991" y="813584"/>
                  <a:pt x="1191703" y="815406"/>
                  <a:pt x="1186235" y="813584"/>
                </a:cubicBezTo>
                <a:cubicBezTo>
                  <a:pt x="1191703" y="813584"/>
                  <a:pt x="1200814" y="809940"/>
                  <a:pt x="1204457" y="804472"/>
                </a:cubicBezTo>
                <a:close/>
                <a:moveTo>
                  <a:pt x="3210671" y="804430"/>
                </a:moveTo>
                <a:cubicBezTo>
                  <a:pt x="3212493" y="802608"/>
                  <a:pt x="3210671" y="808074"/>
                  <a:pt x="3212493" y="809897"/>
                </a:cubicBezTo>
                <a:cubicBezTo>
                  <a:pt x="3216137" y="811719"/>
                  <a:pt x="3216137" y="808074"/>
                  <a:pt x="3216137" y="804430"/>
                </a:cubicBezTo>
                <a:cubicBezTo>
                  <a:pt x="3212493" y="804430"/>
                  <a:pt x="3212493" y="802608"/>
                  <a:pt x="3210671" y="804430"/>
                </a:cubicBezTo>
                <a:close/>
                <a:moveTo>
                  <a:pt x="1315610" y="804430"/>
                </a:moveTo>
                <a:cubicBezTo>
                  <a:pt x="1308321" y="804430"/>
                  <a:pt x="1301033" y="802608"/>
                  <a:pt x="1293744" y="811719"/>
                </a:cubicBezTo>
                <a:cubicBezTo>
                  <a:pt x="1299210" y="815363"/>
                  <a:pt x="1304677" y="815363"/>
                  <a:pt x="1310143" y="817185"/>
                </a:cubicBezTo>
                <a:cubicBezTo>
                  <a:pt x="1311966" y="813541"/>
                  <a:pt x="1313788" y="808074"/>
                  <a:pt x="1315610" y="804430"/>
                </a:cubicBezTo>
                <a:close/>
                <a:moveTo>
                  <a:pt x="727048" y="804430"/>
                </a:moveTo>
                <a:cubicBezTo>
                  <a:pt x="725226" y="806252"/>
                  <a:pt x="723404" y="809897"/>
                  <a:pt x="727048" y="811719"/>
                </a:cubicBezTo>
                <a:cubicBezTo>
                  <a:pt x="734336" y="813541"/>
                  <a:pt x="723404" y="804430"/>
                  <a:pt x="730692" y="806252"/>
                </a:cubicBezTo>
                <a:cubicBezTo>
                  <a:pt x="730692" y="804430"/>
                  <a:pt x="728870" y="804430"/>
                  <a:pt x="727048" y="804430"/>
                </a:cubicBezTo>
                <a:close/>
                <a:moveTo>
                  <a:pt x="654161" y="804430"/>
                </a:moveTo>
                <a:cubicBezTo>
                  <a:pt x="650516" y="806252"/>
                  <a:pt x="652339" y="808074"/>
                  <a:pt x="650516" y="809897"/>
                </a:cubicBezTo>
                <a:cubicBezTo>
                  <a:pt x="654161" y="813541"/>
                  <a:pt x="659627" y="815363"/>
                  <a:pt x="661449" y="817185"/>
                </a:cubicBezTo>
                <a:cubicBezTo>
                  <a:pt x="663272" y="813541"/>
                  <a:pt x="659627" y="809897"/>
                  <a:pt x="654161" y="804430"/>
                </a:cubicBezTo>
                <a:close/>
                <a:moveTo>
                  <a:pt x="641407" y="804430"/>
                </a:moveTo>
                <a:cubicBezTo>
                  <a:pt x="645050" y="809897"/>
                  <a:pt x="646872" y="813541"/>
                  <a:pt x="650516" y="817185"/>
                </a:cubicBezTo>
                <a:cubicBezTo>
                  <a:pt x="655983" y="811719"/>
                  <a:pt x="646872" y="808074"/>
                  <a:pt x="645050" y="804430"/>
                </a:cubicBezTo>
                <a:close/>
                <a:moveTo>
                  <a:pt x="346213" y="804203"/>
                </a:moveTo>
                <a:cubicBezTo>
                  <a:pt x="344391" y="805341"/>
                  <a:pt x="342569" y="807163"/>
                  <a:pt x="340747" y="808074"/>
                </a:cubicBezTo>
                <a:cubicBezTo>
                  <a:pt x="344391" y="809897"/>
                  <a:pt x="348037" y="804430"/>
                  <a:pt x="351680" y="804430"/>
                </a:cubicBezTo>
                <a:cubicBezTo>
                  <a:pt x="349858" y="802608"/>
                  <a:pt x="348037" y="803064"/>
                  <a:pt x="346213" y="804203"/>
                </a:cubicBezTo>
                <a:close/>
                <a:moveTo>
                  <a:pt x="2596598" y="802608"/>
                </a:moveTo>
                <a:cubicBezTo>
                  <a:pt x="2594776" y="804430"/>
                  <a:pt x="2596598" y="806252"/>
                  <a:pt x="2598421" y="808074"/>
                </a:cubicBezTo>
                <a:cubicBezTo>
                  <a:pt x="2600243" y="808074"/>
                  <a:pt x="2600243" y="806252"/>
                  <a:pt x="2602065" y="806252"/>
                </a:cubicBezTo>
                <a:cubicBezTo>
                  <a:pt x="2602065" y="802608"/>
                  <a:pt x="2600243" y="802608"/>
                  <a:pt x="2596598" y="802608"/>
                </a:cubicBezTo>
                <a:close/>
                <a:moveTo>
                  <a:pt x="2343316" y="802608"/>
                </a:moveTo>
                <a:cubicBezTo>
                  <a:pt x="2341494" y="817185"/>
                  <a:pt x="2339672" y="815363"/>
                  <a:pt x="2336027" y="826296"/>
                </a:cubicBezTo>
                <a:cubicBezTo>
                  <a:pt x="2345138" y="831763"/>
                  <a:pt x="2346960" y="813541"/>
                  <a:pt x="2343316" y="802608"/>
                </a:cubicBezTo>
                <a:close/>
                <a:moveTo>
                  <a:pt x="1486895" y="802608"/>
                </a:moveTo>
                <a:cubicBezTo>
                  <a:pt x="1474139" y="808074"/>
                  <a:pt x="1463206" y="813541"/>
                  <a:pt x="1446806" y="820830"/>
                </a:cubicBezTo>
                <a:cubicBezTo>
                  <a:pt x="1446806" y="820830"/>
                  <a:pt x="1444984" y="819008"/>
                  <a:pt x="1444984" y="819008"/>
                </a:cubicBezTo>
                <a:cubicBezTo>
                  <a:pt x="1443162" y="820830"/>
                  <a:pt x="1443162" y="822652"/>
                  <a:pt x="1439518" y="822652"/>
                </a:cubicBezTo>
                <a:cubicBezTo>
                  <a:pt x="1443162" y="826296"/>
                  <a:pt x="1448629" y="822652"/>
                  <a:pt x="1454095" y="819008"/>
                </a:cubicBezTo>
                <a:cubicBezTo>
                  <a:pt x="1455917" y="819008"/>
                  <a:pt x="1454095" y="822652"/>
                  <a:pt x="1455917" y="822652"/>
                </a:cubicBezTo>
                <a:cubicBezTo>
                  <a:pt x="1459562" y="820830"/>
                  <a:pt x="1465028" y="819008"/>
                  <a:pt x="1466850" y="815363"/>
                </a:cubicBezTo>
                <a:cubicBezTo>
                  <a:pt x="1468673" y="819008"/>
                  <a:pt x="1463206" y="817185"/>
                  <a:pt x="1461384" y="820830"/>
                </a:cubicBezTo>
                <a:cubicBezTo>
                  <a:pt x="1465028" y="820830"/>
                  <a:pt x="1468673" y="817185"/>
                  <a:pt x="1472317" y="817185"/>
                </a:cubicBezTo>
                <a:cubicBezTo>
                  <a:pt x="1474139" y="815363"/>
                  <a:pt x="1472317" y="815363"/>
                  <a:pt x="1470495" y="815363"/>
                </a:cubicBezTo>
                <a:cubicBezTo>
                  <a:pt x="1472317" y="813541"/>
                  <a:pt x="1472317" y="813541"/>
                  <a:pt x="1474139" y="811719"/>
                </a:cubicBezTo>
                <a:cubicBezTo>
                  <a:pt x="1474139" y="813541"/>
                  <a:pt x="1472317" y="815363"/>
                  <a:pt x="1474139" y="817185"/>
                </a:cubicBezTo>
                <a:cubicBezTo>
                  <a:pt x="1477784" y="815363"/>
                  <a:pt x="1486895" y="811719"/>
                  <a:pt x="1490539" y="806252"/>
                </a:cubicBezTo>
                <a:cubicBezTo>
                  <a:pt x="1488716" y="804430"/>
                  <a:pt x="1488716" y="804430"/>
                  <a:pt x="1486895" y="802608"/>
                </a:cubicBezTo>
                <a:close/>
                <a:moveTo>
                  <a:pt x="1339299" y="802608"/>
                </a:moveTo>
                <a:cubicBezTo>
                  <a:pt x="1335654" y="798964"/>
                  <a:pt x="1333832" y="806252"/>
                  <a:pt x="1333832" y="808074"/>
                </a:cubicBezTo>
                <a:cubicBezTo>
                  <a:pt x="1335654" y="809897"/>
                  <a:pt x="1337476" y="804430"/>
                  <a:pt x="1339299" y="802608"/>
                </a:cubicBezTo>
                <a:close/>
                <a:moveTo>
                  <a:pt x="1333832" y="802608"/>
                </a:moveTo>
                <a:cubicBezTo>
                  <a:pt x="1332009" y="804430"/>
                  <a:pt x="1330188" y="802608"/>
                  <a:pt x="1332009" y="806252"/>
                </a:cubicBezTo>
                <a:cubicBezTo>
                  <a:pt x="1324721" y="798964"/>
                  <a:pt x="1311966" y="809897"/>
                  <a:pt x="1315610" y="819008"/>
                </a:cubicBezTo>
                <a:cubicBezTo>
                  <a:pt x="1317432" y="817185"/>
                  <a:pt x="1315610" y="815363"/>
                  <a:pt x="1319254" y="813541"/>
                </a:cubicBezTo>
                <a:cubicBezTo>
                  <a:pt x="1319254" y="815363"/>
                  <a:pt x="1317432" y="815363"/>
                  <a:pt x="1317432" y="817185"/>
                </a:cubicBezTo>
                <a:cubicBezTo>
                  <a:pt x="1322899" y="817185"/>
                  <a:pt x="1337476" y="811719"/>
                  <a:pt x="1333832" y="802608"/>
                </a:cubicBezTo>
                <a:close/>
                <a:moveTo>
                  <a:pt x="557586" y="802608"/>
                </a:moveTo>
                <a:cubicBezTo>
                  <a:pt x="555763" y="806252"/>
                  <a:pt x="559408" y="815363"/>
                  <a:pt x="566697" y="813541"/>
                </a:cubicBezTo>
                <a:cubicBezTo>
                  <a:pt x="564874" y="813541"/>
                  <a:pt x="563052" y="811719"/>
                  <a:pt x="563052" y="809897"/>
                </a:cubicBezTo>
                <a:cubicBezTo>
                  <a:pt x="570341" y="809897"/>
                  <a:pt x="561230" y="802608"/>
                  <a:pt x="557586" y="802608"/>
                </a:cubicBezTo>
                <a:close/>
                <a:moveTo>
                  <a:pt x="532075" y="802608"/>
                </a:moveTo>
                <a:cubicBezTo>
                  <a:pt x="533897" y="806252"/>
                  <a:pt x="535719" y="806252"/>
                  <a:pt x="537542" y="809897"/>
                </a:cubicBezTo>
                <a:cubicBezTo>
                  <a:pt x="535719" y="808074"/>
                  <a:pt x="533897" y="808074"/>
                  <a:pt x="532075" y="806252"/>
                </a:cubicBezTo>
                <a:lnTo>
                  <a:pt x="536533" y="821112"/>
                </a:lnTo>
                <a:lnTo>
                  <a:pt x="530253" y="809897"/>
                </a:lnTo>
                <a:cubicBezTo>
                  <a:pt x="533897" y="811719"/>
                  <a:pt x="532075" y="804430"/>
                  <a:pt x="528431" y="804430"/>
                </a:cubicBezTo>
                <a:cubicBezTo>
                  <a:pt x="530253" y="815363"/>
                  <a:pt x="526609" y="828118"/>
                  <a:pt x="537542" y="835407"/>
                </a:cubicBezTo>
                <a:lnTo>
                  <a:pt x="536643" y="821477"/>
                </a:lnTo>
                <a:lnTo>
                  <a:pt x="537542" y="824474"/>
                </a:lnTo>
                <a:cubicBezTo>
                  <a:pt x="544830" y="817185"/>
                  <a:pt x="543008" y="808074"/>
                  <a:pt x="532075" y="802608"/>
                </a:cubicBezTo>
                <a:close/>
                <a:moveTo>
                  <a:pt x="499276" y="802608"/>
                </a:moveTo>
                <a:cubicBezTo>
                  <a:pt x="499276" y="806252"/>
                  <a:pt x="491987" y="800786"/>
                  <a:pt x="493809" y="806252"/>
                </a:cubicBezTo>
                <a:cubicBezTo>
                  <a:pt x="493809" y="806252"/>
                  <a:pt x="497454" y="806252"/>
                  <a:pt x="499276" y="808074"/>
                </a:cubicBezTo>
                <a:cubicBezTo>
                  <a:pt x="499276" y="806252"/>
                  <a:pt x="497454" y="804430"/>
                  <a:pt x="499276" y="802608"/>
                </a:cubicBezTo>
                <a:close/>
                <a:moveTo>
                  <a:pt x="191329" y="802608"/>
                </a:moveTo>
                <a:cubicBezTo>
                  <a:pt x="193151" y="808074"/>
                  <a:pt x="200439" y="808074"/>
                  <a:pt x="202262" y="809897"/>
                </a:cubicBezTo>
                <a:cubicBezTo>
                  <a:pt x="198617" y="804430"/>
                  <a:pt x="194973" y="806252"/>
                  <a:pt x="191329" y="802608"/>
                </a:cubicBezTo>
                <a:close/>
                <a:moveTo>
                  <a:pt x="399056" y="802380"/>
                </a:moveTo>
                <a:cubicBezTo>
                  <a:pt x="393590" y="800786"/>
                  <a:pt x="387212" y="801697"/>
                  <a:pt x="382657" y="806252"/>
                </a:cubicBezTo>
                <a:cubicBezTo>
                  <a:pt x="391768" y="813541"/>
                  <a:pt x="400879" y="815363"/>
                  <a:pt x="409989" y="820830"/>
                </a:cubicBezTo>
                <a:cubicBezTo>
                  <a:pt x="404523" y="815363"/>
                  <a:pt x="400879" y="808074"/>
                  <a:pt x="391768" y="808074"/>
                </a:cubicBezTo>
                <a:cubicBezTo>
                  <a:pt x="395412" y="806252"/>
                  <a:pt x="397690" y="808986"/>
                  <a:pt x="400195" y="811491"/>
                </a:cubicBezTo>
                <a:lnTo>
                  <a:pt x="409962" y="813536"/>
                </a:lnTo>
                <a:lnTo>
                  <a:pt x="411243" y="816133"/>
                </a:lnTo>
                <a:cubicBezTo>
                  <a:pt x="416708" y="821514"/>
                  <a:pt x="427300" y="823563"/>
                  <a:pt x="424567" y="815363"/>
                </a:cubicBezTo>
                <a:cubicBezTo>
                  <a:pt x="419100" y="809897"/>
                  <a:pt x="415456" y="804430"/>
                  <a:pt x="406345" y="802608"/>
                </a:cubicBezTo>
                <a:cubicBezTo>
                  <a:pt x="406345" y="804430"/>
                  <a:pt x="409989" y="808074"/>
                  <a:pt x="408167" y="809897"/>
                </a:cubicBezTo>
                <a:lnTo>
                  <a:pt x="409939" y="813490"/>
                </a:lnTo>
                <a:close/>
                <a:moveTo>
                  <a:pt x="1108663" y="802088"/>
                </a:moveTo>
                <a:lnTo>
                  <a:pt x="1107882" y="802608"/>
                </a:lnTo>
                <a:lnTo>
                  <a:pt x="1107882" y="802244"/>
                </a:lnTo>
                <a:close/>
                <a:moveTo>
                  <a:pt x="3634916" y="800786"/>
                </a:moveTo>
                <a:lnTo>
                  <a:pt x="3635456" y="800786"/>
                </a:lnTo>
                <a:lnTo>
                  <a:pt x="3636600" y="801977"/>
                </a:lnTo>
                <a:lnTo>
                  <a:pt x="3633643" y="803519"/>
                </a:lnTo>
                <a:lnTo>
                  <a:pt x="3632348" y="802605"/>
                </a:lnTo>
                <a:close/>
                <a:moveTo>
                  <a:pt x="2363360" y="800786"/>
                </a:moveTo>
                <a:cubicBezTo>
                  <a:pt x="2365182" y="804430"/>
                  <a:pt x="2365182" y="808074"/>
                  <a:pt x="2367004" y="811719"/>
                </a:cubicBezTo>
                <a:cubicBezTo>
                  <a:pt x="2368827" y="809897"/>
                  <a:pt x="2365182" y="802608"/>
                  <a:pt x="2368827" y="802608"/>
                </a:cubicBezTo>
                <a:cubicBezTo>
                  <a:pt x="2367004" y="798964"/>
                  <a:pt x="2365182" y="798964"/>
                  <a:pt x="2363360" y="800786"/>
                </a:cubicBezTo>
                <a:close/>
                <a:moveTo>
                  <a:pt x="1390319" y="800786"/>
                </a:moveTo>
                <a:cubicBezTo>
                  <a:pt x="1386676" y="798964"/>
                  <a:pt x="1381208" y="800786"/>
                  <a:pt x="1377564" y="802608"/>
                </a:cubicBezTo>
                <a:cubicBezTo>
                  <a:pt x="1377564" y="802608"/>
                  <a:pt x="1379386" y="804430"/>
                  <a:pt x="1381208" y="804430"/>
                </a:cubicBezTo>
                <a:cubicBezTo>
                  <a:pt x="1383030" y="800786"/>
                  <a:pt x="1386676" y="800786"/>
                  <a:pt x="1390319" y="800786"/>
                </a:cubicBezTo>
                <a:close/>
                <a:moveTo>
                  <a:pt x="1138859" y="800786"/>
                </a:moveTo>
                <a:cubicBezTo>
                  <a:pt x="1135215" y="804430"/>
                  <a:pt x="1135215" y="806252"/>
                  <a:pt x="1131570" y="809897"/>
                </a:cubicBezTo>
                <a:lnTo>
                  <a:pt x="1140602" y="806886"/>
                </a:lnTo>
                <a:lnTo>
                  <a:pt x="1140884" y="807872"/>
                </a:lnTo>
                <a:lnTo>
                  <a:pt x="1138859" y="809897"/>
                </a:lnTo>
                <a:cubicBezTo>
                  <a:pt x="1142503" y="811719"/>
                  <a:pt x="1140681" y="813541"/>
                  <a:pt x="1142503" y="813541"/>
                </a:cubicBezTo>
                <a:lnTo>
                  <a:pt x="1140884" y="807872"/>
                </a:lnTo>
                <a:lnTo>
                  <a:pt x="1142503" y="806252"/>
                </a:lnTo>
                <a:lnTo>
                  <a:pt x="1140602" y="806886"/>
                </a:lnTo>
                <a:close/>
                <a:moveTo>
                  <a:pt x="1027707" y="800786"/>
                </a:moveTo>
                <a:lnTo>
                  <a:pt x="1027707" y="810505"/>
                </a:lnTo>
                <a:lnTo>
                  <a:pt x="1025884" y="811719"/>
                </a:lnTo>
                <a:cubicBezTo>
                  <a:pt x="1029529" y="815363"/>
                  <a:pt x="1029529" y="811719"/>
                  <a:pt x="1031351" y="808074"/>
                </a:cubicBezTo>
                <a:lnTo>
                  <a:pt x="1029164" y="809532"/>
                </a:lnTo>
                <a:lnTo>
                  <a:pt x="1031351" y="806252"/>
                </a:lnTo>
                <a:cubicBezTo>
                  <a:pt x="1029529" y="804430"/>
                  <a:pt x="1031351" y="802608"/>
                  <a:pt x="1027707" y="800786"/>
                </a:cubicBezTo>
                <a:close/>
                <a:moveTo>
                  <a:pt x="982152" y="800786"/>
                </a:moveTo>
                <a:cubicBezTo>
                  <a:pt x="976686" y="806252"/>
                  <a:pt x="965753" y="809897"/>
                  <a:pt x="962108" y="815363"/>
                </a:cubicBezTo>
                <a:cubicBezTo>
                  <a:pt x="971219" y="822652"/>
                  <a:pt x="985796" y="822652"/>
                  <a:pt x="989441" y="809897"/>
                </a:cubicBezTo>
                <a:cubicBezTo>
                  <a:pt x="989441" y="806252"/>
                  <a:pt x="983974" y="802608"/>
                  <a:pt x="982152" y="800786"/>
                </a:cubicBezTo>
                <a:close/>
                <a:moveTo>
                  <a:pt x="889222" y="800786"/>
                </a:moveTo>
                <a:cubicBezTo>
                  <a:pt x="885577" y="802608"/>
                  <a:pt x="883755" y="806252"/>
                  <a:pt x="881933" y="802608"/>
                </a:cubicBezTo>
                <a:cubicBezTo>
                  <a:pt x="878288" y="806252"/>
                  <a:pt x="887399" y="804430"/>
                  <a:pt x="883755" y="806252"/>
                </a:cubicBezTo>
                <a:cubicBezTo>
                  <a:pt x="883755" y="808074"/>
                  <a:pt x="889222" y="802608"/>
                  <a:pt x="889222" y="800786"/>
                </a:cubicBezTo>
                <a:close/>
                <a:moveTo>
                  <a:pt x="832734" y="800786"/>
                </a:moveTo>
                <a:cubicBezTo>
                  <a:pt x="832734" y="804430"/>
                  <a:pt x="832734" y="809897"/>
                  <a:pt x="838200" y="811719"/>
                </a:cubicBezTo>
                <a:cubicBezTo>
                  <a:pt x="841845" y="809897"/>
                  <a:pt x="841845" y="806252"/>
                  <a:pt x="841845" y="802608"/>
                </a:cubicBezTo>
                <a:cubicBezTo>
                  <a:pt x="840022" y="802608"/>
                  <a:pt x="836378" y="802608"/>
                  <a:pt x="832734" y="800786"/>
                </a:cubicBezTo>
                <a:close/>
                <a:moveTo>
                  <a:pt x="728870" y="800786"/>
                </a:moveTo>
                <a:cubicBezTo>
                  <a:pt x="732515" y="802608"/>
                  <a:pt x="730692" y="802608"/>
                  <a:pt x="732515" y="804430"/>
                </a:cubicBezTo>
                <a:cubicBezTo>
                  <a:pt x="736159" y="804430"/>
                  <a:pt x="732515" y="802608"/>
                  <a:pt x="734336" y="800786"/>
                </a:cubicBezTo>
                <a:cubicBezTo>
                  <a:pt x="732515" y="800786"/>
                  <a:pt x="730692" y="800786"/>
                  <a:pt x="728870" y="800786"/>
                </a:cubicBezTo>
                <a:close/>
                <a:moveTo>
                  <a:pt x="701537" y="800786"/>
                </a:moveTo>
                <a:cubicBezTo>
                  <a:pt x="699715" y="800786"/>
                  <a:pt x="697893" y="806252"/>
                  <a:pt x="694249" y="806252"/>
                </a:cubicBezTo>
                <a:cubicBezTo>
                  <a:pt x="694249" y="809897"/>
                  <a:pt x="697893" y="811719"/>
                  <a:pt x="701537" y="809897"/>
                </a:cubicBezTo>
                <a:cubicBezTo>
                  <a:pt x="701537" y="806252"/>
                  <a:pt x="703359" y="804430"/>
                  <a:pt x="701537" y="800786"/>
                </a:cubicBezTo>
                <a:close/>
                <a:moveTo>
                  <a:pt x="3389472" y="799420"/>
                </a:moveTo>
                <a:cubicBezTo>
                  <a:pt x="3384233" y="798964"/>
                  <a:pt x="3379222" y="798964"/>
                  <a:pt x="3372844" y="800786"/>
                </a:cubicBezTo>
                <a:cubicBezTo>
                  <a:pt x="3371022" y="802608"/>
                  <a:pt x="3371022" y="802608"/>
                  <a:pt x="3371022" y="804430"/>
                </a:cubicBezTo>
                <a:cubicBezTo>
                  <a:pt x="3383777" y="800786"/>
                  <a:pt x="3398355" y="808074"/>
                  <a:pt x="3407466" y="800786"/>
                </a:cubicBezTo>
                <a:cubicBezTo>
                  <a:pt x="3400177" y="800786"/>
                  <a:pt x="3394711" y="799875"/>
                  <a:pt x="3389472" y="799420"/>
                </a:cubicBezTo>
                <a:close/>
                <a:moveTo>
                  <a:pt x="3241648" y="798964"/>
                </a:moveTo>
                <a:cubicBezTo>
                  <a:pt x="3238003" y="800786"/>
                  <a:pt x="3236181" y="808074"/>
                  <a:pt x="3243470" y="806252"/>
                </a:cubicBezTo>
                <a:cubicBezTo>
                  <a:pt x="3243470" y="802608"/>
                  <a:pt x="3241648" y="802608"/>
                  <a:pt x="3241648" y="798964"/>
                </a:cubicBezTo>
                <a:close/>
                <a:moveTo>
                  <a:pt x="2552866" y="798964"/>
                </a:moveTo>
                <a:cubicBezTo>
                  <a:pt x="2551044" y="811719"/>
                  <a:pt x="2560155" y="822652"/>
                  <a:pt x="2554688" y="833585"/>
                </a:cubicBezTo>
                <a:cubicBezTo>
                  <a:pt x="2556510" y="833585"/>
                  <a:pt x="2560155" y="833585"/>
                  <a:pt x="2561977" y="831763"/>
                </a:cubicBezTo>
                <a:cubicBezTo>
                  <a:pt x="2563799" y="831763"/>
                  <a:pt x="2563799" y="833585"/>
                  <a:pt x="2563799" y="835407"/>
                </a:cubicBezTo>
                <a:cubicBezTo>
                  <a:pt x="2565621" y="835407"/>
                  <a:pt x="2567443" y="835407"/>
                  <a:pt x="2567443" y="833585"/>
                </a:cubicBezTo>
                <a:cubicBezTo>
                  <a:pt x="2561977" y="828118"/>
                  <a:pt x="2561977" y="820830"/>
                  <a:pt x="2569266" y="817185"/>
                </a:cubicBezTo>
                <a:cubicBezTo>
                  <a:pt x="2571088" y="815363"/>
                  <a:pt x="2565621" y="811719"/>
                  <a:pt x="2563799" y="808074"/>
                </a:cubicBezTo>
                <a:cubicBezTo>
                  <a:pt x="2563799" y="811719"/>
                  <a:pt x="2563799" y="815363"/>
                  <a:pt x="2556510" y="813541"/>
                </a:cubicBezTo>
                <a:cubicBezTo>
                  <a:pt x="2556510" y="809897"/>
                  <a:pt x="2554688" y="804430"/>
                  <a:pt x="2552866" y="798964"/>
                </a:cubicBezTo>
                <a:close/>
                <a:moveTo>
                  <a:pt x="1446806" y="798964"/>
                </a:moveTo>
                <a:lnTo>
                  <a:pt x="1446707" y="799561"/>
                </a:lnTo>
                <a:lnTo>
                  <a:pt x="1443855" y="801369"/>
                </a:lnTo>
                <a:close/>
                <a:moveTo>
                  <a:pt x="1025884" y="798964"/>
                </a:moveTo>
                <a:cubicBezTo>
                  <a:pt x="1024062" y="802608"/>
                  <a:pt x="1016774" y="800786"/>
                  <a:pt x="1020418" y="806252"/>
                </a:cubicBezTo>
                <a:lnTo>
                  <a:pt x="1020429" y="806274"/>
                </a:lnTo>
                <a:lnTo>
                  <a:pt x="1022239" y="802653"/>
                </a:lnTo>
                <a:cubicBezTo>
                  <a:pt x="1024062" y="802653"/>
                  <a:pt x="1022239" y="804475"/>
                  <a:pt x="1022239" y="806298"/>
                </a:cubicBezTo>
                <a:lnTo>
                  <a:pt x="1020442" y="806298"/>
                </a:lnTo>
                <a:lnTo>
                  <a:pt x="1022240" y="809897"/>
                </a:lnTo>
                <a:cubicBezTo>
                  <a:pt x="1022240" y="809897"/>
                  <a:pt x="1022240" y="808074"/>
                  <a:pt x="1022240" y="808074"/>
                </a:cubicBezTo>
                <a:cubicBezTo>
                  <a:pt x="1024062" y="806252"/>
                  <a:pt x="1025884" y="806252"/>
                  <a:pt x="1022240" y="802608"/>
                </a:cubicBezTo>
                <a:cubicBezTo>
                  <a:pt x="1025884" y="804430"/>
                  <a:pt x="1025884" y="800786"/>
                  <a:pt x="1025884" y="798964"/>
                </a:cubicBezTo>
                <a:close/>
                <a:moveTo>
                  <a:pt x="912909" y="798964"/>
                </a:moveTo>
                <a:cubicBezTo>
                  <a:pt x="905621" y="800786"/>
                  <a:pt x="911087" y="800786"/>
                  <a:pt x="912909" y="802608"/>
                </a:cubicBezTo>
                <a:cubicBezTo>
                  <a:pt x="914732" y="800786"/>
                  <a:pt x="911087" y="800786"/>
                  <a:pt x="912909" y="798964"/>
                </a:cubicBezTo>
                <a:close/>
                <a:moveTo>
                  <a:pt x="670560" y="798964"/>
                </a:moveTo>
                <a:cubicBezTo>
                  <a:pt x="670560" y="800786"/>
                  <a:pt x="666916" y="802608"/>
                  <a:pt x="666916" y="802608"/>
                </a:cubicBezTo>
                <a:cubicBezTo>
                  <a:pt x="668738" y="808074"/>
                  <a:pt x="672383" y="809897"/>
                  <a:pt x="677849" y="813541"/>
                </a:cubicBezTo>
                <a:cubicBezTo>
                  <a:pt x="681493" y="806252"/>
                  <a:pt x="679671" y="806252"/>
                  <a:pt x="672383" y="806252"/>
                </a:cubicBezTo>
                <a:cubicBezTo>
                  <a:pt x="674205" y="804430"/>
                  <a:pt x="676027" y="804430"/>
                  <a:pt x="677849" y="804430"/>
                </a:cubicBezTo>
                <a:cubicBezTo>
                  <a:pt x="681493" y="798964"/>
                  <a:pt x="676027" y="804430"/>
                  <a:pt x="670560" y="798964"/>
                </a:cubicBezTo>
                <a:close/>
                <a:moveTo>
                  <a:pt x="557586" y="798964"/>
                </a:moveTo>
                <a:cubicBezTo>
                  <a:pt x="553941" y="802608"/>
                  <a:pt x="561230" y="804430"/>
                  <a:pt x="564874" y="804430"/>
                </a:cubicBezTo>
                <a:cubicBezTo>
                  <a:pt x="561230" y="800786"/>
                  <a:pt x="559408" y="800786"/>
                  <a:pt x="557586" y="798964"/>
                </a:cubicBezTo>
                <a:close/>
                <a:moveTo>
                  <a:pt x="276971" y="798964"/>
                </a:moveTo>
                <a:cubicBezTo>
                  <a:pt x="276971" y="804430"/>
                  <a:pt x="276971" y="806252"/>
                  <a:pt x="282438" y="802608"/>
                </a:cubicBezTo>
                <a:cubicBezTo>
                  <a:pt x="280615" y="800786"/>
                  <a:pt x="278793" y="804430"/>
                  <a:pt x="276971" y="798964"/>
                </a:cubicBezTo>
                <a:close/>
                <a:moveTo>
                  <a:pt x="225950" y="798964"/>
                </a:moveTo>
                <a:cubicBezTo>
                  <a:pt x="231416" y="804430"/>
                  <a:pt x="233239" y="811719"/>
                  <a:pt x="242349" y="811719"/>
                </a:cubicBezTo>
                <a:cubicBezTo>
                  <a:pt x="240527" y="808074"/>
                  <a:pt x="233239" y="809897"/>
                  <a:pt x="236883" y="804430"/>
                </a:cubicBezTo>
                <a:cubicBezTo>
                  <a:pt x="233239" y="802608"/>
                  <a:pt x="229594" y="800786"/>
                  <a:pt x="225950" y="798964"/>
                </a:cubicBezTo>
                <a:close/>
                <a:moveTo>
                  <a:pt x="216839" y="798964"/>
                </a:moveTo>
                <a:cubicBezTo>
                  <a:pt x="216839" y="804430"/>
                  <a:pt x="227772" y="815363"/>
                  <a:pt x="233239" y="815363"/>
                </a:cubicBezTo>
                <a:cubicBezTo>
                  <a:pt x="235061" y="811719"/>
                  <a:pt x="224128" y="802608"/>
                  <a:pt x="225950" y="808074"/>
                </a:cubicBezTo>
                <a:cubicBezTo>
                  <a:pt x="222306" y="802608"/>
                  <a:pt x="220483" y="802608"/>
                  <a:pt x="216839" y="798964"/>
                </a:cubicBezTo>
                <a:close/>
                <a:moveTo>
                  <a:pt x="1448168" y="798634"/>
                </a:moveTo>
                <a:lnTo>
                  <a:pt x="1448629" y="804430"/>
                </a:lnTo>
                <a:cubicBezTo>
                  <a:pt x="1444984" y="806252"/>
                  <a:pt x="1448629" y="809897"/>
                  <a:pt x="1444984" y="809897"/>
                </a:cubicBezTo>
                <a:lnTo>
                  <a:pt x="1446707" y="799561"/>
                </a:lnTo>
                <a:close/>
                <a:moveTo>
                  <a:pt x="691288" y="798280"/>
                </a:moveTo>
                <a:cubicBezTo>
                  <a:pt x="689238" y="798964"/>
                  <a:pt x="687872" y="800786"/>
                  <a:pt x="688782" y="804430"/>
                </a:cubicBezTo>
                <a:cubicBezTo>
                  <a:pt x="692426" y="800786"/>
                  <a:pt x="688782" y="804430"/>
                  <a:pt x="692426" y="806252"/>
                </a:cubicBezTo>
                <a:cubicBezTo>
                  <a:pt x="696071" y="804430"/>
                  <a:pt x="697893" y="802608"/>
                  <a:pt x="697893" y="798964"/>
                </a:cubicBezTo>
                <a:cubicBezTo>
                  <a:pt x="696071" y="798053"/>
                  <a:pt x="693338" y="797597"/>
                  <a:pt x="691288" y="798280"/>
                </a:cubicBezTo>
                <a:close/>
                <a:moveTo>
                  <a:pt x="954990" y="797882"/>
                </a:moveTo>
                <a:cubicBezTo>
                  <a:pt x="952883" y="797370"/>
                  <a:pt x="950492" y="797825"/>
                  <a:pt x="947986" y="798964"/>
                </a:cubicBezTo>
                <a:cubicBezTo>
                  <a:pt x="942975" y="801242"/>
                  <a:pt x="937508" y="806253"/>
                  <a:pt x="932953" y="811719"/>
                </a:cubicBezTo>
                <a:cubicBezTo>
                  <a:pt x="932953" y="811719"/>
                  <a:pt x="932953" y="813541"/>
                  <a:pt x="932953" y="813541"/>
                </a:cubicBezTo>
                <a:cubicBezTo>
                  <a:pt x="931131" y="811719"/>
                  <a:pt x="931131" y="811719"/>
                  <a:pt x="931131" y="811719"/>
                </a:cubicBezTo>
                <a:cubicBezTo>
                  <a:pt x="931131" y="813541"/>
                  <a:pt x="929309" y="813541"/>
                  <a:pt x="927487" y="815363"/>
                </a:cubicBezTo>
                <a:cubicBezTo>
                  <a:pt x="927487" y="815363"/>
                  <a:pt x="929309" y="817185"/>
                  <a:pt x="929309" y="817185"/>
                </a:cubicBezTo>
                <a:cubicBezTo>
                  <a:pt x="927487" y="817185"/>
                  <a:pt x="927487" y="819008"/>
                  <a:pt x="927487" y="819008"/>
                </a:cubicBezTo>
                <a:cubicBezTo>
                  <a:pt x="929309" y="819008"/>
                  <a:pt x="931131" y="819008"/>
                  <a:pt x="932953" y="817185"/>
                </a:cubicBezTo>
                <a:cubicBezTo>
                  <a:pt x="931131" y="815363"/>
                  <a:pt x="931131" y="817185"/>
                  <a:pt x="929309" y="815363"/>
                </a:cubicBezTo>
                <a:cubicBezTo>
                  <a:pt x="932953" y="815363"/>
                  <a:pt x="932953" y="815363"/>
                  <a:pt x="932953" y="813541"/>
                </a:cubicBezTo>
                <a:cubicBezTo>
                  <a:pt x="934777" y="817185"/>
                  <a:pt x="942064" y="813541"/>
                  <a:pt x="942064" y="817185"/>
                </a:cubicBezTo>
                <a:cubicBezTo>
                  <a:pt x="942064" y="815363"/>
                  <a:pt x="943886" y="811719"/>
                  <a:pt x="945709" y="809897"/>
                </a:cubicBezTo>
                <a:cubicBezTo>
                  <a:pt x="949353" y="809897"/>
                  <a:pt x="943886" y="813541"/>
                  <a:pt x="947531" y="813541"/>
                </a:cubicBezTo>
                <a:cubicBezTo>
                  <a:pt x="952997" y="813541"/>
                  <a:pt x="954819" y="809897"/>
                  <a:pt x="958464" y="808074"/>
                </a:cubicBezTo>
                <a:cubicBezTo>
                  <a:pt x="956642" y="806252"/>
                  <a:pt x="952997" y="804430"/>
                  <a:pt x="951175" y="802608"/>
                </a:cubicBezTo>
                <a:cubicBezTo>
                  <a:pt x="954819" y="800786"/>
                  <a:pt x="956642" y="806252"/>
                  <a:pt x="960286" y="802608"/>
                </a:cubicBezTo>
                <a:cubicBezTo>
                  <a:pt x="958919" y="799875"/>
                  <a:pt x="957097" y="798395"/>
                  <a:pt x="954990" y="797882"/>
                </a:cubicBezTo>
                <a:close/>
                <a:moveTo>
                  <a:pt x="1322215" y="797825"/>
                </a:moveTo>
                <a:cubicBezTo>
                  <a:pt x="1320165" y="797597"/>
                  <a:pt x="1318343" y="798053"/>
                  <a:pt x="1317432" y="800786"/>
                </a:cubicBezTo>
                <a:cubicBezTo>
                  <a:pt x="1321077" y="800786"/>
                  <a:pt x="1324721" y="798964"/>
                  <a:pt x="1328365" y="798964"/>
                </a:cubicBezTo>
                <a:cubicBezTo>
                  <a:pt x="1326543" y="798964"/>
                  <a:pt x="1324265" y="798053"/>
                  <a:pt x="1322215" y="797825"/>
                </a:cubicBezTo>
                <a:close/>
                <a:moveTo>
                  <a:pt x="341202" y="797825"/>
                </a:moveTo>
                <a:cubicBezTo>
                  <a:pt x="339836" y="797142"/>
                  <a:pt x="338926" y="797142"/>
                  <a:pt x="338926" y="798964"/>
                </a:cubicBezTo>
                <a:lnTo>
                  <a:pt x="344470" y="799757"/>
                </a:lnTo>
                <a:lnTo>
                  <a:pt x="346213" y="800786"/>
                </a:lnTo>
                <a:cubicBezTo>
                  <a:pt x="348037" y="798964"/>
                  <a:pt x="351680" y="800786"/>
                  <a:pt x="351680" y="800786"/>
                </a:cubicBezTo>
                <a:lnTo>
                  <a:pt x="344470" y="799757"/>
                </a:lnTo>
                <a:close/>
                <a:moveTo>
                  <a:pt x="3645375" y="797761"/>
                </a:moveTo>
                <a:lnTo>
                  <a:pt x="3646171" y="800786"/>
                </a:lnTo>
                <a:lnTo>
                  <a:pt x="3643158" y="801791"/>
                </a:lnTo>
                <a:close/>
                <a:moveTo>
                  <a:pt x="1292068" y="797734"/>
                </a:moveTo>
                <a:lnTo>
                  <a:pt x="1297388" y="800786"/>
                </a:lnTo>
                <a:cubicBezTo>
                  <a:pt x="1295566" y="798964"/>
                  <a:pt x="1293744" y="798508"/>
                  <a:pt x="1292149" y="797825"/>
                </a:cubicBezTo>
                <a:close/>
                <a:moveTo>
                  <a:pt x="1217210" y="797142"/>
                </a:moveTo>
                <a:lnTo>
                  <a:pt x="1217212" y="797142"/>
                </a:lnTo>
                <a:lnTo>
                  <a:pt x="1209012" y="801242"/>
                </a:lnTo>
                <a:cubicBezTo>
                  <a:pt x="1206279" y="801697"/>
                  <a:pt x="1203546" y="801697"/>
                  <a:pt x="1200814" y="802608"/>
                </a:cubicBezTo>
                <a:close/>
                <a:moveTo>
                  <a:pt x="3540484" y="797141"/>
                </a:moveTo>
                <a:cubicBezTo>
                  <a:pt x="3538662" y="800786"/>
                  <a:pt x="3545951" y="802608"/>
                  <a:pt x="3542306" y="806252"/>
                </a:cubicBezTo>
                <a:cubicBezTo>
                  <a:pt x="3542306" y="806252"/>
                  <a:pt x="3542306" y="806252"/>
                  <a:pt x="3540484" y="804430"/>
                </a:cubicBezTo>
                <a:cubicBezTo>
                  <a:pt x="3536840" y="811719"/>
                  <a:pt x="3533196" y="809897"/>
                  <a:pt x="3525907" y="808074"/>
                </a:cubicBezTo>
                <a:cubicBezTo>
                  <a:pt x="3533196" y="813541"/>
                  <a:pt x="3542306" y="819008"/>
                  <a:pt x="3549595" y="815363"/>
                </a:cubicBezTo>
                <a:cubicBezTo>
                  <a:pt x="3553240" y="809897"/>
                  <a:pt x="3544129" y="802608"/>
                  <a:pt x="3549595" y="797141"/>
                </a:cubicBezTo>
                <a:cubicBezTo>
                  <a:pt x="3545951" y="798964"/>
                  <a:pt x="3544129" y="795319"/>
                  <a:pt x="3540484" y="797141"/>
                </a:cubicBezTo>
                <a:close/>
                <a:moveTo>
                  <a:pt x="3371022" y="797141"/>
                </a:moveTo>
                <a:cubicBezTo>
                  <a:pt x="3367378" y="798964"/>
                  <a:pt x="3360089" y="798964"/>
                  <a:pt x="3356445" y="800786"/>
                </a:cubicBezTo>
                <a:cubicBezTo>
                  <a:pt x="3358267" y="802608"/>
                  <a:pt x="3372844" y="802608"/>
                  <a:pt x="3371022" y="797141"/>
                </a:cubicBezTo>
                <a:close/>
                <a:moveTo>
                  <a:pt x="2786104" y="797141"/>
                </a:moveTo>
                <a:cubicBezTo>
                  <a:pt x="2784282" y="797141"/>
                  <a:pt x="2787927" y="811719"/>
                  <a:pt x="2793393" y="809897"/>
                </a:cubicBezTo>
                <a:cubicBezTo>
                  <a:pt x="2793393" y="804430"/>
                  <a:pt x="2787927" y="802608"/>
                  <a:pt x="2786104" y="797141"/>
                </a:cubicBezTo>
                <a:close/>
                <a:moveTo>
                  <a:pt x="2669485" y="797141"/>
                </a:moveTo>
                <a:cubicBezTo>
                  <a:pt x="2664019" y="795319"/>
                  <a:pt x="2665841" y="800786"/>
                  <a:pt x="2662197" y="800786"/>
                </a:cubicBezTo>
                <a:cubicBezTo>
                  <a:pt x="2664019" y="802608"/>
                  <a:pt x="2669485" y="800786"/>
                  <a:pt x="2669485" y="797141"/>
                </a:cubicBezTo>
                <a:close/>
                <a:moveTo>
                  <a:pt x="2638508" y="797141"/>
                </a:moveTo>
                <a:cubicBezTo>
                  <a:pt x="2631219" y="800786"/>
                  <a:pt x="2633042" y="808074"/>
                  <a:pt x="2636686" y="811719"/>
                </a:cubicBezTo>
                <a:cubicBezTo>
                  <a:pt x="2620287" y="813541"/>
                  <a:pt x="2634864" y="820830"/>
                  <a:pt x="2627575" y="822652"/>
                </a:cubicBezTo>
                <a:cubicBezTo>
                  <a:pt x="2631219" y="826296"/>
                  <a:pt x="2636686" y="828118"/>
                  <a:pt x="2642153" y="828118"/>
                </a:cubicBezTo>
                <a:cubicBezTo>
                  <a:pt x="2645797" y="815363"/>
                  <a:pt x="2640330" y="806252"/>
                  <a:pt x="2638508" y="797141"/>
                </a:cubicBezTo>
                <a:close/>
                <a:moveTo>
                  <a:pt x="2527356" y="797141"/>
                </a:moveTo>
                <a:cubicBezTo>
                  <a:pt x="2529178" y="802608"/>
                  <a:pt x="2531000" y="806252"/>
                  <a:pt x="2534644" y="808074"/>
                </a:cubicBezTo>
                <a:cubicBezTo>
                  <a:pt x="2536466" y="802608"/>
                  <a:pt x="2532822" y="802608"/>
                  <a:pt x="2532822" y="797141"/>
                </a:cubicBezTo>
                <a:cubicBezTo>
                  <a:pt x="2531000" y="797141"/>
                  <a:pt x="2529178" y="797141"/>
                  <a:pt x="2527356" y="797141"/>
                </a:cubicBezTo>
                <a:close/>
                <a:moveTo>
                  <a:pt x="2275896" y="797141"/>
                </a:moveTo>
                <a:lnTo>
                  <a:pt x="2279540" y="806252"/>
                </a:lnTo>
                <a:cubicBezTo>
                  <a:pt x="2281362" y="806252"/>
                  <a:pt x="2281362" y="808074"/>
                  <a:pt x="2283184" y="802608"/>
                </a:cubicBezTo>
                <a:cubicBezTo>
                  <a:pt x="2281362" y="798964"/>
                  <a:pt x="2277718" y="795319"/>
                  <a:pt x="2275896" y="797141"/>
                </a:cubicBezTo>
                <a:close/>
                <a:moveTo>
                  <a:pt x="1508760" y="797141"/>
                </a:moveTo>
                <a:cubicBezTo>
                  <a:pt x="1506027" y="797141"/>
                  <a:pt x="1503749" y="799419"/>
                  <a:pt x="1501472" y="801469"/>
                </a:cubicBezTo>
                <a:lnTo>
                  <a:pt x="1499606" y="802227"/>
                </a:lnTo>
                <a:close/>
                <a:moveTo>
                  <a:pt x="1341120" y="797141"/>
                </a:moveTo>
                <a:cubicBezTo>
                  <a:pt x="1337476" y="800786"/>
                  <a:pt x="1335654" y="798964"/>
                  <a:pt x="1332009" y="800786"/>
                </a:cubicBezTo>
                <a:cubicBezTo>
                  <a:pt x="1333832" y="800786"/>
                  <a:pt x="1344765" y="800786"/>
                  <a:pt x="1341120" y="797141"/>
                </a:cubicBezTo>
                <a:close/>
                <a:moveTo>
                  <a:pt x="707004" y="797141"/>
                </a:moveTo>
                <a:cubicBezTo>
                  <a:pt x="705182" y="797141"/>
                  <a:pt x="703359" y="797141"/>
                  <a:pt x="701537" y="798964"/>
                </a:cubicBezTo>
                <a:cubicBezTo>
                  <a:pt x="705182" y="802608"/>
                  <a:pt x="705182" y="804430"/>
                  <a:pt x="708826" y="808074"/>
                </a:cubicBezTo>
                <a:cubicBezTo>
                  <a:pt x="710648" y="806252"/>
                  <a:pt x="708826" y="802608"/>
                  <a:pt x="707004" y="797141"/>
                </a:cubicBezTo>
                <a:close/>
                <a:moveTo>
                  <a:pt x="635939" y="797141"/>
                </a:moveTo>
                <a:cubicBezTo>
                  <a:pt x="634117" y="798964"/>
                  <a:pt x="635939" y="804430"/>
                  <a:pt x="639583" y="804430"/>
                </a:cubicBezTo>
                <a:cubicBezTo>
                  <a:pt x="643228" y="804430"/>
                  <a:pt x="639583" y="802608"/>
                  <a:pt x="643228" y="800786"/>
                </a:cubicBezTo>
                <a:cubicBezTo>
                  <a:pt x="639583" y="802608"/>
                  <a:pt x="637761" y="798964"/>
                  <a:pt x="635939" y="797141"/>
                </a:cubicBezTo>
                <a:close/>
                <a:moveTo>
                  <a:pt x="402701" y="797141"/>
                </a:moveTo>
                <a:cubicBezTo>
                  <a:pt x="399056" y="798964"/>
                  <a:pt x="404523" y="800786"/>
                  <a:pt x="406345" y="800786"/>
                </a:cubicBezTo>
                <a:cubicBezTo>
                  <a:pt x="406345" y="798964"/>
                  <a:pt x="402701" y="797141"/>
                  <a:pt x="402701" y="797141"/>
                </a:cubicBezTo>
                <a:close/>
                <a:moveTo>
                  <a:pt x="311592" y="797141"/>
                </a:moveTo>
                <a:cubicBezTo>
                  <a:pt x="311592" y="800786"/>
                  <a:pt x="313414" y="806252"/>
                  <a:pt x="320703" y="806252"/>
                </a:cubicBezTo>
                <a:cubicBezTo>
                  <a:pt x="318882" y="804430"/>
                  <a:pt x="317059" y="802608"/>
                  <a:pt x="317059" y="802608"/>
                </a:cubicBezTo>
                <a:cubicBezTo>
                  <a:pt x="317059" y="802608"/>
                  <a:pt x="318882" y="802608"/>
                  <a:pt x="318882" y="802608"/>
                </a:cubicBezTo>
                <a:cubicBezTo>
                  <a:pt x="318882" y="798964"/>
                  <a:pt x="313414" y="800786"/>
                  <a:pt x="311592" y="797141"/>
                </a:cubicBezTo>
                <a:close/>
                <a:moveTo>
                  <a:pt x="200439" y="797141"/>
                </a:moveTo>
                <a:cubicBezTo>
                  <a:pt x="204084" y="804430"/>
                  <a:pt x="211372" y="813541"/>
                  <a:pt x="215017" y="815363"/>
                </a:cubicBezTo>
                <a:cubicBezTo>
                  <a:pt x="216839" y="815363"/>
                  <a:pt x="213195" y="811719"/>
                  <a:pt x="215017" y="811719"/>
                </a:cubicBezTo>
                <a:cubicBezTo>
                  <a:pt x="220483" y="811719"/>
                  <a:pt x="218661" y="820830"/>
                  <a:pt x="224128" y="819008"/>
                </a:cubicBezTo>
                <a:cubicBezTo>
                  <a:pt x="218661" y="808074"/>
                  <a:pt x="207728" y="806252"/>
                  <a:pt x="200439" y="797141"/>
                </a:cubicBezTo>
                <a:close/>
                <a:moveTo>
                  <a:pt x="1449855" y="796779"/>
                </a:moveTo>
                <a:lnTo>
                  <a:pt x="1449085" y="798053"/>
                </a:lnTo>
                <a:lnTo>
                  <a:pt x="1448168" y="798634"/>
                </a:lnTo>
                <a:lnTo>
                  <a:pt x="1448145" y="798338"/>
                </a:lnTo>
                <a:close/>
                <a:moveTo>
                  <a:pt x="2337850" y="795319"/>
                </a:moveTo>
                <a:lnTo>
                  <a:pt x="2332383" y="797141"/>
                </a:lnTo>
                <a:cubicBezTo>
                  <a:pt x="2334205" y="802608"/>
                  <a:pt x="2330561" y="809897"/>
                  <a:pt x="2328739" y="815363"/>
                </a:cubicBezTo>
                <a:cubicBezTo>
                  <a:pt x="2332383" y="808074"/>
                  <a:pt x="2334205" y="802608"/>
                  <a:pt x="2337850" y="795319"/>
                </a:cubicBezTo>
                <a:close/>
                <a:moveTo>
                  <a:pt x="1107882" y="795319"/>
                </a:moveTo>
                <a:lnTo>
                  <a:pt x="1107882" y="802244"/>
                </a:lnTo>
                <a:lnTo>
                  <a:pt x="1106060" y="802608"/>
                </a:lnTo>
                <a:cubicBezTo>
                  <a:pt x="1107882" y="806252"/>
                  <a:pt x="1107882" y="808074"/>
                  <a:pt x="1106060" y="809897"/>
                </a:cubicBezTo>
                <a:cubicBezTo>
                  <a:pt x="1106060" y="811719"/>
                  <a:pt x="1107882" y="813541"/>
                  <a:pt x="1107882" y="815363"/>
                </a:cubicBezTo>
                <a:cubicBezTo>
                  <a:pt x="1109704" y="815363"/>
                  <a:pt x="1113349" y="815363"/>
                  <a:pt x="1115171" y="813541"/>
                </a:cubicBezTo>
                <a:cubicBezTo>
                  <a:pt x="1115171" y="811719"/>
                  <a:pt x="1113349" y="811719"/>
                  <a:pt x="1111526" y="811719"/>
                </a:cubicBezTo>
                <a:cubicBezTo>
                  <a:pt x="1113349" y="811719"/>
                  <a:pt x="1113349" y="811719"/>
                  <a:pt x="1115171" y="811719"/>
                </a:cubicBezTo>
                <a:cubicBezTo>
                  <a:pt x="1115171" y="809897"/>
                  <a:pt x="1113349" y="806252"/>
                  <a:pt x="1109704" y="804430"/>
                </a:cubicBezTo>
                <a:cubicBezTo>
                  <a:pt x="1111526" y="802608"/>
                  <a:pt x="1113349" y="806252"/>
                  <a:pt x="1115171" y="808074"/>
                </a:cubicBezTo>
                <a:cubicBezTo>
                  <a:pt x="1116993" y="806252"/>
                  <a:pt x="1113349" y="802608"/>
                  <a:pt x="1115171" y="800786"/>
                </a:cubicBezTo>
                <a:lnTo>
                  <a:pt x="1108663" y="802088"/>
                </a:lnTo>
                <a:lnTo>
                  <a:pt x="1113349" y="798964"/>
                </a:lnTo>
                <a:cubicBezTo>
                  <a:pt x="1111526" y="797141"/>
                  <a:pt x="1111526" y="793497"/>
                  <a:pt x="1107882" y="795319"/>
                </a:cubicBezTo>
                <a:close/>
                <a:moveTo>
                  <a:pt x="1102416" y="795319"/>
                </a:moveTo>
                <a:cubicBezTo>
                  <a:pt x="1102416" y="797141"/>
                  <a:pt x="1102416" y="798964"/>
                  <a:pt x="1102416" y="800786"/>
                </a:cubicBezTo>
                <a:cubicBezTo>
                  <a:pt x="1106060" y="798964"/>
                  <a:pt x="1104238" y="797141"/>
                  <a:pt x="1104238" y="795319"/>
                </a:cubicBezTo>
                <a:cubicBezTo>
                  <a:pt x="1104238" y="795319"/>
                  <a:pt x="1102416" y="795319"/>
                  <a:pt x="1102416" y="795319"/>
                </a:cubicBezTo>
                <a:close/>
                <a:moveTo>
                  <a:pt x="719759" y="795319"/>
                </a:moveTo>
                <a:cubicBezTo>
                  <a:pt x="714293" y="797141"/>
                  <a:pt x="716115" y="800786"/>
                  <a:pt x="717937" y="804430"/>
                </a:cubicBezTo>
                <a:cubicBezTo>
                  <a:pt x="721581" y="802608"/>
                  <a:pt x="723404" y="800786"/>
                  <a:pt x="725226" y="798964"/>
                </a:cubicBezTo>
                <a:cubicBezTo>
                  <a:pt x="727048" y="797141"/>
                  <a:pt x="721581" y="797141"/>
                  <a:pt x="719759" y="795319"/>
                </a:cubicBezTo>
                <a:close/>
                <a:moveTo>
                  <a:pt x="666916" y="795319"/>
                </a:moveTo>
                <a:cubicBezTo>
                  <a:pt x="665094" y="797141"/>
                  <a:pt x="666916" y="797141"/>
                  <a:pt x="666916" y="798964"/>
                </a:cubicBezTo>
                <a:cubicBezTo>
                  <a:pt x="668738" y="800786"/>
                  <a:pt x="672383" y="797141"/>
                  <a:pt x="670560" y="797141"/>
                </a:cubicBezTo>
                <a:cubicBezTo>
                  <a:pt x="668738" y="795319"/>
                  <a:pt x="668738" y="795319"/>
                  <a:pt x="666916" y="795319"/>
                </a:cubicBezTo>
                <a:close/>
                <a:moveTo>
                  <a:pt x="648694" y="795319"/>
                </a:moveTo>
                <a:lnTo>
                  <a:pt x="650104" y="799552"/>
                </a:lnTo>
                <a:lnTo>
                  <a:pt x="648694" y="798964"/>
                </a:lnTo>
                <a:cubicBezTo>
                  <a:pt x="648694" y="798964"/>
                  <a:pt x="650516" y="800786"/>
                  <a:pt x="650516" y="800786"/>
                </a:cubicBezTo>
                <a:lnTo>
                  <a:pt x="650104" y="799552"/>
                </a:lnTo>
                <a:lnTo>
                  <a:pt x="651427" y="800103"/>
                </a:lnTo>
                <a:cubicBezTo>
                  <a:pt x="651883" y="801242"/>
                  <a:pt x="652338" y="802608"/>
                  <a:pt x="654161" y="802608"/>
                </a:cubicBezTo>
                <a:cubicBezTo>
                  <a:pt x="657805" y="800786"/>
                  <a:pt x="657805" y="798964"/>
                  <a:pt x="655983" y="795319"/>
                </a:cubicBezTo>
                <a:cubicBezTo>
                  <a:pt x="654161" y="795319"/>
                  <a:pt x="650516" y="795319"/>
                  <a:pt x="648694" y="795319"/>
                </a:cubicBezTo>
                <a:close/>
                <a:moveTo>
                  <a:pt x="532075" y="795319"/>
                </a:moveTo>
                <a:cubicBezTo>
                  <a:pt x="533897" y="798964"/>
                  <a:pt x="543008" y="802608"/>
                  <a:pt x="543008" y="808074"/>
                </a:cubicBezTo>
                <a:cubicBezTo>
                  <a:pt x="543008" y="802608"/>
                  <a:pt x="541186" y="791675"/>
                  <a:pt x="532075" y="795319"/>
                </a:cubicBezTo>
                <a:close/>
                <a:moveTo>
                  <a:pt x="3119428" y="794617"/>
                </a:moveTo>
                <a:lnTo>
                  <a:pt x="3119562" y="795319"/>
                </a:lnTo>
                <a:lnTo>
                  <a:pt x="3118119" y="795079"/>
                </a:lnTo>
                <a:close/>
                <a:moveTo>
                  <a:pt x="1022240" y="793497"/>
                </a:moveTo>
                <a:cubicBezTo>
                  <a:pt x="1018596" y="795319"/>
                  <a:pt x="1018596" y="798964"/>
                  <a:pt x="1020418" y="800786"/>
                </a:cubicBezTo>
                <a:cubicBezTo>
                  <a:pt x="1020418" y="798964"/>
                  <a:pt x="1024062" y="797141"/>
                  <a:pt x="1024062" y="795319"/>
                </a:cubicBezTo>
                <a:cubicBezTo>
                  <a:pt x="1022240" y="795319"/>
                  <a:pt x="1020418" y="795319"/>
                  <a:pt x="1022240" y="793497"/>
                </a:cubicBezTo>
                <a:close/>
                <a:moveTo>
                  <a:pt x="962108" y="793497"/>
                </a:moveTo>
                <a:cubicBezTo>
                  <a:pt x="960286" y="791675"/>
                  <a:pt x="958464" y="797141"/>
                  <a:pt x="956642" y="795319"/>
                </a:cubicBezTo>
                <a:cubicBezTo>
                  <a:pt x="952997" y="797141"/>
                  <a:pt x="958464" y="795319"/>
                  <a:pt x="962108" y="793497"/>
                </a:cubicBezTo>
                <a:close/>
                <a:moveTo>
                  <a:pt x="759848" y="793497"/>
                </a:moveTo>
                <a:cubicBezTo>
                  <a:pt x="761670" y="809897"/>
                  <a:pt x="763491" y="795319"/>
                  <a:pt x="763491" y="793497"/>
                </a:cubicBezTo>
                <a:cubicBezTo>
                  <a:pt x="761670" y="793497"/>
                  <a:pt x="761670" y="795319"/>
                  <a:pt x="759848" y="793497"/>
                </a:cubicBezTo>
                <a:close/>
                <a:moveTo>
                  <a:pt x="430034" y="793497"/>
                </a:moveTo>
                <a:cubicBezTo>
                  <a:pt x="430944" y="796231"/>
                  <a:pt x="434133" y="801242"/>
                  <a:pt x="438005" y="805342"/>
                </a:cubicBezTo>
                <a:lnTo>
                  <a:pt x="443564" y="808278"/>
                </a:lnTo>
                <a:lnTo>
                  <a:pt x="442789" y="808074"/>
                </a:lnTo>
                <a:lnTo>
                  <a:pt x="443843" y="808426"/>
                </a:lnTo>
                <a:lnTo>
                  <a:pt x="450077" y="811719"/>
                </a:lnTo>
                <a:lnTo>
                  <a:pt x="447708" y="809714"/>
                </a:lnTo>
                <a:lnTo>
                  <a:pt x="453722" y="811719"/>
                </a:lnTo>
                <a:cubicBezTo>
                  <a:pt x="453722" y="806252"/>
                  <a:pt x="446433" y="806252"/>
                  <a:pt x="442789" y="802608"/>
                </a:cubicBezTo>
                <a:cubicBezTo>
                  <a:pt x="446433" y="802608"/>
                  <a:pt x="451899" y="806252"/>
                  <a:pt x="455544" y="808074"/>
                </a:cubicBezTo>
                <a:cubicBezTo>
                  <a:pt x="451899" y="798964"/>
                  <a:pt x="437322" y="793497"/>
                  <a:pt x="430034" y="793497"/>
                </a:cubicBezTo>
                <a:close/>
                <a:moveTo>
                  <a:pt x="3324329" y="792586"/>
                </a:moveTo>
                <a:cubicBezTo>
                  <a:pt x="3322279" y="792586"/>
                  <a:pt x="3320001" y="793497"/>
                  <a:pt x="3320001" y="795319"/>
                </a:cubicBezTo>
                <a:cubicBezTo>
                  <a:pt x="3321824" y="795319"/>
                  <a:pt x="3325468" y="795319"/>
                  <a:pt x="3327290" y="795319"/>
                </a:cubicBezTo>
                <a:cubicBezTo>
                  <a:pt x="3328201" y="793497"/>
                  <a:pt x="3326379" y="792586"/>
                  <a:pt x="3324329" y="792586"/>
                </a:cubicBezTo>
                <a:close/>
                <a:moveTo>
                  <a:pt x="3460309" y="791675"/>
                </a:moveTo>
                <a:cubicBezTo>
                  <a:pt x="3462131" y="797141"/>
                  <a:pt x="3465775" y="798964"/>
                  <a:pt x="3460309" y="802608"/>
                </a:cubicBezTo>
                <a:cubicBezTo>
                  <a:pt x="3465775" y="802608"/>
                  <a:pt x="3463953" y="798964"/>
                  <a:pt x="3467597" y="798964"/>
                </a:cubicBezTo>
                <a:cubicBezTo>
                  <a:pt x="3465775" y="795319"/>
                  <a:pt x="3465775" y="789853"/>
                  <a:pt x="3460309" y="791675"/>
                </a:cubicBezTo>
                <a:close/>
                <a:moveTo>
                  <a:pt x="1131570" y="791675"/>
                </a:moveTo>
                <a:cubicBezTo>
                  <a:pt x="1126104" y="791675"/>
                  <a:pt x="1122459" y="791675"/>
                  <a:pt x="1116993" y="793497"/>
                </a:cubicBezTo>
                <a:cubicBezTo>
                  <a:pt x="1120637" y="797141"/>
                  <a:pt x="1118815" y="798964"/>
                  <a:pt x="1122459" y="800786"/>
                </a:cubicBezTo>
                <a:cubicBezTo>
                  <a:pt x="1126104" y="798964"/>
                  <a:pt x="1127926" y="795319"/>
                  <a:pt x="1131570" y="791675"/>
                </a:cubicBezTo>
                <a:close/>
                <a:moveTo>
                  <a:pt x="768959" y="791675"/>
                </a:moveTo>
                <a:cubicBezTo>
                  <a:pt x="759848" y="795319"/>
                  <a:pt x="763491" y="804430"/>
                  <a:pt x="772602" y="806252"/>
                </a:cubicBezTo>
                <a:cubicBezTo>
                  <a:pt x="772602" y="802608"/>
                  <a:pt x="776246" y="797141"/>
                  <a:pt x="768959" y="791675"/>
                </a:cubicBezTo>
                <a:close/>
                <a:moveTo>
                  <a:pt x="594030" y="791675"/>
                </a:moveTo>
                <a:cubicBezTo>
                  <a:pt x="592207" y="793497"/>
                  <a:pt x="597673" y="795319"/>
                  <a:pt x="595852" y="797141"/>
                </a:cubicBezTo>
                <a:cubicBezTo>
                  <a:pt x="597673" y="797141"/>
                  <a:pt x="595852" y="795319"/>
                  <a:pt x="597673" y="795319"/>
                </a:cubicBezTo>
                <a:cubicBezTo>
                  <a:pt x="597673" y="793497"/>
                  <a:pt x="595852" y="791675"/>
                  <a:pt x="594030" y="791675"/>
                </a:cubicBezTo>
                <a:close/>
                <a:moveTo>
                  <a:pt x="471943" y="791675"/>
                </a:moveTo>
                <a:cubicBezTo>
                  <a:pt x="466478" y="791675"/>
                  <a:pt x="470121" y="797141"/>
                  <a:pt x="468299" y="798964"/>
                </a:cubicBezTo>
                <a:cubicBezTo>
                  <a:pt x="470121" y="798964"/>
                  <a:pt x="473766" y="800786"/>
                  <a:pt x="473766" y="798964"/>
                </a:cubicBezTo>
                <a:cubicBezTo>
                  <a:pt x="475589" y="798964"/>
                  <a:pt x="475589" y="802608"/>
                  <a:pt x="477410" y="804430"/>
                </a:cubicBezTo>
                <a:cubicBezTo>
                  <a:pt x="477410" y="800786"/>
                  <a:pt x="477410" y="798964"/>
                  <a:pt x="475589" y="795319"/>
                </a:cubicBezTo>
                <a:cubicBezTo>
                  <a:pt x="475589" y="800786"/>
                  <a:pt x="473766" y="795319"/>
                  <a:pt x="471943" y="795319"/>
                </a:cubicBezTo>
                <a:cubicBezTo>
                  <a:pt x="471943" y="793497"/>
                  <a:pt x="475589" y="793497"/>
                  <a:pt x="471943" y="791675"/>
                </a:cubicBezTo>
                <a:close/>
                <a:moveTo>
                  <a:pt x="340747" y="791675"/>
                </a:moveTo>
                <a:cubicBezTo>
                  <a:pt x="346213" y="793497"/>
                  <a:pt x="348037" y="797141"/>
                  <a:pt x="351680" y="797141"/>
                </a:cubicBezTo>
                <a:cubicBezTo>
                  <a:pt x="349858" y="795319"/>
                  <a:pt x="344391" y="788031"/>
                  <a:pt x="340747" y="791675"/>
                </a:cubicBezTo>
                <a:close/>
                <a:moveTo>
                  <a:pt x="271504" y="791675"/>
                </a:moveTo>
                <a:cubicBezTo>
                  <a:pt x="269682" y="791675"/>
                  <a:pt x="275149" y="798964"/>
                  <a:pt x="276971" y="797141"/>
                </a:cubicBezTo>
                <a:cubicBezTo>
                  <a:pt x="275149" y="793497"/>
                  <a:pt x="273327" y="789853"/>
                  <a:pt x="271504" y="791675"/>
                </a:cubicBezTo>
                <a:close/>
                <a:moveTo>
                  <a:pt x="2682924" y="791220"/>
                </a:moveTo>
                <a:cubicBezTo>
                  <a:pt x="2681330" y="791220"/>
                  <a:pt x="2679507" y="791675"/>
                  <a:pt x="2678596" y="791675"/>
                </a:cubicBezTo>
                <a:cubicBezTo>
                  <a:pt x="2678596" y="797141"/>
                  <a:pt x="2682240" y="793497"/>
                  <a:pt x="2685885" y="793497"/>
                </a:cubicBezTo>
                <a:cubicBezTo>
                  <a:pt x="2685885" y="791675"/>
                  <a:pt x="2684518" y="791220"/>
                  <a:pt x="2682924" y="791220"/>
                </a:cubicBezTo>
                <a:close/>
                <a:moveTo>
                  <a:pt x="3247114" y="789853"/>
                </a:moveTo>
                <a:cubicBezTo>
                  <a:pt x="3245292" y="791675"/>
                  <a:pt x="3243470" y="793497"/>
                  <a:pt x="3241648" y="793497"/>
                </a:cubicBezTo>
                <a:cubicBezTo>
                  <a:pt x="3241648" y="795319"/>
                  <a:pt x="3245292" y="795319"/>
                  <a:pt x="3248937" y="795319"/>
                </a:cubicBezTo>
                <a:cubicBezTo>
                  <a:pt x="3248937" y="791675"/>
                  <a:pt x="3247114" y="791675"/>
                  <a:pt x="3247114" y="789853"/>
                </a:cubicBezTo>
                <a:close/>
                <a:moveTo>
                  <a:pt x="2645797" y="789853"/>
                </a:moveTo>
                <a:cubicBezTo>
                  <a:pt x="2642153" y="789853"/>
                  <a:pt x="2642153" y="797141"/>
                  <a:pt x="2647619" y="797141"/>
                </a:cubicBezTo>
                <a:cubicBezTo>
                  <a:pt x="2647619" y="793497"/>
                  <a:pt x="2647619" y="791675"/>
                  <a:pt x="2645797" y="789853"/>
                </a:cubicBezTo>
                <a:close/>
                <a:moveTo>
                  <a:pt x="2574732" y="789853"/>
                </a:moveTo>
                <a:cubicBezTo>
                  <a:pt x="2567443" y="791675"/>
                  <a:pt x="2576554" y="797141"/>
                  <a:pt x="2576554" y="802608"/>
                </a:cubicBezTo>
                <a:cubicBezTo>
                  <a:pt x="2580199" y="800786"/>
                  <a:pt x="2583843" y="800786"/>
                  <a:pt x="2582021" y="795319"/>
                </a:cubicBezTo>
                <a:cubicBezTo>
                  <a:pt x="2580199" y="793497"/>
                  <a:pt x="2572910" y="795319"/>
                  <a:pt x="2574732" y="789853"/>
                </a:cubicBezTo>
                <a:close/>
                <a:moveTo>
                  <a:pt x="1496006" y="789853"/>
                </a:moveTo>
                <a:cubicBezTo>
                  <a:pt x="1486895" y="788031"/>
                  <a:pt x="1472317" y="800786"/>
                  <a:pt x="1465028" y="809897"/>
                </a:cubicBezTo>
                <a:cubicBezTo>
                  <a:pt x="1479606" y="804430"/>
                  <a:pt x="1490539" y="798964"/>
                  <a:pt x="1496006" y="789853"/>
                </a:cubicBezTo>
                <a:close/>
                <a:moveTo>
                  <a:pt x="1204457" y="789853"/>
                </a:moveTo>
                <a:lnTo>
                  <a:pt x="1204254" y="790461"/>
                </a:lnTo>
                <a:lnTo>
                  <a:pt x="1203960" y="790350"/>
                </a:lnTo>
                <a:close/>
                <a:moveTo>
                  <a:pt x="854600" y="789853"/>
                </a:moveTo>
                <a:cubicBezTo>
                  <a:pt x="850956" y="795319"/>
                  <a:pt x="852778" y="798964"/>
                  <a:pt x="860066" y="802608"/>
                </a:cubicBezTo>
                <a:cubicBezTo>
                  <a:pt x="861889" y="804430"/>
                  <a:pt x="863711" y="802608"/>
                  <a:pt x="865533" y="804430"/>
                </a:cubicBezTo>
                <a:cubicBezTo>
                  <a:pt x="869177" y="802608"/>
                  <a:pt x="865533" y="800786"/>
                  <a:pt x="863711" y="798964"/>
                </a:cubicBezTo>
                <a:cubicBezTo>
                  <a:pt x="863711" y="800786"/>
                  <a:pt x="861889" y="800786"/>
                  <a:pt x="860066" y="802608"/>
                </a:cubicBezTo>
                <a:cubicBezTo>
                  <a:pt x="863711" y="798964"/>
                  <a:pt x="860066" y="797141"/>
                  <a:pt x="863711" y="793497"/>
                </a:cubicBezTo>
                <a:cubicBezTo>
                  <a:pt x="860066" y="797141"/>
                  <a:pt x="860066" y="789853"/>
                  <a:pt x="854600" y="789853"/>
                </a:cubicBezTo>
                <a:close/>
                <a:moveTo>
                  <a:pt x="634117" y="789853"/>
                </a:moveTo>
                <a:cubicBezTo>
                  <a:pt x="639583" y="791675"/>
                  <a:pt x="635939" y="798964"/>
                  <a:pt x="645050" y="798964"/>
                </a:cubicBezTo>
                <a:cubicBezTo>
                  <a:pt x="639583" y="795319"/>
                  <a:pt x="639583" y="791675"/>
                  <a:pt x="634117" y="789853"/>
                </a:cubicBezTo>
                <a:close/>
                <a:moveTo>
                  <a:pt x="235061" y="789853"/>
                </a:moveTo>
                <a:cubicBezTo>
                  <a:pt x="231416" y="789853"/>
                  <a:pt x="236883" y="797141"/>
                  <a:pt x="238705" y="795319"/>
                </a:cubicBezTo>
                <a:cubicBezTo>
                  <a:pt x="236883" y="791675"/>
                  <a:pt x="236883" y="791675"/>
                  <a:pt x="235061" y="789853"/>
                </a:cubicBezTo>
                <a:close/>
                <a:moveTo>
                  <a:pt x="2605709" y="788031"/>
                </a:moveTo>
                <a:cubicBezTo>
                  <a:pt x="2602065" y="786208"/>
                  <a:pt x="2607531" y="795319"/>
                  <a:pt x="2607531" y="797141"/>
                </a:cubicBezTo>
                <a:cubicBezTo>
                  <a:pt x="2612998" y="795319"/>
                  <a:pt x="2605709" y="791675"/>
                  <a:pt x="2605709" y="788031"/>
                </a:cubicBezTo>
                <a:close/>
                <a:moveTo>
                  <a:pt x="1339299" y="788031"/>
                </a:moveTo>
                <a:cubicBezTo>
                  <a:pt x="1335654" y="789853"/>
                  <a:pt x="1335654" y="791675"/>
                  <a:pt x="1333832" y="793497"/>
                </a:cubicBezTo>
                <a:cubicBezTo>
                  <a:pt x="1335654" y="795319"/>
                  <a:pt x="1339299" y="791675"/>
                  <a:pt x="1342942" y="791675"/>
                </a:cubicBezTo>
                <a:cubicBezTo>
                  <a:pt x="1341120" y="789853"/>
                  <a:pt x="1341120" y="789853"/>
                  <a:pt x="1339299" y="788031"/>
                </a:cubicBezTo>
                <a:close/>
                <a:moveTo>
                  <a:pt x="1332009" y="788031"/>
                </a:moveTo>
                <a:cubicBezTo>
                  <a:pt x="1324721" y="788031"/>
                  <a:pt x="1319254" y="791675"/>
                  <a:pt x="1313788" y="791675"/>
                </a:cubicBezTo>
                <a:cubicBezTo>
                  <a:pt x="1317432" y="795319"/>
                  <a:pt x="1324721" y="795319"/>
                  <a:pt x="1328365" y="795319"/>
                </a:cubicBezTo>
                <a:cubicBezTo>
                  <a:pt x="1330188" y="791675"/>
                  <a:pt x="1330188" y="789853"/>
                  <a:pt x="1332009" y="788031"/>
                </a:cubicBezTo>
                <a:close/>
                <a:moveTo>
                  <a:pt x="1164370" y="788031"/>
                </a:moveTo>
                <a:cubicBezTo>
                  <a:pt x="1162547" y="789853"/>
                  <a:pt x="1160725" y="789853"/>
                  <a:pt x="1158903" y="791675"/>
                </a:cubicBezTo>
                <a:cubicBezTo>
                  <a:pt x="1158903" y="793497"/>
                  <a:pt x="1166192" y="791675"/>
                  <a:pt x="1164370" y="788031"/>
                </a:cubicBezTo>
                <a:close/>
                <a:moveTo>
                  <a:pt x="1024062" y="788031"/>
                </a:moveTo>
                <a:lnTo>
                  <a:pt x="1024349" y="788383"/>
                </a:lnTo>
                <a:lnTo>
                  <a:pt x="1023843" y="788299"/>
                </a:lnTo>
                <a:close/>
                <a:moveTo>
                  <a:pt x="758025" y="788031"/>
                </a:moveTo>
                <a:cubicBezTo>
                  <a:pt x="756203" y="789853"/>
                  <a:pt x="758025" y="789853"/>
                  <a:pt x="758025" y="791675"/>
                </a:cubicBezTo>
                <a:cubicBezTo>
                  <a:pt x="761670" y="793497"/>
                  <a:pt x="761670" y="788031"/>
                  <a:pt x="758025" y="788031"/>
                </a:cubicBezTo>
                <a:close/>
                <a:moveTo>
                  <a:pt x="697893" y="788031"/>
                </a:moveTo>
                <a:cubicBezTo>
                  <a:pt x="694249" y="788031"/>
                  <a:pt x="690604" y="788031"/>
                  <a:pt x="686960" y="789853"/>
                </a:cubicBezTo>
                <a:cubicBezTo>
                  <a:pt x="688782" y="797141"/>
                  <a:pt x="694249" y="797141"/>
                  <a:pt x="699715" y="795319"/>
                </a:cubicBezTo>
                <a:cubicBezTo>
                  <a:pt x="699715" y="795319"/>
                  <a:pt x="697893" y="791675"/>
                  <a:pt x="697893" y="788031"/>
                </a:cubicBezTo>
                <a:cubicBezTo>
                  <a:pt x="699715" y="791675"/>
                  <a:pt x="701537" y="793497"/>
                  <a:pt x="703359" y="795319"/>
                </a:cubicBezTo>
                <a:cubicBezTo>
                  <a:pt x="703359" y="791675"/>
                  <a:pt x="703359" y="789853"/>
                  <a:pt x="708826" y="788031"/>
                </a:cubicBezTo>
                <a:cubicBezTo>
                  <a:pt x="705182" y="786208"/>
                  <a:pt x="703359" y="786208"/>
                  <a:pt x="697893" y="788031"/>
                </a:cubicBezTo>
                <a:close/>
                <a:moveTo>
                  <a:pt x="650516" y="788031"/>
                </a:moveTo>
                <a:cubicBezTo>
                  <a:pt x="650516" y="788031"/>
                  <a:pt x="650516" y="789853"/>
                  <a:pt x="648694" y="789853"/>
                </a:cubicBezTo>
                <a:cubicBezTo>
                  <a:pt x="650516" y="791675"/>
                  <a:pt x="652339" y="791675"/>
                  <a:pt x="654161" y="791675"/>
                </a:cubicBezTo>
                <a:cubicBezTo>
                  <a:pt x="655983" y="789853"/>
                  <a:pt x="652339" y="788031"/>
                  <a:pt x="650516" y="788031"/>
                </a:cubicBezTo>
                <a:close/>
                <a:moveTo>
                  <a:pt x="606784" y="788031"/>
                </a:moveTo>
                <a:lnTo>
                  <a:pt x="605825" y="791867"/>
                </a:lnTo>
                <a:lnTo>
                  <a:pt x="603140" y="791675"/>
                </a:lnTo>
                <a:cubicBezTo>
                  <a:pt x="603140" y="793497"/>
                  <a:pt x="604963" y="793497"/>
                  <a:pt x="604963" y="793497"/>
                </a:cubicBezTo>
                <a:cubicBezTo>
                  <a:pt x="604963" y="793497"/>
                  <a:pt x="604963" y="795319"/>
                  <a:pt x="604963" y="795319"/>
                </a:cubicBezTo>
                <a:lnTo>
                  <a:pt x="605825" y="791867"/>
                </a:lnTo>
                <a:lnTo>
                  <a:pt x="606328" y="791903"/>
                </a:lnTo>
                <a:cubicBezTo>
                  <a:pt x="606328" y="790764"/>
                  <a:pt x="605873" y="788942"/>
                  <a:pt x="606784" y="788031"/>
                </a:cubicBezTo>
                <a:close/>
                <a:moveTo>
                  <a:pt x="528431" y="788031"/>
                </a:moveTo>
                <a:lnTo>
                  <a:pt x="528939" y="791421"/>
                </a:lnTo>
                <a:lnTo>
                  <a:pt x="528431" y="791675"/>
                </a:lnTo>
                <a:lnTo>
                  <a:pt x="528978" y="791675"/>
                </a:lnTo>
                <a:lnTo>
                  <a:pt x="529114" y="792586"/>
                </a:lnTo>
                <a:cubicBezTo>
                  <a:pt x="530253" y="792586"/>
                  <a:pt x="532075" y="791675"/>
                  <a:pt x="533897" y="791675"/>
                </a:cubicBezTo>
                <a:lnTo>
                  <a:pt x="528978" y="791675"/>
                </a:lnTo>
                <a:lnTo>
                  <a:pt x="528939" y="791421"/>
                </a:lnTo>
                <a:lnTo>
                  <a:pt x="532075" y="789853"/>
                </a:lnTo>
                <a:cubicBezTo>
                  <a:pt x="533897" y="789853"/>
                  <a:pt x="528431" y="789853"/>
                  <a:pt x="528431" y="788031"/>
                </a:cubicBezTo>
                <a:close/>
                <a:moveTo>
                  <a:pt x="298837" y="788031"/>
                </a:moveTo>
                <a:cubicBezTo>
                  <a:pt x="295193" y="795319"/>
                  <a:pt x="307948" y="800786"/>
                  <a:pt x="313414" y="804430"/>
                </a:cubicBezTo>
                <a:cubicBezTo>
                  <a:pt x="311592" y="798964"/>
                  <a:pt x="304303" y="791675"/>
                  <a:pt x="298837" y="788031"/>
                </a:cubicBezTo>
                <a:close/>
                <a:moveTo>
                  <a:pt x="245994" y="788031"/>
                </a:moveTo>
                <a:cubicBezTo>
                  <a:pt x="244172" y="789853"/>
                  <a:pt x="245994" y="793497"/>
                  <a:pt x="249638" y="795319"/>
                </a:cubicBezTo>
                <a:cubicBezTo>
                  <a:pt x="251460" y="793497"/>
                  <a:pt x="249638" y="791675"/>
                  <a:pt x="251460" y="793497"/>
                </a:cubicBezTo>
                <a:cubicBezTo>
                  <a:pt x="249638" y="789853"/>
                  <a:pt x="247816" y="789853"/>
                  <a:pt x="245994" y="788031"/>
                </a:cubicBezTo>
                <a:close/>
                <a:moveTo>
                  <a:pt x="833190" y="787576"/>
                </a:moveTo>
                <a:cubicBezTo>
                  <a:pt x="833190" y="788942"/>
                  <a:pt x="833646" y="791675"/>
                  <a:pt x="832734" y="793497"/>
                </a:cubicBezTo>
                <a:cubicBezTo>
                  <a:pt x="834556" y="793497"/>
                  <a:pt x="834556" y="791675"/>
                  <a:pt x="836378" y="789853"/>
                </a:cubicBezTo>
                <a:cubicBezTo>
                  <a:pt x="833646" y="786209"/>
                  <a:pt x="833190" y="786209"/>
                  <a:pt x="833190" y="787576"/>
                </a:cubicBezTo>
                <a:close/>
                <a:moveTo>
                  <a:pt x="3119562" y="786208"/>
                </a:moveTo>
                <a:cubicBezTo>
                  <a:pt x="3121384" y="788942"/>
                  <a:pt x="3121384" y="792131"/>
                  <a:pt x="3120018" y="794409"/>
                </a:cubicBezTo>
                <a:lnTo>
                  <a:pt x="3119428" y="794617"/>
                </a:lnTo>
                <a:lnTo>
                  <a:pt x="3118651" y="790537"/>
                </a:lnTo>
                <a:cubicBezTo>
                  <a:pt x="3116829" y="789398"/>
                  <a:pt x="3114096" y="788942"/>
                  <a:pt x="3112274" y="789853"/>
                </a:cubicBezTo>
                <a:cubicBezTo>
                  <a:pt x="3114096" y="788031"/>
                  <a:pt x="3117740" y="784386"/>
                  <a:pt x="3119562" y="786208"/>
                </a:cubicBezTo>
                <a:close/>
                <a:moveTo>
                  <a:pt x="1361164" y="786208"/>
                </a:moveTo>
                <a:cubicBezTo>
                  <a:pt x="1355698" y="784386"/>
                  <a:pt x="1350231" y="788031"/>
                  <a:pt x="1346587" y="791675"/>
                </a:cubicBezTo>
                <a:cubicBezTo>
                  <a:pt x="1346587" y="793497"/>
                  <a:pt x="1348410" y="791675"/>
                  <a:pt x="1350231" y="791675"/>
                </a:cubicBezTo>
                <a:cubicBezTo>
                  <a:pt x="1352053" y="793497"/>
                  <a:pt x="1346587" y="793497"/>
                  <a:pt x="1350231" y="795319"/>
                </a:cubicBezTo>
                <a:cubicBezTo>
                  <a:pt x="1355698" y="793497"/>
                  <a:pt x="1359342" y="789853"/>
                  <a:pt x="1361164" y="786208"/>
                </a:cubicBezTo>
                <a:close/>
                <a:moveTo>
                  <a:pt x="1268233" y="786208"/>
                </a:moveTo>
                <a:cubicBezTo>
                  <a:pt x="1268233" y="793497"/>
                  <a:pt x="1270056" y="798964"/>
                  <a:pt x="1271878" y="806252"/>
                </a:cubicBezTo>
                <a:cubicBezTo>
                  <a:pt x="1280989" y="809897"/>
                  <a:pt x="1290100" y="806252"/>
                  <a:pt x="1297388" y="802608"/>
                </a:cubicBezTo>
                <a:cubicBezTo>
                  <a:pt x="1299210" y="800786"/>
                  <a:pt x="1301033" y="798964"/>
                  <a:pt x="1304677" y="800786"/>
                </a:cubicBezTo>
                <a:cubicBezTo>
                  <a:pt x="1306499" y="800786"/>
                  <a:pt x="1308321" y="798964"/>
                  <a:pt x="1310143" y="797141"/>
                </a:cubicBezTo>
                <a:cubicBezTo>
                  <a:pt x="1311966" y="797141"/>
                  <a:pt x="1315610" y="800786"/>
                  <a:pt x="1317432" y="795319"/>
                </a:cubicBezTo>
                <a:cubicBezTo>
                  <a:pt x="1308321" y="793497"/>
                  <a:pt x="1299210" y="789853"/>
                  <a:pt x="1288277" y="793497"/>
                </a:cubicBezTo>
                <a:lnTo>
                  <a:pt x="1292068" y="797734"/>
                </a:lnTo>
                <a:lnTo>
                  <a:pt x="1283495" y="792814"/>
                </a:lnTo>
                <a:cubicBezTo>
                  <a:pt x="1279166" y="788486"/>
                  <a:pt x="1274612" y="784386"/>
                  <a:pt x="1268233" y="786208"/>
                </a:cubicBezTo>
                <a:close/>
                <a:moveTo>
                  <a:pt x="849133" y="786208"/>
                </a:moveTo>
                <a:cubicBezTo>
                  <a:pt x="848222" y="787120"/>
                  <a:pt x="847311" y="788487"/>
                  <a:pt x="847311" y="789853"/>
                </a:cubicBezTo>
                <a:lnTo>
                  <a:pt x="849133" y="791675"/>
                </a:lnTo>
                <a:lnTo>
                  <a:pt x="851868" y="788259"/>
                </a:lnTo>
                <a:cubicBezTo>
                  <a:pt x="852322" y="787120"/>
                  <a:pt x="851866" y="786208"/>
                  <a:pt x="849133" y="786208"/>
                </a:cubicBezTo>
                <a:close/>
                <a:moveTo>
                  <a:pt x="781713" y="786208"/>
                </a:moveTo>
                <a:cubicBezTo>
                  <a:pt x="778070" y="791675"/>
                  <a:pt x="772602" y="793497"/>
                  <a:pt x="778070" y="800786"/>
                </a:cubicBezTo>
                <a:cubicBezTo>
                  <a:pt x="783535" y="797141"/>
                  <a:pt x="785357" y="793497"/>
                  <a:pt x="785357" y="788031"/>
                </a:cubicBezTo>
                <a:cubicBezTo>
                  <a:pt x="783535" y="786208"/>
                  <a:pt x="783535" y="786208"/>
                  <a:pt x="781713" y="786208"/>
                </a:cubicBezTo>
                <a:close/>
                <a:moveTo>
                  <a:pt x="501098" y="786208"/>
                </a:moveTo>
                <a:lnTo>
                  <a:pt x="507346" y="803389"/>
                </a:lnTo>
                <a:lnTo>
                  <a:pt x="506565" y="802608"/>
                </a:lnTo>
                <a:cubicBezTo>
                  <a:pt x="504743" y="804430"/>
                  <a:pt x="506565" y="806252"/>
                  <a:pt x="508387" y="806252"/>
                </a:cubicBezTo>
                <a:lnTo>
                  <a:pt x="507346" y="803389"/>
                </a:lnTo>
                <a:lnTo>
                  <a:pt x="510209" y="806252"/>
                </a:lnTo>
                <a:cubicBezTo>
                  <a:pt x="513853" y="802608"/>
                  <a:pt x="508387" y="798964"/>
                  <a:pt x="510209" y="793497"/>
                </a:cubicBezTo>
                <a:cubicBezTo>
                  <a:pt x="506565" y="791675"/>
                  <a:pt x="504743" y="788031"/>
                  <a:pt x="501098" y="786208"/>
                </a:cubicBezTo>
                <a:close/>
                <a:moveTo>
                  <a:pt x="3449376" y="784386"/>
                </a:moveTo>
                <a:cubicBezTo>
                  <a:pt x="3453020" y="788031"/>
                  <a:pt x="3449376" y="789853"/>
                  <a:pt x="3447553" y="789853"/>
                </a:cubicBezTo>
                <a:lnTo>
                  <a:pt x="3447751" y="790073"/>
                </a:lnTo>
                <a:lnTo>
                  <a:pt x="3445731" y="797141"/>
                </a:lnTo>
                <a:cubicBezTo>
                  <a:pt x="3445731" y="797141"/>
                  <a:pt x="3451198" y="797141"/>
                  <a:pt x="3453020" y="798964"/>
                </a:cubicBezTo>
                <a:cubicBezTo>
                  <a:pt x="3454842" y="796231"/>
                  <a:pt x="3453475" y="795319"/>
                  <a:pt x="3451653" y="794408"/>
                </a:cubicBezTo>
                <a:lnTo>
                  <a:pt x="3447751" y="790073"/>
                </a:lnTo>
                <a:close/>
                <a:moveTo>
                  <a:pt x="2540111" y="784386"/>
                </a:moveTo>
                <a:cubicBezTo>
                  <a:pt x="2540111" y="786208"/>
                  <a:pt x="2540111" y="788031"/>
                  <a:pt x="2540111" y="791675"/>
                </a:cubicBezTo>
                <a:cubicBezTo>
                  <a:pt x="2536466" y="791675"/>
                  <a:pt x="2536466" y="789853"/>
                  <a:pt x="2536466" y="788031"/>
                </a:cubicBezTo>
                <a:lnTo>
                  <a:pt x="2529178" y="795319"/>
                </a:lnTo>
                <a:cubicBezTo>
                  <a:pt x="2532822" y="797141"/>
                  <a:pt x="2538289" y="797141"/>
                  <a:pt x="2540111" y="804430"/>
                </a:cubicBezTo>
                <a:cubicBezTo>
                  <a:pt x="2540111" y="804430"/>
                  <a:pt x="2541933" y="804430"/>
                  <a:pt x="2541933" y="802608"/>
                </a:cubicBezTo>
                <a:cubicBezTo>
                  <a:pt x="2543755" y="808074"/>
                  <a:pt x="2536466" y="808074"/>
                  <a:pt x="2536466" y="811719"/>
                </a:cubicBezTo>
                <a:cubicBezTo>
                  <a:pt x="2531000" y="808074"/>
                  <a:pt x="2525534" y="804430"/>
                  <a:pt x="2523711" y="813541"/>
                </a:cubicBezTo>
                <a:cubicBezTo>
                  <a:pt x="2523711" y="806252"/>
                  <a:pt x="2521889" y="806252"/>
                  <a:pt x="2518245" y="804430"/>
                </a:cubicBezTo>
                <a:lnTo>
                  <a:pt x="2510956" y="817185"/>
                </a:lnTo>
                <a:cubicBezTo>
                  <a:pt x="2509134" y="822652"/>
                  <a:pt x="2512778" y="829941"/>
                  <a:pt x="2514600" y="835407"/>
                </a:cubicBezTo>
                <a:cubicBezTo>
                  <a:pt x="2516423" y="839051"/>
                  <a:pt x="2520067" y="840874"/>
                  <a:pt x="2521889" y="842696"/>
                </a:cubicBezTo>
                <a:cubicBezTo>
                  <a:pt x="2541933" y="851807"/>
                  <a:pt x="2536466" y="833585"/>
                  <a:pt x="2538289" y="819008"/>
                </a:cubicBezTo>
                <a:cubicBezTo>
                  <a:pt x="2541933" y="826296"/>
                  <a:pt x="2538289" y="833585"/>
                  <a:pt x="2549222" y="831763"/>
                </a:cubicBezTo>
                <a:cubicBezTo>
                  <a:pt x="2547400" y="824474"/>
                  <a:pt x="2540111" y="820830"/>
                  <a:pt x="2543755" y="813541"/>
                </a:cubicBezTo>
                <a:cubicBezTo>
                  <a:pt x="2549222" y="819008"/>
                  <a:pt x="2551044" y="826296"/>
                  <a:pt x="2551044" y="833585"/>
                </a:cubicBezTo>
                <a:cubicBezTo>
                  <a:pt x="2558332" y="826296"/>
                  <a:pt x="2552866" y="819008"/>
                  <a:pt x="2547400" y="811719"/>
                </a:cubicBezTo>
                <a:cubicBezTo>
                  <a:pt x="2554688" y="809897"/>
                  <a:pt x="2547400" y="800786"/>
                  <a:pt x="2549222" y="795319"/>
                </a:cubicBezTo>
                <a:cubicBezTo>
                  <a:pt x="2551044" y="795319"/>
                  <a:pt x="2551044" y="797141"/>
                  <a:pt x="2552866" y="797141"/>
                </a:cubicBezTo>
                <a:cubicBezTo>
                  <a:pt x="2549222" y="789853"/>
                  <a:pt x="2541933" y="782564"/>
                  <a:pt x="2540111" y="784386"/>
                </a:cubicBezTo>
                <a:close/>
                <a:moveTo>
                  <a:pt x="1423118" y="784386"/>
                </a:moveTo>
                <a:cubicBezTo>
                  <a:pt x="1419474" y="784386"/>
                  <a:pt x="1414007" y="788031"/>
                  <a:pt x="1408541" y="789853"/>
                </a:cubicBezTo>
                <a:cubicBezTo>
                  <a:pt x="1414007" y="789853"/>
                  <a:pt x="1421296" y="789853"/>
                  <a:pt x="1423118" y="784386"/>
                </a:cubicBezTo>
                <a:close/>
                <a:moveTo>
                  <a:pt x="836378" y="784386"/>
                </a:moveTo>
                <a:cubicBezTo>
                  <a:pt x="836378" y="788031"/>
                  <a:pt x="836378" y="791675"/>
                  <a:pt x="838200" y="795319"/>
                </a:cubicBezTo>
                <a:cubicBezTo>
                  <a:pt x="836378" y="795319"/>
                  <a:pt x="834556" y="795319"/>
                  <a:pt x="832734" y="797141"/>
                </a:cubicBezTo>
                <a:cubicBezTo>
                  <a:pt x="834556" y="797141"/>
                  <a:pt x="838200" y="797141"/>
                  <a:pt x="841845" y="797141"/>
                </a:cubicBezTo>
                <a:cubicBezTo>
                  <a:pt x="840022" y="795319"/>
                  <a:pt x="838200" y="795319"/>
                  <a:pt x="838200" y="793497"/>
                </a:cubicBezTo>
                <a:cubicBezTo>
                  <a:pt x="840022" y="791675"/>
                  <a:pt x="845489" y="795319"/>
                  <a:pt x="847311" y="793497"/>
                </a:cubicBezTo>
                <a:lnTo>
                  <a:pt x="845885" y="789220"/>
                </a:lnTo>
                <a:lnTo>
                  <a:pt x="847311" y="791675"/>
                </a:lnTo>
                <a:cubicBezTo>
                  <a:pt x="845489" y="789853"/>
                  <a:pt x="845489" y="789853"/>
                  <a:pt x="845489" y="788031"/>
                </a:cubicBezTo>
                <a:lnTo>
                  <a:pt x="845885" y="789220"/>
                </a:lnTo>
                <a:lnTo>
                  <a:pt x="843211" y="784615"/>
                </a:lnTo>
                <a:cubicBezTo>
                  <a:pt x="840478" y="784842"/>
                  <a:pt x="837289" y="786209"/>
                  <a:pt x="836378" y="784386"/>
                </a:cubicBezTo>
                <a:close/>
                <a:moveTo>
                  <a:pt x="581274" y="784386"/>
                </a:moveTo>
                <a:cubicBezTo>
                  <a:pt x="579452" y="788031"/>
                  <a:pt x="584919" y="789853"/>
                  <a:pt x="588562" y="793497"/>
                </a:cubicBezTo>
                <a:cubicBezTo>
                  <a:pt x="590385" y="791675"/>
                  <a:pt x="588562" y="788031"/>
                  <a:pt x="588562" y="786208"/>
                </a:cubicBezTo>
                <a:cubicBezTo>
                  <a:pt x="586741" y="788031"/>
                  <a:pt x="583096" y="786208"/>
                  <a:pt x="581274" y="784386"/>
                </a:cubicBezTo>
                <a:close/>
                <a:moveTo>
                  <a:pt x="1341803" y="784159"/>
                </a:moveTo>
                <a:cubicBezTo>
                  <a:pt x="1341120" y="784842"/>
                  <a:pt x="1341120" y="786209"/>
                  <a:pt x="1342942" y="788031"/>
                </a:cubicBezTo>
                <a:cubicBezTo>
                  <a:pt x="1344765" y="788031"/>
                  <a:pt x="1344765" y="786208"/>
                  <a:pt x="1344765" y="784386"/>
                </a:cubicBezTo>
                <a:cubicBezTo>
                  <a:pt x="1343853" y="783475"/>
                  <a:pt x="1342487" y="783475"/>
                  <a:pt x="1341803" y="784159"/>
                </a:cubicBezTo>
                <a:close/>
                <a:moveTo>
                  <a:pt x="1173481" y="782564"/>
                </a:moveTo>
                <a:cubicBezTo>
                  <a:pt x="1168014" y="786208"/>
                  <a:pt x="1164370" y="786208"/>
                  <a:pt x="1164370" y="791675"/>
                </a:cubicBezTo>
                <a:cubicBezTo>
                  <a:pt x="1168014" y="795319"/>
                  <a:pt x="1171658" y="791675"/>
                  <a:pt x="1175303" y="793497"/>
                </a:cubicBezTo>
                <a:cubicBezTo>
                  <a:pt x="1173481" y="791675"/>
                  <a:pt x="1178947" y="788031"/>
                  <a:pt x="1175303" y="788031"/>
                </a:cubicBezTo>
                <a:cubicBezTo>
                  <a:pt x="1177125" y="786208"/>
                  <a:pt x="1177125" y="788031"/>
                  <a:pt x="1178947" y="786208"/>
                </a:cubicBezTo>
                <a:cubicBezTo>
                  <a:pt x="1177125" y="782564"/>
                  <a:pt x="1175303" y="784386"/>
                  <a:pt x="1173481" y="782564"/>
                </a:cubicBezTo>
                <a:close/>
                <a:moveTo>
                  <a:pt x="810868" y="782564"/>
                </a:moveTo>
                <a:cubicBezTo>
                  <a:pt x="810868" y="786208"/>
                  <a:pt x="816334" y="789853"/>
                  <a:pt x="819979" y="793497"/>
                </a:cubicBezTo>
                <a:cubicBezTo>
                  <a:pt x="823623" y="789853"/>
                  <a:pt x="825445" y="788031"/>
                  <a:pt x="823623" y="782564"/>
                </a:cubicBezTo>
                <a:cubicBezTo>
                  <a:pt x="819979" y="784386"/>
                  <a:pt x="814512" y="784386"/>
                  <a:pt x="810868" y="782564"/>
                </a:cubicBezTo>
                <a:close/>
                <a:moveTo>
                  <a:pt x="796290" y="782564"/>
                </a:moveTo>
                <a:cubicBezTo>
                  <a:pt x="790824" y="789853"/>
                  <a:pt x="778070" y="797141"/>
                  <a:pt x="783535" y="806252"/>
                </a:cubicBezTo>
                <a:cubicBezTo>
                  <a:pt x="783535" y="808074"/>
                  <a:pt x="785357" y="809897"/>
                  <a:pt x="789003" y="811719"/>
                </a:cubicBezTo>
                <a:cubicBezTo>
                  <a:pt x="787179" y="817185"/>
                  <a:pt x="798112" y="819008"/>
                  <a:pt x="801757" y="820830"/>
                </a:cubicBezTo>
                <a:cubicBezTo>
                  <a:pt x="799935" y="819008"/>
                  <a:pt x="798112" y="817185"/>
                  <a:pt x="794468" y="815363"/>
                </a:cubicBezTo>
                <a:cubicBezTo>
                  <a:pt x="801757" y="819008"/>
                  <a:pt x="810868" y="820830"/>
                  <a:pt x="816334" y="826296"/>
                </a:cubicBezTo>
                <a:cubicBezTo>
                  <a:pt x="819979" y="824474"/>
                  <a:pt x="819979" y="820830"/>
                  <a:pt x="816334" y="819008"/>
                </a:cubicBezTo>
                <a:cubicBezTo>
                  <a:pt x="819979" y="819008"/>
                  <a:pt x="829089" y="819008"/>
                  <a:pt x="825445" y="811719"/>
                </a:cubicBezTo>
                <a:cubicBezTo>
                  <a:pt x="823623" y="809897"/>
                  <a:pt x="827267" y="804430"/>
                  <a:pt x="821801" y="800786"/>
                </a:cubicBezTo>
                <a:cubicBezTo>
                  <a:pt x="818156" y="798964"/>
                  <a:pt x="816334" y="798964"/>
                  <a:pt x="812690" y="798964"/>
                </a:cubicBezTo>
                <a:cubicBezTo>
                  <a:pt x="812690" y="797141"/>
                  <a:pt x="814512" y="795319"/>
                  <a:pt x="816334" y="797141"/>
                </a:cubicBezTo>
                <a:cubicBezTo>
                  <a:pt x="810868" y="793497"/>
                  <a:pt x="805401" y="793497"/>
                  <a:pt x="799935" y="789853"/>
                </a:cubicBezTo>
                <a:cubicBezTo>
                  <a:pt x="801757" y="789853"/>
                  <a:pt x="805401" y="789853"/>
                  <a:pt x="809046" y="791675"/>
                </a:cubicBezTo>
                <a:cubicBezTo>
                  <a:pt x="809046" y="782564"/>
                  <a:pt x="799935" y="786208"/>
                  <a:pt x="796290" y="782564"/>
                </a:cubicBezTo>
                <a:close/>
                <a:moveTo>
                  <a:pt x="490165" y="782564"/>
                </a:moveTo>
                <a:cubicBezTo>
                  <a:pt x="491987" y="784386"/>
                  <a:pt x="493809" y="786208"/>
                  <a:pt x="493809" y="788031"/>
                </a:cubicBezTo>
                <a:cubicBezTo>
                  <a:pt x="497454" y="788031"/>
                  <a:pt x="491987" y="784386"/>
                  <a:pt x="495632" y="784386"/>
                </a:cubicBezTo>
                <a:cubicBezTo>
                  <a:pt x="493809" y="784386"/>
                  <a:pt x="491987" y="780742"/>
                  <a:pt x="490165" y="782564"/>
                </a:cubicBezTo>
                <a:close/>
                <a:moveTo>
                  <a:pt x="461010" y="782564"/>
                </a:moveTo>
                <a:cubicBezTo>
                  <a:pt x="457367" y="784386"/>
                  <a:pt x="461010" y="789853"/>
                  <a:pt x="462832" y="789853"/>
                </a:cubicBezTo>
                <a:cubicBezTo>
                  <a:pt x="464655" y="789853"/>
                  <a:pt x="461010" y="788031"/>
                  <a:pt x="464655" y="786208"/>
                </a:cubicBezTo>
                <a:cubicBezTo>
                  <a:pt x="462832" y="784386"/>
                  <a:pt x="461010" y="786208"/>
                  <a:pt x="461010" y="782564"/>
                </a:cubicBezTo>
                <a:close/>
                <a:moveTo>
                  <a:pt x="424567" y="782564"/>
                </a:moveTo>
                <a:cubicBezTo>
                  <a:pt x="422745" y="784386"/>
                  <a:pt x="426389" y="788031"/>
                  <a:pt x="426389" y="789853"/>
                </a:cubicBezTo>
                <a:cubicBezTo>
                  <a:pt x="430034" y="789853"/>
                  <a:pt x="433678" y="795319"/>
                  <a:pt x="437322" y="791675"/>
                </a:cubicBezTo>
                <a:cubicBezTo>
                  <a:pt x="431856" y="788031"/>
                  <a:pt x="426389" y="788031"/>
                  <a:pt x="424567" y="782564"/>
                </a:cubicBezTo>
                <a:close/>
                <a:moveTo>
                  <a:pt x="337102" y="782564"/>
                </a:moveTo>
                <a:cubicBezTo>
                  <a:pt x="337102" y="784386"/>
                  <a:pt x="338926" y="786208"/>
                  <a:pt x="337102" y="788031"/>
                </a:cubicBezTo>
                <a:cubicBezTo>
                  <a:pt x="338926" y="788031"/>
                  <a:pt x="338926" y="789853"/>
                  <a:pt x="340747" y="788031"/>
                </a:cubicBezTo>
                <a:cubicBezTo>
                  <a:pt x="342569" y="786208"/>
                  <a:pt x="338926" y="784386"/>
                  <a:pt x="337102" y="782564"/>
                </a:cubicBezTo>
                <a:close/>
                <a:moveTo>
                  <a:pt x="309771" y="782564"/>
                </a:moveTo>
                <a:cubicBezTo>
                  <a:pt x="311592" y="788031"/>
                  <a:pt x="315236" y="793497"/>
                  <a:pt x="320703" y="795319"/>
                </a:cubicBezTo>
                <a:cubicBezTo>
                  <a:pt x="320703" y="793497"/>
                  <a:pt x="317059" y="791675"/>
                  <a:pt x="320703" y="791675"/>
                </a:cubicBezTo>
                <a:cubicBezTo>
                  <a:pt x="317059" y="789853"/>
                  <a:pt x="317059" y="780742"/>
                  <a:pt x="309771" y="782564"/>
                </a:cubicBezTo>
                <a:close/>
                <a:moveTo>
                  <a:pt x="255105" y="782564"/>
                </a:moveTo>
                <a:cubicBezTo>
                  <a:pt x="256927" y="786208"/>
                  <a:pt x="258749" y="784386"/>
                  <a:pt x="260571" y="788031"/>
                </a:cubicBezTo>
                <a:cubicBezTo>
                  <a:pt x="264216" y="788031"/>
                  <a:pt x="255105" y="780742"/>
                  <a:pt x="260571" y="782564"/>
                </a:cubicBezTo>
                <a:cubicBezTo>
                  <a:pt x="258749" y="780742"/>
                  <a:pt x="256927" y="780742"/>
                  <a:pt x="255105" y="782564"/>
                </a:cubicBezTo>
                <a:close/>
                <a:moveTo>
                  <a:pt x="235061" y="782564"/>
                </a:moveTo>
                <a:cubicBezTo>
                  <a:pt x="236883" y="784386"/>
                  <a:pt x="240527" y="786208"/>
                  <a:pt x="242349" y="786208"/>
                </a:cubicBezTo>
                <a:cubicBezTo>
                  <a:pt x="240527" y="786208"/>
                  <a:pt x="236883" y="780742"/>
                  <a:pt x="235061" y="782564"/>
                </a:cubicBezTo>
                <a:close/>
                <a:moveTo>
                  <a:pt x="1497827" y="780742"/>
                </a:moveTo>
                <a:cubicBezTo>
                  <a:pt x="1494183" y="782564"/>
                  <a:pt x="1494183" y="784386"/>
                  <a:pt x="1492361" y="786208"/>
                </a:cubicBezTo>
                <a:cubicBezTo>
                  <a:pt x="1494183" y="788031"/>
                  <a:pt x="1496006" y="786208"/>
                  <a:pt x="1497827" y="784386"/>
                </a:cubicBezTo>
                <a:cubicBezTo>
                  <a:pt x="1499650" y="786208"/>
                  <a:pt x="1496006" y="788031"/>
                  <a:pt x="1497827" y="789853"/>
                </a:cubicBezTo>
                <a:cubicBezTo>
                  <a:pt x="1499650" y="786208"/>
                  <a:pt x="1503294" y="786208"/>
                  <a:pt x="1503294" y="782564"/>
                </a:cubicBezTo>
                <a:cubicBezTo>
                  <a:pt x="1501472" y="782564"/>
                  <a:pt x="1497827" y="786208"/>
                  <a:pt x="1497827" y="780742"/>
                </a:cubicBezTo>
                <a:close/>
                <a:moveTo>
                  <a:pt x="1171658" y="780742"/>
                </a:moveTo>
                <a:cubicBezTo>
                  <a:pt x="1166192" y="778920"/>
                  <a:pt x="1158903" y="784386"/>
                  <a:pt x="1153436" y="789853"/>
                </a:cubicBezTo>
                <a:cubicBezTo>
                  <a:pt x="1158903" y="789853"/>
                  <a:pt x="1164370" y="786208"/>
                  <a:pt x="1171658" y="780742"/>
                </a:cubicBezTo>
                <a:close/>
                <a:moveTo>
                  <a:pt x="482876" y="780742"/>
                </a:moveTo>
                <a:cubicBezTo>
                  <a:pt x="479232" y="780742"/>
                  <a:pt x="484700" y="784386"/>
                  <a:pt x="486521" y="784386"/>
                </a:cubicBezTo>
                <a:cubicBezTo>
                  <a:pt x="486521" y="782564"/>
                  <a:pt x="484700" y="782564"/>
                  <a:pt x="482876" y="780742"/>
                </a:cubicBezTo>
                <a:close/>
                <a:moveTo>
                  <a:pt x="439145" y="780742"/>
                </a:moveTo>
                <a:cubicBezTo>
                  <a:pt x="437322" y="784386"/>
                  <a:pt x="444611" y="789853"/>
                  <a:pt x="448256" y="789853"/>
                </a:cubicBezTo>
                <a:cubicBezTo>
                  <a:pt x="442789" y="788031"/>
                  <a:pt x="444611" y="780742"/>
                  <a:pt x="439145" y="780742"/>
                </a:cubicBezTo>
                <a:close/>
                <a:moveTo>
                  <a:pt x="406345" y="780742"/>
                </a:moveTo>
                <a:cubicBezTo>
                  <a:pt x="402701" y="789853"/>
                  <a:pt x="411812" y="793497"/>
                  <a:pt x="420923" y="797141"/>
                </a:cubicBezTo>
                <a:cubicBezTo>
                  <a:pt x="415456" y="791675"/>
                  <a:pt x="411812" y="786208"/>
                  <a:pt x="406345" y="780742"/>
                </a:cubicBezTo>
                <a:close/>
                <a:moveTo>
                  <a:pt x="302481" y="780742"/>
                </a:moveTo>
                <a:cubicBezTo>
                  <a:pt x="302481" y="788031"/>
                  <a:pt x="309771" y="791675"/>
                  <a:pt x="315236" y="795319"/>
                </a:cubicBezTo>
                <a:cubicBezTo>
                  <a:pt x="311592" y="788031"/>
                  <a:pt x="306126" y="786208"/>
                  <a:pt x="302481" y="780742"/>
                </a:cubicBezTo>
                <a:close/>
                <a:moveTo>
                  <a:pt x="242349" y="780742"/>
                </a:moveTo>
                <a:cubicBezTo>
                  <a:pt x="245994" y="788031"/>
                  <a:pt x="253282" y="788031"/>
                  <a:pt x="258749" y="793497"/>
                </a:cubicBezTo>
                <a:cubicBezTo>
                  <a:pt x="255105" y="788031"/>
                  <a:pt x="247816" y="782564"/>
                  <a:pt x="242349" y="780742"/>
                </a:cubicBezTo>
                <a:close/>
                <a:moveTo>
                  <a:pt x="185862" y="780742"/>
                </a:moveTo>
                <a:cubicBezTo>
                  <a:pt x="196795" y="793497"/>
                  <a:pt x="207728" y="798964"/>
                  <a:pt x="218661" y="808074"/>
                </a:cubicBezTo>
                <a:cubicBezTo>
                  <a:pt x="211372" y="797141"/>
                  <a:pt x="194973" y="778920"/>
                  <a:pt x="185862" y="780742"/>
                </a:cubicBezTo>
                <a:close/>
                <a:moveTo>
                  <a:pt x="3639591" y="780683"/>
                </a:moveTo>
                <a:lnTo>
                  <a:pt x="3639565" y="780742"/>
                </a:lnTo>
                <a:lnTo>
                  <a:pt x="3638883" y="780742"/>
                </a:lnTo>
                <a:close/>
                <a:moveTo>
                  <a:pt x="1488455" y="778922"/>
                </a:moveTo>
                <a:lnTo>
                  <a:pt x="1486895" y="782564"/>
                </a:lnTo>
                <a:lnTo>
                  <a:pt x="1486752" y="781902"/>
                </a:lnTo>
                <a:close/>
                <a:moveTo>
                  <a:pt x="3205204" y="778920"/>
                </a:moveTo>
                <a:cubicBezTo>
                  <a:pt x="3199738" y="777098"/>
                  <a:pt x="3194271" y="786208"/>
                  <a:pt x="3188805" y="786208"/>
                </a:cubicBezTo>
                <a:cubicBezTo>
                  <a:pt x="3192449" y="797141"/>
                  <a:pt x="3188805" y="804430"/>
                  <a:pt x="3188805" y="808074"/>
                </a:cubicBezTo>
                <a:cubicBezTo>
                  <a:pt x="3188805" y="804430"/>
                  <a:pt x="3186982" y="798964"/>
                  <a:pt x="3185160" y="795319"/>
                </a:cubicBezTo>
                <a:cubicBezTo>
                  <a:pt x="3176050" y="795319"/>
                  <a:pt x="3181516" y="806252"/>
                  <a:pt x="3170583" y="804430"/>
                </a:cubicBezTo>
                <a:cubicBezTo>
                  <a:pt x="3170583" y="809897"/>
                  <a:pt x="3168761" y="808074"/>
                  <a:pt x="3170583" y="813541"/>
                </a:cubicBezTo>
                <a:cubicBezTo>
                  <a:pt x="3179694" y="813541"/>
                  <a:pt x="3190627" y="813541"/>
                  <a:pt x="3197916" y="809897"/>
                </a:cubicBezTo>
                <a:cubicBezTo>
                  <a:pt x="3197916" y="798964"/>
                  <a:pt x="3196093" y="786208"/>
                  <a:pt x="3205204" y="778920"/>
                </a:cubicBezTo>
                <a:close/>
                <a:moveTo>
                  <a:pt x="1149792" y="778920"/>
                </a:moveTo>
                <a:cubicBezTo>
                  <a:pt x="1144326" y="778920"/>
                  <a:pt x="1135215" y="778920"/>
                  <a:pt x="1129748" y="784386"/>
                </a:cubicBezTo>
                <a:cubicBezTo>
                  <a:pt x="1137037" y="789853"/>
                  <a:pt x="1146148" y="780742"/>
                  <a:pt x="1149792" y="778920"/>
                </a:cubicBezTo>
                <a:close/>
                <a:moveTo>
                  <a:pt x="794468" y="778920"/>
                </a:moveTo>
                <a:cubicBezTo>
                  <a:pt x="789003" y="778920"/>
                  <a:pt x="787179" y="778920"/>
                  <a:pt x="783535" y="782564"/>
                </a:cubicBezTo>
                <a:cubicBezTo>
                  <a:pt x="787179" y="786208"/>
                  <a:pt x="792646" y="782564"/>
                  <a:pt x="794468" y="778920"/>
                </a:cubicBezTo>
                <a:close/>
                <a:moveTo>
                  <a:pt x="714293" y="778920"/>
                </a:moveTo>
                <a:cubicBezTo>
                  <a:pt x="712470" y="784386"/>
                  <a:pt x="716115" y="782564"/>
                  <a:pt x="717937" y="782564"/>
                </a:cubicBezTo>
                <a:cubicBezTo>
                  <a:pt x="717937" y="778920"/>
                  <a:pt x="716115" y="780742"/>
                  <a:pt x="714293" y="778920"/>
                </a:cubicBezTo>
                <a:close/>
                <a:moveTo>
                  <a:pt x="522964" y="778920"/>
                </a:moveTo>
                <a:cubicBezTo>
                  <a:pt x="522964" y="778920"/>
                  <a:pt x="524786" y="780742"/>
                  <a:pt x="522964" y="782564"/>
                </a:cubicBezTo>
                <a:cubicBezTo>
                  <a:pt x="530253" y="784386"/>
                  <a:pt x="533897" y="782564"/>
                  <a:pt x="537542" y="789853"/>
                </a:cubicBezTo>
                <a:cubicBezTo>
                  <a:pt x="537542" y="786208"/>
                  <a:pt x="528431" y="778920"/>
                  <a:pt x="522964" y="778920"/>
                </a:cubicBezTo>
                <a:close/>
                <a:moveTo>
                  <a:pt x="473766" y="778920"/>
                </a:moveTo>
                <a:cubicBezTo>
                  <a:pt x="471943" y="780742"/>
                  <a:pt x="477410" y="784386"/>
                  <a:pt x="479232" y="786208"/>
                </a:cubicBezTo>
                <a:cubicBezTo>
                  <a:pt x="479232" y="784386"/>
                  <a:pt x="477410" y="778920"/>
                  <a:pt x="473766" y="778920"/>
                </a:cubicBezTo>
                <a:close/>
                <a:moveTo>
                  <a:pt x="249638" y="778920"/>
                </a:moveTo>
                <a:cubicBezTo>
                  <a:pt x="251460" y="780742"/>
                  <a:pt x="255105" y="788031"/>
                  <a:pt x="256927" y="786208"/>
                </a:cubicBezTo>
                <a:cubicBezTo>
                  <a:pt x="253282" y="784386"/>
                  <a:pt x="253282" y="780742"/>
                  <a:pt x="249638" y="778920"/>
                </a:cubicBezTo>
                <a:close/>
                <a:moveTo>
                  <a:pt x="1299379" y="778902"/>
                </a:moveTo>
                <a:lnTo>
                  <a:pt x="1299250" y="779042"/>
                </a:lnTo>
                <a:lnTo>
                  <a:pt x="1299210" y="778920"/>
                </a:lnTo>
                <a:close/>
                <a:moveTo>
                  <a:pt x="3238003" y="777098"/>
                </a:moveTo>
                <a:cubicBezTo>
                  <a:pt x="3227071" y="775275"/>
                  <a:pt x="3208849" y="780742"/>
                  <a:pt x="3212493" y="795319"/>
                </a:cubicBezTo>
                <a:cubicBezTo>
                  <a:pt x="3210671" y="791675"/>
                  <a:pt x="3210671" y="788031"/>
                  <a:pt x="3208849" y="784386"/>
                </a:cubicBezTo>
                <a:cubicBezTo>
                  <a:pt x="3205204" y="784386"/>
                  <a:pt x="3203382" y="786208"/>
                  <a:pt x="3203382" y="788031"/>
                </a:cubicBezTo>
                <a:cubicBezTo>
                  <a:pt x="3205204" y="795319"/>
                  <a:pt x="3212493" y="795319"/>
                  <a:pt x="3217960" y="797141"/>
                </a:cubicBezTo>
                <a:cubicBezTo>
                  <a:pt x="3217960" y="798964"/>
                  <a:pt x="3216137" y="800786"/>
                  <a:pt x="3216137" y="802608"/>
                </a:cubicBezTo>
                <a:cubicBezTo>
                  <a:pt x="3217960" y="815363"/>
                  <a:pt x="3227071" y="817185"/>
                  <a:pt x="3238003" y="813541"/>
                </a:cubicBezTo>
                <a:cubicBezTo>
                  <a:pt x="3234359" y="804430"/>
                  <a:pt x="3228893" y="798964"/>
                  <a:pt x="3221604" y="793497"/>
                </a:cubicBezTo>
                <a:cubicBezTo>
                  <a:pt x="3232537" y="797141"/>
                  <a:pt x="3238003" y="786208"/>
                  <a:pt x="3245292" y="784386"/>
                </a:cubicBezTo>
                <a:cubicBezTo>
                  <a:pt x="3243470" y="782564"/>
                  <a:pt x="3241648" y="777098"/>
                  <a:pt x="3238003" y="777098"/>
                </a:cubicBezTo>
                <a:close/>
                <a:moveTo>
                  <a:pt x="2596598" y="777098"/>
                </a:moveTo>
                <a:cubicBezTo>
                  <a:pt x="2594776" y="777098"/>
                  <a:pt x="2594776" y="778920"/>
                  <a:pt x="2592954" y="778920"/>
                </a:cubicBezTo>
                <a:cubicBezTo>
                  <a:pt x="2592954" y="780742"/>
                  <a:pt x="2592954" y="780742"/>
                  <a:pt x="2592954" y="782564"/>
                </a:cubicBezTo>
                <a:cubicBezTo>
                  <a:pt x="2591132" y="782564"/>
                  <a:pt x="2589310" y="782564"/>
                  <a:pt x="2589310" y="780742"/>
                </a:cubicBezTo>
                <a:cubicBezTo>
                  <a:pt x="2587487" y="780742"/>
                  <a:pt x="2585665" y="778920"/>
                  <a:pt x="2583843" y="778920"/>
                </a:cubicBezTo>
                <a:cubicBezTo>
                  <a:pt x="2585665" y="782564"/>
                  <a:pt x="2592954" y="789853"/>
                  <a:pt x="2591132" y="793497"/>
                </a:cubicBezTo>
                <a:cubicBezTo>
                  <a:pt x="2589310" y="797141"/>
                  <a:pt x="2585665" y="788031"/>
                  <a:pt x="2583843" y="789853"/>
                </a:cubicBezTo>
                <a:cubicBezTo>
                  <a:pt x="2582021" y="791675"/>
                  <a:pt x="2589310" y="800786"/>
                  <a:pt x="2582021" y="800786"/>
                </a:cubicBezTo>
                <a:cubicBezTo>
                  <a:pt x="2589310" y="802608"/>
                  <a:pt x="2596598" y="798964"/>
                  <a:pt x="2602065" y="798964"/>
                </a:cubicBezTo>
                <a:cubicBezTo>
                  <a:pt x="2600243" y="797141"/>
                  <a:pt x="2598421" y="791675"/>
                  <a:pt x="2594776" y="793497"/>
                </a:cubicBezTo>
                <a:cubicBezTo>
                  <a:pt x="2600243" y="789853"/>
                  <a:pt x="2600243" y="782564"/>
                  <a:pt x="2596598" y="777098"/>
                </a:cubicBezTo>
                <a:close/>
                <a:moveTo>
                  <a:pt x="2552866" y="777098"/>
                </a:moveTo>
                <a:cubicBezTo>
                  <a:pt x="2549222" y="777098"/>
                  <a:pt x="2552866" y="782564"/>
                  <a:pt x="2547400" y="778920"/>
                </a:cubicBezTo>
                <a:cubicBezTo>
                  <a:pt x="2549222" y="784386"/>
                  <a:pt x="2552866" y="784386"/>
                  <a:pt x="2556510" y="788031"/>
                </a:cubicBezTo>
                <a:cubicBezTo>
                  <a:pt x="2554688" y="784386"/>
                  <a:pt x="2558332" y="784386"/>
                  <a:pt x="2558332" y="780742"/>
                </a:cubicBezTo>
                <a:cubicBezTo>
                  <a:pt x="2554688" y="778920"/>
                  <a:pt x="2552866" y="778920"/>
                  <a:pt x="2552866" y="777098"/>
                </a:cubicBezTo>
                <a:close/>
                <a:moveTo>
                  <a:pt x="1301033" y="777098"/>
                </a:moveTo>
                <a:cubicBezTo>
                  <a:pt x="1290100" y="777098"/>
                  <a:pt x="1277344" y="777098"/>
                  <a:pt x="1266411" y="778920"/>
                </a:cubicBezTo>
                <a:cubicBezTo>
                  <a:pt x="1275522" y="782564"/>
                  <a:pt x="1282811" y="786208"/>
                  <a:pt x="1291922" y="788031"/>
                </a:cubicBezTo>
                <a:cubicBezTo>
                  <a:pt x="1293744" y="786208"/>
                  <a:pt x="1293744" y="784386"/>
                  <a:pt x="1293744" y="782564"/>
                </a:cubicBezTo>
                <a:cubicBezTo>
                  <a:pt x="1295566" y="780742"/>
                  <a:pt x="1295566" y="784386"/>
                  <a:pt x="1297388" y="782564"/>
                </a:cubicBezTo>
                <a:cubicBezTo>
                  <a:pt x="1298299" y="781653"/>
                  <a:pt x="1298299" y="780742"/>
                  <a:pt x="1298527" y="779831"/>
                </a:cubicBezTo>
                <a:lnTo>
                  <a:pt x="1299250" y="779042"/>
                </a:lnTo>
                <a:lnTo>
                  <a:pt x="1301033" y="784386"/>
                </a:lnTo>
                <a:cubicBezTo>
                  <a:pt x="1299210" y="786208"/>
                  <a:pt x="1302855" y="782564"/>
                  <a:pt x="1299210" y="780742"/>
                </a:cubicBezTo>
                <a:cubicBezTo>
                  <a:pt x="1297388" y="784386"/>
                  <a:pt x="1293744" y="784386"/>
                  <a:pt x="1293744" y="788031"/>
                </a:cubicBezTo>
                <a:cubicBezTo>
                  <a:pt x="1297388" y="789853"/>
                  <a:pt x="1299210" y="789853"/>
                  <a:pt x="1301033" y="786208"/>
                </a:cubicBezTo>
                <a:cubicBezTo>
                  <a:pt x="1304677" y="786208"/>
                  <a:pt x="1301033" y="789853"/>
                  <a:pt x="1301033" y="789853"/>
                </a:cubicBezTo>
                <a:cubicBezTo>
                  <a:pt x="1304677" y="786208"/>
                  <a:pt x="1311966" y="780742"/>
                  <a:pt x="1315610" y="777098"/>
                </a:cubicBezTo>
                <a:lnTo>
                  <a:pt x="1299379" y="778902"/>
                </a:lnTo>
                <a:close/>
                <a:moveTo>
                  <a:pt x="1186236" y="777098"/>
                </a:moveTo>
                <a:cubicBezTo>
                  <a:pt x="1184414" y="778920"/>
                  <a:pt x="1184414" y="780742"/>
                  <a:pt x="1184414" y="782564"/>
                </a:cubicBezTo>
                <a:cubicBezTo>
                  <a:pt x="1188058" y="784386"/>
                  <a:pt x="1188058" y="778920"/>
                  <a:pt x="1186236" y="777098"/>
                </a:cubicBezTo>
                <a:close/>
                <a:moveTo>
                  <a:pt x="699715" y="777098"/>
                </a:moveTo>
                <a:cubicBezTo>
                  <a:pt x="696071" y="778920"/>
                  <a:pt x="701537" y="780742"/>
                  <a:pt x="703359" y="782564"/>
                </a:cubicBezTo>
                <a:cubicBezTo>
                  <a:pt x="705182" y="780742"/>
                  <a:pt x="701537" y="778920"/>
                  <a:pt x="699715" y="777098"/>
                </a:cubicBezTo>
                <a:close/>
                <a:moveTo>
                  <a:pt x="685138" y="777098"/>
                </a:moveTo>
                <a:cubicBezTo>
                  <a:pt x="685138" y="782564"/>
                  <a:pt x="679671" y="786208"/>
                  <a:pt x="683316" y="788031"/>
                </a:cubicBezTo>
                <a:cubicBezTo>
                  <a:pt x="686960" y="782564"/>
                  <a:pt x="694249" y="789853"/>
                  <a:pt x="697893" y="784386"/>
                </a:cubicBezTo>
                <a:cubicBezTo>
                  <a:pt x="692426" y="782564"/>
                  <a:pt x="688782" y="778920"/>
                  <a:pt x="685138" y="777098"/>
                </a:cubicBezTo>
                <a:close/>
                <a:moveTo>
                  <a:pt x="632296" y="777098"/>
                </a:moveTo>
                <a:cubicBezTo>
                  <a:pt x="634117" y="778920"/>
                  <a:pt x="634572" y="781198"/>
                  <a:pt x="634800" y="783248"/>
                </a:cubicBezTo>
                <a:lnTo>
                  <a:pt x="635780" y="787366"/>
                </a:lnTo>
                <a:lnTo>
                  <a:pt x="634117" y="788031"/>
                </a:lnTo>
                <a:cubicBezTo>
                  <a:pt x="634117" y="788031"/>
                  <a:pt x="634117" y="788031"/>
                  <a:pt x="635939" y="788031"/>
                </a:cubicBezTo>
                <a:lnTo>
                  <a:pt x="635780" y="787366"/>
                </a:lnTo>
                <a:lnTo>
                  <a:pt x="643228" y="784386"/>
                </a:lnTo>
                <a:cubicBezTo>
                  <a:pt x="641407" y="786208"/>
                  <a:pt x="641407" y="788031"/>
                  <a:pt x="643228" y="789853"/>
                </a:cubicBezTo>
                <a:cubicBezTo>
                  <a:pt x="650516" y="791675"/>
                  <a:pt x="645050" y="786208"/>
                  <a:pt x="646872" y="784386"/>
                </a:cubicBezTo>
                <a:cubicBezTo>
                  <a:pt x="645050" y="778920"/>
                  <a:pt x="637761" y="778920"/>
                  <a:pt x="632296" y="777098"/>
                </a:cubicBezTo>
                <a:close/>
                <a:moveTo>
                  <a:pt x="439145" y="777098"/>
                </a:moveTo>
                <a:cubicBezTo>
                  <a:pt x="435500" y="777098"/>
                  <a:pt x="440966" y="778920"/>
                  <a:pt x="440966" y="780742"/>
                </a:cubicBezTo>
                <a:cubicBezTo>
                  <a:pt x="440966" y="778920"/>
                  <a:pt x="439145" y="777098"/>
                  <a:pt x="439145" y="777098"/>
                </a:cubicBezTo>
                <a:close/>
                <a:moveTo>
                  <a:pt x="1465031" y="776414"/>
                </a:moveTo>
                <a:lnTo>
                  <a:pt x="1463149" y="778180"/>
                </a:lnTo>
                <a:cubicBezTo>
                  <a:pt x="1461726" y="780059"/>
                  <a:pt x="1460928" y="782109"/>
                  <a:pt x="1461384" y="784386"/>
                </a:cubicBezTo>
                <a:cubicBezTo>
                  <a:pt x="1459562" y="788031"/>
                  <a:pt x="1459562" y="782564"/>
                  <a:pt x="1457739" y="784386"/>
                </a:cubicBezTo>
                <a:cubicBezTo>
                  <a:pt x="1457739" y="786208"/>
                  <a:pt x="1459562" y="784386"/>
                  <a:pt x="1459562" y="786208"/>
                </a:cubicBezTo>
                <a:cubicBezTo>
                  <a:pt x="1455917" y="788031"/>
                  <a:pt x="1452273" y="791675"/>
                  <a:pt x="1454095" y="793497"/>
                </a:cubicBezTo>
                <a:cubicBezTo>
                  <a:pt x="1457739" y="795319"/>
                  <a:pt x="1461384" y="788031"/>
                  <a:pt x="1463206" y="788031"/>
                </a:cubicBezTo>
                <a:cubicBezTo>
                  <a:pt x="1461384" y="789853"/>
                  <a:pt x="1468673" y="789853"/>
                  <a:pt x="1466850" y="791675"/>
                </a:cubicBezTo>
                <a:cubicBezTo>
                  <a:pt x="1463206" y="790764"/>
                  <a:pt x="1457284" y="791675"/>
                  <a:pt x="1452956" y="793953"/>
                </a:cubicBezTo>
                <a:lnTo>
                  <a:pt x="1449855" y="796779"/>
                </a:lnTo>
                <a:lnTo>
                  <a:pt x="1459562" y="780742"/>
                </a:lnTo>
                <a:cubicBezTo>
                  <a:pt x="1461384" y="780742"/>
                  <a:pt x="1459562" y="782564"/>
                  <a:pt x="1461384" y="782564"/>
                </a:cubicBezTo>
                <a:cubicBezTo>
                  <a:pt x="1463206" y="780742"/>
                  <a:pt x="1461384" y="778920"/>
                  <a:pt x="1463206" y="777098"/>
                </a:cubicBezTo>
                <a:close/>
                <a:moveTo>
                  <a:pt x="2722328" y="775275"/>
                </a:moveTo>
                <a:cubicBezTo>
                  <a:pt x="2716862" y="777098"/>
                  <a:pt x="2709573" y="775275"/>
                  <a:pt x="2707751" y="780742"/>
                </a:cubicBezTo>
                <a:cubicBezTo>
                  <a:pt x="2716862" y="786208"/>
                  <a:pt x="2722328" y="777098"/>
                  <a:pt x="2724150" y="784386"/>
                </a:cubicBezTo>
                <a:cubicBezTo>
                  <a:pt x="2727795" y="782564"/>
                  <a:pt x="2724150" y="777098"/>
                  <a:pt x="2722328" y="775275"/>
                </a:cubicBezTo>
                <a:close/>
                <a:moveTo>
                  <a:pt x="2323272" y="775275"/>
                </a:moveTo>
                <a:cubicBezTo>
                  <a:pt x="2323272" y="778920"/>
                  <a:pt x="2319628" y="780742"/>
                  <a:pt x="2321450" y="782564"/>
                </a:cubicBezTo>
                <a:cubicBezTo>
                  <a:pt x="2326916" y="786208"/>
                  <a:pt x="2325094" y="793497"/>
                  <a:pt x="2326916" y="797141"/>
                </a:cubicBezTo>
                <a:cubicBezTo>
                  <a:pt x="2326916" y="798964"/>
                  <a:pt x="2328739" y="797141"/>
                  <a:pt x="2330561" y="795319"/>
                </a:cubicBezTo>
                <a:close/>
                <a:moveTo>
                  <a:pt x="1362987" y="775275"/>
                </a:moveTo>
                <a:cubicBezTo>
                  <a:pt x="1355698" y="775275"/>
                  <a:pt x="1355698" y="782564"/>
                  <a:pt x="1348410" y="784386"/>
                </a:cubicBezTo>
                <a:cubicBezTo>
                  <a:pt x="1352053" y="788031"/>
                  <a:pt x="1357521" y="775275"/>
                  <a:pt x="1361164" y="780742"/>
                </a:cubicBezTo>
                <a:cubicBezTo>
                  <a:pt x="1364809" y="778920"/>
                  <a:pt x="1364809" y="777098"/>
                  <a:pt x="1362987" y="775275"/>
                </a:cubicBezTo>
                <a:close/>
                <a:moveTo>
                  <a:pt x="1033173" y="775275"/>
                </a:moveTo>
                <a:cubicBezTo>
                  <a:pt x="1027707" y="778920"/>
                  <a:pt x="1027707" y="784386"/>
                  <a:pt x="1022240" y="788031"/>
                </a:cubicBezTo>
                <a:lnTo>
                  <a:pt x="1023843" y="788299"/>
                </a:lnTo>
                <a:lnTo>
                  <a:pt x="1022012" y="790537"/>
                </a:lnTo>
                <a:cubicBezTo>
                  <a:pt x="1021784" y="791220"/>
                  <a:pt x="1022240" y="791675"/>
                  <a:pt x="1024062" y="791675"/>
                </a:cubicBezTo>
                <a:cubicBezTo>
                  <a:pt x="1024973" y="791675"/>
                  <a:pt x="1025884" y="791220"/>
                  <a:pt x="1026113" y="790537"/>
                </a:cubicBezTo>
                <a:lnTo>
                  <a:pt x="1024349" y="788383"/>
                </a:lnTo>
                <a:lnTo>
                  <a:pt x="1033173" y="789853"/>
                </a:lnTo>
                <a:cubicBezTo>
                  <a:pt x="1033173" y="789853"/>
                  <a:pt x="1033173" y="791675"/>
                  <a:pt x="1033173" y="791675"/>
                </a:cubicBezTo>
                <a:cubicBezTo>
                  <a:pt x="1034995" y="789853"/>
                  <a:pt x="1034995" y="788031"/>
                  <a:pt x="1036818" y="786208"/>
                </a:cubicBezTo>
                <a:cubicBezTo>
                  <a:pt x="1038639" y="780742"/>
                  <a:pt x="1038639" y="777098"/>
                  <a:pt x="1033173" y="775275"/>
                </a:cubicBezTo>
                <a:close/>
                <a:moveTo>
                  <a:pt x="741626" y="775275"/>
                </a:moveTo>
                <a:cubicBezTo>
                  <a:pt x="737981" y="777098"/>
                  <a:pt x="737981" y="778920"/>
                  <a:pt x="737981" y="780742"/>
                </a:cubicBezTo>
                <a:cubicBezTo>
                  <a:pt x="739803" y="780742"/>
                  <a:pt x="745269" y="777098"/>
                  <a:pt x="741626" y="775275"/>
                </a:cubicBezTo>
                <a:close/>
                <a:moveTo>
                  <a:pt x="677849" y="775275"/>
                </a:moveTo>
                <a:cubicBezTo>
                  <a:pt x="676027" y="778920"/>
                  <a:pt x="679671" y="780742"/>
                  <a:pt x="677849" y="784386"/>
                </a:cubicBezTo>
                <a:cubicBezTo>
                  <a:pt x="681493" y="784386"/>
                  <a:pt x="679671" y="778920"/>
                  <a:pt x="683316" y="777098"/>
                </a:cubicBezTo>
                <a:cubicBezTo>
                  <a:pt x="681493" y="775275"/>
                  <a:pt x="679671" y="777098"/>
                  <a:pt x="677849" y="775275"/>
                </a:cubicBezTo>
                <a:close/>
                <a:moveTo>
                  <a:pt x="455544" y="775275"/>
                </a:moveTo>
                <a:cubicBezTo>
                  <a:pt x="453722" y="777098"/>
                  <a:pt x="457367" y="778920"/>
                  <a:pt x="455544" y="780742"/>
                </a:cubicBezTo>
                <a:cubicBezTo>
                  <a:pt x="457367" y="780742"/>
                  <a:pt x="461010" y="784386"/>
                  <a:pt x="462832" y="780742"/>
                </a:cubicBezTo>
                <a:cubicBezTo>
                  <a:pt x="461010" y="778920"/>
                  <a:pt x="453722" y="778920"/>
                  <a:pt x="459188" y="777098"/>
                </a:cubicBezTo>
                <a:cubicBezTo>
                  <a:pt x="457367" y="777098"/>
                  <a:pt x="457367" y="775275"/>
                  <a:pt x="455544" y="775275"/>
                </a:cubicBezTo>
                <a:close/>
                <a:moveTo>
                  <a:pt x="395412" y="775275"/>
                </a:moveTo>
                <a:cubicBezTo>
                  <a:pt x="397234" y="778920"/>
                  <a:pt x="397234" y="782564"/>
                  <a:pt x="402701" y="780742"/>
                </a:cubicBezTo>
                <a:cubicBezTo>
                  <a:pt x="400879" y="775275"/>
                  <a:pt x="397234" y="778920"/>
                  <a:pt x="395412" y="775275"/>
                </a:cubicBezTo>
                <a:close/>
                <a:moveTo>
                  <a:pt x="566697" y="774820"/>
                </a:moveTo>
                <a:cubicBezTo>
                  <a:pt x="563052" y="774820"/>
                  <a:pt x="560319" y="777098"/>
                  <a:pt x="561230" y="784386"/>
                </a:cubicBezTo>
                <a:cubicBezTo>
                  <a:pt x="564874" y="782564"/>
                  <a:pt x="568519" y="780742"/>
                  <a:pt x="566697" y="778920"/>
                </a:cubicBezTo>
                <a:cubicBezTo>
                  <a:pt x="566697" y="780742"/>
                  <a:pt x="566697" y="780742"/>
                  <a:pt x="568519" y="782564"/>
                </a:cubicBezTo>
                <a:cubicBezTo>
                  <a:pt x="566697" y="782564"/>
                  <a:pt x="564874" y="782564"/>
                  <a:pt x="563052" y="784386"/>
                </a:cubicBezTo>
                <a:cubicBezTo>
                  <a:pt x="568519" y="788031"/>
                  <a:pt x="566697" y="795319"/>
                  <a:pt x="575808" y="793497"/>
                </a:cubicBezTo>
                <a:cubicBezTo>
                  <a:pt x="570341" y="797141"/>
                  <a:pt x="577630" y="797141"/>
                  <a:pt x="579452" y="798964"/>
                </a:cubicBezTo>
                <a:cubicBezTo>
                  <a:pt x="577630" y="797141"/>
                  <a:pt x="575808" y="795319"/>
                  <a:pt x="575808" y="793497"/>
                </a:cubicBezTo>
                <a:cubicBezTo>
                  <a:pt x="573985" y="791675"/>
                  <a:pt x="572163" y="788031"/>
                  <a:pt x="568519" y="788031"/>
                </a:cubicBezTo>
                <a:cubicBezTo>
                  <a:pt x="572163" y="788031"/>
                  <a:pt x="572163" y="789853"/>
                  <a:pt x="575808" y="789853"/>
                </a:cubicBezTo>
                <a:cubicBezTo>
                  <a:pt x="575808" y="784386"/>
                  <a:pt x="570341" y="784386"/>
                  <a:pt x="570341" y="778920"/>
                </a:cubicBezTo>
                <a:cubicBezTo>
                  <a:pt x="573985" y="780742"/>
                  <a:pt x="575808" y="780742"/>
                  <a:pt x="577630" y="784386"/>
                </a:cubicBezTo>
                <a:cubicBezTo>
                  <a:pt x="577630" y="782564"/>
                  <a:pt x="579452" y="780742"/>
                  <a:pt x="577630" y="778920"/>
                </a:cubicBezTo>
                <a:cubicBezTo>
                  <a:pt x="574896" y="777098"/>
                  <a:pt x="570341" y="774820"/>
                  <a:pt x="566697" y="774820"/>
                </a:cubicBezTo>
                <a:close/>
                <a:moveTo>
                  <a:pt x="1327226" y="773681"/>
                </a:moveTo>
                <a:cubicBezTo>
                  <a:pt x="1324721" y="773909"/>
                  <a:pt x="1321987" y="775276"/>
                  <a:pt x="1319254" y="777098"/>
                </a:cubicBezTo>
                <a:cubicBezTo>
                  <a:pt x="1321077" y="777098"/>
                  <a:pt x="1321077" y="777098"/>
                  <a:pt x="1322899" y="777098"/>
                </a:cubicBezTo>
                <a:cubicBezTo>
                  <a:pt x="1321077" y="780742"/>
                  <a:pt x="1313788" y="784386"/>
                  <a:pt x="1310143" y="788031"/>
                </a:cubicBezTo>
                <a:cubicBezTo>
                  <a:pt x="1317432" y="788031"/>
                  <a:pt x="1330188" y="786208"/>
                  <a:pt x="1333832" y="777098"/>
                </a:cubicBezTo>
                <a:cubicBezTo>
                  <a:pt x="1332009" y="774365"/>
                  <a:pt x="1329732" y="773454"/>
                  <a:pt x="1327226" y="773681"/>
                </a:cubicBezTo>
                <a:close/>
                <a:moveTo>
                  <a:pt x="625917" y="773454"/>
                </a:moveTo>
                <a:cubicBezTo>
                  <a:pt x="625461" y="773909"/>
                  <a:pt x="626828" y="777098"/>
                  <a:pt x="630472" y="782564"/>
                </a:cubicBezTo>
                <a:cubicBezTo>
                  <a:pt x="630472" y="780742"/>
                  <a:pt x="632296" y="780742"/>
                  <a:pt x="632296" y="780742"/>
                </a:cubicBezTo>
                <a:cubicBezTo>
                  <a:pt x="628650" y="775276"/>
                  <a:pt x="626373" y="772998"/>
                  <a:pt x="625917" y="773454"/>
                </a:cubicBezTo>
                <a:close/>
                <a:moveTo>
                  <a:pt x="2729617" y="773453"/>
                </a:moveTo>
                <a:cubicBezTo>
                  <a:pt x="2729617" y="786208"/>
                  <a:pt x="2740550" y="786208"/>
                  <a:pt x="2746016" y="782564"/>
                </a:cubicBezTo>
                <a:cubicBezTo>
                  <a:pt x="2740550" y="782564"/>
                  <a:pt x="2738728" y="777098"/>
                  <a:pt x="2729617" y="773453"/>
                </a:cubicBezTo>
                <a:close/>
                <a:moveTo>
                  <a:pt x="2571088" y="773453"/>
                </a:moveTo>
                <a:cubicBezTo>
                  <a:pt x="2567443" y="775275"/>
                  <a:pt x="2565621" y="775275"/>
                  <a:pt x="2563799" y="777098"/>
                </a:cubicBezTo>
                <a:cubicBezTo>
                  <a:pt x="2561977" y="782564"/>
                  <a:pt x="2560155" y="788031"/>
                  <a:pt x="2560155" y="793497"/>
                </a:cubicBezTo>
                <a:cubicBezTo>
                  <a:pt x="2563799" y="791675"/>
                  <a:pt x="2565621" y="791675"/>
                  <a:pt x="2567443" y="791675"/>
                </a:cubicBezTo>
                <a:cubicBezTo>
                  <a:pt x="2567443" y="789853"/>
                  <a:pt x="2565621" y="788031"/>
                  <a:pt x="2565621" y="786208"/>
                </a:cubicBezTo>
                <a:cubicBezTo>
                  <a:pt x="2572910" y="784386"/>
                  <a:pt x="2571088" y="778920"/>
                  <a:pt x="2571088" y="773453"/>
                </a:cubicBezTo>
                <a:close/>
                <a:moveTo>
                  <a:pt x="2317806" y="773453"/>
                </a:moveTo>
                <a:cubicBezTo>
                  <a:pt x="2317806" y="775275"/>
                  <a:pt x="2317806" y="775275"/>
                  <a:pt x="2317806" y="777098"/>
                </a:cubicBezTo>
                <a:cubicBezTo>
                  <a:pt x="2319628" y="777098"/>
                  <a:pt x="2321450" y="777098"/>
                  <a:pt x="2321450" y="775275"/>
                </a:cubicBezTo>
                <a:lnTo>
                  <a:pt x="2319628" y="773453"/>
                </a:lnTo>
                <a:cubicBezTo>
                  <a:pt x="2319628" y="773453"/>
                  <a:pt x="2317806" y="773453"/>
                  <a:pt x="2317806" y="773453"/>
                </a:cubicBezTo>
                <a:close/>
                <a:moveTo>
                  <a:pt x="1373920" y="773453"/>
                </a:moveTo>
                <a:cubicBezTo>
                  <a:pt x="1370275" y="773453"/>
                  <a:pt x="1368453" y="775275"/>
                  <a:pt x="1366632" y="775275"/>
                </a:cubicBezTo>
                <a:cubicBezTo>
                  <a:pt x="1366632" y="778920"/>
                  <a:pt x="1368453" y="773453"/>
                  <a:pt x="1370275" y="777098"/>
                </a:cubicBezTo>
                <a:cubicBezTo>
                  <a:pt x="1372097" y="775275"/>
                  <a:pt x="1373920" y="775275"/>
                  <a:pt x="1373920" y="773453"/>
                </a:cubicBezTo>
                <a:close/>
                <a:moveTo>
                  <a:pt x="1342942" y="773453"/>
                </a:moveTo>
                <a:cubicBezTo>
                  <a:pt x="1341120" y="775275"/>
                  <a:pt x="1341120" y="777098"/>
                  <a:pt x="1341120" y="778920"/>
                </a:cubicBezTo>
                <a:cubicBezTo>
                  <a:pt x="1342942" y="780742"/>
                  <a:pt x="1346587" y="778920"/>
                  <a:pt x="1348410" y="777098"/>
                </a:cubicBezTo>
                <a:cubicBezTo>
                  <a:pt x="1346587" y="775275"/>
                  <a:pt x="1344765" y="775275"/>
                  <a:pt x="1342942" y="773453"/>
                </a:cubicBezTo>
                <a:close/>
                <a:moveTo>
                  <a:pt x="1018596" y="773453"/>
                </a:moveTo>
                <a:cubicBezTo>
                  <a:pt x="1011307" y="786208"/>
                  <a:pt x="1000374" y="786208"/>
                  <a:pt x="989441" y="797141"/>
                </a:cubicBezTo>
                <a:cubicBezTo>
                  <a:pt x="989441" y="798964"/>
                  <a:pt x="991263" y="797141"/>
                  <a:pt x="993085" y="798964"/>
                </a:cubicBezTo>
                <a:cubicBezTo>
                  <a:pt x="993085" y="800786"/>
                  <a:pt x="991263" y="800786"/>
                  <a:pt x="989441" y="802608"/>
                </a:cubicBezTo>
                <a:cubicBezTo>
                  <a:pt x="991263" y="802608"/>
                  <a:pt x="993085" y="802608"/>
                  <a:pt x="994907" y="800786"/>
                </a:cubicBezTo>
                <a:cubicBezTo>
                  <a:pt x="994907" y="804430"/>
                  <a:pt x="993085" y="811719"/>
                  <a:pt x="994907" y="809897"/>
                </a:cubicBezTo>
                <a:lnTo>
                  <a:pt x="996547" y="810080"/>
                </a:lnTo>
                <a:lnTo>
                  <a:pt x="994679" y="811947"/>
                </a:lnTo>
                <a:cubicBezTo>
                  <a:pt x="994907" y="813086"/>
                  <a:pt x="995818" y="814452"/>
                  <a:pt x="996729" y="815363"/>
                </a:cubicBezTo>
                <a:cubicBezTo>
                  <a:pt x="998552" y="814452"/>
                  <a:pt x="998552" y="813541"/>
                  <a:pt x="998096" y="812630"/>
                </a:cubicBezTo>
                <a:lnTo>
                  <a:pt x="996836" y="810112"/>
                </a:lnTo>
                <a:lnTo>
                  <a:pt x="1010721" y="811654"/>
                </a:lnTo>
                <a:lnTo>
                  <a:pt x="1010544" y="812190"/>
                </a:lnTo>
                <a:lnTo>
                  <a:pt x="1005384" y="815364"/>
                </a:lnTo>
                <a:cubicBezTo>
                  <a:pt x="1003562" y="816730"/>
                  <a:pt x="1002196" y="818097"/>
                  <a:pt x="1002196" y="819008"/>
                </a:cubicBezTo>
                <a:cubicBezTo>
                  <a:pt x="1004018" y="819008"/>
                  <a:pt x="1002196" y="820830"/>
                  <a:pt x="1004018" y="820830"/>
                </a:cubicBezTo>
                <a:lnTo>
                  <a:pt x="1004018" y="819048"/>
                </a:lnTo>
                <a:lnTo>
                  <a:pt x="1007622" y="820850"/>
                </a:lnTo>
                <a:lnTo>
                  <a:pt x="1007663" y="820830"/>
                </a:lnTo>
                <a:cubicBezTo>
                  <a:pt x="1007663" y="819008"/>
                  <a:pt x="1005840" y="819008"/>
                  <a:pt x="1005840" y="819008"/>
                </a:cubicBezTo>
                <a:cubicBezTo>
                  <a:pt x="1005840" y="817185"/>
                  <a:pt x="1007663" y="817185"/>
                  <a:pt x="1007663" y="817185"/>
                </a:cubicBezTo>
                <a:lnTo>
                  <a:pt x="1007663" y="815404"/>
                </a:lnTo>
                <a:lnTo>
                  <a:pt x="1008553" y="816295"/>
                </a:lnTo>
                <a:lnTo>
                  <a:pt x="1009485" y="815363"/>
                </a:lnTo>
                <a:lnTo>
                  <a:pt x="1010544" y="812190"/>
                </a:lnTo>
                <a:lnTo>
                  <a:pt x="1011281" y="811735"/>
                </a:lnTo>
                <a:lnTo>
                  <a:pt x="1011260" y="811714"/>
                </a:lnTo>
                <a:lnTo>
                  <a:pt x="1010721" y="811654"/>
                </a:lnTo>
                <a:lnTo>
                  <a:pt x="1010841" y="811295"/>
                </a:lnTo>
                <a:lnTo>
                  <a:pt x="1009485" y="809938"/>
                </a:lnTo>
                <a:lnTo>
                  <a:pt x="1011035" y="810714"/>
                </a:lnTo>
                <a:lnTo>
                  <a:pt x="1011307" y="809897"/>
                </a:lnTo>
                <a:cubicBezTo>
                  <a:pt x="1013129" y="809897"/>
                  <a:pt x="1014951" y="808074"/>
                  <a:pt x="1014951" y="806252"/>
                </a:cubicBezTo>
                <a:cubicBezTo>
                  <a:pt x="1014951" y="802608"/>
                  <a:pt x="1013129" y="800786"/>
                  <a:pt x="1013129" y="797141"/>
                </a:cubicBezTo>
                <a:cubicBezTo>
                  <a:pt x="1013129" y="798964"/>
                  <a:pt x="1013129" y="798964"/>
                  <a:pt x="1014951" y="800786"/>
                </a:cubicBezTo>
                <a:cubicBezTo>
                  <a:pt x="1009485" y="786208"/>
                  <a:pt x="1022240" y="784386"/>
                  <a:pt x="1025884" y="773453"/>
                </a:cubicBezTo>
                <a:cubicBezTo>
                  <a:pt x="1024062" y="773453"/>
                  <a:pt x="1020418" y="773453"/>
                  <a:pt x="1018596" y="773453"/>
                </a:cubicBezTo>
                <a:close/>
                <a:moveTo>
                  <a:pt x="776246" y="773453"/>
                </a:moveTo>
                <a:cubicBezTo>
                  <a:pt x="774424" y="773453"/>
                  <a:pt x="779892" y="777098"/>
                  <a:pt x="781713" y="775275"/>
                </a:cubicBezTo>
                <a:cubicBezTo>
                  <a:pt x="779892" y="773453"/>
                  <a:pt x="778070" y="773453"/>
                  <a:pt x="776246" y="773453"/>
                </a:cubicBezTo>
                <a:close/>
                <a:moveTo>
                  <a:pt x="512031" y="773453"/>
                </a:moveTo>
                <a:cubicBezTo>
                  <a:pt x="508387" y="778920"/>
                  <a:pt x="517498" y="775275"/>
                  <a:pt x="517498" y="778920"/>
                </a:cubicBezTo>
                <a:cubicBezTo>
                  <a:pt x="515676" y="777098"/>
                  <a:pt x="517498" y="775275"/>
                  <a:pt x="515676" y="773453"/>
                </a:cubicBezTo>
                <a:cubicBezTo>
                  <a:pt x="513853" y="775275"/>
                  <a:pt x="513853" y="775275"/>
                  <a:pt x="512031" y="773453"/>
                </a:cubicBezTo>
                <a:close/>
                <a:moveTo>
                  <a:pt x="282438" y="773453"/>
                </a:moveTo>
                <a:cubicBezTo>
                  <a:pt x="281526" y="775276"/>
                  <a:pt x="282438" y="776187"/>
                  <a:pt x="283804" y="777098"/>
                </a:cubicBezTo>
                <a:lnTo>
                  <a:pt x="285169" y="778312"/>
                </a:lnTo>
                <a:lnTo>
                  <a:pt x="287904" y="780742"/>
                </a:lnTo>
                <a:cubicBezTo>
                  <a:pt x="287904" y="777098"/>
                  <a:pt x="286082" y="777098"/>
                  <a:pt x="282438" y="773453"/>
                </a:cubicBezTo>
                <a:close/>
                <a:moveTo>
                  <a:pt x="244172" y="773453"/>
                </a:moveTo>
                <a:cubicBezTo>
                  <a:pt x="247816" y="777098"/>
                  <a:pt x="251460" y="777098"/>
                  <a:pt x="255105" y="778920"/>
                </a:cubicBezTo>
                <a:cubicBezTo>
                  <a:pt x="253282" y="777098"/>
                  <a:pt x="247816" y="769809"/>
                  <a:pt x="244172" y="773453"/>
                </a:cubicBezTo>
                <a:close/>
                <a:moveTo>
                  <a:pt x="1406901" y="771996"/>
                </a:moveTo>
                <a:lnTo>
                  <a:pt x="1408541" y="775275"/>
                </a:lnTo>
                <a:cubicBezTo>
                  <a:pt x="1406719" y="775275"/>
                  <a:pt x="1404896" y="773453"/>
                  <a:pt x="1403074" y="777098"/>
                </a:cubicBezTo>
                <a:cubicBezTo>
                  <a:pt x="1403074" y="776187"/>
                  <a:pt x="1404442" y="774820"/>
                  <a:pt x="1405807" y="773454"/>
                </a:cubicBezTo>
                <a:close/>
                <a:moveTo>
                  <a:pt x="3480353" y="771631"/>
                </a:moveTo>
                <a:lnTo>
                  <a:pt x="3481437" y="771812"/>
                </a:lnTo>
                <a:lnTo>
                  <a:pt x="3480093" y="772441"/>
                </a:lnTo>
                <a:close/>
                <a:moveTo>
                  <a:pt x="1211747" y="771631"/>
                </a:moveTo>
                <a:lnTo>
                  <a:pt x="1206980" y="773453"/>
                </a:lnTo>
                <a:lnTo>
                  <a:pt x="1206279" y="773453"/>
                </a:lnTo>
                <a:lnTo>
                  <a:pt x="1206152" y="773770"/>
                </a:lnTo>
                <a:lnTo>
                  <a:pt x="1196257" y="777553"/>
                </a:lnTo>
                <a:cubicBezTo>
                  <a:pt x="1191247" y="778464"/>
                  <a:pt x="1187147" y="779831"/>
                  <a:pt x="1186236" y="786208"/>
                </a:cubicBezTo>
                <a:lnTo>
                  <a:pt x="1189880" y="786208"/>
                </a:lnTo>
                <a:lnTo>
                  <a:pt x="1186017" y="790072"/>
                </a:lnTo>
                <a:lnTo>
                  <a:pt x="1181681" y="790536"/>
                </a:lnTo>
                <a:cubicBezTo>
                  <a:pt x="1179858" y="791675"/>
                  <a:pt x="1178947" y="793497"/>
                  <a:pt x="1180769" y="795319"/>
                </a:cubicBezTo>
                <a:lnTo>
                  <a:pt x="1186017" y="790072"/>
                </a:lnTo>
                <a:lnTo>
                  <a:pt x="1188058" y="789853"/>
                </a:lnTo>
                <a:cubicBezTo>
                  <a:pt x="1184414" y="788031"/>
                  <a:pt x="1191703" y="788031"/>
                  <a:pt x="1189880" y="786208"/>
                </a:cubicBezTo>
                <a:lnTo>
                  <a:pt x="1189880" y="786208"/>
                </a:lnTo>
                <a:lnTo>
                  <a:pt x="1193525" y="782564"/>
                </a:lnTo>
                <a:cubicBezTo>
                  <a:pt x="1195346" y="789853"/>
                  <a:pt x="1186236" y="795319"/>
                  <a:pt x="1180769" y="797141"/>
                </a:cubicBezTo>
                <a:lnTo>
                  <a:pt x="1185831" y="802203"/>
                </a:lnTo>
                <a:lnTo>
                  <a:pt x="1184414" y="802608"/>
                </a:lnTo>
                <a:cubicBezTo>
                  <a:pt x="1184414" y="802608"/>
                  <a:pt x="1186236" y="802608"/>
                  <a:pt x="1186236" y="802608"/>
                </a:cubicBezTo>
                <a:lnTo>
                  <a:pt x="1185831" y="802203"/>
                </a:lnTo>
                <a:lnTo>
                  <a:pt x="1190791" y="800786"/>
                </a:lnTo>
                <a:cubicBezTo>
                  <a:pt x="1193069" y="798964"/>
                  <a:pt x="1195346" y="796231"/>
                  <a:pt x="1197169" y="793497"/>
                </a:cubicBezTo>
                <a:cubicBezTo>
                  <a:pt x="1198991" y="791675"/>
                  <a:pt x="1197169" y="788031"/>
                  <a:pt x="1198991" y="786208"/>
                </a:cubicBezTo>
                <a:cubicBezTo>
                  <a:pt x="1199902" y="783475"/>
                  <a:pt x="1202180" y="781198"/>
                  <a:pt x="1204002" y="779148"/>
                </a:cubicBezTo>
                <a:lnTo>
                  <a:pt x="1206152" y="773770"/>
                </a:lnTo>
                <a:lnTo>
                  <a:pt x="1206980" y="773453"/>
                </a:lnTo>
                <a:lnTo>
                  <a:pt x="1208102" y="773453"/>
                </a:lnTo>
                <a:cubicBezTo>
                  <a:pt x="1208102" y="777098"/>
                  <a:pt x="1202636" y="782564"/>
                  <a:pt x="1200814" y="786208"/>
                </a:cubicBezTo>
                <a:cubicBezTo>
                  <a:pt x="1202636" y="788031"/>
                  <a:pt x="1202636" y="784386"/>
                  <a:pt x="1204457" y="784386"/>
                </a:cubicBezTo>
                <a:cubicBezTo>
                  <a:pt x="1206279" y="786208"/>
                  <a:pt x="1200814" y="788031"/>
                  <a:pt x="1202636" y="789853"/>
                </a:cubicBezTo>
                <a:lnTo>
                  <a:pt x="1203960" y="790350"/>
                </a:lnTo>
                <a:lnTo>
                  <a:pt x="1200814" y="793497"/>
                </a:lnTo>
                <a:cubicBezTo>
                  <a:pt x="1200814" y="793497"/>
                  <a:pt x="1202636" y="795319"/>
                  <a:pt x="1202636" y="795319"/>
                </a:cubicBezTo>
                <a:lnTo>
                  <a:pt x="1204254" y="790461"/>
                </a:lnTo>
                <a:lnTo>
                  <a:pt x="1204457" y="790537"/>
                </a:lnTo>
                <a:cubicBezTo>
                  <a:pt x="1204912" y="789853"/>
                  <a:pt x="1205368" y="788942"/>
                  <a:pt x="1206279" y="789853"/>
                </a:cubicBezTo>
                <a:cubicBezTo>
                  <a:pt x="1204457" y="791675"/>
                  <a:pt x="1206279" y="795319"/>
                  <a:pt x="1202636" y="797141"/>
                </a:cubicBezTo>
                <a:cubicBezTo>
                  <a:pt x="1211747" y="797141"/>
                  <a:pt x="1219036" y="786208"/>
                  <a:pt x="1220858" y="778920"/>
                </a:cubicBezTo>
                <a:cubicBezTo>
                  <a:pt x="1220858" y="780742"/>
                  <a:pt x="1219036" y="786208"/>
                  <a:pt x="1217213" y="789853"/>
                </a:cubicBezTo>
                <a:cubicBezTo>
                  <a:pt x="1222679" y="789853"/>
                  <a:pt x="1226323" y="788031"/>
                  <a:pt x="1228146" y="784386"/>
                </a:cubicBezTo>
                <a:cubicBezTo>
                  <a:pt x="1229969" y="789853"/>
                  <a:pt x="1219036" y="789853"/>
                  <a:pt x="1217213" y="795319"/>
                </a:cubicBezTo>
                <a:cubicBezTo>
                  <a:pt x="1222679" y="797141"/>
                  <a:pt x="1226323" y="795319"/>
                  <a:pt x="1231790" y="793497"/>
                </a:cubicBezTo>
                <a:lnTo>
                  <a:pt x="1217212" y="797142"/>
                </a:lnTo>
                <a:lnTo>
                  <a:pt x="1217213" y="797141"/>
                </a:lnTo>
                <a:lnTo>
                  <a:pt x="1217210" y="797142"/>
                </a:lnTo>
                <a:lnTo>
                  <a:pt x="1188058" y="804430"/>
                </a:lnTo>
                <a:cubicBezTo>
                  <a:pt x="1186236" y="806252"/>
                  <a:pt x="1186236" y="806252"/>
                  <a:pt x="1184414" y="808074"/>
                </a:cubicBezTo>
                <a:cubicBezTo>
                  <a:pt x="1182592" y="809897"/>
                  <a:pt x="1182592" y="806252"/>
                  <a:pt x="1184414" y="806252"/>
                </a:cubicBezTo>
                <a:lnTo>
                  <a:pt x="1175804" y="809122"/>
                </a:lnTo>
                <a:lnTo>
                  <a:pt x="1177808" y="806025"/>
                </a:lnTo>
                <a:cubicBezTo>
                  <a:pt x="1177580" y="804430"/>
                  <a:pt x="1177125" y="802608"/>
                  <a:pt x="1178947" y="800786"/>
                </a:cubicBezTo>
                <a:cubicBezTo>
                  <a:pt x="1173481" y="797141"/>
                  <a:pt x="1171658" y="798964"/>
                  <a:pt x="1168014" y="802608"/>
                </a:cubicBezTo>
                <a:cubicBezTo>
                  <a:pt x="1166192" y="802608"/>
                  <a:pt x="1162547" y="798964"/>
                  <a:pt x="1160725" y="798964"/>
                </a:cubicBezTo>
                <a:cubicBezTo>
                  <a:pt x="1160725" y="798964"/>
                  <a:pt x="1162547" y="800786"/>
                  <a:pt x="1162547" y="800786"/>
                </a:cubicBezTo>
                <a:cubicBezTo>
                  <a:pt x="1157081" y="797141"/>
                  <a:pt x="1149792" y="795319"/>
                  <a:pt x="1144326" y="795319"/>
                </a:cubicBezTo>
                <a:cubicBezTo>
                  <a:pt x="1138859" y="797141"/>
                  <a:pt x="1140681" y="806252"/>
                  <a:pt x="1146148" y="806252"/>
                </a:cubicBezTo>
                <a:cubicBezTo>
                  <a:pt x="1147970" y="808074"/>
                  <a:pt x="1147970" y="809897"/>
                  <a:pt x="1147970" y="811719"/>
                </a:cubicBezTo>
                <a:cubicBezTo>
                  <a:pt x="1153436" y="809897"/>
                  <a:pt x="1160725" y="811719"/>
                  <a:pt x="1166192" y="806252"/>
                </a:cubicBezTo>
                <a:cubicBezTo>
                  <a:pt x="1166192" y="806252"/>
                  <a:pt x="1164370" y="808074"/>
                  <a:pt x="1164370" y="811719"/>
                </a:cubicBezTo>
                <a:cubicBezTo>
                  <a:pt x="1168014" y="813541"/>
                  <a:pt x="1171658" y="806252"/>
                  <a:pt x="1175303" y="809897"/>
                </a:cubicBezTo>
                <a:lnTo>
                  <a:pt x="1175523" y="809557"/>
                </a:lnTo>
                <a:lnTo>
                  <a:pt x="1176214" y="809442"/>
                </a:lnTo>
                <a:cubicBezTo>
                  <a:pt x="1177125" y="808986"/>
                  <a:pt x="1178036" y="808986"/>
                  <a:pt x="1178947" y="811719"/>
                </a:cubicBezTo>
                <a:cubicBezTo>
                  <a:pt x="1178947" y="811719"/>
                  <a:pt x="1180769" y="809897"/>
                  <a:pt x="1180769" y="809897"/>
                </a:cubicBezTo>
                <a:cubicBezTo>
                  <a:pt x="1182592" y="811719"/>
                  <a:pt x="1182592" y="811719"/>
                  <a:pt x="1184414" y="813541"/>
                </a:cubicBezTo>
                <a:cubicBezTo>
                  <a:pt x="1175303" y="813541"/>
                  <a:pt x="1166192" y="809897"/>
                  <a:pt x="1158903" y="817185"/>
                </a:cubicBezTo>
                <a:cubicBezTo>
                  <a:pt x="1155259" y="817185"/>
                  <a:pt x="1153436" y="815363"/>
                  <a:pt x="1149792" y="817185"/>
                </a:cubicBezTo>
                <a:cubicBezTo>
                  <a:pt x="1149792" y="820830"/>
                  <a:pt x="1147970" y="822652"/>
                  <a:pt x="1147970" y="826296"/>
                </a:cubicBezTo>
                <a:cubicBezTo>
                  <a:pt x="1155259" y="829941"/>
                  <a:pt x="1164370" y="820830"/>
                  <a:pt x="1175303" y="819008"/>
                </a:cubicBezTo>
                <a:lnTo>
                  <a:pt x="1219034" y="808074"/>
                </a:lnTo>
                <a:lnTo>
                  <a:pt x="1220858" y="809897"/>
                </a:lnTo>
                <a:cubicBezTo>
                  <a:pt x="1224501" y="808074"/>
                  <a:pt x="1231790" y="808074"/>
                  <a:pt x="1228146" y="804430"/>
                </a:cubicBezTo>
                <a:cubicBezTo>
                  <a:pt x="1235434" y="809897"/>
                  <a:pt x="1251834" y="806252"/>
                  <a:pt x="1264589" y="806252"/>
                </a:cubicBezTo>
                <a:cubicBezTo>
                  <a:pt x="1262767" y="804430"/>
                  <a:pt x="1264589" y="804430"/>
                  <a:pt x="1262767" y="802608"/>
                </a:cubicBezTo>
                <a:cubicBezTo>
                  <a:pt x="1264589" y="802608"/>
                  <a:pt x="1266411" y="808074"/>
                  <a:pt x="1270056" y="809897"/>
                </a:cubicBezTo>
                <a:cubicBezTo>
                  <a:pt x="1270056" y="802608"/>
                  <a:pt x="1268233" y="793497"/>
                  <a:pt x="1266411" y="786208"/>
                </a:cubicBezTo>
                <a:cubicBezTo>
                  <a:pt x="1262767" y="784386"/>
                  <a:pt x="1259123" y="782564"/>
                  <a:pt x="1255478" y="784386"/>
                </a:cubicBezTo>
                <a:cubicBezTo>
                  <a:pt x="1248189" y="778920"/>
                  <a:pt x="1240901" y="775275"/>
                  <a:pt x="1233612" y="775275"/>
                </a:cubicBezTo>
                <a:cubicBezTo>
                  <a:pt x="1231790" y="777098"/>
                  <a:pt x="1235434" y="777098"/>
                  <a:pt x="1235434" y="778920"/>
                </a:cubicBezTo>
                <a:cubicBezTo>
                  <a:pt x="1233612" y="780742"/>
                  <a:pt x="1231790" y="777098"/>
                  <a:pt x="1229969" y="775275"/>
                </a:cubicBezTo>
                <a:cubicBezTo>
                  <a:pt x="1228146" y="775275"/>
                  <a:pt x="1226323" y="775275"/>
                  <a:pt x="1224501" y="777098"/>
                </a:cubicBezTo>
                <a:cubicBezTo>
                  <a:pt x="1222679" y="771631"/>
                  <a:pt x="1215390" y="773453"/>
                  <a:pt x="1211747" y="771631"/>
                </a:cubicBezTo>
                <a:close/>
                <a:moveTo>
                  <a:pt x="925666" y="771631"/>
                </a:moveTo>
                <a:cubicBezTo>
                  <a:pt x="920198" y="777098"/>
                  <a:pt x="914732" y="778920"/>
                  <a:pt x="909265" y="786208"/>
                </a:cubicBezTo>
                <a:lnTo>
                  <a:pt x="912909" y="787770"/>
                </a:lnTo>
                <a:lnTo>
                  <a:pt x="922020" y="791675"/>
                </a:lnTo>
                <a:cubicBezTo>
                  <a:pt x="922020" y="789853"/>
                  <a:pt x="923843" y="789853"/>
                  <a:pt x="925666" y="788031"/>
                </a:cubicBezTo>
                <a:cubicBezTo>
                  <a:pt x="925666" y="791675"/>
                  <a:pt x="922020" y="793497"/>
                  <a:pt x="922020" y="797141"/>
                </a:cubicBezTo>
                <a:cubicBezTo>
                  <a:pt x="936598" y="788031"/>
                  <a:pt x="927487" y="778920"/>
                  <a:pt x="925666" y="771631"/>
                </a:cubicBezTo>
                <a:close/>
                <a:moveTo>
                  <a:pt x="823623" y="771631"/>
                </a:moveTo>
                <a:cubicBezTo>
                  <a:pt x="825445" y="773453"/>
                  <a:pt x="821801" y="775275"/>
                  <a:pt x="823623" y="777098"/>
                </a:cubicBezTo>
                <a:cubicBezTo>
                  <a:pt x="825445" y="777098"/>
                  <a:pt x="821801" y="775275"/>
                  <a:pt x="825445" y="773453"/>
                </a:cubicBezTo>
                <a:cubicBezTo>
                  <a:pt x="825445" y="773453"/>
                  <a:pt x="823623" y="771631"/>
                  <a:pt x="823623" y="771631"/>
                </a:cubicBezTo>
                <a:close/>
                <a:moveTo>
                  <a:pt x="810868" y="771631"/>
                </a:moveTo>
                <a:cubicBezTo>
                  <a:pt x="809046" y="775275"/>
                  <a:pt x="816334" y="777098"/>
                  <a:pt x="818156" y="775275"/>
                </a:cubicBezTo>
                <a:cubicBezTo>
                  <a:pt x="816334" y="775275"/>
                  <a:pt x="812690" y="775275"/>
                  <a:pt x="810868" y="771631"/>
                </a:cubicBezTo>
                <a:close/>
                <a:moveTo>
                  <a:pt x="772602" y="771631"/>
                </a:moveTo>
                <a:lnTo>
                  <a:pt x="771623" y="774242"/>
                </a:lnTo>
                <a:lnTo>
                  <a:pt x="768959" y="777098"/>
                </a:lnTo>
                <a:lnTo>
                  <a:pt x="770553" y="777098"/>
                </a:lnTo>
                <a:lnTo>
                  <a:pt x="767136" y="786208"/>
                </a:lnTo>
                <a:cubicBezTo>
                  <a:pt x="770781" y="782564"/>
                  <a:pt x="774424" y="778920"/>
                  <a:pt x="779892" y="777098"/>
                </a:cubicBezTo>
                <a:lnTo>
                  <a:pt x="770553" y="777098"/>
                </a:lnTo>
                <a:lnTo>
                  <a:pt x="771623" y="774242"/>
                </a:lnTo>
                <a:lnTo>
                  <a:pt x="772146" y="773681"/>
                </a:lnTo>
                <a:cubicBezTo>
                  <a:pt x="773057" y="772998"/>
                  <a:pt x="773513" y="772542"/>
                  <a:pt x="772602" y="771631"/>
                </a:cubicBezTo>
                <a:close/>
                <a:moveTo>
                  <a:pt x="748914" y="771631"/>
                </a:moveTo>
                <a:cubicBezTo>
                  <a:pt x="747092" y="771631"/>
                  <a:pt x="745269" y="771631"/>
                  <a:pt x="743447" y="773453"/>
                </a:cubicBezTo>
                <a:cubicBezTo>
                  <a:pt x="747092" y="778920"/>
                  <a:pt x="748914" y="773453"/>
                  <a:pt x="748914" y="771631"/>
                </a:cubicBezTo>
                <a:close/>
                <a:moveTo>
                  <a:pt x="677849" y="771631"/>
                </a:moveTo>
                <a:cubicBezTo>
                  <a:pt x="674205" y="771631"/>
                  <a:pt x="677849" y="775275"/>
                  <a:pt x="679671" y="775275"/>
                </a:cubicBezTo>
                <a:cubicBezTo>
                  <a:pt x="683316" y="773453"/>
                  <a:pt x="677849" y="771631"/>
                  <a:pt x="677849" y="771631"/>
                </a:cubicBezTo>
                <a:close/>
                <a:moveTo>
                  <a:pt x="482876" y="771631"/>
                </a:moveTo>
                <a:cubicBezTo>
                  <a:pt x="484700" y="771631"/>
                  <a:pt x="477410" y="775275"/>
                  <a:pt x="484700" y="777098"/>
                </a:cubicBezTo>
                <a:cubicBezTo>
                  <a:pt x="481054" y="777098"/>
                  <a:pt x="488343" y="771631"/>
                  <a:pt x="482876" y="771631"/>
                </a:cubicBezTo>
                <a:close/>
                <a:moveTo>
                  <a:pt x="411812" y="771631"/>
                </a:moveTo>
                <a:cubicBezTo>
                  <a:pt x="411812" y="773453"/>
                  <a:pt x="411812" y="775275"/>
                  <a:pt x="413634" y="777098"/>
                </a:cubicBezTo>
                <a:cubicBezTo>
                  <a:pt x="417278" y="777098"/>
                  <a:pt x="411812" y="773453"/>
                  <a:pt x="411812" y="771631"/>
                </a:cubicBezTo>
                <a:close/>
                <a:moveTo>
                  <a:pt x="238705" y="771631"/>
                </a:moveTo>
                <a:cubicBezTo>
                  <a:pt x="236883" y="778920"/>
                  <a:pt x="247816" y="778920"/>
                  <a:pt x="251460" y="784386"/>
                </a:cubicBezTo>
                <a:cubicBezTo>
                  <a:pt x="249638" y="778920"/>
                  <a:pt x="242349" y="775275"/>
                  <a:pt x="238705" y="771631"/>
                </a:cubicBezTo>
                <a:close/>
                <a:moveTo>
                  <a:pt x="222306" y="771631"/>
                </a:moveTo>
                <a:cubicBezTo>
                  <a:pt x="220483" y="773453"/>
                  <a:pt x="227772" y="777098"/>
                  <a:pt x="229594" y="778920"/>
                </a:cubicBezTo>
                <a:cubicBezTo>
                  <a:pt x="229594" y="775275"/>
                  <a:pt x="224128" y="773453"/>
                  <a:pt x="222306" y="771631"/>
                </a:cubicBezTo>
                <a:close/>
                <a:moveTo>
                  <a:pt x="1470470" y="771533"/>
                </a:moveTo>
                <a:lnTo>
                  <a:pt x="1470495" y="771631"/>
                </a:lnTo>
                <a:cubicBezTo>
                  <a:pt x="1469584" y="772542"/>
                  <a:pt x="1468217" y="774365"/>
                  <a:pt x="1466850" y="775731"/>
                </a:cubicBezTo>
                <a:lnTo>
                  <a:pt x="1465031" y="776414"/>
                </a:lnTo>
                <a:lnTo>
                  <a:pt x="1468673" y="772998"/>
                </a:lnTo>
                <a:close/>
                <a:moveTo>
                  <a:pt x="1408168" y="770306"/>
                </a:moveTo>
                <a:lnTo>
                  <a:pt x="1406901" y="771996"/>
                </a:lnTo>
                <a:lnTo>
                  <a:pt x="1406719" y="771631"/>
                </a:lnTo>
                <a:close/>
                <a:moveTo>
                  <a:pt x="3644348" y="769809"/>
                </a:moveTo>
                <a:cubicBezTo>
                  <a:pt x="3647993" y="775275"/>
                  <a:pt x="3657103" y="777098"/>
                  <a:pt x="3658926" y="784386"/>
                </a:cubicBezTo>
                <a:cubicBezTo>
                  <a:pt x="3647993" y="784386"/>
                  <a:pt x="3649815" y="788031"/>
                  <a:pt x="3644348" y="778920"/>
                </a:cubicBezTo>
                <a:cubicBezTo>
                  <a:pt x="3644348" y="780742"/>
                  <a:pt x="3642982" y="780742"/>
                  <a:pt x="3641615" y="780515"/>
                </a:cubicBezTo>
                <a:lnTo>
                  <a:pt x="3639591" y="780683"/>
                </a:lnTo>
                <a:close/>
                <a:moveTo>
                  <a:pt x="2656730" y="769809"/>
                </a:moveTo>
                <a:cubicBezTo>
                  <a:pt x="2653086" y="771631"/>
                  <a:pt x="2656730" y="775275"/>
                  <a:pt x="2658552" y="777098"/>
                </a:cubicBezTo>
                <a:cubicBezTo>
                  <a:pt x="2662197" y="775275"/>
                  <a:pt x="2658552" y="769809"/>
                  <a:pt x="2656730" y="769809"/>
                </a:cubicBezTo>
                <a:close/>
                <a:moveTo>
                  <a:pt x="1384854" y="769809"/>
                </a:moveTo>
                <a:cubicBezTo>
                  <a:pt x="1384854" y="767987"/>
                  <a:pt x="1381208" y="771631"/>
                  <a:pt x="1379386" y="773453"/>
                </a:cubicBezTo>
                <a:cubicBezTo>
                  <a:pt x="1379386" y="773453"/>
                  <a:pt x="1379386" y="771631"/>
                  <a:pt x="1379386" y="771631"/>
                </a:cubicBezTo>
                <a:cubicBezTo>
                  <a:pt x="1379386" y="769809"/>
                  <a:pt x="1375743" y="773453"/>
                  <a:pt x="1377564" y="775275"/>
                </a:cubicBezTo>
                <a:cubicBezTo>
                  <a:pt x="1377564" y="775275"/>
                  <a:pt x="1379386" y="773453"/>
                  <a:pt x="1379386" y="773453"/>
                </a:cubicBezTo>
                <a:cubicBezTo>
                  <a:pt x="1379386" y="773453"/>
                  <a:pt x="1381208" y="775275"/>
                  <a:pt x="1381208" y="775275"/>
                </a:cubicBezTo>
                <a:cubicBezTo>
                  <a:pt x="1384854" y="773453"/>
                  <a:pt x="1383030" y="771631"/>
                  <a:pt x="1384854" y="769809"/>
                </a:cubicBezTo>
                <a:close/>
                <a:moveTo>
                  <a:pt x="1259123" y="769809"/>
                </a:moveTo>
                <a:cubicBezTo>
                  <a:pt x="1259123" y="769809"/>
                  <a:pt x="1257300" y="771631"/>
                  <a:pt x="1257300" y="771631"/>
                </a:cubicBezTo>
                <a:cubicBezTo>
                  <a:pt x="1259123" y="773453"/>
                  <a:pt x="1264589" y="771631"/>
                  <a:pt x="1259123" y="769809"/>
                </a:cubicBezTo>
                <a:close/>
                <a:moveTo>
                  <a:pt x="963930" y="769809"/>
                </a:moveTo>
                <a:cubicBezTo>
                  <a:pt x="947531" y="777098"/>
                  <a:pt x="942064" y="793497"/>
                  <a:pt x="929309" y="806252"/>
                </a:cubicBezTo>
                <a:lnTo>
                  <a:pt x="931131" y="806252"/>
                </a:lnTo>
                <a:cubicBezTo>
                  <a:pt x="929309" y="808074"/>
                  <a:pt x="927487" y="809897"/>
                  <a:pt x="925666" y="811719"/>
                </a:cubicBezTo>
                <a:cubicBezTo>
                  <a:pt x="929309" y="811719"/>
                  <a:pt x="932953" y="811719"/>
                  <a:pt x="932953" y="808074"/>
                </a:cubicBezTo>
                <a:cubicBezTo>
                  <a:pt x="932953" y="808074"/>
                  <a:pt x="931131" y="806252"/>
                  <a:pt x="931131" y="804430"/>
                </a:cubicBezTo>
                <a:cubicBezTo>
                  <a:pt x="931131" y="804430"/>
                  <a:pt x="932953" y="802608"/>
                  <a:pt x="932953" y="802608"/>
                </a:cubicBezTo>
                <a:cubicBezTo>
                  <a:pt x="945709" y="800786"/>
                  <a:pt x="967575" y="791675"/>
                  <a:pt x="958464" y="775275"/>
                </a:cubicBezTo>
                <a:cubicBezTo>
                  <a:pt x="960286" y="773453"/>
                  <a:pt x="962108" y="771631"/>
                  <a:pt x="963930" y="769809"/>
                </a:cubicBezTo>
                <a:close/>
                <a:moveTo>
                  <a:pt x="758025" y="769809"/>
                </a:moveTo>
                <a:cubicBezTo>
                  <a:pt x="750737" y="773453"/>
                  <a:pt x="754380" y="780742"/>
                  <a:pt x="758025" y="780742"/>
                </a:cubicBezTo>
                <a:cubicBezTo>
                  <a:pt x="752558" y="778920"/>
                  <a:pt x="763491" y="775275"/>
                  <a:pt x="758025" y="769809"/>
                </a:cubicBezTo>
                <a:close/>
                <a:moveTo>
                  <a:pt x="619539" y="769809"/>
                </a:moveTo>
                <a:cubicBezTo>
                  <a:pt x="614074" y="777098"/>
                  <a:pt x="619539" y="777098"/>
                  <a:pt x="623185" y="784386"/>
                </a:cubicBezTo>
                <a:cubicBezTo>
                  <a:pt x="628650" y="778920"/>
                  <a:pt x="623185" y="775275"/>
                  <a:pt x="619539" y="769809"/>
                </a:cubicBezTo>
                <a:close/>
                <a:moveTo>
                  <a:pt x="572163" y="769809"/>
                </a:moveTo>
                <a:cubicBezTo>
                  <a:pt x="566697" y="771631"/>
                  <a:pt x="566697" y="773453"/>
                  <a:pt x="572163" y="773453"/>
                </a:cubicBezTo>
                <a:cubicBezTo>
                  <a:pt x="575808" y="773453"/>
                  <a:pt x="570341" y="771631"/>
                  <a:pt x="572163" y="769809"/>
                </a:cubicBezTo>
                <a:close/>
                <a:moveTo>
                  <a:pt x="553941" y="769809"/>
                </a:moveTo>
                <a:cubicBezTo>
                  <a:pt x="528431" y="767987"/>
                  <a:pt x="539364" y="780742"/>
                  <a:pt x="553941" y="769809"/>
                </a:cubicBezTo>
                <a:close/>
                <a:moveTo>
                  <a:pt x="404523" y="769809"/>
                </a:moveTo>
                <a:cubicBezTo>
                  <a:pt x="402701" y="775275"/>
                  <a:pt x="408167" y="778920"/>
                  <a:pt x="411812" y="780742"/>
                </a:cubicBezTo>
                <a:cubicBezTo>
                  <a:pt x="413634" y="778920"/>
                  <a:pt x="406345" y="773453"/>
                  <a:pt x="404523" y="769809"/>
                </a:cubicBezTo>
                <a:close/>
                <a:moveTo>
                  <a:pt x="149419" y="769809"/>
                </a:moveTo>
                <a:cubicBezTo>
                  <a:pt x="147596" y="769809"/>
                  <a:pt x="154885" y="775275"/>
                  <a:pt x="156707" y="771631"/>
                </a:cubicBezTo>
                <a:cubicBezTo>
                  <a:pt x="154885" y="769809"/>
                  <a:pt x="151241" y="767987"/>
                  <a:pt x="149419" y="769809"/>
                </a:cubicBezTo>
                <a:close/>
                <a:moveTo>
                  <a:pt x="1144325" y="768670"/>
                </a:moveTo>
                <a:cubicBezTo>
                  <a:pt x="1142503" y="768442"/>
                  <a:pt x="1140681" y="768898"/>
                  <a:pt x="1138859" y="771631"/>
                </a:cubicBezTo>
                <a:cubicBezTo>
                  <a:pt x="1142503" y="773453"/>
                  <a:pt x="1146148" y="771631"/>
                  <a:pt x="1149792" y="769809"/>
                </a:cubicBezTo>
                <a:cubicBezTo>
                  <a:pt x="1147970" y="769809"/>
                  <a:pt x="1146148" y="768898"/>
                  <a:pt x="1144325" y="768670"/>
                </a:cubicBezTo>
                <a:close/>
                <a:moveTo>
                  <a:pt x="1355698" y="767987"/>
                </a:moveTo>
                <a:cubicBezTo>
                  <a:pt x="1353876" y="767987"/>
                  <a:pt x="1353876" y="769809"/>
                  <a:pt x="1353876" y="771631"/>
                </a:cubicBezTo>
                <a:cubicBezTo>
                  <a:pt x="1353876" y="773453"/>
                  <a:pt x="1357521" y="767987"/>
                  <a:pt x="1355698" y="767987"/>
                </a:cubicBezTo>
                <a:close/>
                <a:moveTo>
                  <a:pt x="925666" y="767987"/>
                </a:moveTo>
                <a:cubicBezTo>
                  <a:pt x="920198" y="769809"/>
                  <a:pt x="918376" y="777098"/>
                  <a:pt x="914732" y="777098"/>
                </a:cubicBezTo>
                <a:cubicBezTo>
                  <a:pt x="918376" y="780742"/>
                  <a:pt x="923843" y="771631"/>
                  <a:pt x="925666" y="767987"/>
                </a:cubicBezTo>
                <a:close/>
                <a:moveTo>
                  <a:pt x="799935" y="767987"/>
                </a:moveTo>
                <a:cubicBezTo>
                  <a:pt x="799935" y="767987"/>
                  <a:pt x="798112" y="769809"/>
                  <a:pt x="798112" y="769809"/>
                </a:cubicBezTo>
                <a:cubicBezTo>
                  <a:pt x="801757" y="773453"/>
                  <a:pt x="801757" y="773453"/>
                  <a:pt x="805401" y="775275"/>
                </a:cubicBezTo>
                <a:cubicBezTo>
                  <a:pt x="805401" y="773453"/>
                  <a:pt x="803579" y="769809"/>
                  <a:pt x="799935" y="767987"/>
                </a:cubicBezTo>
                <a:close/>
                <a:moveTo>
                  <a:pt x="739803" y="767987"/>
                </a:moveTo>
                <a:cubicBezTo>
                  <a:pt x="739803" y="767987"/>
                  <a:pt x="741626" y="775275"/>
                  <a:pt x="747092" y="769809"/>
                </a:cubicBezTo>
                <a:cubicBezTo>
                  <a:pt x="745269" y="767987"/>
                  <a:pt x="741626" y="769809"/>
                  <a:pt x="739803" y="767987"/>
                </a:cubicBezTo>
                <a:close/>
                <a:moveTo>
                  <a:pt x="501098" y="767987"/>
                </a:moveTo>
                <a:cubicBezTo>
                  <a:pt x="497454" y="780742"/>
                  <a:pt x="510209" y="780742"/>
                  <a:pt x="510209" y="789853"/>
                </a:cubicBezTo>
                <a:cubicBezTo>
                  <a:pt x="512031" y="788031"/>
                  <a:pt x="512031" y="788031"/>
                  <a:pt x="512031" y="784386"/>
                </a:cubicBezTo>
                <a:lnTo>
                  <a:pt x="517801" y="797369"/>
                </a:lnTo>
                <a:lnTo>
                  <a:pt x="517498" y="797141"/>
                </a:lnTo>
                <a:lnTo>
                  <a:pt x="518314" y="798522"/>
                </a:lnTo>
                <a:lnTo>
                  <a:pt x="526609" y="817185"/>
                </a:lnTo>
                <a:cubicBezTo>
                  <a:pt x="526609" y="813541"/>
                  <a:pt x="525242" y="810353"/>
                  <a:pt x="523420" y="807164"/>
                </a:cubicBezTo>
                <a:lnTo>
                  <a:pt x="518314" y="798522"/>
                </a:lnTo>
                <a:lnTo>
                  <a:pt x="517801" y="797369"/>
                </a:lnTo>
                <a:lnTo>
                  <a:pt x="524786" y="802608"/>
                </a:lnTo>
                <a:cubicBezTo>
                  <a:pt x="528431" y="795319"/>
                  <a:pt x="517498" y="797141"/>
                  <a:pt x="517498" y="791675"/>
                </a:cubicBezTo>
                <a:cubicBezTo>
                  <a:pt x="519320" y="793497"/>
                  <a:pt x="522964" y="793497"/>
                  <a:pt x="524786" y="793497"/>
                </a:cubicBezTo>
                <a:cubicBezTo>
                  <a:pt x="515676" y="784386"/>
                  <a:pt x="510209" y="775275"/>
                  <a:pt x="501098" y="767987"/>
                </a:cubicBezTo>
                <a:close/>
                <a:moveTo>
                  <a:pt x="422745" y="767987"/>
                </a:moveTo>
                <a:cubicBezTo>
                  <a:pt x="419100" y="767987"/>
                  <a:pt x="419100" y="767987"/>
                  <a:pt x="419100" y="769809"/>
                </a:cubicBezTo>
                <a:cubicBezTo>
                  <a:pt x="419100" y="771631"/>
                  <a:pt x="420923" y="771631"/>
                  <a:pt x="422745" y="773453"/>
                </a:cubicBezTo>
                <a:cubicBezTo>
                  <a:pt x="424567" y="771631"/>
                  <a:pt x="422745" y="769809"/>
                  <a:pt x="422745" y="767987"/>
                </a:cubicBezTo>
                <a:close/>
                <a:moveTo>
                  <a:pt x="3205204" y="766164"/>
                </a:moveTo>
                <a:cubicBezTo>
                  <a:pt x="3192449" y="764342"/>
                  <a:pt x="3197916" y="777098"/>
                  <a:pt x="3196093" y="780742"/>
                </a:cubicBezTo>
                <a:cubicBezTo>
                  <a:pt x="3197916" y="777098"/>
                  <a:pt x="3203382" y="777098"/>
                  <a:pt x="3207027" y="775275"/>
                </a:cubicBezTo>
                <a:cubicBezTo>
                  <a:pt x="3208849" y="769809"/>
                  <a:pt x="3203382" y="771631"/>
                  <a:pt x="3205204" y="766164"/>
                </a:cubicBezTo>
                <a:close/>
                <a:moveTo>
                  <a:pt x="1155259" y="766164"/>
                </a:moveTo>
                <a:cubicBezTo>
                  <a:pt x="1155259" y="766164"/>
                  <a:pt x="1155259" y="767987"/>
                  <a:pt x="1153436" y="767987"/>
                </a:cubicBezTo>
                <a:cubicBezTo>
                  <a:pt x="1155259" y="767987"/>
                  <a:pt x="1157081" y="769809"/>
                  <a:pt x="1158903" y="767987"/>
                </a:cubicBezTo>
                <a:cubicBezTo>
                  <a:pt x="1157081" y="766164"/>
                  <a:pt x="1157081" y="767987"/>
                  <a:pt x="1155259" y="766164"/>
                </a:cubicBezTo>
                <a:close/>
                <a:moveTo>
                  <a:pt x="1004018" y="766164"/>
                </a:moveTo>
                <a:cubicBezTo>
                  <a:pt x="996729" y="771631"/>
                  <a:pt x="991263" y="775275"/>
                  <a:pt x="989441" y="782564"/>
                </a:cubicBezTo>
                <a:cubicBezTo>
                  <a:pt x="998552" y="782564"/>
                  <a:pt x="1000374" y="775275"/>
                  <a:pt x="1004018" y="766164"/>
                </a:cubicBezTo>
                <a:close/>
                <a:moveTo>
                  <a:pt x="732515" y="766164"/>
                </a:moveTo>
                <a:cubicBezTo>
                  <a:pt x="730692" y="771631"/>
                  <a:pt x="732515" y="775275"/>
                  <a:pt x="734336" y="780742"/>
                </a:cubicBezTo>
                <a:cubicBezTo>
                  <a:pt x="741626" y="773453"/>
                  <a:pt x="737981" y="769809"/>
                  <a:pt x="732515" y="766164"/>
                </a:cubicBezTo>
                <a:close/>
                <a:moveTo>
                  <a:pt x="723404" y="766164"/>
                </a:moveTo>
                <a:cubicBezTo>
                  <a:pt x="727048" y="771631"/>
                  <a:pt x="725226" y="777098"/>
                  <a:pt x="730692" y="782564"/>
                </a:cubicBezTo>
                <a:cubicBezTo>
                  <a:pt x="730692" y="777098"/>
                  <a:pt x="732515" y="764342"/>
                  <a:pt x="723404" y="766164"/>
                </a:cubicBezTo>
                <a:close/>
                <a:moveTo>
                  <a:pt x="577630" y="766164"/>
                </a:moveTo>
                <a:cubicBezTo>
                  <a:pt x="579452" y="766164"/>
                  <a:pt x="579452" y="766164"/>
                  <a:pt x="581274" y="767987"/>
                </a:cubicBezTo>
                <a:lnTo>
                  <a:pt x="581780" y="771145"/>
                </a:lnTo>
                <a:close/>
                <a:moveTo>
                  <a:pt x="577630" y="766164"/>
                </a:moveTo>
                <a:cubicBezTo>
                  <a:pt x="575808" y="767987"/>
                  <a:pt x="577630" y="769809"/>
                  <a:pt x="577630" y="769809"/>
                </a:cubicBezTo>
                <a:cubicBezTo>
                  <a:pt x="580362" y="772542"/>
                  <a:pt x="581729" y="773909"/>
                  <a:pt x="582185" y="773681"/>
                </a:cubicBezTo>
                <a:lnTo>
                  <a:pt x="581780" y="771145"/>
                </a:lnTo>
                <a:lnTo>
                  <a:pt x="586741" y="777098"/>
                </a:lnTo>
                <a:cubicBezTo>
                  <a:pt x="588562" y="775275"/>
                  <a:pt x="588562" y="775275"/>
                  <a:pt x="588562" y="775275"/>
                </a:cubicBezTo>
                <a:cubicBezTo>
                  <a:pt x="588562" y="784386"/>
                  <a:pt x="595852" y="795319"/>
                  <a:pt x="601318" y="789853"/>
                </a:cubicBezTo>
                <a:cubicBezTo>
                  <a:pt x="606784" y="788031"/>
                  <a:pt x="599496" y="780742"/>
                  <a:pt x="597673" y="775275"/>
                </a:cubicBezTo>
                <a:cubicBezTo>
                  <a:pt x="595852" y="775275"/>
                  <a:pt x="597673" y="777098"/>
                  <a:pt x="595852" y="778920"/>
                </a:cubicBezTo>
                <a:cubicBezTo>
                  <a:pt x="594030" y="769809"/>
                  <a:pt x="586741" y="758876"/>
                  <a:pt x="577630" y="766164"/>
                </a:cubicBezTo>
                <a:close/>
                <a:moveTo>
                  <a:pt x="486521" y="766164"/>
                </a:moveTo>
                <a:cubicBezTo>
                  <a:pt x="486521" y="771631"/>
                  <a:pt x="491987" y="775275"/>
                  <a:pt x="495632" y="778920"/>
                </a:cubicBezTo>
                <a:cubicBezTo>
                  <a:pt x="499276" y="775275"/>
                  <a:pt x="490165" y="767987"/>
                  <a:pt x="486521" y="766164"/>
                </a:cubicBezTo>
                <a:close/>
                <a:moveTo>
                  <a:pt x="326169" y="766164"/>
                </a:moveTo>
                <a:cubicBezTo>
                  <a:pt x="320703" y="764342"/>
                  <a:pt x="320703" y="771631"/>
                  <a:pt x="324347" y="777098"/>
                </a:cubicBezTo>
                <a:cubicBezTo>
                  <a:pt x="326169" y="777098"/>
                  <a:pt x="324347" y="775275"/>
                  <a:pt x="326169" y="775275"/>
                </a:cubicBezTo>
                <a:cubicBezTo>
                  <a:pt x="324347" y="780742"/>
                  <a:pt x="333458" y="782564"/>
                  <a:pt x="333458" y="786208"/>
                </a:cubicBezTo>
                <a:cubicBezTo>
                  <a:pt x="333458" y="778920"/>
                  <a:pt x="337102" y="762520"/>
                  <a:pt x="326169" y="766164"/>
                </a:cubicBezTo>
                <a:close/>
                <a:moveTo>
                  <a:pt x="313414" y="766164"/>
                </a:moveTo>
                <a:cubicBezTo>
                  <a:pt x="309771" y="769809"/>
                  <a:pt x="317059" y="777098"/>
                  <a:pt x="318882" y="778920"/>
                </a:cubicBezTo>
                <a:cubicBezTo>
                  <a:pt x="320703" y="777098"/>
                  <a:pt x="313414" y="769809"/>
                  <a:pt x="313414" y="766164"/>
                </a:cubicBezTo>
                <a:close/>
                <a:moveTo>
                  <a:pt x="300660" y="766164"/>
                </a:moveTo>
                <a:cubicBezTo>
                  <a:pt x="302481" y="769809"/>
                  <a:pt x="309771" y="778920"/>
                  <a:pt x="315236" y="782564"/>
                </a:cubicBezTo>
                <a:cubicBezTo>
                  <a:pt x="313414" y="777098"/>
                  <a:pt x="304303" y="769809"/>
                  <a:pt x="300660" y="766164"/>
                </a:cubicBezTo>
                <a:close/>
                <a:moveTo>
                  <a:pt x="286082" y="766164"/>
                </a:moveTo>
                <a:cubicBezTo>
                  <a:pt x="286082" y="775275"/>
                  <a:pt x="291549" y="788031"/>
                  <a:pt x="302481" y="788031"/>
                </a:cubicBezTo>
                <a:cubicBezTo>
                  <a:pt x="298837" y="780742"/>
                  <a:pt x="291549" y="773453"/>
                  <a:pt x="286082" y="766164"/>
                </a:cubicBezTo>
                <a:close/>
                <a:moveTo>
                  <a:pt x="240527" y="766164"/>
                </a:moveTo>
                <a:cubicBezTo>
                  <a:pt x="240527" y="766164"/>
                  <a:pt x="238705" y="767987"/>
                  <a:pt x="242349" y="771631"/>
                </a:cubicBezTo>
                <a:cubicBezTo>
                  <a:pt x="240527" y="769809"/>
                  <a:pt x="238705" y="767987"/>
                  <a:pt x="236883" y="767987"/>
                </a:cubicBezTo>
                <a:cubicBezTo>
                  <a:pt x="236883" y="766164"/>
                  <a:pt x="240527" y="766164"/>
                  <a:pt x="240527" y="766164"/>
                </a:cubicBezTo>
                <a:close/>
                <a:moveTo>
                  <a:pt x="227772" y="766164"/>
                </a:moveTo>
                <a:cubicBezTo>
                  <a:pt x="229594" y="769809"/>
                  <a:pt x="231416" y="775275"/>
                  <a:pt x="233239" y="771631"/>
                </a:cubicBezTo>
                <a:cubicBezTo>
                  <a:pt x="233239" y="767987"/>
                  <a:pt x="229594" y="767987"/>
                  <a:pt x="227772" y="766164"/>
                </a:cubicBezTo>
                <a:close/>
                <a:moveTo>
                  <a:pt x="342399" y="765738"/>
                </a:moveTo>
                <a:cubicBezTo>
                  <a:pt x="340634" y="765596"/>
                  <a:pt x="339381" y="766165"/>
                  <a:pt x="338926" y="767987"/>
                </a:cubicBezTo>
                <a:cubicBezTo>
                  <a:pt x="336191" y="773454"/>
                  <a:pt x="338470" y="780287"/>
                  <a:pt x="343252" y="786209"/>
                </a:cubicBezTo>
                <a:lnTo>
                  <a:pt x="351537" y="791667"/>
                </a:lnTo>
                <a:lnTo>
                  <a:pt x="353957" y="794181"/>
                </a:lnTo>
                <a:cubicBezTo>
                  <a:pt x="356692" y="795775"/>
                  <a:pt x="359879" y="797142"/>
                  <a:pt x="362613" y="798964"/>
                </a:cubicBezTo>
                <a:lnTo>
                  <a:pt x="351537" y="791667"/>
                </a:lnTo>
                <a:lnTo>
                  <a:pt x="348037" y="788031"/>
                </a:lnTo>
                <a:cubicBezTo>
                  <a:pt x="348037" y="788031"/>
                  <a:pt x="349858" y="786208"/>
                  <a:pt x="351680" y="786208"/>
                </a:cubicBezTo>
                <a:cubicBezTo>
                  <a:pt x="346213" y="784386"/>
                  <a:pt x="342569" y="778920"/>
                  <a:pt x="340747" y="775275"/>
                </a:cubicBezTo>
                <a:cubicBezTo>
                  <a:pt x="346213" y="778009"/>
                  <a:pt x="349858" y="783475"/>
                  <a:pt x="354185" y="788486"/>
                </a:cubicBezTo>
                <a:lnTo>
                  <a:pt x="359184" y="791473"/>
                </a:lnTo>
                <a:lnTo>
                  <a:pt x="359196" y="791675"/>
                </a:lnTo>
                <a:lnTo>
                  <a:pt x="361598" y="792915"/>
                </a:lnTo>
                <a:lnTo>
                  <a:pt x="371724" y="798964"/>
                </a:lnTo>
                <a:cubicBezTo>
                  <a:pt x="369902" y="795319"/>
                  <a:pt x="368079" y="797141"/>
                  <a:pt x="366257" y="795319"/>
                </a:cubicBezTo>
                <a:cubicBezTo>
                  <a:pt x="368079" y="797141"/>
                  <a:pt x="373546" y="798964"/>
                  <a:pt x="377190" y="798964"/>
                </a:cubicBezTo>
                <a:cubicBezTo>
                  <a:pt x="373546" y="795319"/>
                  <a:pt x="371724" y="793497"/>
                  <a:pt x="364435" y="793497"/>
                </a:cubicBezTo>
                <a:lnTo>
                  <a:pt x="366257" y="795319"/>
                </a:lnTo>
                <a:lnTo>
                  <a:pt x="361598" y="792915"/>
                </a:lnTo>
                <a:lnTo>
                  <a:pt x="359184" y="791473"/>
                </a:lnTo>
                <a:lnTo>
                  <a:pt x="358969" y="788031"/>
                </a:lnTo>
                <a:cubicBezTo>
                  <a:pt x="364435" y="782564"/>
                  <a:pt x="371724" y="795319"/>
                  <a:pt x="380835" y="797141"/>
                </a:cubicBezTo>
                <a:cubicBezTo>
                  <a:pt x="380835" y="793497"/>
                  <a:pt x="380835" y="793497"/>
                  <a:pt x="380835" y="791675"/>
                </a:cubicBezTo>
                <a:cubicBezTo>
                  <a:pt x="384479" y="793497"/>
                  <a:pt x="386301" y="800786"/>
                  <a:pt x="395412" y="797141"/>
                </a:cubicBezTo>
                <a:cubicBezTo>
                  <a:pt x="391768" y="795319"/>
                  <a:pt x="386301" y="795319"/>
                  <a:pt x="386301" y="791675"/>
                </a:cubicBezTo>
                <a:cubicBezTo>
                  <a:pt x="388123" y="793497"/>
                  <a:pt x="388123" y="793497"/>
                  <a:pt x="391768" y="793497"/>
                </a:cubicBezTo>
                <a:cubicBezTo>
                  <a:pt x="388123" y="791675"/>
                  <a:pt x="380835" y="789853"/>
                  <a:pt x="382657" y="784386"/>
                </a:cubicBezTo>
                <a:cubicBezTo>
                  <a:pt x="386301" y="786208"/>
                  <a:pt x="388123" y="789853"/>
                  <a:pt x="391768" y="789853"/>
                </a:cubicBezTo>
                <a:cubicBezTo>
                  <a:pt x="388123" y="778920"/>
                  <a:pt x="369902" y="777098"/>
                  <a:pt x="362613" y="767987"/>
                </a:cubicBezTo>
                <a:cubicBezTo>
                  <a:pt x="362613" y="769809"/>
                  <a:pt x="362613" y="769809"/>
                  <a:pt x="364435" y="771631"/>
                </a:cubicBezTo>
                <a:cubicBezTo>
                  <a:pt x="359879" y="772542"/>
                  <a:pt x="353957" y="769809"/>
                  <a:pt x="348946" y="767759"/>
                </a:cubicBezTo>
                <a:cubicBezTo>
                  <a:pt x="346441" y="766734"/>
                  <a:pt x="344164" y="765880"/>
                  <a:pt x="342399" y="765738"/>
                </a:cubicBezTo>
                <a:close/>
                <a:moveTo>
                  <a:pt x="430489" y="765026"/>
                </a:moveTo>
                <a:cubicBezTo>
                  <a:pt x="429350" y="764457"/>
                  <a:pt x="428211" y="764799"/>
                  <a:pt x="427300" y="765710"/>
                </a:cubicBezTo>
                <a:cubicBezTo>
                  <a:pt x="425478" y="767532"/>
                  <a:pt x="424567" y="771631"/>
                  <a:pt x="426389" y="775275"/>
                </a:cubicBezTo>
                <a:cubicBezTo>
                  <a:pt x="430034" y="780742"/>
                  <a:pt x="433678" y="778920"/>
                  <a:pt x="437322" y="782564"/>
                </a:cubicBezTo>
                <a:cubicBezTo>
                  <a:pt x="439145" y="778920"/>
                  <a:pt x="433678" y="778920"/>
                  <a:pt x="430034" y="773453"/>
                </a:cubicBezTo>
                <a:cubicBezTo>
                  <a:pt x="431856" y="773453"/>
                  <a:pt x="433678" y="775275"/>
                  <a:pt x="435500" y="777098"/>
                </a:cubicBezTo>
                <a:cubicBezTo>
                  <a:pt x="437322" y="773453"/>
                  <a:pt x="433678" y="771631"/>
                  <a:pt x="431856" y="769809"/>
                </a:cubicBezTo>
                <a:cubicBezTo>
                  <a:pt x="431856" y="767987"/>
                  <a:pt x="433678" y="769809"/>
                  <a:pt x="433678" y="769809"/>
                </a:cubicBezTo>
                <a:cubicBezTo>
                  <a:pt x="432767" y="767076"/>
                  <a:pt x="431628" y="765596"/>
                  <a:pt x="430489" y="765026"/>
                </a:cubicBezTo>
                <a:close/>
                <a:moveTo>
                  <a:pt x="2744194" y="764342"/>
                </a:moveTo>
                <a:cubicBezTo>
                  <a:pt x="2735084" y="764342"/>
                  <a:pt x="2740550" y="773453"/>
                  <a:pt x="2731439" y="769809"/>
                </a:cubicBezTo>
                <a:cubicBezTo>
                  <a:pt x="2733261" y="777098"/>
                  <a:pt x="2742372" y="775275"/>
                  <a:pt x="2746016" y="778920"/>
                </a:cubicBezTo>
                <a:cubicBezTo>
                  <a:pt x="2746016" y="773453"/>
                  <a:pt x="2747839" y="769809"/>
                  <a:pt x="2744194" y="764342"/>
                </a:cubicBezTo>
                <a:close/>
                <a:moveTo>
                  <a:pt x="1468673" y="764342"/>
                </a:moveTo>
                <a:cubicBezTo>
                  <a:pt x="1472317" y="766164"/>
                  <a:pt x="1470495" y="767987"/>
                  <a:pt x="1474139" y="767987"/>
                </a:cubicBezTo>
                <a:cubicBezTo>
                  <a:pt x="1475961" y="766164"/>
                  <a:pt x="1474139" y="762520"/>
                  <a:pt x="1475961" y="764342"/>
                </a:cubicBezTo>
                <a:cubicBezTo>
                  <a:pt x="1476416" y="765709"/>
                  <a:pt x="1475619" y="767076"/>
                  <a:pt x="1474196" y="768499"/>
                </a:cubicBezTo>
                <a:lnTo>
                  <a:pt x="1470470" y="771533"/>
                </a:lnTo>
                <a:close/>
                <a:moveTo>
                  <a:pt x="1107882" y="764342"/>
                </a:moveTo>
                <a:cubicBezTo>
                  <a:pt x="1106060" y="764342"/>
                  <a:pt x="1106060" y="769809"/>
                  <a:pt x="1102416" y="771631"/>
                </a:cubicBezTo>
                <a:cubicBezTo>
                  <a:pt x="1104238" y="773453"/>
                  <a:pt x="1104238" y="771631"/>
                  <a:pt x="1106060" y="773453"/>
                </a:cubicBezTo>
                <a:cubicBezTo>
                  <a:pt x="1109704" y="771631"/>
                  <a:pt x="1106060" y="767987"/>
                  <a:pt x="1107882" y="764342"/>
                </a:cubicBezTo>
                <a:close/>
                <a:moveTo>
                  <a:pt x="931131" y="764342"/>
                </a:moveTo>
                <a:cubicBezTo>
                  <a:pt x="925666" y="771631"/>
                  <a:pt x="929309" y="777098"/>
                  <a:pt x="932953" y="782564"/>
                </a:cubicBezTo>
                <a:cubicBezTo>
                  <a:pt x="940242" y="777098"/>
                  <a:pt x="936598" y="769809"/>
                  <a:pt x="931131" y="764342"/>
                </a:cubicBezTo>
                <a:close/>
                <a:moveTo>
                  <a:pt x="783535" y="764342"/>
                </a:moveTo>
                <a:cubicBezTo>
                  <a:pt x="779892" y="766164"/>
                  <a:pt x="785357" y="767987"/>
                  <a:pt x="783535" y="767987"/>
                </a:cubicBezTo>
                <a:cubicBezTo>
                  <a:pt x="783535" y="769809"/>
                  <a:pt x="785357" y="766164"/>
                  <a:pt x="787179" y="766164"/>
                </a:cubicBezTo>
                <a:cubicBezTo>
                  <a:pt x="787179" y="764342"/>
                  <a:pt x="785357" y="764342"/>
                  <a:pt x="783535" y="764342"/>
                </a:cubicBezTo>
                <a:close/>
                <a:moveTo>
                  <a:pt x="167640" y="764342"/>
                </a:moveTo>
                <a:lnTo>
                  <a:pt x="170374" y="766530"/>
                </a:lnTo>
                <a:lnTo>
                  <a:pt x="169690" y="766165"/>
                </a:lnTo>
                <a:cubicBezTo>
                  <a:pt x="169006" y="764798"/>
                  <a:pt x="168551" y="763431"/>
                  <a:pt x="167640" y="764342"/>
                </a:cubicBezTo>
                <a:close/>
                <a:moveTo>
                  <a:pt x="1163458" y="763887"/>
                </a:moveTo>
                <a:cubicBezTo>
                  <a:pt x="1161636" y="764343"/>
                  <a:pt x="1159814" y="765253"/>
                  <a:pt x="1158903" y="764342"/>
                </a:cubicBezTo>
                <a:cubicBezTo>
                  <a:pt x="1158903" y="767987"/>
                  <a:pt x="1164370" y="767987"/>
                  <a:pt x="1168014" y="766164"/>
                </a:cubicBezTo>
                <a:cubicBezTo>
                  <a:pt x="1167103" y="763431"/>
                  <a:pt x="1165282" y="763431"/>
                  <a:pt x="1163458" y="763887"/>
                </a:cubicBezTo>
                <a:close/>
                <a:moveTo>
                  <a:pt x="1344372" y="763727"/>
                </a:moveTo>
                <a:lnTo>
                  <a:pt x="1342032" y="765481"/>
                </a:lnTo>
                <a:lnTo>
                  <a:pt x="1341207" y="765570"/>
                </a:lnTo>
                <a:lnTo>
                  <a:pt x="1342487" y="764115"/>
                </a:lnTo>
                <a:close/>
                <a:moveTo>
                  <a:pt x="3234359" y="762520"/>
                </a:moveTo>
                <a:cubicBezTo>
                  <a:pt x="3230715" y="764342"/>
                  <a:pt x="3236181" y="769809"/>
                  <a:pt x="3234359" y="775275"/>
                </a:cubicBezTo>
                <a:cubicBezTo>
                  <a:pt x="3243470" y="773453"/>
                  <a:pt x="3234359" y="766164"/>
                  <a:pt x="3234359" y="762520"/>
                </a:cubicBezTo>
                <a:close/>
                <a:moveTo>
                  <a:pt x="1093305" y="762520"/>
                </a:moveTo>
                <a:cubicBezTo>
                  <a:pt x="1095127" y="764342"/>
                  <a:pt x="1095127" y="764342"/>
                  <a:pt x="1096949" y="766164"/>
                </a:cubicBezTo>
                <a:cubicBezTo>
                  <a:pt x="1098771" y="766164"/>
                  <a:pt x="1098771" y="764342"/>
                  <a:pt x="1100593" y="762520"/>
                </a:cubicBezTo>
                <a:cubicBezTo>
                  <a:pt x="1098771" y="760698"/>
                  <a:pt x="1095127" y="762520"/>
                  <a:pt x="1093305" y="762520"/>
                </a:cubicBezTo>
                <a:close/>
                <a:moveTo>
                  <a:pt x="1091484" y="762520"/>
                </a:moveTo>
                <a:cubicBezTo>
                  <a:pt x="1091484" y="762520"/>
                  <a:pt x="1091484" y="764342"/>
                  <a:pt x="1091484" y="764342"/>
                </a:cubicBezTo>
                <a:lnTo>
                  <a:pt x="1095127" y="769809"/>
                </a:lnTo>
                <a:cubicBezTo>
                  <a:pt x="1095127" y="769809"/>
                  <a:pt x="1096949" y="769809"/>
                  <a:pt x="1096949" y="767987"/>
                </a:cubicBezTo>
                <a:cubicBezTo>
                  <a:pt x="1095127" y="766164"/>
                  <a:pt x="1093305" y="766164"/>
                  <a:pt x="1091484" y="762520"/>
                </a:cubicBezTo>
                <a:close/>
                <a:moveTo>
                  <a:pt x="1009485" y="762520"/>
                </a:moveTo>
                <a:cubicBezTo>
                  <a:pt x="1007663" y="766164"/>
                  <a:pt x="1011307" y="766164"/>
                  <a:pt x="1013129" y="767987"/>
                </a:cubicBezTo>
                <a:cubicBezTo>
                  <a:pt x="1018596" y="764342"/>
                  <a:pt x="1014951" y="760698"/>
                  <a:pt x="1009485" y="762520"/>
                </a:cubicBezTo>
                <a:close/>
                <a:moveTo>
                  <a:pt x="803579" y="762520"/>
                </a:moveTo>
                <a:cubicBezTo>
                  <a:pt x="803579" y="762520"/>
                  <a:pt x="803579" y="764342"/>
                  <a:pt x="805401" y="766164"/>
                </a:cubicBezTo>
                <a:cubicBezTo>
                  <a:pt x="809046" y="764342"/>
                  <a:pt x="810868" y="764342"/>
                  <a:pt x="812690" y="762520"/>
                </a:cubicBezTo>
                <a:cubicBezTo>
                  <a:pt x="809046" y="764342"/>
                  <a:pt x="805401" y="766164"/>
                  <a:pt x="803579" y="762520"/>
                </a:cubicBezTo>
                <a:close/>
                <a:moveTo>
                  <a:pt x="703359" y="762520"/>
                </a:moveTo>
                <a:cubicBezTo>
                  <a:pt x="701537" y="766164"/>
                  <a:pt x="705182" y="769809"/>
                  <a:pt x="708826" y="773453"/>
                </a:cubicBezTo>
                <a:cubicBezTo>
                  <a:pt x="712470" y="771631"/>
                  <a:pt x="710648" y="771631"/>
                  <a:pt x="710648" y="769809"/>
                </a:cubicBezTo>
                <a:cubicBezTo>
                  <a:pt x="716115" y="771631"/>
                  <a:pt x="714293" y="777098"/>
                  <a:pt x="717937" y="778920"/>
                </a:cubicBezTo>
                <a:cubicBezTo>
                  <a:pt x="721581" y="777098"/>
                  <a:pt x="716115" y="773453"/>
                  <a:pt x="719759" y="771631"/>
                </a:cubicBezTo>
                <a:cubicBezTo>
                  <a:pt x="723404" y="771631"/>
                  <a:pt x="717937" y="778920"/>
                  <a:pt x="723404" y="780742"/>
                </a:cubicBezTo>
                <a:cubicBezTo>
                  <a:pt x="723404" y="777098"/>
                  <a:pt x="723404" y="773453"/>
                  <a:pt x="721581" y="769809"/>
                </a:cubicBezTo>
                <a:cubicBezTo>
                  <a:pt x="721581" y="769809"/>
                  <a:pt x="721581" y="771631"/>
                  <a:pt x="719759" y="771631"/>
                </a:cubicBezTo>
                <a:cubicBezTo>
                  <a:pt x="721581" y="764342"/>
                  <a:pt x="708826" y="762520"/>
                  <a:pt x="703359" y="762520"/>
                </a:cubicBezTo>
                <a:close/>
                <a:moveTo>
                  <a:pt x="501098" y="762520"/>
                </a:moveTo>
                <a:cubicBezTo>
                  <a:pt x="501098" y="764342"/>
                  <a:pt x="506565" y="773453"/>
                  <a:pt x="512031" y="771631"/>
                </a:cubicBezTo>
                <a:cubicBezTo>
                  <a:pt x="512031" y="769809"/>
                  <a:pt x="504743" y="764342"/>
                  <a:pt x="501098" y="762520"/>
                </a:cubicBezTo>
                <a:close/>
                <a:moveTo>
                  <a:pt x="233239" y="762520"/>
                </a:moveTo>
                <a:cubicBezTo>
                  <a:pt x="231416" y="766164"/>
                  <a:pt x="236883" y="771631"/>
                  <a:pt x="242349" y="771631"/>
                </a:cubicBezTo>
                <a:cubicBezTo>
                  <a:pt x="244172" y="769809"/>
                  <a:pt x="247816" y="771631"/>
                  <a:pt x="247816" y="769809"/>
                </a:cubicBezTo>
                <a:cubicBezTo>
                  <a:pt x="242349" y="762520"/>
                  <a:pt x="238705" y="764342"/>
                  <a:pt x="233239" y="762520"/>
                </a:cubicBezTo>
                <a:close/>
                <a:moveTo>
                  <a:pt x="215017" y="762520"/>
                </a:moveTo>
                <a:cubicBezTo>
                  <a:pt x="215017" y="764342"/>
                  <a:pt x="218661" y="767987"/>
                  <a:pt x="220483" y="767987"/>
                </a:cubicBezTo>
                <a:cubicBezTo>
                  <a:pt x="222306" y="767987"/>
                  <a:pt x="216839" y="762520"/>
                  <a:pt x="215017" y="762520"/>
                </a:cubicBezTo>
                <a:close/>
                <a:moveTo>
                  <a:pt x="194151" y="760876"/>
                </a:moveTo>
                <a:lnTo>
                  <a:pt x="199245" y="769014"/>
                </a:lnTo>
                <a:lnTo>
                  <a:pt x="196340" y="765254"/>
                </a:lnTo>
                <a:close/>
                <a:moveTo>
                  <a:pt x="3212493" y="760698"/>
                </a:moveTo>
                <a:cubicBezTo>
                  <a:pt x="3208849" y="760698"/>
                  <a:pt x="3208849" y="762520"/>
                  <a:pt x="3207027" y="762520"/>
                </a:cubicBezTo>
                <a:cubicBezTo>
                  <a:pt x="3205204" y="767987"/>
                  <a:pt x="3214315" y="766164"/>
                  <a:pt x="3212493" y="760698"/>
                </a:cubicBezTo>
                <a:close/>
                <a:moveTo>
                  <a:pt x="3106807" y="760698"/>
                </a:moveTo>
                <a:cubicBezTo>
                  <a:pt x="3104985" y="764342"/>
                  <a:pt x="3106807" y="764342"/>
                  <a:pt x="3106807" y="767987"/>
                </a:cubicBezTo>
                <a:cubicBezTo>
                  <a:pt x="3108629" y="767987"/>
                  <a:pt x="3112274" y="767987"/>
                  <a:pt x="3114096" y="767987"/>
                </a:cubicBezTo>
                <a:cubicBezTo>
                  <a:pt x="3114096" y="762520"/>
                  <a:pt x="3112274" y="758876"/>
                  <a:pt x="3106807" y="760698"/>
                </a:cubicBezTo>
                <a:close/>
                <a:moveTo>
                  <a:pt x="1397608" y="760698"/>
                </a:moveTo>
                <a:cubicBezTo>
                  <a:pt x="1399430" y="764342"/>
                  <a:pt x="1392141" y="767987"/>
                  <a:pt x="1393963" y="771631"/>
                </a:cubicBezTo>
                <a:cubicBezTo>
                  <a:pt x="1397608" y="771631"/>
                  <a:pt x="1399430" y="764342"/>
                  <a:pt x="1397608" y="760698"/>
                </a:cubicBezTo>
                <a:close/>
                <a:moveTo>
                  <a:pt x="685138" y="760698"/>
                </a:moveTo>
                <a:cubicBezTo>
                  <a:pt x="686960" y="766164"/>
                  <a:pt x="694249" y="767987"/>
                  <a:pt x="696071" y="771631"/>
                </a:cubicBezTo>
                <a:cubicBezTo>
                  <a:pt x="697893" y="767987"/>
                  <a:pt x="696071" y="766164"/>
                  <a:pt x="696071" y="762520"/>
                </a:cubicBezTo>
                <a:cubicBezTo>
                  <a:pt x="692426" y="762520"/>
                  <a:pt x="688782" y="762520"/>
                  <a:pt x="685138" y="760698"/>
                </a:cubicBezTo>
                <a:close/>
                <a:moveTo>
                  <a:pt x="612251" y="760698"/>
                </a:moveTo>
                <a:cubicBezTo>
                  <a:pt x="612251" y="764342"/>
                  <a:pt x="610429" y="767987"/>
                  <a:pt x="614074" y="771631"/>
                </a:cubicBezTo>
                <a:cubicBezTo>
                  <a:pt x="617717" y="771631"/>
                  <a:pt x="617717" y="769809"/>
                  <a:pt x="617717" y="767987"/>
                </a:cubicBezTo>
                <a:cubicBezTo>
                  <a:pt x="615895" y="766164"/>
                  <a:pt x="615895" y="762520"/>
                  <a:pt x="612251" y="760698"/>
                </a:cubicBezTo>
                <a:close/>
                <a:moveTo>
                  <a:pt x="553941" y="760698"/>
                </a:moveTo>
                <a:cubicBezTo>
                  <a:pt x="552119" y="758876"/>
                  <a:pt x="550297" y="760698"/>
                  <a:pt x="548475" y="762520"/>
                </a:cubicBezTo>
                <a:cubicBezTo>
                  <a:pt x="548475" y="764342"/>
                  <a:pt x="553941" y="760698"/>
                  <a:pt x="553941" y="760698"/>
                </a:cubicBezTo>
                <a:close/>
                <a:moveTo>
                  <a:pt x="333458" y="760698"/>
                </a:moveTo>
                <a:cubicBezTo>
                  <a:pt x="335280" y="764342"/>
                  <a:pt x="337102" y="762520"/>
                  <a:pt x="337102" y="764342"/>
                </a:cubicBezTo>
                <a:cubicBezTo>
                  <a:pt x="338926" y="762520"/>
                  <a:pt x="335280" y="758876"/>
                  <a:pt x="333458" y="760698"/>
                </a:cubicBezTo>
                <a:close/>
                <a:moveTo>
                  <a:pt x="149805" y="759198"/>
                </a:moveTo>
                <a:lnTo>
                  <a:pt x="150603" y="759863"/>
                </a:lnTo>
                <a:lnTo>
                  <a:pt x="150604" y="759864"/>
                </a:lnTo>
                <a:close/>
                <a:moveTo>
                  <a:pt x="1286455" y="758876"/>
                </a:moveTo>
                <a:cubicBezTo>
                  <a:pt x="1277344" y="758876"/>
                  <a:pt x="1270056" y="764342"/>
                  <a:pt x="1260945" y="767987"/>
                </a:cubicBezTo>
                <a:cubicBezTo>
                  <a:pt x="1262767" y="769809"/>
                  <a:pt x="1260945" y="769809"/>
                  <a:pt x="1262767" y="771631"/>
                </a:cubicBezTo>
                <a:cubicBezTo>
                  <a:pt x="1264589" y="771631"/>
                  <a:pt x="1264589" y="769809"/>
                  <a:pt x="1266411" y="771631"/>
                </a:cubicBezTo>
                <a:cubicBezTo>
                  <a:pt x="1268233" y="769809"/>
                  <a:pt x="1266411" y="767987"/>
                  <a:pt x="1266411" y="766164"/>
                </a:cubicBezTo>
                <a:cubicBezTo>
                  <a:pt x="1270056" y="766164"/>
                  <a:pt x="1268233" y="769809"/>
                  <a:pt x="1270056" y="771631"/>
                </a:cubicBezTo>
                <a:cubicBezTo>
                  <a:pt x="1277344" y="771631"/>
                  <a:pt x="1284633" y="766164"/>
                  <a:pt x="1286455" y="758876"/>
                </a:cubicBezTo>
                <a:close/>
                <a:moveTo>
                  <a:pt x="982152" y="758876"/>
                </a:moveTo>
                <a:cubicBezTo>
                  <a:pt x="971219" y="760698"/>
                  <a:pt x="958464" y="773453"/>
                  <a:pt x="963930" y="786208"/>
                </a:cubicBezTo>
                <a:cubicBezTo>
                  <a:pt x="965753" y="788031"/>
                  <a:pt x="965753" y="782564"/>
                  <a:pt x="967575" y="784386"/>
                </a:cubicBezTo>
                <a:cubicBezTo>
                  <a:pt x="969397" y="782564"/>
                  <a:pt x="969397" y="780742"/>
                  <a:pt x="969397" y="777098"/>
                </a:cubicBezTo>
                <a:cubicBezTo>
                  <a:pt x="971219" y="777098"/>
                  <a:pt x="967575" y="782564"/>
                  <a:pt x="971219" y="782564"/>
                </a:cubicBezTo>
                <a:cubicBezTo>
                  <a:pt x="980330" y="775275"/>
                  <a:pt x="996729" y="762520"/>
                  <a:pt x="989441" y="758876"/>
                </a:cubicBezTo>
                <a:lnTo>
                  <a:pt x="985796" y="758876"/>
                </a:lnTo>
                <a:cubicBezTo>
                  <a:pt x="983974" y="758876"/>
                  <a:pt x="983974" y="758876"/>
                  <a:pt x="982152" y="758876"/>
                </a:cubicBezTo>
                <a:close/>
                <a:moveTo>
                  <a:pt x="852778" y="758876"/>
                </a:moveTo>
                <a:cubicBezTo>
                  <a:pt x="852778" y="760698"/>
                  <a:pt x="856422" y="766164"/>
                  <a:pt x="860066" y="764342"/>
                </a:cubicBezTo>
                <a:cubicBezTo>
                  <a:pt x="856422" y="762520"/>
                  <a:pt x="854600" y="760698"/>
                  <a:pt x="852778" y="758876"/>
                </a:cubicBezTo>
                <a:close/>
                <a:moveTo>
                  <a:pt x="564874" y="758876"/>
                </a:moveTo>
                <a:cubicBezTo>
                  <a:pt x="563052" y="760698"/>
                  <a:pt x="563052" y="762520"/>
                  <a:pt x="564874" y="762520"/>
                </a:cubicBezTo>
                <a:cubicBezTo>
                  <a:pt x="564874" y="764342"/>
                  <a:pt x="564874" y="760698"/>
                  <a:pt x="566697" y="760698"/>
                </a:cubicBezTo>
                <a:cubicBezTo>
                  <a:pt x="564874" y="760698"/>
                  <a:pt x="566697" y="760698"/>
                  <a:pt x="564874" y="758876"/>
                </a:cubicBezTo>
                <a:close/>
                <a:moveTo>
                  <a:pt x="451899" y="758876"/>
                </a:moveTo>
                <a:cubicBezTo>
                  <a:pt x="455544" y="764342"/>
                  <a:pt x="450077" y="773453"/>
                  <a:pt x="461010" y="775275"/>
                </a:cubicBezTo>
                <a:cubicBezTo>
                  <a:pt x="457367" y="771631"/>
                  <a:pt x="459188" y="769809"/>
                  <a:pt x="464655" y="769809"/>
                </a:cubicBezTo>
                <a:cubicBezTo>
                  <a:pt x="461010" y="767987"/>
                  <a:pt x="457367" y="760698"/>
                  <a:pt x="451899" y="758876"/>
                </a:cubicBezTo>
                <a:close/>
                <a:moveTo>
                  <a:pt x="311592" y="758876"/>
                </a:moveTo>
                <a:cubicBezTo>
                  <a:pt x="309771" y="762520"/>
                  <a:pt x="315236" y="766164"/>
                  <a:pt x="315236" y="769809"/>
                </a:cubicBezTo>
                <a:cubicBezTo>
                  <a:pt x="318882" y="771631"/>
                  <a:pt x="315236" y="760698"/>
                  <a:pt x="311592" y="758876"/>
                </a:cubicBezTo>
                <a:close/>
                <a:moveTo>
                  <a:pt x="222306" y="758876"/>
                </a:moveTo>
                <a:cubicBezTo>
                  <a:pt x="220483" y="758876"/>
                  <a:pt x="224128" y="764342"/>
                  <a:pt x="225950" y="764342"/>
                </a:cubicBezTo>
                <a:cubicBezTo>
                  <a:pt x="229594" y="762520"/>
                  <a:pt x="224128" y="758876"/>
                  <a:pt x="222306" y="758876"/>
                </a:cubicBezTo>
                <a:close/>
                <a:moveTo>
                  <a:pt x="176751" y="758876"/>
                </a:moveTo>
                <a:cubicBezTo>
                  <a:pt x="180396" y="760698"/>
                  <a:pt x="184040" y="764342"/>
                  <a:pt x="185862" y="766164"/>
                </a:cubicBezTo>
                <a:lnTo>
                  <a:pt x="180248" y="761985"/>
                </a:lnTo>
                <a:close/>
                <a:moveTo>
                  <a:pt x="149419" y="758876"/>
                </a:moveTo>
                <a:lnTo>
                  <a:pt x="149805" y="759198"/>
                </a:lnTo>
                <a:lnTo>
                  <a:pt x="149421" y="758877"/>
                </a:lnTo>
                <a:close/>
                <a:moveTo>
                  <a:pt x="2334205" y="757054"/>
                </a:moveTo>
                <a:cubicBezTo>
                  <a:pt x="2334205" y="758876"/>
                  <a:pt x="2336027" y="760698"/>
                  <a:pt x="2336027" y="764342"/>
                </a:cubicBezTo>
                <a:lnTo>
                  <a:pt x="2337850" y="764342"/>
                </a:lnTo>
                <a:cubicBezTo>
                  <a:pt x="2337850" y="760698"/>
                  <a:pt x="2336027" y="755231"/>
                  <a:pt x="2334205" y="757054"/>
                </a:cubicBezTo>
                <a:close/>
                <a:moveTo>
                  <a:pt x="1421296" y="757054"/>
                </a:moveTo>
                <a:cubicBezTo>
                  <a:pt x="1418562" y="757965"/>
                  <a:pt x="1416740" y="761154"/>
                  <a:pt x="1414690" y="764343"/>
                </a:cubicBezTo>
                <a:lnTo>
                  <a:pt x="1408168" y="770306"/>
                </a:lnTo>
                <a:lnTo>
                  <a:pt x="1408541" y="769809"/>
                </a:lnTo>
                <a:cubicBezTo>
                  <a:pt x="1403074" y="773453"/>
                  <a:pt x="1397608" y="773453"/>
                  <a:pt x="1395787" y="778920"/>
                </a:cubicBezTo>
                <a:cubicBezTo>
                  <a:pt x="1393963" y="778920"/>
                  <a:pt x="1390319" y="778920"/>
                  <a:pt x="1388497" y="782564"/>
                </a:cubicBezTo>
                <a:cubicBezTo>
                  <a:pt x="1390319" y="784386"/>
                  <a:pt x="1392141" y="782564"/>
                  <a:pt x="1393963" y="784386"/>
                </a:cubicBezTo>
                <a:cubicBezTo>
                  <a:pt x="1384854" y="782564"/>
                  <a:pt x="1375743" y="789853"/>
                  <a:pt x="1366632" y="786208"/>
                </a:cubicBezTo>
                <a:cubicBezTo>
                  <a:pt x="1362987" y="789853"/>
                  <a:pt x="1361164" y="791675"/>
                  <a:pt x="1359342" y="795319"/>
                </a:cubicBezTo>
                <a:cubicBezTo>
                  <a:pt x="1362987" y="795319"/>
                  <a:pt x="1366632" y="791675"/>
                  <a:pt x="1370275" y="791675"/>
                </a:cubicBezTo>
                <a:cubicBezTo>
                  <a:pt x="1372097" y="795319"/>
                  <a:pt x="1366632" y="793497"/>
                  <a:pt x="1364809" y="795319"/>
                </a:cubicBezTo>
                <a:cubicBezTo>
                  <a:pt x="1368453" y="797141"/>
                  <a:pt x="1373920" y="797141"/>
                  <a:pt x="1379386" y="793497"/>
                </a:cubicBezTo>
                <a:cubicBezTo>
                  <a:pt x="1379386" y="795319"/>
                  <a:pt x="1377564" y="795319"/>
                  <a:pt x="1377564" y="797141"/>
                </a:cubicBezTo>
                <a:cubicBezTo>
                  <a:pt x="1399430" y="800786"/>
                  <a:pt x="1417652" y="777098"/>
                  <a:pt x="1421296" y="757054"/>
                </a:cubicBezTo>
                <a:close/>
                <a:moveTo>
                  <a:pt x="1357521" y="757054"/>
                </a:moveTo>
                <a:cubicBezTo>
                  <a:pt x="1353876" y="757054"/>
                  <a:pt x="1353876" y="760698"/>
                  <a:pt x="1353876" y="762520"/>
                </a:cubicBezTo>
                <a:cubicBezTo>
                  <a:pt x="1355698" y="764342"/>
                  <a:pt x="1359342" y="760698"/>
                  <a:pt x="1357521" y="757054"/>
                </a:cubicBezTo>
                <a:close/>
                <a:moveTo>
                  <a:pt x="1118815" y="757054"/>
                </a:moveTo>
                <a:cubicBezTo>
                  <a:pt x="1113349" y="758876"/>
                  <a:pt x="1109704" y="762520"/>
                  <a:pt x="1109704" y="766164"/>
                </a:cubicBezTo>
                <a:cubicBezTo>
                  <a:pt x="1113349" y="767987"/>
                  <a:pt x="1115171" y="760698"/>
                  <a:pt x="1118815" y="757054"/>
                </a:cubicBezTo>
                <a:close/>
                <a:moveTo>
                  <a:pt x="1100593" y="757054"/>
                </a:moveTo>
                <a:cubicBezTo>
                  <a:pt x="1098771" y="758876"/>
                  <a:pt x="1102416" y="758876"/>
                  <a:pt x="1104238" y="760698"/>
                </a:cubicBezTo>
                <a:cubicBezTo>
                  <a:pt x="1104238" y="758876"/>
                  <a:pt x="1104238" y="755231"/>
                  <a:pt x="1100593" y="757054"/>
                </a:cubicBezTo>
                <a:close/>
                <a:moveTo>
                  <a:pt x="993085" y="757054"/>
                </a:moveTo>
                <a:cubicBezTo>
                  <a:pt x="994907" y="762520"/>
                  <a:pt x="991263" y="767987"/>
                  <a:pt x="987619" y="771631"/>
                </a:cubicBezTo>
                <a:cubicBezTo>
                  <a:pt x="994907" y="769809"/>
                  <a:pt x="994907" y="762520"/>
                  <a:pt x="1000374" y="758876"/>
                </a:cubicBezTo>
                <a:cubicBezTo>
                  <a:pt x="998552" y="757054"/>
                  <a:pt x="994907" y="758876"/>
                  <a:pt x="993085" y="757054"/>
                </a:cubicBezTo>
                <a:close/>
                <a:moveTo>
                  <a:pt x="963930" y="757054"/>
                </a:moveTo>
                <a:cubicBezTo>
                  <a:pt x="962108" y="758876"/>
                  <a:pt x="958464" y="764342"/>
                  <a:pt x="958464" y="766164"/>
                </a:cubicBezTo>
                <a:cubicBezTo>
                  <a:pt x="960286" y="767987"/>
                  <a:pt x="963930" y="764342"/>
                  <a:pt x="965753" y="762520"/>
                </a:cubicBezTo>
                <a:cubicBezTo>
                  <a:pt x="965753" y="760698"/>
                  <a:pt x="963930" y="758876"/>
                  <a:pt x="963930" y="757054"/>
                </a:cubicBezTo>
                <a:close/>
                <a:moveTo>
                  <a:pt x="945709" y="757054"/>
                </a:moveTo>
                <a:cubicBezTo>
                  <a:pt x="931131" y="757054"/>
                  <a:pt x="936598" y="769809"/>
                  <a:pt x="942064" y="773453"/>
                </a:cubicBezTo>
                <a:cubicBezTo>
                  <a:pt x="951175" y="769809"/>
                  <a:pt x="942064" y="762520"/>
                  <a:pt x="945709" y="757054"/>
                </a:cubicBezTo>
                <a:close/>
                <a:moveTo>
                  <a:pt x="674205" y="757054"/>
                </a:moveTo>
                <a:cubicBezTo>
                  <a:pt x="674205" y="759787"/>
                  <a:pt x="676027" y="762065"/>
                  <a:pt x="678761" y="764343"/>
                </a:cubicBezTo>
                <a:lnTo>
                  <a:pt x="686587" y="770035"/>
                </a:lnTo>
                <a:lnTo>
                  <a:pt x="686504" y="770493"/>
                </a:lnTo>
                <a:cubicBezTo>
                  <a:pt x="687416" y="771176"/>
                  <a:pt x="688782" y="771631"/>
                  <a:pt x="688782" y="771631"/>
                </a:cubicBezTo>
                <a:lnTo>
                  <a:pt x="686587" y="770035"/>
                </a:lnTo>
                <a:lnTo>
                  <a:pt x="686960" y="767987"/>
                </a:lnTo>
                <a:cubicBezTo>
                  <a:pt x="690604" y="767987"/>
                  <a:pt x="690604" y="773453"/>
                  <a:pt x="694249" y="773453"/>
                </a:cubicBezTo>
                <a:cubicBezTo>
                  <a:pt x="690604" y="767987"/>
                  <a:pt x="681493" y="760698"/>
                  <a:pt x="674205" y="757054"/>
                </a:cubicBezTo>
                <a:close/>
                <a:moveTo>
                  <a:pt x="561230" y="757054"/>
                </a:moveTo>
                <a:cubicBezTo>
                  <a:pt x="561230" y="758876"/>
                  <a:pt x="557586" y="760698"/>
                  <a:pt x="555763" y="760698"/>
                </a:cubicBezTo>
                <a:cubicBezTo>
                  <a:pt x="557586" y="762520"/>
                  <a:pt x="557586" y="762520"/>
                  <a:pt x="559408" y="764342"/>
                </a:cubicBezTo>
                <a:cubicBezTo>
                  <a:pt x="557586" y="760698"/>
                  <a:pt x="564874" y="762520"/>
                  <a:pt x="561230" y="757054"/>
                </a:cubicBezTo>
                <a:close/>
                <a:moveTo>
                  <a:pt x="459188" y="757054"/>
                </a:moveTo>
                <a:cubicBezTo>
                  <a:pt x="457367" y="758876"/>
                  <a:pt x="461010" y="762520"/>
                  <a:pt x="464655" y="764342"/>
                </a:cubicBezTo>
                <a:cubicBezTo>
                  <a:pt x="470121" y="760698"/>
                  <a:pt x="464655" y="757054"/>
                  <a:pt x="459188" y="757054"/>
                </a:cubicBezTo>
                <a:close/>
                <a:moveTo>
                  <a:pt x="360791" y="757054"/>
                </a:moveTo>
                <a:cubicBezTo>
                  <a:pt x="368079" y="762520"/>
                  <a:pt x="377190" y="771631"/>
                  <a:pt x="389946" y="775275"/>
                </a:cubicBezTo>
                <a:cubicBezTo>
                  <a:pt x="384479" y="773453"/>
                  <a:pt x="382657" y="771631"/>
                  <a:pt x="382657" y="767987"/>
                </a:cubicBezTo>
                <a:cubicBezTo>
                  <a:pt x="375368" y="762520"/>
                  <a:pt x="368079" y="758876"/>
                  <a:pt x="360791" y="757054"/>
                </a:cubicBezTo>
                <a:close/>
                <a:moveTo>
                  <a:pt x="249638" y="757054"/>
                </a:moveTo>
                <a:cubicBezTo>
                  <a:pt x="249638" y="760698"/>
                  <a:pt x="253282" y="764342"/>
                  <a:pt x="256927" y="769809"/>
                </a:cubicBezTo>
                <a:cubicBezTo>
                  <a:pt x="256927" y="766164"/>
                  <a:pt x="251460" y="764342"/>
                  <a:pt x="255105" y="762520"/>
                </a:cubicBezTo>
                <a:cubicBezTo>
                  <a:pt x="253282" y="758876"/>
                  <a:pt x="251460" y="758876"/>
                  <a:pt x="249638" y="757054"/>
                </a:cubicBezTo>
                <a:close/>
                <a:moveTo>
                  <a:pt x="2653911" y="756428"/>
                </a:moveTo>
                <a:cubicBezTo>
                  <a:pt x="2652288" y="757054"/>
                  <a:pt x="2651263" y="758876"/>
                  <a:pt x="2651263" y="762520"/>
                </a:cubicBezTo>
                <a:cubicBezTo>
                  <a:pt x="2654908" y="755231"/>
                  <a:pt x="2654908" y="766164"/>
                  <a:pt x="2662197" y="764342"/>
                </a:cubicBezTo>
                <a:cubicBezTo>
                  <a:pt x="2662197" y="767987"/>
                  <a:pt x="2660374" y="766164"/>
                  <a:pt x="2662197" y="769809"/>
                </a:cubicBezTo>
                <a:cubicBezTo>
                  <a:pt x="2665841" y="767987"/>
                  <a:pt x="2669485" y="775275"/>
                  <a:pt x="2674952" y="771631"/>
                </a:cubicBezTo>
                <a:cubicBezTo>
                  <a:pt x="2674952" y="767987"/>
                  <a:pt x="2674952" y="764342"/>
                  <a:pt x="2673130" y="762520"/>
                </a:cubicBezTo>
                <a:cubicBezTo>
                  <a:pt x="2671307" y="762520"/>
                  <a:pt x="2673130" y="764342"/>
                  <a:pt x="2673130" y="766164"/>
                </a:cubicBezTo>
                <a:cubicBezTo>
                  <a:pt x="2669030" y="763431"/>
                  <a:pt x="2658780" y="754549"/>
                  <a:pt x="2653911" y="756428"/>
                </a:cubicBezTo>
                <a:close/>
                <a:moveTo>
                  <a:pt x="1127244" y="755915"/>
                </a:moveTo>
                <a:cubicBezTo>
                  <a:pt x="1122004" y="757054"/>
                  <a:pt x="1117905" y="760698"/>
                  <a:pt x="1118815" y="767987"/>
                </a:cubicBezTo>
                <a:cubicBezTo>
                  <a:pt x="1116993" y="762520"/>
                  <a:pt x="1111526" y="769809"/>
                  <a:pt x="1113349" y="773453"/>
                </a:cubicBezTo>
                <a:cubicBezTo>
                  <a:pt x="1116993" y="769809"/>
                  <a:pt x="1120637" y="771631"/>
                  <a:pt x="1124282" y="766164"/>
                </a:cubicBezTo>
                <a:cubicBezTo>
                  <a:pt x="1129748" y="767987"/>
                  <a:pt x="1137037" y="762520"/>
                  <a:pt x="1142503" y="758876"/>
                </a:cubicBezTo>
                <a:cubicBezTo>
                  <a:pt x="1138859" y="756143"/>
                  <a:pt x="1132481" y="754776"/>
                  <a:pt x="1127244" y="755915"/>
                </a:cubicBezTo>
                <a:close/>
                <a:moveTo>
                  <a:pt x="1173481" y="755231"/>
                </a:moveTo>
                <a:cubicBezTo>
                  <a:pt x="1171658" y="755231"/>
                  <a:pt x="1169836" y="755231"/>
                  <a:pt x="1168014" y="757054"/>
                </a:cubicBezTo>
                <a:cubicBezTo>
                  <a:pt x="1169836" y="760698"/>
                  <a:pt x="1173481" y="757054"/>
                  <a:pt x="1173481" y="755231"/>
                </a:cubicBezTo>
                <a:close/>
                <a:moveTo>
                  <a:pt x="1096949" y="755231"/>
                </a:moveTo>
                <a:cubicBezTo>
                  <a:pt x="1095127" y="755231"/>
                  <a:pt x="1098771" y="757054"/>
                  <a:pt x="1098771" y="758876"/>
                </a:cubicBezTo>
                <a:cubicBezTo>
                  <a:pt x="1100593" y="758876"/>
                  <a:pt x="1100593" y="757054"/>
                  <a:pt x="1098771" y="755231"/>
                </a:cubicBezTo>
                <a:cubicBezTo>
                  <a:pt x="1098771" y="755231"/>
                  <a:pt x="1096949" y="755231"/>
                  <a:pt x="1096949" y="755231"/>
                </a:cubicBezTo>
                <a:close/>
                <a:moveTo>
                  <a:pt x="1093305" y="755231"/>
                </a:moveTo>
                <a:cubicBezTo>
                  <a:pt x="1091484" y="755231"/>
                  <a:pt x="1087838" y="755231"/>
                  <a:pt x="1082373" y="757054"/>
                </a:cubicBezTo>
                <a:cubicBezTo>
                  <a:pt x="1084194" y="757054"/>
                  <a:pt x="1084194" y="757054"/>
                  <a:pt x="1084194" y="757054"/>
                </a:cubicBezTo>
                <a:lnTo>
                  <a:pt x="1086016" y="758876"/>
                </a:lnTo>
                <a:cubicBezTo>
                  <a:pt x="1089660" y="760698"/>
                  <a:pt x="1093305" y="764342"/>
                  <a:pt x="1096949" y="760698"/>
                </a:cubicBezTo>
                <a:cubicBezTo>
                  <a:pt x="1093305" y="758876"/>
                  <a:pt x="1095127" y="757054"/>
                  <a:pt x="1093305" y="755231"/>
                </a:cubicBezTo>
                <a:close/>
                <a:moveTo>
                  <a:pt x="952997" y="755231"/>
                </a:moveTo>
                <a:cubicBezTo>
                  <a:pt x="945709" y="760698"/>
                  <a:pt x="949353" y="762520"/>
                  <a:pt x="949353" y="766164"/>
                </a:cubicBezTo>
                <a:cubicBezTo>
                  <a:pt x="952997" y="764342"/>
                  <a:pt x="954819" y="758876"/>
                  <a:pt x="956642" y="755231"/>
                </a:cubicBezTo>
                <a:cubicBezTo>
                  <a:pt x="954819" y="755231"/>
                  <a:pt x="952997" y="755231"/>
                  <a:pt x="952997" y="755231"/>
                </a:cubicBezTo>
                <a:close/>
                <a:moveTo>
                  <a:pt x="679671" y="755231"/>
                </a:moveTo>
                <a:cubicBezTo>
                  <a:pt x="677849" y="760698"/>
                  <a:pt x="686960" y="758876"/>
                  <a:pt x="688782" y="758876"/>
                </a:cubicBezTo>
                <a:cubicBezTo>
                  <a:pt x="690604" y="755231"/>
                  <a:pt x="683316" y="755231"/>
                  <a:pt x="679671" y="755231"/>
                </a:cubicBezTo>
                <a:close/>
                <a:moveTo>
                  <a:pt x="581274" y="755231"/>
                </a:moveTo>
                <a:cubicBezTo>
                  <a:pt x="579452" y="757054"/>
                  <a:pt x="573985" y="762520"/>
                  <a:pt x="577630" y="764342"/>
                </a:cubicBezTo>
                <a:cubicBezTo>
                  <a:pt x="579452" y="760698"/>
                  <a:pt x="584919" y="758876"/>
                  <a:pt x="584919" y="757054"/>
                </a:cubicBezTo>
                <a:cubicBezTo>
                  <a:pt x="583096" y="755231"/>
                  <a:pt x="581274" y="753409"/>
                  <a:pt x="581274" y="755231"/>
                </a:cubicBezTo>
                <a:close/>
                <a:moveTo>
                  <a:pt x="491987" y="755231"/>
                </a:moveTo>
                <a:cubicBezTo>
                  <a:pt x="490165" y="760698"/>
                  <a:pt x="488343" y="764342"/>
                  <a:pt x="495632" y="769809"/>
                </a:cubicBezTo>
                <a:cubicBezTo>
                  <a:pt x="495632" y="766164"/>
                  <a:pt x="497454" y="760698"/>
                  <a:pt x="491987" y="755231"/>
                </a:cubicBezTo>
                <a:close/>
                <a:moveTo>
                  <a:pt x="231416" y="755231"/>
                </a:moveTo>
                <a:cubicBezTo>
                  <a:pt x="229594" y="762520"/>
                  <a:pt x="235061" y="758876"/>
                  <a:pt x="235061" y="760698"/>
                </a:cubicBezTo>
                <a:cubicBezTo>
                  <a:pt x="236883" y="758876"/>
                  <a:pt x="233239" y="757054"/>
                  <a:pt x="231416" y="755231"/>
                </a:cubicBezTo>
                <a:close/>
                <a:moveTo>
                  <a:pt x="1310143" y="753409"/>
                </a:moveTo>
                <a:lnTo>
                  <a:pt x="1309874" y="753563"/>
                </a:lnTo>
                <a:lnTo>
                  <a:pt x="1309959" y="753483"/>
                </a:lnTo>
                <a:close/>
                <a:moveTo>
                  <a:pt x="1051395" y="753409"/>
                </a:moveTo>
                <a:cubicBezTo>
                  <a:pt x="1049573" y="755231"/>
                  <a:pt x="1045929" y="757054"/>
                  <a:pt x="1044106" y="758876"/>
                </a:cubicBezTo>
                <a:cubicBezTo>
                  <a:pt x="1049573" y="755231"/>
                  <a:pt x="1053217" y="760698"/>
                  <a:pt x="1051395" y="753409"/>
                </a:cubicBezTo>
                <a:close/>
                <a:moveTo>
                  <a:pt x="1033173" y="753409"/>
                </a:moveTo>
                <a:cubicBezTo>
                  <a:pt x="1027707" y="751587"/>
                  <a:pt x="1020418" y="755231"/>
                  <a:pt x="1020418" y="760698"/>
                </a:cubicBezTo>
                <a:cubicBezTo>
                  <a:pt x="1024062" y="760698"/>
                  <a:pt x="1033173" y="760698"/>
                  <a:pt x="1033173" y="753409"/>
                </a:cubicBezTo>
                <a:close/>
                <a:moveTo>
                  <a:pt x="814512" y="753409"/>
                </a:moveTo>
                <a:cubicBezTo>
                  <a:pt x="812690" y="755231"/>
                  <a:pt x="812690" y="755231"/>
                  <a:pt x="809046" y="757054"/>
                </a:cubicBezTo>
                <a:cubicBezTo>
                  <a:pt x="810868" y="758876"/>
                  <a:pt x="810868" y="758876"/>
                  <a:pt x="814512" y="760698"/>
                </a:cubicBezTo>
                <a:cubicBezTo>
                  <a:pt x="818156" y="757054"/>
                  <a:pt x="812690" y="755231"/>
                  <a:pt x="814512" y="753409"/>
                </a:cubicBezTo>
                <a:close/>
                <a:moveTo>
                  <a:pt x="634117" y="753409"/>
                </a:moveTo>
                <a:cubicBezTo>
                  <a:pt x="630472" y="758876"/>
                  <a:pt x="621362" y="766164"/>
                  <a:pt x="625006" y="773453"/>
                </a:cubicBezTo>
                <a:cubicBezTo>
                  <a:pt x="628650" y="767987"/>
                  <a:pt x="632296" y="758876"/>
                  <a:pt x="634117" y="753409"/>
                </a:cubicBezTo>
                <a:close/>
                <a:moveTo>
                  <a:pt x="369902" y="753409"/>
                </a:moveTo>
                <a:cubicBezTo>
                  <a:pt x="371724" y="758876"/>
                  <a:pt x="377190" y="758876"/>
                  <a:pt x="379012" y="762520"/>
                </a:cubicBezTo>
                <a:cubicBezTo>
                  <a:pt x="379012" y="757054"/>
                  <a:pt x="373546" y="755231"/>
                  <a:pt x="369902" y="753409"/>
                </a:cubicBezTo>
                <a:close/>
                <a:moveTo>
                  <a:pt x="1327200" y="752020"/>
                </a:moveTo>
                <a:lnTo>
                  <a:pt x="1324721" y="760698"/>
                </a:lnTo>
                <a:lnTo>
                  <a:pt x="1322362" y="768952"/>
                </a:lnTo>
                <a:lnTo>
                  <a:pt x="1321077" y="769809"/>
                </a:lnTo>
                <a:cubicBezTo>
                  <a:pt x="1321987" y="765254"/>
                  <a:pt x="1322899" y="758421"/>
                  <a:pt x="1325176" y="753182"/>
                </a:cubicBezTo>
                <a:close/>
                <a:moveTo>
                  <a:pt x="3329112" y="751587"/>
                </a:moveTo>
                <a:cubicBezTo>
                  <a:pt x="3325468" y="753409"/>
                  <a:pt x="3325468" y="755231"/>
                  <a:pt x="3323646" y="758876"/>
                </a:cubicBezTo>
                <a:cubicBezTo>
                  <a:pt x="3325468" y="758876"/>
                  <a:pt x="3327290" y="757054"/>
                  <a:pt x="3329112" y="757054"/>
                </a:cubicBezTo>
                <a:cubicBezTo>
                  <a:pt x="3329112" y="755231"/>
                  <a:pt x="3329112" y="753409"/>
                  <a:pt x="3329112" y="751587"/>
                </a:cubicBezTo>
                <a:close/>
                <a:moveTo>
                  <a:pt x="3227071" y="751587"/>
                </a:moveTo>
                <a:cubicBezTo>
                  <a:pt x="3221604" y="753409"/>
                  <a:pt x="3227071" y="764342"/>
                  <a:pt x="3223426" y="767987"/>
                </a:cubicBezTo>
                <a:cubicBezTo>
                  <a:pt x="3234359" y="766164"/>
                  <a:pt x="3227071" y="758876"/>
                  <a:pt x="3227071" y="751587"/>
                </a:cubicBezTo>
                <a:close/>
                <a:moveTo>
                  <a:pt x="2328739" y="751587"/>
                </a:moveTo>
                <a:cubicBezTo>
                  <a:pt x="2328739" y="753409"/>
                  <a:pt x="2326916" y="757054"/>
                  <a:pt x="2326916" y="758876"/>
                </a:cubicBezTo>
                <a:lnTo>
                  <a:pt x="2328739" y="760698"/>
                </a:lnTo>
                <a:cubicBezTo>
                  <a:pt x="2328739" y="757054"/>
                  <a:pt x="2328739" y="755231"/>
                  <a:pt x="2328739" y="751587"/>
                </a:cubicBezTo>
                <a:close/>
                <a:moveTo>
                  <a:pt x="1350231" y="751587"/>
                </a:moveTo>
                <a:cubicBezTo>
                  <a:pt x="1352053" y="751587"/>
                  <a:pt x="1352053" y="753409"/>
                  <a:pt x="1353876" y="755231"/>
                </a:cubicBezTo>
                <a:cubicBezTo>
                  <a:pt x="1355698" y="755231"/>
                  <a:pt x="1355698" y="753409"/>
                  <a:pt x="1355698" y="751587"/>
                </a:cubicBezTo>
                <a:cubicBezTo>
                  <a:pt x="1353876" y="749765"/>
                  <a:pt x="1352053" y="749765"/>
                  <a:pt x="1350231" y="751587"/>
                </a:cubicBezTo>
                <a:close/>
                <a:moveTo>
                  <a:pt x="1182592" y="751587"/>
                </a:moveTo>
                <a:cubicBezTo>
                  <a:pt x="1178947" y="749765"/>
                  <a:pt x="1177125" y="751587"/>
                  <a:pt x="1175303" y="753409"/>
                </a:cubicBezTo>
                <a:cubicBezTo>
                  <a:pt x="1178947" y="757054"/>
                  <a:pt x="1180769" y="753409"/>
                  <a:pt x="1182592" y="751587"/>
                </a:cubicBezTo>
                <a:close/>
                <a:moveTo>
                  <a:pt x="1111526" y="751587"/>
                </a:moveTo>
                <a:cubicBezTo>
                  <a:pt x="1109704" y="753409"/>
                  <a:pt x="1109704" y="757054"/>
                  <a:pt x="1109704" y="758876"/>
                </a:cubicBezTo>
                <a:cubicBezTo>
                  <a:pt x="1111526" y="760698"/>
                  <a:pt x="1115171" y="757054"/>
                  <a:pt x="1116993" y="755231"/>
                </a:cubicBezTo>
                <a:cubicBezTo>
                  <a:pt x="1115171" y="751587"/>
                  <a:pt x="1113349" y="753409"/>
                  <a:pt x="1111526" y="751587"/>
                </a:cubicBezTo>
                <a:close/>
                <a:moveTo>
                  <a:pt x="1084194" y="751587"/>
                </a:moveTo>
                <a:cubicBezTo>
                  <a:pt x="1080549" y="749765"/>
                  <a:pt x="1076905" y="753409"/>
                  <a:pt x="1073262" y="757054"/>
                </a:cubicBezTo>
                <a:lnTo>
                  <a:pt x="1070983" y="754777"/>
                </a:lnTo>
                <a:lnTo>
                  <a:pt x="1071439" y="753409"/>
                </a:lnTo>
                <a:cubicBezTo>
                  <a:pt x="1071439" y="753409"/>
                  <a:pt x="1071439" y="753409"/>
                  <a:pt x="1069616" y="753409"/>
                </a:cubicBezTo>
                <a:lnTo>
                  <a:pt x="1070983" y="754777"/>
                </a:lnTo>
                <a:lnTo>
                  <a:pt x="1069616" y="758876"/>
                </a:lnTo>
                <a:cubicBezTo>
                  <a:pt x="1071439" y="758876"/>
                  <a:pt x="1071439" y="758876"/>
                  <a:pt x="1071439" y="758876"/>
                </a:cubicBezTo>
                <a:cubicBezTo>
                  <a:pt x="1071439" y="758876"/>
                  <a:pt x="1073262" y="758876"/>
                  <a:pt x="1073262" y="757054"/>
                </a:cubicBezTo>
                <a:cubicBezTo>
                  <a:pt x="1075083" y="757054"/>
                  <a:pt x="1075083" y="757054"/>
                  <a:pt x="1075083" y="757054"/>
                </a:cubicBezTo>
                <a:cubicBezTo>
                  <a:pt x="1075083" y="757054"/>
                  <a:pt x="1075083" y="758876"/>
                  <a:pt x="1075083" y="758876"/>
                </a:cubicBezTo>
                <a:cubicBezTo>
                  <a:pt x="1075083" y="758876"/>
                  <a:pt x="1076905" y="757054"/>
                  <a:pt x="1076905" y="757054"/>
                </a:cubicBezTo>
                <a:cubicBezTo>
                  <a:pt x="1080549" y="757054"/>
                  <a:pt x="1082373" y="753409"/>
                  <a:pt x="1084194" y="751587"/>
                </a:cubicBezTo>
                <a:close/>
                <a:moveTo>
                  <a:pt x="595852" y="751587"/>
                </a:moveTo>
                <a:cubicBezTo>
                  <a:pt x="592207" y="757054"/>
                  <a:pt x="601318" y="764342"/>
                  <a:pt x="604963" y="769809"/>
                </a:cubicBezTo>
                <a:cubicBezTo>
                  <a:pt x="603140" y="764342"/>
                  <a:pt x="603140" y="755231"/>
                  <a:pt x="595852" y="751587"/>
                </a:cubicBezTo>
                <a:close/>
                <a:moveTo>
                  <a:pt x="532075" y="751587"/>
                </a:moveTo>
                <a:lnTo>
                  <a:pt x="532531" y="752195"/>
                </a:lnTo>
                <a:lnTo>
                  <a:pt x="532103" y="751787"/>
                </a:lnTo>
                <a:close/>
                <a:moveTo>
                  <a:pt x="415456" y="751587"/>
                </a:moveTo>
                <a:cubicBezTo>
                  <a:pt x="413634" y="758876"/>
                  <a:pt x="420923" y="769809"/>
                  <a:pt x="428211" y="762520"/>
                </a:cubicBezTo>
                <a:cubicBezTo>
                  <a:pt x="426389" y="758876"/>
                  <a:pt x="419100" y="757054"/>
                  <a:pt x="415456" y="751587"/>
                </a:cubicBezTo>
                <a:close/>
                <a:moveTo>
                  <a:pt x="273327" y="751587"/>
                </a:moveTo>
                <a:cubicBezTo>
                  <a:pt x="271504" y="755231"/>
                  <a:pt x="278793" y="762520"/>
                  <a:pt x="282438" y="767987"/>
                </a:cubicBezTo>
                <a:cubicBezTo>
                  <a:pt x="284259" y="764342"/>
                  <a:pt x="275149" y="758876"/>
                  <a:pt x="273327" y="751587"/>
                </a:cubicBezTo>
                <a:close/>
                <a:moveTo>
                  <a:pt x="215017" y="751587"/>
                </a:moveTo>
                <a:cubicBezTo>
                  <a:pt x="211372" y="757054"/>
                  <a:pt x="222306" y="769809"/>
                  <a:pt x="225950" y="769809"/>
                </a:cubicBezTo>
                <a:cubicBezTo>
                  <a:pt x="222306" y="762520"/>
                  <a:pt x="218661" y="755231"/>
                  <a:pt x="215017" y="751587"/>
                </a:cubicBezTo>
                <a:close/>
                <a:moveTo>
                  <a:pt x="720153" y="749864"/>
                </a:moveTo>
                <a:lnTo>
                  <a:pt x="723211" y="750628"/>
                </a:lnTo>
                <a:lnTo>
                  <a:pt x="722492" y="751587"/>
                </a:lnTo>
                <a:lnTo>
                  <a:pt x="720172" y="750040"/>
                </a:lnTo>
                <a:close/>
                <a:moveTo>
                  <a:pt x="2605709" y="749765"/>
                </a:moveTo>
                <a:cubicBezTo>
                  <a:pt x="2602065" y="753409"/>
                  <a:pt x="2596598" y="760698"/>
                  <a:pt x="2603887" y="764342"/>
                </a:cubicBezTo>
                <a:cubicBezTo>
                  <a:pt x="2607531" y="766164"/>
                  <a:pt x="2614820" y="766164"/>
                  <a:pt x="2614820" y="771631"/>
                </a:cubicBezTo>
                <a:cubicBezTo>
                  <a:pt x="2614820" y="771631"/>
                  <a:pt x="2612998" y="773453"/>
                  <a:pt x="2611176" y="773453"/>
                </a:cubicBezTo>
                <a:cubicBezTo>
                  <a:pt x="2609353" y="773453"/>
                  <a:pt x="2607531" y="767987"/>
                  <a:pt x="2607531" y="766164"/>
                </a:cubicBezTo>
                <a:cubicBezTo>
                  <a:pt x="2605709" y="775275"/>
                  <a:pt x="2600243" y="788031"/>
                  <a:pt x="2611176" y="795319"/>
                </a:cubicBezTo>
                <a:cubicBezTo>
                  <a:pt x="2612998" y="797141"/>
                  <a:pt x="2611176" y="798964"/>
                  <a:pt x="2611176" y="800786"/>
                </a:cubicBezTo>
                <a:cubicBezTo>
                  <a:pt x="2616642" y="798964"/>
                  <a:pt x="2616642" y="789853"/>
                  <a:pt x="2622109" y="789853"/>
                </a:cubicBezTo>
                <a:cubicBezTo>
                  <a:pt x="2620287" y="795319"/>
                  <a:pt x="2612998" y="797141"/>
                  <a:pt x="2614820" y="804430"/>
                </a:cubicBezTo>
                <a:cubicBezTo>
                  <a:pt x="2629397" y="795319"/>
                  <a:pt x="2623931" y="786208"/>
                  <a:pt x="2622109" y="775275"/>
                </a:cubicBezTo>
                <a:cubicBezTo>
                  <a:pt x="2622109" y="775275"/>
                  <a:pt x="2625753" y="771631"/>
                  <a:pt x="2627575" y="773453"/>
                </a:cubicBezTo>
                <a:cubicBezTo>
                  <a:pt x="2623931" y="775275"/>
                  <a:pt x="2623931" y="780742"/>
                  <a:pt x="2627575" y="780742"/>
                </a:cubicBezTo>
                <a:cubicBezTo>
                  <a:pt x="2633042" y="780742"/>
                  <a:pt x="2636686" y="775275"/>
                  <a:pt x="2638508" y="769809"/>
                </a:cubicBezTo>
                <a:cubicBezTo>
                  <a:pt x="2636686" y="780742"/>
                  <a:pt x="2645797" y="778920"/>
                  <a:pt x="2653086" y="778920"/>
                </a:cubicBezTo>
                <a:cubicBezTo>
                  <a:pt x="2649441" y="773453"/>
                  <a:pt x="2656730" y="764342"/>
                  <a:pt x="2645797" y="760698"/>
                </a:cubicBezTo>
                <a:cubicBezTo>
                  <a:pt x="2631219" y="762520"/>
                  <a:pt x="2616642" y="757054"/>
                  <a:pt x="2605709" y="749765"/>
                </a:cubicBezTo>
                <a:close/>
                <a:moveTo>
                  <a:pt x="1441340" y="749765"/>
                </a:moveTo>
                <a:cubicBezTo>
                  <a:pt x="1437696" y="747943"/>
                  <a:pt x="1439518" y="751587"/>
                  <a:pt x="1435873" y="753409"/>
                </a:cubicBezTo>
                <a:cubicBezTo>
                  <a:pt x="1437696" y="753409"/>
                  <a:pt x="1441340" y="751587"/>
                  <a:pt x="1441340" y="749765"/>
                </a:cubicBezTo>
                <a:close/>
                <a:moveTo>
                  <a:pt x="1102416" y="749765"/>
                </a:moveTo>
                <a:cubicBezTo>
                  <a:pt x="1098771" y="749765"/>
                  <a:pt x="1100593" y="751587"/>
                  <a:pt x="1098771" y="753409"/>
                </a:cubicBezTo>
                <a:cubicBezTo>
                  <a:pt x="1100593" y="753409"/>
                  <a:pt x="1102416" y="753409"/>
                  <a:pt x="1104238" y="755231"/>
                </a:cubicBezTo>
                <a:cubicBezTo>
                  <a:pt x="1104238" y="753409"/>
                  <a:pt x="1104238" y="751587"/>
                  <a:pt x="1102416" y="749765"/>
                </a:cubicBezTo>
                <a:close/>
                <a:moveTo>
                  <a:pt x="1060506" y="749765"/>
                </a:moveTo>
                <a:cubicBezTo>
                  <a:pt x="1053217" y="753409"/>
                  <a:pt x="1055040" y="758876"/>
                  <a:pt x="1049573" y="762520"/>
                </a:cubicBezTo>
                <a:cubicBezTo>
                  <a:pt x="1055040" y="760698"/>
                  <a:pt x="1062328" y="760698"/>
                  <a:pt x="1060506" y="749765"/>
                </a:cubicBezTo>
                <a:close/>
                <a:moveTo>
                  <a:pt x="1020418" y="749765"/>
                </a:moveTo>
                <a:lnTo>
                  <a:pt x="1016166" y="752353"/>
                </a:lnTo>
                <a:lnTo>
                  <a:pt x="1011307" y="753409"/>
                </a:lnTo>
                <a:cubicBezTo>
                  <a:pt x="1012218" y="754320"/>
                  <a:pt x="1013585" y="753865"/>
                  <a:pt x="1015179" y="752954"/>
                </a:cubicBezTo>
                <a:lnTo>
                  <a:pt x="1016166" y="752353"/>
                </a:lnTo>
                <a:lnTo>
                  <a:pt x="1016546" y="752270"/>
                </a:lnTo>
                <a:cubicBezTo>
                  <a:pt x="1018141" y="751132"/>
                  <a:pt x="1019507" y="749765"/>
                  <a:pt x="1020418" y="749765"/>
                </a:cubicBezTo>
                <a:close/>
                <a:moveTo>
                  <a:pt x="998552" y="749765"/>
                </a:moveTo>
                <a:cubicBezTo>
                  <a:pt x="996729" y="751587"/>
                  <a:pt x="994907" y="753409"/>
                  <a:pt x="993085" y="755231"/>
                </a:cubicBezTo>
                <a:cubicBezTo>
                  <a:pt x="994907" y="755231"/>
                  <a:pt x="998552" y="755231"/>
                  <a:pt x="1000374" y="757054"/>
                </a:cubicBezTo>
                <a:cubicBezTo>
                  <a:pt x="1002196" y="753409"/>
                  <a:pt x="1000374" y="751587"/>
                  <a:pt x="998552" y="749765"/>
                </a:cubicBezTo>
                <a:close/>
                <a:moveTo>
                  <a:pt x="918376" y="749765"/>
                </a:moveTo>
                <a:cubicBezTo>
                  <a:pt x="912909" y="751587"/>
                  <a:pt x="912909" y="755231"/>
                  <a:pt x="911087" y="757054"/>
                </a:cubicBezTo>
                <a:cubicBezTo>
                  <a:pt x="916555" y="757054"/>
                  <a:pt x="916555" y="751587"/>
                  <a:pt x="918376" y="749765"/>
                </a:cubicBezTo>
                <a:close/>
                <a:moveTo>
                  <a:pt x="825445" y="749765"/>
                </a:moveTo>
                <a:cubicBezTo>
                  <a:pt x="821801" y="749765"/>
                  <a:pt x="825445" y="753409"/>
                  <a:pt x="819979" y="755231"/>
                </a:cubicBezTo>
                <a:cubicBezTo>
                  <a:pt x="825445" y="755231"/>
                  <a:pt x="825445" y="751587"/>
                  <a:pt x="825445" y="749765"/>
                </a:cubicBezTo>
                <a:close/>
                <a:moveTo>
                  <a:pt x="734336" y="749765"/>
                </a:moveTo>
                <a:lnTo>
                  <a:pt x="734983" y="749883"/>
                </a:lnTo>
                <a:lnTo>
                  <a:pt x="735065" y="750130"/>
                </a:lnTo>
                <a:close/>
                <a:moveTo>
                  <a:pt x="309771" y="749765"/>
                </a:moveTo>
                <a:cubicBezTo>
                  <a:pt x="313414" y="758876"/>
                  <a:pt x="320703" y="758876"/>
                  <a:pt x="329814" y="760698"/>
                </a:cubicBezTo>
                <a:cubicBezTo>
                  <a:pt x="329814" y="757054"/>
                  <a:pt x="327993" y="755231"/>
                  <a:pt x="326169" y="751587"/>
                </a:cubicBezTo>
                <a:cubicBezTo>
                  <a:pt x="327993" y="758876"/>
                  <a:pt x="315236" y="746121"/>
                  <a:pt x="309771" y="749765"/>
                </a:cubicBezTo>
                <a:close/>
                <a:moveTo>
                  <a:pt x="298837" y="749765"/>
                </a:moveTo>
                <a:cubicBezTo>
                  <a:pt x="295193" y="753409"/>
                  <a:pt x="304303" y="758876"/>
                  <a:pt x="309771" y="757054"/>
                </a:cubicBezTo>
                <a:cubicBezTo>
                  <a:pt x="306126" y="753409"/>
                  <a:pt x="302481" y="753409"/>
                  <a:pt x="298837" y="749765"/>
                </a:cubicBezTo>
                <a:close/>
                <a:moveTo>
                  <a:pt x="153063" y="749765"/>
                </a:moveTo>
                <a:cubicBezTo>
                  <a:pt x="160352" y="757054"/>
                  <a:pt x="163996" y="775275"/>
                  <a:pt x="176751" y="773453"/>
                </a:cubicBezTo>
                <a:cubicBezTo>
                  <a:pt x="176751" y="773453"/>
                  <a:pt x="178573" y="775275"/>
                  <a:pt x="180396" y="777098"/>
                </a:cubicBezTo>
                <a:cubicBezTo>
                  <a:pt x="178573" y="778920"/>
                  <a:pt x="184040" y="784386"/>
                  <a:pt x="184040" y="780742"/>
                </a:cubicBezTo>
                <a:cubicBezTo>
                  <a:pt x="184040" y="777098"/>
                  <a:pt x="182218" y="777098"/>
                  <a:pt x="180396" y="777098"/>
                </a:cubicBezTo>
                <a:cubicBezTo>
                  <a:pt x="178573" y="775275"/>
                  <a:pt x="178573" y="773453"/>
                  <a:pt x="176751" y="771631"/>
                </a:cubicBezTo>
                <a:lnTo>
                  <a:pt x="170374" y="766530"/>
                </a:lnTo>
                <a:lnTo>
                  <a:pt x="173107" y="767987"/>
                </a:lnTo>
                <a:cubicBezTo>
                  <a:pt x="167640" y="758876"/>
                  <a:pt x="162174" y="755231"/>
                  <a:pt x="153063" y="749765"/>
                </a:cubicBezTo>
                <a:close/>
                <a:moveTo>
                  <a:pt x="653819" y="749538"/>
                </a:moveTo>
                <a:cubicBezTo>
                  <a:pt x="650061" y="748513"/>
                  <a:pt x="646417" y="748855"/>
                  <a:pt x="643228" y="750221"/>
                </a:cubicBezTo>
                <a:cubicBezTo>
                  <a:pt x="636850" y="752954"/>
                  <a:pt x="632296" y="759787"/>
                  <a:pt x="632296" y="767987"/>
                </a:cubicBezTo>
                <a:cubicBezTo>
                  <a:pt x="632296" y="769809"/>
                  <a:pt x="635939" y="769809"/>
                  <a:pt x="637761" y="771631"/>
                </a:cubicBezTo>
                <a:cubicBezTo>
                  <a:pt x="639583" y="771631"/>
                  <a:pt x="639583" y="769809"/>
                  <a:pt x="639583" y="769809"/>
                </a:cubicBezTo>
                <a:cubicBezTo>
                  <a:pt x="641407" y="775275"/>
                  <a:pt x="645050" y="778920"/>
                  <a:pt x="648694" y="780742"/>
                </a:cubicBezTo>
                <a:cubicBezTo>
                  <a:pt x="643228" y="777098"/>
                  <a:pt x="646872" y="777098"/>
                  <a:pt x="650516" y="777098"/>
                </a:cubicBezTo>
                <a:cubicBezTo>
                  <a:pt x="655983" y="778920"/>
                  <a:pt x="655983" y="788031"/>
                  <a:pt x="659627" y="789853"/>
                </a:cubicBezTo>
                <a:cubicBezTo>
                  <a:pt x="661449" y="789853"/>
                  <a:pt x="661449" y="788031"/>
                  <a:pt x="665094" y="788031"/>
                </a:cubicBezTo>
                <a:cubicBezTo>
                  <a:pt x="666916" y="784386"/>
                  <a:pt x="663272" y="782564"/>
                  <a:pt x="661449" y="780742"/>
                </a:cubicBezTo>
                <a:cubicBezTo>
                  <a:pt x="663272" y="778920"/>
                  <a:pt x="665094" y="777098"/>
                  <a:pt x="668738" y="777098"/>
                </a:cubicBezTo>
                <a:cubicBezTo>
                  <a:pt x="672383" y="780742"/>
                  <a:pt x="665094" y="788031"/>
                  <a:pt x="668738" y="786208"/>
                </a:cubicBezTo>
                <a:cubicBezTo>
                  <a:pt x="668738" y="786208"/>
                  <a:pt x="670560" y="784386"/>
                  <a:pt x="670560" y="784386"/>
                </a:cubicBezTo>
                <a:cubicBezTo>
                  <a:pt x="670560" y="786208"/>
                  <a:pt x="670560" y="789853"/>
                  <a:pt x="670560" y="791675"/>
                </a:cubicBezTo>
                <a:cubicBezTo>
                  <a:pt x="670560" y="798964"/>
                  <a:pt x="674205" y="789853"/>
                  <a:pt x="677849" y="788031"/>
                </a:cubicBezTo>
                <a:cubicBezTo>
                  <a:pt x="677849" y="780742"/>
                  <a:pt x="677849" y="773453"/>
                  <a:pt x="674205" y="766164"/>
                </a:cubicBezTo>
                <a:cubicBezTo>
                  <a:pt x="674205" y="769809"/>
                  <a:pt x="672383" y="771631"/>
                  <a:pt x="672383" y="773453"/>
                </a:cubicBezTo>
                <a:cubicBezTo>
                  <a:pt x="670560" y="767987"/>
                  <a:pt x="668738" y="762520"/>
                  <a:pt x="665094" y="758876"/>
                </a:cubicBezTo>
                <a:cubicBezTo>
                  <a:pt x="663272" y="755231"/>
                  <a:pt x="654161" y="757054"/>
                  <a:pt x="650516" y="753409"/>
                </a:cubicBezTo>
                <a:cubicBezTo>
                  <a:pt x="655983" y="757054"/>
                  <a:pt x="659627" y="757054"/>
                  <a:pt x="665094" y="757054"/>
                </a:cubicBezTo>
                <a:cubicBezTo>
                  <a:pt x="661450" y="752954"/>
                  <a:pt x="657578" y="750563"/>
                  <a:pt x="653819" y="749538"/>
                </a:cubicBezTo>
                <a:close/>
                <a:moveTo>
                  <a:pt x="3340045" y="747943"/>
                </a:moveTo>
                <a:cubicBezTo>
                  <a:pt x="3332756" y="744298"/>
                  <a:pt x="3332756" y="751587"/>
                  <a:pt x="3334579" y="753409"/>
                </a:cubicBezTo>
                <a:cubicBezTo>
                  <a:pt x="3334579" y="755231"/>
                  <a:pt x="3338223" y="751587"/>
                  <a:pt x="3340045" y="749765"/>
                </a:cubicBezTo>
                <a:cubicBezTo>
                  <a:pt x="3341867" y="747943"/>
                  <a:pt x="3334579" y="747943"/>
                  <a:pt x="3340045" y="747943"/>
                </a:cubicBezTo>
                <a:close/>
                <a:moveTo>
                  <a:pt x="2755127" y="747943"/>
                </a:moveTo>
                <a:cubicBezTo>
                  <a:pt x="2753305" y="751587"/>
                  <a:pt x="2751483" y="751587"/>
                  <a:pt x="2749661" y="755231"/>
                </a:cubicBezTo>
                <a:cubicBezTo>
                  <a:pt x="2753305" y="755231"/>
                  <a:pt x="2758772" y="751587"/>
                  <a:pt x="2755127" y="747943"/>
                </a:cubicBezTo>
                <a:close/>
                <a:moveTo>
                  <a:pt x="1403074" y="747943"/>
                </a:moveTo>
                <a:cubicBezTo>
                  <a:pt x="1401252" y="751587"/>
                  <a:pt x="1399430" y="757054"/>
                  <a:pt x="1403074" y="760698"/>
                </a:cubicBezTo>
                <a:cubicBezTo>
                  <a:pt x="1397608" y="762520"/>
                  <a:pt x="1401252" y="766164"/>
                  <a:pt x="1397608" y="767987"/>
                </a:cubicBezTo>
                <a:cubicBezTo>
                  <a:pt x="1401252" y="769809"/>
                  <a:pt x="1403074" y="766164"/>
                  <a:pt x="1406719" y="764342"/>
                </a:cubicBezTo>
                <a:cubicBezTo>
                  <a:pt x="1404896" y="762520"/>
                  <a:pt x="1406719" y="760698"/>
                  <a:pt x="1404896" y="758876"/>
                </a:cubicBezTo>
                <a:cubicBezTo>
                  <a:pt x="1408541" y="758876"/>
                  <a:pt x="1404896" y="764342"/>
                  <a:pt x="1408541" y="764342"/>
                </a:cubicBezTo>
                <a:cubicBezTo>
                  <a:pt x="1414007" y="760698"/>
                  <a:pt x="1412185" y="758876"/>
                  <a:pt x="1417652" y="757054"/>
                </a:cubicBezTo>
                <a:cubicBezTo>
                  <a:pt x="1415829" y="757054"/>
                  <a:pt x="1412185" y="753409"/>
                  <a:pt x="1408541" y="755231"/>
                </a:cubicBezTo>
                <a:cubicBezTo>
                  <a:pt x="1408541" y="751587"/>
                  <a:pt x="1404896" y="751587"/>
                  <a:pt x="1403074" y="747943"/>
                </a:cubicBezTo>
                <a:close/>
                <a:moveTo>
                  <a:pt x="1297388" y="747943"/>
                </a:moveTo>
                <a:cubicBezTo>
                  <a:pt x="1284633" y="746121"/>
                  <a:pt x="1270056" y="751587"/>
                  <a:pt x="1255478" y="753409"/>
                </a:cubicBezTo>
                <a:cubicBezTo>
                  <a:pt x="1251834" y="753409"/>
                  <a:pt x="1250012" y="757054"/>
                  <a:pt x="1250012" y="757054"/>
                </a:cubicBezTo>
                <a:cubicBezTo>
                  <a:pt x="1242723" y="760698"/>
                  <a:pt x="1235434" y="758876"/>
                  <a:pt x="1231790" y="764342"/>
                </a:cubicBezTo>
                <a:cubicBezTo>
                  <a:pt x="1237256" y="767987"/>
                  <a:pt x="1244545" y="767987"/>
                  <a:pt x="1250012" y="769809"/>
                </a:cubicBezTo>
                <a:cubicBezTo>
                  <a:pt x="1251834" y="767987"/>
                  <a:pt x="1251834" y="767987"/>
                  <a:pt x="1251834" y="766164"/>
                </a:cubicBezTo>
                <a:cubicBezTo>
                  <a:pt x="1253656" y="767987"/>
                  <a:pt x="1251834" y="767987"/>
                  <a:pt x="1253656" y="769809"/>
                </a:cubicBezTo>
                <a:cubicBezTo>
                  <a:pt x="1255478" y="767987"/>
                  <a:pt x="1262767" y="766164"/>
                  <a:pt x="1260945" y="762520"/>
                </a:cubicBezTo>
                <a:cubicBezTo>
                  <a:pt x="1260945" y="762520"/>
                  <a:pt x="1262767" y="764342"/>
                  <a:pt x="1262767" y="764342"/>
                </a:cubicBezTo>
                <a:cubicBezTo>
                  <a:pt x="1273700" y="757054"/>
                  <a:pt x="1284633" y="760698"/>
                  <a:pt x="1297388" y="747943"/>
                </a:cubicBezTo>
                <a:close/>
                <a:moveTo>
                  <a:pt x="1147970" y="747943"/>
                </a:moveTo>
                <a:cubicBezTo>
                  <a:pt x="1146148" y="747943"/>
                  <a:pt x="1142503" y="749765"/>
                  <a:pt x="1146148" y="751587"/>
                </a:cubicBezTo>
                <a:cubicBezTo>
                  <a:pt x="1147970" y="749765"/>
                  <a:pt x="1147970" y="751587"/>
                  <a:pt x="1149792" y="749765"/>
                </a:cubicBezTo>
                <a:cubicBezTo>
                  <a:pt x="1149792" y="749765"/>
                  <a:pt x="1147970" y="747943"/>
                  <a:pt x="1147970" y="747943"/>
                </a:cubicBezTo>
                <a:close/>
                <a:moveTo>
                  <a:pt x="1087838" y="747943"/>
                </a:moveTo>
                <a:cubicBezTo>
                  <a:pt x="1086016" y="746121"/>
                  <a:pt x="1082373" y="746121"/>
                  <a:pt x="1078727" y="749765"/>
                </a:cubicBezTo>
                <a:cubicBezTo>
                  <a:pt x="1082373" y="751587"/>
                  <a:pt x="1084194" y="753409"/>
                  <a:pt x="1087838" y="747943"/>
                </a:cubicBezTo>
                <a:close/>
                <a:moveTo>
                  <a:pt x="827267" y="747943"/>
                </a:moveTo>
                <a:cubicBezTo>
                  <a:pt x="829089" y="749765"/>
                  <a:pt x="825445" y="753409"/>
                  <a:pt x="821801" y="758876"/>
                </a:cubicBezTo>
                <a:cubicBezTo>
                  <a:pt x="825445" y="762520"/>
                  <a:pt x="829089" y="760698"/>
                  <a:pt x="832734" y="760698"/>
                </a:cubicBezTo>
                <a:cubicBezTo>
                  <a:pt x="832734" y="762520"/>
                  <a:pt x="825445" y="764342"/>
                  <a:pt x="823623" y="762520"/>
                </a:cubicBezTo>
                <a:cubicBezTo>
                  <a:pt x="819979" y="764342"/>
                  <a:pt x="823623" y="767987"/>
                  <a:pt x="823623" y="769809"/>
                </a:cubicBezTo>
                <a:cubicBezTo>
                  <a:pt x="825445" y="769809"/>
                  <a:pt x="827267" y="767987"/>
                  <a:pt x="829089" y="766164"/>
                </a:cubicBezTo>
                <a:cubicBezTo>
                  <a:pt x="830912" y="766164"/>
                  <a:pt x="827267" y="769809"/>
                  <a:pt x="825445" y="769809"/>
                </a:cubicBezTo>
                <a:cubicBezTo>
                  <a:pt x="827267" y="773453"/>
                  <a:pt x="834556" y="773453"/>
                  <a:pt x="836378" y="777098"/>
                </a:cubicBezTo>
                <a:cubicBezTo>
                  <a:pt x="838200" y="773453"/>
                  <a:pt x="840022" y="767987"/>
                  <a:pt x="834556" y="766164"/>
                </a:cubicBezTo>
                <a:cubicBezTo>
                  <a:pt x="836378" y="766164"/>
                  <a:pt x="838200" y="764342"/>
                  <a:pt x="840022" y="766164"/>
                </a:cubicBezTo>
                <a:cubicBezTo>
                  <a:pt x="836378" y="771631"/>
                  <a:pt x="840022" y="778920"/>
                  <a:pt x="847311" y="778920"/>
                </a:cubicBezTo>
                <a:cubicBezTo>
                  <a:pt x="845489" y="777098"/>
                  <a:pt x="843667" y="775275"/>
                  <a:pt x="841845" y="773453"/>
                </a:cubicBezTo>
                <a:cubicBezTo>
                  <a:pt x="847311" y="773453"/>
                  <a:pt x="847311" y="780742"/>
                  <a:pt x="852778" y="778920"/>
                </a:cubicBezTo>
                <a:cubicBezTo>
                  <a:pt x="850956" y="775275"/>
                  <a:pt x="845489" y="769809"/>
                  <a:pt x="840022" y="766164"/>
                </a:cubicBezTo>
                <a:cubicBezTo>
                  <a:pt x="836378" y="764342"/>
                  <a:pt x="832734" y="753409"/>
                  <a:pt x="827267" y="747943"/>
                </a:cubicBezTo>
                <a:close/>
                <a:moveTo>
                  <a:pt x="803579" y="747943"/>
                </a:moveTo>
                <a:cubicBezTo>
                  <a:pt x="801757" y="749765"/>
                  <a:pt x="807223" y="751587"/>
                  <a:pt x="807223" y="753409"/>
                </a:cubicBezTo>
                <a:cubicBezTo>
                  <a:pt x="810868" y="753409"/>
                  <a:pt x="810868" y="751587"/>
                  <a:pt x="816334" y="747943"/>
                </a:cubicBezTo>
                <a:cubicBezTo>
                  <a:pt x="812690" y="747943"/>
                  <a:pt x="807223" y="747943"/>
                  <a:pt x="803579" y="747943"/>
                </a:cubicBezTo>
                <a:close/>
                <a:moveTo>
                  <a:pt x="759848" y="747943"/>
                </a:moveTo>
                <a:cubicBezTo>
                  <a:pt x="756203" y="753409"/>
                  <a:pt x="765313" y="757054"/>
                  <a:pt x="770781" y="755231"/>
                </a:cubicBezTo>
                <a:cubicBezTo>
                  <a:pt x="767136" y="753409"/>
                  <a:pt x="763491" y="747943"/>
                  <a:pt x="759848" y="747943"/>
                </a:cubicBezTo>
                <a:close/>
                <a:moveTo>
                  <a:pt x="734336" y="747943"/>
                </a:moveTo>
                <a:cubicBezTo>
                  <a:pt x="732515" y="747943"/>
                  <a:pt x="732515" y="749765"/>
                  <a:pt x="730692" y="749765"/>
                </a:cubicBezTo>
                <a:cubicBezTo>
                  <a:pt x="730692" y="749765"/>
                  <a:pt x="732515" y="751587"/>
                  <a:pt x="732515" y="751587"/>
                </a:cubicBezTo>
                <a:cubicBezTo>
                  <a:pt x="732515" y="751587"/>
                  <a:pt x="730692" y="751587"/>
                  <a:pt x="730692" y="751587"/>
                </a:cubicBezTo>
                <a:cubicBezTo>
                  <a:pt x="723404" y="757054"/>
                  <a:pt x="734336" y="764342"/>
                  <a:pt x="743447" y="764342"/>
                </a:cubicBezTo>
                <a:cubicBezTo>
                  <a:pt x="745269" y="762520"/>
                  <a:pt x="739803" y="760698"/>
                  <a:pt x="739803" y="758876"/>
                </a:cubicBezTo>
                <a:cubicBezTo>
                  <a:pt x="743447" y="757054"/>
                  <a:pt x="741626" y="762520"/>
                  <a:pt x="745269" y="762520"/>
                </a:cubicBezTo>
                <a:cubicBezTo>
                  <a:pt x="745269" y="757054"/>
                  <a:pt x="741626" y="755231"/>
                  <a:pt x="736159" y="753409"/>
                </a:cubicBezTo>
                <a:lnTo>
                  <a:pt x="735065" y="750130"/>
                </a:lnTo>
                <a:lnTo>
                  <a:pt x="745269" y="755231"/>
                </a:lnTo>
                <a:cubicBezTo>
                  <a:pt x="745269" y="754320"/>
                  <a:pt x="743902" y="752498"/>
                  <a:pt x="741852" y="751132"/>
                </a:cubicBezTo>
                <a:lnTo>
                  <a:pt x="734983" y="749883"/>
                </a:lnTo>
                <a:close/>
                <a:moveTo>
                  <a:pt x="349858" y="747943"/>
                </a:moveTo>
                <a:cubicBezTo>
                  <a:pt x="355324" y="753409"/>
                  <a:pt x="358969" y="753409"/>
                  <a:pt x="364435" y="755231"/>
                </a:cubicBezTo>
                <a:cubicBezTo>
                  <a:pt x="362613" y="753409"/>
                  <a:pt x="355324" y="747943"/>
                  <a:pt x="349858" y="747943"/>
                </a:cubicBezTo>
                <a:close/>
                <a:moveTo>
                  <a:pt x="273327" y="747943"/>
                </a:moveTo>
                <a:cubicBezTo>
                  <a:pt x="282438" y="755231"/>
                  <a:pt x="293370" y="778920"/>
                  <a:pt x="302481" y="778920"/>
                </a:cubicBezTo>
                <a:cubicBezTo>
                  <a:pt x="298837" y="775275"/>
                  <a:pt x="297015" y="771631"/>
                  <a:pt x="293370" y="769809"/>
                </a:cubicBezTo>
                <a:cubicBezTo>
                  <a:pt x="295193" y="767987"/>
                  <a:pt x="298837" y="775275"/>
                  <a:pt x="300660" y="773453"/>
                </a:cubicBezTo>
                <a:cubicBezTo>
                  <a:pt x="293370" y="758876"/>
                  <a:pt x="284259" y="751587"/>
                  <a:pt x="273327" y="747943"/>
                </a:cubicBezTo>
                <a:close/>
                <a:moveTo>
                  <a:pt x="1395787" y="746121"/>
                </a:moveTo>
                <a:lnTo>
                  <a:pt x="1392141" y="749083"/>
                </a:lnTo>
                <a:lnTo>
                  <a:pt x="1392141" y="747943"/>
                </a:lnTo>
                <a:lnTo>
                  <a:pt x="1391392" y="749691"/>
                </a:lnTo>
                <a:lnTo>
                  <a:pt x="1388497" y="752043"/>
                </a:lnTo>
                <a:cubicBezTo>
                  <a:pt x="1387130" y="754776"/>
                  <a:pt x="1386676" y="757965"/>
                  <a:pt x="1386676" y="760698"/>
                </a:cubicBezTo>
                <a:lnTo>
                  <a:pt x="1391392" y="749691"/>
                </a:lnTo>
                <a:lnTo>
                  <a:pt x="1392141" y="749083"/>
                </a:lnTo>
                <a:lnTo>
                  <a:pt x="1392141" y="751815"/>
                </a:lnTo>
                <a:cubicBezTo>
                  <a:pt x="1391685" y="753410"/>
                  <a:pt x="1391230" y="755232"/>
                  <a:pt x="1392141" y="757054"/>
                </a:cubicBezTo>
                <a:cubicBezTo>
                  <a:pt x="1383030" y="758876"/>
                  <a:pt x="1388497" y="767987"/>
                  <a:pt x="1384854" y="773453"/>
                </a:cubicBezTo>
                <a:cubicBezTo>
                  <a:pt x="1388497" y="773453"/>
                  <a:pt x="1388497" y="769809"/>
                  <a:pt x="1390319" y="771631"/>
                </a:cubicBezTo>
                <a:cubicBezTo>
                  <a:pt x="1395787" y="762520"/>
                  <a:pt x="1401252" y="755231"/>
                  <a:pt x="1395787" y="746121"/>
                </a:cubicBezTo>
                <a:close/>
                <a:moveTo>
                  <a:pt x="1380297" y="746121"/>
                </a:moveTo>
                <a:cubicBezTo>
                  <a:pt x="1377564" y="745665"/>
                  <a:pt x="1374830" y="746121"/>
                  <a:pt x="1372097" y="749765"/>
                </a:cubicBezTo>
                <a:cubicBezTo>
                  <a:pt x="1370275" y="751587"/>
                  <a:pt x="1377564" y="749765"/>
                  <a:pt x="1379386" y="753409"/>
                </a:cubicBezTo>
                <a:cubicBezTo>
                  <a:pt x="1375743" y="755231"/>
                  <a:pt x="1372097" y="753409"/>
                  <a:pt x="1368453" y="753409"/>
                </a:cubicBezTo>
                <a:cubicBezTo>
                  <a:pt x="1366632" y="755231"/>
                  <a:pt x="1362987" y="757054"/>
                  <a:pt x="1364809" y="760698"/>
                </a:cubicBezTo>
                <a:cubicBezTo>
                  <a:pt x="1361164" y="760698"/>
                  <a:pt x="1355698" y="766164"/>
                  <a:pt x="1359342" y="769809"/>
                </a:cubicBezTo>
                <a:cubicBezTo>
                  <a:pt x="1361164" y="767987"/>
                  <a:pt x="1361164" y="767987"/>
                  <a:pt x="1362987" y="766164"/>
                </a:cubicBezTo>
                <a:cubicBezTo>
                  <a:pt x="1366632" y="769809"/>
                  <a:pt x="1357521" y="769809"/>
                  <a:pt x="1357521" y="773453"/>
                </a:cubicBezTo>
                <a:cubicBezTo>
                  <a:pt x="1359342" y="775275"/>
                  <a:pt x="1361164" y="769809"/>
                  <a:pt x="1362987" y="771631"/>
                </a:cubicBezTo>
                <a:cubicBezTo>
                  <a:pt x="1364809" y="773453"/>
                  <a:pt x="1361164" y="773453"/>
                  <a:pt x="1359342" y="775275"/>
                </a:cubicBezTo>
                <a:cubicBezTo>
                  <a:pt x="1361164" y="775275"/>
                  <a:pt x="1362987" y="773453"/>
                  <a:pt x="1364809" y="773453"/>
                </a:cubicBezTo>
                <a:lnTo>
                  <a:pt x="1364809" y="769809"/>
                </a:lnTo>
                <a:cubicBezTo>
                  <a:pt x="1370275" y="773453"/>
                  <a:pt x="1383030" y="767987"/>
                  <a:pt x="1383030" y="760698"/>
                </a:cubicBezTo>
                <a:cubicBezTo>
                  <a:pt x="1383030" y="760698"/>
                  <a:pt x="1384854" y="762520"/>
                  <a:pt x="1384854" y="762520"/>
                </a:cubicBezTo>
                <a:cubicBezTo>
                  <a:pt x="1384854" y="757054"/>
                  <a:pt x="1384854" y="751587"/>
                  <a:pt x="1388497" y="747943"/>
                </a:cubicBezTo>
                <a:cubicBezTo>
                  <a:pt x="1385764" y="747943"/>
                  <a:pt x="1383030" y="746577"/>
                  <a:pt x="1380297" y="746121"/>
                </a:cubicBezTo>
                <a:close/>
                <a:moveTo>
                  <a:pt x="1337476" y="746121"/>
                </a:moveTo>
                <a:lnTo>
                  <a:pt x="1327200" y="752020"/>
                </a:lnTo>
                <a:lnTo>
                  <a:pt x="1328365" y="747943"/>
                </a:lnTo>
                <a:cubicBezTo>
                  <a:pt x="1322899" y="747943"/>
                  <a:pt x="1317432" y="744298"/>
                  <a:pt x="1311966" y="751587"/>
                </a:cubicBezTo>
                <a:lnTo>
                  <a:pt x="1309959" y="753483"/>
                </a:lnTo>
                <a:lnTo>
                  <a:pt x="1295339" y="759332"/>
                </a:lnTo>
                <a:cubicBezTo>
                  <a:pt x="1290555" y="760698"/>
                  <a:pt x="1286455" y="762521"/>
                  <a:pt x="1284633" y="767987"/>
                </a:cubicBezTo>
                <a:lnTo>
                  <a:pt x="1309874" y="753563"/>
                </a:lnTo>
                <a:lnTo>
                  <a:pt x="1299666" y="763203"/>
                </a:lnTo>
                <a:cubicBezTo>
                  <a:pt x="1293289" y="765709"/>
                  <a:pt x="1286455" y="767987"/>
                  <a:pt x="1284633" y="773453"/>
                </a:cubicBezTo>
                <a:cubicBezTo>
                  <a:pt x="1288277" y="777098"/>
                  <a:pt x="1291922" y="773453"/>
                  <a:pt x="1295566" y="771631"/>
                </a:cubicBezTo>
                <a:cubicBezTo>
                  <a:pt x="1295566" y="771631"/>
                  <a:pt x="1293744" y="773453"/>
                  <a:pt x="1293744" y="773453"/>
                </a:cubicBezTo>
                <a:cubicBezTo>
                  <a:pt x="1297388" y="775275"/>
                  <a:pt x="1304677" y="777098"/>
                  <a:pt x="1306499" y="773453"/>
                </a:cubicBezTo>
                <a:cubicBezTo>
                  <a:pt x="1308321" y="775275"/>
                  <a:pt x="1317432" y="775275"/>
                  <a:pt x="1321077" y="773453"/>
                </a:cubicBezTo>
                <a:lnTo>
                  <a:pt x="1322362" y="768952"/>
                </a:lnTo>
                <a:lnTo>
                  <a:pt x="1326543" y="766164"/>
                </a:lnTo>
                <a:cubicBezTo>
                  <a:pt x="1328365" y="764342"/>
                  <a:pt x="1328365" y="767987"/>
                  <a:pt x="1326543" y="767987"/>
                </a:cubicBezTo>
                <a:cubicBezTo>
                  <a:pt x="1328365" y="769809"/>
                  <a:pt x="1330188" y="767987"/>
                  <a:pt x="1332009" y="766164"/>
                </a:cubicBezTo>
                <a:cubicBezTo>
                  <a:pt x="1332009" y="764342"/>
                  <a:pt x="1330188" y="764342"/>
                  <a:pt x="1330188" y="764342"/>
                </a:cubicBezTo>
                <a:cubicBezTo>
                  <a:pt x="1335654" y="760698"/>
                  <a:pt x="1339299" y="757054"/>
                  <a:pt x="1339299" y="753409"/>
                </a:cubicBezTo>
                <a:cubicBezTo>
                  <a:pt x="1337476" y="757054"/>
                  <a:pt x="1337476" y="762520"/>
                  <a:pt x="1335654" y="766164"/>
                </a:cubicBezTo>
                <a:lnTo>
                  <a:pt x="1341207" y="765570"/>
                </a:lnTo>
                <a:lnTo>
                  <a:pt x="1337476" y="769809"/>
                </a:lnTo>
                <a:cubicBezTo>
                  <a:pt x="1339299" y="773453"/>
                  <a:pt x="1346587" y="767987"/>
                  <a:pt x="1350231" y="762520"/>
                </a:cubicBezTo>
                <a:lnTo>
                  <a:pt x="1344372" y="763727"/>
                </a:lnTo>
                <a:lnTo>
                  <a:pt x="1348410" y="760698"/>
                </a:lnTo>
                <a:cubicBezTo>
                  <a:pt x="1348410" y="757054"/>
                  <a:pt x="1342942" y="753409"/>
                  <a:pt x="1346587" y="751587"/>
                </a:cubicBezTo>
                <a:cubicBezTo>
                  <a:pt x="1344765" y="749765"/>
                  <a:pt x="1342942" y="749765"/>
                  <a:pt x="1341120" y="747943"/>
                </a:cubicBezTo>
                <a:cubicBezTo>
                  <a:pt x="1339299" y="747943"/>
                  <a:pt x="1339299" y="749765"/>
                  <a:pt x="1339299" y="749765"/>
                </a:cubicBezTo>
                <a:cubicBezTo>
                  <a:pt x="1335654" y="751587"/>
                  <a:pt x="1339299" y="747943"/>
                  <a:pt x="1337476" y="746121"/>
                </a:cubicBezTo>
                <a:close/>
                <a:moveTo>
                  <a:pt x="1308321" y="746121"/>
                </a:moveTo>
                <a:cubicBezTo>
                  <a:pt x="1302855" y="744298"/>
                  <a:pt x="1295566" y="751587"/>
                  <a:pt x="1290100" y="757054"/>
                </a:cubicBezTo>
                <a:cubicBezTo>
                  <a:pt x="1297388" y="758876"/>
                  <a:pt x="1304677" y="751587"/>
                  <a:pt x="1308321" y="746121"/>
                </a:cubicBezTo>
                <a:close/>
                <a:moveTo>
                  <a:pt x="719759" y="746121"/>
                </a:moveTo>
                <a:lnTo>
                  <a:pt x="720153" y="749864"/>
                </a:lnTo>
                <a:lnTo>
                  <a:pt x="719759" y="749765"/>
                </a:lnTo>
                <a:lnTo>
                  <a:pt x="720172" y="750040"/>
                </a:lnTo>
                <a:lnTo>
                  <a:pt x="720214" y="750449"/>
                </a:lnTo>
                <a:cubicBezTo>
                  <a:pt x="721125" y="751587"/>
                  <a:pt x="722492" y="752498"/>
                  <a:pt x="723404" y="753409"/>
                </a:cubicBezTo>
                <a:cubicBezTo>
                  <a:pt x="723404" y="753409"/>
                  <a:pt x="725226" y="753409"/>
                  <a:pt x="727048" y="751587"/>
                </a:cubicBezTo>
                <a:lnTo>
                  <a:pt x="723211" y="750628"/>
                </a:lnTo>
                <a:lnTo>
                  <a:pt x="725226" y="747943"/>
                </a:lnTo>
                <a:cubicBezTo>
                  <a:pt x="723404" y="747943"/>
                  <a:pt x="721581" y="747943"/>
                  <a:pt x="719759" y="746121"/>
                </a:cubicBezTo>
                <a:close/>
                <a:moveTo>
                  <a:pt x="692426" y="746121"/>
                </a:moveTo>
                <a:lnTo>
                  <a:pt x="692914" y="746300"/>
                </a:lnTo>
                <a:lnTo>
                  <a:pt x="692367" y="747121"/>
                </a:lnTo>
                <a:close/>
                <a:moveTo>
                  <a:pt x="606784" y="746121"/>
                </a:moveTo>
                <a:cubicBezTo>
                  <a:pt x="606784" y="744298"/>
                  <a:pt x="603140" y="746121"/>
                  <a:pt x="601318" y="747943"/>
                </a:cubicBezTo>
                <a:cubicBezTo>
                  <a:pt x="601318" y="749765"/>
                  <a:pt x="606784" y="751587"/>
                  <a:pt x="608606" y="755231"/>
                </a:cubicBezTo>
                <a:cubicBezTo>
                  <a:pt x="608606" y="751587"/>
                  <a:pt x="606784" y="749765"/>
                  <a:pt x="606784" y="746121"/>
                </a:cubicBezTo>
                <a:close/>
                <a:moveTo>
                  <a:pt x="530253" y="746121"/>
                </a:moveTo>
                <a:cubicBezTo>
                  <a:pt x="528431" y="747943"/>
                  <a:pt x="529342" y="749310"/>
                  <a:pt x="530937" y="750676"/>
                </a:cubicBezTo>
                <a:lnTo>
                  <a:pt x="532103" y="751787"/>
                </a:lnTo>
                <a:lnTo>
                  <a:pt x="532758" y="756598"/>
                </a:lnTo>
                <a:cubicBezTo>
                  <a:pt x="533897" y="758421"/>
                  <a:pt x="535719" y="759787"/>
                  <a:pt x="537542" y="758876"/>
                </a:cubicBezTo>
                <a:lnTo>
                  <a:pt x="532531" y="752195"/>
                </a:lnTo>
                <a:lnTo>
                  <a:pt x="535719" y="755231"/>
                </a:lnTo>
                <a:cubicBezTo>
                  <a:pt x="539364" y="751587"/>
                  <a:pt x="532075" y="749765"/>
                  <a:pt x="530253" y="746121"/>
                </a:cubicBezTo>
                <a:close/>
                <a:moveTo>
                  <a:pt x="515676" y="746121"/>
                </a:moveTo>
                <a:cubicBezTo>
                  <a:pt x="513853" y="747943"/>
                  <a:pt x="515676" y="755231"/>
                  <a:pt x="519320" y="757054"/>
                </a:cubicBezTo>
                <a:cubicBezTo>
                  <a:pt x="522964" y="753409"/>
                  <a:pt x="517498" y="749765"/>
                  <a:pt x="515676" y="746121"/>
                </a:cubicBezTo>
                <a:close/>
                <a:moveTo>
                  <a:pt x="271504" y="746121"/>
                </a:moveTo>
                <a:cubicBezTo>
                  <a:pt x="271504" y="747943"/>
                  <a:pt x="276971" y="755231"/>
                  <a:pt x="278793" y="755231"/>
                </a:cubicBezTo>
                <a:cubicBezTo>
                  <a:pt x="276971" y="753409"/>
                  <a:pt x="273327" y="749765"/>
                  <a:pt x="271504" y="746121"/>
                </a:cubicBezTo>
                <a:close/>
                <a:moveTo>
                  <a:pt x="1397608" y="744298"/>
                </a:moveTo>
                <a:cubicBezTo>
                  <a:pt x="1399430" y="746121"/>
                  <a:pt x="1397608" y="749765"/>
                  <a:pt x="1401252" y="749765"/>
                </a:cubicBezTo>
                <a:cubicBezTo>
                  <a:pt x="1401252" y="747943"/>
                  <a:pt x="1401252" y="746121"/>
                  <a:pt x="1401252" y="744298"/>
                </a:cubicBezTo>
                <a:cubicBezTo>
                  <a:pt x="1399430" y="744298"/>
                  <a:pt x="1399430" y="744298"/>
                  <a:pt x="1397608" y="744298"/>
                </a:cubicBezTo>
                <a:close/>
                <a:moveTo>
                  <a:pt x="1352053" y="744298"/>
                </a:moveTo>
                <a:cubicBezTo>
                  <a:pt x="1353876" y="746121"/>
                  <a:pt x="1355698" y="742476"/>
                  <a:pt x="1357521" y="744298"/>
                </a:cubicBezTo>
                <a:cubicBezTo>
                  <a:pt x="1357521" y="747943"/>
                  <a:pt x="1352053" y="747943"/>
                  <a:pt x="1352053" y="744298"/>
                </a:cubicBezTo>
                <a:close/>
                <a:moveTo>
                  <a:pt x="1175303" y="744298"/>
                </a:moveTo>
                <a:cubicBezTo>
                  <a:pt x="1171658" y="746121"/>
                  <a:pt x="1175303" y="747943"/>
                  <a:pt x="1175303" y="749765"/>
                </a:cubicBezTo>
                <a:cubicBezTo>
                  <a:pt x="1177125" y="749765"/>
                  <a:pt x="1178947" y="747943"/>
                  <a:pt x="1180769" y="746121"/>
                </a:cubicBezTo>
                <a:cubicBezTo>
                  <a:pt x="1178947" y="744298"/>
                  <a:pt x="1177125" y="744298"/>
                  <a:pt x="1175303" y="744298"/>
                </a:cubicBezTo>
                <a:close/>
                <a:moveTo>
                  <a:pt x="1137037" y="744298"/>
                </a:moveTo>
                <a:cubicBezTo>
                  <a:pt x="1135215" y="746121"/>
                  <a:pt x="1131570" y="747943"/>
                  <a:pt x="1127926" y="749765"/>
                </a:cubicBezTo>
                <a:cubicBezTo>
                  <a:pt x="1133393" y="749765"/>
                  <a:pt x="1137037" y="751587"/>
                  <a:pt x="1142503" y="749765"/>
                </a:cubicBezTo>
                <a:cubicBezTo>
                  <a:pt x="1140681" y="747943"/>
                  <a:pt x="1138859" y="746121"/>
                  <a:pt x="1137037" y="744298"/>
                </a:cubicBezTo>
                <a:close/>
                <a:moveTo>
                  <a:pt x="916555" y="744298"/>
                </a:moveTo>
                <a:cubicBezTo>
                  <a:pt x="914732" y="746121"/>
                  <a:pt x="914732" y="746121"/>
                  <a:pt x="912909" y="747943"/>
                </a:cubicBezTo>
                <a:cubicBezTo>
                  <a:pt x="914732" y="749765"/>
                  <a:pt x="920198" y="746121"/>
                  <a:pt x="916555" y="744298"/>
                </a:cubicBezTo>
                <a:close/>
                <a:moveTo>
                  <a:pt x="909265" y="744298"/>
                </a:moveTo>
                <a:cubicBezTo>
                  <a:pt x="905621" y="746121"/>
                  <a:pt x="907444" y="746121"/>
                  <a:pt x="905621" y="747943"/>
                </a:cubicBezTo>
                <a:cubicBezTo>
                  <a:pt x="907444" y="749765"/>
                  <a:pt x="909265" y="744298"/>
                  <a:pt x="909265" y="744298"/>
                </a:cubicBezTo>
                <a:close/>
                <a:moveTo>
                  <a:pt x="557586" y="744298"/>
                </a:moveTo>
                <a:cubicBezTo>
                  <a:pt x="552119" y="746121"/>
                  <a:pt x="553941" y="751587"/>
                  <a:pt x="552119" y="755231"/>
                </a:cubicBezTo>
                <a:cubicBezTo>
                  <a:pt x="555763" y="755231"/>
                  <a:pt x="555763" y="747943"/>
                  <a:pt x="557586" y="744298"/>
                </a:cubicBezTo>
                <a:close/>
                <a:moveTo>
                  <a:pt x="362613" y="744298"/>
                </a:moveTo>
                <a:cubicBezTo>
                  <a:pt x="366257" y="746121"/>
                  <a:pt x="368079" y="747943"/>
                  <a:pt x="369902" y="747943"/>
                </a:cubicBezTo>
                <a:cubicBezTo>
                  <a:pt x="371724" y="747943"/>
                  <a:pt x="364435" y="742476"/>
                  <a:pt x="362613" y="744298"/>
                </a:cubicBezTo>
                <a:close/>
                <a:moveTo>
                  <a:pt x="3230715" y="742476"/>
                </a:moveTo>
                <a:cubicBezTo>
                  <a:pt x="3227071" y="742476"/>
                  <a:pt x="3225248" y="742476"/>
                  <a:pt x="3223426" y="744298"/>
                </a:cubicBezTo>
                <a:cubicBezTo>
                  <a:pt x="3223426" y="746121"/>
                  <a:pt x="3225248" y="747943"/>
                  <a:pt x="3225248" y="749765"/>
                </a:cubicBezTo>
                <a:cubicBezTo>
                  <a:pt x="3227071" y="747943"/>
                  <a:pt x="3228893" y="746121"/>
                  <a:pt x="3230715" y="742476"/>
                </a:cubicBezTo>
                <a:close/>
                <a:moveTo>
                  <a:pt x="1434051" y="742476"/>
                </a:moveTo>
                <a:cubicBezTo>
                  <a:pt x="1424940" y="744298"/>
                  <a:pt x="1414007" y="749765"/>
                  <a:pt x="1404896" y="746121"/>
                </a:cubicBezTo>
                <a:cubicBezTo>
                  <a:pt x="1408541" y="751587"/>
                  <a:pt x="1419474" y="757054"/>
                  <a:pt x="1419474" y="747943"/>
                </a:cubicBezTo>
                <a:cubicBezTo>
                  <a:pt x="1419474" y="747943"/>
                  <a:pt x="1421296" y="749765"/>
                  <a:pt x="1421296" y="749765"/>
                </a:cubicBezTo>
                <a:cubicBezTo>
                  <a:pt x="1419474" y="749765"/>
                  <a:pt x="1419474" y="747943"/>
                  <a:pt x="1417652" y="749765"/>
                </a:cubicBezTo>
                <a:cubicBezTo>
                  <a:pt x="1417652" y="751587"/>
                  <a:pt x="1419474" y="755231"/>
                  <a:pt x="1421296" y="755231"/>
                </a:cubicBezTo>
                <a:cubicBezTo>
                  <a:pt x="1421296" y="753409"/>
                  <a:pt x="1421296" y="753409"/>
                  <a:pt x="1421296" y="751587"/>
                </a:cubicBezTo>
                <a:cubicBezTo>
                  <a:pt x="1423118" y="751587"/>
                  <a:pt x="1423118" y="751587"/>
                  <a:pt x="1424940" y="751587"/>
                </a:cubicBezTo>
                <a:cubicBezTo>
                  <a:pt x="1424940" y="753409"/>
                  <a:pt x="1424940" y="755231"/>
                  <a:pt x="1426763" y="755231"/>
                </a:cubicBezTo>
                <a:cubicBezTo>
                  <a:pt x="1430407" y="755231"/>
                  <a:pt x="1426763" y="753409"/>
                  <a:pt x="1428585" y="751587"/>
                </a:cubicBezTo>
                <a:cubicBezTo>
                  <a:pt x="1430407" y="751587"/>
                  <a:pt x="1430407" y="753409"/>
                  <a:pt x="1430407" y="755231"/>
                </a:cubicBezTo>
                <a:cubicBezTo>
                  <a:pt x="1434051" y="753409"/>
                  <a:pt x="1437696" y="751587"/>
                  <a:pt x="1439518" y="747943"/>
                </a:cubicBezTo>
                <a:cubicBezTo>
                  <a:pt x="1437696" y="746121"/>
                  <a:pt x="1435873" y="744298"/>
                  <a:pt x="1434051" y="742476"/>
                </a:cubicBezTo>
                <a:close/>
                <a:moveTo>
                  <a:pt x="1364809" y="742476"/>
                </a:moveTo>
                <a:cubicBezTo>
                  <a:pt x="1361164" y="740654"/>
                  <a:pt x="1355698" y="744298"/>
                  <a:pt x="1359342" y="747943"/>
                </a:cubicBezTo>
                <a:cubicBezTo>
                  <a:pt x="1361164" y="746121"/>
                  <a:pt x="1361164" y="747943"/>
                  <a:pt x="1361164" y="747943"/>
                </a:cubicBezTo>
                <a:cubicBezTo>
                  <a:pt x="1364809" y="746121"/>
                  <a:pt x="1362987" y="744298"/>
                  <a:pt x="1364809" y="742476"/>
                </a:cubicBezTo>
                <a:close/>
                <a:moveTo>
                  <a:pt x="1211747" y="742476"/>
                </a:moveTo>
                <a:cubicBezTo>
                  <a:pt x="1208102" y="740654"/>
                  <a:pt x="1200814" y="746121"/>
                  <a:pt x="1202636" y="749765"/>
                </a:cubicBezTo>
                <a:cubicBezTo>
                  <a:pt x="1206279" y="746121"/>
                  <a:pt x="1208102" y="751587"/>
                  <a:pt x="1211747" y="746121"/>
                </a:cubicBezTo>
                <a:cubicBezTo>
                  <a:pt x="1211747" y="744298"/>
                  <a:pt x="1211747" y="744298"/>
                  <a:pt x="1211747" y="742476"/>
                </a:cubicBezTo>
                <a:close/>
                <a:moveTo>
                  <a:pt x="1142503" y="742476"/>
                </a:moveTo>
                <a:cubicBezTo>
                  <a:pt x="1140681" y="744298"/>
                  <a:pt x="1144326" y="746121"/>
                  <a:pt x="1144326" y="747943"/>
                </a:cubicBezTo>
                <a:cubicBezTo>
                  <a:pt x="1144326" y="747943"/>
                  <a:pt x="1146148" y="746121"/>
                  <a:pt x="1146148" y="746121"/>
                </a:cubicBezTo>
                <a:cubicBezTo>
                  <a:pt x="1144326" y="744298"/>
                  <a:pt x="1144326" y="744298"/>
                  <a:pt x="1142503" y="742476"/>
                </a:cubicBezTo>
                <a:close/>
                <a:moveTo>
                  <a:pt x="506565" y="742476"/>
                </a:moveTo>
                <a:cubicBezTo>
                  <a:pt x="501098" y="746121"/>
                  <a:pt x="508387" y="747943"/>
                  <a:pt x="508387" y="749765"/>
                </a:cubicBezTo>
                <a:cubicBezTo>
                  <a:pt x="510209" y="747943"/>
                  <a:pt x="506565" y="744298"/>
                  <a:pt x="506565" y="742476"/>
                </a:cubicBezTo>
                <a:close/>
                <a:moveTo>
                  <a:pt x="375368" y="742476"/>
                </a:moveTo>
                <a:cubicBezTo>
                  <a:pt x="375368" y="744298"/>
                  <a:pt x="377190" y="749765"/>
                  <a:pt x="380835" y="747943"/>
                </a:cubicBezTo>
                <a:cubicBezTo>
                  <a:pt x="380835" y="744298"/>
                  <a:pt x="377190" y="744298"/>
                  <a:pt x="375368" y="742476"/>
                </a:cubicBezTo>
                <a:close/>
                <a:moveTo>
                  <a:pt x="3522263" y="740654"/>
                </a:moveTo>
                <a:cubicBezTo>
                  <a:pt x="3511330" y="740654"/>
                  <a:pt x="3504041" y="744298"/>
                  <a:pt x="3498574" y="749765"/>
                </a:cubicBezTo>
                <a:cubicBezTo>
                  <a:pt x="3502219" y="747943"/>
                  <a:pt x="3505863" y="749765"/>
                  <a:pt x="3509507" y="749765"/>
                </a:cubicBezTo>
                <a:cubicBezTo>
                  <a:pt x="3505863" y="753409"/>
                  <a:pt x="3500397" y="749765"/>
                  <a:pt x="3494930" y="749765"/>
                </a:cubicBezTo>
                <a:cubicBezTo>
                  <a:pt x="3494930" y="751587"/>
                  <a:pt x="3494930" y="757054"/>
                  <a:pt x="3498574" y="757054"/>
                </a:cubicBezTo>
                <a:cubicBezTo>
                  <a:pt x="3498574" y="758876"/>
                  <a:pt x="3496752" y="758876"/>
                  <a:pt x="3496752" y="760698"/>
                </a:cubicBezTo>
                <a:cubicBezTo>
                  <a:pt x="3494930" y="758876"/>
                  <a:pt x="3494930" y="758876"/>
                  <a:pt x="3493108" y="758876"/>
                </a:cubicBezTo>
                <a:cubicBezTo>
                  <a:pt x="3491286" y="758876"/>
                  <a:pt x="3489463" y="751587"/>
                  <a:pt x="3491286" y="751587"/>
                </a:cubicBezTo>
                <a:cubicBezTo>
                  <a:pt x="3478530" y="755231"/>
                  <a:pt x="3462131" y="766164"/>
                  <a:pt x="3456664" y="778920"/>
                </a:cubicBezTo>
                <a:cubicBezTo>
                  <a:pt x="3454842" y="778920"/>
                  <a:pt x="3454842" y="780742"/>
                  <a:pt x="3453020" y="780742"/>
                </a:cubicBezTo>
                <a:cubicBezTo>
                  <a:pt x="3453020" y="788031"/>
                  <a:pt x="3462131" y="786208"/>
                  <a:pt x="3467597" y="788031"/>
                </a:cubicBezTo>
                <a:cubicBezTo>
                  <a:pt x="3467597" y="791675"/>
                  <a:pt x="3469419" y="793497"/>
                  <a:pt x="3469419" y="797141"/>
                </a:cubicBezTo>
                <a:cubicBezTo>
                  <a:pt x="3478530" y="788031"/>
                  <a:pt x="3463953" y="784386"/>
                  <a:pt x="3456664" y="778920"/>
                </a:cubicBezTo>
                <a:cubicBezTo>
                  <a:pt x="3456664" y="778920"/>
                  <a:pt x="3460309" y="778920"/>
                  <a:pt x="3460309" y="780742"/>
                </a:cubicBezTo>
                <a:cubicBezTo>
                  <a:pt x="3469419" y="777098"/>
                  <a:pt x="3469419" y="778920"/>
                  <a:pt x="3476708" y="780742"/>
                </a:cubicBezTo>
                <a:cubicBezTo>
                  <a:pt x="3475342" y="777554"/>
                  <a:pt x="3475683" y="775390"/>
                  <a:pt x="3477079" y="773852"/>
                </a:cubicBezTo>
                <a:lnTo>
                  <a:pt x="3480093" y="772441"/>
                </a:lnTo>
                <a:lnTo>
                  <a:pt x="3476253" y="784387"/>
                </a:lnTo>
                <a:cubicBezTo>
                  <a:pt x="3474886" y="788487"/>
                  <a:pt x="3473975" y="792586"/>
                  <a:pt x="3474886" y="797141"/>
                </a:cubicBezTo>
                <a:cubicBezTo>
                  <a:pt x="3476708" y="793497"/>
                  <a:pt x="3478530" y="795319"/>
                  <a:pt x="3480353" y="795319"/>
                </a:cubicBezTo>
                <a:cubicBezTo>
                  <a:pt x="3480353" y="800786"/>
                  <a:pt x="3482175" y="804430"/>
                  <a:pt x="3487641" y="802608"/>
                </a:cubicBezTo>
                <a:cubicBezTo>
                  <a:pt x="3485819" y="798964"/>
                  <a:pt x="3485819" y="795319"/>
                  <a:pt x="3487641" y="791675"/>
                </a:cubicBezTo>
                <a:cubicBezTo>
                  <a:pt x="3489463" y="806252"/>
                  <a:pt x="3502219" y="804430"/>
                  <a:pt x="3513152" y="806252"/>
                </a:cubicBezTo>
                <a:cubicBezTo>
                  <a:pt x="3513152" y="798964"/>
                  <a:pt x="3516796" y="802608"/>
                  <a:pt x="3522263" y="800786"/>
                </a:cubicBezTo>
                <a:cubicBezTo>
                  <a:pt x="3520440" y="800786"/>
                  <a:pt x="3520440" y="800786"/>
                  <a:pt x="3518618" y="798964"/>
                </a:cubicBezTo>
                <a:cubicBezTo>
                  <a:pt x="3522263" y="797141"/>
                  <a:pt x="3527729" y="798964"/>
                  <a:pt x="3533196" y="800786"/>
                </a:cubicBezTo>
                <a:cubicBezTo>
                  <a:pt x="3529551" y="793497"/>
                  <a:pt x="3524085" y="793497"/>
                  <a:pt x="3516796" y="795319"/>
                </a:cubicBezTo>
                <a:cubicBezTo>
                  <a:pt x="3516796" y="786208"/>
                  <a:pt x="3511330" y="780742"/>
                  <a:pt x="3505863" y="773453"/>
                </a:cubicBezTo>
                <a:cubicBezTo>
                  <a:pt x="3505863" y="771631"/>
                  <a:pt x="3500397" y="773453"/>
                  <a:pt x="3498574" y="773453"/>
                </a:cubicBezTo>
                <a:cubicBezTo>
                  <a:pt x="3498574" y="775275"/>
                  <a:pt x="3500397" y="775275"/>
                  <a:pt x="3500397" y="777098"/>
                </a:cubicBezTo>
                <a:cubicBezTo>
                  <a:pt x="3500397" y="778920"/>
                  <a:pt x="3496752" y="775275"/>
                  <a:pt x="3496752" y="778920"/>
                </a:cubicBezTo>
                <a:cubicBezTo>
                  <a:pt x="3494019" y="777098"/>
                  <a:pt x="3492197" y="774820"/>
                  <a:pt x="3489919" y="773226"/>
                </a:cubicBezTo>
                <a:lnTo>
                  <a:pt x="3481437" y="771812"/>
                </a:lnTo>
                <a:lnTo>
                  <a:pt x="3483770" y="770720"/>
                </a:lnTo>
                <a:cubicBezTo>
                  <a:pt x="3489464" y="769354"/>
                  <a:pt x="3496753" y="768898"/>
                  <a:pt x="3500397" y="766164"/>
                </a:cubicBezTo>
                <a:cubicBezTo>
                  <a:pt x="3504041" y="767987"/>
                  <a:pt x="3505863" y="771631"/>
                  <a:pt x="3509507" y="775275"/>
                </a:cubicBezTo>
                <a:cubicBezTo>
                  <a:pt x="3513152" y="775275"/>
                  <a:pt x="3513152" y="773453"/>
                  <a:pt x="3514974" y="773453"/>
                </a:cubicBezTo>
                <a:cubicBezTo>
                  <a:pt x="3522263" y="775275"/>
                  <a:pt x="3520440" y="786208"/>
                  <a:pt x="3525907" y="791675"/>
                </a:cubicBezTo>
                <a:cubicBezTo>
                  <a:pt x="3529551" y="791675"/>
                  <a:pt x="3527729" y="789853"/>
                  <a:pt x="3529551" y="788031"/>
                </a:cubicBezTo>
                <a:cubicBezTo>
                  <a:pt x="3533196" y="788031"/>
                  <a:pt x="3533196" y="789853"/>
                  <a:pt x="3535018" y="791675"/>
                </a:cubicBezTo>
                <a:cubicBezTo>
                  <a:pt x="3536840" y="786208"/>
                  <a:pt x="3536840" y="769809"/>
                  <a:pt x="3527729" y="769809"/>
                </a:cubicBezTo>
                <a:cubicBezTo>
                  <a:pt x="3531374" y="766164"/>
                  <a:pt x="3527729" y="758876"/>
                  <a:pt x="3524085" y="757054"/>
                </a:cubicBezTo>
                <a:cubicBezTo>
                  <a:pt x="3520440" y="757054"/>
                  <a:pt x="3522263" y="758876"/>
                  <a:pt x="3522263" y="760698"/>
                </a:cubicBezTo>
                <a:cubicBezTo>
                  <a:pt x="3518618" y="760698"/>
                  <a:pt x="3520440" y="753409"/>
                  <a:pt x="3516796" y="751587"/>
                </a:cubicBezTo>
                <a:cubicBezTo>
                  <a:pt x="3522263" y="749765"/>
                  <a:pt x="3525907" y="746121"/>
                  <a:pt x="3522263" y="740654"/>
                </a:cubicBezTo>
                <a:close/>
                <a:moveTo>
                  <a:pt x="2314161" y="740654"/>
                </a:moveTo>
                <a:cubicBezTo>
                  <a:pt x="2310517" y="742476"/>
                  <a:pt x="2312339" y="753409"/>
                  <a:pt x="2315983" y="751587"/>
                </a:cubicBezTo>
                <a:cubicBezTo>
                  <a:pt x="2315983" y="746121"/>
                  <a:pt x="2315983" y="742476"/>
                  <a:pt x="2314161" y="740654"/>
                </a:cubicBezTo>
                <a:close/>
                <a:moveTo>
                  <a:pt x="1240901" y="740654"/>
                </a:moveTo>
                <a:cubicBezTo>
                  <a:pt x="1237256" y="738832"/>
                  <a:pt x="1233612" y="744298"/>
                  <a:pt x="1229969" y="744298"/>
                </a:cubicBezTo>
                <a:cubicBezTo>
                  <a:pt x="1231790" y="746121"/>
                  <a:pt x="1237256" y="744298"/>
                  <a:pt x="1240901" y="740654"/>
                </a:cubicBezTo>
                <a:close/>
                <a:moveTo>
                  <a:pt x="1024062" y="740654"/>
                </a:moveTo>
                <a:cubicBezTo>
                  <a:pt x="1018596" y="742476"/>
                  <a:pt x="1014951" y="747943"/>
                  <a:pt x="1018596" y="749765"/>
                </a:cubicBezTo>
                <a:cubicBezTo>
                  <a:pt x="1024062" y="749765"/>
                  <a:pt x="1022240" y="742476"/>
                  <a:pt x="1024062" y="740654"/>
                </a:cubicBezTo>
                <a:close/>
                <a:moveTo>
                  <a:pt x="880111" y="740654"/>
                </a:moveTo>
                <a:cubicBezTo>
                  <a:pt x="881933" y="744298"/>
                  <a:pt x="885577" y="747943"/>
                  <a:pt x="889222" y="751587"/>
                </a:cubicBezTo>
                <a:cubicBezTo>
                  <a:pt x="896510" y="747943"/>
                  <a:pt x="887399" y="742476"/>
                  <a:pt x="880111" y="740654"/>
                </a:cubicBezTo>
                <a:close/>
                <a:moveTo>
                  <a:pt x="805401" y="740654"/>
                </a:moveTo>
                <a:cubicBezTo>
                  <a:pt x="801757" y="742476"/>
                  <a:pt x="803579" y="744298"/>
                  <a:pt x="801757" y="746121"/>
                </a:cubicBezTo>
                <a:cubicBezTo>
                  <a:pt x="805401" y="746121"/>
                  <a:pt x="809046" y="747943"/>
                  <a:pt x="812690" y="746121"/>
                </a:cubicBezTo>
                <a:cubicBezTo>
                  <a:pt x="810868" y="744298"/>
                  <a:pt x="809046" y="740654"/>
                  <a:pt x="805401" y="740654"/>
                </a:cubicBezTo>
                <a:close/>
                <a:moveTo>
                  <a:pt x="747092" y="740654"/>
                </a:moveTo>
                <a:cubicBezTo>
                  <a:pt x="745269" y="744298"/>
                  <a:pt x="754380" y="747943"/>
                  <a:pt x="754380" y="751587"/>
                </a:cubicBezTo>
                <a:cubicBezTo>
                  <a:pt x="759848" y="746121"/>
                  <a:pt x="754380" y="740654"/>
                  <a:pt x="747092" y="740654"/>
                </a:cubicBezTo>
                <a:close/>
                <a:moveTo>
                  <a:pt x="561230" y="740654"/>
                </a:moveTo>
                <a:cubicBezTo>
                  <a:pt x="555763" y="742476"/>
                  <a:pt x="561230" y="744298"/>
                  <a:pt x="563052" y="746121"/>
                </a:cubicBezTo>
                <a:cubicBezTo>
                  <a:pt x="564874" y="744298"/>
                  <a:pt x="563052" y="742476"/>
                  <a:pt x="561230" y="740654"/>
                </a:cubicBezTo>
                <a:close/>
                <a:moveTo>
                  <a:pt x="428211" y="740654"/>
                </a:moveTo>
                <a:cubicBezTo>
                  <a:pt x="433678" y="753409"/>
                  <a:pt x="442789" y="766164"/>
                  <a:pt x="450077" y="777098"/>
                </a:cubicBezTo>
                <a:cubicBezTo>
                  <a:pt x="450077" y="767987"/>
                  <a:pt x="444611" y="758876"/>
                  <a:pt x="444611" y="747943"/>
                </a:cubicBezTo>
                <a:cubicBezTo>
                  <a:pt x="439145" y="746121"/>
                  <a:pt x="433678" y="744298"/>
                  <a:pt x="428211" y="740654"/>
                </a:cubicBezTo>
                <a:close/>
                <a:moveTo>
                  <a:pt x="140308" y="740654"/>
                </a:moveTo>
                <a:cubicBezTo>
                  <a:pt x="143952" y="747943"/>
                  <a:pt x="153063" y="755231"/>
                  <a:pt x="160352" y="764342"/>
                </a:cubicBezTo>
                <a:cubicBezTo>
                  <a:pt x="160352" y="758876"/>
                  <a:pt x="151241" y="753409"/>
                  <a:pt x="151241" y="749765"/>
                </a:cubicBezTo>
                <a:cubicBezTo>
                  <a:pt x="156707" y="757054"/>
                  <a:pt x="153063" y="749765"/>
                  <a:pt x="149419" y="746121"/>
                </a:cubicBezTo>
                <a:cubicBezTo>
                  <a:pt x="145774" y="742476"/>
                  <a:pt x="140308" y="742476"/>
                  <a:pt x="140308" y="740654"/>
                </a:cubicBezTo>
                <a:close/>
                <a:moveTo>
                  <a:pt x="1184414" y="739516"/>
                </a:moveTo>
                <a:cubicBezTo>
                  <a:pt x="1182592" y="740199"/>
                  <a:pt x="1180769" y="741565"/>
                  <a:pt x="1178947" y="742476"/>
                </a:cubicBezTo>
                <a:cubicBezTo>
                  <a:pt x="1180769" y="742476"/>
                  <a:pt x="1182592" y="744298"/>
                  <a:pt x="1184414" y="744298"/>
                </a:cubicBezTo>
                <a:cubicBezTo>
                  <a:pt x="1186236" y="742476"/>
                  <a:pt x="1186236" y="740654"/>
                  <a:pt x="1189880" y="740654"/>
                </a:cubicBezTo>
                <a:cubicBezTo>
                  <a:pt x="1188058" y="738832"/>
                  <a:pt x="1186236" y="738832"/>
                  <a:pt x="1184414" y="739516"/>
                </a:cubicBezTo>
                <a:close/>
                <a:moveTo>
                  <a:pt x="3216137" y="738832"/>
                </a:moveTo>
                <a:cubicBezTo>
                  <a:pt x="3210671" y="737010"/>
                  <a:pt x="3212493" y="742476"/>
                  <a:pt x="3210671" y="744298"/>
                </a:cubicBezTo>
                <a:cubicBezTo>
                  <a:pt x="3214315" y="746121"/>
                  <a:pt x="3214315" y="747943"/>
                  <a:pt x="3216137" y="749765"/>
                </a:cubicBezTo>
                <a:cubicBezTo>
                  <a:pt x="3219782" y="749765"/>
                  <a:pt x="3216137" y="744298"/>
                  <a:pt x="3219782" y="744298"/>
                </a:cubicBezTo>
                <a:cubicBezTo>
                  <a:pt x="3216137" y="742476"/>
                  <a:pt x="3212493" y="742476"/>
                  <a:pt x="3216137" y="738832"/>
                </a:cubicBezTo>
                <a:close/>
                <a:moveTo>
                  <a:pt x="2658552" y="738832"/>
                </a:moveTo>
                <a:cubicBezTo>
                  <a:pt x="2660374" y="742476"/>
                  <a:pt x="2665841" y="747943"/>
                  <a:pt x="2667663" y="742476"/>
                </a:cubicBezTo>
                <a:cubicBezTo>
                  <a:pt x="2667663" y="737010"/>
                  <a:pt x="2662197" y="740654"/>
                  <a:pt x="2658552" y="738832"/>
                </a:cubicBezTo>
                <a:close/>
                <a:moveTo>
                  <a:pt x="1461384" y="738832"/>
                </a:moveTo>
                <a:lnTo>
                  <a:pt x="1452273" y="742476"/>
                </a:lnTo>
                <a:lnTo>
                  <a:pt x="1452728" y="742021"/>
                </a:lnTo>
                <a:cubicBezTo>
                  <a:pt x="1455462" y="741110"/>
                  <a:pt x="1458650" y="740654"/>
                  <a:pt x="1461384" y="738832"/>
                </a:cubicBezTo>
                <a:close/>
                <a:moveTo>
                  <a:pt x="1215390" y="738832"/>
                </a:moveTo>
                <a:cubicBezTo>
                  <a:pt x="1217213" y="740654"/>
                  <a:pt x="1215390" y="740654"/>
                  <a:pt x="1217213" y="742476"/>
                </a:cubicBezTo>
                <a:cubicBezTo>
                  <a:pt x="1219036" y="742476"/>
                  <a:pt x="1220858" y="740654"/>
                  <a:pt x="1220858" y="738832"/>
                </a:cubicBezTo>
                <a:cubicBezTo>
                  <a:pt x="1219036" y="738832"/>
                  <a:pt x="1217213" y="737010"/>
                  <a:pt x="1215390" y="738832"/>
                </a:cubicBezTo>
                <a:close/>
                <a:moveTo>
                  <a:pt x="1133393" y="738832"/>
                </a:moveTo>
                <a:cubicBezTo>
                  <a:pt x="1133393" y="740654"/>
                  <a:pt x="1135215" y="740654"/>
                  <a:pt x="1135215" y="740654"/>
                </a:cubicBezTo>
                <a:cubicBezTo>
                  <a:pt x="1135215" y="738832"/>
                  <a:pt x="1135215" y="738832"/>
                  <a:pt x="1138859" y="738832"/>
                </a:cubicBezTo>
                <a:cubicBezTo>
                  <a:pt x="1137037" y="737010"/>
                  <a:pt x="1135215" y="737010"/>
                  <a:pt x="1133393" y="738832"/>
                </a:cubicBezTo>
                <a:close/>
                <a:moveTo>
                  <a:pt x="1109704" y="738832"/>
                </a:moveTo>
                <a:cubicBezTo>
                  <a:pt x="1109704" y="740654"/>
                  <a:pt x="1109704" y="742476"/>
                  <a:pt x="1111526" y="744298"/>
                </a:cubicBezTo>
                <a:cubicBezTo>
                  <a:pt x="1111526" y="744298"/>
                  <a:pt x="1113349" y="742476"/>
                  <a:pt x="1113349" y="742476"/>
                </a:cubicBezTo>
                <a:cubicBezTo>
                  <a:pt x="1113349" y="744298"/>
                  <a:pt x="1109704" y="746121"/>
                  <a:pt x="1111526" y="749765"/>
                </a:cubicBezTo>
                <a:cubicBezTo>
                  <a:pt x="1113349" y="751587"/>
                  <a:pt x="1120637" y="751587"/>
                  <a:pt x="1116993" y="746121"/>
                </a:cubicBezTo>
                <a:cubicBezTo>
                  <a:pt x="1120637" y="746121"/>
                  <a:pt x="1116993" y="749765"/>
                  <a:pt x="1120637" y="751587"/>
                </a:cubicBezTo>
                <a:cubicBezTo>
                  <a:pt x="1122459" y="746121"/>
                  <a:pt x="1122459" y="740654"/>
                  <a:pt x="1120637" y="738832"/>
                </a:cubicBezTo>
                <a:cubicBezTo>
                  <a:pt x="1116993" y="740654"/>
                  <a:pt x="1113349" y="738832"/>
                  <a:pt x="1109704" y="738832"/>
                </a:cubicBezTo>
                <a:close/>
                <a:moveTo>
                  <a:pt x="949353" y="738832"/>
                </a:moveTo>
                <a:cubicBezTo>
                  <a:pt x="945709" y="740654"/>
                  <a:pt x="938420" y="746121"/>
                  <a:pt x="942064" y="747943"/>
                </a:cubicBezTo>
                <a:cubicBezTo>
                  <a:pt x="942064" y="744298"/>
                  <a:pt x="947531" y="740654"/>
                  <a:pt x="949353" y="738832"/>
                </a:cubicBezTo>
                <a:close/>
                <a:moveTo>
                  <a:pt x="818156" y="738832"/>
                </a:moveTo>
                <a:cubicBezTo>
                  <a:pt x="816334" y="740654"/>
                  <a:pt x="816334" y="744298"/>
                  <a:pt x="818156" y="746121"/>
                </a:cubicBezTo>
                <a:cubicBezTo>
                  <a:pt x="821801" y="744298"/>
                  <a:pt x="821801" y="742476"/>
                  <a:pt x="823623" y="740654"/>
                </a:cubicBezTo>
                <a:cubicBezTo>
                  <a:pt x="821801" y="740654"/>
                  <a:pt x="819979" y="740654"/>
                  <a:pt x="818156" y="738832"/>
                </a:cubicBezTo>
                <a:close/>
                <a:moveTo>
                  <a:pt x="739803" y="738832"/>
                </a:moveTo>
                <a:cubicBezTo>
                  <a:pt x="739803" y="740654"/>
                  <a:pt x="743447" y="746121"/>
                  <a:pt x="747092" y="744298"/>
                </a:cubicBezTo>
                <a:cubicBezTo>
                  <a:pt x="743447" y="742476"/>
                  <a:pt x="743447" y="738832"/>
                  <a:pt x="739803" y="738832"/>
                </a:cubicBezTo>
                <a:close/>
                <a:moveTo>
                  <a:pt x="648694" y="738832"/>
                </a:moveTo>
                <a:cubicBezTo>
                  <a:pt x="645050" y="742476"/>
                  <a:pt x="645050" y="744298"/>
                  <a:pt x="645050" y="746121"/>
                </a:cubicBezTo>
                <a:cubicBezTo>
                  <a:pt x="652339" y="749765"/>
                  <a:pt x="657805" y="747943"/>
                  <a:pt x="663272" y="751587"/>
                </a:cubicBezTo>
                <a:cubicBezTo>
                  <a:pt x="665094" y="744298"/>
                  <a:pt x="652339" y="744298"/>
                  <a:pt x="648694" y="738832"/>
                </a:cubicBezTo>
                <a:close/>
                <a:moveTo>
                  <a:pt x="590385" y="738832"/>
                </a:moveTo>
                <a:cubicBezTo>
                  <a:pt x="588562" y="742476"/>
                  <a:pt x="588562" y="746121"/>
                  <a:pt x="592207" y="749765"/>
                </a:cubicBezTo>
                <a:cubicBezTo>
                  <a:pt x="597673" y="746121"/>
                  <a:pt x="592207" y="740654"/>
                  <a:pt x="590385" y="738832"/>
                </a:cubicBezTo>
                <a:close/>
                <a:moveTo>
                  <a:pt x="322525" y="738832"/>
                </a:moveTo>
                <a:cubicBezTo>
                  <a:pt x="326169" y="744298"/>
                  <a:pt x="324347" y="749765"/>
                  <a:pt x="329814" y="753409"/>
                </a:cubicBezTo>
                <a:cubicBezTo>
                  <a:pt x="327993" y="749765"/>
                  <a:pt x="327993" y="747943"/>
                  <a:pt x="331636" y="746121"/>
                </a:cubicBezTo>
                <a:cubicBezTo>
                  <a:pt x="333458" y="757054"/>
                  <a:pt x="346213" y="764342"/>
                  <a:pt x="357146" y="762520"/>
                </a:cubicBezTo>
                <a:cubicBezTo>
                  <a:pt x="353502" y="757054"/>
                  <a:pt x="346213" y="755231"/>
                  <a:pt x="344391" y="751587"/>
                </a:cubicBezTo>
                <a:cubicBezTo>
                  <a:pt x="340747" y="751587"/>
                  <a:pt x="337102" y="749765"/>
                  <a:pt x="335280" y="747943"/>
                </a:cubicBezTo>
                <a:cubicBezTo>
                  <a:pt x="335280" y="747943"/>
                  <a:pt x="338926" y="746121"/>
                  <a:pt x="340747" y="747943"/>
                </a:cubicBezTo>
                <a:cubicBezTo>
                  <a:pt x="335280" y="744298"/>
                  <a:pt x="331636" y="737010"/>
                  <a:pt x="322525" y="738832"/>
                </a:cubicBezTo>
                <a:close/>
                <a:moveTo>
                  <a:pt x="1434232" y="737497"/>
                </a:moveTo>
                <a:lnTo>
                  <a:pt x="1432229" y="738832"/>
                </a:lnTo>
                <a:lnTo>
                  <a:pt x="1434006" y="737529"/>
                </a:lnTo>
                <a:close/>
                <a:moveTo>
                  <a:pt x="1311966" y="737010"/>
                </a:moveTo>
                <a:cubicBezTo>
                  <a:pt x="1311966" y="737010"/>
                  <a:pt x="1313788" y="738832"/>
                  <a:pt x="1313788" y="738832"/>
                </a:cubicBezTo>
                <a:cubicBezTo>
                  <a:pt x="1310143" y="740654"/>
                  <a:pt x="1311966" y="737010"/>
                  <a:pt x="1311966" y="737010"/>
                </a:cubicBezTo>
                <a:close/>
                <a:moveTo>
                  <a:pt x="1197169" y="737010"/>
                </a:moveTo>
                <a:cubicBezTo>
                  <a:pt x="1193525" y="735188"/>
                  <a:pt x="1195346" y="738832"/>
                  <a:pt x="1195346" y="740654"/>
                </a:cubicBezTo>
                <a:cubicBezTo>
                  <a:pt x="1197169" y="742476"/>
                  <a:pt x="1195346" y="738832"/>
                  <a:pt x="1197169" y="737010"/>
                </a:cubicBezTo>
                <a:close/>
                <a:moveTo>
                  <a:pt x="1155259" y="737010"/>
                </a:moveTo>
                <a:cubicBezTo>
                  <a:pt x="1155259" y="740654"/>
                  <a:pt x="1158903" y="738832"/>
                  <a:pt x="1158903" y="742476"/>
                </a:cubicBezTo>
                <a:cubicBezTo>
                  <a:pt x="1160725" y="742476"/>
                  <a:pt x="1160725" y="740654"/>
                  <a:pt x="1160725" y="738832"/>
                </a:cubicBezTo>
                <a:cubicBezTo>
                  <a:pt x="1158903" y="737010"/>
                  <a:pt x="1157081" y="738832"/>
                  <a:pt x="1155259" y="737010"/>
                </a:cubicBezTo>
                <a:close/>
                <a:moveTo>
                  <a:pt x="1149792" y="737010"/>
                </a:moveTo>
                <a:cubicBezTo>
                  <a:pt x="1147970" y="738832"/>
                  <a:pt x="1153436" y="742476"/>
                  <a:pt x="1147970" y="746121"/>
                </a:cubicBezTo>
                <a:cubicBezTo>
                  <a:pt x="1147970" y="747943"/>
                  <a:pt x="1151614" y="746121"/>
                  <a:pt x="1149792" y="747943"/>
                </a:cubicBezTo>
                <a:cubicBezTo>
                  <a:pt x="1151614" y="749765"/>
                  <a:pt x="1151614" y="747943"/>
                  <a:pt x="1153436" y="749765"/>
                </a:cubicBezTo>
                <a:cubicBezTo>
                  <a:pt x="1155259" y="747943"/>
                  <a:pt x="1155259" y="747943"/>
                  <a:pt x="1153436" y="746121"/>
                </a:cubicBezTo>
                <a:cubicBezTo>
                  <a:pt x="1153436" y="746121"/>
                  <a:pt x="1155259" y="747943"/>
                  <a:pt x="1155259" y="747943"/>
                </a:cubicBezTo>
                <a:cubicBezTo>
                  <a:pt x="1157081" y="746121"/>
                  <a:pt x="1155259" y="746121"/>
                  <a:pt x="1157081" y="744298"/>
                </a:cubicBezTo>
                <a:cubicBezTo>
                  <a:pt x="1153436" y="746121"/>
                  <a:pt x="1155259" y="737010"/>
                  <a:pt x="1149792" y="737010"/>
                </a:cubicBezTo>
                <a:close/>
                <a:moveTo>
                  <a:pt x="1144326" y="737010"/>
                </a:moveTo>
                <a:cubicBezTo>
                  <a:pt x="1144326" y="740654"/>
                  <a:pt x="1147970" y="738832"/>
                  <a:pt x="1144326" y="742476"/>
                </a:cubicBezTo>
                <a:cubicBezTo>
                  <a:pt x="1147970" y="746121"/>
                  <a:pt x="1149792" y="738832"/>
                  <a:pt x="1147970" y="737010"/>
                </a:cubicBezTo>
                <a:cubicBezTo>
                  <a:pt x="1146148" y="737010"/>
                  <a:pt x="1146148" y="735188"/>
                  <a:pt x="1144326" y="737010"/>
                </a:cubicBezTo>
                <a:close/>
                <a:moveTo>
                  <a:pt x="1129748" y="737010"/>
                </a:moveTo>
                <a:cubicBezTo>
                  <a:pt x="1127926" y="740654"/>
                  <a:pt x="1122459" y="744298"/>
                  <a:pt x="1124282" y="749765"/>
                </a:cubicBezTo>
                <a:cubicBezTo>
                  <a:pt x="1126104" y="749765"/>
                  <a:pt x="1131570" y="746121"/>
                  <a:pt x="1133393" y="742476"/>
                </a:cubicBezTo>
                <a:cubicBezTo>
                  <a:pt x="1131570" y="740654"/>
                  <a:pt x="1129748" y="737010"/>
                  <a:pt x="1129748" y="737010"/>
                </a:cubicBezTo>
                <a:close/>
                <a:moveTo>
                  <a:pt x="1053217" y="737010"/>
                </a:moveTo>
                <a:cubicBezTo>
                  <a:pt x="1049573" y="740654"/>
                  <a:pt x="1044106" y="742476"/>
                  <a:pt x="1040462" y="746121"/>
                </a:cubicBezTo>
                <a:cubicBezTo>
                  <a:pt x="1045929" y="751587"/>
                  <a:pt x="1053217" y="742476"/>
                  <a:pt x="1053217" y="737010"/>
                </a:cubicBezTo>
                <a:close/>
                <a:moveTo>
                  <a:pt x="801757" y="737010"/>
                </a:moveTo>
                <a:cubicBezTo>
                  <a:pt x="807223" y="740654"/>
                  <a:pt x="810868" y="742476"/>
                  <a:pt x="814512" y="744298"/>
                </a:cubicBezTo>
                <a:cubicBezTo>
                  <a:pt x="816334" y="737010"/>
                  <a:pt x="807223" y="735188"/>
                  <a:pt x="801757" y="737010"/>
                </a:cubicBezTo>
                <a:close/>
                <a:moveTo>
                  <a:pt x="779892" y="737010"/>
                </a:moveTo>
                <a:cubicBezTo>
                  <a:pt x="776246" y="738832"/>
                  <a:pt x="783535" y="738832"/>
                  <a:pt x="785357" y="738832"/>
                </a:cubicBezTo>
                <a:cubicBezTo>
                  <a:pt x="785357" y="737010"/>
                  <a:pt x="781713" y="738832"/>
                  <a:pt x="779892" y="737010"/>
                </a:cubicBezTo>
                <a:close/>
                <a:moveTo>
                  <a:pt x="313414" y="737010"/>
                </a:moveTo>
                <a:cubicBezTo>
                  <a:pt x="313414" y="742476"/>
                  <a:pt x="320703" y="749765"/>
                  <a:pt x="326169" y="749765"/>
                </a:cubicBezTo>
                <a:cubicBezTo>
                  <a:pt x="322525" y="746121"/>
                  <a:pt x="322525" y="744298"/>
                  <a:pt x="322525" y="740654"/>
                </a:cubicBezTo>
                <a:cubicBezTo>
                  <a:pt x="320703" y="735188"/>
                  <a:pt x="317059" y="738832"/>
                  <a:pt x="313414" y="737010"/>
                </a:cubicBezTo>
                <a:close/>
                <a:moveTo>
                  <a:pt x="304303" y="737010"/>
                </a:moveTo>
                <a:cubicBezTo>
                  <a:pt x="304303" y="746121"/>
                  <a:pt x="309771" y="751587"/>
                  <a:pt x="317059" y="749765"/>
                </a:cubicBezTo>
                <a:cubicBezTo>
                  <a:pt x="313414" y="746121"/>
                  <a:pt x="307948" y="738832"/>
                  <a:pt x="304303" y="737010"/>
                </a:cubicBezTo>
                <a:close/>
                <a:moveTo>
                  <a:pt x="242349" y="737010"/>
                </a:moveTo>
                <a:cubicBezTo>
                  <a:pt x="240527" y="738832"/>
                  <a:pt x="251460" y="747943"/>
                  <a:pt x="244172" y="738832"/>
                </a:cubicBezTo>
                <a:cubicBezTo>
                  <a:pt x="242349" y="738832"/>
                  <a:pt x="242349" y="738832"/>
                  <a:pt x="242349" y="737010"/>
                </a:cubicBezTo>
                <a:close/>
                <a:moveTo>
                  <a:pt x="213195" y="737010"/>
                </a:moveTo>
                <a:cubicBezTo>
                  <a:pt x="211372" y="747943"/>
                  <a:pt x="224128" y="757054"/>
                  <a:pt x="231416" y="766164"/>
                </a:cubicBezTo>
                <a:cubicBezTo>
                  <a:pt x="229594" y="755231"/>
                  <a:pt x="222306" y="744298"/>
                  <a:pt x="213195" y="737010"/>
                </a:cubicBezTo>
                <a:close/>
                <a:moveTo>
                  <a:pt x="601630" y="736922"/>
                </a:moveTo>
                <a:lnTo>
                  <a:pt x="601521" y="737112"/>
                </a:lnTo>
                <a:lnTo>
                  <a:pt x="601318" y="737010"/>
                </a:lnTo>
                <a:close/>
                <a:moveTo>
                  <a:pt x="1337476" y="735188"/>
                </a:moveTo>
                <a:cubicBezTo>
                  <a:pt x="1328365" y="733365"/>
                  <a:pt x="1321077" y="735188"/>
                  <a:pt x="1311966" y="737010"/>
                </a:cubicBezTo>
                <a:cubicBezTo>
                  <a:pt x="1306499" y="738832"/>
                  <a:pt x="1304677" y="737010"/>
                  <a:pt x="1301033" y="742476"/>
                </a:cubicBezTo>
                <a:cubicBezTo>
                  <a:pt x="1304677" y="740654"/>
                  <a:pt x="1310143" y="744298"/>
                  <a:pt x="1313788" y="740654"/>
                </a:cubicBezTo>
                <a:cubicBezTo>
                  <a:pt x="1319254" y="740654"/>
                  <a:pt x="1324721" y="742476"/>
                  <a:pt x="1330188" y="740654"/>
                </a:cubicBezTo>
                <a:cubicBezTo>
                  <a:pt x="1330188" y="740654"/>
                  <a:pt x="1326543" y="738832"/>
                  <a:pt x="1332009" y="737010"/>
                </a:cubicBezTo>
                <a:cubicBezTo>
                  <a:pt x="1332009" y="738832"/>
                  <a:pt x="1328365" y="740654"/>
                  <a:pt x="1332009" y="742476"/>
                </a:cubicBezTo>
                <a:cubicBezTo>
                  <a:pt x="1335654" y="740654"/>
                  <a:pt x="1335654" y="737010"/>
                  <a:pt x="1337476" y="735188"/>
                </a:cubicBezTo>
                <a:close/>
                <a:moveTo>
                  <a:pt x="1162547" y="735188"/>
                </a:moveTo>
                <a:cubicBezTo>
                  <a:pt x="1164370" y="738832"/>
                  <a:pt x="1166192" y="737010"/>
                  <a:pt x="1168014" y="738832"/>
                </a:cubicBezTo>
                <a:cubicBezTo>
                  <a:pt x="1168014" y="737010"/>
                  <a:pt x="1168014" y="737010"/>
                  <a:pt x="1169836" y="735188"/>
                </a:cubicBezTo>
                <a:cubicBezTo>
                  <a:pt x="1166192" y="735188"/>
                  <a:pt x="1164370" y="733365"/>
                  <a:pt x="1162547" y="735188"/>
                </a:cubicBezTo>
                <a:close/>
                <a:moveTo>
                  <a:pt x="1104238" y="735188"/>
                </a:moveTo>
                <a:cubicBezTo>
                  <a:pt x="1104238" y="738832"/>
                  <a:pt x="1102416" y="746121"/>
                  <a:pt x="1107882" y="747943"/>
                </a:cubicBezTo>
                <a:cubicBezTo>
                  <a:pt x="1109704" y="744298"/>
                  <a:pt x="1109704" y="738832"/>
                  <a:pt x="1104238" y="735188"/>
                </a:cubicBezTo>
                <a:close/>
                <a:moveTo>
                  <a:pt x="1062328" y="735188"/>
                </a:moveTo>
                <a:cubicBezTo>
                  <a:pt x="1064151" y="733365"/>
                  <a:pt x="1058683" y="737010"/>
                  <a:pt x="1056861" y="737010"/>
                </a:cubicBezTo>
                <a:cubicBezTo>
                  <a:pt x="1058683" y="738832"/>
                  <a:pt x="1060506" y="733365"/>
                  <a:pt x="1062328" y="735188"/>
                </a:cubicBezTo>
                <a:close/>
                <a:moveTo>
                  <a:pt x="1004018" y="735188"/>
                </a:moveTo>
                <a:cubicBezTo>
                  <a:pt x="1002196" y="737010"/>
                  <a:pt x="998552" y="740654"/>
                  <a:pt x="998552" y="742476"/>
                </a:cubicBezTo>
                <a:cubicBezTo>
                  <a:pt x="998552" y="744298"/>
                  <a:pt x="1000374" y="744298"/>
                  <a:pt x="1002196" y="746121"/>
                </a:cubicBezTo>
                <a:cubicBezTo>
                  <a:pt x="1005840" y="740654"/>
                  <a:pt x="1002196" y="738832"/>
                  <a:pt x="1004018" y="735188"/>
                </a:cubicBezTo>
                <a:close/>
                <a:moveTo>
                  <a:pt x="905621" y="735188"/>
                </a:moveTo>
                <a:cubicBezTo>
                  <a:pt x="898333" y="738832"/>
                  <a:pt x="900154" y="746121"/>
                  <a:pt x="903799" y="747943"/>
                </a:cubicBezTo>
                <a:cubicBezTo>
                  <a:pt x="907444" y="744298"/>
                  <a:pt x="905621" y="738832"/>
                  <a:pt x="905621" y="735188"/>
                </a:cubicBezTo>
                <a:close/>
                <a:moveTo>
                  <a:pt x="759848" y="735188"/>
                </a:moveTo>
                <a:cubicBezTo>
                  <a:pt x="758025" y="738832"/>
                  <a:pt x="758025" y="740654"/>
                  <a:pt x="759848" y="744298"/>
                </a:cubicBezTo>
                <a:cubicBezTo>
                  <a:pt x="761670" y="744298"/>
                  <a:pt x="759848" y="742476"/>
                  <a:pt x="761670" y="740654"/>
                </a:cubicBezTo>
                <a:cubicBezTo>
                  <a:pt x="759848" y="747943"/>
                  <a:pt x="772602" y="758876"/>
                  <a:pt x="778070" y="751587"/>
                </a:cubicBezTo>
                <a:cubicBezTo>
                  <a:pt x="781713" y="749765"/>
                  <a:pt x="776246" y="742476"/>
                  <a:pt x="770781" y="742476"/>
                </a:cubicBezTo>
                <a:cubicBezTo>
                  <a:pt x="774424" y="738832"/>
                  <a:pt x="776246" y="747943"/>
                  <a:pt x="781713" y="746121"/>
                </a:cubicBezTo>
                <a:cubicBezTo>
                  <a:pt x="776246" y="737010"/>
                  <a:pt x="767136" y="737010"/>
                  <a:pt x="759848" y="735188"/>
                </a:cubicBezTo>
                <a:close/>
                <a:moveTo>
                  <a:pt x="384479" y="735188"/>
                </a:moveTo>
                <a:cubicBezTo>
                  <a:pt x="384479" y="737010"/>
                  <a:pt x="380835" y="746121"/>
                  <a:pt x="388123" y="746121"/>
                </a:cubicBezTo>
                <a:cubicBezTo>
                  <a:pt x="393590" y="753409"/>
                  <a:pt x="397234" y="760698"/>
                  <a:pt x="404523" y="764342"/>
                </a:cubicBezTo>
                <a:cubicBezTo>
                  <a:pt x="404523" y="760698"/>
                  <a:pt x="402701" y="758876"/>
                  <a:pt x="400879" y="757054"/>
                </a:cubicBezTo>
                <a:cubicBezTo>
                  <a:pt x="404523" y="753409"/>
                  <a:pt x="408167" y="753409"/>
                  <a:pt x="409989" y="757054"/>
                </a:cubicBezTo>
                <a:cubicBezTo>
                  <a:pt x="408167" y="744298"/>
                  <a:pt x="395412" y="740654"/>
                  <a:pt x="384479" y="735188"/>
                </a:cubicBezTo>
                <a:close/>
                <a:moveTo>
                  <a:pt x="360791" y="735188"/>
                </a:moveTo>
                <a:cubicBezTo>
                  <a:pt x="360791" y="738832"/>
                  <a:pt x="364435" y="738832"/>
                  <a:pt x="366257" y="742476"/>
                </a:cubicBezTo>
                <a:cubicBezTo>
                  <a:pt x="369902" y="738832"/>
                  <a:pt x="362613" y="737010"/>
                  <a:pt x="360791" y="735188"/>
                </a:cubicBezTo>
                <a:close/>
                <a:moveTo>
                  <a:pt x="258749" y="735188"/>
                </a:moveTo>
                <a:cubicBezTo>
                  <a:pt x="256927" y="735188"/>
                  <a:pt x="260571" y="740654"/>
                  <a:pt x="262393" y="740654"/>
                </a:cubicBezTo>
                <a:cubicBezTo>
                  <a:pt x="264216" y="738832"/>
                  <a:pt x="258749" y="737010"/>
                  <a:pt x="258749" y="735188"/>
                </a:cubicBezTo>
                <a:close/>
                <a:moveTo>
                  <a:pt x="244172" y="735188"/>
                </a:moveTo>
                <a:cubicBezTo>
                  <a:pt x="242349" y="737010"/>
                  <a:pt x="251460" y="744298"/>
                  <a:pt x="253282" y="747943"/>
                </a:cubicBezTo>
                <a:cubicBezTo>
                  <a:pt x="255105" y="746121"/>
                  <a:pt x="253282" y="744298"/>
                  <a:pt x="255105" y="744298"/>
                </a:cubicBezTo>
                <a:cubicBezTo>
                  <a:pt x="251460" y="738832"/>
                  <a:pt x="247816" y="737010"/>
                  <a:pt x="244172" y="735188"/>
                </a:cubicBezTo>
                <a:close/>
                <a:moveTo>
                  <a:pt x="561914" y="735188"/>
                </a:moveTo>
                <a:cubicBezTo>
                  <a:pt x="561230" y="735643"/>
                  <a:pt x="560319" y="736099"/>
                  <a:pt x="559408" y="735188"/>
                </a:cubicBezTo>
                <a:cubicBezTo>
                  <a:pt x="557586" y="737010"/>
                  <a:pt x="564874" y="738832"/>
                  <a:pt x="566697" y="740654"/>
                </a:cubicBezTo>
                <a:cubicBezTo>
                  <a:pt x="568519" y="738832"/>
                  <a:pt x="566697" y="737010"/>
                  <a:pt x="563052" y="735188"/>
                </a:cubicBezTo>
                <a:cubicBezTo>
                  <a:pt x="563052" y="734277"/>
                  <a:pt x="562597" y="734732"/>
                  <a:pt x="561914" y="735188"/>
                </a:cubicBezTo>
                <a:close/>
                <a:moveTo>
                  <a:pt x="1452273" y="733365"/>
                </a:moveTo>
                <a:lnTo>
                  <a:pt x="1452035" y="733762"/>
                </a:lnTo>
                <a:lnTo>
                  <a:pt x="1447945" y="736099"/>
                </a:lnTo>
                <a:lnTo>
                  <a:pt x="1444588" y="738415"/>
                </a:lnTo>
                <a:lnTo>
                  <a:pt x="1446351" y="735643"/>
                </a:lnTo>
                <a:cubicBezTo>
                  <a:pt x="1448173" y="734277"/>
                  <a:pt x="1450451" y="733365"/>
                  <a:pt x="1452273" y="733365"/>
                </a:cubicBezTo>
                <a:close/>
                <a:moveTo>
                  <a:pt x="1434051" y="733365"/>
                </a:moveTo>
                <a:cubicBezTo>
                  <a:pt x="1430407" y="729721"/>
                  <a:pt x="1428585" y="737010"/>
                  <a:pt x="1424940" y="737010"/>
                </a:cubicBezTo>
                <a:cubicBezTo>
                  <a:pt x="1428585" y="738832"/>
                  <a:pt x="1432229" y="733365"/>
                  <a:pt x="1434051" y="733365"/>
                </a:cubicBezTo>
                <a:close/>
                <a:moveTo>
                  <a:pt x="962108" y="733365"/>
                </a:moveTo>
                <a:cubicBezTo>
                  <a:pt x="960286" y="735188"/>
                  <a:pt x="956642" y="735188"/>
                  <a:pt x="952997" y="738832"/>
                </a:cubicBezTo>
                <a:cubicBezTo>
                  <a:pt x="947531" y="742476"/>
                  <a:pt x="945709" y="747943"/>
                  <a:pt x="942064" y="751587"/>
                </a:cubicBezTo>
                <a:cubicBezTo>
                  <a:pt x="945709" y="751587"/>
                  <a:pt x="947531" y="749765"/>
                  <a:pt x="949353" y="749765"/>
                </a:cubicBezTo>
                <a:cubicBezTo>
                  <a:pt x="952997" y="746121"/>
                  <a:pt x="951175" y="742476"/>
                  <a:pt x="952997" y="738832"/>
                </a:cubicBezTo>
                <a:cubicBezTo>
                  <a:pt x="956642" y="740654"/>
                  <a:pt x="956642" y="744298"/>
                  <a:pt x="951175" y="747943"/>
                </a:cubicBezTo>
                <a:cubicBezTo>
                  <a:pt x="956642" y="742476"/>
                  <a:pt x="967575" y="742476"/>
                  <a:pt x="969397" y="733365"/>
                </a:cubicBezTo>
                <a:cubicBezTo>
                  <a:pt x="965753" y="733365"/>
                  <a:pt x="962108" y="733365"/>
                  <a:pt x="962108" y="738832"/>
                </a:cubicBezTo>
                <a:cubicBezTo>
                  <a:pt x="958464" y="737010"/>
                  <a:pt x="967575" y="735188"/>
                  <a:pt x="962108" y="733365"/>
                </a:cubicBezTo>
                <a:close/>
                <a:moveTo>
                  <a:pt x="898333" y="733365"/>
                </a:moveTo>
                <a:cubicBezTo>
                  <a:pt x="894688" y="733365"/>
                  <a:pt x="894688" y="738832"/>
                  <a:pt x="898333" y="742476"/>
                </a:cubicBezTo>
                <a:cubicBezTo>
                  <a:pt x="901976" y="738832"/>
                  <a:pt x="896510" y="737010"/>
                  <a:pt x="898333" y="733365"/>
                </a:cubicBezTo>
                <a:close/>
                <a:moveTo>
                  <a:pt x="819979" y="733365"/>
                </a:moveTo>
                <a:cubicBezTo>
                  <a:pt x="819979" y="735188"/>
                  <a:pt x="818156" y="735188"/>
                  <a:pt x="818156" y="737010"/>
                </a:cubicBezTo>
                <a:cubicBezTo>
                  <a:pt x="821801" y="737010"/>
                  <a:pt x="823623" y="740654"/>
                  <a:pt x="825445" y="738832"/>
                </a:cubicBezTo>
                <a:cubicBezTo>
                  <a:pt x="821801" y="737010"/>
                  <a:pt x="821801" y="735188"/>
                  <a:pt x="819979" y="733365"/>
                </a:cubicBezTo>
                <a:close/>
                <a:moveTo>
                  <a:pt x="794468" y="733365"/>
                </a:moveTo>
                <a:cubicBezTo>
                  <a:pt x="790824" y="733365"/>
                  <a:pt x="787179" y="738832"/>
                  <a:pt x="792646" y="740654"/>
                </a:cubicBezTo>
                <a:cubicBezTo>
                  <a:pt x="794468" y="738832"/>
                  <a:pt x="792646" y="735188"/>
                  <a:pt x="794468" y="733365"/>
                </a:cubicBezTo>
                <a:close/>
                <a:moveTo>
                  <a:pt x="745269" y="733365"/>
                </a:moveTo>
                <a:cubicBezTo>
                  <a:pt x="741626" y="735188"/>
                  <a:pt x="743447" y="737010"/>
                  <a:pt x="745269" y="738832"/>
                </a:cubicBezTo>
                <a:cubicBezTo>
                  <a:pt x="747092" y="738832"/>
                  <a:pt x="750737" y="738832"/>
                  <a:pt x="752558" y="738832"/>
                </a:cubicBezTo>
                <a:cubicBezTo>
                  <a:pt x="754380" y="735188"/>
                  <a:pt x="747092" y="731543"/>
                  <a:pt x="745269" y="733365"/>
                </a:cubicBezTo>
                <a:close/>
                <a:moveTo>
                  <a:pt x="453722" y="733365"/>
                </a:moveTo>
                <a:cubicBezTo>
                  <a:pt x="453722" y="738832"/>
                  <a:pt x="459188" y="740654"/>
                  <a:pt x="462832" y="746121"/>
                </a:cubicBezTo>
                <a:cubicBezTo>
                  <a:pt x="464655" y="742476"/>
                  <a:pt x="457367" y="738832"/>
                  <a:pt x="453722" y="733365"/>
                </a:cubicBezTo>
                <a:close/>
                <a:moveTo>
                  <a:pt x="448256" y="733365"/>
                </a:moveTo>
                <a:cubicBezTo>
                  <a:pt x="446433" y="738832"/>
                  <a:pt x="446433" y="740654"/>
                  <a:pt x="448256" y="742476"/>
                </a:cubicBezTo>
                <a:cubicBezTo>
                  <a:pt x="450077" y="742476"/>
                  <a:pt x="450077" y="742476"/>
                  <a:pt x="450077" y="742476"/>
                </a:cubicBezTo>
                <a:cubicBezTo>
                  <a:pt x="451899" y="740654"/>
                  <a:pt x="451899" y="738832"/>
                  <a:pt x="453722" y="738832"/>
                </a:cubicBezTo>
                <a:cubicBezTo>
                  <a:pt x="453722" y="738832"/>
                  <a:pt x="450077" y="735188"/>
                  <a:pt x="448256" y="733365"/>
                </a:cubicBezTo>
                <a:close/>
                <a:moveTo>
                  <a:pt x="220483" y="733365"/>
                </a:moveTo>
                <a:cubicBezTo>
                  <a:pt x="222306" y="735188"/>
                  <a:pt x="220483" y="735188"/>
                  <a:pt x="222306" y="737010"/>
                </a:cubicBezTo>
                <a:lnTo>
                  <a:pt x="223882" y="738401"/>
                </a:lnTo>
                <a:lnTo>
                  <a:pt x="232783" y="751587"/>
                </a:lnTo>
                <a:cubicBezTo>
                  <a:pt x="239616" y="756142"/>
                  <a:pt x="247816" y="759787"/>
                  <a:pt x="253282" y="764342"/>
                </a:cubicBezTo>
                <a:lnTo>
                  <a:pt x="223882" y="738401"/>
                </a:lnTo>
                <a:close/>
                <a:moveTo>
                  <a:pt x="171285" y="733365"/>
                </a:moveTo>
                <a:cubicBezTo>
                  <a:pt x="180396" y="751587"/>
                  <a:pt x="194973" y="766164"/>
                  <a:pt x="207728" y="782564"/>
                </a:cubicBezTo>
                <a:lnTo>
                  <a:pt x="199245" y="769014"/>
                </a:lnTo>
                <a:lnTo>
                  <a:pt x="204084" y="775275"/>
                </a:lnTo>
                <a:cubicBezTo>
                  <a:pt x="205906" y="775275"/>
                  <a:pt x="207728" y="777098"/>
                  <a:pt x="209550" y="777098"/>
                </a:cubicBezTo>
                <a:cubicBezTo>
                  <a:pt x="209550" y="777098"/>
                  <a:pt x="207728" y="777098"/>
                  <a:pt x="207728" y="777098"/>
                </a:cubicBezTo>
                <a:cubicBezTo>
                  <a:pt x="213195" y="780742"/>
                  <a:pt x="213195" y="789853"/>
                  <a:pt x="222306" y="791675"/>
                </a:cubicBezTo>
                <a:cubicBezTo>
                  <a:pt x="222306" y="791675"/>
                  <a:pt x="220483" y="786208"/>
                  <a:pt x="213195" y="784386"/>
                </a:cubicBezTo>
                <a:cubicBezTo>
                  <a:pt x="218661" y="786208"/>
                  <a:pt x="224128" y="789853"/>
                  <a:pt x="229594" y="793497"/>
                </a:cubicBezTo>
                <a:cubicBezTo>
                  <a:pt x="225950" y="786208"/>
                  <a:pt x="218661" y="775275"/>
                  <a:pt x="209550" y="775275"/>
                </a:cubicBezTo>
                <a:cubicBezTo>
                  <a:pt x="211372" y="775275"/>
                  <a:pt x="211372" y="775275"/>
                  <a:pt x="211372" y="775275"/>
                </a:cubicBezTo>
                <a:cubicBezTo>
                  <a:pt x="204084" y="769809"/>
                  <a:pt x="196795" y="762520"/>
                  <a:pt x="191329" y="755231"/>
                </a:cubicBezTo>
                <a:lnTo>
                  <a:pt x="194151" y="760876"/>
                </a:lnTo>
                <a:lnTo>
                  <a:pt x="190190" y="754548"/>
                </a:lnTo>
                <a:cubicBezTo>
                  <a:pt x="184495" y="745665"/>
                  <a:pt x="178573" y="737921"/>
                  <a:pt x="171285" y="733365"/>
                </a:cubicBezTo>
                <a:close/>
                <a:moveTo>
                  <a:pt x="1347042" y="731771"/>
                </a:moveTo>
                <a:cubicBezTo>
                  <a:pt x="1342031" y="732455"/>
                  <a:pt x="1337476" y="735188"/>
                  <a:pt x="1335654" y="740654"/>
                </a:cubicBezTo>
                <a:cubicBezTo>
                  <a:pt x="1341120" y="742476"/>
                  <a:pt x="1350231" y="746121"/>
                  <a:pt x="1352053" y="738832"/>
                </a:cubicBezTo>
                <a:cubicBezTo>
                  <a:pt x="1353876" y="737010"/>
                  <a:pt x="1352053" y="740654"/>
                  <a:pt x="1353876" y="740654"/>
                </a:cubicBezTo>
                <a:cubicBezTo>
                  <a:pt x="1357521" y="738832"/>
                  <a:pt x="1361164" y="740654"/>
                  <a:pt x="1361164" y="735188"/>
                </a:cubicBezTo>
                <a:cubicBezTo>
                  <a:pt x="1357521" y="732455"/>
                  <a:pt x="1352053" y="731088"/>
                  <a:pt x="1347042" y="731771"/>
                </a:cubicBezTo>
                <a:close/>
                <a:moveTo>
                  <a:pt x="1408541" y="731543"/>
                </a:moveTo>
                <a:cubicBezTo>
                  <a:pt x="1406719" y="729721"/>
                  <a:pt x="1403074" y="733365"/>
                  <a:pt x="1404896" y="735188"/>
                </a:cubicBezTo>
                <a:cubicBezTo>
                  <a:pt x="1406719" y="733365"/>
                  <a:pt x="1408541" y="731543"/>
                  <a:pt x="1408541" y="731543"/>
                </a:cubicBezTo>
                <a:close/>
                <a:moveTo>
                  <a:pt x="1375743" y="731543"/>
                </a:moveTo>
                <a:cubicBezTo>
                  <a:pt x="1373920" y="731543"/>
                  <a:pt x="1373920" y="733365"/>
                  <a:pt x="1372097" y="735188"/>
                </a:cubicBezTo>
                <a:cubicBezTo>
                  <a:pt x="1373920" y="735188"/>
                  <a:pt x="1375743" y="737010"/>
                  <a:pt x="1377564" y="737010"/>
                </a:cubicBezTo>
                <a:cubicBezTo>
                  <a:pt x="1377564" y="735188"/>
                  <a:pt x="1377564" y="733365"/>
                  <a:pt x="1375743" y="731543"/>
                </a:cubicBezTo>
                <a:close/>
                <a:moveTo>
                  <a:pt x="1277344" y="731543"/>
                </a:moveTo>
                <a:cubicBezTo>
                  <a:pt x="1277344" y="733365"/>
                  <a:pt x="1280989" y="735188"/>
                  <a:pt x="1279166" y="735188"/>
                </a:cubicBezTo>
                <a:cubicBezTo>
                  <a:pt x="1280989" y="733365"/>
                  <a:pt x="1282811" y="733365"/>
                  <a:pt x="1282811" y="731543"/>
                </a:cubicBezTo>
                <a:cubicBezTo>
                  <a:pt x="1280989" y="731543"/>
                  <a:pt x="1279166" y="733365"/>
                  <a:pt x="1277344" y="731543"/>
                </a:cubicBezTo>
                <a:close/>
                <a:moveTo>
                  <a:pt x="1273700" y="731543"/>
                </a:moveTo>
                <a:cubicBezTo>
                  <a:pt x="1268233" y="733365"/>
                  <a:pt x="1260945" y="744298"/>
                  <a:pt x="1253656" y="737010"/>
                </a:cubicBezTo>
                <a:cubicBezTo>
                  <a:pt x="1253656" y="738832"/>
                  <a:pt x="1251834" y="738832"/>
                  <a:pt x="1250012" y="740654"/>
                </a:cubicBezTo>
                <a:cubicBezTo>
                  <a:pt x="1253656" y="747943"/>
                  <a:pt x="1260945" y="744298"/>
                  <a:pt x="1268233" y="738832"/>
                </a:cubicBezTo>
                <a:cubicBezTo>
                  <a:pt x="1268233" y="740654"/>
                  <a:pt x="1266411" y="740654"/>
                  <a:pt x="1266411" y="742476"/>
                </a:cubicBezTo>
                <a:cubicBezTo>
                  <a:pt x="1270056" y="742476"/>
                  <a:pt x="1273700" y="740654"/>
                  <a:pt x="1279166" y="737010"/>
                </a:cubicBezTo>
                <a:cubicBezTo>
                  <a:pt x="1277344" y="735188"/>
                  <a:pt x="1275522" y="735188"/>
                  <a:pt x="1273700" y="731543"/>
                </a:cubicBezTo>
                <a:close/>
                <a:moveTo>
                  <a:pt x="994907" y="731543"/>
                </a:moveTo>
                <a:cubicBezTo>
                  <a:pt x="983974" y="733365"/>
                  <a:pt x="971219" y="740654"/>
                  <a:pt x="965753" y="751587"/>
                </a:cubicBezTo>
                <a:cubicBezTo>
                  <a:pt x="969397" y="751587"/>
                  <a:pt x="973041" y="747943"/>
                  <a:pt x="974863" y="746121"/>
                </a:cubicBezTo>
                <a:cubicBezTo>
                  <a:pt x="974863" y="746121"/>
                  <a:pt x="973041" y="749765"/>
                  <a:pt x="971219" y="749765"/>
                </a:cubicBezTo>
                <a:cubicBezTo>
                  <a:pt x="974863" y="753409"/>
                  <a:pt x="983974" y="753409"/>
                  <a:pt x="989441" y="747943"/>
                </a:cubicBezTo>
                <a:cubicBezTo>
                  <a:pt x="989441" y="744298"/>
                  <a:pt x="987619" y="742476"/>
                  <a:pt x="985796" y="738832"/>
                </a:cubicBezTo>
                <a:cubicBezTo>
                  <a:pt x="989441" y="738832"/>
                  <a:pt x="989441" y="742476"/>
                  <a:pt x="993085" y="742476"/>
                </a:cubicBezTo>
                <a:cubicBezTo>
                  <a:pt x="993085" y="738832"/>
                  <a:pt x="994907" y="735188"/>
                  <a:pt x="994907" y="731543"/>
                </a:cubicBezTo>
                <a:close/>
                <a:moveTo>
                  <a:pt x="907444" y="731543"/>
                </a:moveTo>
                <a:cubicBezTo>
                  <a:pt x="909265" y="733365"/>
                  <a:pt x="909265" y="738832"/>
                  <a:pt x="911087" y="738832"/>
                </a:cubicBezTo>
                <a:cubicBezTo>
                  <a:pt x="912909" y="735188"/>
                  <a:pt x="909265" y="733365"/>
                  <a:pt x="907444" y="731543"/>
                </a:cubicBezTo>
                <a:close/>
                <a:moveTo>
                  <a:pt x="805401" y="731543"/>
                </a:moveTo>
                <a:cubicBezTo>
                  <a:pt x="805401" y="731543"/>
                  <a:pt x="803579" y="733365"/>
                  <a:pt x="803579" y="733365"/>
                </a:cubicBezTo>
                <a:cubicBezTo>
                  <a:pt x="805401" y="735188"/>
                  <a:pt x="807223" y="735188"/>
                  <a:pt x="809046" y="735188"/>
                </a:cubicBezTo>
                <a:cubicBezTo>
                  <a:pt x="810868" y="733365"/>
                  <a:pt x="805401" y="733365"/>
                  <a:pt x="805401" y="731543"/>
                </a:cubicBezTo>
                <a:close/>
                <a:moveTo>
                  <a:pt x="719759" y="731543"/>
                </a:moveTo>
                <a:cubicBezTo>
                  <a:pt x="716115" y="737010"/>
                  <a:pt x="717937" y="749765"/>
                  <a:pt x="727048" y="744298"/>
                </a:cubicBezTo>
                <a:cubicBezTo>
                  <a:pt x="728870" y="738832"/>
                  <a:pt x="725226" y="737010"/>
                  <a:pt x="719759" y="731543"/>
                </a:cubicBezTo>
                <a:close/>
                <a:moveTo>
                  <a:pt x="539364" y="731543"/>
                </a:moveTo>
                <a:cubicBezTo>
                  <a:pt x="537542" y="733365"/>
                  <a:pt x="543008" y="733365"/>
                  <a:pt x="541186" y="735188"/>
                </a:cubicBezTo>
                <a:cubicBezTo>
                  <a:pt x="546653" y="735188"/>
                  <a:pt x="543008" y="731543"/>
                  <a:pt x="539364" y="731543"/>
                </a:cubicBezTo>
                <a:close/>
                <a:moveTo>
                  <a:pt x="344391" y="731543"/>
                </a:moveTo>
                <a:cubicBezTo>
                  <a:pt x="346213" y="737010"/>
                  <a:pt x="353502" y="746121"/>
                  <a:pt x="360791" y="742476"/>
                </a:cubicBezTo>
                <a:cubicBezTo>
                  <a:pt x="355324" y="735188"/>
                  <a:pt x="349858" y="737010"/>
                  <a:pt x="344391" y="731543"/>
                </a:cubicBezTo>
                <a:close/>
                <a:moveTo>
                  <a:pt x="280615" y="731543"/>
                </a:moveTo>
                <a:cubicBezTo>
                  <a:pt x="287904" y="740654"/>
                  <a:pt x="300660" y="747943"/>
                  <a:pt x="311592" y="757054"/>
                </a:cubicBezTo>
                <a:cubicBezTo>
                  <a:pt x="306126" y="749765"/>
                  <a:pt x="304303" y="744298"/>
                  <a:pt x="300660" y="737010"/>
                </a:cubicBezTo>
                <a:cubicBezTo>
                  <a:pt x="295193" y="731543"/>
                  <a:pt x="287904" y="735188"/>
                  <a:pt x="280615" y="731543"/>
                </a:cubicBezTo>
                <a:close/>
                <a:moveTo>
                  <a:pt x="2775171" y="729721"/>
                </a:moveTo>
                <a:cubicBezTo>
                  <a:pt x="2769705" y="729721"/>
                  <a:pt x="2764238" y="729721"/>
                  <a:pt x="2760594" y="733365"/>
                </a:cubicBezTo>
                <a:cubicBezTo>
                  <a:pt x="2753305" y="740654"/>
                  <a:pt x="2758772" y="747943"/>
                  <a:pt x="2762416" y="755231"/>
                </a:cubicBezTo>
                <a:cubicBezTo>
                  <a:pt x="2766060" y="757054"/>
                  <a:pt x="2766060" y="747943"/>
                  <a:pt x="2769705" y="753409"/>
                </a:cubicBezTo>
                <a:cubicBezTo>
                  <a:pt x="2771527" y="747943"/>
                  <a:pt x="2773349" y="738832"/>
                  <a:pt x="2775171" y="729721"/>
                </a:cubicBezTo>
                <a:close/>
                <a:moveTo>
                  <a:pt x="2598421" y="729721"/>
                </a:moveTo>
                <a:cubicBezTo>
                  <a:pt x="2598421" y="731543"/>
                  <a:pt x="2596598" y="733365"/>
                  <a:pt x="2596598" y="735188"/>
                </a:cubicBezTo>
                <a:lnTo>
                  <a:pt x="2600243" y="738832"/>
                </a:lnTo>
                <a:cubicBezTo>
                  <a:pt x="2600243" y="737010"/>
                  <a:pt x="2602065" y="737010"/>
                  <a:pt x="2603887" y="738832"/>
                </a:cubicBezTo>
                <a:cubicBezTo>
                  <a:pt x="2602065" y="731543"/>
                  <a:pt x="2600243" y="738832"/>
                  <a:pt x="2598421" y="729721"/>
                </a:cubicBezTo>
                <a:close/>
                <a:moveTo>
                  <a:pt x="1231790" y="729721"/>
                </a:moveTo>
                <a:cubicBezTo>
                  <a:pt x="1228146" y="727899"/>
                  <a:pt x="1219036" y="733365"/>
                  <a:pt x="1224501" y="737010"/>
                </a:cubicBezTo>
                <a:cubicBezTo>
                  <a:pt x="1226323" y="735188"/>
                  <a:pt x="1229969" y="731543"/>
                  <a:pt x="1231790" y="729721"/>
                </a:cubicBezTo>
                <a:close/>
                <a:moveTo>
                  <a:pt x="1007663" y="729721"/>
                </a:moveTo>
                <a:cubicBezTo>
                  <a:pt x="1002196" y="735188"/>
                  <a:pt x="1004018" y="738832"/>
                  <a:pt x="1005840" y="744298"/>
                </a:cubicBezTo>
                <a:cubicBezTo>
                  <a:pt x="1013129" y="742476"/>
                  <a:pt x="1014951" y="738832"/>
                  <a:pt x="1013129" y="733365"/>
                </a:cubicBezTo>
                <a:cubicBezTo>
                  <a:pt x="1011307" y="731543"/>
                  <a:pt x="1007663" y="731543"/>
                  <a:pt x="1007663" y="729721"/>
                </a:cubicBezTo>
                <a:close/>
                <a:moveTo>
                  <a:pt x="925666" y="729721"/>
                </a:moveTo>
                <a:cubicBezTo>
                  <a:pt x="922020" y="731543"/>
                  <a:pt x="920198" y="737010"/>
                  <a:pt x="918376" y="738832"/>
                </a:cubicBezTo>
                <a:cubicBezTo>
                  <a:pt x="918376" y="740654"/>
                  <a:pt x="920198" y="738832"/>
                  <a:pt x="922020" y="738832"/>
                </a:cubicBezTo>
                <a:cubicBezTo>
                  <a:pt x="920198" y="737010"/>
                  <a:pt x="925666" y="733365"/>
                  <a:pt x="925666" y="729721"/>
                </a:cubicBezTo>
                <a:close/>
                <a:moveTo>
                  <a:pt x="898333" y="729721"/>
                </a:moveTo>
                <a:cubicBezTo>
                  <a:pt x="896510" y="731543"/>
                  <a:pt x="900154" y="733365"/>
                  <a:pt x="900154" y="737010"/>
                </a:cubicBezTo>
                <a:cubicBezTo>
                  <a:pt x="901976" y="737010"/>
                  <a:pt x="903799" y="733365"/>
                  <a:pt x="903799" y="731543"/>
                </a:cubicBezTo>
                <a:cubicBezTo>
                  <a:pt x="901976" y="729721"/>
                  <a:pt x="900154" y="729721"/>
                  <a:pt x="898333" y="729721"/>
                </a:cubicBezTo>
                <a:close/>
                <a:moveTo>
                  <a:pt x="883755" y="729721"/>
                </a:moveTo>
                <a:cubicBezTo>
                  <a:pt x="872822" y="735188"/>
                  <a:pt x="883755" y="738832"/>
                  <a:pt x="891043" y="742476"/>
                </a:cubicBezTo>
                <a:cubicBezTo>
                  <a:pt x="889222" y="738832"/>
                  <a:pt x="885577" y="733365"/>
                  <a:pt x="883755" y="729721"/>
                </a:cubicBezTo>
                <a:close/>
                <a:moveTo>
                  <a:pt x="759848" y="729721"/>
                </a:moveTo>
                <a:cubicBezTo>
                  <a:pt x="758025" y="733365"/>
                  <a:pt x="765313" y="735188"/>
                  <a:pt x="768959" y="733365"/>
                </a:cubicBezTo>
                <a:cubicBezTo>
                  <a:pt x="767136" y="729721"/>
                  <a:pt x="763491" y="733365"/>
                  <a:pt x="759848" y="729721"/>
                </a:cubicBezTo>
                <a:close/>
                <a:moveTo>
                  <a:pt x="727048" y="729721"/>
                </a:moveTo>
                <a:cubicBezTo>
                  <a:pt x="727048" y="733365"/>
                  <a:pt x="725226" y="737010"/>
                  <a:pt x="732515" y="737010"/>
                </a:cubicBezTo>
                <a:cubicBezTo>
                  <a:pt x="734336" y="733365"/>
                  <a:pt x="728870" y="733365"/>
                  <a:pt x="727048" y="729721"/>
                </a:cubicBezTo>
                <a:close/>
                <a:moveTo>
                  <a:pt x="373546" y="729721"/>
                </a:moveTo>
                <a:cubicBezTo>
                  <a:pt x="373546" y="733365"/>
                  <a:pt x="371724" y="742476"/>
                  <a:pt x="380835" y="742476"/>
                </a:cubicBezTo>
                <a:cubicBezTo>
                  <a:pt x="379012" y="738832"/>
                  <a:pt x="377190" y="735188"/>
                  <a:pt x="373546" y="729721"/>
                </a:cubicBezTo>
                <a:close/>
                <a:moveTo>
                  <a:pt x="331636" y="729721"/>
                </a:moveTo>
                <a:cubicBezTo>
                  <a:pt x="329814" y="737010"/>
                  <a:pt x="340747" y="738832"/>
                  <a:pt x="346213" y="740654"/>
                </a:cubicBezTo>
                <a:cubicBezTo>
                  <a:pt x="342569" y="735188"/>
                  <a:pt x="337102" y="733365"/>
                  <a:pt x="331636" y="729721"/>
                </a:cubicBezTo>
                <a:close/>
                <a:moveTo>
                  <a:pt x="267860" y="729721"/>
                </a:moveTo>
                <a:cubicBezTo>
                  <a:pt x="266038" y="744298"/>
                  <a:pt x="282438" y="755231"/>
                  <a:pt x="291549" y="749765"/>
                </a:cubicBezTo>
                <a:cubicBezTo>
                  <a:pt x="297015" y="746121"/>
                  <a:pt x="284259" y="744298"/>
                  <a:pt x="280615" y="738832"/>
                </a:cubicBezTo>
                <a:cubicBezTo>
                  <a:pt x="282438" y="735188"/>
                  <a:pt x="280615" y="735188"/>
                  <a:pt x="275149" y="729721"/>
                </a:cubicBezTo>
                <a:cubicBezTo>
                  <a:pt x="273327" y="729721"/>
                  <a:pt x="269682" y="731543"/>
                  <a:pt x="267860" y="729721"/>
                </a:cubicBezTo>
                <a:close/>
                <a:moveTo>
                  <a:pt x="1251834" y="727899"/>
                </a:moveTo>
                <a:cubicBezTo>
                  <a:pt x="1244545" y="724254"/>
                  <a:pt x="1235434" y="731543"/>
                  <a:pt x="1233612" y="740654"/>
                </a:cubicBezTo>
                <a:cubicBezTo>
                  <a:pt x="1240901" y="735188"/>
                  <a:pt x="1246367" y="733365"/>
                  <a:pt x="1251834" y="727899"/>
                </a:cubicBezTo>
                <a:close/>
                <a:moveTo>
                  <a:pt x="1206279" y="727899"/>
                </a:moveTo>
                <a:cubicBezTo>
                  <a:pt x="1204457" y="729721"/>
                  <a:pt x="1204457" y="731543"/>
                  <a:pt x="1202636" y="733365"/>
                </a:cubicBezTo>
                <a:cubicBezTo>
                  <a:pt x="1206279" y="737010"/>
                  <a:pt x="1213568" y="729721"/>
                  <a:pt x="1206279" y="727899"/>
                </a:cubicBezTo>
                <a:close/>
                <a:moveTo>
                  <a:pt x="1131570" y="727899"/>
                </a:moveTo>
                <a:cubicBezTo>
                  <a:pt x="1133393" y="731543"/>
                  <a:pt x="1137037" y="727899"/>
                  <a:pt x="1138859" y="729721"/>
                </a:cubicBezTo>
                <a:cubicBezTo>
                  <a:pt x="1138859" y="727899"/>
                  <a:pt x="1133393" y="727899"/>
                  <a:pt x="1131570" y="727899"/>
                </a:cubicBezTo>
                <a:close/>
                <a:moveTo>
                  <a:pt x="1045929" y="727899"/>
                </a:moveTo>
                <a:cubicBezTo>
                  <a:pt x="1042284" y="729721"/>
                  <a:pt x="1045929" y="729721"/>
                  <a:pt x="1042284" y="733365"/>
                </a:cubicBezTo>
                <a:cubicBezTo>
                  <a:pt x="1045929" y="735188"/>
                  <a:pt x="1047750" y="731543"/>
                  <a:pt x="1049573" y="731543"/>
                </a:cubicBezTo>
                <a:cubicBezTo>
                  <a:pt x="1051395" y="729721"/>
                  <a:pt x="1047750" y="727899"/>
                  <a:pt x="1045929" y="727899"/>
                </a:cubicBezTo>
                <a:close/>
                <a:moveTo>
                  <a:pt x="998552" y="727899"/>
                </a:moveTo>
                <a:cubicBezTo>
                  <a:pt x="994907" y="733365"/>
                  <a:pt x="998552" y="735188"/>
                  <a:pt x="994907" y="740654"/>
                </a:cubicBezTo>
                <a:cubicBezTo>
                  <a:pt x="998552" y="737010"/>
                  <a:pt x="1000374" y="735188"/>
                  <a:pt x="1002196" y="731543"/>
                </a:cubicBezTo>
                <a:cubicBezTo>
                  <a:pt x="1000374" y="729721"/>
                  <a:pt x="1002196" y="727899"/>
                  <a:pt x="998552" y="727899"/>
                </a:cubicBezTo>
                <a:close/>
                <a:moveTo>
                  <a:pt x="994907" y="727899"/>
                </a:moveTo>
                <a:cubicBezTo>
                  <a:pt x="991263" y="727899"/>
                  <a:pt x="989441" y="729721"/>
                  <a:pt x="985796" y="733365"/>
                </a:cubicBezTo>
                <a:cubicBezTo>
                  <a:pt x="989441" y="731543"/>
                  <a:pt x="996729" y="729721"/>
                  <a:pt x="994907" y="727899"/>
                </a:cubicBezTo>
                <a:close/>
                <a:moveTo>
                  <a:pt x="685138" y="727899"/>
                </a:moveTo>
                <a:lnTo>
                  <a:pt x="686439" y="728550"/>
                </a:lnTo>
                <a:lnTo>
                  <a:pt x="686960" y="729721"/>
                </a:lnTo>
                <a:lnTo>
                  <a:pt x="685465" y="728787"/>
                </a:lnTo>
                <a:close/>
                <a:moveTo>
                  <a:pt x="606784" y="727899"/>
                </a:moveTo>
                <a:cubicBezTo>
                  <a:pt x="599496" y="729721"/>
                  <a:pt x="603140" y="737010"/>
                  <a:pt x="599496" y="740654"/>
                </a:cubicBezTo>
                <a:lnTo>
                  <a:pt x="601521" y="737112"/>
                </a:lnTo>
                <a:lnTo>
                  <a:pt x="608606" y="740654"/>
                </a:lnTo>
                <a:cubicBezTo>
                  <a:pt x="610429" y="744298"/>
                  <a:pt x="610429" y="749765"/>
                  <a:pt x="612251" y="753409"/>
                </a:cubicBezTo>
                <a:cubicBezTo>
                  <a:pt x="610429" y="757054"/>
                  <a:pt x="617717" y="764342"/>
                  <a:pt x="621362" y="767987"/>
                </a:cubicBezTo>
                <a:cubicBezTo>
                  <a:pt x="621362" y="762520"/>
                  <a:pt x="615895" y="758876"/>
                  <a:pt x="612251" y="753409"/>
                </a:cubicBezTo>
                <a:cubicBezTo>
                  <a:pt x="615895" y="757054"/>
                  <a:pt x="619539" y="760698"/>
                  <a:pt x="621362" y="764342"/>
                </a:cubicBezTo>
                <a:cubicBezTo>
                  <a:pt x="628650" y="755231"/>
                  <a:pt x="635939" y="746121"/>
                  <a:pt x="639583" y="735188"/>
                </a:cubicBezTo>
                <a:cubicBezTo>
                  <a:pt x="639583" y="733365"/>
                  <a:pt x="639583" y="737010"/>
                  <a:pt x="637761" y="737010"/>
                </a:cubicBezTo>
                <a:cubicBezTo>
                  <a:pt x="626828" y="735188"/>
                  <a:pt x="617717" y="729721"/>
                  <a:pt x="612251" y="737010"/>
                </a:cubicBezTo>
                <a:cubicBezTo>
                  <a:pt x="612251" y="735188"/>
                  <a:pt x="612251" y="733365"/>
                  <a:pt x="614074" y="733365"/>
                </a:cubicBezTo>
                <a:cubicBezTo>
                  <a:pt x="610429" y="733365"/>
                  <a:pt x="614074" y="727899"/>
                  <a:pt x="608606" y="727899"/>
                </a:cubicBezTo>
                <a:cubicBezTo>
                  <a:pt x="607695" y="730632"/>
                  <a:pt x="608151" y="733366"/>
                  <a:pt x="607695" y="735188"/>
                </a:cubicBezTo>
                <a:lnTo>
                  <a:pt x="601630" y="736922"/>
                </a:lnTo>
                <a:close/>
                <a:moveTo>
                  <a:pt x="264216" y="727899"/>
                </a:moveTo>
                <a:cubicBezTo>
                  <a:pt x="260571" y="729721"/>
                  <a:pt x="256927" y="731543"/>
                  <a:pt x="264216" y="737010"/>
                </a:cubicBezTo>
                <a:cubicBezTo>
                  <a:pt x="266038" y="735188"/>
                  <a:pt x="260571" y="729721"/>
                  <a:pt x="264216" y="727899"/>
                </a:cubicBezTo>
                <a:close/>
                <a:moveTo>
                  <a:pt x="211372" y="727899"/>
                </a:moveTo>
                <a:cubicBezTo>
                  <a:pt x="205906" y="737010"/>
                  <a:pt x="218661" y="735188"/>
                  <a:pt x="218661" y="738832"/>
                </a:cubicBezTo>
                <a:cubicBezTo>
                  <a:pt x="218661" y="735188"/>
                  <a:pt x="215017" y="731543"/>
                  <a:pt x="211372" y="727899"/>
                </a:cubicBezTo>
                <a:close/>
                <a:moveTo>
                  <a:pt x="3586476" y="727811"/>
                </a:moveTo>
                <a:lnTo>
                  <a:pt x="3591505" y="727899"/>
                </a:lnTo>
                <a:lnTo>
                  <a:pt x="3587406" y="728583"/>
                </a:lnTo>
                <a:lnTo>
                  <a:pt x="3586039" y="727899"/>
                </a:lnTo>
                <a:close/>
                <a:moveTo>
                  <a:pt x="3557795" y="727672"/>
                </a:moveTo>
                <a:cubicBezTo>
                  <a:pt x="3555973" y="728355"/>
                  <a:pt x="3555062" y="729721"/>
                  <a:pt x="3556884" y="731543"/>
                </a:cubicBezTo>
                <a:cubicBezTo>
                  <a:pt x="3560528" y="726077"/>
                  <a:pt x="3560528" y="731543"/>
                  <a:pt x="3564173" y="731543"/>
                </a:cubicBezTo>
                <a:cubicBezTo>
                  <a:pt x="3564173" y="729721"/>
                  <a:pt x="3564173" y="729721"/>
                  <a:pt x="3564173" y="727899"/>
                </a:cubicBezTo>
                <a:cubicBezTo>
                  <a:pt x="3562351" y="726988"/>
                  <a:pt x="3559617" y="726988"/>
                  <a:pt x="3557795" y="727672"/>
                </a:cubicBezTo>
                <a:close/>
                <a:moveTo>
                  <a:pt x="185217" y="727038"/>
                </a:moveTo>
                <a:lnTo>
                  <a:pt x="191329" y="739516"/>
                </a:lnTo>
                <a:lnTo>
                  <a:pt x="195035" y="744960"/>
                </a:lnTo>
                <a:lnTo>
                  <a:pt x="192695" y="742476"/>
                </a:lnTo>
                <a:close/>
                <a:moveTo>
                  <a:pt x="324119" y="726988"/>
                </a:moveTo>
                <a:cubicBezTo>
                  <a:pt x="322980" y="725621"/>
                  <a:pt x="322525" y="725166"/>
                  <a:pt x="324347" y="727899"/>
                </a:cubicBezTo>
                <a:lnTo>
                  <a:pt x="325132" y="728180"/>
                </a:lnTo>
                <a:lnTo>
                  <a:pt x="327993" y="731543"/>
                </a:lnTo>
                <a:cubicBezTo>
                  <a:pt x="328903" y="730632"/>
                  <a:pt x="328447" y="729721"/>
                  <a:pt x="327537" y="729038"/>
                </a:cubicBezTo>
                <a:lnTo>
                  <a:pt x="325132" y="728180"/>
                </a:lnTo>
                <a:close/>
                <a:moveTo>
                  <a:pt x="3493108" y="726077"/>
                </a:moveTo>
                <a:cubicBezTo>
                  <a:pt x="3487641" y="726077"/>
                  <a:pt x="3489463" y="737010"/>
                  <a:pt x="3491286" y="737010"/>
                </a:cubicBezTo>
                <a:cubicBezTo>
                  <a:pt x="3496752" y="737010"/>
                  <a:pt x="3493108" y="729721"/>
                  <a:pt x="3493108" y="726077"/>
                </a:cubicBezTo>
                <a:close/>
                <a:moveTo>
                  <a:pt x="1372097" y="726077"/>
                </a:moveTo>
                <a:cubicBezTo>
                  <a:pt x="1368453" y="726077"/>
                  <a:pt x="1366632" y="731543"/>
                  <a:pt x="1366632" y="733365"/>
                </a:cubicBezTo>
                <a:cubicBezTo>
                  <a:pt x="1366632" y="733365"/>
                  <a:pt x="1366632" y="733365"/>
                  <a:pt x="1368453" y="735188"/>
                </a:cubicBezTo>
                <a:cubicBezTo>
                  <a:pt x="1370275" y="735188"/>
                  <a:pt x="1372097" y="731543"/>
                  <a:pt x="1375743" y="729721"/>
                </a:cubicBezTo>
                <a:cubicBezTo>
                  <a:pt x="1373920" y="727899"/>
                  <a:pt x="1373920" y="724254"/>
                  <a:pt x="1372097" y="726077"/>
                </a:cubicBezTo>
                <a:close/>
                <a:moveTo>
                  <a:pt x="1118815" y="726077"/>
                </a:moveTo>
                <a:cubicBezTo>
                  <a:pt x="1115171" y="726077"/>
                  <a:pt x="1113349" y="729721"/>
                  <a:pt x="1109704" y="731543"/>
                </a:cubicBezTo>
                <a:cubicBezTo>
                  <a:pt x="1111526" y="735188"/>
                  <a:pt x="1118815" y="731543"/>
                  <a:pt x="1122459" y="733365"/>
                </a:cubicBezTo>
                <a:cubicBezTo>
                  <a:pt x="1124282" y="731543"/>
                  <a:pt x="1120637" y="727899"/>
                  <a:pt x="1118815" y="726077"/>
                </a:cubicBezTo>
                <a:close/>
                <a:moveTo>
                  <a:pt x="841845" y="726077"/>
                </a:moveTo>
                <a:cubicBezTo>
                  <a:pt x="838200" y="735188"/>
                  <a:pt x="841845" y="740654"/>
                  <a:pt x="850956" y="746121"/>
                </a:cubicBezTo>
                <a:cubicBezTo>
                  <a:pt x="849133" y="740654"/>
                  <a:pt x="845489" y="737010"/>
                  <a:pt x="849133" y="731543"/>
                </a:cubicBezTo>
                <a:cubicBezTo>
                  <a:pt x="845489" y="729721"/>
                  <a:pt x="845489" y="727899"/>
                  <a:pt x="841845" y="726077"/>
                </a:cubicBezTo>
                <a:close/>
                <a:moveTo>
                  <a:pt x="814512" y="726077"/>
                </a:moveTo>
                <a:cubicBezTo>
                  <a:pt x="812690" y="724254"/>
                  <a:pt x="810868" y="726077"/>
                  <a:pt x="809046" y="727899"/>
                </a:cubicBezTo>
                <a:cubicBezTo>
                  <a:pt x="809046" y="733365"/>
                  <a:pt x="816334" y="731543"/>
                  <a:pt x="818156" y="735188"/>
                </a:cubicBezTo>
                <a:cubicBezTo>
                  <a:pt x="819979" y="731543"/>
                  <a:pt x="814512" y="729721"/>
                  <a:pt x="814512" y="726077"/>
                </a:cubicBezTo>
                <a:close/>
                <a:moveTo>
                  <a:pt x="761670" y="726077"/>
                </a:moveTo>
                <a:cubicBezTo>
                  <a:pt x="759848" y="727899"/>
                  <a:pt x="765313" y="731543"/>
                  <a:pt x="765313" y="729721"/>
                </a:cubicBezTo>
                <a:cubicBezTo>
                  <a:pt x="767136" y="727899"/>
                  <a:pt x="763491" y="726077"/>
                  <a:pt x="761670" y="726077"/>
                </a:cubicBezTo>
                <a:close/>
                <a:moveTo>
                  <a:pt x="628650" y="726077"/>
                </a:moveTo>
                <a:cubicBezTo>
                  <a:pt x="626828" y="727899"/>
                  <a:pt x="625006" y="729721"/>
                  <a:pt x="619539" y="729721"/>
                </a:cubicBezTo>
                <a:lnTo>
                  <a:pt x="632207" y="732536"/>
                </a:lnTo>
                <a:lnTo>
                  <a:pt x="632296" y="733365"/>
                </a:lnTo>
                <a:cubicBezTo>
                  <a:pt x="634117" y="733365"/>
                  <a:pt x="635939" y="733365"/>
                  <a:pt x="635939" y="733365"/>
                </a:cubicBezTo>
                <a:lnTo>
                  <a:pt x="632207" y="732536"/>
                </a:lnTo>
                <a:lnTo>
                  <a:pt x="631840" y="729038"/>
                </a:lnTo>
                <a:cubicBezTo>
                  <a:pt x="630017" y="728355"/>
                  <a:pt x="627739" y="727900"/>
                  <a:pt x="628650" y="726077"/>
                </a:cubicBezTo>
                <a:close/>
                <a:moveTo>
                  <a:pt x="519320" y="726077"/>
                </a:moveTo>
                <a:cubicBezTo>
                  <a:pt x="521142" y="727899"/>
                  <a:pt x="521142" y="729721"/>
                  <a:pt x="522964" y="731543"/>
                </a:cubicBezTo>
                <a:cubicBezTo>
                  <a:pt x="521142" y="735188"/>
                  <a:pt x="521142" y="738832"/>
                  <a:pt x="524786" y="740654"/>
                </a:cubicBezTo>
                <a:cubicBezTo>
                  <a:pt x="528431" y="737010"/>
                  <a:pt x="530253" y="733365"/>
                  <a:pt x="532075" y="731543"/>
                </a:cubicBezTo>
                <a:cubicBezTo>
                  <a:pt x="530253" y="729721"/>
                  <a:pt x="528431" y="727899"/>
                  <a:pt x="524786" y="726077"/>
                </a:cubicBezTo>
                <a:cubicBezTo>
                  <a:pt x="524786" y="727899"/>
                  <a:pt x="522964" y="729721"/>
                  <a:pt x="522964" y="731543"/>
                </a:cubicBezTo>
                <a:cubicBezTo>
                  <a:pt x="522964" y="727899"/>
                  <a:pt x="521142" y="726077"/>
                  <a:pt x="521142" y="726077"/>
                </a:cubicBezTo>
                <a:cubicBezTo>
                  <a:pt x="521142" y="726077"/>
                  <a:pt x="519320" y="726077"/>
                  <a:pt x="519320" y="726077"/>
                </a:cubicBezTo>
                <a:close/>
                <a:moveTo>
                  <a:pt x="495632" y="726077"/>
                </a:moveTo>
                <a:cubicBezTo>
                  <a:pt x="493809" y="726077"/>
                  <a:pt x="490165" y="727899"/>
                  <a:pt x="495632" y="731543"/>
                </a:cubicBezTo>
                <a:cubicBezTo>
                  <a:pt x="497454" y="729721"/>
                  <a:pt x="493809" y="727899"/>
                  <a:pt x="495632" y="726077"/>
                </a:cubicBezTo>
                <a:close/>
                <a:moveTo>
                  <a:pt x="307948" y="726077"/>
                </a:moveTo>
                <a:cubicBezTo>
                  <a:pt x="306126" y="729721"/>
                  <a:pt x="313414" y="729721"/>
                  <a:pt x="315236" y="731543"/>
                </a:cubicBezTo>
                <a:cubicBezTo>
                  <a:pt x="315236" y="729721"/>
                  <a:pt x="311592" y="727899"/>
                  <a:pt x="307948" y="726077"/>
                </a:cubicBezTo>
                <a:close/>
                <a:moveTo>
                  <a:pt x="240527" y="726077"/>
                </a:moveTo>
                <a:cubicBezTo>
                  <a:pt x="242349" y="727899"/>
                  <a:pt x="244172" y="731543"/>
                  <a:pt x="244172" y="726077"/>
                </a:cubicBezTo>
                <a:cubicBezTo>
                  <a:pt x="244172" y="726077"/>
                  <a:pt x="242349" y="724254"/>
                  <a:pt x="240527" y="726077"/>
                </a:cubicBezTo>
                <a:close/>
                <a:moveTo>
                  <a:pt x="3536840" y="724254"/>
                </a:moveTo>
                <a:cubicBezTo>
                  <a:pt x="3535018" y="726077"/>
                  <a:pt x="3531374" y="726077"/>
                  <a:pt x="3533196" y="727899"/>
                </a:cubicBezTo>
                <a:cubicBezTo>
                  <a:pt x="3535018" y="731543"/>
                  <a:pt x="3536840" y="731543"/>
                  <a:pt x="3538662" y="729721"/>
                </a:cubicBezTo>
                <a:cubicBezTo>
                  <a:pt x="3538662" y="727899"/>
                  <a:pt x="3538662" y="727899"/>
                  <a:pt x="3538662" y="726077"/>
                </a:cubicBezTo>
                <a:cubicBezTo>
                  <a:pt x="3536840" y="726077"/>
                  <a:pt x="3536840" y="724254"/>
                  <a:pt x="3536840" y="724254"/>
                </a:cubicBezTo>
                <a:close/>
                <a:moveTo>
                  <a:pt x="2660374" y="724254"/>
                </a:moveTo>
                <a:cubicBezTo>
                  <a:pt x="2660374" y="727899"/>
                  <a:pt x="2665841" y="731543"/>
                  <a:pt x="2662197" y="733365"/>
                </a:cubicBezTo>
                <a:cubicBezTo>
                  <a:pt x="2662197" y="729721"/>
                  <a:pt x="2654908" y="722432"/>
                  <a:pt x="2660374" y="724254"/>
                </a:cubicBezTo>
                <a:close/>
                <a:moveTo>
                  <a:pt x="2197542" y="724254"/>
                </a:moveTo>
                <a:cubicBezTo>
                  <a:pt x="2192076" y="722432"/>
                  <a:pt x="2182965" y="731543"/>
                  <a:pt x="2175676" y="735188"/>
                </a:cubicBezTo>
                <a:cubicBezTo>
                  <a:pt x="2203009" y="733365"/>
                  <a:pt x="2188431" y="740654"/>
                  <a:pt x="2197542" y="724254"/>
                </a:cubicBezTo>
                <a:close/>
                <a:moveTo>
                  <a:pt x="1432229" y="724254"/>
                </a:moveTo>
                <a:cubicBezTo>
                  <a:pt x="1428585" y="726077"/>
                  <a:pt x="1424940" y="727899"/>
                  <a:pt x="1423118" y="729721"/>
                </a:cubicBezTo>
                <a:lnTo>
                  <a:pt x="1425853" y="727898"/>
                </a:lnTo>
                <a:close/>
                <a:moveTo>
                  <a:pt x="1164370" y="724254"/>
                </a:moveTo>
                <a:cubicBezTo>
                  <a:pt x="1162547" y="726077"/>
                  <a:pt x="1160725" y="726077"/>
                  <a:pt x="1162547" y="727899"/>
                </a:cubicBezTo>
                <a:cubicBezTo>
                  <a:pt x="1164370" y="729721"/>
                  <a:pt x="1168014" y="726077"/>
                  <a:pt x="1164370" y="724254"/>
                </a:cubicBezTo>
                <a:close/>
                <a:moveTo>
                  <a:pt x="1013129" y="724254"/>
                </a:moveTo>
                <a:cubicBezTo>
                  <a:pt x="1011307" y="722432"/>
                  <a:pt x="1007663" y="727899"/>
                  <a:pt x="1011307" y="729721"/>
                </a:cubicBezTo>
                <a:cubicBezTo>
                  <a:pt x="1013129" y="727899"/>
                  <a:pt x="1009485" y="726077"/>
                  <a:pt x="1013129" y="724254"/>
                </a:cubicBezTo>
                <a:close/>
                <a:moveTo>
                  <a:pt x="976686" y="724254"/>
                </a:moveTo>
                <a:cubicBezTo>
                  <a:pt x="973041" y="726077"/>
                  <a:pt x="976686" y="727899"/>
                  <a:pt x="974863" y="727899"/>
                </a:cubicBezTo>
                <a:cubicBezTo>
                  <a:pt x="978508" y="727899"/>
                  <a:pt x="978508" y="726077"/>
                  <a:pt x="980330" y="724254"/>
                </a:cubicBezTo>
                <a:cubicBezTo>
                  <a:pt x="978508" y="724254"/>
                  <a:pt x="978508" y="724254"/>
                  <a:pt x="976686" y="724254"/>
                </a:cubicBezTo>
                <a:close/>
                <a:moveTo>
                  <a:pt x="674205" y="724254"/>
                </a:moveTo>
                <a:cubicBezTo>
                  <a:pt x="672383" y="726077"/>
                  <a:pt x="679671" y="727899"/>
                  <a:pt x="681493" y="729721"/>
                </a:cubicBezTo>
                <a:cubicBezTo>
                  <a:pt x="683316" y="724254"/>
                  <a:pt x="676027" y="724254"/>
                  <a:pt x="674205" y="724254"/>
                </a:cubicBezTo>
                <a:close/>
                <a:moveTo>
                  <a:pt x="512031" y="724254"/>
                </a:moveTo>
                <a:cubicBezTo>
                  <a:pt x="510209" y="726077"/>
                  <a:pt x="515676" y="729721"/>
                  <a:pt x="515676" y="731543"/>
                </a:cubicBezTo>
                <a:cubicBezTo>
                  <a:pt x="517498" y="729721"/>
                  <a:pt x="515676" y="724254"/>
                  <a:pt x="512031" y="724254"/>
                </a:cubicBezTo>
                <a:close/>
                <a:moveTo>
                  <a:pt x="661592" y="723429"/>
                </a:moveTo>
                <a:cubicBezTo>
                  <a:pt x="658945" y="724482"/>
                  <a:pt x="656439" y="726988"/>
                  <a:pt x="654161" y="731543"/>
                </a:cubicBezTo>
                <a:cubicBezTo>
                  <a:pt x="654161" y="733365"/>
                  <a:pt x="659627" y="729721"/>
                  <a:pt x="657805" y="727899"/>
                </a:cubicBezTo>
                <a:cubicBezTo>
                  <a:pt x="659627" y="729721"/>
                  <a:pt x="660994" y="729266"/>
                  <a:pt x="662360" y="728127"/>
                </a:cubicBezTo>
                <a:lnTo>
                  <a:pt x="666493" y="724614"/>
                </a:lnTo>
                <a:lnTo>
                  <a:pt x="666502" y="724616"/>
                </a:lnTo>
                <a:lnTo>
                  <a:pt x="659627" y="730632"/>
                </a:lnTo>
                <a:cubicBezTo>
                  <a:pt x="656439" y="731999"/>
                  <a:pt x="653250" y="733366"/>
                  <a:pt x="652339" y="737010"/>
                </a:cubicBezTo>
                <a:cubicBezTo>
                  <a:pt x="652339" y="740654"/>
                  <a:pt x="655983" y="742476"/>
                  <a:pt x="659627" y="742476"/>
                </a:cubicBezTo>
                <a:cubicBezTo>
                  <a:pt x="659627" y="740654"/>
                  <a:pt x="659627" y="738832"/>
                  <a:pt x="657805" y="737010"/>
                </a:cubicBezTo>
                <a:cubicBezTo>
                  <a:pt x="661449" y="742476"/>
                  <a:pt x="665094" y="747943"/>
                  <a:pt x="672383" y="751587"/>
                </a:cubicBezTo>
                <a:lnTo>
                  <a:pt x="672383" y="747943"/>
                </a:lnTo>
                <a:cubicBezTo>
                  <a:pt x="679671" y="751587"/>
                  <a:pt x="685138" y="757054"/>
                  <a:pt x="694249" y="755231"/>
                </a:cubicBezTo>
                <a:cubicBezTo>
                  <a:pt x="691515" y="754320"/>
                  <a:pt x="691060" y="751132"/>
                  <a:pt x="691515" y="748398"/>
                </a:cubicBezTo>
                <a:lnTo>
                  <a:pt x="692367" y="747121"/>
                </a:lnTo>
                <a:lnTo>
                  <a:pt x="692198" y="749993"/>
                </a:lnTo>
                <a:cubicBezTo>
                  <a:pt x="692882" y="751132"/>
                  <a:pt x="694248" y="751587"/>
                  <a:pt x="696071" y="749765"/>
                </a:cubicBezTo>
                <a:cubicBezTo>
                  <a:pt x="697893" y="760698"/>
                  <a:pt x="710648" y="757054"/>
                  <a:pt x="717937" y="760698"/>
                </a:cubicBezTo>
                <a:cubicBezTo>
                  <a:pt x="717937" y="754321"/>
                  <a:pt x="713837" y="752954"/>
                  <a:pt x="708598" y="752043"/>
                </a:cubicBezTo>
                <a:lnTo>
                  <a:pt x="692914" y="746300"/>
                </a:lnTo>
                <a:lnTo>
                  <a:pt x="694249" y="744298"/>
                </a:lnTo>
                <a:cubicBezTo>
                  <a:pt x="699715" y="749765"/>
                  <a:pt x="705182" y="751587"/>
                  <a:pt x="710648" y="751587"/>
                </a:cubicBezTo>
                <a:cubicBezTo>
                  <a:pt x="697893" y="740654"/>
                  <a:pt x="686960" y="737010"/>
                  <a:pt x="672383" y="738832"/>
                </a:cubicBezTo>
                <a:cubicBezTo>
                  <a:pt x="677849" y="737010"/>
                  <a:pt x="681493" y="738832"/>
                  <a:pt x="686960" y="737010"/>
                </a:cubicBezTo>
                <a:cubicBezTo>
                  <a:pt x="682860" y="733594"/>
                  <a:pt x="678504" y="729408"/>
                  <a:pt x="674180" y="726472"/>
                </a:cubicBezTo>
                <a:lnTo>
                  <a:pt x="666502" y="724616"/>
                </a:lnTo>
                <a:lnTo>
                  <a:pt x="666916" y="724254"/>
                </a:lnTo>
                <a:lnTo>
                  <a:pt x="666493" y="724614"/>
                </a:lnTo>
                <a:close/>
                <a:moveTo>
                  <a:pt x="1471406" y="723344"/>
                </a:moveTo>
                <a:cubicBezTo>
                  <a:pt x="1469129" y="724255"/>
                  <a:pt x="1466850" y="726077"/>
                  <a:pt x="1465028" y="727899"/>
                </a:cubicBezTo>
                <a:cubicBezTo>
                  <a:pt x="1468673" y="729721"/>
                  <a:pt x="1472317" y="729721"/>
                  <a:pt x="1477784" y="724254"/>
                </a:cubicBezTo>
                <a:cubicBezTo>
                  <a:pt x="1475961" y="722432"/>
                  <a:pt x="1473683" y="722432"/>
                  <a:pt x="1471406" y="723344"/>
                </a:cubicBezTo>
                <a:close/>
                <a:moveTo>
                  <a:pt x="1301887" y="722661"/>
                </a:moveTo>
                <a:cubicBezTo>
                  <a:pt x="1299894" y="722547"/>
                  <a:pt x="1298072" y="723344"/>
                  <a:pt x="1296477" y="724711"/>
                </a:cubicBezTo>
                <a:lnTo>
                  <a:pt x="1290258" y="736705"/>
                </a:lnTo>
                <a:lnTo>
                  <a:pt x="1282811" y="738832"/>
                </a:lnTo>
                <a:cubicBezTo>
                  <a:pt x="1286455" y="737010"/>
                  <a:pt x="1288277" y="737010"/>
                  <a:pt x="1290100" y="737010"/>
                </a:cubicBezTo>
                <a:lnTo>
                  <a:pt x="1290258" y="736705"/>
                </a:lnTo>
                <a:lnTo>
                  <a:pt x="1295566" y="735188"/>
                </a:lnTo>
                <a:cubicBezTo>
                  <a:pt x="1300122" y="731999"/>
                  <a:pt x="1304677" y="727900"/>
                  <a:pt x="1308321" y="726077"/>
                </a:cubicBezTo>
                <a:cubicBezTo>
                  <a:pt x="1306043" y="723800"/>
                  <a:pt x="1303880" y="722775"/>
                  <a:pt x="1301887" y="722661"/>
                </a:cubicBezTo>
                <a:close/>
                <a:moveTo>
                  <a:pt x="391768" y="722432"/>
                </a:moveTo>
                <a:cubicBezTo>
                  <a:pt x="393590" y="729721"/>
                  <a:pt x="402701" y="731543"/>
                  <a:pt x="408167" y="737010"/>
                </a:cubicBezTo>
                <a:cubicBezTo>
                  <a:pt x="404523" y="731543"/>
                  <a:pt x="397234" y="726077"/>
                  <a:pt x="391768" y="722432"/>
                </a:cubicBezTo>
                <a:close/>
                <a:moveTo>
                  <a:pt x="2207337" y="722205"/>
                </a:moveTo>
                <a:cubicBezTo>
                  <a:pt x="2207109" y="721066"/>
                  <a:pt x="2206653" y="720610"/>
                  <a:pt x="2204831" y="722432"/>
                </a:cubicBezTo>
                <a:lnTo>
                  <a:pt x="2208475" y="726077"/>
                </a:lnTo>
                <a:cubicBezTo>
                  <a:pt x="2207564" y="725166"/>
                  <a:pt x="2207564" y="723344"/>
                  <a:pt x="2207337" y="722205"/>
                </a:cubicBezTo>
                <a:close/>
                <a:moveTo>
                  <a:pt x="815313" y="722007"/>
                </a:moveTo>
                <a:lnTo>
                  <a:pt x="816334" y="722432"/>
                </a:lnTo>
                <a:lnTo>
                  <a:pt x="815615" y="722672"/>
                </a:lnTo>
                <a:close/>
                <a:moveTo>
                  <a:pt x="1235434" y="721294"/>
                </a:moveTo>
                <a:cubicBezTo>
                  <a:pt x="1234067" y="721977"/>
                  <a:pt x="1232701" y="723344"/>
                  <a:pt x="1231790" y="724254"/>
                </a:cubicBezTo>
                <a:cubicBezTo>
                  <a:pt x="1233612" y="724254"/>
                  <a:pt x="1237256" y="724254"/>
                  <a:pt x="1239080" y="722432"/>
                </a:cubicBezTo>
                <a:cubicBezTo>
                  <a:pt x="1238168" y="720610"/>
                  <a:pt x="1236801" y="720610"/>
                  <a:pt x="1235434" y="721294"/>
                </a:cubicBezTo>
                <a:close/>
                <a:moveTo>
                  <a:pt x="3500397" y="720610"/>
                </a:moveTo>
                <a:cubicBezTo>
                  <a:pt x="3502219" y="727899"/>
                  <a:pt x="3496752" y="727899"/>
                  <a:pt x="3496752" y="733365"/>
                </a:cubicBezTo>
                <a:cubicBezTo>
                  <a:pt x="3502219" y="735188"/>
                  <a:pt x="3511330" y="729721"/>
                  <a:pt x="3511330" y="722432"/>
                </a:cubicBezTo>
                <a:cubicBezTo>
                  <a:pt x="3505863" y="718788"/>
                  <a:pt x="3505863" y="726077"/>
                  <a:pt x="3500397" y="720610"/>
                </a:cubicBezTo>
                <a:close/>
                <a:moveTo>
                  <a:pt x="2609353" y="720610"/>
                </a:moveTo>
                <a:cubicBezTo>
                  <a:pt x="2605709" y="724254"/>
                  <a:pt x="2609353" y="726077"/>
                  <a:pt x="2612998" y="726077"/>
                </a:cubicBezTo>
                <a:cubicBezTo>
                  <a:pt x="2612998" y="720610"/>
                  <a:pt x="2611176" y="722432"/>
                  <a:pt x="2609353" y="720610"/>
                </a:cubicBezTo>
                <a:close/>
                <a:moveTo>
                  <a:pt x="2558332" y="720610"/>
                </a:moveTo>
                <a:cubicBezTo>
                  <a:pt x="2556510" y="724254"/>
                  <a:pt x="2558332" y="724254"/>
                  <a:pt x="2558332" y="727899"/>
                </a:cubicBezTo>
                <a:lnTo>
                  <a:pt x="2565621" y="724254"/>
                </a:lnTo>
                <a:lnTo>
                  <a:pt x="2571088" y="722432"/>
                </a:lnTo>
                <a:cubicBezTo>
                  <a:pt x="2569266" y="722432"/>
                  <a:pt x="2567443" y="722432"/>
                  <a:pt x="2565621" y="722432"/>
                </a:cubicBezTo>
                <a:cubicBezTo>
                  <a:pt x="2565621" y="722432"/>
                  <a:pt x="2565621" y="724254"/>
                  <a:pt x="2565621" y="724254"/>
                </a:cubicBezTo>
                <a:cubicBezTo>
                  <a:pt x="2563799" y="722432"/>
                  <a:pt x="2561977" y="720610"/>
                  <a:pt x="2558332" y="720610"/>
                </a:cubicBezTo>
                <a:close/>
                <a:moveTo>
                  <a:pt x="1171658" y="720610"/>
                </a:moveTo>
                <a:cubicBezTo>
                  <a:pt x="1169836" y="722432"/>
                  <a:pt x="1166192" y="722432"/>
                  <a:pt x="1168014" y="724254"/>
                </a:cubicBezTo>
                <a:cubicBezTo>
                  <a:pt x="1168014" y="726077"/>
                  <a:pt x="1173481" y="722432"/>
                  <a:pt x="1171658" y="720610"/>
                </a:cubicBezTo>
                <a:close/>
                <a:moveTo>
                  <a:pt x="1158903" y="720610"/>
                </a:moveTo>
                <a:cubicBezTo>
                  <a:pt x="1155259" y="724254"/>
                  <a:pt x="1153436" y="726077"/>
                  <a:pt x="1149792" y="727899"/>
                </a:cubicBezTo>
                <a:cubicBezTo>
                  <a:pt x="1153436" y="727899"/>
                  <a:pt x="1158903" y="722432"/>
                  <a:pt x="1160725" y="722432"/>
                </a:cubicBezTo>
                <a:cubicBezTo>
                  <a:pt x="1160725" y="722432"/>
                  <a:pt x="1158903" y="720610"/>
                  <a:pt x="1158903" y="720610"/>
                </a:cubicBezTo>
                <a:close/>
                <a:moveTo>
                  <a:pt x="1000374" y="720610"/>
                </a:moveTo>
                <a:lnTo>
                  <a:pt x="1000093" y="722713"/>
                </a:lnTo>
                <a:lnTo>
                  <a:pt x="996729" y="726077"/>
                </a:lnTo>
                <a:cubicBezTo>
                  <a:pt x="997640" y="725166"/>
                  <a:pt x="999008" y="724710"/>
                  <a:pt x="999918" y="724027"/>
                </a:cubicBezTo>
                <a:lnTo>
                  <a:pt x="1000093" y="722713"/>
                </a:lnTo>
                <a:lnTo>
                  <a:pt x="1002196" y="720610"/>
                </a:lnTo>
                <a:cubicBezTo>
                  <a:pt x="1002196" y="720610"/>
                  <a:pt x="1000374" y="720610"/>
                  <a:pt x="1000374" y="720610"/>
                </a:cubicBezTo>
                <a:close/>
                <a:moveTo>
                  <a:pt x="942064" y="720610"/>
                </a:moveTo>
                <a:cubicBezTo>
                  <a:pt x="942064" y="724254"/>
                  <a:pt x="938420" y="729721"/>
                  <a:pt x="940242" y="733365"/>
                </a:cubicBezTo>
                <a:cubicBezTo>
                  <a:pt x="947531" y="729721"/>
                  <a:pt x="943886" y="724254"/>
                  <a:pt x="942064" y="720610"/>
                </a:cubicBezTo>
                <a:close/>
                <a:moveTo>
                  <a:pt x="936598" y="720610"/>
                </a:moveTo>
                <a:cubicBezTo>
                  <a:pt x="929309" y="722432"/>
                  <a:pt x="925666" y="735188"/>
                  <a:pt x="931131" y="731543"/>
                </a:cubicBezTo>
                <a:cubicBezTo>
                  <a:pt x="932953" y="733365"/>
                  <a:pt x="927487" y="735188"/>
                  <a:pt x="929309" y="737010"/>
                </a:cubicBezTo>
                <a:cubicBezTo>
                  <a:pt x="940242" y="737010"/>
                  <a:pt x="940242" y="727899"/>
                  <a:pt x="936598" y="720610"/>
                </a:cubicBezTo>
                <a:close/>
                <a:moveTo>
                  <a:pt x="896510" y="720610"/>
                </a:moveTo>
                <a:cubicBezTo>
                  <a:pt x="891043" y="718788"/>
                  <a:pt x="896510" y="724254"/>
                  <a:pt x="898333" y="726077"/>
                </a:cubicBezTo>
                <a:cubicBezTo>
                  <a:pt x="900154" y="724254"/>
                  <a:pt x="896510" y="722432"/>
                  <a:pt x="896510" y="720610"/>
                </a:cubicBezTo>
                <a:close/>
                <a:moveTo>
                  <a:pt x="885577" y="720610"/>
                </a:moveTo>
                <a:cubicBezTo>
                  <a:pt x="881933" y="727899"/>
                  <a:pt x="891043" y="729721"/>
                  <a:pt x="896510" y="727899"/>
                </a:cubicBezTo>
                <a:cubicBezTo>
                  <a:pt x="898333" y="724254"/>
                  <a:pt x="889222" y="722432"/>
                  <a:pt x="885577" y="720610"/>
                </a:cubicBezTo>
                <a:close/>
                <a:moveTo>
                  <a:pt x="818156" y="720610"/>
                </a:moveTo>
                <a:cubicBezTo>
                  <a:pt x="817245" y="720610"/>
                  <a:pt x="815878" y="721066"/>
                  <a:pt x="815196" y="721749"/>
                </a:cubicBezTo>
                <a:lnTo>
                  <a:pt x="815313" y="722007"/>
                </a:lnTo>
                <a:lnTo>
                  <a:pt x="813601" y="721294"/>
                </a:lnTo>
                <a:cubicBezTo>
                  <a:pt x="812234" y="721977"/>
                  <a:pt x="810868" y="723344"/>
                  <a:pt x="810868" y="724254"/>
                </a:cubicBezTo>
                <a:lnTo>
                  <a:pt x="815615" y="722672"/>
                </a:lnTo>
                <a:lnTo>
                  <a:pt x="816334" y="724254"/>
                </a:lnTo>
                <a:cubicBezTo>
                  <a:pt x="819979" y="722432"/>
                  <a:pt x="819979" y="724254"/>
                  <a:pt x="821801" y="726077"/>
                </a:cubicBezTo>
                <a:cubicBezTo>
                  <a:pt x="823623" y="724254"/>
                  <a:pt x="821801" y="722432"/>
                  <a:pt x="818156" y="720610"/>
                </a:cubicBezTo>
                <a:close/>
                <a:moveTo>
                  <a:pt x="807223" y="720610"/>
                </a:moveTo>
                <a:cubicBezTo>
                  <a:pt x="801757" y="720610"/>
                  <a:pt x="792646" y="726077"/>
                  <a:pt x="798112" y="731543"/>
                </a:cubicBezTo>
                <a:cubicBezTo>
                  <a:pt x="805401" y="731543"/>
                  <a:pt x="803579" y="726077"/>
                  <a:pt x="807223" y="720610"/>
                </a:cubicBezTo>
                <a:close/>
                <a:moveTo>
                  <a:pt x="739803" y="720610"/>
                </a:moveTo>
                <a:cubicBezTo>
                  <a:pt x="737981" y="726077"/>
                  <a:pt x="743447" y="733365"/>
                  <a:pt x="750737" y="731543"/>
                </a:cubicBezTo>
                <a:cubicBezTo>
                  <a:pt x="750737" y="727899"/>
                  <a:pt x="743447" y="722432"/>
                  <a:pt x="739803" y="720610"/>
                </a:cubicBezTo>
                <a:close/>
                <a:moveTo>
                  <a:pt x="705182" y="720610"/>
                </a:moveTo>
                <a:cubicBezTo>
                  <a:pt x="705182" y="724254"/>
                  <a:pt x="712470" y="729721"/>
                  <a:pt x="714293" y="731543"/>
                </a:cubicBezTo>
                <a:cubicBezTo>
                  <a:pt x="719759" y="727899"/>
                  <a:pt x="708826" y="724254"/>
                  <a:pt x="705182" y="720610"/>
                </a:cubicBezTo>
                <a:close/>
                <a:moveTo>
                  <a:pt x="439145" y="720610"/>
                </a:moveTo>
                <a:cubicBezTo>
                  <a:pt x="442789" y="726077"/>
                  <a:pt x="435500" y="733365"/>
                  <a:pt x="446433" y="731543"/>
                </a:cubicBezTo>
                <a:cubicBezTo>
                  <a:pt x="444611" y="727899"/>
                  <a:pt x="446433" y="720610"/>
                  <a:pt x="439145" y="720610"/>
                </a:cubicBezTo>
                <a:close/>
                <a:moveTo>
                  <a:pt x="331636" y="720610"/>
                </a:moveTo>
                <a:cubicBezTo>
                  <a:pt x="327993" y="720610"/>
                  <a:pt x="331636" y="729721"/>
                  <a:pt x="335280" y="727899"/>
                </a:cubicBezTo>
                <a:cubicBezTo>
                  <a:pt x="333458" y="724254"/>
                  <a:pt x="333458" y="722432"/>
                  <a:pt x="331636" y="720610"/>
                </a:cubicBezTo>
                <a:close/>
                <a:moveTo>
                  <a:pt x="1224273" y="719244"/>
                </a:moveTo>
                <a:cubicBezTo>
                  <a:pt x="1223134" y="719700"/>
                  <a:pt x="1221768" y="720610"/>
                  <a:pt x="1220858" y="720610"/>
                </a:cubicBezTo>
                <a:cubicBezTo>
                  <a:pt x="1222679" y="722432"/>
                  <a:pt x="1224501" y="720610"/>
                  <a:pt x="1226323" y="720610"/>
                </a:cubicBezTo>
                <a:cubicBezTo>
                  <a:pt x="1226323" y="718788"/>
                  <a:pt x="1225412" y="718788"/>
                  <a:pt x="1224273" y="719244"/>
                </a:cubicBezTo>
                <a:close/>
                <a:moveTo>
                  <a:pt x="3418399" y="718788"/>
                </a:moveTo>
                <a:cubicBezTo>
                  <a:pt x="3423865" y="722432"/>
                  <a:pt x="3420221" y="729721"/>
                  <a:pt x="3423865" y="735188"/>
                </a:cubicBezTo>
                <a:cubicBezTo>
                  <a:pt x="3438443" y="731543"/>
                  <a:pt x="3436621" y="747943"/>
                  <a:pt x="3453020" y="747943"/>
                </a:cubicBezTo>
                <a:cubicBezTo>
                  <a:pt x="3456664" y="738832"/>
                  <a:pt x="3454842" y="727899"/>
                  <a:pt x="3447553" y="724254"/>
                </a:cubicBezTo>
                <a:cubicBezTo>
                  <a:pt x="3445731" y="727899"/>
                  <a:pt x="3438443" y="727899"/>
                  <a:pt x="3434798" y="726077"/>
                </a:cubicBezTo>
                <a:cubicBezTo>
                  <a:pt x="3442087" y="729721"/>
                  <a:pt x="3434798" y="731543"/>
                  <a:pt x="3429332" y="733365"/>
                </a:cubicBezTo>
                <a:cubicBezTo>
                  <a:pt x="3427510" y="731543"/>
                  <a:pt x="3429332" y="726077"/>
                  <a:pt x="3431154" y="726077"/>
                </a:cubicBezTo>
                <a:cubicBezTo>
                  <a:pt x="3429332" y="726077"/>
                  <a:pt x="3427510" y="716966"/>
                  <a:pt x="3418399" y="718788"/>
                </a:cubicBezTo>
                <a:close/>
                <a:moveTo>
                  <a:pt x="2618464" y="718788"/>
                </a:moveTo>
                <a:cubicBezTo>
                  <a:pt x="2614820" y="718788"/>
                  <a:pt x="2618464" y="726077"/>
                  <a:pt x="2614820" y="726077"/>
                </a:cubicBezTo>
                <a:cubicBezTo>
                  <a:pt x="2614820" y="731543"/>
                  <a:pt x="2618464" y="731543"/>
                  <a:pt x="2622109" y="731543"/>
                </a:cubicBezTo>
                <a:cubicBezTo>
                  <a:pt x="2622109" y="727899"/>
                  <a:pt x="2618464" y="726077"/>
                  <a:pt x="2618464" y="718788"/>
                </a:cubicBezTo>
                <a:close/>
                <a:moveTo>
                  <a:pt x="1459562" y="718788"/>
                </a:moveTo>
                <a:lnTo>
                  <a:pt x="1434006" y="737529"/>
                </a:lnTo>
                <a:lnTo>
                  <a:pt x="1423118" y="739060"/>
                </a:lnTo>
                <a:cubicBezTo>
                  <a:pt x="1418107" y="740654"/>
                  <a:pt x="1413097" y="742476"/>
                  <a:pt x="1408541" y="742476"/>
                </a:cubicBezTo>
                <a:cubicBezTo>
                  <a:pt x="1415829" y="747943"/>
                  <a:pt x="1428585" y="740654"/>
                  <a:pt x="1437696" y="737010"/>
                </a:cubicBezTo>
                <a:lnTo>
                  <a:pt x="1434232" y="737497"/>
                </a:lnTo>
                <a:lnTo>
                  <a:pt x="1437696" y="735188"/>
                </a:lnTo>
                <a:cubicBezTo>
                  <a:pt x="1441340" y="738832"/>
                  <a:pt x="1441340" y="737010"/>
                  <a:pt x="1441340" y="740654"/>
                </a:cubicBezTo>
                <a:lnTo>
                  <a:pt x="1444588" y="738415"/>
                </a:lnTo>
                <a:lnTo>
                  <a:pt x="1443162" y="740654"/>
                </a:lnTo>
                <a:cubicBezTo>
                  <a:pt x="1444984" y="742476"/>
                  <a:pt x="1444984" y="740654"/>
                  <a:pt x="1446806" y="742476"/>
                </a:cubicBezTo>
                <a:lnTo>
                  <a:pt x="1452035" y="733762"/>
                </a:lnTo>
                <a:lnTo>
                  <a:pt x="1455917" y="731543"/>
                </a:lnTo>
                <a:cubicBezTo>
                  <a:pt x="1455917" y="729721"/>
                  <a:pt x="1455917" y="729721"/>
                  <a:pt x="1454095" y="727899"/>
                </a:cubicBezTo>
                <a:cubicBezTo>
                  <a:pt x="1454095" y="727899"/>
                  <a:pt x="1455917" y="729721"/>
                  <a:pt x="1457739" y="727899"/>
                </a:cubicBezTo>
                <a:cubicBezTo>
                  <a:pt x="1461384" y="724254"/>
                  <a:pt x="1461384" y="720610"/>
                  <a:pt x="1459562" y="718788"/>
                </a:cubicBezTo>
                <a:close/>
                <a:moveTo>
                  <a:pt x="1198991" y="718788"/>
                </a:moveTo>
                <a:cubicBezTo>
                  <a:pt x="1197169" y="716966"/>
                  <a:pt x="1195346" y="720610"/>
                  <a:pt x="1195346" y="720610"/>
                </a:cubicBezTo>
                <a:cubicBezTo>
                  <a:pt x="1195346" y="720610"/>
                  <a:pt x="1197169" y="720610"/>
                  <a:pt x="1198991" y="720610"/>
                </a:cubicBezTo>
                <a:cubicBezTo>
                  <a:pt x="1198991" y="720610"/>
                  <a:pt x="1198991" y="718788"/>
                  <a:pt x="1198991" y="718788"/>
                </a:cubicBezTo>
                <a:close/>
                <a:moveTo>
                  <a:pt x="1104238" y="718788"/>
                </a:moveTo>
                <a:cubicBezTo>
                  <a:pt x="1100593" y="718788"/>
                  <a:pt x="1098771" y="720610"/>
                  <a:pt x="1096949" y="720610"/>
                </a:cubicBezTo>
                <a:cubicBezTo>
                  <a:pt x="1095127" y="720610"/>
                  <a:pt x="1095127" y="722432"/>
                  <a:pt x="1098771" y="722432"/>
                </a:cubicBezTo>
                <a:cubicBezTo>
                  <a:pt x="1100593" y="722432"/>
                  <a:pt x="1102416" y="720610"/>
                  <a:pt x="1104238" y="718788"/>
                </a:cubicBezTo>
                <a:close/>
                <a:moveTo>
                  <a:pt x="1045929" y="718788"/>
                </a:moveTo>
                <a:cubicBezTo>
                  <a:pt x="1044106" y="720610"/>
                  <a:pt x="1044106" y="722432"/>
                  <a:pt x="1042284" y="726077"/>
                </a:cubicBezTo>
                <a:cubicBezTo>
                  <a:pt x="1047750" y="724254"/>
                  <a:pt x="1042284" y="722432"/>
                  <a:pt x="1047750" y="720610"/>
                </a:cubicBezTo>
                <a:cubicBezTo>
                  <a:pt x="1047750" y="720610"/>
                  <a:pt x="1047750" y="718788"/>
                  <a:pt x="1045929" y="718788"/>
                </a:cubicBezTo>
                <a:close/>
                <a:moveTo>
                  <a:pt x="1014951" y="718788"/>
                </a:moveTo>
                <a:lnTo>
                  <a:pt x="1016774" y="718788"/>
                </a:lnTo>
                <a:lnTo>
                  <a:pt x="1014040" y="719699"/>
                </a:lnTo>
                <a:close/>
                <a:moveTo>
                  <a:pt x="1011307" y="718788"/>
                </a:moveTo>
                <a:cubicBezTo>
                  <a:pt x="1007663" y="716966"/>
                  <a:pt x="1002196" y="720610"/>
                  <a:pt x="1005840" y="722432"/>
                </a:cubicBezTo>
                <a:cubicBezTo>
                  <a:pt x="1007663" y="720610"/>
                  <a:pt x="1009485" y="720610"/>
                  <a:pt x="1011307" y="718788"/>
                </a:cubicBezTo>
                <a:close/>
                <a:moveTo>
                  <a:pt x="911087" y="718788"/>
                </a:moveTo>
                <a:cubicBezTo>
                  <a:pt x="905621" y="722432"/>
                  <a:pt x="909265" y="726077"/>
                  <a:pt x="909265" y="727899"/>
                </a:cubicBezTo>
                <a:cubicBezTo>
                  <a:pt x="912909" y="726077"/>
                  <a:pt x="914732" y="720610"/>
                  <a:pt x="911087" y="718788"/>
                </a:cubicBezTo>
                <a:close/>
                <a:moveTo>
                  <a:pt x="570341" y="718788"/>
                </a:moveTo>
                <a:cubicBezTo>
                  <a:pt x="568519" y="720610"/>
                  <a:pt x="566697" y="724254"/>
                  <a:pt x="566697" y="726077"/>
                </a:cubicBezTo>
                <a:cubicBezTo>
                  <a:pt x="568519" y="726077"/>
                  <a:pt x="570341" y="727899"/>
                  <a:pt x="572163" y="729721"/>
                </a:cubicBezTo>
                <a:cubicBezTo>
                  <a:pt x="572163" y="727899"/>
                  <a:pt x="570341" y="726077"/>
                  <a:pt x="573985" y="726077"/>
                </a:cubicBezTo>
                <a:cubicBezTo>
                  <a:pt x="572163" y="724254"/>
                  <a:pt x="573985" y="720610"/>
                  <a:pt x="570341" y="718788"/>
                </a:cubicBezTo>
                <a:close/>
                <a:moveTo>
                  <a:pt x="526609" y="718788"/>
                </a:moveTo>
                <a:cubicBezTo>
                  <a:pt x="522964" y="720610"/>
                  <a:pt x="528431" y="724254"/>
                  <a:pt x="530253" y="724254"/>
                </a:cubicBezTo>
                <a:cubicBezTo>
                  <a:pt x="532075" y="722432"/>
                  <a:pt x="526609" y="722432"/>
                  <a:pt x="526609" y="718788"/>
                </a:cubicBezTo>
                <a:close/>
                <a:moveTo>
                  <a:pt x="453722" y="718788"/>
                </a:moveTo>
                <a:cubicBezTo>
                  <a:pt x="448256" y="722432"/>
                  <a:pt x="457367" y="726077"/>
                  <a:pt x="461010" y="729721"/>
                </a:cubicBezTo>
                <a:cubicBezTo>
                  <a:pt x="461010" y="726077"/>
                  <a:pt x="453722" y="722432"/>
                  <a:pt x="453722" y="718788"/>
                </a:cubicBezTo>
                <a:close/>
                <a:moveTo>
                  <a:pt x="380835" y="718788"/>
                </a:moveTo>
                <a:cubicBezTo>
                  <a:pt x="379012" y="718788"/>
                  <a:pt x="380835" y="720610"/>
                  <a:pt x="379012" y="720610"/>
                </a:cubicBezTo>
                <a:cubicBezTo>
                  <a:pt x="380835" y="722432"/>
                  <a:pt x="382657" y="726077"/>
                  <a:pt x="386301" y="724254"/>
                </a:cubicBezTo>
                <a:cubicBezTo>
                  <a:pt x="384479" y="722432"/>
                  <a:pt x="382657" y="720610"/>
                  <a:pt x="380835" y="718788"/>
                </a:cubicBezTo>
                <a:close/>
                <a:moveTo>
                  <a:pt x="165818" y="718788"/>
                </a:moveTo>
                <a:cubicBezTo>
                  <a:pt x="163996" y="720610"/>
                  <a:pt x="167640" y="726077"/>
                  <a:pt x="169462" y="726077"/>
                </a:cubicBezTo>
                <a:cubicBezTo>
                  <a:pt x="169462" y="724254"/>
                  <a:pt x="167640" y="720610"/>
                  <a:pt x="165818" y="718788"/>
                </a:cubicBezTo>
                <a:close/>
                <a:moveTo>
                  <a:pt x="1347982" y="717218"/>
                </a:moveTo>
                <a:lnTo>
                  <a:pt x="1356608" y="717650"/>
                </a:lnTo>
                <a:lnTo>
                  <a:pt x="1356928" y="717634"/>
                </a:lnTo>
                <a:lnTo>
                  <a:pt x="1356381" y="717877"/>
                </a:lnTo>
                <a:close/>
                <a:moveTo>
                  <a:pt x="3394710" y="716966"/>
                </a:moveTo>
                <a:cubicBezTo>
                  <a:pt x="3376489" y="720610"/>
                  <a:pt x="3352800" y="727899"/>
                  <a:pt x="3345512" y="744298"/>
                </a:cubicBezTo>
                <a:cubicBezTo>
                  <a:pt x="3361911" y="744298"/>
                  <a:pt x="3383777" y="729721"/>
                  <a:pt x="3394710" y="716966"/>
                </a:cubicBezTo>
                <a:close/>
                <a:moveTo>
                  <a:pt x="2261318" y="716966"/>
                </a:moveTo>
                <a:cubicBezTo>
                  <a:pt x="2259496" y="720610"/>
                  <a:pt x="2261318" y="733365"/>
                  <a:pt x="2263140" y="733365"/>
                </a:cubicBezTo>
                <a:cubicBezTo>
                  <a:pt x="2266785" y="735188"/>
                  <a:pt x="2263140" y="726077"/>
                  <a:pt x="2264963" y="726077"/>
                </a:cubicBezTo>
                <a:cubicBezTo>
                  <a:pt x="2263140" y="724254"/>
                  <a:pt x="2261318" y="720610"/>
                  <a:pt x="2261318" y="716966"/>
                </a:cubicBezTo>
                <a:close/>
                <a:moveTo>
                  <a:pt x="1370275" y="716966"/>
                </a:moveTo>
                <a:lnTo>
                  <a:pt x="1369725" y="718066"/>
                </a:lnTo>
                <a:lnTo>
                  <a:pt x="1368453" y="718788"/>
                </a:lnTo>
                <a:lnTo>
                  <a:pt x="1368803" y="717040"/>
                </a:lnTo>
                <a:close/>
                <a:moveTo>
                  <a:pt x="1184414" y="716966"/>
                </a:moveTo>
                <a:cubicBezTo>
                  <a:pt x="1180769" y="715144"/>
                  <a:pt x="1180769" y="720610"/>
                  <a:pt x="1178947" y="720610"/>
                </a:cubicBezTo>
                <a:cubicBezTo>
                  <a:pt x="1182592" y="722432"/>
                  <a:pt x="1184414" y="720610"/>
                  <a:pt x="1184414" y="720610"/>
                </a:cubicBezTo>
                <a:cubicBezTo>
                  <a:pt x="1186236" y="720610"/>
                  <a:pt x="1182592" y="718788"/>
                  <a:pt x="1184414" y="716966"/>
                </a:cubicBezTo>
                <a:close/>
                <a:moveTo>
                  <a:pt x="871000" y="716966"/>
                </a:moveTo>
                <a:cubicBezTo>
                  <a:pt x="867355" y="731543"/>
                  <a:pt x="861889" y="751587"/>
                  <a:pt x="880111" y="760698"/>
                </a:cubicBezTo>
                <a:cubicBezTo>
                  <a:pt x="881933" y="757054"/>
                  <a:pt x="880111" y="755231"/>
                  <a:pt x="883755" y="753409"/>
                </a:cubicBezTo>
                <a:cubicBezTo>
                  <a:pt x="876466" y="762520"/>
                  <a:pt x="887399" y="767987"/>
                  <a:pt x="896510" y="766164"/>
                </a:cubicBezTo>
                <a:cubicBezTo>
                  <a:pt x="892866" y="751587"/>
                  <a:pt x="876466" y="744298"/>
                  <a:pt x="869177" y="733365"/>
                </a:cubicBezTo>
                <a:cubicBezTo>
                  <a:pt x="872822" y="735188"/>
                  <a:pt x="874644" y="735188"/>
                  <a:pt x="876466" y="733365"/>
                </a:cubicBezTo>
                <a:cubicBezTo>
                  <a:pt x="874644" y="727899"/>
                  <a:pt x="872822" y="720610"/>
                  <a:pt x="871000" y="716966"/>
                </a:cubicBezTo>
                <a:close/>
                <a:moveTo>
                  <a:pt x="719759" y="716966"/>
                </a:moveTo>
                <a:cubicBezTo>
                  <a:pt x="716115" y="722432"/>
                  <a:pt x="721581" y="724254"/>
                  <a:pt x="727048" y="727899"/>
                </a:cubicBezTo>
                <a:cubicBezTo>
                  <a:pt x="728870" y="724254"/>
                  <a:pt x="723404" y="720610"/>
                  <a:pt x="719759" y="716966"/>
                </a:cubicBezTo>
                <a:close/>
                <a:moveTo>
                  <a:pt x="655983" y="716966"/>
                </a:moveTo>
                <a:lnTo>
                  <a:pt x="658433" y="718600"/>
                </a:lnTo>
                <a:lnTo>
                  <a:pt x="655588" y="718151"/>
                </a:lnTo>
                <a:close/>
                <a:moveTo>
                  <a:pt x="599496" y="716966"/>
                </a:moveTo>
                <a:cubicBezTo>
                  <a:pt x="597673" y="716966"/>
                  <a:pt x="597673" y="718788"/>
                  <a:pt x="595852" y="718788"/>
                </a:cubicBezTo>
                <a:cubicBezTo>
                  <a:pt x="597673" y="720610"/>
                  <a:pt x="595852" y="722432"/>
                  <a:pt x="597673" y="724254"/>
                </a:cubicBezTo>
                <a:cubicBezTo>
                  <a:pt x="595852" y="726077"/>
                  <a:pt x="599496" y="729721"/>
                  <a:pt x="601318" y="727899"/>
                </a:cubicBezTo>
                <a:cubicBezTo>
                  <a:pt x="601318" y="726077"/>
                  <a:pt x="599496" y="724254"/>
                  <a:pt x="597673" y="724254"/>
                </a:cubicBezTo>
                <a:cubicBezTo>
                  <a:pt x="603140" y="726077"/>
                  <a:pt x="603140" y="720610"/>
                  <a:pt x="599496" y="716966"/>
                </a:cubicBezTo>
                <a:close/>
                <a:moveTo>
                  <a:pt x="515676" y="716966"/>
                </a:moveTo>
                <a:cubicBezTo>
                  <a:pt x="515676" y="720610"/>
                  <a:pt x="515676" y="726077"/>
                  <a:pt x="522964" y="722432"/>
                </a:cubicBezTo>
                <a:cubicBezTo>
                  <a:pt x="519320" y="720610"/>
                  <a:pt x="517498" y="718788"/>
                  <a:pt x="515676" y="716966"/>
                </a:cubicBezTo>
                <a:close/>
                <a:moveTo>
                  <a:pt x="362613" y="716966"/>
                </a:moveTo>
                <a:cubicBezTo>
                  <a:pt x="362613" y="724254"/>
                  <a:pt x="364435" y="731543"/>
                  <a:pt x="369902" y="737010"/>
                </a:cubicBezTo>
                <a:cubicBezTo>
                  <a:pt x="375368" y="733365"/>
                  <a:pt x="368079" y="724254"/>
                  <a:pt x="362613" y="716966"/>
                </a:cubicBezTo>
                <a:close/>
                <a:moveTo>
                  <a:pt x="297015" y="716966"/>
                </a:moveTo>
                <a:cubicBezTo>
                  <a:pt x="295193" y="724254"/>
                  <a:pt x="304303" y="724254"/>
                  <a:pt x="306126" y="726077"/>
                </a:cubicBezTo>
                <a:cubicBezTo>
                  <a:pt x="304303" y="720610"/>
                  <a:pt x="300660" y="716966"/>
                  <a:pt x="297015" y="716966"/>
                </a:cubicBezTo>
                <a:close/>
                <a:moveTo>
                  <a:pt x="1036818" y="716511"/>
                </a:moveTo>
                <a:cubicBezTo>
                  <a:pt x="1034995" y="716511"/>
                  <a:pt x="1033173" y="716966"/>
                  <a:pt x="1031351" y="718788"/>
                </a:cubicBezTo>
                <a:cubicBezTo>
                  <a:pt x="1033173" y="720610"/>
                  <a:pt x="1029529" y="722432"/>
                  <a:pt x="1033173" y="724254"/>
                </a:cubicBezTo>
                <a:cubicBezTo>
                  <a:pt x="1034995" y="722432"/>
                  <a:pt x="1033173" y="720610"/>
                  <a:pt x="1036818" y="718788"/>
                </a:cubicBezTo>
                <a:cubicBezTo>
                  <a:pt x="1036818" y="720610"/>
                  <a:pt x="1034995" y="724254"/>
                  <a:pt x="1033173" y="726077"/>
                </a:cubicBezTo>
                <a:cubicBezTo>
                  <a:pt x="1034995" y="727899"/>
                  <a:pt x="1038639" y="727899"/>
                  <a:pt x="1036818" y="729721"/>
                </a:cubicBezTo>
                <a:cubicBezTo>
                  <a:pt x="1038639" y="729721"/>
                  <a:pt x="1040462" y="726077"/>
                  <a:pt x="1042284" y="724254"/>
                </a:cubicBezTo>
                <a:cubicBezTo>
                  <a:pt x="1036818" y="724254"/>
                  <a:pt x="1044106" y="718788"/>
                  <a:pt x="1042284" y="716966"/>
                </a:cubicBezTo>
                <a:cubicBezTo>
                  <a:pt x="1040462" y="716966"/>
                  <a:pt x="1038640" y="716511"/>
                  <a:pt x="1036818" y="716511"/>
                </a:cubicBezTo>
                <a:close/>
                <a:moveTo>
                  <a:pt x="2241274" y="715144"/>
                </a:moveTo>
                <a:cubicBezTo>
                  <a:pt x="2230341" y="718788"/>
                  <a:pt x="2206653" y="713321"/>
                  <a:pt x="2208475" y="727899"/>
                </a:cubicBezTo>
                <a:lnTo>
                  <a:pt x="2217586" y="735188"/>
                </a:lnTo>
                <a:lnTo>
                  <a:pt x="2228519" y="729721"/>
                </a:lnTo>
                <a:lnTo>
                  <a:pt x="2230341" y="727899"/>
                </a:lnTo>
                <a:cubicBezTo>
                  <a:pt x="2232163" y="729721"/>
                  <a:pt x="2233986" y="729721"/>
                  <a:pt x="2235808" y="731543"/>
                </a:cubicBezTo>
                <a:cubicBezTo>
                  <a:pt x="2237630" y="727899"/>
                  <a:pt x="2239452" y="726077"/>
                  <a:pt x="2243096" y="726077"/>
                </a:cubicBezTo>
                <a:cubicBezTo>
                  <a:pt x="2244919" y="720610"/>
                  <a:pt x="2241274" y="716966"/>
                  <a:pt x="2241274" y="715144"/>
                </a:cubicBezTo>
                <a:close/>
                <a:moveTo>
                  <a:pt x="1191703" y="715144"/>
                </a:moveTo>
                <a:cubicBezTo>
                  <a:pt x="1191703" y="716966"/>
                  <a:pt x="1186236" y="718788"/>
                  <a:pt x="1189880" y="720610"/>
                </a:cubicBezTo>
                <a:cubicBezTo>
                  <a:pt x="1191703" y="718788"/>
                  <a:pt x="1193525" y="716966"/>
                  <a:pt x="1191703" y="715144"/>
                </a:cubicBezTo>
                <a:close/>
                <a:moveTo>
                  <a:pt x="1164370" y="715144"/>
                </a:moveTo>
                <a:cubicBezTo>
                  <a:pt x="1162547" y="715144"/>
                  <a:pt x="1162547" y="716966"/>
                  <a:pt x="1162547" y="716966"/>
                </a:cubicBezTo>
                <a:cubicBezTo>
                  <a:pt x="1164370" y="720610"/>
                  <a:pt x="1166192" y="718788"/>
                  <a:pt x="1168014" y="716966"/>
                </a:cubicBezTo>
                <a:cubicBezTo>
                  <a:pt x="1166192" y="715144"/>
                  <a:pt x="1166192" y="715144"/>
                  <a:pt x="1164370" y="715144"/>
                </a:cubicBezTo>
                <a:close/>
                <a:moveTo>
                  <a:pt x="1147970" y="715144"/>
                </a:moveTo>
                <a:cubicBezTo>
                  <a:pt x="1146148" y="715144"/>
                  <a:pt x="1138859" y="716966"/>
                  <a:pt x="1140681" y="720610"/>
                </a:cubicBezTo>
                <a:cubicBezTo>
                  <a:pt x="1137037" y="722432"/>
                  <a:pt x="1135215" y="722432"/>
                  <a:pt x="1131570" y="720610"/>
                </a:cubicBezTo>
                <a:cubicBezTo>
                  <a:pt x="1131570" y="726077"/>
                  <a:pt x="1138859" y="724254"/>
                  <a:pt x="1142503" y="726077"/>
                </a:cubicBezTo>
                <a:cubicBezTo>
                  <a:pt x="1144326" y="722432"/>
                  <a:pt x="1138859" y="722432"/>
                  <a:pt x="1140681" y="720610"/>
                </a:cubicBezTo>
                <a:cubicBezTo>
                  <a:pt x="1140681" y="720610"/>
                  <a:pt x="1142503" y="722432"/>
                  <a:pt x="1142503" y="722432"/>
                </a:cubicBezTo>
                <a:cubicBezTo>
                  <a:pt x="1146148" y="720610"/>
                  <a:pt x="1144326" y="716966"/>
                  <a:pt x="1147970" y="715144"/>
                </a:cubicBezTo>
                <a:close/>
                <a:moveTo>
                  <a:pt x="1018596" y="715144"/>
                </a:moveTo>
                <a:lnTo>
                  <a:pt x="1014951" y="718788"/>
                </a:lnTo>
                <a:lnTo>
                  <a:pt x="1013129" y="718788"/>
                </a:lnTo>
                <a:cubicBezTo>
                  <a:pt x="1013129" y="718788"/>
                  <a:pt x="1013129" y="718788"/>
                  <a:pt x="1011307" y="720610"/>
                </a:cubicBezTo>
                <a:lnTo>
                  <a:pt x="1014040" y="719699"/>
                </a:lnTo>
                <a:lnTo>
                  <a:pt x="1013129" y="720610"/>
                </a:lnTo>
                <a:cubicBezTo>
                  <a:pt x="1013129" y="726077"/>
                  <a:pt x="1016774" y="731543"/>
                  <a:pt x="1016774" y="737010"/>
                </a:cubicBezTo>
                <a:cubicBezTo>
                  <a:pt x="1014951" y="737010"/>
                  <a:pt x="1014951" y="737010"/>
                  <a:pt x="1013129" y="738832"/>
                </a:cubicBezTo>
                <a:cubicBezTo>
                  <a:pt x="1025884" y="740654"/>
                  <a:pt x="1033173" y="727899"/>
                  <a:pt x="1027707" y="715144"/>
                </a:cubicBezTo>
                <a:cubicBezTo>
                  <a:pt x="1025884" y="715144"/>
                  <a:pt x="1022240" y="715144"/>
                  <a:pt x="1018596" y="715144"/>
                </a:cubicBezTo>
                <a:close/>
                <a:moveTo>
                  <a:pt x="978508" y="715144"/>
                </a:moveTo>
                <a:cubicBezTo>
                  <a:pt x="974863" y="715144"/>
                  <a:pt x="973041" y="716966"/>
                  <a:pt x="971219" y="716966"/>
                </a:cubicBezTo>
                <a:cubicBezTo>
                  <a:pt x="969397" y="720610"/>
                  <a:pt x="965753" y="722432"/>
                  <a:pt x="960286" y="726077"/>
                </a:cubicBezTo>
                <a:cubicBezTo>
                  <a:pt x="969397" y="726077"/>
                  <a:pt x="976686" y="720610"/>
                  <a:pt x="978508" y="715144"/>
                </a:cubicBezTo>
                <a:close/>
                <a:moveTo>
                  <a:pt x="951175" y="715144"/>
                </a:moveTo>
                <a:cubicBezTo>
                  <a:pt x="942064" y="716966"/>
                  <a:pt x="945709" y="724254"/>
                  <a:pt x="947531" y="727899"/>
                </a:cubicBezTo>
                <a:cubicBezTo>
                  <a:pt x="949353" y="726077"/>
                  <a:pt x="952997" y="726077"/>
                  <a:pt x="954819" y="724254"/>
                </a:cubicBezTo>
                <a:cubicBezTo>
                  <a:pt x="954819" y="720610"/>
                  <a:pt x="952997" y="718788"/>
                  <a:pt x="951175" y="715144"/>
                </a:cubicBezTo>
                <a:close/>
                <a:moveTo>
                  <a:pt x="925666" y="715144"/>
                </a:moveTo>
                <a:cubicBezTo>
                  <a:pt x="923843" y="715144"/>
                  <a:pt x="920198" y="718788"/>
                  <a:pt x="922020" y="720610"/>
                </a:cubicBezTo>
                <a:cubicBezTo>
                  <a:pt x="922020" y="718788"/>
                  <a:pt x="927487" y="720610"/>
                  <a:pt x="925666" y="715144"/>
                </a:cubicBezTo>
                <a:close/>
                <a:moveTo>
                  <a:pt x="654161" y="715144"/>
                </a:moveTo>
                <a:lnTo>
                  <a:pt x="654078" y="716132"/>
                </a:lnTo>
                <a:lnTo>
                  <a:pt x="653718" y="715549"/>
                </a:lnTo>
                <a:close/>
                <a:moveTo>
                  <a:pt x="619539" y="715144"/>
                </a:moveTo>
                <a:lnTo>
                  <a:pt x="621815" y="717420"/>
                </a:lnTo>
                <a:lnTo>
                  <a:pt x="619169" y="715588"/>
                </a:lnTo>
                <a:close/>
                <a:moveTo>
                  <a:pt x="473766" y="715144"/>
                </a:moveTo>
                <a:cubicBezTo>
                  <a:pt x="471943" y="716966"/>
                  <a:pt x="477410" y="720610"/>
                  <a:pt x="479232" y="718788"/>
                </a:cubicBezTo>
                <a:cubicBezTo>
                  <a:pt x="477410" y="716966"/>
                  <a:pt x="475589" y="716966"/>
                  <a:pt x="473766" y="715144"/>
                </a:cubicBezTo>
                <a:close/>
                <a:moveTo>
                  <a:pt x="457367" y="715144"/>
                </a:moveTo>
                <a:cubicBezTo>
                  <a:pt x="461010" y="722432"/>
                  <a:pt x="468299" y="727899"/>
                  <a:pt x="475589" y="733365"/>
                </a:cubicBezTo>
                <a:cubicBezTo>
                  <a:pt x="477410" y="726077"/>
                  <a:pt x="471943" y="724254"/>
                  <a:pt x="466478" y="724254"/>
                </a:cubicBezTo>
                <a:cubicBezTo>
                  <a:pt x="466478" y="720610"/>
                  <a:pt x="459188" y="718788"/>
                  <a:pt x="457367" y="715144"/>
                </a:cubicBezTo>
                <a:close/>
                <a:moveTo>
                  <a:pt x="389946" y="715144"/>
                </a:moveTo>
                <a:cubicBezTo>
                  <a:pt x="389946" y="715144"/>
                  <a:pt x="388123" y="716966"/>
                  <a:pt x="388123" y="716966"/>
                </a:cubicBezTo>
                <a:cubicBezTo>
                  <a:pt x="391768" y="718788"/>
                  <a:pt x="393590" y="720610"/>
                  <a:pt x="397234" y="724254"/>
                </a:cubicBezTo>
                <a:cubicBezTo>
                  <a:pt x="397234" y="722432"/>
                  <a:pt x="393590" y="718788"/>
                  <a:pt x="389946" y="715144"/>
                </a:cubicBezTo>
                <a:close/>
                <a:moveTo>
                  <a:pt x="338926" y="715144"/>
                </a:moveTo>
                <a:cubicBezTo>
                  <a:pt x="335280" y="727899"/>
                  <a:pt x="348037" y="729721"/>
                  <a:pt x="355324" y="737010"/>
                </a:cubicBezTo>
                <a:cubicBezTo>
                  <a:pt x="353502" y="729721"/>
                  <a:pt x="346213" y="720610"/>
                  <a:pt x="338926" y="715144"/>
                </a:cubicBezTo>
                <a:close/>
                <a:moveTo>
                  <a:pt x="1456187" y="713873"/>
                </a:moveTo>
                <a:lnTo>
                  <a:pt x="1452956" y="716739"/>
                </a:lnTo>
                <a:cubicBezTo>
                  <a:pt x="1448173" y="719244"/>
                  <a:pt x="1443162" y="720610"/>
                  <a:pt x="1439518" y="720610"/>
                </a:cubicBezTo>
                <a:lnTo>
                  <a:pt x="1440216" y="719248"/>
                </a:lnTo>
                <a:lnTo>
                  <a:pt x="1447489" y="716966"/>
                </a:lnTo>
                <a:close/>
                <a:moveTo>
                  <a:pt x="2281362" y="713321"/>
                </a:moveTo>
                <a:cubicBezTo>
                  <a:pt x="2274074" y="716966"/>
                  <a:pt x="2263140" y="729721"/>
                  <a:pt x="2268607" y="740654"/>
                </a:cubicBezTo>
                <a:cubicBezTo>
                  <a:pt x="2272251" y="740654"/>
                  <a:pt x="2270429" y="735188"/>
                  <a:pt x="2270429" y="731543"/>
                </a:cubicBezTo>
                <a:cubicBezTo>
                  <a:pt x="2274074" y="737010"/>
                  <a:pt x="2270429" y="747943"/>
                  <a:pt x="2274074" y="749765"/>
                </a:cubicBezTo>
                <a:cubicBezTo>
                  <a:pt x="2277718" y="747943"/>
                  <a:pt x="2275896" y="742476"/>
                  <a:pt x="2275896" y="738832"/>
                </a:cubicBezTo>
                <a:cubicBezTo>
                  <a:pt x="2279540" y="737010"/>
                  <a:pt x="2277718" y="746121"/>
                  <a:pt x="2279540" y="746121"/>
                </a:cubicBezTo>
                <a:cubicBezTo>
                  <a:pt x="2290473" y="738832"/>
                  <a:pt x="2279540" y="726077"/>
                  <a:pt x="2281362" y="713321"/>
                </a:cubicBezTo>
                <a:close/>
                <a:moveTo>
                  <a:pt x="1366632" y="713321"/>
                </a:moveTo>
                <a:lnTo>
                  <a:pt x="1369281" y="714647"/>
                </a:lnTo>
                <a:lnTo>
                  <a:pt x="1368803" y="717040"/>
                </a:lnTo>
                <a:lnTo>
                  <a:pt x="1356928" y="717634"/>
                </a:lnTo>
                <a:close/>
                <a:moveTo>
                  <a:pt x="1188058" y="713321"/>
                </a:moveTo>
                <a:cubicBezTo>
                  <a:pt x="1186236" y="715144"/>
                  <a:pt x="1186236" y="715144"/>
                  <a:pt x="1188058" y="716966"/>
                </a:cubicBezTo>
                <a:cubicBezTo>
                  <a:pt x="1189880" y="715144"/>
                  <a:pt x="1188058" y="715144"/>
                  <a:pt x="1189880" y="713321"/>
                </a:cubicBezTo>
                <a:cubicBezTo>
                  <a:pt x="1188058" y="713321"/>
                  <a:pt x="1186236" y="715144"/>
                  <a:pt x="1188058" y="713321"/>
                </a:cubicBezTo>
                <a:close/>
                <a:moveTo>
                  <a:pt x="1153436" y="713321"/>
                </a:moveTo>
                <a:cubicBezTo>
                  <a:pt x="1149792" y="716966"/>
                  <a:pt x="1144326" y="720610"/>
                  <a:pt x="1146148" y="726077"/>
                </a:cubicBezTo>
                <a:cubicBezTo>
                  <a:pt x="1149792" y="724254"/>
                  <a:pt x="1153436" y="722432"/>
                  <a:pt x="1157081" y="718788"/>
                </a:cubicBezTo>
                <a:cubicBezTo>
                  <a:pt x="1157081" y="716966"/>
                  <a:pt x="1155259" y="715144"/>
                  <a:pt x="1153436" y="713321"/>
                </a:cubicBezTo>
                <a:close/>
                <a:moveTo>
                  <a:pt x="1073262" y="713321"/>
                </a:moveTo>
                <a:cubicBezTo>
                  <a:pt x="1069616" y="716966"/>
                  <a:pt x="1065972" y="718788"/>
                  <a:pt x="1062328" y="724254"/>
                </a:cubicBezTo>
                <a:cubicBezTo>
                  <a:pt x="1065972" y="718788"/>
                  <a:pt x="1075083" y="722432"/>
                  <a:pt x="1073262" y="713321"/>
                </a:cubicBezTo>
                <a:close/>
                <a:moveTo>
                  <a:pt x="679671" y="713321"/>
                </a:moveTo>
                <a:cubicBezTo>
                  <a:pt x="674205" y="713321"/>
                  <a:pt x="670560" y="716966"/>
                  <a:pt x="665094" y="718788"/>
                </a:cubicBezTo>
                <a:cubicBezTo>
                  <a:pt x="667828" y="720610"/>
                  <a:pt x="671927" y="721521"/>
                  <a:pt x="676026" y="722888"/>
                </a:cubicBezTo>
                <a:lnTo>
                  <a:pt x="685465" y="728787"/>
                </a:lnTo>
                <a:lnTo>
                  <a:pt x="686732" y="732227"/>
                </a:lnTo>
                <a:cubicBezTo>
                  <a:pt x="688326" y="733366"/>
                  <a:pt x="690604" y="734277"/>
                  <a:pt x="692426" y="735188"/>
                </a:cubicBezTo>
                <a:cubicBezTo>
                  <a:pt x="692426" y="733365"/>
                  <a:pt x="692426" y="733365"/>
                  <a:pt x="692426" y="731543"/>
                </a:cubicBezTo>
                <a:lnTo>
                  <a:pt x="686439" y="728550"/>
                </a:lnTo>
                <a:lnTo>
                  <a:pt x="683315" y="721521"/>
                </a:lnTo>
                <a:cubicBezTo>
                  <a:pt x="681493" y="718788"/>
                  <a:pt x="679671" y="716055"/>
                  <a:pt x="679671" y="713321"/>
                </a:cubicBezTo>
                <a:close/>
                <a:moveTo>
                  <a:pt x="526609" y="713321"/>
                </a:moveTo>
                <a:cubicBezTo>
                  <a:pt x="522964" y="716966"/>
                  <a:pt x="528431" y="718788"/>
                  <a:pt x="532075" y="720610"/>
                </a:cubicBezTo>
                <a:cubicBezTo>
                  <a:pt x="532075" y="718788"/>
                  <a:pt x="528431" y="715144"/>
                  <a:pt x="526609" y="713321"/>
                </a:cubicBezTo>
                <a:close/>
                <a:moveTo>
                  <a:pt x="211372" y="713321"/>
                </a:moveTo>
                <a:cubicBezTo>
                  <a:pt x="209550" y="716966"/>
                  <a:pt x="213195" y="716966"/>
                  <a:pt x="215017" y="720610"/>
                </a:cubicBezTo>
                <a:cubicBezTo>
                  <a:pt x="215017" y="718788"/>
                  <a:pt x="213195" y="715144"/>
                  <a:pt x="213195" y="713321"/>
                </a:cubicBezTo>
                <a:cubicBezTo>
                  <a:pt x="213195" y="715144"/>
                  <a:pt x="213195" y="715144"/>
                  <a:pt x="211372" y="713321"/>
                </a:cubicBezTo>
                <a:close/>
                <a:moveTo>
                  <a:pt x="2622109" y="711499"/>
                </a:moveTo>
                <a:cubicBezTo>
                  <a:pt x="2618464" y="713321"/>
                  <a:pt x="2622109" y="731543"/>
                  <a:pt x="2627575" y="731543"/>
                </a:cubicBezTo>
                <a:cubicBezTo>
                  <a:pt x="2631219" y="726077"/>
                  <a:pt x="2625753" y="718788"/>
                  <a:pt x="2622109" y="711499"/>
                </a:cubicBezTo>
                <a:close/>
                <a:moveTo>
                  <a:pt x="2268607" y="711499"/>
                </a:moveTo>
                <a:cubicBezTo>
                  <a:pt x="2266785" y="713321"/>
                  <a:pt x="2268607" y="720610"/>
                  <a:pt x="2266785" y="724254"/>
                </a:cubicBezTo>
                <a:cubicBezTo>
                  <a:pt x="2268607" y="720610"/>
                  <a:pt x="2272251" y="713321"/>
                  <a:pt x="2268607" y="711499"/>
                </a:cubicBezTo>
                <a:close/>
                <a:moveTo>
                  <a:pt x="1197169" y="711499"/>
                </a:moveTo>
                <a:cubicBezTo>
                  <a:pt x="1195346" y="713321"/>
                  <a:pt x="1193525" y="713321"/>
                  <a:pt x="1193525" y="715144"/>
                </a:cubicBezTo>
                <a:cubicBezTo>
                  <a:pt x="1195346" y="716966"/>
                  <a:pt x="1198991" y="713321"/>
                  <a:pt x="1197169" y="711499"/>
                </a:cubicBezTo>
                <a:close/>
                <a:moveTo>
                  <a:pt x="1169836" y="711499"/>
                </a:moveTo>
                <a:cubicBezTo>
                  <a:pt x="1168014" y="711499"/>
                  <a:pt x="1168014" y="713321"/>
                  <a:pt x="1166192" y="713321"/>
                </a:cubicBezTo>
                <a:cubicBezTo>
                  <a:pt x="1168014" y="715144"/>
                  <a:pt x="1168014" y="715144"/>
                  <a:pt x="1169836" y="716966"/>
                </a:cubicBezTo>
                <a:cubicBezTo>
                  <a:pt x="1171658" y="715144"/>
                  <a:pt x="1171658" y="713321"/>
                  <a:pt x="1169836" y="711499"/>
                </a:cubicBezTo>
                <a:close/>
                <a:moveTo>
                  <a:pt x="1091484" y="711499"/>
                </a:moveTo>
                <a:cubicBezTo>
                  <a:pt x="1087838" y="713321"/>
                  <a:pt x="1095127" y="711499"/>
                  <a:pt x="1091484" y="713321"/>
                </a:cubicBezTo>
                <a:cubicBezTo>
                  <a:pt x="1089660" y="713321"/>
                  <a:pt x="1089660" y="713321"/>
                  <a:pt x="1091484" y="711499"/>
                </a:cubicBezTo>
                <a:close/>
                <a:moveTo>
                  <a:pt x="1058683" y="711499"/>
                </a:moveTo>
                <a:cubicBezTo>
                  <a:pt x="1055040" y="713321"/>
                  <a:pt x="1053217" y="711499"/>
                  <a:pt x="1051395" y="715144"/>
                </a:cubicBezTo>
                <a:cubicBezTo>
                  <a:pt x="1053217" y="716966"/>
                  <a:pt x="1055040" y="716966"/>
                  <a:pt x="1056861" y="716966"/>
                </a:cubicBezTo>
                <a:cubicBezTo>
                  <a:pt x="1056861" y="716966"/>
                  <a:pt x="1055040" y="716966"/>
                  <a:pt x="1055040" y="716966"/>
                </a:cubicBezTo>
                <a:cubicBezTo>
                  <a:pt x="1055040" y="720610"/>
                  <a:pt x="1058683" y="716966"/>
                  <a:pt x="1058683" y="720610"/>
                </a:cubicBezTo>
                <a:cubicBezTo>
                  <a:pt x="1060506" y="718788"/>
                  <a:pt x="1058683" y="718788"/>
                  <a:pt x="1056861" y="716966"/>
                </a:cubicBezTo>
                <a:cubicBezTo>
                  <a:pt x="1058683" y="716966"/>
                  <a:pt x="1060506" y="716966"/>
                  <a:pt x="1058683" y="711499"/>
                </a:cubicBezTo>
                <a:close/>
                <a:moveTo>
                  <a:pt x="1040462" y="711499"/>
                </a:moveTo>
                <a:cubicBezTo>
                  <a:pt x="1040462" y="711499"/>
                  <a:pt x="1036818" y="715144"/>
                  <a:pt x="1042284" y="715144"/>
                </a:cubicBezTo>
                <a:cubicBezTo>
                  <a:pt x="1044106" y="713321"/>
                  <a:pt x="1044106" y="709677"/>
                  <a:pt x="1040462" y="711499"/>
                </a:cubicBezTo>
                <a:close/>
                <a:moveTo>
                  <a:pt x="985796" y="711499"/>
                </a:moveTo>
                <a:cubicBezTo>
                  <a:pt x="980330" y="715144"/>
                  <a:pt x="980330" y="716966"/>
                  <a:pt x="978508" y="720610"/>
                </a:cubicBezTo>
                <a:cubicBezTo>
                  <a:pt x="982152" y="720610"/>
                  <a:pt x="985796" y="713321"/>
                  <a:pt x="985796" y="711499"/>
                </a:cubicBezTo>
                <a:close/>
                <a:moveTo>
                  <a:pt x="563052" y="711499"/>
                </a:moveTo>
                <a:cubicBezTo>
                  <a:pt x="555763" y="715144"/>
                  <a:pt x="566697" y="716966"/>
                  <a:pt x="563052" y="718788"/>
                </a:cubicBezTo>
                <a:cubicBezTo>
                  <a:pt x="564874" y="718788"/>
                  <a:pt x="566697" y="718788"/>
                  <a:pt x="568519" y="716966"/>
                </a:cubicBezTo>
                <a:cubicBezTo>
                  <a:pt x="568519" y="716966"/>
                  <a:pt x="566697" y="715144"/>
                  <a:pt x="566697" y="715144"/>
                </a:cubicBezTo>
                <a:cubicBezTo>
                  <a:pt x="564874" y="715144"/>
                  <a:pt x="563052" y="715144"/>
                  <a:pt x="563052" y="711499"/>
                </a:cubicBezTo>
                <a:close/>
                <a:moveTo>
                  <a:pt x="457367" y="711499"/>
                </a:moveTo>
                <a:cubicBezTo>
                  <a:pt x="461010" y="716966"/>
                  <a:pt x="464655" y="720610"/>
                  <a:pt x="473766" y="718788"/>
                </a:cubicBezTo>
                <a:cubicBezTo>
                  <a:pt x="470121" y="713321"/>
                  <a:pt x="464655" y="709677"/>
                  <a:pt x="457367" y="711499"/>
                </a:cubicBezTo>
                <a:close/>
                <a:moveTo>
                  <a:pt x="235061" y="711499"/>
                </a:moveTo>
                <a:cubicBezTo>
                  <a:pt x="236883" y="713321"/>
                  <a:pt x="235061" y="718788"/>
                  <a:pt x="240527" y="718788"/>
                </a:cubicBezTo>
                <a:cubicBezTo>
                  <a:pt x="240527" y="713321"/>
                  <a:pt x="235061" y="715144"/>
                  <a:pt x="235061" y="711499"/>
                </a:cubicBezTo>
                <a:close/>
                <a:moveTo>
                  <a:pt x="215017" y="711499"/>
                </a:moveTo>
                <a:cubicBezTo>
                  <a:pt x="216839" y="718788"/>
                  <a:pt x="224128" y="722432"/>
                  <a:pt x="227772" y="729721"/>
                </a:cubicBezTo>
                <a:cubicBezTo>
                  <a:pt x="229594" y="727899"/>
                  <a:pt x="225950" y="726077"/>
                  <a:pt x="225950" y="724254"/>
                </a:cubicBezTo>
                <a:cubicBezTo>
                  <a:pt x="227772" y="724254"/>
                  <a:pt x="227772" y="726077"/>
                  <a:pt x="229594" y="726077"/>
                </a:cubicBezTo>
                <a:cubicBezTo>
                  <a:pt x="227772" y="716966"/>
                  <a:pt x="220483" y="715144"/>
                  <a:pt x="215017" y="711499"/>
                </a:cubicBezTo>
                <a:close/>
                <a:moveTo>
                  <a:pt x="198617" y="711499"/>
                </a:moveTo>
                <a:cubicBezTo>
                  <a:pt x="198617" y="715144"/>
                  <a:pt x="202262" y="720610"/>
                  <a:pt x="205906" y="722432"/>
                </a:cubicBezTo>
                <a:cubicBezTo>
                  <a:pt x="207728" y="720610"/>
                  <a:pt x="202262" y="713321"/>
                  <a:pt x="198617" y="711499"/>
                </a:cubicBezTo>
                <a:close/>
                <a:moveTo>
                  <a:pt x="1206052" y="711044"/>
                </a:moveTo>
                <a:cubicBezTo>
                  <a:pt x="1203091" y="712411"/>
                  <a:pt x="1200814" y="715144"/>
                  <a:pt x="1204457" y="716966"/>
                </a:cubicBezTo>
                <a:cubicBezTo>
                  <a:pt x="1204457" y="713321"/>
                  <a:pt x="1209925" y="716966"/>
                  <a:pt x="1211747" y="713321"/>
                </a:cubicBezTo>
                <a:cubicBezTo>
                  <a:pt x="1212657" y="709677"/>
                  <a:pt x="1209013" y="709677"/>
                  <a:pt x="1206052" y="711044"/>
                </a:cubicBezTo>
                <a:close/>
                <a:moveTo>
                  <a:pt x="960286" y="709677"/>
                </a:moveTo>
                <a:cubicBezTo>
                  <a:pt x="960286" y="713321"/>
                  <a:pt x="956642" y="715144"/>
                  <a:pt x="960286" y="716966"/>
                </a:cubicBezTo>
                <a:cubicBezTo>
                  <a:pt x="960286" y="716966"/>
                  <a:pt x="962108" y="716966"/>
                  <a:pt x="962108" y="716966"/>
                </a:cubicBezTo>
                <a:cubicBezTo>
                  <a:pt x="965753" y="715144"/>
                  <a:pt x="963930" y="711499"/>
                  <a:pt x="960286" y="709677"/>
                </a:cubicBezTo>
                <a:close/>
                <a:moveTo>
                  <a:pt x="911087" y="709677"/>
                </a:moveTo>
                <a:cubicBezTo>
                  <a:pt x="907444" y="711499"/>
                  <a:pt x="909265" y="716966"/>
                  <a:pt x="914732" y="716966"/>
                </a:cubicBezTo>
                <a:cubicBezTo>
                  <a:pt x="916555" y="713321"/>
                  <a:pt x="912909" y="711499"/>
                  <a:pt x="914732" y="711499"/>
                </a:cubicBezTo>
                <a:cubicBezTo>
                  <a:pt x="912909" y="709677"/>
                  <a:pt x="912909" y="711499"/>
                  <a:pt x="911087" y="709677"/>
                </a:cubicBezTo>
                <a:close/>
                <a:moveTo>
                  <a:pt x="770781" y="709677"/>
                </a:moveTo>
                <a:cubicBezTo>
                  <a:pt x="771691" y="710588"/>
                  <a:pt x="771235" y="711955"/>
                  <a:pt x="770325" y="712866"/>
                </a:cubicBezTo>
                <a:lnTo>
                  <a:pt x="769471" y="712988"/>
                </a:lnTo>
                <a:close/>
                <a:moveTo>
                  <a:pt x="770781" y="709677"/>
                </a:moveTo>
                <a:cubicBezTo>
                  <a:pt x="767136" y="709677"/>
                  <a:pt x="767136" y="711499"/>
                  <a:pt x="767136" y="713321"/>
                </a:cubicBezTo>
                <a:lnTo>
                  <a:pt x="769471" y="712988"/>
                </a:lnTo>
                <a:lnTo>
                  <a:pt x="766907" y="719472"/>
                </a:lnTo>
                <a:cubicBezTo>
                  <a:pt x="767135" y="722433"/>
                  <a:pt x="768957" y="725166"/>
                  <a:pt x="772602" y="727899"/>
                </a:cubicBezTo>
                <a:cubicBezTo>
                  <a:pt x="772602" y="724254"/>
                  <a:pt x="770781" y="722432"/>
                  <a:pt x="770781" y="718788"/>
                </a:cubicBezTo>
                <a:cubicBezTo>
                  <a:pt x="774424" y="716966"/>
                  <a:pt x="774424" y="729721"/>
                  <a:pt x="779892" y="724254"/>
                </a:cubicBezTo>
                <a:cubicBezTo>
                  <a:pt x="785357" y="720610"/>
                  <a:pt x="778070" y="711499"/>
                  <a:pt x="770781" y="709677"/>
                </a:cubicBezTo>
                <a:close/>
                <a:moveTo>
                  <a:pt x="437322" y="709677"/>
                </a:moveTo>
                <a:cubicBezTo>
                  <a:pt x="431856" y="713321"/>
                  <a:pt x="440966" y="718788"/>
                  <a:pt x="444611" y="720610"/>
                </a:cubicBezTo>
                <a:cubicBezTo>
                  <a:pt x="442789" y="716966"/>
                  <a:pt x="440966" y="711499"/>
                  <a:pt x="437322" y="709677"/>
                </a:cubicBezTo>
                <a:close/>
                <a:moveTo>
                  <a:pt x="162174" y="709677"/>
                </a:moveTo>
                <a:cubicBezTo>
                  <a:pt x="160352" y="713321"/>
                  <a:pt x="174929" y="727899"/>
                  <a:pt x="165818" y="715144"/>
                </a:cubicBezTo>
                <a:cubicBezTo>
                  <a:pt x="163996" y="713321"/>
                  <a:pt x="163996" y="711499"/>
                  <a:pt x="162174" y="709677"/>
                </a:cubicBezTo>
                <a:close/>
                <a:moveTo>
                  <a:pt x="3432976" y="707855"/>
                </a:moveTo>
                <a:cubicBezTo>
                  <a:pt x="3436621" y="709677"/>
                  <a:pt x="3429332" y="713321"/>
                  <a:pt x="3434798" y="713321"/>
                </a:cubicBezTo>
                <a:cubicBezTo>
                  <a:pt x="3434798" y="713321"/>
                  <a:pt x="3436621" y="713321"/>
                  <a:pt x="3436621" y="713321"/>
                </a:cubicBezTo>
                <a:cubicBezTo>
                  <a:pt x="3436621" y="711499"/>
                  <a:pt x="3436621" y="709677"/>
                  <a:pt x="3436621" y="707855"/>
                </a:cubicBezTo>
                <a:cubicBezTo>
                  <a:pt x="3434798" y="707855"/>
                  <a:pt x="3434798" y="707855"/>
                  <a:pt x="3432976" y="707855"/>
                </a:cubicBezTo>
                <a:close/>
                <a:moveTo>
                  <a:pt x="3431154" y="707855"/>
                </a:moveTo>
                <a:cubicBezTo>
                  <a:pt x="3418399" y="706033"/>
                  <a:pt x="3412932" y="718788"/>
                  <a:pt x="3407466" y="727899"/>
                </a:cubicBezTo>
                <a:cubicBezTo>
                  <a:pt x="3418399" y="727899"/>
                  <a:pt x="3414754" y="720610"/>
                  <a:pt x="3420221" y="713321"/>
                </a:cubicBezTo>
                <a:cubicBezTo>
                  <a:pt x="3423865" y="707855"/>
                  <a:pt x="3422043" y="720610"/>
                  <a:pt x="3425687" y="716966"/>
                </a:cubicBezTo>
                <a:cubicBezTo>
                  <a:pt x="3429332" y="716966"/>
                  <a:pt x="3429332" y="711499"/>
                  <a:pt x="3431154" y="707855"/>
                </a:cubicBezTo>
                <a:close/>
                <a:moveTo>
                  <a:pt x="1302855" y="707855"/>
                </a:moveTo>
                <a:cubicBezTo>
                  <a:pt x="1299210" y="709677"/>
                  <a:pt x="1291922" y="709677"/>
                  <a:pt x="1291922" y="715144"/>
                </a:cubicBezTo>
                <a:cubicBezTo>
                  <a:pt x="1295566" y="715144"/>
                  <a:pt x="1301033" y="713321"/>
                  <a:pt x="1302855" y="707855"/>
                </a:cubicBezTo>
                <a:close/>
                <a:moveTo>
                  <a:pt x="1264589" y="707855"/>
                </a:moveTo>
                <a:cubicBezTo>
                  <a:pt x="1260945" y="706033"/>
                  <a:pt x="1257300" y="713321"/>
                  <a:pt x="1255478" y="715144"/>
                </a:cubicBezTo>
                <a:cubicBezTo>
                  <a:pt x="1259123" y="715144"/>
                  <a:pt x="1260945" y="709677"/>
                  <a:pt x="1264589" y="707855"/>
                </a:cubicBezTo>
                <a:close/>
                <a:moveTo>
                  <a:pt x="1231790" y="707855"/>
                </a:moveTo>
                <a:cubicBezTo>
                  <a:pt x="1229969" y="709677"/>
                  <a:pt x="1228146" y="711499"/>
                  <a:pt x="1224501" y="713321"/>
                </a:cubicBezTo>
                <a:cubicBezTo>
                  <a:pt x="1226323" y="713321"/>
                  <a:pt x="1226323" y="715144"/>
                  <a:pt x="1228146" y="715144"/>
                </a:cubicBezTo>
                <a:cubicBezTo>
                  <a:pt x="1231790" y="711499"/>
                  <a:pt x="1233612" y="709677"/>
                  <a:pt x="1231790" y="707855"/>
                </a:cubicBezTo>
                <a:close/>
                <a:moveTo>
                  <a:pt x="1147970" y="707855"/>
                </a:moveTo>
                <a:cubicBezTo>
                  <a:pt x="1146148" y="709677"/>
                  <a:pt x="1146148" y="711499"/>
                  <a:pt x="1146148" y="713321"/>
                </a:cubicBezTo>
                <a:cubicBezTo>
                  <a:pt x="1147970" y="711499"/>
                  <a:pt x="1149792" y="711499"/>
                  <a:pt x="1151614" y="709677"/>
                </a:cubicBezTo>
                <a:cubicBezTo>
                  <a:pt x="1149792" y="707855"/>
                  <a:pt x="1149792" y="709677"/>
                  <a:pt x="1147970" y="707855"/>
                </a:cubicBezTo>
                <a:close/>
                <a:moveTo>
                  <a:pt x="1146148" y="707855"/>
                </a:moveTo>
                <a:lnTo>
                  <a:pt x="1133392" y="712411"/>
                </a:lnTo>
                <a:lnTo>
                  <a:pt x="1131570" y="711499"/>
                </a:lnTo>
                <a:lnTo>
                  <a:pt x="1128446" y="714178"/>
                </a:lnTo>
                <a:lnTo>
                  <a:pt x="1120637" y="716966"/>
                </a:lnTo>
                <a:cubicBezTo>
                  <a:pt x="1121548" y="716055"/>
                  <a:pt x="1124281" y="716055"/>
                  <a:pt x="1126787" y="715600"/>
                </a:cubicBezTo>
                <a:lnTo>
                  <a:pt x="1128446" y="714178"/>
                </a:lnTo>
                <a:lnTo>
                  <a:pt x="1133392" y="712411"/>
                </a:lnTo>
                <a:lnTo>
                  <a:pt x="1138859" y="715144"/>
                </a:lnTo>
                <a:cubicBezTo>
                  <a:pt x="1142503" y="713321"/>
                  <a:pt x="1144326" y="709677"/>
                  <a:pt x="1146148" y="707855"/>
                </a:cubicBezTo>
                <a:close/>
                <a:moveTo>
                  <a:pt x="1064151" y="707855"/>
                </a:moveTo>
                <a:cubicBezTo>
                  <a:pt x="1064151" y="709677"/>
                  <a:pt x="1062328" y="709677"/>
                  <a:pt x="1062328" y="709677"/>
                </a:cubicBezTo>
                <a:cubicBezTo>
                  <a:pt x="1060506" y="715144"/>
                  <a:pt x="1064151" y="709677"/>
                  <a:pt x="1064151" y="715144"/>
                </a:cubicBezTo>
                <a:cubicBezTo>
                  <a:pt x="1065972" y="711499"/>
                  <a:pt x="1065972" y="709677"/>
                  <a:pt x="1064151" y="707855"/>
                </a:cubicBezTo>
                <a:close/>
                <a:moveTo>
                  <a:pt x="947531" y="707855"/>
                </a:moveTo>
                <a:cubicBezTo>
                  <a:pt x="947531" y="711499"/>
                  <a:pt x="943886" y="713321"/>
                  <a:pt x="945709" y="715144"/>
                </a:cubicBezTo>
                <a:cubicBezTo>
                  <a:pt x="945709" y="711499"/>
                  <a:pt x="951175" y="709677"/>
                  <a:pt x="947531" y="707855"/>
                </a:cubicBezTo>
                <a:close/>
                <a:moveTo>
                  <a:pt x="313414" y="707855"/>
                </a:moveTo>
                <a:cubicBezTo>
                  <a:pt x="311592" y="715144"/>
                  <a:pt x="320703" y="726077"/>
                  <a:pt x="329814" y="726077"/>
                </a:cubicBezTo>
                <a:cubicBezTo>
                  <a:pt x="327993" y="716966"/>
                  <a:pt x="318882" y="715144"/>
                  <a:pt x="313414" y="707855"/>
                </a:cubicBezTo>
                <a:close/>
                <a:moveTo>
                  <a:pt x="271504" y="707855"/>
                </a:moveTo>
                <a:cubicBezTo>
                  <a:pt x="269682" y="711499"/>
                  <a:pt x="271504" y="713321"/>
                  <a:pt x="273327" y="713321"/>
                </a:cubicBezTo>
                <a:cubicBezTo>
                  <a:pt x="266038" y="709677"/>
                  <a:pt x="269682" y="720610"/>
                  <a:pt x="266038" y="720610"/>
                </a:cubicBezTo>
                <a:cubicBezTo>
                  <a:pt x="273327" y="726077"/>
                  <a:pt x="278793" y="724254"/>
                  <a:pt x="284259" y="724254"/>
                </a:cubicBezTo>
                <a:cubicBezTo>
                  <a:pt x="282438" y="718788"/>
                  <a:pt x="271504" y="727899"/>
                  <a:pt x="271504" y="716966"/>
                </a:cubicBezTo>
                <a:cubicBezTo>
                  <a:pt x="275149" y="718788"/>
                  <a:pt x="278793" y="720610"/>
                  <a:pt x="282438" y="720610"/>
                </a:cubicBezTo>
                <a:cubicBezTo>
                  <a:pt x="282438" y="718788"/>
                  <a:pt x="280615" y="718788"/>
                  <a:pt x="276971" y="716966"/>
                </a:cubicBezTo>
                <a:cubicBezTo>
                  <a:pt x="278793" y="713321"/>
                  <a:pt x="275149" y="711499"/>
                  <a:pt x="271504" y="707855"/>
                </a:cubicBezTo>
                <a:close/>
                <a:moveTo>
                  <a:pt x="227772" y="707855"/>
                </a:moveTo>
                <a:cubicBezTo>
                  <a:pt x="225950" y="709677"/>
                  <a:pt x="231416" y="716966"/>
                  <a:pt x="233239" y="716966"/>
                </a:cubicBezTo>
                <a:cubicBezTo>
                  <a:pt x="231416" y="715144"/>
                  <a:pt x="231416" y="709677"/>
                  <a:pt x="227772" y="707855"/>
                </a:cubicBezTo>
                <a:close/>
                <a:moveTo>
                  <a:pt x="3449376" y="706033"/>
                </a:moveTo>
                <a:cubicBezTo>
                  <a:pt x="3445731" y="713321"/>
                  <a:pt x="3451198" y="716966"/>
                  <a:pt x="3456664" y="724254"/>
                </a:cubicBezTo>
                <a:cubicBezTo>
                  <a:pt x="3463953" y="731543"/>
                  <a:pt x="3456664" y="742476"/>
                  <a:pt x="3458487" y="751587"/>
                </a:cubicBezTo>
                <a:cubicBezTo>
                  <a:pt x="3443909" y="753409"/>
                  <a:pt x="3436621" y="737010"/>
                  <a:pt x="3422043" y="737010"/>
                </a:cubicBezTo>
                <a:cubicBezTo>
                  <a:pt x="3423865" y="738832"/>
                  <a:pt x="3420221" y="744298"/>
                  <a:pt x="3422043" y="746121"/>
                </a:cubicBezTo>
                <a:cubicBezTo>
                  <a:pt x="3418399" y="740654"/>
                  <a:pt x="3412932" y="733365"/>
                  <a:pt x="3409288" y="735188"/>
                </a:cubicBezTo>
                <a:cubicBezTo>
                  <a:pt x="3380133" y="746121"/>
                  <a:pt x="3350978" y="757054"/>
                  <a:pt x="3330934" y="780742"/>
                </a:cubicBezTo>
                <a:cubicBezTo>
                  <a:pt x="3330934" y="780742"/>
                  <a:pt x="3327290" y="780742"/>
                  <a:pt x="3325468" y="780742"/>
                </a:cubicBezTo>
                <a:cubicBezTo>
                  <a:pt x="3327290" y="784386"/>
                  <a:pt x="3330934" y="784386"/>
                  <a:pt x="3329112" y="791675"/>
                </a:cubicBezTo>
                <a:cubicBezTo>
                  <a:pt x="3332756" y="793497"/>
                  <a:pt x="3336401" y="791675"/>
                  <a:pt x="3338223" y="789853"/>
                </a:cubicBezTo>
                <a:cubicBezTo>
                  <a:pt x="3338223" y="789853"/>
                  <a:pt x="3338223" y="788031"/>
                  <a:pt x="3336401" y="788031"/>
                </a:cubicBezTo>
                <a:cubicBezTo>
                  <a:pt x="3349156" y="793497"/>
                  <a:pt x="3361911" y="788031"/>
                  <a:pt x="3372844" y="786208"/>
                </a:cubicBezTo>
                <a:cubicBezTo>
                  <a:pt x="3376489" y="784386"/>
                  <a:pt x="3369200" y="782564"/>
                  <a:pt x="3369200" y="778920"/>
                </a:cubicBezTo>
                <a:cubicBezTo>
                  <a:pt x="3372844" y="778920"/>
                  <a:pt x="3374666" y="775275"/>
                  <a:pt x="3378311" y="775275"/>
                </a:cubicBezTo>
                <a:cubicBezTo>
                  <a:pt x="3380133" y="777098"/>
                  <a:pt x="3380133" y="778920"/>
                  <a:pt x="3380133" y="780742"/>
                </a:cubicBezTo>
                <a:cubicBezTo>
                  <a:pt x="3383777" y="778920"/>
                  <a:pt x="3385600" y="771631"/>
                  <a:pt x="3389244" y="775275"/>
                </a:cubicBezTo>
                <a:cubicBezTo>
                  <a:pt x="3392888" y="777098"/>
                  <a:pt x="3383777" y="786208"/>
                  <a:pt x="3389244" y="786208"/>
                </a:cubicBezTo>
                <a:cubicBezTo>
                  <a:pt x="3403821" y="786208"/>
                  <a:pt x="3425687" y="800786"/>
                  <a:pt x="3431154" y="782564"/>
                </a:cubicBezTo>
                <a:cubicBezTo>
                  <a:pt x="3423865" y="782564"/>
                  <a:pt x="3427510" y="777098"/>
                  <a:pt x="3427510" y="771631"/>
                </a:cubicBezTo>
                <a:cubicBezTo>
                  <a:pt x="3432976" y="773453"/>
                  <a:pt x="3427510" y="778920"/>
                  <a:pt x="3429332" y="780742"/>
                </a:cubicBezTo>
                <a:cubicBezTo>
                  <a:pt x="3431154" y="782564"/>
                  <a:pt x="3432976" y="778920"/>
                  <a:pt x="3432976" y="777098"/>
                </a:cubicBezTo>
                <a:cubicBezTo>
                  <a:pt x="3434798" y="777098"/>
                  <a:pt x="3434798" y="778920"/>
                  <a:pt x="3434798" y="782564"/>
                </a:cubicBezTo>
                <a:cubicBezTo>
                  <a:pt x="3445731" y="775275"/>
                  <a:pt x="3458487" y="764342"/>
                  <a:pt x="3462131" y="755231"/>
                </a:cubicBezTo>
                <a:cubicBezTo>
                  <a:pt x="3473064" y="747943"/>
                  <a:pt x="3489463" y="747943"/>
                  <a:pt x="3487641" y="727899"/>
                </a:cubicBezTo>
                <a:cubicBezTo>
                  <a:pt x="3482175" y="726077"/>
                  <a:pt x="3482175" y="720610"/>
                  <a:pt x="3482175" y="715144"/>
                </a:cubicBezTo>
                <a:cubicBezTo>
                  <a:pt x="3474886" y="718788"/>
                  <a:pt x="3480353" y="733365"/>
                  <a:pt x="3474886" y="738832"/>
                </a:cubicBezTo>
                <a:cubicBezTo>
                  <a:pt x="3473064" y="735188"/>
                  <a:pt x="3473064" y="729721"/>
                  <a:pt x="3471242" y="727899"/>
                </a:cubicBezTo>
                <a:cubicBezTo>
                  <a:pt x="3465775" y="726077"/>
                  <a:pt x="3463953" y="729721"/>
                  <a:pt x="3462131" y="724254"/>
                </a:cubicBezTo>
                <a:cubicBezTo>
                  <a:pt x="3463953" y="716966"/>
                  <a:pt x="3462131" y="713321"/>
                  <a:pt x="3465775" y="707855"/>
                </a:cubicBezTo>
                <a:cubicBezTo>
                  <a:pt x="3463953" y="707855"/>
                  <a:pt x="3462131" y="707855"/>
                  <a:pt x="3462131" y="706033"/>
                </a:cubicBezTo>
                <a:cubicBezTo>
                  <a:pt x="3460309" y="707855"/>
                  <a:pt x="3460309" y="709677"/>
                  <a:pt x="3458487" y="711499"/>
                </a:cubicBezTo>
                <a:cubicBezTo>
                  <a:pt x="3456664" y="715144"/>
                  <a:pt x="3460309" y="713321"/>
                  <a:pt x="3460309" y="715144"/>
                </a:cubicBezTo>
                <a:cubicBezTo>
                  <a:pt x="3460309" y="716966"/>
                  <a:pt x="3458487" y="716966"/>
                  <a:pt x="3458487" y="718788"/>
                </a:cubicBezTo>
                <a:cubicBezTo>
                  <a:pt x="3453020" y="716966"/>
                  <a:pt x="3453020" y="706033"/>
                  <a:pt x="3458487" y="707855"/>
                </a:cubicBezTo>
                <a:cubicBezTo>
                  <a:pt x="3454842" y="706033"/>
                  <a:pt x="3451198" y="704211"/>
                  <a:pt x="3449376" y="706033"/>
                </a:cubicBezTo>
                <a:close/>
                <a:moveTo>
                  <a:pt x="2587487" y="706033"/>
                </a:moveTo>
                <a:cubicBezTo>
                  <a:pt x="2591132" y="711499"/>
                  <a:pt x="2587487" y="716966"/>
                  <a:pt x="2592954" y="716966"/>
                </a:cubicBezTo>
                <a:cubicBezTo>
                  <a:pt x="2592954" y="709677"/>
                  <a:pt x="2594776" y="709677"/>
                  <a:pt x="2591132" y="706033"/>
                </a:cubicBezTo>
                <a:cubicBezTo>
                  <a:pt x="2589310" y="706033"/>
                  <a:pt x="2589310" y="706033"/>
                  <a:pt x="2587487" y="706033"/>
                </a:cubicBezTo>
                <a:close/>
                <a:moveTo>
                  <a:pt x="2015325" y="706033"/>
                </a:moveTo>
                <a:lnTo>
                  <a:pt x="2015528" y="706198"/>
                </a:lnTo>
                <a:lnTo>
                  <a:pt x="2015325" y="713321"/>
                </a:lnTo>
                <a:cubicBezTo>
                  <a:pt x="2015325" y="711499"/>
                  <a:pt x="2015325" y="709677"/>
                  <a:pt x="2015325" y="706033"/>
                </a:cubicBezTo>
                <a:close/>
                <a:moveTo>
                  <a:pt x="1372097" y="706033"/>
                </a:moveTo>
                <a:cubicBezTo>
                  <a:pt x="1370275" y="707855"/>
                  <a:pt x="1373920" y="711499"/>
                  <a:pt x="1370275" y="715144"/>
                </a:cubicBezTo>
                <a:lnTo>
                  <a:pt x="1369281" y="714647"/>
                </a:lnTo>
                <a:lnTo>
                  <a:pt x="1370908" y="706509"/>
                </a:lnTo>
                <a:close/>
                <a:moveTo>
                  <a:pt x="1242723" y="706033"/>
                </a:moveTo>
                <a:cubicBezTo>
                  <a:pt x="1244545" y="707855"/>
                  <a:pt x="1244545" y="707855"/>
                  <a:pt x="1246367" y="709677"/>
                </a:cubicBezTo>
                <a:cubicBezTo>
                  <a:pt x="1248189" y="709677"/>
                  <a:pt x="1246367" y="707855"/>
                  <a:pt x="1248189" y="706033"/>
                </a:cubicBezTo>
                <a:cubicBezTo>
                  <a:pt x="1244545" y="706033"/>
                  <a:pt x="1244545" y="706033"/>
                  <a:pt x="1242723" y="706033"/>
                </a:cubicBezTo>
                <a:close/>
                <a:moveTo>
                  <a:pt x="1239080" y="706033"/>
                </a:moveTo>
                <a:cubicBezTo>
                  <a:pt x="1235434" y="709677"/>
                  <a:pt x="1231790" y="711499"/>
                  <a:pt x="1233612" y="715144"/>
                </a:cubicBezTo>
                <a:cubicBezTo>
                  <a:pt x="1237256" y="713321"/>
                  <a:pt x="1239080" y="711499"/>
                  <a:pt x="1242723" y="709677"/>
                </a:cubicBezTo>
                <a:cubicBezTo>
                  <a:pt x="1239080" y="707855"/>
                  <a:pt x="1240901" y="706033"/>
                  <a:pt x="1239080" y="706033"/>
                </a:cubicBezTo>
                <a:close/>
                <a:moveTo>
                  <a:pt x="1166192" y="706033"/>
                </a:moveTo>
                <a:cubicBezTo>
                  <a:pt x="1164370" y="707855"/>
                  <a:pt x="1162547" y="707855"/>
                  <a:pt x="1160725" y="709677"/>
                </a:cubicBezTo>
                <a:cubicBezTo>
                  <a:pt x="1162547" y="711499"/>
                  <a:pt x="1160725" y="711499"/>
                  <a:pt x="1160725" y="713321"/>
                </a:cubicBezTo>
                <a:cubicBezTo>
                  <a:pt x="1158903" y="713321"/>
                  <a:pt x="1160725" y="709677"/>
                  <a:pt x="1158903" y="707855"/>
                </a:cubicBezTo>
                <a:cubicBezTo>
                  <a:pt x="1157081" y="709677"/>
                  <a:pt x="1155259" y="709677"/>
                  <a:pt x="1155259" y="711499"/>
                </a:cubicBezTo>
                <a:cubicBezTo>
                  <a:pt x="1157081" y="711499"/>
                  <a:pt x="1157081" y="713321"/>
                  <a:pt x="1158903" y="715144"/>
                </a:cubicBezTo>
                <a:cubicBezTo>
                  <a:pt x="1158903" y="716966"/>
                  <a:pt x="1160725" y="713321"/>
                  <a:pt x="1160725" y="713321"/>
                </a:cubicBezTo>
                <a:cubicBezTo>
                  <a:pt x="1162547" y="713321"/>
                  <a:pt x="1162547" y="713321"/>
                  <a:pt x="1164370" y="709677"/>
                </a:cubicBezTo>
                <a:cubicBezTo>
                  <a:pt x="1168014" y="707855"/>
                  <a:pt x="1168014" y="711499"/>
                  <a:pt x="1171658" y="707855"/>
                </a:cubicBezTo>
                <a:cubicBezTo>
                  <a:pt x="1169836" y="706033"/>
                  <a:pt x="1168014" y="707855"/>
                  <a:pt x="1166192" y="706033"/>
                </a:cubicBezTo>
                <a:close/>
                <a:moveTo>
                  <a:pt x="1122459" y="706033"/>
                </a:moveTo>
                <a:cubicBezTo>
                  <a:pt x="1120637" y="704211"/>
                  <a:pt x="1113349" y="707855"/>
                  <a:pt x="1115171" y="711499"/>
                </a:cubicBezTo>
                <a:cubicBezTo>
                  <a:pt x="1116993" y="707855"/>
                  <a:pt x="1118815" y="709677"/>
                  <a:pt x="1122459" y="706033"/>
                </a:cubicBezTo>
                <a:close/>
                <a:moveTo>
                  <a:pt x="1056861" y="706033"/>
                </a:moveTo>
                <a:cubicBezTo>
                  <a:pt x="1055040" y="709677"/>
                  <a:pt x="1044106" y="707855"/>
                  <a:pt x="1045929" y="713321"/>
                </a:cubicBezTo>
                <a:cubicBezTo>
                  <a:pt x="1051395" y="713321"/>
                  <a:pt x="1055040" y="711499"/>
                  <a:pt x="1056861" y="706033"/>
                </a:cubicBezTo>
                <a:close/>
                <a:moveTo>
                  <a:pt x="1002196" y="706033"/>
                </a:moveTo>
                <a:cubicBezTo>
                  <a:pt x="998552" y="709677"/>
                  <a:pt x="996729" y="713321"/>
                  <a:pt x="994907" y="715144"/>
                </a:cubicBezTo>
                <a:cubicBezTo>
                  <a:pt x="1000374" y="716966"/>
                  <a:pt x="1005840" y="709677"/>
                  <a:pt x="1002196" y="706033"/>
                </a:cubicBezTo>
                <a:close/>
                <a:moveTo>
                  <a:pt x="861889" y="706033"/>
                </a:moveTo>
                <a:cubicBezTo>
                  <a:pt x="856422" y="706033"/>
                  <a:pt x="856422" y="713321"/>
                  <a:pt x="856422" y="716966"/>
                </a:cubicBezTo>
                <a:cubicBezTo>
                  <a:pt x="858244" y="713321"/>
                  <a:pt x="860066" y="709677"/>
                  <a:pt x="861889" y="706033"/>
                </a:cubicBezTo>
                <a:close/>
                <a:moveTo>
                  <a:pt x="539364" y="706033"/>
                </a:moveTo>
                <a:cubicBezTo>
                  <a:pt x="535719" y="707855"/>
                  <a:pt x="533897" y="711499"/>
                  <a:pt x="535719" y="713321"/>
                </a:cubicBezTo>
                <a:cubicBezTo>
                  <a:pt x="539364" y="716966"/>
                  <a:pt x="543008" y="716966"/>
                  <a:pt x="546653" y="718788"/>
                </a:cubicBezTo>
                <a:cubicBezTo>
                  <a:pt x="550297" y="715144"/>
                  <a:pt x="541186" y="711499"/>
                  <a:pt x="544830" y="709677"/>
                </a:cubicBezTo>
                <a:cubicBezTo>
                  <a:pt x="543008" y="707855"/>
                  <a:pt x="541186" y="707855"/>
                  <a:pt x="539364" y="706033"/>
                </a:cubicBezTo>
                <a:close/>
                <a:moveTo>
                  <a:pt x="442789" y="706033"/>
                </a:moveTo>
                <a:cubicBezTo>
                  <a:pt x="444611" y="707855"/>
                  <a:pt x="444611" y="709677"/>
                  <a:pt x="448256" y="709677"/>
                </a:cubicBezTo>
                <a:cubicBezTo>
                  <a:pt x="448256" y="707855"/>
                  <a:pt x="450077" y="706033"/>
                  <a:pt x="448256" y="706033"/>
                </a:cubicBezTo>
                <a:cubicBezTo>
                  <a:pt x="446433" y="707855"/>
                  <a:pt x="444611" y="704211"/>
                  <a:pt x="442789" y="706033"/>
                </a:cubicBezTo>
                <a:close/>
                <a:moveTo>
                  <a:pt x="399056" y="706033"/>
                </a:moveTo>
                <a:cubicBezTo>
                  <a:pt x="391768" y="713321"/>
                  <a:pt x="397234" y="713321"/>
                  <a:pt x="400879" y="715144"/>
                </a:cubicBezTo>
                <a:cubicBezTo>
                  <a:pt x="400879" y="711499"/>
                  <a:pt x="400879" y="709677"/>
                  <a:pt x="399056" y="706033"/>
                </a:cubicBezTo>
                <a:close/>
                <a:moveTo>
                  <a:pt x="1482662" y="704799"/>
                </a:moveTo>
                <a:lnTo>
                  <a:pt x="1481401" y="707146"/>
                </a:lnTo>
                <a:lnTo>
                  <a:pt x="1481428" y="706033"/>
                </a:lnTo>
                <a:close/>
                <a:moveTo>
                  <a:pt x="3588813" y="704455"/>
                </a:moveTo>
                <a:lnTo>
                  <a:pt x="3591505" y="720610"/>
                </a:lnTo>
                <a:lnTo>
                  <a:pt x="3587646" y="721085"/>
                </a:lnTo>
                <a:lnTo>
                  <a:pt x="3586039" y="711044"/>
                </a:lnTo>
                <a:close/>
                <a:moveTo>
                  <a:pt x="2275896" y="704211"/>
                </a:moveTo>
                <a:cubicBezTo>
                  <a:pt x="2270429" y="706033"/>
                  <a:pt x="2279540" y="707855"/>
                  <a:pt x="2274074" y="713321"/>
                </a:cubicBezTo>
                <a:cubicBezTo>
                  <a:pt x="2275896" y="709677"/>
                  <a:pt x="2277718" y="707855"/>
                  <a:pt x="2275896" y="704211"/>
                </a:cubicBezTo>
                <a:close/>
                <a:moveTo>
                  <a:pt x="1313788" y="704211"/>
                </a:moveTo>
                <a:cubicBezTo>
                  <a:pt x="1308321" y="700566"/>
                  <a:pt x="1302855" y="707855"/>
                  <a:pt x="1302855" y="713321"/>
                </a:cubicBezTo>
                <a:cubicBezTo>
                  <a:pt x="1306499" y="711499"/>
                  <a:pt x="1311966" y="709677"/>
                  <a:pt x="1313788" y="704211"/>
                </a:cubicBezTo>
                <a:close/>
                <a:moveTo>
                  <a:pt x="1051395" y="704211"/>
                </a:moveTo>
                <a:cubicBezTo>
                  <a:pt x="1053217" y="702388"/>
                  <a:pt x="1047750" y="706033"/>
                  <a:pt x="1047750" y="707855"/>
                </a:cubicBezTo>
                <a:cubicBezTo>
                  <a:pt x="1044106" y="706033"/>
                  <a:pt x="1047750" y="704211"/>
                  <a:pt x="1051395" y="704211"/>
                </a:cubicBezTo>
                <a:close/>
                <a:moveTo>
                  <a:pt x="1036818" y="704211"/>
                </a:moveTo>
                <a:cubicBezTo>
                  <a:pt x="1029529" y="707855"/>
                  <a:pt x="1022240" y="709677"/>
                  <a:pt x="1013129" y="713321"/>
                </a:cubicBezTo>
                <a:cubicBezTo>
                  <a:pt x="1018596" y="711499"/>
                  <a:pt x="1036818" y="718788"/>
                  <a:pt x="1036818" y="704211"/>
                </a:cubicBezTo>
                <a:close/>
                <a:moveTo>
                  <a:pt x="991263" y="704211"/>
                </a:moveTo>
                <a:cubicBezTo>
                  <a:pt x="989441" y="704211"/>
                  <a:pt x="983974" y="709677"/>
                  <a:pt x="983974" y="709677"/>
                </a:cubicBezTo>
                <a:cubicBezTo>
                  <a:pt x="985796" y="709677"/>
                  <a:pt x="987619" y="707855"/>
                  <a:pt x="991263" y="704211"/>
                </a:cubicBezTo>
                <a:close/>
                <a:moveTo>
                  <a:pt x="801757" y="704211"/>
                </a:moveTo>
                <a:cubicBezTo>
                  <a:pt x="805401" y="707855"/>
                  <a:pt x="796290" y="713321"/>
                  <a:pt x="803579" y="713321"/>
                </a:cubicBezTo>
                <a:cubicBezTo>
                  <a:pt x="807223" y="715144"/>
                  <a:pt x="803579" y="709677"/>
                  <a:pt x="807223" y="706033"/>
                </a:cubicBezTo>
                <a:cubicBezTo>
                  <a:pt x="803579" y="706033"/>
                  <a:pt x="803579" y="704211"/>
                  <a:pt x="801757" y="704211"/>
                </a:cubicBezTo>
                <a:close/>
                <a:moveTo>
                  <a:pt x="692426" y="704211"/>
                </a:moveTo>
                <a:cubicBezTo>
                  <a:pt x="688782" y="704211"/>
                  <a:pt x="681493" y="707855"/>
                  <a:pt x="681493" y="707855"/>
                </a:cubicBezTo>
                <a:cubicBezTo>
                  <a:pt x="685138" y="724254"/>
                  <a:pt x="699715" y="742476"/>
                  <a:pt x="708826" y="737010"/>
                </a:cubicBezTo>
                <a:cubicBezTo>
                  <a:pt x="721581" y="731543"/>
                  <a:pt x="696071" y="726077"/>
                  <a:pt x="692426" y="715144"/>
                </a:cubicBezTo>
                <a:cubicBezTo>
                  <a:pt x="696071" y="716966"/>
                  <a:pt x="699715" y="722432"/>
                  <a:pt x="705182" y="718788"/>
                </a:cubicBezTo>
                <a:cubicBezTo>
                  <a:pt x="701537" y="716966"/>
                  <a:pt x="697893" y="707855"/>
                  <a:pt x="692426" y="704211"/>
                </a:cubicBezTo>
                <a:close/>
                <a:moveTo>
                  <a:pt x="497454" y="704211"/>
                </a:moveTo>
                <a:cubicBezTo>
                  <a:pt x="499276" y="706033"/>
                  <a:pt x="495632" y="706033"/>
                  <a:pt x="495632" y="709677"/>
                </a:cubicBezTo>
                <a:cubicBezTo>
                  <a:pt x="497454" y="711499"/>
                  <a:pt x="499276" y="706033"/>
                  <a:pt x="497454" y="704211"/>
                </a:cubicBezTo>
                <a:close/>
                <a:moveTo>
                  <a:pt x="415456" y="704211"/>
                </a:moveTo>
                <a:cubicBezTo>
                  <a:pt x="408167" y="722432"/>
                  <a:pt x="420923" y="742476"/>
                  <a:pt x="439145" y="742476"/>
                </a:cubicBezTo>
                <a:cubicBezTo>
                  <a:pt x="439145" y="740654"/>
                  <a:pt x="439145" y="740654"/>
                  <a:pt x="437322" y="738832"/>
                </a:cubicBezTo>
                <a:cubicBezTo>
                  <a:pt x="439145" y="738832"/>
                  <a:pt x="440966" y="742476"/>
                  <a:pt x="444611" y="742476"/>
                </a:cubicBezTo>
                <a:cubicBezTo>
                  <a:pt x="442789" y="742476"/>
                  <a:pt x="440966" y="738832"/>
                  <a:pt x="439145" y="737010"/>
                </a:cubicBezTo>
                <a:cubicBezTo>
                  <a:pt x="440966" y="724254"/>
                  <a:pt x="426389" y="715144"/>
                  <a:pt x="415456" y="704211"/>
                </a:cubicBezTo>
                <a:close/>
                <a:moveTo>
                  <a:pt x="344391" y="704211"/>
                </a:moveTo>
                <a:cubicBezTo>
                  <a:pt x="338926" y="711499"/>
                  <a:pt x="353502" y="729721"/>
                  <a:pt x="362613" y="731543"/>
                </a:cubicBezTo>
                <a:cubicBezTo>
                  <a:pt x="360791" y="722432"/>
                  <a:pt x="357146" y="704211"/>
                  <a:pt x="344391" y="704211"/>
                </a:cubicBezTo>
                <a:close/>
                <a:moveTo>
                  <a:pt x="291549" y="704211"/>
                </a:moveTo>
                <a:cubicBezTo>
                  <a:pt x="289726" y="706033"/>
                  <a:pt x="297015" y="709677"/>
                  <a:pt x="295193" y="711499"/>
                </a:cubicBezTo>
                <a:cubicBezTo>
                  <a:pt x="297015" y="713321"/>
                  <a:pt x="298837" y="711499"/>
                  <a:pt x="300660" y="715144"/>
                </a:cubicBezTo>
                <a:cubicBezTo>
                  <a:pt x="302481" y="709677"/>
                  <a:pt x="293370" y="707855"/>
                  <a:pt x="291549" y="704211"/>
                </a:cubicBezTo>
                <a:close/>
                <a:moveTo>
                  <a:pt x="83820" y="704211"/>
                </a:moveTo>
                <a:lnTo>
                  <a:pt x="149421" y="758877"/>
                </a:lnTo>
                <a:lnTo>
                  <a:pt x="151241" y="760698"/>
                </a:lnTo>
                <a:lnTo>
                  <a:pt x="150604" y="759864"/>
                </a:lnTo>
                <a:lnTo>
                  <a:pt x="160352" y="767987"/>
                </a:lnTo>
                <a:lnTo>
                  <a:pt x="150603" y="759863"/>
                </a:lnTo>
                <a:lnTo>
                  <a:pt x="138030" y="743388"/>
                </a:lnTo>
                <a:cubicBezTo>
                  <a:pt x="133474" y="737921"/>
                  <a:pt x="128463" y="733366"/>
                  <a:pt x="122086" y="731543"/>
                </a:cubicBezTo>
                <a:cubicBezTo>
                  <a:pt x="111153" y="716966"/>
                  <a:pt x="96576" y="713321"/>
                  <a:pt x="83820" y="704211"/>
                </a:cubicBezTo>
                <a:close/>
                <a:moveTo>
                  <a:pt x="1483068" y="704043"/>
                </a:moveTo>
                <a:lnTo>
                  <a:pt x="1483084" y="704377"/>
                </a:lnTo>
                <a:lnTo>
                  <a:pt x="1482662" y="704799"/>
                </a:lnTo>
                <a:close/>
                <a:moveTo>
                  <a:pt x="3502219" y="702388"/>
                </a:moveTo>
                <a:cubicBezTo>
                  <a:pt x="3502219" y="704211"/>
                  <a:pt x="3502219" y="706033"/>
                  <a:pt x="3504041" y="706033"/>
                </a:cubicBezTo>
                <a:cubicBezTo>
                  <a:pt x="3505863" y="707855"/>
                  <a:pt x="3509507" y="702388"/>
                  <a:pt x="3509507" y="706033"/>
                </a:cubicBezTo>
                <a:cubicBezTo>
                  <a:pt x="3513152" y="704211"/>
                  <a:pt x="3505863" y="702388"/>
                  <a:pt x="3502219" y="702388"/>
                </a:cubicBezTo>
                <a:close/>
                <a:moveTo>
                  <a:pt x="2330561" y="702388"/>
                </a:moveTo>
                <a:cubicBezTo>
                  <a:pt x="2328739" y="709677"/>
                  <a:pt x="2328739" y="716966"/>
                  <a:pt x="2326916" y="724254"/>
                </a:cubicBezTo>
                <a:cubicBezTo>
                  <a:pt x="2326916" y="718788"/>
                  <a:pt x="2326916" y="713321"/>
                  <a:pt x="2326916" y="707855"/>
                </a:cubicBezTo>
                <a:cubicBezTo>
                  <a:pt x="2319628" y="713321"/>
                  <a:pt x="2319628" y="724254"/>
                  <a:pt x="2321450" y="731543"/>
                </a:cubicBezTo>
                <a:cubicBezTo>
                  <a:pt x="2321450" y="731543"/>
                  <a:pt x="2321450" y="729721"/>
                  <a:pt x="2323272" y="729721"/>
                </a:cubicBezTo>
                <a:cubicBezTo>
                  <a:pt x="2323272" y="733365"/>
                  <a:pt x="2321450" y="737010"/>
                  <a:pt x="2317806" y="735188"/>
                </a:cubicBezTo>
                <a:cubicBezTo>
                  <a:pt x="2317806" y="737010"/>
                  <a:pt x="2317806" y="740654"/>
                  <a:pt x="2319628" y="742476"/>
                </a:cubicBezTo>
                <a:cubicBezTo>
                  <a:pt x="2323272" y="749765"/>
                  <a:pt x="2330561" y="749765"/>
                  <a:pt x="2337850" y="751587"/>
                </a:cubicBezTo>
                <a:cubicBezTo>
                  <a:pt x="2337850" y="747943"/>
                  <a:pt x="2341494" y="746121"/>
                  <a:pt x="2341494" y="744298"/>
                </a:cubicBezTo>
                <a:cubicBezTo>
                  <a:pt x="2341494" y="742476"/>
                  <a:pt x="2341494" y="742476"/>
                  <a:pt x="2341494" y="742476"/>
                </a:cubicBezTo>
                <a:lnTo>
                  <a:pt x="2341494" y="737010"/>
                </a:lnTo>
                <a:cubicBezTo>
                  <a:pt x="2341494" y="735188"/>
                  <a:pt x="2339672" y="733365"/>
                  <a:pt x="2341494" y="733365"/>
                </a:cubicBezTo>
                <a:lnTo>
                  <a:pt x="2339672" y="715144"/>
                </a:lnTo>
                <a:cubicBezTo>
                  <a:pt x="2337850" y="715144"/>
                  <a:pt x="2336027" y="715144"/>
                  <a:pt x="2334205" y="716966"/>
                </a:cubicBezTo>
                <a:cubicBezTo>
                  <a:pt x="2332383" y="711499"/>
                  <a:pt x="2337850" y="704211"/>
                  <a:pt x="2330561" y="702388"/>
                </a:cubicBezTo>
                <a:close/>
                <a:moveTo>
                  <a:pt x="1277344" y="702388"/>
                </a:moveTo>
                <a:cubicBezTo>
                  <a:pt x="1268233" y="704211"/>
                  <a:pt x="1262767" y="709677"/>
                  <a:pt x="1259123" y="718788"/>
                </a:cubicBezTo>
                <a:cubicBezTo>
                  <a:pt x="1266411" y="718788"/>
                  <a:pt x="1268233" y="709677"/>
                  <a:pt x="1273700" y="706033"/>
                </a:cubicBezTo>
                <a:cubicBezTo>
                  <a:pt x="1273700" y="707855"/>
                  <a:pt x="1270056" y="707855"/>
                  <a:pt x="1271878" y="711499"/>
                </a:cubicBezTo>
                <a:cubicBezTo>
                  <a:pt x="1275522" y="711499"/>
                  <a:pt x="1279166" y="706033"/>
                  <a:pt x="1277344" y="702388"/>
                </a:cubicBezTo>
                <a:close/>
                <a:moveTo>
                  <a:pt x="925666" y="702388"/>
                </a:moveTo>
                <a:cubicBezTo>
                  <a:pt x="922020" y="702388"/>
                  <a:pt x="922020" y="706033"/>
                  <a:pt x="920198" y="707855"/>
                </a:cubicBezTo>
                <a:cubicBezTo>
                  <a:pt x="925666" y="707855"/>
                  <a:pt x="922020" y="704211"/>
                  <a:pt x="925666" y="702388"/>
                </a:cubicBezTo>
                <a:close/>
                <a:moveTo>
                  <a:pt x="903799" y="702388"/>
                </a:moveTo>
                <a:cubicBezTo>
                  <a:pt x="901976" y="704211"/>
                  <a:pt x="900154" y="709677"/>
                  <a:pt x="905621" y="709677"/>
                </a:cubicBezTo>
                <a:cubicBezTo>
                  <a:pt x="905621" y="707855"/>
                  <a:pt x="903799" y="706033"/>
                  <a:pt x="903799" y="702388"/>
                </a:cubicBezTo>
                <a:close/>
                <a:moveTo>
                  <a:pt x="896510" y="702388"/>
                </a:moveTo>
                <a:cubicBezTo>
                  <a:pt x="892866" y="706033"/>
                  <a:pt x="887399" y="711499"/>
                  <a:pt x="885577" y="718788"/>
                </a:cubicBezTo>
                <a:cubicBezTo>
                  <a:pt x="885577" y="720610"/>
                  <a:pt x="891043" y="720610"/>
                  <a:pt x="894688" y="720610"/>
                </a:cubicBezTo>
                <a:cubicBezTo>
                  <a:pt x="892866" y="718788"/>
                  <a:pt x="889222" y="716966"/>
                  <a:pt x="891043" y="713321"/>
                </a:cubicBezTo>
                <a:cubicBezTo>
                  <a:pt x="894688" y="715144"/>
                  <a:pt x="898333" y="720610"/>
                  <a:pt x="901976" y="724254"/>
                </a:cubicBezTo>
                <a:cubicBezTo>
                  <a:pt x="905621" y="715144"/>
                  <a:pt x="898333" y="711499"/>
                  <a:pt x="896510" y="702388"/>
                </a:cubicBezTo>
                <a:close/>
                <a:moveTo>
                  <a:pt x="699715" y="702388"/>
                </a:moveTo>
                <a:cubicBezTo>
                  <a:pt x="701537" y="706033"/>
                  <a:pt x="707004" y="715144"/>
                  <a:pt x="712470" y="716966"/>
                </a:cubicBezTo>
                <a:cubicBezTo>
                  <a:pt x="719759" y="709677"/>
                  <a:pt x="707004" y="706033"/>
                  <a:pt x="699715" y="702388"/>
                </a:cubicBezTo>
                <a:close/>
                <a:moveTo>
                  <a:pt x="244172" y="702388"/>
                </a:moveTo>
                <a:cubicBezTo>
                  <a:pt x="242349" y="702388"/>
                  <a:pt x="240527" y="704211"/>
                  <a:pt x="240527" y="704211"/>
                </a:cubicBezTo>
                <a:cubicBezTo>
                  <a:pt x="242349" y="707855"/>
                  <a:pt x="244172" y="711499"/>
                  <a:pt x="251460" y="713321"/>
                </a:cubicBezTo>
                <a:cubicBezTo>
                  <a:pt x="249638" y="709677"/>
                  <a:pt x="245994" y="706033"/>
                  <a:pt x="244172" y="702388"/>
                </a:cubicBezTo>
                <a:close/>
                <a:moveTo>
                  <a:pt x="178573" y="702388"/>
                </a:moveTo>
                <a:cubicBezTo>
                  <a:pt x="176751" y="709677"/>
                  <a:pt x="185862" y="713321"/>
                  <a:pt x="189506" y="716966"/>
                </a:cubicBezTo>
                <a:cubicBezTo>
                  <a:pt x="187684" y="711499"/>
                  <a:pt x="182218" y="709677"/>
                  <a:pt x="178573" y="702388"/>
                </a:cubicBezTo>
                <a:close/>
                <a:moveTo>
                  <a:pt x="2315983" y="700566"/>
                </a:moveTo>
                <a:cubicBezTo>
                  <a:pt x="2314161" y="704211"/>
                  <a:pt x="2319628" y="704211"/>
                  <a:pt x="2315983" y="709677"/>
                </a:cubicBezTo>
                <a:cubicBezTo>
                  <a:pt x="2319628" y="709677"/>
                  <a:pt x="2317806" y="706033"/>
                  <a:pt x="2319628" y="706033"/>
                </a:cubicBezTo>
                <a:cubicBezTo>
                  <a:pt x="2319628" y="702388"/>
                  <a:pt x="2315983" y="704211"/>
                  <a:pt x="2315983" y="700566"/>
                </a:cubicBezTo>
                <a:close/>
                <a:moveTo>
                  <a:pt x="1062328" y="700566"/>
                </a:moveTo>
                <a:cubicBezTo>
                  <a:pt x="1056861" y="698744"/>
                  <a:pt x="1053217" y="702388"/>
                  <a:pt x="1049573" y="707855"/>
                </a:cubicBezTo>
                <a:cubicBezTo>
                  <a:pt x="1053217" y="704211"/>
                  <a:pt x="1060506" y="706033"/>
                  <a:pt x="1062328" y="700566"/>
                </a:cubicBezTo>
                <a:close/>
                <a:moveTo>
                  <a:pt x="768959" y="700566"/>
                </a:moveTo>
                <a:lnTo>
                  <a:pt x="770325" y="706033"/>
                </a:lnTo>
                <a:lnTo>
                  <a:pt x="772602" y="704211"/>
                </a:lnTo>
                <a:cubicBezTo>
                  <a:pt x="770781" y="702388"/>
                  <a:pt x="770781" y="702388"/>
                  <a:pt x="768959" y="700566"/>
                </a:cubicBezTo>
                <a:close/>
                <a:moveTo>
                  <a:pt x="433678" y="700566"/>
                </a:moveTo>
                <a:cubicBezTo>
                  <a:pt x="431856" y="702388"/>
                  <a:pt x="437322" y="707855"/>
                  <a:pt x="439145" y="706033"/>
                </a:cubicBezTo>
                <a:cubicBezTo>
                  <a:pt x="439145" y="702388"/>
                  <a:pt x="437322" y="702388"/>
                  <a:pt x="433678" y="700566"/>
                </a:cubicBezTo>
                <a:close/>
                <a:moveTo>
                  <a:pt x="397598" y="699473"/>
                </a:moveTo>
                <a:lnTo>
                  <a:pt x="398680" y="699833"/>
                </a:lnTo>
                <a:lnTo>
                  <a:pt x="399056" y="700566"/>
                </a:lnTo>
                <a:close/>
                <a:moveTo>
                  <a:pt x="3587861" y="698745"/>
                </a:moveTo>
                <a:lnTo>
                  <a:pt x="3589683" y="702388"/>
                </a:lnTo>
                <a:lnTo>
                  <a:pt x="3588813" y="704455"/>
                </a:lnTo>
                <a:close/>
                <a:moveTo>
                  <a:pt x="2886324" y="698744"/>
                </a:moveTo>
                <a:cubicBezTo>
                  <a:pt x="2882680" y="711499"/>
                  <a:pt x="2897257" y="715144"/>
                  <a:pt x="2902724" y="722432"/>
                </a:cubicBezTo>
                <a:cubicBezTo>
                  <a:pt x="2906368" y="718788"/>
                  <a:pt x="2899079" y="715144"/>
                  <a:pt x="2899079" y="711499"/>
                </a:cubicBezTo>
                <a:cubicBezTo>
                  <a:pt x="2906368" y="711499"/>
                  <a:pt x="2904546" y="722432"/>
                  <a:pt x="2911834" y="724254"/>
                </a:cubicBezTo>
                <a:cubicBezTo>
                  <a:pt x="2910012" y="722432"/>
                  <a:pt x="2910012" y="720610"/>
                  <a:pt x="2910012" y="716966"/>
                </a:cubicBezTo>
                <a:cubicBezTo>
                  <a:pt x="2913656" y="718788"/>
                  <a:pt x="2917301" y="718788"/>
                  <a:pt x="2920945" y="716966"/>
                </a:cubicBezTo>
                <a:cubicBezTo>
                  <a:pt x="2911834" y="713321"/>
                  <a:pt x="2902724" y="698744"/>
                  <a:pt x="2895435" y="709677"/>
                </a:cubicBezTo>
                <a:cubicBezTo>
                  <a:pt x="2893613" y="706033"/>
                  <a:pt x="2893613" y="702388"/>
                  <a:pt x="2891790" y="698744"/>
                </a:cubicBezTo>
                <a:cubicBezTo>
                  <a:pt x="2889968" y="702388"/>
                  <a:pt x="2889968" y="704211"/>
                  <a:pt x="2891790" y="706033"/>
                </a:cubicBezTo>
                <a:cubicBezTo>
                  <a:pt x="2888146" y="704211"/>
                  <a:pt x="2886324" y="702388"/>
                  <a:pt x="2886324" y="698744"/>
                </a:cubicBezTo>
                <a:close/>
                <a:moveTo>
                  <a:pt x="1157081" y="698744"/>
                </a:moveTo>
                <a:cubicBezTo>
                  <a:pt x="1151614" y="696922"/>
                  <a:pt x="1144326" y="698744"/>
                  <a:pt x="1137037" y="704211"/>
                </a:cubicBezTo>
                <a:cubicBezTo>
                  <a:pt x="1142503" y="702388"/>
                  <a:pt x="1151614" y="704211"/>
                  <a:pt x="1157081" y="698744"/>
                </a:cubicBezTo>
                <a:close/>
                <a:moveTo>
                  <a:pt x="960286" y="698744"/>
                </a:moveTo>
                <a:cubicBezTo>
                  <a:pt x="951175" y="706033"/>
                  <a:pt x="952997" y="707855"/>
                  <a:pt x="962108" y="700566"/>
                </a:cubicBezTo>
                <a:cubicBezTo>
                  <a:pt x="963930" y="700566"/>
                  <a:pt x="962108" y="698744"/>
                  <a:pt x="960286" y="698744"/>
                </a:cubicBezTo>
                <a:close/>
                <a:moveTo>
                  <a:pt x="949353" y="698744"/>
                </a:moveTo>
                <a:cubicBezTo>
                  <a:pt x="942064" y="696922"/>
                  <a:pt x="934777" y="711499"/>
                  <a:pt x="942064" y="713321"/>
                </a:cubicBezTo>
                <a:cubicBezTo>
                  <a:pt x="949353" y="707855"/>
                  <a:pt x="945709" y="702388"/>
                  <a:pt x="949353" y="698744"/>
                </a:cubicBezTo>
                <a:close/>
                <a:moveTo>
                  <a:pt x="799935" y="698744"/>
                </a:moveTo>
                <a:cubicBezTo>
                  <a:pt x="798112" y="700566"/>
                  <a:pt x="801757" y="702388"/>
                  <a:pt x="803579" y="704211"/>
                </a:cubicBezTo>
                <a:cubicBezTo>
                  <a:pt x="807223" y="702388"/>
                  <a:pt x="799935" y="700566"/>
                  <a:pt x="799935" y="698744"/>
                </a:cubicBezTo>
                <a:close/>
                <a:moveTo>
                  <a:pt x="623185" y="698744"/>
                </a:moveTo>
                <a:cubicBezTo>
                  <a:pt x="619539" y="702388"/>
                  <a:pt x="614074" y="706033"/>
                  <a:pt x="610429" y="709677"/>
                </a:cubicBezTo>
                <a:cubicBezTo>
                  <a:pt x="610429" y="711499"/>
                  <a:pt x="608606" y="713321"/>
                  <a:pt x="604963" y="713321"/>
                </a:cubicBezTo>
                <a:cubicBezTo>
                  <a:pt x="606784" y="715144"/>
                  <a:pt x="608606" y="716966"/>
                  <a:pt x="612251" y="715144"/>
                </a:cubicBezTo>
                <a:cubicBezTo>
                  <a:pt x="612251" y="713321"/>
                  <a:pt x="610429" y="713321"/>
                  <a:pt x="610429" y="709677"/>
                </a:cubicBezTo>
                <a:cubicBezTo>
                  <a:pt x="615895" y="711499"/>
                  <a:pt x="619539" y="713321"/>
                  <a:pt x="621362" y="706033"/>
                </a:cubicBezTo>
                <a:cubicBezTo>
                  <a:pt x="619539" y="709677"/>
                  <a:pt x="617717" y="711499"/>
                  <a:pt x="615895" y="713321"/>
                </a:cubicBezTo>
                <a:lnTo>
                  <a:pt x="619169" y="715588"/>
                </a:lnTo>
                <a:lnTo>
                  <a:pt x="610429" y="726077"/>
                </a:lnTo>
                <a:cubicBezTo>
                  <a:pt x="615895" y="727899"/>
                  <a:pt x="621362" y="729721"/>
                  <a:pt x="628650" y="724254"/>
                </a:cubicBezTo>
                <a:lnTo>
                  <a:pt x="621815" y="717420"/>
                </a:lnTo>
                <a:lnTo>
                  <a:pt x="639583" y="729721"/>
                </a:lnTo>
                <a:cubicBezTo>
                  <a:pt x="634117" y="722432"/>
                  <a:pt x="628650" y="720610"/>
                  <a:pt x="626828" y="711499"/>
                </a:cubicBezTo>
                <a:cubicBezTo>
                  <a:pt x="628650" y="713321"/>
                  <a:pt x="630472" y="715144"/>
                  <a:pt x="632296" y="716966"/>
                </a:cubicBezTo>
                <a:cubicBezTo>
                  <a:pt x="635939" y="711499"/>
                  <a:pt x="626828" y="702388"/>
                  <a:pt x="623185" y="698744"/>
                </a:cubicBezTo>
                <a:close/>
                <a:moveTo>
                  <a:pt x="522964" y="698744"/>
                </a:moveTo>
                <a:cubicBezTo>
                  <a:pt x="519320" y="698744"/>
                  <a:pt x="522964" y="704211"/>
                  <a:pt x="524786" y="702388"/>
                </a:cubicBezTo>
                <a:cubicBezTo>
                  <a:pt x="522964" y="702388"/>
                  <a:pt x="522964" y="700566"/>
                  <a:pt x="522964" y="698744"/>
                </a:cubicBezTo>
                <a:close/>
                <a:moveTo>
                  <a:pt x="258749" y="698744"/>
                </a:moveTo>
                <a:cubicBezTo>
                  <a:pt x="258749" y="702388"/>
                  <a:pt x="266038" y="707855"/>
                  <a:pt x="264216" y="715144"/>
                </a:cubicBezTo>
                <a:cubicBezTo>
                  <a:pt x="267860" y="711499"/>
                  <a:pt x="264216" y="702388"/>
                  <a:pt x="258749" y="698744"/>
                </a:cubicBezTo>
                <a:close/>
                <a:moveTo>
                  <a:pt x="202262" y="698744"/>
                </a:moveTo>
                <a:cubicBezTo>
                  <a:pt x="200439" y="702388"/>
                  <a:pt x="207728" y="707855"/>
                  <a:pt x="209550" y="707855"/>
                </a:cubicBezTo>
                <a:cubicBezTo>
                  <a:pt x="207728" y="704211"/>
                  <a:pt x="204084" y="702388"/>
                  <a:pt x="202262" y="698744"/>
                </a:cubicBezTo>
                <a:close/>
                <a:moveTo>
                  <a:pt x="3489463" y="696922"/>
                </a:moveTo>
                <a:cubicBezTo>
                  <a:pt x="3483997" y="696922"/>
                  <a:pt x="3478530" y="698744"/>
                  <a:pt x="3478530" y="704211"/>
                </a:cubicBezTo>
                <a:cubicBezTo>
                  <a:pt x="3478530" y="704211"/>
                  <a:pt x="3480353" y="704211"/>
                  <a:pt x="3480353" y="706033"/>
                </a:cubicBezTo>
                <a:cubicBezTo>
                  <a:pt x="3483997" y="706033"/>
                  <a:pt x="3485819" y="706033"/>
                  <a:pt x="3489463" y="706033"/>
                </a:cubicBezTo>
                <a:cubicBezTo>
                  <a:pt x="3485819" y="702388"/>
                  <a:pt x="3489463" y="700566"/>
                  <a:pt x="3491286" y="700566"/>
                </a:cubicBezTo>
                <a:cubicBezTo>
                  <a:pt x="3491286" y="698744"/>
                  <a:pt x="3489463" y="698744"/>
                  <a:pt x="3489463" y="696922"/>
                </a:cubicBezTo>
                <a:close/>
                <a:moveTo>
                  <a:pt x="2911834" y="696922"/>
                </a:moveTo>
                <a:cubicBezTo>
                  <a:pt x="2908190" y="702388"/>
                  <a:pt x="2911834" y="711499"/>
                  <a:pt x="2919123" y="713321"/>
                </a:cubicBezTo>
                <a:cubicBezTo>
                  <a:pt x="2920945" y="709677"/>
                  <a:pt x="2917301" y="702388"/>
                  <a:pt x="2917301" y="700566"/>
                </a:cubicBezTo>
                <a:cubicBezTo>
                  <a:pt x="2915479" y="700566"/>
                  <a:pt x="2911834" y="700566"/>
                  <a:pt x="2911834" y="696922"/>
                </a:cubicBezTo>
                <a:close/>
                <a:moveTo>
                  <a:pt x="1486895" y="696922"/>
                </a:moveTo>
                <a:lnTo>
                  <a:pt x="1483068" y="704043"/>
                </a:lnTo>
                <a:lnTo>
                  <a:pt x="1483022" y="703072"/>
                </a:lnTo>
                <a:cubicBezTo>
                  <a:pt x="1484161" y="701022"/>
                  <a:pt x="1485983" y="698744"/>
                  <a:pt x="1486895" y="696922"/>
                </a:cubicBezTo>
                <a:close/>
                <a:moveTo>
                  <a:pt x="1335654" y="696922"/>
                </a:moveTo>
                <a:cubicBezTo>
                  <a:pt x="1335654" y="695100"/>
                  <a:pt x="1330188" y="700566"/>
                  <a:pt x="1328365" y="702388"/>
                </a:cubicBezTo>
                <a:cubicBezTo>
                  <a:pt x="1332009" y="704211"/>
                  <a:pt x="1332009" y="698744"/>
                  <a:pt x="1335654" y="696922"/>
                </a:cubicBezTo>
                <a:close/>
                <a:moveTo>
                  <a:pt x="1071439" y="696922"/>
                </a:moveTo>
                <a:cubicBezTo>
                  <a:pt x="1069616" y="698744"/>
                  <a:pt x="1064151" y="698744"/>
                  <a:pt x="1067794" y="702388"/>
                </a:cubicBezTo>
                <a:cubicBezTo>
                  <a:pt x="1071439" y="700566"/>
                  <a:pt x="1067794" y="698744"/>
                  <a:pt x="1071439" y="696922"/>
                </a:cubicBezTo>
                <a:close/>
                <a:moveTo>
                  <a:pt x="993085" y="696922"/>
                </a:moveTo>
                <a:cubicBezTo>
                  <a:pt x="991263" y="696922"/>
                  <a:pt x="987619" y="700566"/>
                  <a:pt x="989441" y="702388"/>
                </a:cubicBezTo>
                <a:cubicBezTo>
                  <a:pt x="991263" y="700566"/>
                  <a:pt x="996729" y="696922"/>
                  <a:pt x="993085" y="696922"/>
                </a:cubicBezTo>
                <a:close/>
                <a:moveTo>
                  <a:pt x="854600" y="696922"/>
                </a:moveTo>
                <a:cubicBezTo>
                  <a:pt x="854600" y="698744"/>
                  <a:pt x="852778" y="698744"/>
                  <a:pt x="852778" y="700566"/>
                </a:cubicBezTo>
                <a:cubicBezTo>
                  <a:pt x="854600" y="700566"/>
                  <a:pt x="854600" y="702388"/>
                  <a:pt x="858244" y="702388"/>
                </a:cubicBezTo>
                <a:cubicBezTo>
                  <a:pt x="861889" y="698744"/>
                  <a:pt x="856422" y="698744"/>
                  <a:pt x="854600" y="696922"/>
                </a:cubicBezTo>
                <a:close/>
                <a:moveTo>
                  <a:pt x="703359" y="696922"/>
                </a:moveTo>
                <a:cubicBezTo>
                  <a:pt x="703359" y="696922"/>
                  <a:pt x="701537" y="698744"/>
                  <a:pt x="701537" y="698744"/>
                </a:cubicBezTo>
                <a:cubicBezTo>
                  <a:pt x="703359" y="700566"/>
                  <a:pt x="705182" y="702388"/>
                  <a:pt x="707004" y="704211"/>
                </a:cubicBezTo>
                <a:cubicBezTo>
                  <a:pt x="707004" y="700566"/>
                  <a:pt x="705182" y="698744"/>
                  <a:pt x="703359" y="696922"/>
                </a:cubicBezTo>
                <a:close/>
                <a:moveTo>
                  <a:pt x="592207" y="696922"/>
                </a:moveTo>
                <a:cubicBezTo>
                  <a:pt x="588562" y="696922"/>
                  <a:pt x="590385" y="704211"/>
                  <a:pt x="590385" y="707855"/>
                </a:cubicBezTo>
                <a:cubicBezTo>
                  <a:pt x="590385" y="707855"/>
                  <a:pt x="592207" y="704211"/>
                  <a:pt x="594030" y="704211"/>
                </a:cubicBezTo>
                <a:cubicBezTo>
                  <a:pt x="590385" y="702388"/>
                  <a:pt x="592207" y="698744"/>
                  <a:pt x="592207" y="696922"/>
                </a:cubicBezTo>
                <a:close/>
                <a:moveTo>
                  <a:pt x="409989" y="696922"/>
                </a:moveTo>
                <a:cubicBezTo>
                  <a:pt x="400879" y="700566"/>
                  <a:pt x="417278" y="704211"/>
                  <a:pt x="409989" y="707855"/>
                </a:cubicBezTo>
                <a:cubicBezTo>
                  <a:pt x="415456" y="707855"/>
                  <a:pt x="413634" y="698744"/>
                  <a:pt x="409989" y="696922"/>
                </a:cubicBezTo>
                <a:close/>
                <a:moveTo>
                  <a:pt x="389946" y="696922"/>
                </a:moveTo>
                <a:lnTo>
                  <a:pt x="393460" y="698094"/>
                </a:lnTo>
                <a:lnTo>
                  <a:pt x="393590" y="698744"/>
                </a:lnTo>
                <a:cubicBezTo>
                  <a:pt x="391768" y="698744"/>
                  <a:pt x="391768" y="696922"/>
                  <a:pt x="389946" y="696922"/>
                </a:cubicBezTo>
                <a:close/>
                <a:moveTo>
                  <a:pt x="344391" y="696922"/>
                </a:moveTo>
                <a:cubicBezTo>
                  <a:pt x="346213" y="700566"/>
                  <a:pt x="351680" y="700566"/>
                  <a:pt x="355324" y="704211"/>
                </a:cubicBezTo>
                <a:cubicBezTo>
                  <a:pt x="353502" y="702388"/>
                  <a:pt x="349858" y="693278"/>
                  <a:pt x="344391" y="696922"/>
                </a:cubicBezTo>
                <a:close/>
                <a:moveTo>
                  <a:pt x="337102" y="696922"/>
                </a:moveTo>
                <a:cubicBezTo>
                  <a:pt x="335280" y="698744"/>
                  <a:pt x="338926" y="702388"/>
                  <a:pt x="340747" y="706033"/>
                </a:cubicBezTo>
                <a:cubicBezTo>
                  <a:pt x="342569" y="704211"/>
                  <a:pt x="340747" y="702388"/>
                  <a:pt x="342569" y="702388"/>
                </a:cubicBezTo>
                <a:cubicBezTo>
                  <a:pt x="340747" y="698744"/>
                  <a:pt x="338926" y="700566"/>
                  <a:pt x="337102" y="696922"/>
                </a:cubicBezTo>
                <a:close/>
                <a:moveTo>
                  <a:pt x="331636" y="696922"/>
                </a:moveTo>
                <a:cubicBezTo>
                  <a:pt x="327993" y="698744"/>
                  <a:pt x="333458" y="706033"/>
                  <a:pt x="338926" y="709677"/>
                </a:cubicBezTo>
                <a:cubicBezTo>
                  <a:pt x="340747" y="706033"/>
                  <a:pt x="333458" y="698744"/>
                  <a:pt x="331636" y="696922"/>
                </a:cubicBezTo>
                <a:close/>
                <a:moveTo>
                  <a:pt x="236883" y="696922"/>
                </a:moveTo>
                <a:cubicBezTo>
                  <a:pt x="235061" y="696922"/>
                  <a:pt x="235061" y="700566"/>
                  <a:pt x="236883" y="702388"/>
                </a:cubicBezTo>
                <a:cubicBezTo>
                  <a:pt x="238705" y="702388"/>
                  <a:pt x="240527" y="700566"/>
                  <a:pt x="240527" y="702388"/>
                </a:cubicBezTo>
                <a:cubicBezTo>
                  <a:pt x="238705" y="700566"/>
                  <a:pt x="238705" y="698744"/>
                  <a:pt x="236883" y="696922"/>
                </a:cubicBezTo>
                <a:close/>
                <a:moveTo>
                  <a:pt x="2861497" y="696695"/>
                </a:moveTo>
                <a:cubicBezTo>
                  <a:pt x="2858992" y="697378"/>
                  <a:pt x="2857169" y="698744"/>
                  <a:pt x="2857169" y="700566"/>
                </a:cubicBezTo>
                <a:cubicBezTo>
                  <a:pt x="2866280" y="698744"/>
                  <a:pt x="2862636" y="707855"/>
                  <a:pt x="2868102" y="709677"/>
                </a:cubicBezTo>
                <a:cubicBezTo>
                  <a:pt x="2868102" y="704211"/>
                  <a:pt x="2871747" y="702388"/>
                  <a:pt x="2869924" y="696922"/>
                </a:cubicBezTo>
                <a:cubicBezTo>
                  <a:pt x="2867191" y="696011"/>
                  <a:pt x="2864003" y="696011"/>
                  <a:pt x="2861497" y="696695"/>
                </a:cubicBezTo>
                <a:close/>
                <a:moveTo>
                  <a:pt x="3545951" y="695100"/>
                </a:moveTo>
                <a:cubicBezTo>
                  <a:pt x="3547773" y="698744"/>
                  <a:pt x="3545951" y="700566"/>
                  <a:pt x="3544129" y="702388"/>
                </a:cubicBezTo>
                <a:cubicBezTo>
                  <a:pt x="3544129" y="704211"/>
                  <a:pt x="3549595" y="702388"/>
                  <a:pt x="3547773" y="707855"/>
                </a:cubicBezTo>
                <a:cubicBezTo>
                  <a:pt x="3547773" y="707855"/>
                  <a:pt x="3551417" y="706033"/>
                  <a:pt x="3551417" y="707855"/>
                </a:cubicBezTo>
                <a:cubicBezTo>
                  <a:pt x="3551417" y="704211"/>
                  <a:pt x="3547773" y="702388"/>
                  <a:pt x="3553240" y="696922"/>
                </a:cubicBezTo>
                <a:cubicBezTo>
                  <a:pt x="3549595" y="696922"/>
                  <a:pt x="3549595" y="693278"/>
                  <a:pt x="3545951" y="695100"/>
                </a:cubicBezTo>
                <a:close/>
                <a:moveTo>
                  <a:pt x="2337850" y="695100"/>
                </a:moveTo>
                <a:cubicBezTo>
                  <a:pt x="2336027" y="698744"/>
                  <a:pt x="2336027" y="704211"/>
                  <a:pt x="2337850" y="706033"/>
                </a:cubicBezTo>
                <a:lnTo>
                  <a:pt x="2339672" y="706033"/>
                </a:lnTo>
                <a:lnTo>
                  <a:pt x="2343316" y="706033"/>
                </a:lnTo>
                <a:cubicBezTo>
                  <a:pt x="2343316" y="704211"/>
                  <a:pt x="2343316" y="702388"/>
                  <a:pt x="2341494" y="700566"/>
                </a:cubicBezTo>
                <a:cubicBezTo>
                  <a:pt x="2341494" y="702388"/>
                  <a:pt x="2341494" y="704211"/>
                  <a:pt x="2339672" y="706033"/>
                </a:cubicBezTo>
                <a:cubicBezTo>
                  <a:pt x="2337850" y="702388"/>
                  <a:pt x="2339672" y="696922"/>
                  <a:pt x="2337850" y="695100"/>
                </a:cubicBezTo>
                <a:close/>
                <a:moveTo>
                  <a:pt x="1311966" y="695100"/>
                </a:moveTo>
                <a:cubicBezTo>
                  <a:pt x="1308321" y="696922"/>
                  <a:pt x="1302855" y="698744"/>
                  <a:pt x="1297388" y="698744"/>
                </a:cubicBezTo>
                <a:cubicBezTo>
                  <a:pt x="1295566" y="700566"/>
                  <a:pt x="1293744" y="702388"/>
                  <a:pt x="1295566" y="704211"/>
                </a:cubicBezTo>
                <a:cubicBezTo>
                  <a:pt x="1301033" y="698744"/>
                  <a:pt x="1306499" y="698744"/>
                  <a:pt x="1311966" y="695100"/>
                </a:cubicBezTo>
                <a:close/>
                <a:moveTo>
                  <a:pt x="1186236" y="695100"/>
                </a:moveTo>
                <a:cubicBezTo>
                  <a:pt x="1180769" y="695100"/>
                  <a:pt x="1173481" y="698744"/>
                  <a:pt x="1169836" y="702388"/>
                </a:cubicBezTo>
                <a:cubicBezTo>
                  <a:pt x="1171658" y="706033"/>
                  <a:pt x="1177125" y="706033"/>
                  <a:pt x="1180769" y="704211"/>
                </a:cubicBezTo>
                <a:cubicBezTo>
                  <a:pt x="1184414" y="702388"/>
                  <a:pt x="1182592" y="696922"/>
                  <a:pt x="1186236" y="695100"/>
                </a:cubicBezTo>
                <a:close/>
                <a:moveTo>
                  <a:pt x="914732" y="695100"/>
                </a:moveTo>
                <a:cubicBezTo>
                  <a:pt x="911087" y="698744"/>
                  <a:pt x="912909" y="700566"/>
                  <a:pt x="911087" y="704211"/>
                </a:cubicBezTo>
                <a:cubicBezTo>
                  <a:pt x="912909" y="702388"/>
                  <a:pt x="914732" y="706033"/>
                  <a:pt x="918376" y="706033"/>
                </a:cubicBezTo>
                <a:cubicBezTo>
                  <a:pt x="918376" y="702388"/>
                  <a:pt x="914732" y="698744"/>
                  <a:pt x="914732" y="695100"/>
                </a:cubicBezTo>
                <a:close/>
                <a:moveTo>
                  <a:pt x="798112" y="695100"/>
                </a:moveTo>
                <a:cubicBezTo>
                  <a:pt x="796290" y="695100"/>
                  <a:pt x="794468" y="700566"/>
                  <a:pt x="798112" y="700566"/>
                </a:cubicBezTo>
                <a:cubicBezTo>
                  <a:pt x="799935" y="698744"/>
                  <a:pt x="796290" y="696922"/>
                  <a:pt x="798112" y="695100"/>
                </a:cubicBezTo>
                <a:close/>
                <a:moveTo>
                  <a:pt x="765313" y="695100"/>
                </a:moveTo>
                <a:cubicBezTo>
                  <a:pt x="763491" y="696922"/>
                  <a:pt x="763491" y="696922"/>
                  <a:pt x="761670" y="698744"/>
                </a:cubicBezTo>
                <a:cubicBezTo>
                  <a:pt x="761670" y="700566"/>
                  <a:pt x="763491" y="702388"/>
                  <a:pt x="767136" y="702388"/>
                </a:cubicBezTo>
                <a:cubicBezTo>
                  <a:pt x="767136" y="700566"/>
                  <a:pt x="765313" y="696922"/>
                  <a:pt x="765313" y="695100"/>
                </a:cubicBezTo>
                <a:close/>
                <a:moveTo>
                  <a:pt x="422745" y="695100"/>
                </a:moveTo>
                <a:cubicBezTo>
                  <a:pt x="420923" y="696922"/>
                  <a:pt x="424567" y="700566"/>
                  <a:pt x="426389" y="704211"/>
                </a:cubicBezTo>
                <a:cubicBezTo>
                  <a:pt x="428211" y="702388"/>
                  <a:pt x="426389" y="695100"/>
                  <a:pt x="422745" y="695100"/>
                </a:cubicBezTo>
                <a:close/>
                <a:moveTo>
                  <a:pt x="391768" y="695100"/>
                </a:moveTo>
                <a:lnTo>
                  <a:pt x="397598" y="699473"/>
                </a:lnTo>
                <a:lnTo>
                  <a:pt x="393460" y="698094"/>
                </a:lnTo>
                <a:lnTo>
                  <a:pt x="393362" y="697606"/>
                </a:lnTo>
                <a:cubicBezTo>
                  <a:pt x="392224" y="697378"/>
                  <a:pt x="390857" y="696922"/>
                  <a:pt x="391768" y="695100"/>
                </a:cubicBezTo>
                <a:close/>
                <a:moveTo>
                  <a:pt x="353502" y="695100"/>
                </a:moveTo>
                <a:cubicBezTo>
                  <a:pt x="358969" y="702388"/>
                  <a:pt x="366257" y="702388"/>
                  <a:pt x="368079" y="709677"/>
                </a:cubicBezTo>
                <a:cubicBezTo>
                  <a:pt x="369902" y="707855"/>
                  <a:pt x="366257" y="704211"/>
                  <a:pt x="362613" y="700566"/>
                </a:cubicBezTo>
                <a:lnTo>
                  <a:pt x="366410" y="701766"/>
                </a:lnTo>
                <a:lnTo>
                  <a:pt x="369902" y="706033"/>
                </a:lnTo>
                <a:cubicBezTo>
                  <a:pt x="368990" y="705122"/>
                  <a:pt x="368079" y="703300"/>
                  <a:pt x="366940" y="701933"/>
                </a:cubicBezTo>
                <a:lnTo>
                  <a:pt x="366410" y="701766"/>
                </a:lnTo>
                <a:lnTo>
                  <a:pt x="363752" y="698517"/>
                </a:lnTo>
                <a:cubicBezTo>
                  <a:pt x="360335" y="696011"/>
                  <a:pt x="356236" y="694189"/>
                  <a:pt x="353502" y="695100"/>
                </a:cubicBezTo>
                <a:close/>
                <a:moveTo>
                  <a:pt x="209550" y="695100"/>
                </a:moveTo>
                <a:cubicBezTo>
                  <a:pt x="211372" y="700566"/>
                  <a:pt x="211372" y="702388"/>
                  <a:pt x="215017" y="700566"/>
                </a:cubicBezTo>
                <a:cubicBezTo>
                  <a:pt x="215017" y="704211"/>
                  <a:pt x="215017" y="704211"/>
                  <a:pt x="211372" y="702388"/>
                </a:cubicBezTo>
                <a:lnTo>
                  <a:pt x="216611" y="707627"/>
                </a:lnTo>
                <a:lnTo>
                  <a:pt x="216611" y="707628"/>
                </a:lnTo>
                <a:cubicBezTo>
                  <a:pt x="218205" y="708766"/>
                  <a:pt x="220483" y="709677"/>
                  <a:pt x="220483" y="711499"/>
                </a:cubicBezTo>
                <a:lnTo>
                  <a:pt x="216611" y="707627"/>
                </a:lnTo>
                <a:lnTo>
                  <a:pt x="216839" y="702388"/>
                </a:lnTo>
                <a:lnTo>
                  <a:pt x="219603" y="703310"/>
                </a:lnTo>
                <a:lnTo>
                  <a:pt x="222306" y="707855"/>
                </a:lnTo>
                <a:cubicBezTo>
                  <a:pt x="222306" y="706944"/>
                  <a:pt x="221850" y="705122"/>
                  <a:pt x="220939" y="703755"/>
                </a:cubicBezTo>
                <a:lnTo>
                  <a:pt x="219603" y="703310"/>
                </a:lnTo>
                <a:lnTo>
                  <a:pt x="217295" y="699428"/>
                </a:lnTo>
                <a:cubicBezTo>
                  <a:pt x="214561" y="697378"/>
                  <a:pt x="211372" y="696011"/>
                  <a:pt x="209550" y="695100"/>
                </a:cubicBezTo>
                <a:close/>
                <a:moveTo>
                  <a:pt x="887855" y="693961"/>
                </a:moveTo>
                <a:cubicBezTo>
                  <a:pt x="885121" y="694645"/>
                  <a:pt x="881932" y="696011"/>
                  <a:pt x="880111" y="695100"/>
                </a:cubicBezTo>
                <a:cubicBezTo>
                  <a:pt x="880111" y="695100"/>
                  <a:pt x="880111" y="696922"/>
                  <a:pt x="880111" y="696922"/>
                </a:cubicBezTo>
                <a:cubicBezTo>
                  <a:pt x="876466" y="698744"/>
                  <a:pt x="880111" y="693278"/>
                  <a:pt x="876466" y="695100"/>
                </a:cubicBezTo>
                <a:cubicBezTo>
                  <a:pt x="880111" y="702388"/>
                  <a:pt x="863711" y="709677"/>
                  <a:pt x="880111" y="716966"/>
                </a:cubicBezTo>
                <a:cubicBezTo>
                  <a:pt x="881933" y="715144"/>
                  <a:pt x="878288" y="713321"/>
                  <a:pt x="881933" y="711499"/>
                </a:cubicBezTo>
                <a:cubicBezTo>
                  <a:pt x="883755" y="709677"/>
                  <a:pt x="883755" y="713321"/>
                  <a:pt x="885577" y="713321"/>
                </a:cubicBezTo>
                <a:cubicBezTo>
                  <a:pt x="889222" y="709677"/>
                  <a:pt x="892866" y="704211"/>
                  <a:pt x="894688" y="700566"/>
                </a:cubicBezTo>
                <a:cubicBezTo>
                  <a:pt x="892866" y="698744"/>
                  <a:pt x="891043" y="698744"/>
                  <a:pt x="889222" y="696922"/>
                </a:cubicBezTo>
                <a:cubicBezTo>
                  <a:pt x="891043" y="696922"/>
                  <a:pt x="891043" y="695100"/>
                  <a:pt x="892866" y="696922"/>
                </a:cubicBezTo>
                <a:cubicBezTo>
                  <a:pt x="892866" y="693278"/>
                  <a:pt x="890588" y="693278"/>
                  <a:pt x="887855" y="693961"/>
                </a:cubicBezTo>
                <a:close/>
                <a:moveTo>
                  <a:pt x="3585432" y="693886"/>
                </a:moveTo>
                <a:lnTo>
                  <a:pt x="3587861" y="698744"/>
                </a:lnTo>
                <a:lnTo>
                  <a:pt x="3585128" y="697833"/>
                </a:lnTo>
                <a:cubicBezTo>
                  <a:pt x="3583761" y="697833"/>
                  <a:pt x="3582394" y="697833"/>
                  <a:pt x="3582394" y="696922"/>
                </a:cubicBezTo>
                <a:close/>
                <a:moveTo>
                  <a:pt x="3525907" y="693278"/>
                </a:moveTo>
                <a:cubicBezTo>
                  <a:pt x="3525907" y="696922"/>
                  <a:pt x="3525907" y="700566"/>
                  <a:pt x="3527729" y="702388"/>
                </a:cubicBezTo>
                <a:cubicBezTo>
                  <a:pt x="3531374" y="700566"/>
                  <a:pt x="3527729" y="698744"/>
                  <a:pt x="3529551" y="695100"/>
                </a:cubicBezTo>
                <a:cubicBezTo>
                  <a:pt x="3533196" y="695100"/>
                  <a:pt x="3529551" y="691455"/>
                  <a:pt x="3525907" y="693278"/>
                </a:cubicBezTo>
                <a:close/>
                <a:moveTo>
                  <a:pt x="1188058" y="693278"/>
                </a:moveTo>
                <a:cubicBezTo>
                  <a:pt x="1184414" y="696922"/>
                  <a:pt x="1184414" y="700566"/>
                  <a:pt x="1182592" y="704211"/>
                </a:cubicBezTo>
                <a:cubicBezTo>
                  <a:pt x="1188058" y="704211"/>
                  <a:pt x="1188058" y="696922"/>
                  <a:pt x="1188058" y="693278"/>
                </a:cubicBezTo>
                <a:close/>
                <a:moveTo>
                  <a:pt x="1080549" y="693278"/>
                </a:moveTo>
                <a:cubicBezTo>
                  <a:pt x="1076905" y="694189"/>
                  <a:pt x="1075083" y="696467"/>
                  <a:pt x="1073262" y="698744"/>
                </a:cubicBezTo>
                <a:lnTo>
                  <a:pt x="1066635" y="703714"/>
                </a:lnTo>
                <a:lnTo>
                  <a:pt x="1065972" y="702388"/>
                </a:lnTo>
                <a:cubicBezTo>
                  <a:pt x="1065972" y="702388"/>
                  <a:pt x="1064151" y="702388"/>
                  <a:pt x="1064151" y="702388"/>
                </a:cubicBezTo>
                <a:lnTo>
                  <a:pt x="1065972" y="704211"/>
                </a:lnTo>
                <a:lnTo>
                  <a:pt x="1066635" y="703714"/>
                </a:lnTo>
                <a:lnTo>
                  <a:pt x="1067065" y="704576"/>
                </a:lnTo>
                <a:lnTo>
                  <a:pt x="1065973" y="704212"/>
                </a:lnTo>
                <a:lnTo>
                  <a:pt x="1067794" y="706033"/>
                </a:lnTo>
                <a:cubicBezTo>
                  <a:pt x="1069616" y="707855"/>
                  <a:pt x="1065972" y="711499"/>
                  <a:pt x="1067794" y="713321"/>
                </a:cubicBezTo>
                <a:cubicBezTo>
                  <a:pt x="1071439" y="711499"/>
                  <a:pt x="1069616" y="709677"/>
                  <a:pt x="1071439" y="707855"/>
                </a:cubicBezTo>
                <a:cubicBezTo>
                  <a:pt x="1069616" y="707855"/>
                  <a:pt x="1069616" y="706033"/>
                  <a:pt x="1067794" y="706033"/>
                </a:cubicBezTo>
                <a:lnTo>
                  <a:pt x="1067065" y="704576"/>
                </a:lnTo>
                <a:lnTo>
                  <a:pt x="1069798" y="705487"/>
                </a:lnTo>
                <a:lnTo>
                  <a:pt x="1069616" y="706033"/>
                </a:lnTo>
                <a:cubicBezTo>
                  <a:pt x="1069616" y="706033"/>
                  <a:pt x="1071439" y="706033"/>
                  <a:pt x="1071439" y="706033"/>
                </a:cubicBezTo>
                <a:lnTo>
                  <a:pt x="1069798" y="705487"/>
                </a:lnTo>
                <a:lnTo>
                  <a:pt x="1071439" y="700566"/>
                </a:lnTo>
                <a:cubicBezTo>
                  <a:pt x="1071439" y="700566"/>
                  <a:pt x="1073262" y="700566"/>
                  <a:pt x="1073262" y="704211"/>
                </a:cubicBezTo>
                <a:cubicBezTo>
                  <a:pt x="1075083" y="700566"/>
                  <a:pt x="1078727" y="696922"/>
                  <a:pt x="1080549" y="693278"/>
                </a:cubicBezTo>
                <a:close/>
                <a:moveTo>
                  <a:pt x="1029529" y="693278"/>
                </a:moveTo>
                <a:cubicBezTo>
                  <a:pt x="1027707" y="691455"/>
                  <a:pt x="1020418" y="696922"/>
                  <a:pt x="1024062" y="698744"/>
                </a:cubicBezTo>
                <a:cubicBezTo>
                  <a:pt x="1025884" y="696922"/>
                  <a:pt x="1027707" y="695100"/>
                  <a:pt x="1029529" y="693278"/>
                </a:cubicBezTo>
                <a:close/>
                <a:moveTo>
                  <a:pt x="942064" y="693278"/>
                </a:moveTo>
                <a:cubicBezTo>
                  <a:pt x="936598" y="696922"/>
                  <a:pt x="932953" y="702388"/>
                  <a:pt x="934777" y="704211"/>
                </a:cubicBezTo>
                <a:cubicBezTo>
                  <a:pt x="938420" y="704211"/>
                  <a:pt x="943886" y="696922"/>
                  <a:pt x="942064" y="693278"/>
                </a:cubicBezTo>
                <a:close/>
                <a:moveTo>
                  <a:pt x="832734" y="693278"/>
                </a:moveTo>
                <a:cubicBezTo>
                  <a:pt x="829089" y="693278"/>
                  <a:pt x="827267" y="695100"/>
                  <a:pt x="827267" y="696922"/>
                </a:cubicBezTo>
                <a:cubicBezTo>
                  <a:pt x="825445" y="700566"/>
                  <a:pt x="829089" y="698744"/>
                  <a:pt x="830912" y="700566"/>
                </a:cubicBezTo>
                <a:cubicBezTo>
                  <a:pt x="832734" y="696922"/>
                  <a:pt x="830912" y="695100"/>
                  <a:pt x="832734" y="693278"/>
                </a:cubicBezTo>
                <a:close/>
                <a:moveTo>
                  <a:pt x="3044853" y="693278"/>
                </a:moveTo>
                <a:cubicBezTo>
                  <a:pt x="3043942" y="693733"/>
                  <a:pt x="3043031" y="694189"/>
                  <a:pt x="3041209" y="693278"/>
                </a:cubicBezTo>
                <a:cubicBezTo>
                  <a:pt x="3044853" y="695100"/>
                  <a:pt x="3050319" y="700566"/>
                  <a:pt x="3053964" y="698744"/>
                </a:cubicBezTo>
                <a:cubicBezTo>
                  <a:pt x="3052142" y="696922"/>
                  <a:pt x="3050319" y="695100"/>
                  <a:pt x="3048497" y="693278"/>
                </a:cubicBezTo>
                <a:cubicBezTo>
                  <a:pt x="3046675" y="692367"/>
                  <a:pt x="3045764" y="692822"/>
                  <a:pt x="3044853" y="693278"/>
                </a:cubicBezTo>
                <a:close/>
                <a:moveTo>
                  <a:pt x="773285" y="692139"/>
                </a:moveTo>
                <a:cubicBezTo>
                  <a:pt x="771691" y="691456"/>
                  <a:pt x="769869" y="691456"/>
                  <a:pt x="768959" y="693278"/>
                </a:cubicBezTo>
                <a:cubicBezTo>
                  <a:pt x="768959" y="695100"/>
                  <a:pt x="770781" y="696922"/>
                  <a:pt x="772602" y="698744"/>
                </a:cubicBezTo>
                <a:cubicBezTo>
                  <a:pt x="779892" y="700566"/>
                  <a:pt x="767136" y="693278"/>
                  <a:pt x="776246" y="695100"/>
                </a:cubicBezTo>
                <a:cubicBezTo>
                  <a:pt x="774424" y="700566"/>
                  <a:pt x="778070" y="704211"/>
                  <a:pt x="781713" y="709677"/>
                </a:cubicBezTo>
                <a:cubicBezTo>
                  <a:pt x="781713" y="709677"/>
                  <a:pt x="781713" y="707855"/>
                  <a:pt x="783535" y="707855"/>
                </a:cubicBezTo>
                <a:cubicBezTo>
                  <a:pt x="787179" y="711499"/>
                  <a:pt x="787179" y="713321"/>
                  <a:pt x="787179" y="716966"/>
                </a:cubicBezTo>
                <a:cubicBezTo>
                  <a:pt x="792646" y="713321"/>
                  <a:pt x="789003" y="707855"/>
                  <a:pt x="781713" y="706033"/>
                </a:cubicBezTo>
                <a:cubicBezTo>
                  <a:pt x="783535" y="704211"/>
                  <a:pt x="785357" y="706033"/>
                  <a:pt x="787179" y="702388"/>
                </a:cubicBezTo>
                <a:cubicBezTo>
                  <a:pt x="783535" y="698744"/>
                  <a:pt x="781713" y="696922"/>
                  <a:pt x="776246" y="695100"/>
                </a:cubicBezTo>
                <a:cubicBezTo>
                  <a:pt x="776246" y="694189"/>
                  <a:pt x="774879" y="692823"/>
                  <a:pt x="773285" y="692139"/>
                </a:cubicBezTo>
                <a:close/>
                <a:moveTo>
                  <a:pt x="3584278" y="691578"/>
                </a:moveTo>
                <a:lnTo>
                  <a:pt x="3586039" y="693278"/>
                </a:lnTo>
                <a:lnTo>
                  <a:pt x="3585432" y="693886"/>
                </a:lnTo>
                <a:close/>
                <a:moveTo>
                  <a:pt x="2817081" y="691455"/>
                </a:moveTo>
                <a:cubicBezTo>
                  <a:pt x="2817081" y="693278"/>
                  <a:pt x="2817081" y="695100"/>
                  <a:pt x="2818903" y="696922"/>
                </a:cubicBezTo>
                <a:cubicBezTo>
                  <a:pt x="2820726" y="698744"/>
                  <a:pt x="2822548" y="695100"/>
                  <a:pt x="2822548" y="693278"/>
                </a:cubicBezTo>
                <a:cubicBezTo>
                  <a:pt x="2820726" y="691455"/>
                  <a:pt x="2820726" y="689633"/>
                  <a:pt x="2817081" y="691455"/>
                </a:cubicBezTo>
                <a:close/>
                <a:moveTo>
                  <a:pt x="2627575" y="691455"/>
                </a:moveTo>
                <a:cubicBezTo>
                  <a:pt x="2623931" y="698744"/>
                  <a:pt x="2634864" y="702388"/>
                  <a:pt x="2638508" y="704211"/>
                </a:cubicBezTo>
                <a:cubicBezTo>
                  <a:pt x="2638508" y="698744"/>
                  <a:pt x="2636686" y="693278"/>
                  <a:pt x="2636686" y="691455"/>
                </a:cubicBezTo>
                <a:cubicBezTo>
                  <a:pt x="2633042" y="693278"/>
                  <a:pt x="2631219" y="691455"/>
                  <a:pt x="2631219" y="696922"/>
                </a:cubicBezTo>
                <a:cubicBezTo>
                  <a:pt x="2629397" y="695100"/>
                  <a:pt x="2629397" y="695100"/>
                  <a:pt x="2627575" y="691455"/>
                </a:cubicBezTo>
                <a:close/>
                <a:moveTo>
                  <a:pt x="1073262" y="691455"/>
                </a:moveTo>
                <a:cubicBezTo>
                  <a:pt x="1071439" y="691455"/>
                  <a:pt x="1067794" y="693278"/>
                  <a:pt x="1065972" y="695100"/>
                </a:cubicBezTo>
                <a:cubicBezTo>
                  <a:pt x="1069616" y="696922"/>
                  <a:pt x="1075083" y="693278"/>
                  <a:pt x="1073262" y="691455"/>
                </a:cubicBezTo>
                <a:close/>
                <a:moveTo>
                  <a:pt x="730692" y="691455"/>
                </a:moveTo>
                <a:lnTo>
                  <a:pt x="734944" y="693886"/>
                </a:lnTo>
                <a:lnTo>
                  <a:pt x="736159" y="695100"/>
                </a:lnTo>
                <a:cubicBezTo>
                  <a:pt x="734336" y="693278"/>
                  <a:pt x="734336" y="691455"/>
                  <a:pt x="730692" y="691455"/>
                </a:cubicBezTo>
                <a:close/>
                <a:moveTo>
                  <a:pt x="2809793" y="689633"/>
                </a:moveTo>
                <a:cubicBezTo>
                  <a:pt x="2809793" y="691455"/>
                  <a:pt x="2811615" y="691455"/>
                  <a:pt x="2813437" y="695100"/>
                </a:cubicBezTo>
                <a:cubicBezTo>
                  <a:pt x="2815259" y="695100"/>
                  <a:pt x="2815259" y="693278"/>
                  <a:pt x="2815259" y="689633"/>
                </a:cubicBezTo>
                <a:cubicBezTo>
                  <a:pt x="2811615" y="687811"/>
                  <a:pt x="2811615" y="689633"/>
                  <a:pt x="2809793" y="689633"/>
                </a:cubicBezTo>
                <a:close/>
                <a:moveTo>
                  <a:pt x="1211747" y="689633"/>
                </a:moveTo>
                <a:cubicBezTo>
                  <a:pt x="1208102" y="689633"/>
                  <a:pt x="1204457" y="695100"/>
                  <a:pt x="1200814" y="698744"/>
                </a:cubicBezTo>
                <a:cubicBezTo>
                  <a:pt x="1204457" y="698744"/>
                  <a:pt x="1206279" y="693278"/>
                  <a:pt x="1209925" y="691455"/>
                </a:cubicBezTo>
                <a:cubicBezTo>
                  <a:pt x="1209925" y="695100"/>
                  <a:pt x="1204457" y="696922"/>
                  <a:pt x="1200814" y="700566"/>
                </a:cubicBezTo>
                <a:cubicBezTo>
                  <a:pt x="1206279" y="700566"/>
                  <a:pt x="1213568" y="691455"/>
                  <a:pt x="1211747" y="689633"/>
                </a:cubicBezTo>
                <a:close/>
                <a:moveTo>
                  <a:pt x="1104238" y="689633"/>
                </a:moveTo>
                <a:cubicBezTo>
                  <a:pt x="1100593" y="693278"/>
                  <a:pt x="1093305" y="698744"/>
                  <a:pt x="1091484" y="702388"/>
                </a:cubicBezTo>
                <a:cubicBezTo>
                  <a:pt x="1095127" y="702388"/>
                  <a:pt x="1100593" y="695100"/>
                  <a:pt x="1104238" y="689633"/>
                </a:cubicBezTo>
                <a:close/>
                <a:moveTo>
                  <a:pt x="1022240" y="689633"/>
                </a:moveTo>
                <a:cubicBezTo>
                  <a:pt x="1020418" y="691455"/>
                  <a:pt x="1020418" y="693278"/>
                  <a:pt x="1018596" y="695100"/>
                </a:cubicBezTo>
                <a:cubicBezTo>
                  <a:pt x="1020418" y="696922"/>
                  <a:pt x="1024062" y="691455"/>
                  <a:pt x="1022240" y="689633"/>
                </a:cubicBezTo>
                <a:close/>
                <a:moveTo>
                  <a:pt x="932953" y="689633"/>
                </a:moveTo>
                <a:cubicBezTo>
                  <a:pt x="929309" y="693278"/>
                  <a:pt x="927487" y="698744"/>
                  <a:pt x="932953" y="700566"/>
                </a:cubicBezTo>
                <a:cubicBezTo>
                  <a:pt x="936598" y="696922"/>
                  <a:pt x="936598" y="695100"/>
                  <a:pt x="938420" y="691455"/>
                </a:cubicBezTo>
                <a:cubicBezTo>
                  <a:pt x="936598" y="691455"/>
                  <a:pt x="934777" y="689633"/>
                  <a:pt x="932953" y="689633"/>
                </a:cubicBezTo>
                <a:close/>
                <a:moveTo>
                  <a:pt x="911087" y="689633"/>
                </a:moveTo>
                <a:lnTo>
                  <a:pt x="911087" y="689634"/>
                </a:lnTo>
                <a:lnTo>
                  <a:pt x="911086" y="689634"/>
                </a:lnTo>
                <a:close/>
                <a:moveTo>
                  <a:pt x="900154" y="689633"/>
                </a:moveTo>
                <a:cubicBezTo>
                  <a:pt x="896510" y="687811"/>
                  <a:pt x="896510" y="691455"/>
                  <a:pt x="896510" y="693278"/>
                </a:cubicBezTo>
                <a:cubicBezTo>
                  <a:pt x="894688" y="691455"/>
                  <a:pt x="894688" y="691455"/>
                  <a:pt x="894688" y="691455"/>
                </a:cubicBezTo>
                <a:cubicBezTo>
                  <a:pt x="894688" y="691455"/>
                  <a:pt x="892866" y="691455"/>
                  <a:pt x="892866" y="691455"/>
                </a:cubicBezTo>
                <a:cubicBezTo>
                  <a:pt x="894688" y="693278"/>
                  <a:pt x="896510" y="695100"/>
                  <a:pt x="898333" y="695100"/>
                </a:cubicBezTo>
                <a:cubicBezTo>
                  <a:pt x="896510" y="698744"/>
                  <a:pt x="896510" y="698744"/>
                  <a:pt x="896510" y="700566"/>
                </a:cubicBezTo>
                <a:cubicBezTo>
                  <a:pt x="898333" y="700566"/>
                  <a:pt x="901976" y="702388"/>
                  <a:pt x="903799" y="700566"/>
                </a:cubicBezTo>
                <a:cubicBezTo>
                  <a:pt x="900154" y="698744"/>
                  <a:pt x="903799" y="695100"/>
                  <a:pt x="900154" y="693278"/>
                </a:cubicBezTo>
                <a:cubicBezTo>
                  <a:pt x="900154" y="693278"/>
                  <a:pt x="898333" y="695100"/>
                  <a:pt x="898333" y="695100"/>
                </a:cubicBezTo>
                <a:cubicBezTo>
                  <a:pt x="898333" y="693278"/>
                  <a:pt x="898333" y="691455"/>
                  <a:pt x="900154" y="689633"/>
                </a:cubicBezTo>
                <a:close/>
                <a:moveTo>
                  <a:pt x="856422" y="689633"/>
                </a:moveTo>
                <a:cubicBezTo>
                  <a:pt x="850956" y="691455"/>
                  <a:pt x="854600" y="696922"/>
                  <a:pt x="860066" y="698744"/>
                </a:cubicBezTo>
                <a:cubicBezTo>
                  <a:pt x="865533" y="695100"/>
                  <a:pt x="854600" y="691455"/>
                  <a:pt x="856422" y="689633"/>
                </a:cubicBezTo>
                <a:close/>
                <a:moveTo>
                  <a:pt x="827267" y="689633"/>
                </a:moveTo>
                <a:cubicBezTo>
                  <a:pt x="823623" y="693278"/>
                  <a:pt x="819979" y="693278"/>
                  <a:pt x="821801" y="696922"/>
                </a:cubicBezTo>
                <a:cubicBezTo>
                  <a:pt x="821801" y="696922"/>
                  <a:pt x="829089" y="691455"/>
                  <a:pt x="827267" y="689633"/>
                </a:cubicBezTo>
                <a:close/>
                <a:moveTo>
                  <a:pt x="437322" y="689633"/>
                </a:moveTo>
                <a:cubicBezTo>
                  <a:pt x="438233" y="690544"/>
                  <a:pt x="439601" y="691456"/>
                  <a:pt x="440283" y="692367"/>
                </a:cubicBezTo>
                <a:lnTo>
                  <a:pt x="440216" y="692528"/>
                </a:lnTo>
                <a:close/>
                <a:moveTo>
                  <a:pt x="282438" y="689633"/>
                </a:moveTo>
                <a:cubicBezTo>
                  <a:pt x="267860" y="696922"/>
                  <a:pt x="280615" y="702388"/>
                  <a:pt x="287904" y="707855"/>
                </a:cubicBezTo>
                <a:cubicBezTo>
                  <a:pt x="287904" y="706033"/>
                  <a:pt x="282438" y="700566"/>
                  <a:pt x="280615" y="700566"/>
                </a:cubicBezTo>
                <a:cubicBezTo>
                  <a:pt x="286082" y="696922"/>
                  <a:pt x="286082" y="707855"/>
                  <a:pt x="289726" y="706033"/>
                </a:cubicBezTo>
                <a:cubicBezTo>
                  <a:pt x="287904" y="700566"/>
                  <a:pt x="282438" y="696922"/>
                  <a:pt x="282438" y="689633"/>
                </a:cubicBezTo>
                <a:close/>
                <a:moveTo>
                  <a:pt x="242349" y="689633"/>
                </a:moveTo>
                <a:cubicBezTo>
                  <a:pt x="242349" y="695100"/>
                  <a:pt x="251460" y="704211"/>
                  <a:pt x="255105" y="709677"/>
                </a:cubicBezTo>
                <a:cubicBezTo>
                  <a:pt x="256927" y="707855"/>
                  <a:pt x="255105" y="704211"/>
                  <a:pt x="253282" y="702388"/>
                </a:cubicBezTo>
                <a:cubicBezTo>
                  <a:pt x="258749" y="706033"/>
                  <a:pt x="258749" y="713321"/>
                  <a:pt x="260571" y="716966"/>
                </a:cubicBezTo>
                <a:cubicBezTo>
                  <a:pt x="260571" y="706033"/>
                  <a:pt x="253282" y="693278"/>
                  <a:pt x="242349" y="689633"/>
                </a:cubicBezTo>
                <a:close/>
                <a:moveTo>
                  <a:pt x="158529" y="689633"/>
                </a:moveTo>
                <a:cubicBezTo>
                  <a:pt x="167640" y="722432"/>
                  <a:pt x="191329" y="747943"/>
                  <a:pt x="213195" y="771631"/>
                </a:cubicBezTo>
                <a:lnTo>
                  <a:pt x="195035" y="744960"/>
                </a:lnTo>
                <a:lnTo>
                  <a:pt x="205082" y="755621"/>
                </a:lnTo>
                <a:lnTo>
                  <a:pt x="206361" y="757737"/>
                </a:lnTo>
                <a:cubicBezTo>
                  <a:pt x="208184" y="761154"/>
                  <a:pt x="210461" y="764343"/>
                  <a:pt x="215017" y="766164"/>
                </a:cubicBezTo>
                <a:lnTo>
                  <a:pt x="205082" y="755621"/>
                </a:lnTo>
                <a:lnTo>
                  <a:pt x="200439" y="747943"/>
                </a:lnTo>
                <a:cubicBezTo>
                  <a:pt x="200439" y="747943"/>
                  <a:pt x="200439" y="744298"/>
                  <a:pt x="202262" y="744298"/>
                </a:cubicBezTo>
                <a:cubicBezTo>
                  <a:pt x="205906" y="747943"/>
                  <a:pt x="207728" y="749765"/>
                  <a:pt x="211372" y="753409"/>
                </a:cubicBezTo>
                <a:cubicBezTo>
                  <a:pt x="213195" y="751587"/>
                  <a:pt x="213195" y="749765"/>
                  <a:pt x="211372" y="747943"/>
                </a:cubicBezTo>
                <a:cubicBezTo>
                  <a:pt x="213195" y="747943"/>
                  <a:pt x="215017" y="747943"/>
                  <a:pt x="215017" y="749765"/>
                </a:cubicBezTo>
                <a:cubicBezTo>
                  <a:pt x="207728" y="733365"/>
                  <a:pt x="194973" y="722432"/>
                  <a:pt x="178573" y="713321"/>
                </a:cubicBezTo>
                <a:lnTo>
                  <a:pt x="185217" y="727038"/>
                </a:lnTo>
                <a:lnTo>
                  <a:pt x="174929" y="706033"/>
                </a:lnTo>
                <a:cubicBezTo>
                  <a:pt x="167640" y="702388"/>
                  <a:pt x="167640" y="691455"/>
                  <a:pt x="158529" y="689633"/>
                </a:cubicBezTo>
                <a:close/>
                <a:moveTo>
                  <a:pt x="1308321" y="689178"/>
                </a:moveTo>
                <a:cubicBezTo>
                  <a:pt x="1306954" y="690089"/>
                  <a:pt x="1305588" y="691455"/>
                  <a:pt x="1304677" y="691455"/>
                </a:cubicBezTo>
                <a:cubicBezTo>
                  <a:pt x="1304677" y="695100"/>
                  <a:pt x="1311966" y="691455"/>
                  <a:pt x="1311966" y="689633"/>
                </a:cubicBezTo>
                <a:cubicBezTo>
                  <a:pt x="1311054" y="687811"/>
                  <a:pt x="1309688" y="688267"/>
                  <a:pt x="1308321" y="689178"/>
                </a:cubicBezTo>
                <a:close/>
                <a:moveTo>
                  <a:pt x="2948876" y="688523"/>
                </a:moveTo>
                <a:cubicBezTo>
                  <a:pt x="2945203" y="688723"/>
                  <a:pt x="2941901" y="690089"/>
                  <a:pt x="2939167" y="693278"/>
                </a:cubicBezTo>
                <a:cubicBezTo>
                  <a:pt x="2937345" y="695100"/>
                  <a:pt x="2946456" y="698744"/>
                  <a:pt x="2948278" y="704211"/>
                </a:cubicBezTo>
                <a:cubicBezTo>
                  <a:pt x="2944634" y="696922"/>
                  <a:pt x="2955566" y="696922"/>
                  <a:pt x="2957389" y="693278"/>
                </a:cubicBezTo>
                <a:cubicBezTo>
                  <a:pt x="2957389" y="695100"/>
                  <a:pt x="2961033" y="696922"/>
                  <a:pt x="2959211" y="696922"/>
                </a:cubicBezTo>
                <a:cubicBezTo>
                  <a:pt x="2951922" y="698744"/>
                  <a:pt x="2948278" y="706033"/>
                  <a:pt x="2950100" y="713321"/>
                </a:cubicBezTo>
                <a:cubicBezTo>
                  <a:pt x="2953744" y="711499"/>
                  <a:pt x="2955566" y="713321"/>
                  <a:pt x="2957389" y="715144"/>
                </a:cubicBezTo>
                <a:cubicBezTo>
                  <a:pt x="2959211" y="722432"/>
                  <a:pt x="2950100" y="718788"/>
                  <a:pt x="2948278" y="720610"/>
                </a:cubicBezTo>
                <a:cubicBezTo>
                  <a:pt x="2944634" y="726077"/>
                  <a:pt x="2957389" y="726077"/>
                  <a:pt x="2955566" y="733365"/>
                </a:cubicBezTo>
                <a:cubicBezTo>
                  <a:pt x="2946456" y="713321"/>
                  <a:pt x="2926412" y="722432"/>
                  <a:pt x="2917301" y="740654"/>
                </a:cubicBezTo>
                <a:cubicBezTo>
                  <a:pt x="2917301" y="742476"/>
                  <a:pt x="2915479" y="737010"/>
                  <a:pt x="2913656" y="735188"/>
                </a:cubicBezTo>
                <a:cubicBezTo>
                  <a:pt x="2910012" y="744298"/>
                  <a:pt x="2906368" y="758876"/>
                  <a:pt x="2917301" y="764342"/>
                </a:cubicBezTo>
                <a:cubicBezTo>
                  <a:pt x="2910012" y="767987"/>
                  <a:pt x="2904546" y="760698"/>
                  <a:pt x="2902724" y="769809"/>
                </a:cubicBezTo>
                <a:cubicBezTo>
                  <a:pt x="2902724" y="771631"/>
                  <a:pt x="2902724" y="775275"/>
                  <a:pt x="2902724" y="777098"/>
                </a:cubicBezTo>
                <a:cubicBezTo>
                  <a:pt x="2897257" y="769809"/>
                  <a:pt x="2902724" y="764342"/>
                  <a:pt x="2904546" y="757054"/>
                </a:cubicBezTo>
                <a:cubicBezTo>
                  <a:pt x="2895435" y="757054"/>
                  <a:pt x="2893613" y="749765"/>
                  <a:pt x="2888146" y="742476"/>
                </a:cubicBezTo>
                <a:cubicBezTo>
                  <a:pt x="2888146" y="740654"/>
                  <a:pt x="2888146" y="738832"/>
                  <a:pt x="2889968" y="738832"/>
                </a:cubicBezTo>
                <a:cubicBezTo>
                  <a:pt x="2893613" y="738832"/>
                  <a:pt x="2897257" y="742476"/>
                  <a:pt x="2900901" y="746121"/>
                </a:cubicBezTo>
                <a:cubicBezTo>
                  <a:pt x="2915479" y="727899"/>
                  <a:pt x="2888146" y="718788"/>
                  <a:pt x="2880857" y="704211"/>
                </a:cubicBezTo>
                <a:cubicBezTo>
                  <a:pt x="2875391" y="713321"/>
                  <a:pt x="2875391" y="722432"/>
                  <a:pt x="2868102" y="731543"/>
                </a:cubicBezTo>
                <a:cubicBezTo>
                  <a:pt x="2868102" y="737010"/>
                  <a:pt x="2860813" y="733365"/>
                  <a:pt x="2858991" y="737010"/>
                </a:cubicBezTo>
                <a:cubicBezTo>
                  <a:pt x="2862636" y="731543"/>
                  <a:pt x="2864458" y="722432"/>
                  <a:pt x="2855347" y="720610"/>
                </a:cubicBezTo>
                <a:cubicBezTo>
                  <a:pt x="2860813" y="716966"/>
                  <a:pt x="2862636" y="729721"/>
                  <a:pt x="2866280" y="724254"/>
                </a:cubicBezTo>
                <a:cubicBezTo>
                  <a:pt x="2869924" y="720610"/>
                  <a:pt x="2864458" y="715144"/>
                  <a:pt x="2862636" y="709677"/>
                </a:cubicBezTo>
                <a:cubicBezTo>
                  <a:pt x="2857169" y="700566"/>
                  <a:pt x="2842592" y="696922"/>
                  <a:pt x="2833481" y="704211"/>
                </a:cubicBezTo>
                <a:cubicBezTo>
                  <a:pt x="2833481" y="706033"/>
                  <a:pt x="2833481" y="706033"/>
                  <a:pt x="2835303" y="707855"/>
                </a:cubicBezTo>
                <a:cubicBezTo>
                  <a:pt x="2831659" y="706033"/>
                  <a:pt x="2826192" y="706033"/>
                  <a:pt x="2824370" y="707855"/>
                </a:cubicBezTo>
                <a:cubicBezTo>
                  <a:pt x="2817081" y="713321"/>
                  <a:pt x="2807971" y="711499"/>
                  <a:pt x="2800682" y="715144"/>
                </a:cubicBezTo>
                <a:cubicBezTo>
                  <a:pt x="2786104" y="722432"/>
                  <a:pt x="2771527" y="742476"/>
                  <a:pt x="2787927" y="751587"/>
                </a:cubicBezTo>
                <a:cubicBezTo>
                  <a:pt x="2797037" y="755231"/>
                  <a:pt x="2809793" y="746121"/>
                  <a:pt x="2820726" y="744298"/>
                </a:cubicBezTo>
                <a:cubicBezTo>
                  <a:pt x="2818903" y="747943"/>
                  <a:pt x="2817081" y="751587"/>
                  <a:pt x="2818903" y="755231"/>
                </a:cubicBezTo>
                <a:cubicBezTo>
                  <a:pt x="2817081" y="755231"/>
                  <a:pt x="2815259" y="753409"/>
                  <a:pt x="2815259" y="753409"/>
                </a:cubicBezTo>
                <a:cubicBezTo>
                  <a:pt x="2800682" y="753409"/>
                  <a:pt x="2782460" y="753409"/>
                  <a:pt x="2775171" y="767987"/>
                </a:cubicBezTo>
                <a:cubicBezTo>
                  <a:pt x="2775171" y="769809"/>
                  <a:pt x="2775171" y="771631"/>
                  <a:pt x="2775171" y="773453"/>
                </a:cubicBezTo>
                <a:cubicBezTo>
                  <a:pt x="2773349" y="773453"/>
                  <a:pt x="2773349" y="771631"/>
                  <a:pt x="2771527" y="771631"/>
                </a:cubicBezTo>
                <a:cubicBezTo>
                  <a:pt x="2771527" y="777098"/>
                  <a:pt x="2776993" y="778920"/>
                  <a:pt x="2778816" y="784386"/>
                </a:cubicBezTo>
                <a:cubicBezTo>
                  <a:pt x="2771527" y="782564"/>
                  <a:pt x="2767882" y="778920"/>
                  <a:pt x="2762416" y="775275"/>
                </a:cubicBezTo>
                <a:cubicBezTo>
                  <a:pt x="2760594" y="782564"/>
                  <a:pt x="2766060" y="791675"/>
                  <a:pt x="2773349" y="789853"/>
                </a:cubicBezTo>
                <a:cubicBezTo>
                  <a:pt x="2775171" y="788031"/>
                  <a:pt x="2778816" y="788031"/>
                  <a:pt x="2780638" y="784386"/>
                </a:cubicBezTo>
                <a:cubicBezTo>
                  <a:pt x="2782460" y="789853"/>
                  <a:pt x="2786104" y="795319"/>
                  <a:pt x="2793393" y="793497"/>
                </a:cubicBezTo>
                <a:cubicBezTo>
                  <a:pt x="2795215" y="793497"/>
                  <a:pt x="2795215" y="795319"/>
                  <a:pt x="2793393" y="797141"/>
                </a:cubicBezTo>
                <a:cubicBezTo>
                  <a:pt x="2791571" y="797141"/>
                  <a:pt x="2789749" y="797141"/>
                  <a:pt x="2787927" y="797141"/>
                </a:cubicBezTo>
                <a:cubicBezTo>
                  <a:pt x="2789749" y="806252"/>
                  <a:pt x="2809793" y="813541"/>
                  <a:pt x="2798860" y="820830"/>
                </a:cubicBezTo>
                <a:cubicBezTo>
                  <a:pt x="2797037" y="822652"/>
                  <a:pt x="2793393" y="813541"/>
                  <a:pt x="2786104" y="815363"/>
                </a:cubicBezTo>
                <a:cubicBezTo>
                  <a:pt x="2787927" y="802608"/>
                  <a:pt x="2775171" y="791675"/>
                  <a:pt x="2764238" y="789853"/>
                </a:cubicBezTo>
                <a:cubicBezTo>
                  <a:pt x="2767882" y="800786"/>
                  <a:pt x="2775171" y="808074"/>
                  <a:pt x="2784282" y="813541"/>
                </a:cubicBezTo>
                <a:cubicBezTo>
                  <a:pt x="2771527" y="815363"/>
                  <a:pt x="2767882" y="798964"/>
                  <a:pt x="2756950" y="795319"/>
                </a:cubicBezTo>
                <a:cubicBezTo>
                  <a:pt x="2755127" y="795319"/>
                  <a:pt x="2755127" y="798964"/>
                  <a:pt x="2755127" y="800786"/>
                </a:cubicBezTo>
                <a:cubicBezTo>
                  <a:pt x="2744194" y="804430"/>
                  <a:pt x="2733261" y="793497"/>
                  <a:pt x="2722328" y="797141"/>
                </a:cubicBezTo>
                <a:cubicBezTo>
                  <a:pt x="2713217" y="798964"/>
                  <a:pt x="2698640" y="793497"/>
                  <a:pt x="2687707" y="791675"/>
                </a:cubicBezTo>
                <a:cubicBezTo>
                  <a:pt x="2689529" y="797141"/>
                  <a:pt x="2693174" y="800786"/>
                  <a:pt x="2691351" y="808074"/>
                </a:cubicBezTo>
                <a:cubicBezTo>
                  <a:pt x="2684063" y="806252"/>
                  <a:pt x="2678596" y="795319"/>
                  <a:pt x="2673130" y="802608"/>
                </a:cubicBezTo>
                <a:cubicBezTo>
                  <a:pt x="2660374" y="813541"/>
                  <a:pt x="2651263" y="828118"/>
                  <a:pt x="2662197" y="839051"/>
                </a:cubicBezTo>
                <a:cubicBezTo>
                  <a:pt x="2667663" y="846340"/>
                  <a:pt x="2680418" y="829941"/>
                  <a:pt x="2691351" y="826296"/>
                </a:cubicBezTo>
                <a:cubicBezTo>
                  <a:pt x="2693174" y="824474"/>
                  <a:pt x="2696818" y="828118"/>
                  <a:pt x="2698640" y="829941"/>
                </a:cubicBezTo>
                <a:cubicBezTo>
                  <a:pt x="2691351" y="833585"/>
                  <a:pt x="2682240" y="835407"/>
                  <a:pt x="2680418" y="844518"/>
                </a:cubicBezTo>
                <a:cubicBezTo>
                  <a:pt x="2674952" y="840874"/>
                  <a:pt x="2669485" y="844518"/>
                  <a:pt x="2665841" y="848162"/>
                </a:cubicBezTo>
                <a:cubicBezTo>
                  <a:pt x="2676774" y="855451"/>
                  <a:pt x="2673130" y="864562"/>
                  <a:pt x="2678596" y="873673"/>
                </a:cubicBezTo>
                <a:cubicBezTo>
                  <a:pt x="2680418" y="877317"/>
                  <a:pt x="2682240" y="877317"/>
                  <a:pt x="2685885" y="879139"/>
                </a:cubicBezTo>
                <a:cubicBezTo>
                  <a:pt x="2682240" y="879139"/>
                  <a:pt x="2685885" y="882784"/>
                  <a:pt x="2685885" y="886428"/>
                </a:cubicBezTo>
                <a:cubicBezTo>
                  <a:pt x="2682240" y="886428"/>
                  <a:pt x="2678596" y="880961"/>
                  <a:pt x="2676774" y="882784"/>
                </a:cubicBezTo>
                <a:cubicBezTo>
                  <a:pt x="2671307" y="888250"/>
                  <a:pt x="2678596" y="891894"/>
                  <a:pt x="2685885" y="893717"/>
                </a:cubicBezTo>
                <a:cubicBezTo>
                  <a:pt x="2685885" y="884606"/>
                  <a:pt x="2691351" y="888250"/>
                  <a:pt x="2696818" y="886428"/>
                </a:cubicBezTo>
                <a:cubicBezTo>
                  <a:pt x="2693174" y="884606"/>
                  <a:pt x="2689529" y="882784"/>
                  <a:pt x="2687707" y="877317"/>
                </a:cubicBezTo>
                <a:cubicBezTo>
                  <a:pt x="2691351" y="877317"/>
                  <a:pt x="2693174" y="879139"/>
                  <a:pt x="2696818" y="880961"/>
                </a:cubicBezTo>
                <a:cubicBezTo>
                  <a:pt x="2700462" y="875495"/>
                  <a:pt x="2705929" y="875495"/>
                  <a:pt x="2711395" y="877317"/>
                </a:cubicBezTo>
                <a:cubicBezTo>
                  <a:pt x="2711395" y="875495"/>
                  <a:pt x="2711395" y="873673"/>
                  <a:pt x="2711395" y="871851"/>
                </a:cubicBezTo>
                <a:cubicBezTo>
                  <a:pt x="2713218" y="872762"/>
                  <a:pt x="2715951" y="874129"/>
                  <a:pt x="2718229" y="875723"/>
                </a:cubicBezTo>
                <a:lnTo>
                  <a:pt x="2720791" y="878997"/>
                </a:lnTo>
                <a:lnTo>
                  <a:pt x="2716862" y="880961"/>
                </a:lnTo>
                <a:cubicBezTo>
                  <a:pt x="2716862" y="884606"/>
                  <a:pt x="2722328" y="884606"/>
                  <a:pt x="2724150" y="886428"/>
                </a:cubicBezTo>
                <a:cubicBezTo>
                  <a:pt x="2720506" y="890072"/>
                  <a:pt x="2713217" y="886428"/>
                  <a:pt x="2715040" y="880961"/>
                </a:cubicBezTo>
                <a:cubicBezTo>
                  <a:pt x="2713217" y="882784"/>
                  <a:pt x="2709573" y="884606"/>
                  <a:pt x="2705929" y="882784"/>
                </a:cubicBezTo>
                <a:cubicBezTo>
                  <a:pt x="2707751" y="891894"/>
                  <a:pt x="2720506" y="899183"/>
                  <a:pt x="2716862" y="906473"/>
                </a:cubicBezTo>
                <a:cubicBezTo>
                  <a:pt x="2713217" y="911939"/>
                  <a:pt x="2711395" y="897361"/>
                  <a:pt x="2707751" y="899183"/>
                </a:cubicBezTo>
                <a:cubicBezTo>
                  <a:pt x="2702284" y="901005"/>
                  <a:pt x="2709573" y="908295"/>
                  <a:pt x="2709573" y="913761"/>
                </a:cubicBezTo>
                <a:cubicBezTo>
                  <a:pt x="2718684" y="911939"/>
                  <a:pt x="2713217" y="919227"/>
                  <a:pt x="2720506" y="921049"/>
                </a:cubicBezTo>
                <a:cubicBezTo>
                  <a:pt x="2725973" y="922872"/>
                  <a:pt x="2729617" y="917405"/>
                  <a:pt x="2727795" y="911939"/>
                </a:cubicBezTo>
                <a:cubicBezTo>
                  <a:pt x="2742372" y="911939"/>
                  <a:pt x="2746016" y="888250"/>
                  <a:pt x="2735084" y="880961"/>
                </a:cubicBezTo>
                <a:cubicBezTo>
                  <a:pt x="2742372" y="882784"/>
                  <a:pt x="2740550" y="893717"/>
                  <a:pt x="2749661" y="893717"/>
                </a:cubicBezTo>
                <a:cubicBezTo>
                  <a:pt x="2747839" y="890072"/>
                  <a:pt x="2746016" y="886428"/>
                  <a:pt x="2742372" y="888250"/>
                </a:cubicBezTo>
                <a:cubicBezTo>
                  <a:pt x="2744194" y="888250"/>
                  <a:pt x="2744194" y="886428"/>
                  <a:pt x="2746016" y="886428"/>
                </a:cubicBezTo>
                <a:lnTo>
                  <a:pt x="2744194" y="884606"/>
                </a:lnTo>
                <a:cubicBezTo>
                  <a:pt x="2749661" y="884606"/>
                  <a:pt x="2747839" y="893717"/>
                  <a:pt x="2755127" y="893717"/>
                </a:cubicBezTo>
                <a:cubicBezTo>
                  <a:pt x="2744194" y="901005"/>
                  <a:pt x="2731439" y="910117"/>
                  <a:pt x="2727795" y="924695"/>
                </a:cubicBezTo>
                <a:cubicBezTo>
                  <a:pt x="2731439" y="922872"/>
                  <a:pt x="2736906" y="921049"/>
                  <a:pt x="2738728" y="926516"/>
                </a:cubicBezTo>
                <a:cubicBezTo>
                  <a:pt x="2736906" y="926516"/>
                  <a:pt x="2736906" y="926516"/>
                  <a:pt x="2735084" y="926516"/>
                </a:cubicBezTo>
                <a:cubicBezTo>
                  <a:pt x="2735084" y="935628"/>
                  <a:pt x="2742372" y="926516"/>
                  <a:pt x="2744194" y="928339"/>
                </a:cubicBezTo>
                <a:cubicBezTo>
                  <a:pt x="2746016" y="930160"/>
                  <a:pt x="2746016" y="933804"/>
                  <a:pt x="2742372" y="931983"/>
                </a:cubicBezTo>
                <a:cubicBezTo>
                  <a:pt x="2744194" y="933804"/>
                  <a:pt x="2747839" y="937450"/>
                  <a:pt x="2751483" y="933804"/>
                </a:cubicBezTo>
                <a:cubicBezTo>
                  <a:pt x="2755127" y="924695"/>
                  <a:pt x="2740550" y="926516"/>
                  <a:pt x="2744194" y="922872"/>
                </a:cubicBezTo>
                <a:cubicBezTo>
                  <a:pt x="2747839" y="917405"/>
                  <a:pt x="2766060" y="922872"/>
                  <a:pt x="2764238" y="931983"/>
                </a:cubicBezTo>
                <a:cubicBezTo>
                  <a:pt x="2762416" y="937450"/>
                  <a:pt x="2767882" y="946560"/>
                  <a:pt x="2764238" y="952026"/>
                </a:cubicBezTo>
                <a:cubicBezTo>
                  <a:pt x="2762416" y="953848"/>
                  <a:pt x="2760594" y="946560"/>
                  <a:pt x="2755127" y="948383"/>
                </a:cubicBezTo>
                <a:cubicBezTo>
                  <a:pt x="2758772" y="955672"/>
                  <a:pt x="2756950" y="964782"/>
                  <a:pt x="2762416" y="968427"/>
                </a:cubicBezTo>
                <a:cubicBezTo>
                  <a:pt x="2775171" y="981182"/>
                  <a:pt x="2778816" y="997582"/>
                  <a:pt x="2795215" y="1008515"/>
                </a:cubicBezTo>
                <a:cubicBezTo>
                  <a:pt x="2795215" y="1006692"/>
                  <a:pt x="2795215" y="1001226"/>
                  <a:pt x="2795215" y="999403"/>
                </a:cubicBezTo>
                <a:cubicBezTo>
                  <a:pt x="2798860" y="1001226"/>
                  <a:pt x="2802504" y="1008515"/>
                  <a:pt x="2806148" y="1010337"/>
                </a:cubicBezTo>
                <a:cubicBezTo>
                  <a:pt x="2804326" y="1008515"/>
                  <a:pt x="2802504" y="1008515"/>
                  <a:pt x="2800682" y="1008515"/>
                </a:cubicBezTo>
                <a:cubicBezTo>
                  <a:pt x="2804326" y="1013981"/>
                  <a:pt x="2809793" y="1013981"/>
                  <a:pt x="2813437" y="1015803"/>
                </a:cubicBezTo>
                <a:cubicBezTo>
                  <a:pt x="2813437" y="1013981"/>
                  <a:pt x="2813437" y="1012159"/>
                  <a:pt x="2813437" y="1010337"/>
                </a:cubicBezTo>
                <a:cubicBezTo>
                  <a:pt x="2815259" y="1010337"/>
                  <a:pt x="2818903" y="1010337"/>
                  <a:pt x="2818903" y="1012159"/>
                </a:cubicBezTo>
                <a:cubicBezTo>
                  <a:pt x="2817081" y="1023092"/>
                  <a:pt x="2828014" y="1026736"/>
                  <a:pt x="2833481" y="1021270"/>
                </a:cubicBezTo>
                <a:cubicBezTo>
                  <a:pt x="2835303" y="1019448"/>
                  <a:pt x="2833481" y="1012159"/>
                  <a:pt x="2835303" y="1006692"/>
                </a:cubicBezTo>
                <a:cubicBezTo>
                  <a:pt x="2835303" y="1015803"/>
                  <a:pt x="2844414" y="1028559"/>
                  <a:pt x="2837125" y="1030381"/>
                </a:cubicBezTo>
                <a:lnTo>
                  <a:pt x="2836045" y="1030150"/>
                </a:lnTo>
                <a:lnTo>
                  <a:pt x="2833481" y="1024914"/>
                </a:lnTo>
                <a:cubicBezTo>
                  <a:pt x="2832570" y="1026737"/>
                  <a:pt x="2833026" y="1028559"/>
                  <a:pt x="2833937" y="1029698"/>
                </a:cubicBezTo>
                <a:lnTo>
                  <a:pt x="2836045" y="1030150"/>
                </a:lnTo>
                <a:lnTo>
                  <a:pt x="2838947" y="1036075"/>
                </a:lnTo>
                <a:cubicBezTo>
                  <a:pt x="2843503" y="1038125"/>
                  <a:pt x="2848969" y="1039492"/>
                  <a:pt x="2849880" y="1043136"/>
                </a:cubicBezTo>
                <a:cubicBezTo>
                  <a:pt x="2848058" y="1039492"/>
                  <a:pt x="2857169" y="1032203"/>
                  <a:pt x="2849880" y="1028559"/>
                </a:cubicBezTo>
                <a:cubicBezTo>
                  <a:pt x="2857169" y="1026736"/>
                  <a:pt x="2858991" y="1017625"/>
                  <a:pt x="2860813" y="1013981"/>
                </a:cubicBezTo>
                <a:cubicBezTo>
                  <a:pt x="2869924" y="1001226"/>
                  <a:pt x="2893613" y="988471"/>
                  <a:pt x="2884502" y="970249"/>
                </a:cubicBezTo>
                <a:cubicBezTo>
                  <a:pt x="2886324" y="970249"/>
                  <a:pt x="2886324" y="972071"/>
                  <a:pt x="2888146" y="972071"/>
                </a:cubicBezTo>
                <a:cubicBezTo>
                  <a:pt x="2893613" y="968427"/>
                  <a:pt x="2882680" y="957494"/>
                  <a:pt x="2891790" y="957494"/>
                </a:cubicBezTo>
                <a:cubicBezTo>
                  <a:pt x="2879035" y="931983"/>
                  <a:pt x="2860813" y="890072"/>
                  <a:pt x="2831659" y="890072"/>
                </a:cubicBezTo>
                <a:cubicBezTo>
                  <a:pt x="2829837" y="890072"/>
                  <a:pt x="2826192" y="890072"/>
                  <a:pt x="2826192" y="888250"/>
                </a:cubicBezTo>
                <a:cubicBezTo>
                  <a:pt x="2826192" y="875495"/>
                  <a:pt x="2824370" y="864562"/>
                  <a:pt x="2822548" y="851807"/>
                </a:cubicBezTo>
                <a:cubicBezTo>
                  <a:pt x="2822548" y="849985"/>
                  <a:pt x="2828014" y="849985"/>
                  <a:pt x="2829837" y="848162"/>
                </a:cubicBezTo>
                <a:cubicBezTo>
                  <a:pt x="2822548" y="860918"/>
                  <a:pt x="2833481" y="871851"/>
                  <a:pt x="2831659" y="884606"/>
                </a:cubicBezTo>
                <a:cubicBezTo>
                  <a:pt x="2851703" y="875495"/>
                  <a:pt x="2868102" y="911939"/>
                  <a:pt x="2886324" y="921049"/>
                </a:cubicBezTo>
                <a:cubicBezTo>
                  <a:pt x="2886324" y="922872"/>
                  <a:pt x="2888146" y="917405"/>
                  <a:pt x="2888146" y="915583"/>
                </a:cubicBezTo>
                <a:cubicBezTo>
                  <a:pt x="2888146" y="915583"/>
                  <a:pt x="2888146" y="915583"/>
                  <a:pt x="2889968" y="917405"/>
                </a:cubicBezTo>
                <a:cubicBezTo>
                  <a:pt x="2880857" y="924695"/>
                  <a:pt x="2895435" y="930160"/>
                  <a:pt x="2897257" y="937450"/>
                </a:cubicBezTo>
                <a:cubicBezTo>
                  <a:pt x="2902724" y="930160"/>
                  <a:pt x="2913656" y="922872"/>
                  <a:pt x="2908190" y="913761"/>
                </a:cubicBezTo>
                <a:cubicBezTo>
                  <a:pt x="2915479" y="913761"/>
                  <a:pt x="2922767" y="906473"/>
                  <a:pt x="2920945" y="899183"/>
                </a:cubicBezTo>
                <a:cubicBezTo>
                  <a:pt x="2920945" y="897361"/>
                  <a:pt x="2915479" y="897361"/>
                  <a:pt x="2913656" y="895539"/>
                </a:cubicBezTo>
                <a:cubicBezTo>
                  <a:pt x="2917301" y="891894"/>
                  <a:pt x="2919123" y="899183"/>
                  <a:pt x="2922767" y="897361"/>
                </a:cubicBezTo>
                <a:cubicBezTo>
                  <a:pt x="2917301" y="891894"/>
                  <a:pt x="2917301" y="891894"/>
                  <a:pt x="2915479" y="884606"/>
                </a:cubicBezTo>
                <a:cubicBezTo>
                  <a:pt x="2919123" y="888250"/>
                  <a:pt x="2922767" y="893717"/>
                  <a:pt x="2930056" y="895539"/>
                </a:cubicBezTo>
                <a:cubicBezTo>
                  <a:pt x="2928234" y="880961"/>
                  <a:pt x="2908190" y="880961"/>
                  <a:pt x="2897257" y="877317"/>
                </a:cubicBezTo>
                <a:cubicBezTo>
                  <a:pt x="2893613" y="877317"/>
                  <a:pt x="2891790" y="871851"/>
                  <a:pt x="2886324" y="870028"/>
                </a:cubicBezTo>
                <a:cubicBezTo>
                  <a:pt x="2884502" y="870028"/>
                  <a:pt x="2882680" y="871851"/>
                  <a:pt x="2880857" y="871851"/>
                </a:cubicBezTo>
                <a:cubicBezTo>
                  <a:pt x="2868102" y="860918"/>
                  <a:pt x="2855347" y="855451"/>
                  <a:pt x="2838947" y="849985"/>
                </a:cubicBezTo>
                <a:cubicBezTo>
                  <a:pt x="2844414" y="849985"/>
                  <a:pt x="2851703" y="851807"/>
                  <a:pt x="2858991" y="853629"/>
                </a:cubicBezTo>
                <a:cubicBezTo>
                  <a:pt x="2882680" y="864562"/>
                  <a:pt x="2904546" y="875495"/>
                  <a:pt x="2930056" y="882784"/>
                </a:cubicBezTo>
                <a:cubicBezTo>
                  <a:pt x="2930056" y="884606"/>
                  <a:pt x="2933700" y="893717"/>
                  <a:pt x="2937345" y="891894"/>
                </a:cubicBezTo>
                <a:cubicBezTo>
                  <a:pt x="2966500" y="875495"/>
                  <a:pt x="2999299" y="873673"/>
                  <a:pt x="3026631" y="855451"/>
                </a:cubicBezTo>
                <a:cubicBezTo>
                  <a:pt x="3024809" y="855451"/>
                  <a:pt x="3021165" y="853629"/>
                  <a:pt x="3017521" y="853629"/>
                </a:cubicBezTo>
                <a:cubicBezTo>
                  <a:pt x="3017521" y="849985"/>
                  <a:pt x="3013876" y="846340"/>
                  <a:pt x="3019343" y="848162"/>
                </a:cubicBezTo>
                <a:cubicBezTo>
                  <a:pt x="3021165" y="849985"/>
                  <a:pt x="3019343" y="853629"/>
                  <a:pt x="3021165" y="853629"/>
                </a:cubicBezTo>
                <a:lnTo>
                  <a:pt x="3030103" y="849777"/>
                </a:lnTo>
                <a:lnTo>
                  <a:pt x="3028453" y="851807"/>
                </a:lnTo>
                <a:cubicBezTo>
                  <a:pt x="3032098" y="851807"/>
                  <a:pt x="3035742" y="851807"/>
                  <a:pt x="3035742" y="849985"/>
                </a:cubicBezTo>
                <a:lnTo>
                  <a:pt x="3032645" y="848681"/>
                </a:lnTo>
                <a:lnTo>
                  <a:pt x="3034376" y="847935"/>
                </a:lnTo>
                <a:cubicBezTo>
                  <a:pt x="3038020" y="844974"/>
                  <a:pt x="3040298" y="840874"/>
                  <a:pt x="3039387" y="835407"/>
                </a:cubicBezTo>
                <a:cubicBezTo>
                  <a:pt x="3033920" y="833585"/>
                  <a:pt x="3035742" y="826296"/>
                  <a:pt x="3032098" y="820830"/>
                </a:cubicBezTo>
                <a:cubicBezTo>
                  <a:pt x="3033920" y="820830"/>
                  <a:pt x="3035742" y="820830"/>
                  <a:pt x="3037564" y="822652"/>
                </a:cubicBezTo>
                <a:cubicBezTo>
                  <a:pt x="3033920" y="819008"/>
                  <a:pt x="3033920" y="811719"/>
                  <a:pt x="3035742" y="811719"/>
                </a:cubicBezTo>
                <a:cubicBezTo>
                  <a:pt x="3050319" y="811719"/>
                  <a:pt x="3057608" y="820830"/>
                  <a:pt x="3050319" y="835407"/>
                </a:cubicBezTo>
                <a:cubicBezTo>
                  <a:pt x="3053964" y="833585"/>
                  <a:pt x="3053964" y="835407"/>
                  <a:pt x="3055786" y="837229"/>
                </a:cubicBezTo>
                <a:cubicBezTo>
                  <a:pt x="3053964" y="839051"/>
                  <a:pt x="3055786" y="842696"/>
                  <a:pt x="3052142" y="840874"/>
                </a:cubicBezTo>
                <a:cubicBezTo>
                  <a:pt x="3053964" y="842696"/>
                  <a:pt x="3057608" y="844518"/>
                  <a:pt x="3059430" y="844518"/>
                </a:cubicBezTo>
                <a:cubicBezTo>
                  <a:pt x="3059430" y="840874"/>
                  <a:pt x="3057608" y="837229"/>
                  <a:pt x="3057608" y="833585"/>
                </a:cubicBezTo>
                <a:cubicBezTo>
                  <a:pt x="3057608" y="829941"/>
                  <a:pt x="3061253" y="831763"/>
                  <a:pt x="3063075" y="831763"/>
                </a:cubicBezTo>
                <a:cubicBezTo>
                  <a:pt x="3061253" y="822652"/>
                  <a:pt x="3050319" y="811719"/>
                  <a:pt x="3059430" y="804430"/>
                </a:cubicBezTo>
                <a:cubicBezTo>
                  <a:pt x="3061253" y="802608"/>
                  <a:pt x="3064897" y="806252"/>
                  <a:pt x="3064897" y="809897"/>
                </a:cubicBezTo>
                <a:cubicBezTo>
                  <a:pt x="3072186" y="804430"/>
                  <a:pt x="3075830" y="808074"/>
                  <a:pt x="3083119" y="809897"/>
                </a:cubicBezTo>
                <a:cubicBezTo>
                  <a:pt x="3084941" y="809897"/>
                  <a:pt x="3088585" y="809897"/>
                  <a:pt x="3088585" y="808074"/>
                </a:cubicBezTo>
                <a:cubicBezTo>
                  <a:pt x="3086763" y="777098"/>
                  <a:pt x="3081297" y="742476"/>
                  <a:pt x="3055786" y="722432"/>
                </a:cubicBezTo>
                <a:cubicBezTo>
                  <a:pt x="3048497" y="716966"/>
                  <a:pt x="3046675" y="729721"/>
                  <a:pt x="3039387" y="724254"/>
                </a:cubicBezTo>
                <a:cubicBezTo>
                  <a:pt x="3043031" y="722432"/>
                  <a:pt x="3043031" y="718788"/>
                  <a:pt x="3046675" y="720610"/>
                </a:cubicBezTo>
                <a:cubicBezTo>
                  <a:pt x="3044853" y="700566"/>
                  <a:pt x="3019343" y="702388"/>
                  <a:pt x="3004765" y="706033"/>
                </a:cubicBezTo>
                <a:cubicBezTo>
                  <a:pt x="3004765" y="696922"/>
                  <a:pt x="2993832" y="700566"/>
                  <a:pt x="2988366" y="698744"/>
                </a:cubicBezTo>
                <a:cubicBezTo>
                  <a:pt x="2988366" y="702388"/>
                  <a:pt x="2992010" y="707855"/>
                  <a:pt x="2990188" y="709677"/>
                </a:cubicBezTo>
                <a:cubicBezTo>
                  <a:pt x="2986543" y="711499"/>
                  <a:pt x="2982899" y="706033"/>
                  <a:pt x="2981077" y="704211"/>
                </a:cubicBezTo>
                <a:cubicBezTo>
                  <a:pt x="2981077" y="702388"/>
                  <a:pt x="2984721" y="700566"/>
                  <a:pt x="2986543" y="700566"/>
                </a:cubicBezTo>
                <a:cubicBezTo>
                  <a:pt x="2974244" y="697833"/>
                  <a:pt x="2959894" y="687925"/>
                  <a:pt x="2948876" y="688523"/>
                </a:cubicBezTo>
                <a:close/>
                <a:moveTo>
                  <a:pt x="3449376" y="687811"/>
                </a:moveTo>
                <a:cubicBezTo>
                  <a:pt x="3449376" y="685989"/>
                  <a:pt x="3442087" y="689633"/>
                  <a:pt x="3442087" y="693278"/>
                </a:cubicBezTo>
                <a:cubicBezTo>
                  <a:pt x="3442087" y="693278"/>
                  <a:pt x="3443909" y="693278"/>
                  <a:pt x="3447553" y="695100"/>
                </a:cubicBezTo>
                <a:cubicBezTo>
                  <a:pt x="3449376" y="693278"/>
                  <a:pt x="3445731" y="687811"/>
                  <a:pt x="3449376" y="687811"/>
                </a:cubicBezTo>
                <a:close/>
                <a:moveTo>
                  <a:pt x="2822548" y="687811"/>
                </a:moveTo>
                <a:cubicBezTo>
                  <a:pt x="2822548" y="691455"/>
                  <a:pt x="2824370" y="693278"/>
                  <a:pt x="2828014" y="693278"/>
                </a:cubicBezTo>
                <a:cubicBezTo>
                  <a:pt x="2828014" y="693278"/>
                  <a:pt x="2828014" y="691455"/>
                  <a:pt x="2828014" y="687811"/>
                </a:cubicBezTo>
                <a:cubicBezTo>
                  <a:pt x="2828014" y="687811"/>
                  <a:pt x="2826192" y="689633"/>
                  <a:pt x="2822548" y="687811"/>
                </a:cubicBezTo>
                <a:close/>
                <a:moveTo>
                  <a:pt x="2554688" y="687811"/>
                </a:moveTo>
                <a:lnTo>
                  <a:pt x="2554688" y="691455"/>
                </a:lnTo>
                <a:cubicBezTo>
                  <a:pt x="2554688" y="693278"/>
                  <a:pt x="2552866" y="695100"/>
                  <a:pt x="2554688" y="696922"/>
                </a:cubicBezTo>
                <a:cubicBezTo>
                  <a:pt x="2556510" y="695100"/>
                  <a:pt x="2558332" y="691455"/>
                  <a:pt x="2558332" y="687811"/>
                </a:cubicBezTo>
                <a:cubicBezTo>
                  <a:pt x="2558332" y="685989"/>
                  <a:pt x="2556510" y="685989"/>
                  <a:pt x="2554688" y="687811"/>
                </a:cubicBezTo>
                <a:close/>
                <a:moveTo>
                  <a:pt x="1202636" y="687811"/>
                </a:moveTo>
                <a:cubicBezTo>
                  <a:pt x="1200814" y="689633"/>
                  <a:pt x="1197169" y="691455"/>
                  <a:pt x="1195346" y="689633"/>
                </a:cubicBezTo>
                <a:lnTo>
                  <a:pt x="1202355" y="688232"/>
                </a:lnTo>
                <a:lnTo>
                  <a:pt x="1199446" y="692595"/>
                </a:lnTo>
                <a:cubicBezTo>
                  <a:pt x="1197168" y="692822"/>
                  <a:pt x="1194435" y="692367"/>
                  <a:pt x="1193525" y="693278"/>
                </a:cubicBezTo>
                <a:cubicBezTo>
                  <a:pt x="1189880" y="695100"/>
                  <a:pt x="1186236" y="700566"/>
                  <a:pt x="1188058" y="704211"/>
                </a:cubicBezTo>
                <a:cubicBezTo>
                  <a:pt x="1189880" y="702388"/>
                  <a:pt x="1191703" y="700566"/>
                  <a:pt x="1195346" y="698744"/>
                </a:cubicBezTo>
                <a:cubicBezTo>
                  <a:pt x="1195346" y="696922"/>
                  <a:pt x="1195346" y="695100"/>
                  <a:pt x="1193525" y="693278"/>
                </a:cubicBezTo>
                <a:cubicBezTo>
                  <a:pt x="1193525" y="695100"/>
                  <a:pt x="1195346" y="693278"/>
                  <a:pt x="1195346" y="693278"/>
                </a:cubicBezTo>
                <a:cubicBezTo>
                  <a:pt x="1195346" y="695100"/>
                  <a:pt x="1195346" y="695100"/>
                  <a:pt x="1195346" y="696922"/>
                </a:cubicBezTo>
                <a:cubicBezTo>
                  <a:pt x="1198991" y="696922"/>
                  <a:pt x="1202636" y="689633"/>
                  <a:pt x="1204457" y="687811"/>
                </a:cubicBezTo>
                <a:lnTo>
                  <a:pt x="1202355" y="688232"/>
                </a:lnTo>
                <a:close/>
                <a:moveTo>
                  <a:pt x="1147970" y="687811"/>
                </a:moveTo>
                <a:cubicBezTo>
                  <a:pt x="1146148" y="685989"/>
                  <a:pt x="1142503" y="689633"/>
                  <a:pt x="1144326" y="691455"/>
                </a:cubicBezTo>
                <a:cubicBezTo>
                  <a:pt x="1146148" y="689633"/>
                  <a:pt x="1147970" y="689633"/>
                  <a:pt x="1147970" y="687811"/>
                </a:cubicBezTo>
                <a:close/>
                <a:moveTo>
                  <a:pt x="1129748" y="687811"/>
                </a:moveTo>
                <a:cubicBezTo>
                  <a:pt x="1127926" y="687811"/>
                  <a:pt x="1124282" y="691455"/>
                  <a:pt x="1120637" y="693278"/>
                </a:cubicBezTo>
                <a:cubicBezTo>
                  <a:pt x="1122459" y="695100"/>
                  <a:pt x="1124282" y="689633"/>
                  <a:pt x="1126104" y="693278"/>
                </a:cubicBezTo>
                <a:cubicBezTo>
                  <a:pt x="1126104" y="691455"/>
                  <a:pt x="1129748" y="689633"/>
                  <a:pt x="1129748" y="687811"/>
                </a:cubicBezTo>
                <a:close/>
                <a:moveTo>
                  <a:pt x="991263" y="687811"/>
                </a:moveTo>
                <a:cubicBezTo>
                  <a:pt x="989441" y="687811"/>
                  <a:pt x="989441" y="689633"/>
                  <a:pt x="987619" y="691455"/>
                </a:cubicBezTo>
                <a:cubicBezTo>
                  <a:pt x="989441" y="693278"/>
                  <a:pt x="994907" y="687811"/>
                  <a:pt x="991263" y="687811"/>
                </a:cubicBezTo>
                <a:close/>
                <a:moveTo>
                  <a:pt x="770781" y="687811"/>
                </a:moveTo>
                <a:lnTo>
                  <a:pt x="777584" y="688783"/>
                </a:lnTo>
                <a:lnTo>
                  <a:pt x="776246" y="691455"/>
                </a:lnTo>
                <a:cubicBezTo>
                  <a:pt x="781713" y="695100"/>
                  <a:pt x="785357" y="696922"/>
                  <a:pt x="790824" y="700566"/>
                </a:cubicBezTo>
                <a:cubicBezTo>
                  <a:pt x="792646" y="696922"/>
                  <a:pt x="789003" y="695100"/>
                  <a:pt x="787179" y="693278"/>
                </a:cubicBezTo>
                <a:cubicBezTo>
                  <a:pt x="789003" y="693278"/>
                  <a:pt x="789003" y="693278"/>
                  <a:pt x="792646" y="693278"/>
                </a:cubicBezTo>
                <a:cubicBezTo>
                  <a:pt x="789003" y="687811"/>
                  <a:pt x="783535" y="689633"/>
                  <a:pt x="779892" y="691455"/>
                </a:cubicBezTo>
                <a:cubicBezTo>
                  <a:pt x="781713" y="691455"/>
                  <a:pt x="781713" y="691455"/>
                  <a:pt x="783535" y="689633"/>
                </a:cubicBezTo>
                <a:lnTo>
                  <a:pt x="777584" y="688783"/>
                </a:lnTo>
                <a:lnTo>
                  <a:pt x="778070" y="687811"/>
                </a:lnTo>
                <a:cubicBezTo>
                  <a:pt x="776246" y="687811"/>
                  <a:pt x="772602" y="687811"/>
                  <a:pt x="770781" y="687811"/>
                </a:cubicBezTo>
                <a:close/>
                <a:moveTo>
                  <a:pt x="564874" y="687811"/>
                </a:moveTo>
                <a:cubicBezTo>
                  <a:pt x="561230" y="691455"/>
                  <a:pt x="568519" y="693278"/>
                  <a:pt x="568519" y="696922"/>
                </a:cubicBezTo>
                <a:cubicBezTo>
                  <a:pt x="570341" y="695100"/>
                  <a:pt x="570341" y="695100"/>
                  <a:pt x="572163" y="695100"/>
                </a:cubicBezTo>
                <a:cubicBezTo>
                  <a:pt x="570341" y="696922"/>
                  <a:pt x="570341" y="696922"/>
                  <a:pt x="568519" y="698744"/>
                </a:cubicBezTo>
                <a:cubicBezTo>
                  <a:pt x="570341" y="700566"/>
                  <a:pt x="572163" y="704211"/>
                  <a:pt x="575808" y="706033"/>
                </a:cubicBezTo>
                <a:cubicBezTo>
                  <a:pt x="577630" y="704211"/>
                  <a:pt x="573985" y="702388"/>
                  <a:pt x="570341" y="700566"/>
                </a:cubicBezTo>
                <a:cubicBezTo>
                  <a:pt x="572163" y="698744"/>
                  <a:pt x="572163" y="702388"/>
                  <a:pt x="573985" y="702388"/>
                </a:cubicBezTo>
                <a:cubicBezTo>
                  <a:pt x="577630" y="700566"/>
                  <a:pt x="573985" y="696922"/>
                  <a:pt x="572163" y="695100"/>
                </a:cubicBezTo>
                <a:cubicBezTo>
                  <a:pt x="568519" y="691455"/>
                  <a:pt x="570341" y="689633"/>
                  <a:pt x="564874" y="687811"/>
                </a:cubicBezTo>
                <a:close/>
                <a:moveTo>
                  <a:pt x="477410" y="687811"/>
                </a:moveTo>
                <a:cubicBezTo>
                  <a:pt x="475589" y="687811"/>
                  <a:pt x="479232" y="693278"/>
                  <a:pt x="479232" y="691455"/>
                </a:cubicBezTo>
                <a:cubicBezTo>
                  <a:pt x="479232" y="689633"/>
                  <a:pt x="477410" y="689633"/>
                  <a:pt x="477410" y="687811"/>
                </a:cubicBezTo>
                <a:close/>
                <a:moveTo>
                  <a:pt x="766892" y="687726"/>
                </a:moveTo>
                <a:lnTo>
                  <a:pt x="767136" y="687811"/>
                </a:lnTo>
                <a:lnTo>
                  <a:pt x="767093" y="687948"/>
                </a:lnTo>
                <a:close/>
                <a:moveTo>
                  <a:pt x="917596" y="687290"/>
                </a:moveTo>
                <a:lnTo>
                  <a:pt x="914276" y="689634"/>
                </a:lnTo>
                <a:lnTo>
                  <a:pt x="912909" y="689634"/>
                </a:lnTo>
                <a:lnTo>
                  <a:pt x="912909" y="689633"/>
                </a:lnTo>
                <a:close/>
                <a:moveTo>
                  <a:pt x="2784282" y="685989"/>
                </a:moveTo>
                <a:cubicBezTo>
                  <a:pt x="2789749" y="695100"/>
                  <a:pt x="2784282" y="711499"/>
                  <a:pt x="2793393" y="704211"/>
                </a:cubicBezTo>
                <a:cubicBezTo>
                  <a:pt x="2797037" y="700566"/>
                  <a:pt x="2806148" y="704211"/>
                  <a:pt x="2811615" y="698744"/>
                </a:cubicBezTo>
                <a:cubicBezTo>
                  <a:pt x="2804326" y="689633"/>
                  <a:pt x="2795215" y="682345"/>
                  <a:pt x="2784282" y="685989"/>
                </a:cubicBezTo>
                <a:close/>
                <a:moveTo>
                  <a:pt x="2612998" y="685989"/>
                </a:moveTo>
                <a:cubicBezTo>
                  <a:pt x="2609353" y="691455"/>
                  <a:pt x="2618464" y="691455"/>
                  <a:pt x="2618464" y="698744"/>
                </a:cubicBezTo>
                <a:cubicBezTo>
                  <a:pt x="2622109" y="696922"/>
                  <a:pt x="2616642" y="687811"/>
                  <a:pt x="2612998" y="685989"/>
                </a:cubicBezTo>
                <a:close/>
                <a:moveTo>
                  <a:pt x="1386676" y="685989"/>
                </a:moveTo>
                <a:cubicBezTo>
                  <a:pt x="1383030" y="684167"/>
                  <a:pt x="1377564" y="687811"/>
                  <a:pt x="1375743" y="691455"/>
                </a:cubicBezTo>
                <a:cubicBezTo>
                  <a:pt x="1364809" y="695100"/>
                  <a:pt x="1352053" y="689633"/>
                  <a:pt x="1341120" y="695100"/>
                </a:cubicBezTo>
                <a:cubicBezTo>
                  <a:pt x="1332009" y="700566"/>
                  <a:pt x="1326543" y="709677"/>
                  <a:pt x="1313788" y="709677"/>
                </a:cubicBezTo>
                <a:cubicBezTo>
                  <a:pt x="1311966" y="711499"/>
                  <a:pt x="1310143" y="713321"/>
                  <a:pt x="1310143" y="715144"/>
                </a:cubicBezTo>
                <a:cubicBezTo>
                  <a:pt x="1308321" y="716966"/>
                  <a:pt x="1310143" y="713321"/>
                  <a:pt x="1308321" y="713321"/>
                </a:cubicBezTo>
                <a:cubicBezTo>
                  <a:pt x="1304677" y="713321"/>
                  <a:pt x="1301033" y="716966"/>
                  <a:pt x="1297388" y="720610"/>
                </a:cubicBezTo>
                <a:cubicBezTo>
                  <a:pt x="1302855" y="724254"/>
                  <a:pt x="1310143" y="722432"/>
                  <a:pt x="1311966" y="720610"/>
                </a:cubicBezTo>
                <a:cubicBezTo>
                  <a:pt x="1317432" y="726077"/>
                  <a:pt x="1332009" y="709677"/>
                  <a:pt x="1339299" y="709677"/>
                </a:cubicBezTo>
                <a:cubicBezTo>
                  <a:pt x="1342942" y="706033"/>
                  <a:pt x="1344765" y="704211"/>
                  <a:pt x="1344765" y="700566"/>
                </a:cubicBezTo>
                <a:cubicBezTo>
                  <a:pt x="1346587" y="698744"/>
                  <a:pt x="1346587" y="700566"/>
                  <a:pt x="1348410" y="700566"/>
                </a:cubicBezTo>
                <a:cubicBezTo>
                  <a:pt x="1346587" y="704211"/>
                  <a:pt x="1346587" y="706033"/>
                  <a:pt x="1344765" y="707855"/>
                </a:cubicBezTo>
                <a:cubicBezTo>
                  <a:pt x="1350231" y="713321"/>
                  <a:pt x="1359342" y="707855"/>
                  <a:pt x="1364809" y="702388"/>
                </a:cubicBezTo>
                <a:cubicBezTo>
                  <a:pt x="1364809" y="700566"/>
                  <a:pt x="1362987" y="700566"/>
                  <a:pt x="1362987" y="698744"/>
                </a:cubicBezTo>
                <a:cubicBezTo>
                  <a:pt x="1366632" y="700566"/>
                  <a:pt x="1370275" y="698744"/>
                  <a:pt x="1368453" y="695100"/>
                </a:cubicBezTo>
                <a:cubicBezTo>
                  <a:pt x="1370275" y="695100"/>
                  <a:pt x="1366632" y="700566"/>
                  <a:pt x="1368453" y="702388"/>
                </a:cubicBezTo>
                <a:cubicBezTo>
                  <a:pt x="1372097" y="700566"/>
                  <a:pt x="1372097" y="698744"/>
                  <a:pt x="1372097" y="696922"/>
                </a:cubicBezTo>
                <a:cubicBezTo>
                  <a:pt x="1373920" y="695100"/>
                  <a:pt x="1372097" y="698744"/>
                  <a:pt x="1373920" y="698744"/>
                </a:cubicBezTo>
                <a:cubicBezTo>
                  <a:pt x="1375743" y="696922"/>
                  <a:pt x="1375743" y="695100"/>
                  <a:pt x="1377564" y="696922"/>
                </a:cubicBezTo>
                <a:cubicBezTo>
                  <a:pt x="1379386" y="693278"/>
                  <a:pt x="1383030" y="689633"/>
                  <a:pt x="1386676" y="685989"/>
                </a:cubicBezTo>
                <a:close/>
                <a:moveTo>
                  <a:pt x="922020" y="685989"/>
                </a:moveTo>
                <a:cubicBezTo>
                  <a:pt x="922020" y="689633"/>
                  <a:pt x="922020" y="695100"/>
                  <a:pt x="920198" y="698744"/>
                </a:cubicBezTo>
                <a:cubicBezTo>
                  <a:pt x="925666" y="696922"/>
                  <a:pt x="922020" y="693278"/>
                  <a:pt x="925666" y="693278"/>
                </a:cubicBezTo>
                <a:cubicBezTo>
                  <a:pt x="927487" y="689633"/>
                  <a:pt x="925666" y="687811"/>
                  <a:pt x="922020" y="685989"/>
                </a:cubicBezTo>
                <a:close/>
                <a:moveTo>
                  <a:pt x="504743" y="685989"/>
                </a:moveTo>
                <a:cubicBezTo>
                  <a:pt x="501098" y="684167"/>
                  <a:pt x="502920" y="689633"/>
                  <a:pt x="504743" y="691455"/>
                </a:cubicBezTo>
                <a:cubicBezTo>
                  <a:pt x="506565" y="689633"/>
                  <a:pt x="504743" y="687811"/>
                  <a:pt x="504743" y="685989"/>
                </a:cubicBezTo>
                <a:close/>
                <a:moveTo>
                  <a:pt x="388123" y="685989"/>
                </a:moveTo>
                <a:cubicBezTo>
                  <a:pt x="384479" y="691455"/>
                  <a:pt x="386301" y="702388"/>
                  <a:pt x="395412" y="706033"/>
                </a:cubicBezTo>
                <a:cubicBezTo>
                  <a:pt x="399056" y="704211"/>
                  <a:pt x="397234" y="702388"/>
                  <a:pt x="400879" y="700566"/>
                </a:cubicBezTo>
                <a:lnTo>
                  <a:pt x="398680" y="699833"/>
                </a:lnTo>
                <a:lnTo>
                  <a:pt x="394956" y="692595"/>
                </a:lnTo>
                <a:cubicBezTo>
                  <a:pt x="392680" y="690089"/>
                  <a:pt x="389945" y="687811"/>
                  <a:pt x="388123" y="685989"/>
                </a:cubicBezTo>
                <a:close/>
                <a:moveTo>
                  <a:pt x="235061" y="685989"/>
                </a:moveTo>
                <a:cubicBezTo>
                  <a:pt x="235061" y="693278"/>
                  <a:pt x="249638" y="704211"/>
                  <a:pt x="253282" y="711499"/>
                </a:cubicBezTo>
                <a:cubicBezTo>
                  <a:pt x="249638" y="704211"/>
                  <a:pt x="242349" y="689633"/>
                  <a:pt x="235061" y="685989"/>
                </a:cubicBezTo>
                <a:close/>
                <a:moveTo>
                  <a:pt x="3177189" y="685534"/>
                </a:moveTo>
                <a:cubicBezTo>
                  <a:pt x="3171950" y="685078"/>
                  <a:pt x="3166939" y="685989"/>
                  <a:pt x="3163294" y="689633"/>
                </a:cubicBezTo>
                <a:cubicBezTo>
                  <a:pt x="3157828" y="691455"/>
                  <a:pt x="3146895" y="687811"/>
                  <a:pt x="3139606" y="689633"/>
                </a:cubicBezTo>
                <a:cubicBezTo>
                  <a:pt x="3145073" y="695100"/>
                  <a:pt x="3145073" y="704211"/>
                  <a:pt x="3154184" y="706033"/>
                </a:cubicBezTo>
                <a:cubicBezTo>
                  <a:pt x="3154184" y="702388"/>
                  <a:pt x="3154184" y="700566"/>
                  <a:pt x="3152361" y="698744"/>
                </a:cubicBezTo>
                <a:cubicBezTo>
                  <a:pt x="3159650" y="700566"/>
                  <a:pt x="3159650" y="707855"/>
                  <a:pt x="3163294" y="713321"/>
                </a:cubicBezTo>
                <a:cubicBezTo>
                  <a:pt x="3163294" y="716966"/>
                  <a:pt x="3154184" y="715144"/>
                  <a:pt x="3156006" y="718788"/>
                </a:cubicBezTo>
                <a:cubicBezTo>
                  <a:pt x="3150539" y="718788"/>
                  <a:pt x="3146895" y="715144"/>
                  <a:pt x="3143250" y="709677"/>
                </a:cubicBezTo>
                <a:cubicBezTo>
                  <a:pt x="3141428" y="709677"/>
                  <a:pt x="3139606" y="709677"/>
                  <a:pt x="3137784" y="709677"/>
                </a:cubicBezTo>
                <a:cubicBezTo>
                  <a:pt x="3141428" y="704211"/>
                  <a:pt x="3141428" y="698744"/>
                  <a:pt x="3139606" y="693278"/>
                </a:cubicBezTo>
                <a:cubicBezTo>
                  <a:pt x="3130495" y="696922"/>
                  <a:pt x="3134140" y="709677"/>
                  <a:pt x="3137784" y="716966"/>
                </a:cubicBezTo>
                <a:cubicBezTo>
                  <a:pt x="3132317" y="709677"/>
                  <a:pt x="3125029" y="695100"/>
                  <a:pt x="3117740" y="709677"/>
                </a:cubicBezTo>
                <a:cubicBezTo>
                  <a:pt x="3115918" y="711499"/>
                  <a:pt x="3117740" y="716966"/>
                  <a:pt x="3117740" y="718788"/>
                </a:cubicBezTo>
                <a:cubicBezTo>
                  <a:pt x="3117740" y="716966"/>
                  <a:pt x="3117740" y="715144"/>
                  <a:pt x="3115918" y="715144"/>
                </a:cubicBezTo>
                <a:cubicBezTo>
                  <a:pt x="3108629" y="713321"/>
                  <a:pt x="3112274" y="722432"/>
                  <a:pt x="3114096" y="726077"/>
                </a:cubicBezTo>
                <a:cubicBezTo>
                  <a:pt x="3110451" y="724254"/>
                  <a:pt x="3106807" y="720610"/>
                  <a:pt x="3101340" y="722432"/>
                </a:cubicBezTo>
                <a:cubicBezTo>
                  <a:pt x="3103163" y="726077"/>
                  <a:pt x="3101340" y="731543"/>
                  <a:pt x="3103163" y="733365"/>
                </a:cubicBezTo>
                <a:cubicBezTo>
                  <a:pt x="3099518" y="735188"/>
                  <a:pt x="3095874" y="733365"/>
                  <a:pt x="3094052" y="731543"/>
                </a:cubicBezTo>
                <a:cubicBezTo>
                  <a:pt x="3094052" y="735188"/>
                  <a:pt x="3094052" y="738832"/>
                  <a:pt x="3094052" y="742476"/>
                </a:cubicBezTo>
                <a:cubicBezTo>
                  <a:pt x="3094052" y="751587"/>
                  <a:pt x="3101340" y="760698"/>
                  <a:pt x="3110451" y="758876"/>
                </a:cubicBezTo>
                <a:cubicBezTo>
                  <a:pt x="3112274" y="758876"/>
                  <a:pt x="3119562" y="762520"/>
                  <a:pt x="3117740" y="755231"/>
                </a:cubicBezTo>
                <a:cubicBezTo>
                  <a:pt x="3123206" y="762520"/>
                  <a:pt x="3126851" y="767987"/>
                  <a:pt x="3134140" y="769809"/>
                </a:cubicBezTo>
                <a:cubicBezTo>
                  <a:pt x="3126851" y="771631"/>
                  <a:pt x="3119562" y="760698"/>
                  <a:pt x="3119562" y="769809"/>
                </a:cubicBezTo>
                <a:cubicBezTo>
                  <a:pt x="3119562" y="771631"/>
                  <a:pt x="3125029" y="771631"/>
                  <a:pt x="3126851" y="771631"/>
                </a:cubicBezTo>
                <a:cubicBezTo>
                  <a:pt x="3123206" y="773453"/>
                  <a:pt x="3117740" y="771631"/>
                  <a:pt x="3121384" y="778920"/>
                </a:cubicBezTo>
                <a:cubicBezTo>
                  <a:pt x="3120473" y="774365"/>
                  <a:pt x="3118196" y="772998"/>
                  <a:pt x="3115463" y="772543"/>
                </a:cubicBezTo>
                <a:lnTo>
                  <a:pt x="3107027" y="771655"/>
                </a:lnTo>
                <a:lnTo>
                  <a:pt x="3108629" y="769809"/>
                </a:lnTo>
                <a:cubicBezTo>
                  <a:pt x="3108629" y="771631"/>
                  <a:pt x="3106807" y="771631"/>
                  <a:pt x="3106807" y="771631"/>
                </a:cubicBezTo>
                <a:lnTo>
                  <a:pt x="3107027" y="771655"/>
                </a:lnTo>
                <a:lnTo>
                  <a:pt x="3105070" y="773909"/>
                </a:lnTo>
                <a:cubicBezTo>
                  <a:pt x="3104301" y="778009"/>
                  <a:pt x="3110451" y="782109"/>
                  <a:pt x="3110451" y="786208"/>
                </a:cubicBezTo>
                <a:cubicBezTo>
                  <a:pt x="3110451" y="788031"/>
                  <a:pt x="3106807" y="791675"/>
                  <a:pt x="3108629" y="793497"/>
                </a:cubicBezTo>
                <a:lnTo>
                  <a:pt x="3118119" y="795079"/>
                </a:lnTo>
                <a:lnTo>
                  <a:pt x="3112274" y="797141"/>
                </a:lnTo>
                <a:cubicBezTo>
                  <a:pt x="3115918" y="808074"/>
                  <a:pt x="3101340" y="828118"/>
                  <a:pt x="3117740" y="826296"/>
                </a:cubicBezTo>
                <a:cubicBezTo>
                  <a:pt x="3117740" y="829941"/>
                  <a:pt x="3114096" y="831763"/>
                  <a:pt x="3115918" y="831763"/>
                </a:cubicBezTo>
                <a:cubicBezTo>
                  <a:pt x="3121384" y="833585"/>
                  <a:pt x="3126851" y="829941"/>
                  <a:pt x="3128673" y="826296"/>
                </a:cubicBezTo>
                <a:cubicBezTo>
                  <a:pt x="3128673" y="824474"/>
                  <a:pt x="3125029" y="824474"/>
                  <a:pt x="3123206" y="824474"/>
                </a:cubicBezTo>
                <a:cubicBezTo>
                  <a:pt x="3128673" y="820830"/>
                  <a:pt x="3130495" y="820830"/>
                  <a:pt x="3130495" y="813541"/>
                </a:cubicBezTo>
                <a:cubicBezTo>
                  <a:pt x="3134140" y="813541"/>
                  <a:pt x="3137784" y="819008"/>
                  <a:pt x="3141428" y="820830"/>
                </a:cubicBezTo>
                <a:cubicBezTo>
                  <a:pt x="3143250" y="811719"/>
                  <a:pt x="3148717" y="802608"/>
                  <a:pt x="3145073" y="793497"/>
                </a:cubicBezTo>
                <a:cubicBezTo>
                  <a:pt x="3148717" y="793497"/>
                  <a:pt x="3148717" y="795319"/>
                  <a:pt x="3150539" y="797141"/>
                </a:cubicBezTo>
                <a:cubicBezTo>
                  <a:pt x="3150539" y="797141"/>
                  <a:pt x="3152361" y="797141"/>
                  <a:pt x="3152361" y="795319"/>
                </a:cubicBezTo>
                <a:cubicBezTo>
                  <a:pt x="3148717" y="802608"/>
                  <a:pt x="3145073" y="809897"/>
                  <a:pt x="3146895" y="819008"/>
                </a:cubicBezTo>
                <a:cubicBezTo>
                  <a:pt x="3152361" y="813541"/>
                  <a:pt x="3166939" y="820830"/>
                  <a:pt x="3165116" y="811719"/>
                </a:cubicBezTo>
                <a:cubicBezTo>
                  <a:pt x="3163294" y="811719"/>
                  <a:pt x="3161472" y="811719"/>
                  <a:pt x="3159650" y="813541"/>
                </a:cubicBezTo>
                <a:cubicBezTo>
                  <a:pt x="3161472" y="811719"/>
                  <a:pt x="3156006" y="806252"/>
                  <a:pt x="3159650" y="804430"/>
                </a:cubicBezTo>
                <a:cubicBezTo>
                  <a:pt x="3161472" y="802608"/>
                  <a:pt x="3166939" y="806252"/>
                  <a:pt x="3168761" y="804430"/>
                </a:cubicBezTo>
                <a:cubicBezTo>
                  <a:pt x="3168761" y="802608"/>
                  <a:pt x="3168761" y="800786"/>
                  <a:pt x="3168761" y="798964"/>
                </a:cubicBezTo>
                <a:cubicBezTo>
                  <a:pt x="3170583" y="798964"/>
                  <a:pt x="3172405" y="798964"/>
                  <a:pt x="3172405" y="798964"/>
                </a:cubicBezTo>
                <a:cubicBezTo>
                  <a:pt x="3174227" y="795319"/>
                  <a:pt x="3170583" y="789853"/>
                  <a:pt x="3172405" y="788031"/>
                </a:cubicBezTo>
                <a:cubicBezTo>
                  <a:pt x="3174227" y="786208"/>
                  <a:pt x="3177872" y="791675"/>
                  <a:pt x="3179694" y="789853"/>
                </a:cubicBezTo>
                <a:cubicBezTo>
                  <a:pt x="3181516" y="788031"/>
                  <a:pt x="3179694" y="784386"/>
                  <a:pt x="3179694" y="782564"/>
                </a:cubicBezTo>
                <a:cubicBezTo>
                  <a:pt x="3183338" y="786208"/>
                  <a:pt x="3185160" y="789853"/>
                  <a:pt x="3186982" y="788031"/>
                </a:cubicBezTo>
                <a:cubicBezTo>
                  <a:pt x="3190627" y="786208"/>
                  <a:pt x="3188805" y="773453"/>
                  <a:pt x="3181516" y="775275"/>
                </a:cubicBezTo>
                <a:cubicBezTo>
                  <a:pt x="3179694" y="775275"/>
                  <a:pt x="3179694" y="784386"/>
                  <a:pt x="3177872" y="782564"/>
                </a:cubicBezTo>
                <a:cubicBezTo>
                  <a:pt x="3165116" y="778920"/>
                  <a:pt x="3172405" y="771631"/>
                  <a:pt x="3176050" y="762520"/>
                </a:cubicBezTo>
                <a:cubicBezTo>
                  <a:pt x="3177872" y="758876"/>
                  <a:pt x="3183338" y="762520"/>
                  <a:pt x="3185160" y="764342"/>
                </a:cubicBezTo>
                <a:cubicBezTo>
                  <a:pt x="3185160" y="758876"/>
                  <a:pt x="3188805" y="758876"/>
                  <a:pt x="3192449" y="757054"/>
                </a:cubicBezTo>
                <a:cubicBezTo>
                  <a:pt x="3192449" y="757054"/>
                  <a:pt x="3192449" y="757054"/>
                  <a:pt x="3190627" y="755231"/>
                </a:cubicBezTo>
                <a:cubicBezTo>
                  <a:pt x="3185160" y="760698"/>
                  <a:pt x="3181516" y="757054"/>
                  <a:pt x="3174227" y="758876"/>
                </a:cubicBezTo>
                <a:cubicBezTo>
                  <a:pt x="3179694" y="757054"/>
                  <a:pt x="3186982" y="753409"/>
                  <a:pt x="3194271" y="751587"/>
                </a:cubicBezTo>
                <a:cubicBezTo>
                  <a:pt x="3194271" y="753409"/>
                  <a:pt x="3192449" y="753409"/>
                  <a:pt x="3192449" y="755231"/>
                </a:cubicBezTo>
                <a:cubicBezTo>
                  <a:pt x="3199738" y="753409"/>
                  <a:pt x="3201560" y="747943"/>
                  <a:pt x="3199738" y="742476"/>
                </a:cubicBezTo>
                <a:cubicBezTo>
                  <a:pt x="3196093" y="746121"/>
                  <a:pt x="3188805" y="753409"/>
                  <a:pt x="3183338" y="747943"/>
                </a:cubicBezTo>
                <a:cubicBezTo>
                  <a:pt x="3183338" y="746121"/>
                  <a:pt x="3185160" y="742476"/>
                  <a:pt x="3185160" y="740654"/>
                </a:cubicBezTo>
                <a:cubicBezTo>
                  <a:pt x="3183338" y="746121"/>
                  <a:pt x="3176050" y="744298"/>
                  <a:pt x="3172405" y="744298"/>
                </a:cubicBezTo>
                <a:cubicBezTo>
                  <a:pt x="3168761" y="746121"/>
                  <a:pt x="3170583" y="740654"/>
                  <a:pt x="3170583" y="738832"/>
                </a:cubicBezTo>
                <a:cubicBezTo>
                  <a:pt x="3172405" y="740654"/>
                  <a:pt x="3174227" y="744298"/>
                  <a:pt x="3177872" y="740654"/>
                </a:cubicBezTo>
                <a:cubicBezTo>
                  <a:pt x="3181516" y="737010"/>
                  <a:pt x="3177872" y="731543"/>
                  <a:pt x="3177872" y="727899"/>
                </a:cubicBezTo>
                <a:cubicBezTo>
                  <a:pt x="3188805" y="731543"/>
                  <a:pt x="3203382" y="740654"/>
                  <a:pt x="3212493" y="729721"/>
                </a:cubicBezTo>
                <a:cubicBezTo>
                  <a:pt x="3216137" y="729721"/>
                  <a:pt x="3214315" y="722432"/>
                  <a:pt x="3214315" y="718788"/>
                </a:cubicBezTo>
                <a:cubicBezTo>
                  <a:pt x="3212493" y="706033"/>
                  <a:pt x="3203382" y="696922"/>
                  <a:pt x="3192449" y="689633"/>
                </a:cubicBezTo>
                <a:cubicBezTo>
                  <a:pt x="3187894" y="687811"/>
                  <a:pt x="3182427" y="685989"/>
                  <a:pt x="3177189" y="685534"/>
                </a:cubicBezTo>
                <a:close/>
                <a:moveTo>
                  <a:pt x="3074008" y="684167"/>
                </a:moveTo>
                <a:lnTo>
                  <a:pt x="3072186" y="689633"/>
                </a:lnTo>
                <a:cubicBezTo>
                  <a:pt x="3075830" y="691455"/>
                  <a:pt x="3079474" y="693278"/>
                  <a:pt x="3081297" y="689633"/>
                </a:cubicBezTo>
                <a:cubicBezTo>
                  <a:pt x="3084941" y="685989"/>
                  <a:pt x="3079474" y="685989"/>
                  <a:pt x="3074008" y="684167"/>
                </a:cubicBezTo>
                <a:close/>
                <a:moveTo>
                  <a:pt x="1322899" y="684167"/>
                </a:moveTo>
                <a:cubicBezTo>
                  <a:pt x="1319254" y="682345"/>
                  <a:pt x="1317432" y="687811"/>
                  <a:pt x="1317432" y="689633"/>
                </a:cubicBezTo>
                <a:cubicBezTo>
                  <a:pt x="1321077" y="693278"/>
                  <a:pt x="1322899" y="685989"/>
                  <a:pt x="1322899" y="684167"/>
                </a:cubicBezTo>
                <a:close/>
                <a:moveTo>
                  <a:pt x="1315610" y="684167"/>
                </a:moveTo>
                <a:cubicBezTo>
                  <a:pt x="1315610" y="685989"/>
                  <a:pt x="1313788" y="684167"/>
                  <a:pt x="1311966" y="685989"/>
                </a:cubicBezTo>
                <a:cubicBezTo>
                  <a:pt x="1313788" y="687811"/>
                  <a:pt x="1311966" y="687811"/>
                  <a:pt x="1313788" y="689633"/>
                </a:cubicBezTo>
                <a:cubicBezTo>
                  <a:pt x="1315610" y="687811"/>
                  <a:pt x="1317432" y="685989"/>
                  <a:pt x="1315610" y="684167"/>
                </a:cubicBezTo>
                <a:close/>
                <a:moveTo>
                  <a:pt x="1264589" y="684167"/>
                </a:moveTo>
                <a:cubicBezTo>
                  <a:pt x="1264589" y="682345"/>
                  <a:pt x="1260945" y="685989"/>
                  <a:pt x="1262767" y="687811"/>
                </a:cubicBezTo>
                <a:cubicBezTo>
                  <a:pt x="1264589" y="685989"/>
                  <a:pt x="1264589" y="684167"/>
                  <a:pt x="1264589" y="684167"/>
                </a:cubicBezTo>
                <a:close/>
                <a:moveTo>
                  <a:pt x="1228146" y="684167"/>
                </a:moveTo>
                <a:cubicBezTo>
                  <a:pt x="1228146" y="685989"/>
                  <a:pt x="1226323" y="685989"/>
                  <a:pt x="1228146" y="687811"/>
                </a:cubicBezTo>
                <a:cubicBezTo>
                  <a:pt x="1228146" y="687811"/>
                  <a:pt x="1229969" y="685989"/>
                  <a:pt x="1229969" y="685989"/>
                </a:cubicBezTo>
                <a:cubicBezTo>
                  <a:pt x="1229969" y="684167"/>
                  <a:pt x="1228146" y="685989"/>
                  <a:pt x="1228146" y="684167"/>
                </a:cubicBezTo>
                <a:close/>
                <a:moveTo>
                  <a:pt x="1211747" y="684167"/>
                </a:moveTo>
                <a:cubicBezTo>
                  <a:pt x="1209925" y="682345"/>
                  <a:pt x="1206279" y="687811"/>
                  <a:pt x="1204457" y="689633"/>
                </a:cubicBezTo>
                <a:cubicBezTo>
                  <a:pt x="1208102" y="691455"/>
                  <a:pt x="1209925" y="685989"/>
                  <a:pt x="1211747" y="684167"/>
                </a:cubicBezTo>
                <a:close/>
                <a:moveTo>
                  <a:pt x="1102416" y="684167"/>
                </a:moveTo>
                <a:cubicBezTo>
                  <a:pt x="1095127" y="684167"/>
                  <a:pt x="1087838" y="691455"/>
                  <a:pt x="1087838" y="696922"/>
                </a:cubicBezTo>
                <a:cubicBezTo>
                  <a:pt x="1093305" y="696922"/>
                  <a:pt x="1100593" y="687811"/>
                  <a:pt x="1102416" y="684167"/>
                </a:cubicBezTo>
                <a:close/>
                <a:moveTo>
                  <a:pt x="1082373" y="684167"/>
                </a:moveTo>
                <a:cubicBezTo>
                  <a:pt x="1080549" y="685989"/>
                  <a:pt x="1076905" y="687811"/>
                  <a:pt x="1075083" y="689633"/>
                </a:cubicBezTo>
                <a:cubicBezTo>
                  <a:pt x="1076905" y="689633"/>
                  <a:pt x="1078727" y="695100"/>
                  <a:pt x="1082373" y="689633"/>
                </a:cubicBezTo>
                <a:cubicBezTo>
                  <a:pt x="1084194" y="689633"/>
                  <a:pt x="1086016" y="687811"/>
                  <a:pt x="1082373" y="684167"/>
                </a:cubicBezTo>
                <a:close/>
                <a:moveTo>
                  <a:pt x="1038639" y="684167"/>
                </a:moveTo>
                <a:cubicBezTo>
                  <a:pt x="1034995" y="682345"/>
                  <a:pt x="1033173" y="687811"/>
                  <a:pt x="1033173" y="691455"/>
                </a:cubicBezTo>
                <a:cubicBezTo>
                  <a:pt x="1034995" y="687811"/>
                  <a:pt x="1036818" y="685989"/>
                  <a:pt x="1038639" y="684167"/>
                </a:cubicBezTo>
                <a:close/>
                <a:moveTo>
                  <a:pt x="799935" y="684167"/>
                </a:moveTo>
                <a:cubicBezTo>
                  <a:pt x="799935" y="689633"/>
                  <a:pt x="805401" y="693278"/>
                  <a:pt x="809046" y="696922"/>
                </a:cubicBezTo>
                <a:cubicBezTo>
                  <a:pt x="810868" y="693278"/>
                  <a:pt x="809046" y="691455"/>
                  <a:pt x="810868" y="687811"/>
                </a:cubicBezTo>
                <a:cubicBezTo>
                  <a:pt x="805401" y="689633"/>
                  <a:pt x="803579" y="685989"/>
                  <a:pt x="799935" y="684167"/>
                </a:cubicBezTo>
                <a:close/>
                <a:moveTo>
                  <a:pt x="535719" y="684167"/>
                </a:moveTo>
                <a:lnTo>
                  <a:pt x="534922" y="688950"/>
                </a:lnTo>
                <a:lnTo>
                  <a:pt x="533897" y="689633"/>
                </a:lnTo>
                <a:cubicBezTo>
                  <a:pt x="535719" y="691455"/>
                  <a:pt x="537542" y="693278"/>
                  <a:pt x="533897" y="695100"/>
                </a:cubicBezTo>
                <a:lnTo>
                  <a:pt x="534922" y="688950"/>
                </a:lnTo>
                <a:lnTo>
                  <a:pt x="539364" y="685989"/>
                </a:lnTo>
                <a:cubicBezTo>
                  <a:pt x="537542" y="685989"/>
                  <a:pt x="535719" y="685989"/>
                  <a:pt x="535719" y="684167"/>
                </a:cubicBezTo>
                <a:close/>
                <a:moveTo>
                  <a:pt x="187684" y="684167"/>
                </a:moveTo>
                <a:cubicBezTo>
                  <a:pt x="185862" y="685989"/>
                  <a:pt x="191329" y="693278"/>
                  <a:pt x="193151" y="691455"/>
                </a:cubicBezTo>
                <a:cubicBezTo>
                  <a:pt x="191329" y="687811"/>
                  <a:pt x="189506" y="687811"/>
                  <a:pt x="187684" y="684167"/>
                </a:cubicBezTo>
                <a:close/>
                <a:moveTo>
                  <a:pt x="1446806" y="682345"/>
                </a:moveTo>
                <a:cubicBezTo>
                  <a:pt x="1432229" y="682345"/>
                  <a:pt x="1417652" y="687811"/>
                  <a:pt x="1403074" y="687811"/>
                </a:cubicBezTo>
                <a:cubicBezTo>
                  <a:pt x="1399430" y="689633"/>
                  <a:pt x="1397608" y="695100"/>
                  <a:pt x="1393963" y="695100"/>
                </a:cubicBezTo>
                <a:cubicBezTo>
                  <a:pt x="1393963" y="695100"/>
                  <a:pt x="1395787" y="695100"/>
                  <a:pt x="1395787" y="695100"/>
                </a:cubicBezTo>
                <a:cubicBezTo>
                  <a:pt x="1390319" y="706033"/>
                  <a:pt x="1381208" y="695100"/>
                  <a:pt x="1372097" y="700566"/>
                </a:cubicBezTo>
                <a:lnTo>
                  <a:pt x="1370908" y="706509"/>
                </a:lnTo>
                <a:lnTo>
                  <a:pt x="1344765" y="716966"/>
                </a:lnTo>
                <a:lnTo>
                  <a:pt x="1347982" y="717218"/>
                </a:lnTo>
                <a:lnTo>
                  <a:pt x="1342942" y="716966"/>
                </a:lnTo>
                <a:lnTo>
                  <a:pt x="1332008" y="719153"/>
                </a:lnTo>
                <a:lnTo>
                  <a:pt x="1324721" y="720610"/>
                </a:lnTo>
                <a:cubicBezTo>
                  <a:pt x="1322899" y="724254"/>
                  <a:pt x="1321077" y="722432"/>
                  <a:pt x="1317432" y="724254"/>
                </a:cubicBezTo>
                <a:cubicBezTo>
                  <a:pt x="1321077" y="726077"/>
                  <a:pt x="1322899" y="724254"/>
                  <a:pt x="1322899" y="727899"/>
                </a:cubicBezTo>
                <a:cubicBezTo>
                  <a:pt x="1328365" y="726077"/>
                  <a:pt x="1339299" y="731543"/>
                  <a:pt x="1341120" y="724254"/>
                </a:cubicBezTo>
                <a:cubicBezTo>
                  <a:pt x="1342942" y="724254"/>
                  <a:pt x="1341120" y="727899"/>
                  <a:pt x="1342942" y="727899"/>
                </a:cubicBezTo>
                <a:cubicBezTo>
                  <a:pt x="1344765" y="727899"/>
                  <a:pt x="1342942" y="726077"/>
                  <a:pt x="1344765" y="726077"/>
                </a:cubicBezTo>
                <a:cubicBezTo>
                  <a:pt x="1346587" y="731543"/>
                  <a:pt x="1357521" y="724254"/>
                  <a:pt x="1362987" y="726077"/>
                </a:cubicBezTo>
                <a:cubicBezTo>
                  <a:pt x="1364809" y="724254"/>
                  <a:pt x="1366632" y="724254"/>
                  <a:pt x="1370275" y="722432"/>
                </a:cubicBezTo>
                <a:cubicBezTo>
                  <a:pt x="1368453" y="721521"/>
                  <a:pt x="1368453" y="720610"/>
                  <a:pt x="1368908" y="719699"/>
                </a:cubicBezTo>
                <a:lnTo>
                  <a:pt x="1369725" y="718066"/>
                </a:lnTo>
                <a:lnTo>
                  <a:pt x="1376881" y="714005"/>
                </a:lnTo>
                <a:cubicBezTo>
                  <a:pt x="1378930" y="711955"/>
                  <a:pt x="1379386" y="709677"/>
                  <a:pt x="1375743" y="707855"/>
                </a:cubicBezTo>
                <a:cubicBezTo>
                  <a:pt x="1377564" y="706033"/>
                  <a:pt x="1381208" y="709677"/>
                  <a:pt x="1381208" y="711499"/>
                </a:cubicBezTo>
                <a:cubicBezTo>
                  <a:pt x="1383030" y="711499"/>
                  <a:pt x="1386676" y="711499"/>
                  <a:pt x="1388497" y="709677"/>
                </a:cubicBezTo>
                <a:cubicBezTo>
                  <a:pt x="1390319" y="711499"/>
                  <a:pt x="1386676" y="713321"/>
                  <a:pt x="1390319" y="713321"/>
                </a:cubicBezTo>
                <a:cubicBezTo>
                  <a:pt x="1379386" y="715144"/>
                  <a:pt x="1373920" y="724254"/>
                  <a:pt x="1377564" y="733365"/>
                </a:cubicBezTo>
                <a:cubicBezTo>
                  <a:pt x="1377564" y="733365"/>
                  <a:pt x="1379386" y="731543"/>
                  <a:pt x="1379386" y="731543"/>
                </a:cubicBezTo>
                <a:cubicBezTo>
                  <a:pt x="1379386" y="733365"/>
                  <a:pt x="1377564" y="733365"/>
                  <a:pt x="1377564" y="735188"/>
                </a:cubicBezTo>
                <a:cubicBezTo>
                  <a:pt x="1383030" y="740654"/>
                  <a:pt x="1386676" y="737010"/>
                  <a:pt x="1392141" y="735188"/>
                </a:cubicBezTo>
                <a:cubicBezTo>
                  <a:pt x="1393963" y="733365"/>
                  <a:pt x="1390319" y="733365"/>
                  <a:pt x="1392141" y="731543"/>
                </a:cubicBezTo>
                <a:cubicBezTo>
                  <a:pt x="1393963" y="731543"/>
                  <a:pt x="1395787" y="733365"/>
                  <a:pt x="1399430" y="731543"/>
                </a:cubicBezTo>
                <a:cubicBezTo>
                  <a:pt x="1406719" y="727899"/>
                  <a:pt x="1412185" y="726077"/>
                  <a:pt x="1417652" y="718788"/>
                </a:cubicBezTo>
                <a:cubicBezTo>
                  <a:pt x="1417652" y="715144"/>
                  <a:pt x="1415829" y="711499"/>
                  <a:pt x="1412185" y="707855"/>
                </a:cubicBezTo>
                <a:cubicBezTo>
                  <a:pt x="1414007" y="706033"/>
                  <a:pt x="1415829" y="711499"/>
                  <a:pt x="1417652" y="711499"/>
                </a:cubicBezTo>
                <a:cubicBezTo>
                  <a:pt x="1421296" y="709677"/>
                  <a:pt x="1419474" y="706033"/>
                  <a:pt x="1419474" y="704211"/>
                </a:cubicBezTo>
                <a:cubicBezTo>
                  <a:pt x="1421296" y="706033"/>
                  <a:pt x="1423118" y="707855"/>
                  <a:pt x="1426763" y="707855"/>
                </a:cubicBezTo>
                <a:cubicBezTo>
                  <a:pt x="1426763" y="709677"/>
                  <a:pt x="1426763" y="709677"/>
                  <a:pt x="1426763" y="711499"/>
                </a:cubicBezTo>
                <a:cubicBezTo>
                  <a:pt x="1426763" y="711499"/>
                  <a:pt x="1426763" y="707855"/>
                  <a:pt x="1424940" y="707855"/>
                </a:cubicBezTo>
                <a:cubicBezTo>
                  <a:pt x="1421296" y="711499"/>
                  <a:pt x="1419474" y="716966"/>
                  <a:pt x="1421296" y="720610"/>
                </a:cubicBezTo>
                <a:cubicBezTo>
                  <a:pt x="1424940" y="716966"/>
                  <a:pt x="1424940" y="716966"/>
                  <a:pt x="1426763" y="713321"/>
                </a:cubicBezTo>
                <a:cubicBezTo>
                  <a:pt x="1428585" y="713321"/>
                  <a:pt x="1430407" y="715144"/>
                  <a:pt x="1432229" y="713321"/>
                </a:cubicBezTo>
                <a:cubicBezTo>
                  <a:pt x="1430407" y="715144"/>
                  <a:pt x="1424940" y="718788"/>
                  <a:pt x="1421296" y="722432"/>
                </a:cubicBezTo>
                <a:cubicBezTo>
                  <a:pt x="1415829" y="726077"/>
                  <a:pt x="1410363" y="731543"/>
                  <a:pt x="1406719" y="737010"/>
                </a:cubicBezTo>
                <a:cubicBezTo>
                  <a:pt x="1412185" y="733365"/>
                  <a:pt x="1421296" y="727899"/>
                  <a:pt x="1421296" y="722432"/>
                </a:cubicBezTo>
                <a:cubicBezTo>
                  <a:pt x="1423118" y="724254"/>
                  <a:pt x="1421296" y="726077"/>
                  <a:pt x="1423118" y="727899"/>
                </a:cubicBezTo>
                <a:cubicBezTo>
                  <a:pt x="1432229" y="724254"/>
                  <a:pt x="1437696" y="715144"/>
                  <a:pt x="1437696" y="707855"/>
                </a:cubicBezTo>
                <a:cubicBezTo>
                  <a:pt x="1444984" y="707855"/>
                  <a:pt x="1441340" y="696922"/>
                  <a:pt x="1439518" y="691455"/>
                </a:cubicBezTo>
                <a:cubicBezTo>
                  <a:pt x="1443162" y="691455"/>
                  <a:pt x="1439518" y="696922"/>
                  <a:pt x="1444984" y="700566"/>
                </a:cubicBezTo>
                <a:cubicBezTo>
                  <a:pt x="1448629" y="695100"/>
                  <a:pt x="1450451" y="689633"/>
                  <a:pt x="1446806" y="682345"/>
                </a:cubicBezTo>
                <a:close/>
                <a:moveTo>
                  <a:pt x="1406719" y="682345"/>
                </a:moveTo>
                <a:cubicBezTo>
                  <a:pt x="1399430" y="684167"/>
                  <a:pt x="1393963" y="691455"/>
                  <a:pt x="1388497" y="695100"/>
                </a:cubicBezTo>
                <a:cubicBezTo>
                  <a:pt x="1393963" y="695100"/>
                  <a:pt x="1403074" y="689633"/>
                  <a:pt x="1406719" y="682345"/>
                </a:cubicBezTo>
                <a:close/>
                <a:moveTo>
                  <a:pt x="1377564" y="682345"/>
                </a:moveTo>
                <a:cubicBezTo>
                  <a:pt x="1375743" y="680522"/>
                  <a:pt x="1373920" y="682345"/>
                  <a:pt x="1370275" y="684167"/>
                </a:cubicBezTo>
                <a:cubicBezTo>
                  <a:pt x="1372097" y="687811"/>
                  <a:pt x="1377564" y="684167"/>
                  <a:pt x="1377564" y="682345"/>
                </a:cubicBezTo>
                <a:close/>
                <a:moveTo>
                  <a:pt x="1293744" y="682345"/>
                </a:moveTo>
                <a:cubicBezTo>
                  <a:pt x="1291922" y="682345"/>
                  <a:pt x="1291922" y="684167"/>
                  <a:pt x="1290100" y="684167"/>
                </a:cubicBezTo>
                <a:cubicBezTo>
                  <a:pt x="1290100" y="685989"/>
                  <a:pt x="1290100" y="687811"/>
                  <a:pt x="1290100" y="689633"/>
                </a:cubicBezTo>
                <a:cubicBezTo>
                  <a:pt x="1293744" y="689633"/>
                  <a:pt x="1295566" y="684167"/>
                  <a:pt x="1293744" y="682345"/>
                </a:cubicBezTo>
                <a:close/>
                <a:moveTo>
                  <a:pt x="1248189" y="682345"/>
                </a:moveTo>
                <a:cubicBezTo>
                  <a:pt x="1248189" y="680522"/>
                  <a:pt x="1242723" y="684167"/>
                  <a:pt x="1244545" y="685989"/>
                </a:cubicBezTo>
                <a:cubicBezTo>
                  <a:pt x="1246367" y="684167"/>
                  <a:pt x="1246367" y="682345"/>
                  <a:pt x="1248189" y="682345"/>
                </a:cubicBezTo>
                <a:close/>
                <a:moveTo>
                  <a:pt x="1106060" y="682345"/>
                </a:moveTo>
                <a:cubicBezTo>
                  <a:pt x="1102416" y="684167"/>
                  <a:pt x="1102416" y="687811"/>
                  <a:pt x="1100593" y="689633"/>
                </a:cubicBezTo>
                <a:cubicBezTo>
                  <a:pt x="1102416" y="689633"/>
                  <a:pt x="1107882" y="684167"/>
                  <a:pt x="1106060" y="682345"/>
                </a:cubicBezTo>
                <a:close/>
                <a:moveTo>
                  <a:pt x="1069616" y="682345"/>
                </a:moveTo>
                <a:cubicBezTo>
                  <a:pt x="1067794" y="682345"/>
                  <a:pt x="1062328" y="687811"/>
                  <a:pt x="1064151" y="687811"/>
                </a:cubicBezTo>
                <a:cubicBezTo>
                  <a:pt x="1065972" y="685989"/>
                  <a:pt x="1069616" y="684167"/>
                  <a:pt x="1069616" y="682345"/>
                </a:cubicBezTo>
                <a:close/>
                <a:moveTo>
                  <a:pt x="1000374" y="682345"/>
                </a:moveTo>
                <a:lnTo>
                  <a:pt x="1000374" y="685989"/>
                </a:lnTo>
                <a:lnTo>
                  <a:pt x="999332" y="683907"/>
                </a:lnTo>
                <a:close/>
                <a:moveTo>
                  <a:pt x="967575" y="682345"/>
                </a:moveTo>
                <a:cubicBezTo>
                  <a:pt x="963020" y="679612"/>
                  <a:pt x="958464" y="680067"/>
                  <a:pt x="955730" y="682573"/>
                </a:cubicBezTo>
                <a:lnTo>
                  <a:pt x="955150" y="690556"/>
                </a:lnTo>
                <a:lnTo>
                  <a:pt x="952997" y="689633"/>
                </a:lnTo>
                <a:lnTo>
                  <a:pt x="955139" y="690705"/>
                </a:lnTo>
                <a:lnTo>
                  <a:pt x="954819" y="695100"/>
                </a:lnTo>
                <a:cubicBezTo>
                  <a:pt x="956642" y="696922"/>
                  <a:pt x="960286" y="696922"/>
                  <a:pt x="963930" y="695100"/>
                </a:cubicBezTo>
                <a:lnTo>
                  <a:pt x="955139" y="690705"/>
                </a:lnTo>
                <a:lnTo>
                  <a:pt x="955150" y="690556"/>
                </a:lnTo>
                <a:lnTo>
                  <a:pt x="965753" y="695100"/>
                </a:lnTo>
                <a:cubicBezTo>
                  <a:pt x="965753" y="693278"/>
                  <a:pt x="967575" y="689633"/>
                  <a:pt x="965753" y="685989"/>
                </a:cubicBezTo>
                <a:cubicBezTo>
                  <a:pt x="965753" y="687811"/>
                  <a:pt x="965753" y="687811"/>
                  <a:pt x="967575" y="689633"/>
                </a:cubicBezTo>
                <a:cubicBezTo>
                  <a:pt x="969397" y="685989"/>
                  <a:pt x="969397" y="684167"/>
                  <a:pt x="967575" y="682345"/>
                </a:cubicBezTo>
                <a:close/>
                <a:moveTo>
                  <a:pt x="892866" y="682345"/>
                </a:moveTo>
                <a:cubicBezTo>
                  <a:pt x="889222" y="684167"/>
                  <a:pt x="889222" y="685989"/>
                  <a:pt x="887399" y="687811"/>
                </a:cubicBezTo>
                <a:cubicBezTo>
                  <a:pt x="889222" y="689633"/>
                  <a:pt x="889222" y="687811"/>
                  <a:pt x="891043" y="689633"/>
                </a:cubicBezTo>
                <a:cubicBezTo>
                  <a:pt x="894688" y="685989"/>
                  <a:pt x="894688" y="684167"/>
                  <a:pt x="892866" y="682345"/>
                </a:cubicBezTo>
                <a:close/>
                <a:moveTo>
                  <a:pt x="863711" y="682345"/>
                </a:moveTo>
                <a:cubicBezTo>
                  <a:pt x="860066" y="682345"/>
                  <a:pt x="860066" y="685989"/>
                  <a:pt x="858244" y="685989"/>
                </a:cubicBezTo>
                <a:cubicBezTo>
                  <a:pt x="860066" y="687811"/>
                  <a:pt x="860066" y="687811"/>
                  <a:pt x="861889" y="689633"/>
                </a:cubicBezTo>
                <a:cubicBezTo>
                  <a:pt x="863711" y="687811"/>
                  <a:pt x="865533" y="687811"/>
                  <a:pt x="865533" y="685989"/>
                </a:cubicBezTo>
                <a:cubicBezTo>
                  <a:pt x="860066" y="684167"/>
                  <a:pt x="861889" y="684167"/>
                  <a:pt x="863711" y="682345"/>
                </a:cubicBezTo>
                <a:close/>
                <a:moveTo>
                  <a:pt x="697893" y="682345"/>
                </a:moveTo>
                <a:cubicBezTo>
                  <a:pt x="694249" y="685989"/>
                  <a:pt x="697893" y="691455"/>
                  <a:pt x="699715" y="695100"/>
                </a:cubicBezTo>
                <a:cubicBezTo>
                  <a:pt x="703359" y="691455"/>
                  <a:pt x="705182" y="687811"/>
                  <a:pt x="710648" y="684167"/>
                </a:cubicBezTo>
                <a:cubicBezTo>
                  <a:pt x="707004" y="682345"/>
                  <a:pt x="701537" y="684167"/>
                  <a:pt x="697893" y="682345"/>
                </a:cubicBezTo>
                <a:close/>
                <a:moveTo>
                  <a:pt x="977633" y="680547"/>
                </a:moveTo>
                <a:lnTo>
                  <a:pt x="982184" y="680667"/>
                </a:lnTo>
                <a:lnTo>
                  <a:pt x="980330" y="682345"/>
                </a:lnTo>
                <a:close/>
                <a:moveTo>
                  <a:pt x="1310143" y="680522"/>
                </a:moveTo>
                <a:cubicBezTo>
                  <a:pt x="1306499" y="680522"/>
                  <a:pt x="1306499" y="684167"/>
                  <a:pt x="1304677" y="685989"/>
                </a:cubicBezTo>
                <a:cubicBezTo>
                  <a:pt x="1308321" y="687811"/>
                  <a:pt x="1308321" y="682345"/>
                  <a:pt x="1310143" y="680522"/>
                </a:cubicBezTo>
                <a:close/>
                <a:moveTo>
                  <a:pt x="1286455" y="680522"/>
                </a:moveTo>
                <a:cubicBezTo>
                  <a:pt x="1282810" y="682345"/>
                  <a:pt x="1279166" y="682801"/>
                  <a:pt x="1275522" y="683712"/>
                </a:cubicBezTo>
                <a:lnTo>
                  <a:pt x="1269931" y="686740"/>
                </a:lnTo>
                <a:lnTo>
                  <a:pt x="1270056" y="685989"/>
                </a:lnTo>
                <a:cubicBezTo>
                  <a:pt x="1268233" y="685989"/>
                  <a:pt x="1266411" y="689633"/>
                  <a:pt x="1264589" y="689633"/>
                </a:cubicBezTo>
                <a:lnTo>
                  <a:pt x="1269931" y="686740"/>
                </a:lnTo>
                <a:lnTo>
                  <a:pt x="1269144" y="691456"/>
                </a:lnTo>
                <a:cubicBezTo>
                  <a:pt x="1268233" y="693278"/>
                  <a:pt x="1267322" y="695100"/>
                  <a:pt x="1268233" y="696922"/>
                </a:cubicBezTo>
                <a:cubicBezTo>
                  <a:pt x="1277344" y="693278"/>
                  <a:pt x="1286455" y="685989"/>
                  <a:pt x="1286455" y="680522"/>
                </a:cubicBezTo>
                <a:close/>
                <a:moveTo>
                  <a:pt x="1186236" y="680522"/>
                </a:moveTo>
                <a:cubicBezTo>
                  <a:pt x="1180769" y="680522"/>
                  <a:pt x="1178947" y="684167"/>
                  <a:pt x="1177125" y="689633"/>
                </a:cubicBezTo>
                <a:cubicBezTo>
                  <a:pt x="1180769" y="689633"/>
                  <a:pt x="1182592" y="684167"/>
                  <a:pt x="1184414" y="682345"/>
                </a:cubicBezTo>
                <a:cubicBezTo>
                  <a:pt x="1186236" y="684167"/>
                  <a:pt x="1182592" y="685989"/>
                  <a:pt x="1180769" y="687811"/>
                </a:cubicBezTo>
                <a:cubicBezTo>
                  <a:pt x="1182592" y="689633"/>
                  <a:pt x="1184414" y="687811"/>
                  <a:pt x="1188058" y="685989"/>
                </a:cubicBezTo>
                <a:cubicBezTo>
                  <a:pt x="1186236" y="684167"/>
                  <a:pt x="1188058" y="682345"/>
                  <a:pt x="1186236" y="680522"/>
                </a:cubicBezTo>
                <a:close/>
                <a:moveTo>
                  <a:pt x="1140681" y="680522"/>
                </a:moveTo>
                <a:cubicBezTo>
                  <a:pt x="1135215" y="678700"/>
                  <a:pt x="1137037" y="684167"/>
                  <a:pt x="1133393" y="684167"/>
                </a:cubicBezTo>
                <a:cubicBezTo>
                  <a:pt x="1133393" y="685989"/>
                  <a:pt x="1133393" y="685989"/>
                  <a:pt x="1135215" y="687811"/>
                </a:cubicBezTo>
                <a:cubicBezTo>
                  <a:pt x="1138859" y="684167"/>
                  <a:pt x="1137037" y="682345"/>
                  <a:pt x="1140681" y="680522"/>
                </a:cubicBezTo>
                <a:close/>
                <a:moveTo>
                  <a:pt x="1018596" y="680522"/>
                </a:moveTo>
                <a:cubicBezTo>
                  <a:pt x="1016774" y="684167"/>
                  <a:pt x="1009485" y="687811"/>
                  <a:pt x="1005840" y="691455"/>
                </a:cubicBezTo>
                <a:cubicBezTo>
                  <a:pt x="1005840" y="691455"/>
                  <a:pt x="1014951" y="684167"/>
                  <a:pt x="1018596" y="680522"/>
                </a:cubicBezTo>
                <a:close/>
                <a:moveTo>
                  <a:pt x="1005840" y="680522"/>
                </a:moveTo>
                <a:lnTo>
                  <a:pt x="1005785" y="680742"/>
                </a:lnTo>
                <a:lnTo>
                  <a:pt x="1005203" y="681307"/>
                </a:lnTo>
                <a:close/>
                <a:moveTo>
                  <a:pt x="993085" y="680522"/>
                </a:moveTo>
                <a:cubicBezTo>
                  <a:pt x="991263" y="682345"/>
                  <a:pt x="993085" y="687811"/>
                  <a:pt x="996729" y="684167"/>
                </a:cubicBezTo>
                <a:cubicBezTo>
                  <a:pt x="996729" y="682345"/>
                  <a:pt x="994907" y="680522"/>
                  <a:pt x="993085" y="680522"/>
                </a:cubicBezTo>
                <a:close/>
                <a:moveTo>
                  <a:pt x="936598" y="680522"/>
                </a:moveTo>
                <a:lnTo>
                  <a:pt x="937509" y="684167"/>
                </a:lnTo>
                <a:lnTo>
                  <a:pt x="937053" y="685078"/>
                </a:lnTo>
                <a:cubicBezTo>
                  <a:pt x="937965" y="685989"/>
                  <a:pt x="939331" y="686900"/>
                  <a:pt x="938420" y="687811"/>
                </a:cubicBezTo>
                <a:lnTo>
                  <a:pt x="937509" y="684167"/>
                </a:lnTo>
                <a:lnTo>
                  <a:pt x="938420" y="682345"/>
                </a:lnTo>
                <a:cubicBezTo>
                  <a:pt x="936598" y="682345"/>
                  <a:pt x="934777" y="682345"/>
                  <a:pt x="936598" y="680522"/>
                </a:cubicBezTo>
                <a:close/>
                <a:moveTo>
                  <a:pt x="615895" y="680522"/>
                </a:moveTo>
                <a:cubicBezTo>
                  <a:pt x="603140" y="684167"/>
                  <a:pt x="604963" y="696922"/>
                  <a:pt x="599496" y="704211"/>
                </a:cubicBezTo>
                <a:cubicBezTo>
                  <a:pt x="604963" y="700566"/>
                  <a:pt x="608606" y="693278"/>
                  <a:pt x="608606" y="687811"/>
                </a:cubicBezTo>
                <a:cubicBezTo>
                  <a:pt x="614074" y="687811"/>
                  <a:pt x="614074" y="684167"/>
                  <a:pt x="615895" y="680522"/>
                </a:cubicBezTo>
                <a:close/>
                <a:moveTo>
                  <a:pt x="499276" y="680522"/>
                </a:moveTo>
                <a:cubicBezTo>
                  <a:pt x="495632" y="678700"/>
                  <a:pt x="495632" y="684167"/>
                  <a:pt x="499276" y="687811"/>
                </a:cubicBezTo>
                <a:cubicBezTo>
                  <a:pt x="502920" y="685989"/>
                  <a:pt x="499276" y="682345"/>
                  <a:pt x="499276" y="680522"/>
                </a:cubicBezTo>
                <a:close/>
                <a:moveTo>
                  <a:pt x="433678" y="680522"/>
                </a:moveTo>
                <a:cubicBezTo>
                  <a:pt x="431856" y="682345"/>
                  <a:pt x="431856" y="685989"/>
                  <a:pt x="428211" y="687811"/>
                </a:cubicBezTo>
                <a:cubicBezTo>
                  <a:pt x="431856" y="693278"/>
                  <a:pt x="435500" y="691455"/>
                  <a:pt x="439145" y="695100"/>
                </a:cubicBezTo>
                <a:lnTo>
                  <a:pt x="440216" y="692528"/>
                </a:lnTo>
                <a:lnTo>
                  <a:pt x="440966" y="693278"/>
                </a:lnTo>
                <a:cubicBezTo>
                  <a:pt x="441877" y="695100"/>
                  <a:pt x="442788" y="696922"/>
                  <a:pt x="444611" y="696922"/>
                </a:cubicBezTo>
                <a:cubicBezTo>
                  <a:pt x="448256" y="691455"/>
                  <a:pt x="435500" y="689633"/>
                  <a:pt x="439145" y="684167"/>
                </a:cubicBezTo>
                <a:cubicBezTo>
                  <a:pt x="437322" y="682345"/>
                  <a:pt x="435500" y="684167"/>
                  <a:pt x="433678" y="680522"/>
                </a:cubicBezTo>
                <a:close/>
                <a:moveTo>
                  <a:pt x="386301" y="680522"/>
                </a:moveTo>
                <a:cubicBezTo>
                  <a:pt x="384479" y="682345"/>
                  <a:pt x="388123" y="684167"/>
                  <a:pt x="389946" y="685989"/>
                </a:cubicBezTo>
                <a:cubicBezTo>
                  <a:pt x="393590" y="684167"/>
                  <a:pt x="388123" y="680522"/>
                  <a:pt x="386301" y="680522"/>
                </a:cubicBezTo>
                <a:close/>
                <a:moveTo>
                  <a:pt x="327993" y="680522"/>
                </a:moveTo>
                <a:cubicBezTo>
                  <a:pt x="326169" y="689633"/>
                  <a:pt x="340747" y="689633"/>
                  <a:pt x="342569" y="693278"/>
                </a:cubicBezTo>
                <a:cubicBezTo>
                  <a:pt x="344391" y="685989"/>
                  <a:pt x="333458" y="684167"/>
                  <a:pt x="327993" y="680522"/>
                </a:cubicBezTo>
                <a:close/>
                <a:moveTo>
                  <a:pt x="218661" y="680522"/>
                </a:moveTo>
                <a:cubicBezTo>
                  <a:pt x="220483" y="684167"/>
                  <a:pt x="225950" y="689633"/>
                  <a:pt x="229594" y="695100"/>
                </a:cubicBezTo>
                <a:lnTo>
                  <a:pt x="227435" y="687541"/>
                </a:lnTo>
                <a:lnTo>
                  <a:pt x="227772" y="687811"/>
                </a:lnTo>
                <a:lnTo>
                  <a:pt x="227100" y="686372"/>
                </a:lnTo>
                <a:lnTo>
                  <a:pt x="225950" y="682345"/>
                </a:lnTo>
                <a:cubicBezTo>
                  <a:pt x="225039" y="683257"/>
                  <a:pt x="225494" y="683712"/>
                  <a:pt x="226178" y="684395"/>
                </a:cubicBezTo>
                <a:lnTo>
                  <a:pt x="227100" y="686372"/>
                </a:lnTo>
                <a:lnTo>
                  <a:pt x="227435" y="687541"/>
                </a:lnTo>
                <a:close/>
                <a:moveTo>
                  <a:pt x="189506" y="680522"/>
                </a:moveTo>
                <a:cubicBezTo>
                  <a:pt x="189506" y="687811"/>
                  <a:pt x="200439" y="696922"/>
                  <a:pt x="205906" y="700566"/>
                </a:cubicBezTo>
                <a:cubicBezTo>
                  <a:pt x="207728" y="698744"/>
                  <a:pt x="205906" y="695100"/>
                  <a:pt x="205906" y="693278"/>
                </a:cubicBezTo>
                <a:cubicBezTo>
                  <a:pt x="202262" y="695100"/>
                  <a:pt x="194973" y="684167"/>
                  <a:pt x="189506" y="680522"/>
                </a:cubicBezTo>
                <a:close/>
                <a:moveTo>
                  <a:pt x="169462" y="680522"/>
                </a:moveTo>
                <a:cubicBezTo>
                  <a:pt x="171285" y="682345"/>
                  <a:pt x="173107" y="685989"/>
                  <a:pt x="173107" y="687811"/>
                </a:cubicBezTo>
                <a:cubicBezTo>
                  <a:pt x="173107" y="687811"/>
                  <a:pt x="173107" y="685989"/>
                  <a:pt x="173107" y="685989"/>
                </a:cubicBezTo>
                <a:cubicBezTo>
                  <a:pt x="174929" y="689633"/>
                  <a:pt x="173107" y="691455"/>
                  <a:pt x="174929" y="693278"/>
                </a:cubicBezTo>
                <a:cubicBezTo>
                  <a:pt x="178573" y="682345"/>
                  <a:pt x="171285" y="682345"/>
                  <a:pt x="169462" y="680522"/>
                </a:cubicBezTo>
                <a:close/>
                <a:moveTo>
                  <a:pt x="976640" y="679886"/>
                </a:moveTo>
                <a:lnTo>
                  <a:pt x="977633" y="680547"/>
                </a:lnTo>
                <a:lnTo>
                  <a:pt x="976686" y="680522"/>
                </a:lnTo>
                <a:close/>
                <a:moveTo>
                  <a:pt x="2920945" y="678700"/>
                </a:moveTo>
                <a:cubicBezTo>
                  <a:pt x="2922767" y="680522"/>
                  <a:pt x="2922767" y="684167"/>
                  <a:pt x="2924590" y="685989"/>
                </a:cubicBezTo>
                <a:cubicBezTo>
                  <a:pt x="2924590" y="682345"/>
                  <a:pt x="2930056" y="684167"/>
                  <a:pt x="2930056" y="680522"/>
                </a:cubicBezTo>
                <a:cubicBezTo>
                  <a:pt x="2926412" y="680522"/>
                  <a:pt x="2924590" y="678700"/>
                  <a:pt x="2920945" y="678700"/>
                </a:cubicBezTo>
                <a:close/>
                <a:moveTo>
                  <a:pt x="2835303" y="678700"/>
                </a:moveTo>
                <a:cubicBezTo>
                  <a:pt x="2829837" y="678700"/>
                  <a:pt x="2835303" y="689633"/>
                  <a:pt x="2835303" y="693278"/>
                </a:cubicBezTo>
                <a:cubicBezTo>
                  <a:pt x="2840769" y="693278"/>
                  <a:pt x="2840769" y="689633"/>
                  <a:pt x="2842592" y="687811"/>
                </a:cubicBezTo>
                <a:cubicBezTo>
                  <a:pt x="2842592" y="682345"/>
                  <a:pt x="2837125" y="682345"/>
                  <a:pt x="2835303" y="678700"/>
                </a:cubicBezTo>
                <a:close/>
                <a:moveTo>
                  <a:pt x="1448629" y="678700"/>
                </a:moveTo>
                <a:cubicBezTo>
                  <a:pt x="1446806" y="680522"/>
                  <a:pt x="1446806" y="678700"/>
                  <a:pt x="1444984" y="680522"/>
                </a:cubicBezTo>
                <a:cubicBezTo>
                  <a:pt x="1446806" y="684167"/>
                  <a:pt x="1450451" y="682345"/>
                  <a:pt x="1450451" y="680522"/>
                </a:cubicBezTo>
                <a:cubicBezTo>
                  <a:pt x="1448629" y="680522"/>
                  <a:pt x="1448629" y="680522"/>
                  <a:pt x="1448629" y="678700"/>
                </a:cubicBezTo>
                <a:close/>
                <a:moveTo>
                  <a:pt x="1403074" y="678700"/>
                </a:moveTo>
                <a:cubicBezTo>
                  <a:pt x="1397608" y="676878"/>
                  <a:pt x="1390319" y="687811"/>
                  <a:pt x="1384854" y="691455"/>
                </a:cubicBezTo>
                <a:cubicBezTo>
                  <a:pt x="1390319" y="689633"/>
                  <a:pt x="1399430" y="682345"/>
                  <a:pt x="1403074" y="678700"/>
                </a:cubicBezTo>
                <a:close/>
                <a:moveTo>
                  <a:pt x="1362987" y="678700"/>
                </a:moveTo>
                <a:cubicBezTo>
                  <a:pt x="1359342" y="676878"/>
                  <a:pt x="1353876" y="680522"/>
                  <a:pt x="1350231" y="685989"/>
                </a:cubicBezTo>
                <a:cubicBezTo>
                  <a:pt x="1355698" y="685989"/>
                  <a:pt x="1362987" y="684167"/>
                  <a:pt x="1362987" y="678700"/>
                </a:cubicBezTo>
                <a:close/>
                <a:moveTo>
                  <a:pt x="1178947" y="678700"/>
                </a:moveTo>
                <a:cubicBezTo>
                  <a:pt x="1177125" y="676878"/>
                  <a:pt x="1175303" y="680522"/>
                  <a:pt x="1171658" y="682345"/>
                </a:cubicBezTo>
                <a:cubicBezTo>
                  <a:pt x="1175303" y="685989"/>
                  <a:pt x="1177125" y="680522"/>
                  <a:pt x="1178947" y="678700"/>
                </a:cubicBezTo>
                <a:close/>
                <a:moveTo>
                  <a:pt x="1038639" y="678700"/>
                </a:moveTo>
                <a:cubicBezTo>
                  <a:pt x="1038639" y="680522"/>
                  <a:pt x="1036818" y="680522"/>
                  <a:pt x="1034995" y="682345"/>
                </a:cubicBezTo>
                <a:cubicBezTo>
                  <a:pt x="1036818" y="684167"/>
                  <a:pt x="1042284" y="678700"/>
                  <a:pt x="1038639" y="678700"/>
                </a:cubicBezTo>
                <a:close/>
                <a:moveTo>
                  <a:pt x="829089" y="678700"/>
                </a:moveTo>
                <a:cubicBezTo>
                  <a:pt x="827267" y="680522"/>
                  <a:pt x="829089" y="682345"/>
                  <a:pt x="830912" y="684167"/>
                </a:cubicBezTo>
                <a:cubicBezTo>
                  <a:pt x="832734" y="682345"/>
                  <a:pt x="832734" y="680522"/>
                  <a:pt x="834556" y="678700"/>
                </a:cubicBezTo>
                <a:cubicBezTo>
                  <a:pt x="832734" y="678700"/>
                  <a:pt x="830912" y="678700"/>
                  <a:pt x="829089" y="678700"/>
                </a:cubicBezTo>
                <a:close/>
                <a:moveTo>
                  <a:pt x="681493" y="678700"/>
                </a:moveTo>
                <a:cubicBezTo>
                  <a:pt x="679671" y="682345"/>
                  <a:pt x="685138" y="687811"/>
                  <a:pt x="688782" y="689633"/>
                </a:cubicBezTo>
                <a:cubicBezTo>
                  <a:pt x="690604" y="687811"/>
                  <a:pt x="688782" y="684167"/>
                  <a:pt x="690604" y="682345"/>
                </a:cubicBezTo>
                <a:cubicBezTo>
                  <a:pt x="688782" y="680522"/>
                  <a:pt x="683316" y="682345"/>
                  <a:pt x="681493" y="678700"/>
                </a:cubicBezTo>
                <a:close/>
                <a:moveTo>
                  <a:pt x="573985" y="678700"/>
                </a:moveTo>
                <a:cubicBezTo>
                  <a:pt x="568519" y="685989"/>
                  <a:pt x="575808" y="687811"/>
                  <a:pt x="579452" y="695100"/>
                </a:cubicBezTo>
                <a:cubicBezTo>
                  <a:pt x="581274" y="689633"/>
                  <a:pt x="572163" y="685989"/>
                  <a:pt x="573985" y="678700"/>
                </a:cubicBezTo>
                <a:close/>
                <a:moveTo>
                  <a:pt x="512031" y="678700"/>
                </a:moveTo>
                <a:cubicBezTo>
                  <a:pt x="513853" y="682345"/>
                  <a:pt x="513853" y="689633"/>
                  <a:pt x="519320" y="693278"/>
                </a:cubicBezTo>
                <a:cubicBezTo>
                  <a:pt x="522964" y="698744"/>
                  <a:pt x="515676" y="687811"/>
                  <a:pt x="521142" y="687811"/>
                </a:cubicBezTo>
                <a:cubicBezTo>
                  <a:pt x="521142" y="685989"/>
                  <a:pt x="515676" y="678700"/>
                  <a:pt x="512031" y="678700"/>
                </a:cubicBezTo>
                <a:close/>
                <a:moveTo>
                  <a:pt x="470121" y="678700"/>
                </a:moveTo>
                <a:cubicBezTo>
                  <a:pt x="468299" y="682345"/>
                  <a:pt x="471943" y="685989"/>
                  <a:pt x="471943" y="687811"/>
                </a:cubicBezTo>
                <a:cubicBezTo>
                  <a:pt x="475589" y="687811"/>
                  <a:pt x="473766" y="685989"/>
                  <a:pt x="475589" y="685989"/>
                </a:cubicBezTo>
                <a:cubicBezTo>
                  <a:pt x="473766" y="682345"/>
                  <a:pt x="471943" y="680522"/>
                  <a:pt x="470121" y="678700"/>
                </a:cubicBezTo>
                <a:close/>
                <a:moveTo>
                  <a:pt x="415456" y="678700"/>
                </a:moveTo>
                <a:cubicBezTo>
                  <a:pt x="417278" y="684167"/>
                  <a:pt x="419100" y="680522"/>
                  <a:pt x="420923" y="678700"/>
                </a:cubicBezTo>
                <a:cubicBezTo>
                  <a:pt x="419100" y="678700"/>
                  <a:pt x="417278" y="678700"/>
                  <a:pt x="415456" y="678700"/>
                </a:cubicBezTo>
                <a:close/>
                <a:moveTo>
                  <a:pt x="355324" y="678700"/>
                </a:moveTo>
                <a:cubicBezTo>
                  <a:pt x="353502" y="680522"/>
                  <a:pt x="360791" y="691455"/>
                  <a:pt x="366257" y="689633"/>
                </a:cubicBezTo>
                <a:cubicBezTo>
                  <a:pt x="362613" y="685989"/>
                  <a:pt x="358969" y="684167"/>
                  <a:pt x="355324" y="678700"/>
                </a:cubicBezTo>
                <a:close/>
                <a:moveTo>
                  <a:pt x="976550" y="678627"/>
                </a:moveTo>
                <a:lnTo>
                  <a:pt x="976640" y="679886"/>
                </a:lnTo>
                <a:lnTo>
                  <a:pt x="974863" y="678700"/>
                </a:lnTo>
                <a:close/>
                <a:moveTo>
                  <a:pt x="3663026" y="678473"/>
                </a:moveTo>
                <a:cubicBezTo>
                  <a:pt x="3668492" y="680067"/>
                  <a:pt x="3673503" y="683256"/>
                  <a:pt x="3677147" y="685989"/>
                </a:cubicBezTo>
                <a:lnTo>
                  <a:pt x="3669775" y="686954"/>
                </a:lnTo>
                <a:lnTo>
                  <a:pt x="3669859" y="684167"/>
                </a:lnTo>
                <a:lnTo>
                  <a:pt x="3655044" y="679443"/>
                </a:lnTo>
                <a:close/>
                <a:moveTo>
                  <a:pt x="739803" y="678245"/>
                </a:moveTo>
                <a:cubicBezTo>
                  <a:pt x="729781" y="677790"/>
                  <a:pt x="720670" y="680523"/>
                  <a:pt x="717937" y="687811"/>
                </a:cubicBezTo>
                <a:cubicBezTo>
                  <a:pt x="716115" y="693278"/>
                  <a:pt x="716115" y="696922"/>
                  <a:pt x="716115" y="700566"/>
                </a:cubicBezTo>
                <a:cubicBezTo>
                  <a:pt x="714293" y="698744"/>
                  <a:pt x="712470" y="695100"/>
                  <a:pt x="710648" y="693278"/>
                </a:cubicBezTo>
                <a:cubicBezTo>
                  <a:pt x="707004" y="693278"/>
                  <a:pt x="708826" y="695100"/>
                  <a:pt x="705182" y="696922"/>
                </a:cubicBezTo>
                <a:cubicBezTo>
                  <a:pt x="710648" y="702388"/>
                  <a:pt x="712470" y="704211"/>
                  <a:pt x="717937" y="709677"/>
                </a:cubicBezTo>
                <a:cubicBezTo>
                  <a:pt x="717937" y="707855"/>
                  <a:pt x="717937" y="707855"/>
                  <a:pt x="717937" y="706033"/>
                </a:cubicBezTo>
                <a:cubicBezTo>
                  <a:pt x="721581" y="716966"/>
                  <a:pt x="732515" y="727899"/>
                  <a:pt x="741626" y="735188"/>
                </a:cubicBezTo>
                <a:cubicBezTo>
                  <a:pt x="737981" y="727899"/>
                  <a:pt x="739803" y="720610"/>
                  <a:pt x="732515" y="715144"/>
                </a:cubicBezTo>
                <a:cubicBezTo>
                  <a:pt x="732515" y="715144"/>
                  <a:pt x="734336" y="715144"/>
                  <a:pt x="736159" y="713321"/>
                </a:cubicBezTo>
                <a:cubicBezTo>
                  <a:pt x="734336" y="713321"/>
                  <a:pt x="732515" y="709677"/>
                  <a:pt x="728870" y="709677"/>
                </a:cubicBezTo>
                <a:cubicBezTo>
                  <a:pt x="737981" y="709677"/>
                  <a:pt x="741626" y="718788"/>
                  <a:pt x="748914" y="722432"/>
                </a:cubicBezTo>
                <a:cubicBezTo>
                  <a:pt x="750737" y="722432"/>
                  <a:pt x="750737" y="720610"/>
                  <a:pt x="750737" y="720610"/>
                </a:cubicBezTo>
                <a:lnTo>
                  <a:pt x="754381" y="727899"/>
                </a:lnTo>
                <a:lnTo>
                  <a:pt x="754380" y="727899"/>
                </a:lnTo>
                <a:cubicBezTo>
                  <a:pt x="756203" y="729721"/>
                  <a:pt x="756203" y="731543"/>
                  <a:pt x="756203" y="731543"/>
                </a:cubicBezTo>
                <a:lnTo>
                  <a:pt x="754381" y="727899"/>
                </a:lnTo>
                <a:lnTo>
                  <a:pt x="759848" y="727899"/>
                </a:lnTo>
                <a:cubicBezTo>
                  <a:pt x="758025" y="726077"/>
                  <a:pt x="756203" y="722432"/>
                  <a:pt x="752558" y="722432"/>
                </a:cubicBezTo>
                <a:cubicBezTo>
                  <a:pt x="754380" y="718788"/>
                  <a:pt x="758025" y="720610"/>
                  <a:pt x="761670" y="720610"/>
                </a:cubicBezTo>
                <a:cubicBezTo>
                  <a:pt x="759848" y="716966"/>
                  <a:pt x="752558" y="715144"/>
                  <a:pt x="750737" y="711499"/>
                </a:cubicBezTo>
                <a:lnTo>
                  <a:pt x="752558" y="709677"/>
                </a:lnTo>
                <a:cubicBezTo>
                  <a:pt x="748914" y="704211"/>
                  <a:pt x="747092" y="702388"/>
                  <a:pt x="741626" y="698744"/>
                </a:cubicBezTo>
                <a:cubicBezTo>
                  <a:pt x="743447" y="696922"/>
                  <a:pt x="743447" y="698744"/>
                  <a:pt x="745269" y="700566"/>
                </a:cubicBezTo>
                <a:cubicBezTo>
                  <a:pt x="744358" y="696922"/>
                  <a:pt x="741626" y="696467"/>
                  <a:pt x="738664" y="696011"/>
                </a:cubicBezTo>
                <a:lnTo>
                  <a:pt x="734944" y="693886"/>
                </a:lnTo>
                <a:lnTo>
                  <a:pt x="730692" y="689633"/>
                </a:lnTo>
                <a:cubicBezTo>
                  <a:pt x="736159" y="691455"/>
                  <a:pt x="741626" y="691455"/>
                  <a:pt x="743447" y="696922"/>
                </a:cubicBezTo>
                <a:cubicBezTo>
                  <a:pt x="745269" y="696922"/>
                  <a:pt x="747092" y="695100"/>
                  <a:pt x="748914" y="689633"/>
                </a:cubicBezTo>
                <a:cubicBezTo>
                  <a:pt x="750737" y="698744"/>
                  <a:pt x="756203" y="702388"/>
                  <a:pt x="761670" y="707855"/>
                </a:cubicBezTo>
                <a:cubicBezTo>
                  <a:pt x="763491" y="700566"/>
                  <a:pt x="758025" y="696922"/>
                  <a:pt x="752558" y="693278"/>
                </a:cubicBezTo>
                <a:cubicBezTo>
                  <a:pt x="756203" y="695100"/>
                  <a:pt x="761670" y="691455"/>
                  <a:pt x="763491" y="695100"/>
                </a:cubicBezTo>
                <a:cubicBezTo>
                  <a:pt x="763491" y="694189"/>
                  <a:pt x="764858" y="692823"/>
                  <a:pt x="765997" y="691456"/>
                </a:cubicBezTo>
                <a:lnTo>
                  <a:pt x="767093" y="687948"/>
                </a:lnTo>
                <a:lnTo>
                  <a:pt x="767591" y="688495"/>
                </a:lnTo>
                <a:cubicBezTo>
                  <a:pt x="769413" y="688722"/>
                  <a:pt x="771691" y="688722"/>
                  <a:pt x="772602" y="689633"/>
                </a:cubicBezTo>
                <a:cubicBezTo>
                  <a:pt x="772602" y="687811"/>
                  <a:pt x="767136" y="685989"/>
                  <a:pt x="765313" y="685989"/>
                </a:cubicBezTo>
                <a:lnTo>
                  <a:pt x="766892" y="687726"/>
                </a:lnTo>
                <a:close/>
                <a:moveTo>
                  <a:pt x="985113" y="678017"/>
                </a:moveTo>
                <a:lnTo>
                  <a:pt x="990123" y="680058"/>
                </a:lnTo>
                <a:lnTo>
                  <a:pt x="989612" y="681486"/>
                </a:lnTo>
                <a:lnTo>
                  <a:pt x="989197" y="681728"/>
                </a:lnTo>
                <a:lnTo>
                  <a:pt x="985341" y="680751"/>
                </a:lnTo>
                <a:lnTo>
                  <a:pt x="982184" y="680667"/>
                </a:lnTo>
                <a:close/>
                <a:moveTo>
                  <a:pt x="974518" y="677051"/>
                </a:moveTo>
                <a:lnTo>
                  <a:pt x="974635" y="677790"/>
                </a:lnTo>
                <a:lnTo>
                  <a:pt x="971197" y="680781"/>
                </a:lnTo>
                <a:lnTo>
                  <a:pt x="971788" y="678843"/>
                </a:lnTo>
                <a:close/>
                <a:moveTo>
                  <a:pt x="2953744" y="676878"/>
                </a:moveTo>
                <a:cubicBezTo>
                  <a:pt x="2962855" y="693278"/>
                  <a:pt x="2986543" y="687811"/>
                  <a:pt x="3002943" y="693278"/>
                </a:cubicBezTo>
                <a:cubicBezTo>
                  <a:pt x="2992010" y="682345"/>
                  <a:pt x="2971966" y="680522"/>
                  <a:pt x="2953744" y="676878"/>
                </a:cubicBezTo>
                <a:close/>
                <a:moveTo>
                  <a:pt x="1423118" y="676878"/>
                </a:moveTo>
                <a:cubicBezTo>
                  <a:pt x="1417652" y="675056"/>
                  <a:pt x="1408541" y="676878"/>
                  <a:pt x="1406719" y="684167"/>
                </a:cubicBezTo>
                <a:cubicBezTo>
                  <a:pt x="1408541" y="687811"/>
                  <a:pt x="1414007" y="682345"/>
                  <a:pt x="1412185" y="680522"/>
                </a:cubicBezTo>
                <a:cubicBezTo>
                  <a:pt x="1414007" y="678700"/>
                  <a:pt x="1414007" y="682345"/>
                  <a:pt x="1414007" y="682345"/>
                </a:cubicBezTo>
                <a:cubicBezTo>
                  <a:pt x="1415829" y="682345"/>
                  <a:pt x="1421296" y="680522"/>
                  <a:pt x="1423118" y="676878"/>
                </a:cubicBezTo>
                <a:close/>
                <a:moveTo>
                  <a:pt x="1390319" y="676878"/>
                </a:moveTo>
                <a:cubicBezTo>
                  <a:pt x="1386676" y="680522"/>
                  <a:pt x="1384854" y="678700"/>
                  <a:pt x="1379386" y="682345"/>
                </a:cubicBezTo>
                <a:cubicBezTo>
                  <a:pt x="1383030" y="682345"/>
                  <a:pt x="1392141" y="680522"/>
                  <a:pt x="1390319" y="676878"/>
                </a:cubicBezTo>
                <a:close/>
                <a:moveTo>
                  <a:pt x="1373920" y="676878"/>
                </a:moveTo>
                <a:cubicBezTo>
                  <a:pt x="1370275" y="676878"/>
                  <a:pt x="1361164" y="676878"/>
                  <a:pt x="1364809" y="682345"/>
                </a:cubicBezTo>
                <a:cubicBezTo>
                  <a:pt x="1366632" y="678700"/>
                  <a:pt x="1372097" y="680522"/>
                  <a:pt x="1373920" y="676878"/>
                </a:cubicBezTo>
                <a:close/>
                <a:moveTo>
                  <a:pt x="907444" y="676878"/>
                </a:moveTo>
                <a:cubicBezTo>
                  <a:pt x="905621" y="680522"/>
                  <a:pt x="903799" y="682345"/>
                  <a:pt x="903799" y="684167"/>
                </a:cubicBezTo>
                <a:cubicBezTo>
                  <a:pt x="903799" y="682345"/>
                  <a:pt x="911087" y="678700"/>
                  <a:pt x="907444" y="676878"/>
                </a:cubicBezTo>
                <a:close/>
                <a:moveTo>
                  <a:pt x="816334" y="676878"/>
                </a:moveTo>
                <a:cubicBezTo>
                  <a:pt x="814512" y="678700"/>
                  <a:pt x="816334" y="680522"/>
                  <a:pt x="816334" y="682345"/>
                </a:cubicBezTo>
                <a:cubicBezTo>
                  <a:pt x="819979" y="680522"/>
                  <a:pt x="818156" y="678700"/>
                  <a:pt x="819979" y="676878"/>
                </a:cubicBezTo>
                <a:cubicBezTo>
                  <a:pt x="818156" y="675056"/>
                  <a:pt x="818156" y="675056"/>
                  <a:pt x="816334" y="676878"/>
                </a:cubicBezTo>
                <a:close/>
                <a:moveTo>
                  <a:pt x="461579" y="676422"/>
                </a:moveTo>
                <a:lnTo>
                  <a:pt x="464655" y="680522"/>
                </a:lnTo>
                <a:cubicBezTo>
                  <a:pt x="464655" y="679611"/>
                  <a:pt x="463288" y="678700"/>
                  <a:pt x="462149" y="677789"/>
                </a:cubicBezTo>
                <a:close/>
                <a:moveTo>
                  <a:pt x="3289024" y="675056"/>
                </a:moveTo>
                <a:cubicBezTo>
                  <a:pt x="3287202" y="676878"/>
                  <a:pt x="3281736" y="678700"/>
                  <a:pt x="3283558" y="682345"/>
                </a:cubicBezTo>
                <a:cubicBezTo>
                  <a:pt x="3285380" y="680522"/>
                  <a:pt x="3287202" y="682345"/>
                  <a:pt x="3287202" y="682345"/>
                </a:cubicBezTo>
                <a:cubicBezTo>
                  <a:pt x="3290847" y="680522"/>
                  <a:pt x="3292669" y="676878"/>
                  <a:pt x="3289024" y="675056"/>
                </a:cubicBezTo>
                <a:close/>
                <a:moveTo>
                  <a:pt x="2607531" y="675056"/>
                </a:moveTo>
                <a:cubicBezTo>
                  <a:pt x="2603887" y="676878"/>
                  <a:pt x="2605709" y="685989"/>
                  <a:pt x="2605709" y="695100"/>
                </a:cubicBezTo>
                <a:cubicBezTo>
                  <a:pt x="2607531" y="695100"/>
                  <a:pt x="2607531" y="687811"/>
                  <a:pt x="2605709" y="685989"/>
                </a:cubicBezTo>
                <a:cubicBezTo>
                  <a:pt x="2605709" y="684167"/>
                  <a:pt x="2609353" y="684167"/>
                  <a:pt x="2609353" y="685989"/>
                </a:cubicBezTo>
                <a:cubicBezTo>
                  <a:pt x="2611176" y="684167"/>
                  <a:pt x="2607531" y="678700"/>
                  <a:pt x="2607531" y="675056"/>
                </a:cubicBezTo>
                <a:close/>
                <a:moveTo>
                  <a:pt x="2589310" y="675056"/>
                </a:moveTo>
                <a:cubicBezTo>
                  <a:pt x="2583843" y="673234"/>
                  <a:pt x="2591132" y="687811"/>
                  <a:pt x="2583843" y="684167"/>
                </a:cubicBezTo>
                <a:cubicBezTo>
                  <a:pt x="2582021" y="684167"/>
                  <a:pt x="2582021" y="680522"/>
                  <a:pt x="2582021" y="678700"/>
                </a:cubicBezTo>
                <a:cubicBezTo>
                  <a:pt x="2578377" y="678700"/>
                  <a:pt x="2580199" y="685989"/>
                  <a:pt x="2582021" y="685989"/>
                </a:cubicBezTo>
                <a:cubicBezTo>
                  <a:pt x="2578377" y="687811"/>
                  <a:pt x="2576554" y="682345"/>
                  <a:pt x="2572910" y="682345"/>
                </a:cubicBezTo>
                <a:cubicBezTo>
                  <a:pt x="2567443" y="685989"/>
                  <a:pt x="2561977" y="691455"/>
                  <a:pt x="2561977" y="700566"/>
                </a:cubicBezTo>
                <a:cubicBezTo>
                  <a:pt x="2569266" y="704211"/>
                  <a:pt x="2576554" y="707855"/>
                  <a:pt x="2585665" y="709677"/>
                </a:cubicBezTo>
                <a:cubicBezTo>
                  <a:pt x="2585665" y="702388"/>
                  <a:pt x="2585665" y="700566"/>
                  <a:pt x="2591132" y="702388"/>
                </a:cubicBezTo>
                <a:cubicBezTo>
                  <a:pt x="2589310" y="685989"/>
                  <a:pt x="2598421" y="691455"/>
                  <a:pt x="2598421" y="676878"/>
                </a:cubicBezTo>
                <a:cubicBezTo>
                  <a:pt x="2596598" y="675056"/>
                  <a:pt x="2594776" y="675056"/>
                  <a:pt x="2592954" y="675056"/>
                </a:cubicBezTo>
                <a:cubicBezTo>
                  <a:pt x="2592954" y="676878"/>
                  <a:pt x="2592954" y="678700"/>
                  <a:pt x="2592954" y="680522"/>
                </a:cubicBezTo>
                <a:cubicBezTo>
                  <a:pt x="2591132" y="682345"/>
                  <a:pt x="2591132" y="675056"/>
                  <a:pt x="2589310" y="675056"/>
                </a:cubicBezTo>
                <a:close/>
                <a:moveTo>
                  <a:pt x="173107" y="675056"/>
                </a:moveTo>
                <a:cubicBezTo>
                  <a:pt x="171285" y="685989"/>
                  <a:pt x="180396" y="689633"/>
                  <a:pt x="187684" y="695100"/>
                </a:cubicBezTo>
                <a:cubicBezTo>
                  <a:pt x="187684" y="691455"/>
                  <a:pt x="184040" y="687811"/>
                  <a:pt x="178573" y="685989"/>
                </a:cubicBezTo>
                <a:cubicBezTo>
                  <a:pt x="182218" y="684167"/>
                  <a:pt x="174929" y="678700"/>
                  <a:pt x="173107" y="675056"/>
                </a:cubicBezTo>
                <a:close/>
                <a:moveTo>
                  <a:pt x="167640" y="675056"/>
                </a:moveTo>
                <a:cubicBezTo>
                  <a:pt x="163996" y="676878"/>
                  <a:pt x="169462" y="680522"/>
                  <a:pt x="171285" y="680522"/>
                </a:cubicBezTo>
                <a:cubicBezTo>
                  <a:pt x="173107" y="678700"/>
                  <a:pt x="169462" y="676878"/>
                  <a:pt x="167640" y="675056"/>
                </a:cubicBezTo>
                <a:close/>
                <a:moveTo>
                  <a:pt x="2858991" y="673234"/>
                </a:moveTo>
                <a:lnTo>
                  <a:pt x="2860063" y="679665"/>
                </a:lnTo>
                <a:lnTo>
                  <a:pt x="2858991" y="680067"/>
                </a:lnTo>
                <a:cubicBezTo>
                  <a:pt x="2859447" y="680978"/>
                  <a:pt x="2860813" y="682345"/>
                  <a:pt x="2860813" y="684167"/>
                </a:cubicBezTo>
                <a:lnTo>
                  <a:pt x="2860063" y="679665"/>
                </a:lnTo>
                <a:lnTo>
                  <a:pt x="2862636" y="678700"/>
                </a:lnTo>
                <a:cubicBezTo>
                  <a:pt x="2862636" y="676878"/>
                  <a:pt x="2858991" y="676878"/>
                  <a:pt x="2858991" y="673234"/>
                </a:cubicBezTo>
                <a:close/>
                <a:moveTo>
                  <a:pt x="1446806" y="673234"/>
                </a:moveTo>
                <a:cubicBezTo>
                  <a:pt x="1444984" y="673234"/>
                  <a:pt x="1441340" y="678700"/>
                  <a:pt x="1437696" y="680522"/>
                </a:cubicBezTo>
                <a:cubicBezTo>
                  <a:pt x="1437696" y="678700"/>
                  <a:pt x="1439518" y="678700"/>
                  <a:pt x="1437696" y="676878"/>
                </a:cubicBezTo>
                <a:cubicBezTo>
                  <a:pt x="1430407" y="678700"/>
                  <a:pt x="1421296" y="684167"/>
                  <a:pt x="1412185" y="685989"/>
                </a:cubicBezTo>
                <a:cubicBezTo>
                  <a:pt x="1415829" y="687811"/>
                  <a:pt x="1419474" y="684167"/>
                  <a:pt x="1424940" y="684167"/>
                </a:cubicBezTo>
                <a:cubicBezTo>
                  <a:pt x="1430407" y="682345"/>
                  <a:pt x="1435873" y="682345"/>
                  <a:pt x="1441340" y="680522"/>
                </a:cubicBezTo>
                <a:cubicBezTo>
                  <a:pt x="1443162" y="678700"/>
                  <a:pt x="1443162" y="676878"/>
                  <a:pt x="1444984" y="675056"/>
                </a:cubicBezTo>
                <a:cubicBezTo>
                  <a:pt x="1444984" y="675056"/>
                  <a:pt x="1446806" y="676878"/>
                  <a:pt x="1444984" y="676878"/>
                </a:cubicBezTo>
                <a:cubicBezTo>
                  <a:pt x="1448629" y="678700"/>
                  <a:pt x="1448629" y="675056"/>
                  <a:pt x="1446806" y="673234"/>
                </a:cubicBezTo>
                <a:close/>
                <a:moveTo>
                  <a:pt x="1222679" y="673234"/>
                </a:moveTo>
                <a:cubicBezTo>
                  <a:pt x="1219036" y="673234"/>
                  <a:pt x="1213568" y="676878"/>
                  <a:pt x="1211747" y="680522"/>
                </a:cubicBezTo>
                <a:cubicBezTo>
                  <a:pt x="1213568" y="680522"/>
                  <a:pt x="1213568" y="678700"/>
                  <a:pt x="1215390" y="682345"/>
                </a:cubicBezTo>
                <a:cubicBezTo>
                  <a:pt x="1219036" y="680522"/>
                  <a:pt x="1220858" y="680522"/>
                  <a:pt x="1219036" y="676878"/>
                </a:cubicBezTo>
                <a:cubicBezTo>
                  <a:pt x="1220858" y="675056"/>
                  <a:pt x="1219036" y="678700"/>
                  <a:pt x="1220858" y="678700"/>
                </a:cubicBezTo>
                <a:cubicBezTo>
                  <a:pt x="1224501" y="676878"/>
                  <a:pt x="1220858" y="675056"/>
                  <a:pt x="1222679" y="673234"/>
                </a:cubicBezTo>
                <a:close/>
                <a:moveTo>
                  <a:pt x="1195346" y="673234"/>
                </a:moveTo>
                <a:lnTo>
                  <a:pt x="1194925" y="673795"/>
                </a:lnTo>
                <a:lnTo>
                  <a:pt x="1193333" y="674193"/>
                </a:lnTo>
                <a:close/>
                <a:moveTo>
                  <a:pt x="1142503" y="673234"/>
                </a:moveTo>
                <a:cubicBezTo>
                  <a:pt x="1138859" y="673234"/>
                  <a:pt x="1137037" y="675056"/>
                  <a:pt x="1133393" y="676878"/>
                </a:cubicBezTo>
                <a:cubicBezTo>
                  <a:pt x="1128838" y="675967"/>
                  <a:pt x="1122915" y="678245"/>
                  <a:pt x="1118133" y="681890"/>
                </a:cubicBezTo>
                <a:lnTo>
                  <a:pt x="1113511" y="689134"/>
                </a:lnTo>
                <a:lnTo>
                  <a:pt x="1111526" y="687811"/>
                </a:lnTo>
                <a:cubicBezTo>
                  <a:pt x="1113349" y="691455"/>
                  <a:pt x="1113349" y="693278"/>
                  <a:pt x="1109704" y="695100"/>
                </a:cubicBezTo>
                <a:lnTo>
                  <a:pt x="1113511" y="689134"/>
                </a:lnTo>
                <a:lnTo>
                  <a:pt x="1116993" y="691455"/>
                </a:lnTo>
                <a:cubicBezTo>
                  <a:pt x="1118815" y="685989"/>
                  <a:pt x="1129748" y="689633"/>
                  <a:pt x="1131570" y="680522"/>
                </a:cubicBezTo>
                <a:cubicBezTo>
                  <a:pt x="1135215" y="684167"/>
                  <a:pt x="1140681" y="676878"/>
                  <a:pt x="1142503" y="673234"/>
                </a:cubicBezTo>
                <a:close/>
                <a:moveTo>
                  <a:pt x="1106060" y="673234"/>
                </a:moveTo>
                <a:cubicBezTo>
                  <a:pt x="1104238" y="675056"/>
                  <a:pt x="1100593" y="675056"/>
                  <a:pt x="1102416" y="680522"/>
                </a:cubicBezTo>
                <a:cubicBezTo>
                  <a:pt x="1106060" y="678700"/>
                  <a:pt x="1107882" y="673234"/>
                  <a:pt x="1106060" y="673234"/>
                </a:cubicBezTo>
                <a:close/>
                <a:moveTo>
                  <a:pt x="1093305" y="673234"/>
                </a:moveTo>
                <a:cubicBezTo>
                  <a:pt x="1091484" y="673234"/>
                  <a:pt x="1086016" y="676878"/>
                  <a:pt x="1089660" y="676878"/>
                </a:cubicBezTo>
                <a:cubicBezTo>
                  <a:pt x="1091484" y="675056"/>
                  <a:pt x="1091484" y="675056"/>
                  <a:pt x="1093305" y="673234"/>
                </a:cubicBezTo>
                <a:close/>
                <a:moveTo>
                  <a:pt x="1022240" y="673234"/>
                </a:moveTo>
                <a:cubicBezTo>
                  <a:pt x="1020418" y="671411"/>
                  <a:pt x="1014951" y="675056"/>
                  <a:pt x="1014951" y="676878"/>
                </a:cubicBezTo>
                <a:cubicBezTo>
                  <a:pt x="1016774" y="676878"/>
                  <a:pt x="1022240" y="675056"/>
                  <a:pt x="1022240" y="673234"/>
                </a:cubicBezTo>
                <a:close/>
                <a:moveTo>
                  <a:pt x="980330" y="673234"/>
                </a:moveTo>
                <a:cubicBezTo>
                  <a:pt x="980330" y="673234"/>
                  <a:pt x="982152" y="676878"/>
                  <a:pt x="983974" y="676878"/>
                </a:cubicBezTo>
                <a:cubicBezTo>
                  <a:pt x="983974" y="679612"/>
                  <a:pt x="982152" y="679157"/>
                  <a:pt x="980102" y="678473"/>
                </a:cubicBezTo>
                <a:lnTo>
                  <a:pt x="976550" y="678627"/>
                </a:lnTo>
                <a:lnTo>
                  <a:pt x="976351" y="675847"/>
                </a:lnTo>
                <a:close/>
                <a:moveTo>
                  <a:pt x="914732" y="673234"/>
                </a:moveTo>
                <a:cubicBezTo>
                  <a:pt x="912909" y="675056"/>
                  <a:pt x="914732" y="676878"/>
                  <a:pt x="911087" y="678700"/>
                </a:cubicBezTo>
                <a:cubicBezTo>
                  <a:pt x="912909" y="678700"/>
                  <a:pt x="912909" y="678700"/>
                  <a:pt x="914732" y="678700"/>
                </a:cubicBezTo>
                <a:cubicBezTo>
                  <a:pt x="912909" y="680522"/>
                  <a:pt x="912909" y="682345"/>
                  <a:pt x="912909" y="685989"/>
                </a:cubicBezTo>
                <a:cubicBezTo>
                  <a:pt x="911087" y="685989"/>
                  <a:pt x="911087" y="685989"/>
                  <a:pt x="909265" y="684167"/>
                </a:cubicBezTo>
                <a:cubicBezTo>
                  <a:pt x="905621" y="684167"/>
                  <a:pt x="905621" y="687811"/>
                  <a:pt x="903799" y="689633"/>
                </a:cubicBezTo>
                <a:lnTo>
                  <a:pt x="911086" y="689634"/>
                </a:lnTo>
                <a:lnTo>
                  <a:pt x="903799" y="693278"/>
                </a:lnTo>
                <a:cubicBezTo>
                  <a:pt x="905621" y="695100"/>
                  <a:pt x="907444" y="695100"/>
                  <a:pt x="909265" y="696922"/>
                </a:cubicBezTo>
                <a:lnTo>
                  <a:pt x="911087" y="689634"/>
                </a:lnTo>
                <a:lnTo>
                  <a:pt x="912909" y="689634"/>
                </a:lnTo>
                <a:lnTo>
                  <a:pt x="916555" y="698744"/>
                </a:lnTo>
                <a:cubicBezTo>
                  <a:pt x="920198" y="695100"/>
                  <a:pt x="916555" y="691455"/>
                  <a:pt x="920198" y="685989"/>
                </a:cubicBezTo>
                <a:lnTo>
                  <a:pt x="917596" y="687290"/>
                </a:lnTo>
                <a:lnTo>
                  <a:pt x="922020" y="684167"/>
                </a:lnTo>
                <a:cubicBezTo>
                  <a:pt x="920198" y="682345"/>
                  <a:pt x="916555" y="680522"/>
                  <a:pt x="914732" y="678700"/>
                </a:cubicBezTo>
                <a:cubicBezTo>
                  <a:pt x="916555" y="676878"/>
                  <a:pt x="916555" y="675056"/>
                  <a:pt x="914732" y="673234"/>
                </a:cubicBezTo>
                <a:close/>
                <a:moveTo>
                  <a:pt x="767136" y="673234"/>
                </a:moveTo>
                <a:cubicBezTo>
                  <a:pt x="765313" y="676878"/>
                  <a:pt x="772602" y="676878"/>
                  <a:pt x="774424" y="678700"/>
                </a:cubicBezTo>
                <a:cubicBezTo>
                  <a:pt x="774424" y="675056"/>
                  <a:pt x="768959" y="675056"/>
                  <a:pt x="767136" y="673234"/>
                </a:cubicBezTo>
                <a:close/>
                <a:moveTo>
                  <a:pt x="524786" y="673234"/>
                </a:moveTo>
                <a:cubicBezTo>
                  <a:pt x="524786" y="675056"/>
                  <a:pt x="524786" y="678700"/>
                  <a:pt x="526609" y="682345"/>
                </a:cubicBezTo>
                <a:cubicBezTo>
                  <a:pt x="528431" y="680522"/>
                  <a:pt x="526609" y="676878"/>
                  <a:pt x="528431" y="676878"/>
                </a:cubicBezTo>
                <a:cubicBezTo>
                  <a:pt x="530253" y="676878"/>
                  <a:pt x="526609" y="673234"/>
                  <a:pt x="524786" y="673234"/>
                </a:cubicBezTo>
                <a:close/>
                <a:moveTo>
                  <a:pt x="459188" y="673234"/>
                </a:moveTo>
                <a:cubicBezTo>
                  <a:pt x="457367" y="675056"/>
                  <a:pt x="461010" y="682345"/>
                  <a:pt x="464655" y="680522"/>
                </a:cubicBezTo>
                <a:cubicBezTo>
                  <a:pt x="466478" y="678700"/>
                  <a:pt x="462832" y="675056"/>
                  <a:pt x="461010" y="675056"/>
                </a:cubicBezTo>
                <a:lnTo>
                  <a:pt x="461579" y="676422"/>
                </a:lnTo>
                <a:close/>
                <a:moveTo>
                  <a:pt x="413634" y="673234"/>
                </a:moveTo>
                <a:cubicBezTo>
                  <a:pt x="409989" y="676878"/>
                  <a:pt x="417278" y="678700"/>
                  <a:pt x="420923" y="676878"/>
                </a:cubicBezTo>
                <a:cubicBezTo>
                  <a:pt x="419100" y="675056"/>
                  <a:pt x="415456" y="675056"/>
                  <a:pt x="413634" y="673234"/>
                </a:cubicBezTo>
                <a:close/>
                <a:moveTo>
                  <a:pt x="256927" y="673234"/>
                </a:moveTo>
                <a:cubicBezTo>
                  <a:pt x="258749" y="676878"/>
                  <a:pt x="258749" y="682345"/>
                  <a:pt x="262393" y="678700"/>
                </a:cubicBezTo>
                <a:cubicBezTo>
                  <a:pt x="260571" y="676878"/>
                  <a:pt x="258749" y="671411"/>
                  <a:pt x="256927" y="673234"/>
                </a:cubicBezTo>
                <a:close/>
                <a:moveTo>
                  <a:pt x="202262" y="673234"/>
                </a:moveTo>
                <a:cubicBezTo>
                  <a:pt x="202262" y="682345"/>
                  <a:pt x="207728" y="695100"/>
                  <a:pt x="216839" y="698744"/>
                </a:cubicBezTo>
                <a:cubicBezTo>
                  <a:pt x="213195" y="687811"/>
                  <a:pt x="207728" y="684167"/>
                  <a:pt x="202262" y="673234"/>
                </a:cubicBezTo>
                <a:close/>
                <a:moveTo>
                  <a:pt x="1439974" y="673006"/>
                </a:moveTo>
                <a:cubicBezTo>
                  <a:pt x="1438607" y="672778"/>
                  <a:pt x="1436784" y="673234"/>
                  <a:pt x="1435873" y="675056"/>
                </a:cubicBezTo>
                <a:cubicBezTo>
                  <a:pt x="1437696" y="676878"/>
                  <a:pt x="1439518" y="675056"/>
                  <a:pt x="1441340" y="675056"/>
                </a:cubicBezTo>
                <a:cubicBezTo>
                  <a:pt x="1442251" y="674145"/>
                  <a:pt x="1441340" y="673234"/>
                  <a:pt x="1439974" y="673006"/>
                </a:cubicBezTo>
                <a:close/>
                <a:moveTo>
                  <a:pt x="962381" y="671798"/>
                </a:moveTo>
                <a:lnTo>
                  <a:pt x="964841" y="675284"/>
                </a:lnTo>
                <a:lnTo>
                  <a:pt x="966769" y="678979"/>
                </a:lnTo>
                <a:lnTo>
                  <a:pt x="962108" y="673007"/>
                </a:lnTo>
                <a:close/>
                <a:moveTo>
                  <a:pt x="3157828" y="671411"/>
                </a:moveTo>
                <a:cubicBezTo>
                  <a:pt x="3156006" y="671411"/>
                  <a:pt x="3154184" y="675056"/>
                  <a:pt x="3154184" y="676878"/>
                </a:cubicBezTo>
                <a:cubicBezTo>
                  <a:pt x="3161472" y="676878"/>
                  <a:pt x="3157828" y="675056"/>
                  <a:pt x="3157828" y="671411"/>
                </a:cubicBezTo>
                <a:close/>
                <a:moveTo>
                  <a:pt x="2558332" y="671411"/>
                </a:moveTo>
                <a:cubicBezTo>
                  <a:pt x="2554688" y="676878"/>
                  <a:pt x="2560155" y="682345"/>
                  <a:pt x="2561977" y="687811"/>
                </a:cubicBezTo>
                <a:cubicBezTo>
                  <a:pt x="2563799" y="685989"/>
                  <a:pt x="2561977" y="680522"/>
                  <a:pt x="2567443" y="682345"/>
                </a:cubicBezTo>
                <a:cubicBezTo>
                  <a:pt x="2565621" y="675056"/>
                  <a:pt x="2558332" y="678700"/>
                  <a:pt x="2558332" y="671411"/>
                </a:cubicBezTo>
                <a:close/>
                <a:moveTo>
                  <a:pt x="1086016" y="671411"/>
                </a:moveTo>
                <a:cubicBezTo>
                  <a:pt x="1082373" y="673234"/>
                  <a:pt x="1078727" y="673234"/>
                  <a:pt x="1073262" y="678700"/>
                </a:cubicBezTo>
                <a:cubicBezTo>
                  <a:pt x="1076905" y="680522"/>
                  <a:pt x="1065972" y="685989"/>
                  <a:pt x="1069616" y="685989"/>
                </a:cubicBezTo>
                <a:cubicBezTo>
                  <a:pt x="1075083" y="682345"/>
                  <a:pt x="1082373" y="678700"/>
                  <a:pt x="1086016" y="671411"/>
                </a:cubicBezTo>
                <a:close/>
                <a:moveTo>
                  <a:pt x="1065972" y="671411"/>
                </a:moveTo>
                <a:cubicBezTo>
                  <a:pt x="1062328" y="671411"/>
                  <a:pt x="1062328" y="675056"/>
                  <a:pt x="1062328" y="675056"/>
                </a:cubicBezTo>
                <a:cubicBezTo>
                  <a:pt x="1065972" y="676878"/>
                  <a:pt x="1064151" y="673234"/>
                  <a:pt x="1065972" y="671411"/>
                </a:cubicBezTo>
                <a:close/>
                <a:moveTo>
                  <a:pt x="923843" y="671411"/>
                </a:moveTo>
                <a:cubicBezTo>
                  <a:pt x="922020" y="673234"/>
                  <a:pt x="914732" y="676878"/>
                  <a:pt x="920198" y="678700"/>
                </a:cubicBezTo>
                <a:lnTo>
                  <a:pt x="925186" y="672051"/>
                </a:lnTo>
                <a:lnTo>
                  <a:pt x="925494" y="672198"/>
                </a:lnTo>
                <a:lnTo>
                  <a:pt x="924526" y="676651"/>
                </a:lnTo>
                <a:cubicBezTo>
                  <a:pt x="923387" y="678245"/>
                  <a:pt x="922020" y="679611"/>
                  <a:pt x="922020" y="680522"/>
                </a:cubicBezTo>
                <a:cubicBezTo>
                  <a:pt x="922020" y="682345"/>
                  <a:pt x="922020" y="682345"/>
                  <a:pt x="922020" y="682345"/>
                </a:cubicBezTo>
                <a:cubicBezTo>
                  <a:pt x="922020" y="682345"/>
                  <a:pt x="923843" y="682345"/>
                  <a:pt x="927487" y="684167"/>
                </a:cubicBezTo>
                <a:cubicBezTo>
                  <a:pt x="929309" y="682345"/>
                  <a:pt x="927487" y="682345"/>
                  <a:pt x="927487" y="680522"/>
                </a:cubicBezTo>
                <a:cubicBezTo>
                  <a:pt x="927487" y="680522"/>
                  <a:pt x="927487" y="680522"/>
                  <a:pt x="925666" y="680522"/>
                </a:cubicBezTo>
                <a:cubicBezTo>
                  <a:pt x="927487" y="680522"/>
                  <a:pt x="927487" y="678700"/>
                  <a:pt x="929309" y="678700"/>
                </a:cubicBezTo>
                <a:cubicBezTo>
                  <a:pt x="929309" y="676878"/>
                  <a:pt x="929309" y="675056"/>
                  <a:pt x="928626" y="673689"/>
                </a:cubicBezTo>
                <a:lnTo>
                  <a:pt x="925494" y="672198"/>
                </a:lnTo>
                <a:lnTo>
                  <a:pt x="925666" y="671411"/>
                </a:lnTo>
                <a:lnTo>
                  <a:pt x="925186" y="672051"/>
                </a:lnTo>
                <a:close/>
                <a:moveTo>
                  <a:pt x="475589" y="671411"/>
                </a:moveTo>
                <a:cubicBezTo>
                  <a:pt x="471943" y="669589"/>
                  <a:pt x="471943" y="675056"/>
                  <a:pt x="475589" y="676878"/>
                </a:cubicBezTo>
                <a:cubicBezTo>
                  <a:pt x="477410" y="675056"/>
                  <a:pt x="473766" y="673234"/>
                  <a:pt x="475589" y="671411"/>
                </a:cubicBezTo>
                <a:close/>
                <a:moveTo>
                  <a:pt x="448256" y="671411"/>
                </a:moveTo>
                <a:lnTo>
                  <a:pt x="451898" y="675055"/>
                </a:lnTo>
                <a:lnTo>
                  <a:pt x="451899" y="675056"/>
                </a:lnTo>
                <a:lnTo>
                  <a:pt x="451899" y="675055"/>
                </a:lnTo>
                <a:lnTo>
                  <a:pt x="453722" y="676878"/>
                </a:lnTo>
                <a:cubicBezTo>
                  <a:pt x="453722" y="675056"/>
                  <a:pt x="453722" y="673234"/>
                  <a:pt x="451899" y="671411"/>
                </a:cubicBezTo>
                <a:cubicBezTo>
                  <a:pt x="450988" y="670501"/>
                  <a:pt x="451444" y="671412"/>
                  <a:pt x="451899" y="672551"/>
                </a:cubicBezTo>
                <a:lnTo>
                  <a:pt x="451899" y="675055"/>
                </a:lnTo>
                <a:lnTo>
                  <a:pt x="451898" y="675055"/>
                </a:lnTo>
                <a:lnTo>
                  <a:pt x="450760" y="672551"/>
                </a:lnTo>
                <a:cubicBezTo>
                  <a:pt x="450532" y="671412"/>
                  <a:pt x="450077" y="670501"/>
                  <a:pt x="448256" y="671411"/>
                </a:cubicBezTo>
                <a:close/>
                <a:moveTo>
                  <a:pt x="420923" y="671411"/>
                </a:moveTo>
                <a:cubicBezTo>
                  <a:pt x="417278" y="669589"/>
                  <a:pt x="417278" y="673234"/>
                  <a:pt x="415456" y="673234"/>
                </a:cubicBezTo>
                <a:cubicBezTo>
                  <a:pt x="417278" y="671411"/>
                  <a:pt x="422745" y="676878"/>
                  <a:pt x="420923" y="671411"/>
                </a:cubicBezTo>
                <a:close/>
                <a:moveTo>
                  <a:pt x="393590" y="671411"/>
                </a:moveTo>
                <a:cubicBezTo>
                  <a:pt x="391768" y="671411"/>
                  <a:pt x="395412" y="676878"/>
                  <a:pt x="397234" y="675056"/>
                </a:cubicBezTo>
                <a:cubicBezTo>
                  <a:pt x="397234" y="673234"/>
                  <a:pt x="395412" y="673234"/>
                  <a:pt x="393590" y="671411"/>
                </a:cubicBezTo>
                <a:close/>
                <a:moveTo>
                  <a:pt x="284259" y="671411"/>
                </a:moveTo>
                <a:cubicBezTo>
                  <a:pt x="273327" y="689633"/>
                  <a:pt x="293370" y="707855"/>
                  <a:pt x="307948" y="716966"/>
                </a:cubicBezTo>
                <a:cubicBezTo>
                  <a:pt x="307948" y="711499"/>
                  <a:pt x="300660" y="707855"/>
                  <a:pt x="300660" y="702388"/>
                </a:cubicBezTo>
                <a:cubicBezTo>
                  <a:pt x="302481" y="706033"/>
                  <a:pt x="306126" y="709677"/>
                  <a:pt x="307948" y="711499"/>
                </a:cubicBezTo>
                <a:cubicBezTo>
                  <a:pt x="306126" y="698744"/>
                  <a:pt x="291549" y="684167"/>
                  <a:pt x="284259" y="671411"/>
                </a:cubicBezTo>
                <a:close/>
                <a:moveTo>
                  <a:pt x="618856" y="670956"/>
                </a:moveTo>
                <a:cubicBezTo>
                  <a:pt x="618628" y="671412"/>
                  <a:pt x="618628" y="672323"/>
                  <a:pt x="617717" y="673234"/>
                </a:cubicBezTo>
                <a:cubicBezTo>
                  <a:pt x="617717" y="675056"/>
                  <a:pt x="619539" y="675056"/>
                  <a:pt x="619539" y="676878"/>
                </a:cubicBezTo>
                <a:cubicBezTo>
                  <a:pt x="621362" y="675056"/>
                  <a:pt x="617717" y="673234"/>
                  <a:pt x="621362" y="671411"/>
                </a:cubicBezTo>
                <a:cubicBezTo>
                  <a:pt x="619539" y="670501"/>
                  <a:pt x="619084" y="670501"/>
                  <a:pt x="618856" y="670956"/>
                </a:cubicBezTo>
                <a:close/>
                <a:moveTo>
                  <a:pt x="1421296" y="669589"/>
                </a:moveTo>
                <a:cubicBezTo>
                  <a:pt x="1419474" y="667767"/>
                  <a:pt x="1415829" y="673234"/>
                  <a:pt x="1412185" y="673234"/>
                </a:cubicBezTo>
                <a:cubicBezTo>
                  <a:pt x="1412185" y="673234"/>
                  <a:pt x="1414007" y="675056"/>
                  <a:pt x="1414007" y="675056"/>
                </a:cubicBezTo>
                <a:cubicBezTo>
                  <a:pt x="1415829" y="675056"/>
                  <a:pt x="1419474" y="671411"/>
                  <a:pt x="1421296" y="669589"/>
                </a:cubicBezTo>
                <a:close/>
                <a:moveTo>
                  <a:pt x="1213568" y="669589"/>
                </a:moveTo>
                <a:cubicBezTo>
                  <a:pt x="1209925" y="667767"/>
                  <a:pt x="1211747" y="673234"/>
                  <a:pt x="1209925" y="673234"/>
                </a:cubicBezTo>
                <a:cubicBezTo>
                  <a:pt x="1211747" y="673234"/>
                  <a:pt x="1211747" y="669589"/>
                  <a:pt x="1213568" y="669589"/>
                </a:cubicBezTo>
                <a:close/>
                <a:moveTo>
                  <a:pt x="1149792" y="669589"/>
                </a:moveTo>
                <a:cubicBezTo>
                  <a:pt x="1146148" y="676878"/>
                  <a:pt x="1138859" y="684167"/>
                  <a:pt x="1138859" y="689633"/>
                </a:cubicBezTo>
                <a:cubicBezTo>
                  <a:pt x="1144326" y="687811"/>
                  <a:pt x="1146148" y="678700"/>
                  <a:pt x="1151614" y="675056"/>
                </a:cubicBezTo>
                <a:cubicBezTo>
                  <a:pt x="1149792" y="673234"/>
                  <a:pt x="1151614" y="669589"/>
                  <a:pt x="1149792" y="669589"/>
                </a:cubicBezTo>
                <a:close/>
                <a:moveTo>
                  <a:pt x="1067794" y="669589"/>
                </a:moveTo>
                <a:cubicBezTo>
                  <a:pt x="1058683" y="669589"/>
                  <a:pt x="1053217" y="675056"/>
                  <a:pt x="1045929" y="675056"/>
                </a:cubicBezTo>
                <a:cubicBezTo>
                  <a:pt x="1045929" y="675056"/>
                  <a:pt x="1045929" y="678700"/>
                  <a:pt x="1042284" y="678700"/>
                </a:cubicBezTo>
                <a:cubicBezTo>
                  <a:pt x="1044106" y="678700"/>
                  <a:pt x="1047750" y="678700"/>
                  <a:pt x="1049573" y="678700"/>
                </a:cubicBezTo>
                <a:cubicBezTo>
                  <a:pt x="1038639" y="684167"/>
                  <a:pt x="1033173" y="698744"/>
                  <a:pt x="1022240" y="704211"/>
                </a:cubicBezTo>
                <a:cubicBezTo>
                  <a:pt x="1029529" y="704211"/>
                  <a:pt x="1033173" y="700566"/>
                  <a:pt x="1040462" y="700566"/>
                </a:cubicBezTo>
                <a:cubicBezTo>
                  <a:pt x="1040462" y="696922"/>
                  <a:pt x="1042284" y="691455"/>
                  <a:pt x="1044106" y="687811"/>
                </a:cubicBezTo>
                <a:cubicBezTo>
                  <a:pt x="1047750" y="691455"/>
                  <a:pt x="1042284" y="695100"/>
                  <a:pt x="1042284" y="698744"/>
                </a:cubicBezTo>
                <a:cubicBezTo>
                  <a:pt x="1044106" y="695100"/>
                  <a:pt x="1047750" y="691455"/>
                  <a:pt x="1049573" y="687811"/>
                </a:cubicBezTo>
                <a:cubicBezTo>
                  <a:pt x="1049573" y="689633"/>
                  <a:pt x="1047750" y="693278"/>
                  <a:pt x="1047750" y="696922"/>
                </a:cubicBezTo>
                <a:lnTo>
                  <a:pt x="1054479" y="691035"/>
                </a:lnTo>
                <a:lnTo>
                  <a:pt x="1055950" y="690545"/>
                </a:lnTo>
                <a:cubicBezTo>
                  <a:pt x="1056861" y="689634"/>
                  <a:pt x="1057772" y="688722"/>
                  <a:pt x="1058683" y="689633"/>
                </a:cubicBezTo>
                <a:lnTo>
                  <a:pt x="1054479" y="691035"/>
                </a:lnTo>
                <a:lnTo>
                  <a:pt x="1062328" y="684167"/>
                </a:lnTo>
                <a:cubicBezTo>
                  <a:pt x="1062328" y="682345"/>
                  <a:pt x="1060506" y="676878"/>
                  <a:pt x="1056861" y="676878"/>
                </a:cubicBezTo>
                <a:cubicBezTo>
                  <a:pt x="1055040" y="678700"/>
                  <a:pt x="1055040" y="678700"/>
                  <a:pt x="1053217" y="678700"/>
                </a:cubicBezTo>
                <a:cubicBezTo>
                  <a:pt x="1056861" y="675056"/>
                  <a:pt x="1062328" y="671411"/>
                  <a:pt x="1067794" y="669589"/>
                </a:cubicBezTo>
                <a:close/>
                <a:moveTo>
                  <a:pt x="931131" y="669589"/>
                </a:moveTo>
                <a:cubicBezTo>
                  <a:pt x="929309" y="669589"/>
                  <a:pt x="931131" y="673234"/>
                  <a:pt x="932953" y="675056"/>
                </a:cubicBezTo>
                <a:cubicBezTo>
                  <a:pt x="936598" y="673234"/>
                  <a:pt x="931131" y="671411"/>
                  <a:pt x="931131" y="669589"/>
                </a:cubicBezTo>
                <a:close/>
                <a:moveTo>
                  <a:pt x="903799" y="669589"/>
                </a:moveTo>
                <a:cubicBezTo>
                  <a:pt x="896510" y="675056"/>
                  <a:pt x="891043" y="682345"/>
                  <a:pt x="894688" y="687811"/>
                </a:cubicBezTo>
                <a:cubicBezTo>
                  <a:pt x="900154" y="684167"/>
                  <a:pt x="907444" y="675056"/>
                  <a:pt x="903799" y="669589"/>
                </a:cubicBezTo>
                <a:close/>
                <a:moveTo>
                  <a:pt x="819979" y="669589"/>
                </a:moveTo>
                <a:cubicBezTo>
                  <a:pt x="819979" y="669589"/>
                  <a:pt x="818156" y="671411"/>
                  <a:pt x="818156" y="671411"/>
                </a:cubicBezTo>
                <a:cubicBezTo>
                  <a:pt x="818156" y="673234"/>
                  <a:pt x="818156" y="673234"/>
                  <a:pt x="819979" y="675056"/>
                </a:cubicBezTo>
                <a:cubicBezTo>
                  <a:pt x="821801" y="673234"/>
                  <a:pt x="819979" y="671411"/>
                  <a:pt x="819979" y="669589"/>
                </a:cubicBezTo>
                <a:close/>
                <a:moveTo>
                  <a:pt x="486521" y="669589"/>
                </a:moveTo>
                <a:cubicBezTo>
                  <a:pt x="484700" y="675056"/>
                  <a:pt x="482876" y="678700"/>
                  <a:pt x="488343" y="682345"/>
                </a:cubicBezTo>
                <a:cubicBezTo>
                  <a:pt x="493809" y="678700"/>
                  <a:pt x="488343" y="675056"/>
                  <a:pt x="486521" y="669589"/>
                </a:cubicBezTo>
                <a:close/>
                <a:moveTo>
                  <a:pt x="369902" y="669589"/>
                </a:moveTo>
                <a:cubicBezTo>
                  <a:pt x="368079" y="680522"/>
                  <a:pt x="379012" y="685989"/>
                  <a:pt x="382657" y="693278"/>
                </a:cubicBezTo>
                <a:cubicBezTo>
                  <a:pt x="379012" y="687811"/>
                  <a:pt x="377190" y="682345"/>
                  <a:pt x="375368" y="676878"/>
                </a:cubicBezTo>
                <a:cubicBezTo>
                  <a:pt x="373546" y="675056"/>
                  <a:pt x="373546" y="671411"/>
                  <a:pt x="369902" y="669589"/>
                </a:cubicBezTo>
                <a:close/>
                <a:moveTo>
                  <a:pt x="349858" y="669589"/>
                </a:moveTo>
                <a:cubicBezTo>
                  <a:pt x="348037" y="673234"/>
                  <a:pt x="349858" y="675056"/>
                  <a:pt x="353502" y="680522"/>
                </a:cubicBezTo>
                <a:cubicBezTo>
                  <a:pt x="355324" y="678700"/>
                  <a:pt x="351680" y="676878"/>
                  <a:pt x="355324" y="676878"/>
                </a:cubicBezTo>
                <a:cubicBezTo>
                  <a:pt x="353502" y="673234"/>
                  <a:pt x="351680" y="673234"/>
                  <a:pt x="349858" y="669589"/>
                </a:cubicBezTo>
                <a:close/>
                <a:moveTo>
                  <a:pt x="3558706" y="667767"/>
                </a:moveTo>
                <a:cubicBezTo>
                  <a:pt x="3558706" y="673234"/>
                  <a:pt x="3555062" y="678700"/>
                  <a:pt x="3556884" y="682345"/>
                </a:cubicBezTo>
                <a:cubicBezTo>
                  <a:pt x="3558706" y="680522"/>
                  <a:pt x="3560528" y="676878"/>
                  <a:pt x="3564173" y="676878"/>
                </a:cubicBezTo>
                <a:cubicBezTo>
                  <a:pt x="3564173" y="673234"/>
                  <a:pt x="3560528" y="671411"/>
                  <a:pt x="3562350" y="667767"/>
                </a:cubicBezTo>
                <a:cubicBezTo>
                  <a:pt x="3560528" y="667767"/>
                  <a:pt x="3560528" y="667767"/>
                  <a:pt x="3558706" y="667767"/>
                </a:cubicBezTo>
                <a:close/>
                <a:moveTo>
                  <a:pt x="3473064" y="667767"/>
                </a:moveTo>
                <a:cubicBezTo>
                  <a:pt x="3467597" y="675056"/>
                  <a:pt x="3474886" y="680522"/>
                  <a:pt x="3474886" y="685989"/>
                </a:cubicBezTo>
                <a:cubicBezTo>
                  <a:pt x="3478530" y="685989"/>
                  <a:pt x="3478530" y="684167"/>
                  <a:pt x="3482175" y="684167"/>
                </a:cubicBezTo>
                <a:cubicBezTo>
                  <a:pt x="3482175" y="680522"/>
                  <a:pt x="3485819" y="669589"/>
                  <a:pt x="3473064" y="667767"/>
                </a:cubicBezTo>
                <a:close/>
                <a:moveTo>
                  <a:pt x="3442087" y="667767"/>
                </a:moveTo>
                <a:cubicBezTo>
                  <a:pt x="3436621" y="667767"/>
                  <a:pt x="3440265" y="671411"/>
                  <a:pt x="3440265" y="675056"/>
                </a:cubicBezTo>
                <a:cubicBezTo>
                  <a:pt x="3436621" y="675056"/>
                  <a:pt x="3432976" y="675056"/>
                  <a:pt x="3431154" y="673234"/>
                </a:cubicBezTo>
                <a:cubicBezTo>
                  <a:pt x="3431154" y="675056"/>
                  <a:pt x="3431154" y="684167"/>
                  <a:pt x="3432976" y="687811"/>
                </a:cubicBezTo>
                <a:cubicBezTo>
                  <a:pt x="3445731" y="689633"/>
                  <a:pt x="3440265" y="675056"/>
                  <a:pt x="3449376" y="678700"/>
                </a:cubicBezTo>
                <a:cubicBezTo>
                  <a:pt x="3449376" y="673234"/>
                  <a:pt x="3454842" y="671411"/>
                  <a:pt x="3451198" y="667767"/>
                </a:cubicBezTo>
                <a:cubicBezTo>
                  <a:pt x="3447553" y="667767"/>
                  <a:pt x="3442087" y="676878"/>
                  <a:pt x="3442087" y="667767"/>
                </a:cubicBezTo>
                <a:close/>
                <a:moveTo>
                  <a:pt x="3301780" y="667767"/>
                </a:moveTo>
                <a:cubicBezTo>
                  <a:pt x="3294491" y="669589"/>
                  <a:pt x="3298135" y="675056"/>
                  <a:pt x="3298135" y="678700"/>
                </a:cubicBezTo>
                <a:cubicBezTo>
                  <a:pt x="3301780" y="676878"/>
                  <a:pt x="3299957" y="671411"/>
                  <a:pt x="3301780" y="667767"/>
                </a:cubicBezTo>
                <a:close/>
                <a:moveTo>
                  <a:pt x="973041" y="667767"/>
                </a:moveTo>
                <a:cubicBezTo>
                  <a:pt x="975774" y="669589"/>
                  <a:pt x="976230" y="671867"/>
                  <a:pt x="976230" y="674145"/>
                </a:cubicBezTo>
                <a:lnTo>
                  <a:pt x="976351" y="675847"/>
                </a:lnTo>
                <a:lnTo>
                  <a:pt x="974518" y="677051"/>
                </a:lnTo>
                <a:close/>
                <a:moveTo>
                  <a:pt x="945709" y="667767"/>
                </a:moveTo>
                <a:cubicBezTo>
                  <a:pt x="940242" y="667767"/>
                  <a:pt x="936598" y="675056"/>
                  <a:pt x="942064" y="676878"/>
                </a:cubicBezTo>
                <a:cubicBezTo>
                  <a:pt x="943886" y="673234"/>
                  <a:pt x="943886" y="669589"/>
                  <a:pt x="945709" y="667767"/>
                </a:cubicBezTo>
                <a:close/>
                <a:moveTo>
                  <a:pt x="843667" y="667767"/>
                </a:moveTo>
                <a:cubicBezTo>
                  <a:pt x="840022" y="664123"/>
                  <a:pt x="841845" y="673234"/>
                  <a:pt x="838200" y="671411"/>
                </a:cubicBezTo>
                <a:cubicBezTo>
                  <a:pt x="840022" y="673234"/>
                  <a:pt x="840022" y="673234"/>
                  <a:pt x="841845" y="673234"/>
                </a:cubicBezTo>
                <a:cubicBezTo>
                  <a:pt x="841845" y="671411"/>
                  <a:pt x="841845" y="669589"/>
                  <a:pt x="843667" y="667767"/>
                </a:cubicBezTo>
                <a:close/>
                <a:moveTo>
                  <a:pt x="829089" y="667767"/>
                </a:moveTo>
                <a:cubicBezTo>
                  <a:pt x="832734" y="671411"/>
                  <a:pt x="832734" y="671411"/>
                  <a:pt x="834556" y="673234"/>
                </a:cubicBezTo>
                <a:cubicBezTo>
                  <a:pt x="834556" y="673234"/>
                  <a:pt x="834556" y="675056"/>
                  <a:pt x="836378" y="675056"/>
                </a:cubicBezTo>
                <a:cubicBezTo>
                  <a:pt x="838200" y="673234"/>
                  <a:pt x="836378" y="673234"/>
                  <a:pt x="834556" y="671411"/>
                </a:cubicBezTo>
                <a:cubicBezTo>
                  <a:pt x="832734" y="669589"/>
                  <a:pt x="830912" y="667767"/>
                  <a:pt x="830912" y="667767"/>
                </a:cubicBezTo>
                <a:cubicBezTo>
                  <a:pt x="829089" y="667767"/>
                  <a:pt x="829089" y="669589"/>
                  <a:pt x="829089" y="667767"/>
                </a:cubicBezTo>
                <a:close/>
                <a:moveTo>
                  <a:pt x="581274" y="667767"/>
                </a:moveTo>
                <a:cubicBezTo>
                  <a:pt x="573985" y="671411"/>
                  <a:pt x="575808" y="678700"/>
                  <a:pt x="581274" y="680522"/>
                </a:cubicBezTo>
                <a:cubicBezTo>
                  <a:pt x="583096" y="676878"/>
                  <a:pt x="586741" y="673234"/>
                  <a:pt x="581274" y="667767"/>
                </a:cubicBezTo>
                <a:close/>
                <a:moveTo>
                  <a:pt x="291549" y="667767"/>
                </a:moveTo>
                <a:cubicBezTo>
                  <a:pt x="293370" y="675056"/>
                  <a:pt x="298837" y="682345"/>
                  <a:pt x="302481" y="687811"/>
                </a:cubicBezTo>
                <a:cubicBezTo>
                  <a:pt x="302481" y="687811"/>
                  <a:pt x="304303" y="685989"/>
                  <a:pt x="304303" y="685989"/>
                </a:cubicBezTo>
                <a:cubicBezTo>
                  <a:pt x="304303" y="696922"/>
                  <a:pt x="313414" y="707855"/>
                  <a:pt x="324347" y="713321"/>
                </a:cubicBezTo>
                <a:cubicBezTo>
                  <a:pt x="324347" y="711499"/>
                  <a:pt x="324347" y="709677"/>
                  <a:pt x="324347" y="706033"/>
                </a:cubicBezTo>
                <a:cubicBezTo>
                  <a:pt x="327993" y="713321"/>
                  <a:pt x="331636" y="720610"/>
                  <a:pt x="337102" y="726077"/>
                </a:cubicBezTo>
                <a:cubicBezTo>
                  <a:pt x="331636" y="720610"/>
                  <a:pt x="340747" y="709677"/>
                  <a:pt x="326169" y="707855"/>
                </a:cubicBezTo>
                <a:cubicBezTo>
                  <a:pt x="327993" y="706033"/>
                  <a:pt x="329814" y="704211"/>
                  <a:pt x="331636" y="707855"/>
                </a:cubicBezTo>
                <a:cubicBezTo>
                  <a:pt x="329814" y="698744"/>
                  <a:pt x="324347" y="696922"/>
                  <a:pt x="317059" y="693278"/>
                </a:cubicBezTo>
                <a:cubicBezTo>
                  <a:pt x="320703" y="691455"/>
                  <a:pt x="324347" y="698744"/>
                  <a:pt x="326169" y="693278"/>
                </a:cubicBezTo>
                <a:cubicBezTo>
                  <a:pt x="326169" y="691455"/>
                  <a:pt x="324347" y="691455"/>
                  <a:pt x="326169" y="689633"/>
                </a:cubicBezTo>
                <a:cubicBezTo>
                  <a:pt x="317059" y="687811"/>
                  <a:pt x="309771" y="676878"/>
                  <a:pt x="306126" y="680522"/>
                </a:cubicBezTo>
                <a:cubicBezTo>
                  <a:pt x="304303" y="680522"/>
                  <a:pt x="304303" y="682345"/>
                  <a:pt x="304303" y="682345"/>
                </a:cubicBezTo>
                <a:cubicBezTo>
                  <a:pt x="304303" y="676878"/>
                  <a:pt x="298837" y="669589"/>
                  <a:pt x="291549" y="667767"/>
                </a:cubicBezTo>
                <a:close/>
                <a:moveTo>
                  <a:pt x="176751" y="667767"/>
                </a:moveTo>
                <a:cubicBezTo>
                  <a:pt x="180396" y="671411"/>
                  <a:pt x="178573" y="678700"/>
                  <a:pt x="184040" y="680522"/>
                </a:cubicBezTo>
                <a:cubicBezTo>
                  <a:pt x="182218" y="676878"/>
                  <a:pt x="180396" y="671411"/>
                  <a:pt x="176751" y="667767"/>
                </a:cubicBezTo>
                <a:close/>
                <a:moveTo>
                  <a:pt x="138486" y="667767"/>
                </a:moveTo>
                <a:cubicBezTo>
                  <a:pt x="138486" y="668678"/>
                  <a:pt x="139852" y="670045"/>
                  <a:pt x="140991" y="671640"/>
                </a:cubicBezTo>
                <a:lnTo>
                  <a:pt x="141095" y="672116"/>
                </a:lnTo>
                <a:close/>
                <a:moveTo>
                  <a:pt x="63776" y="667767"/>
                </a:moveTo>
                <a:lnTo>
                  <a:pt x="83488" y="685617"/>
                </a:lnTo>
                <a:lnTo>
                  <a:pt x="83365" y="685534"/>
                </a:lnTo>
                <a:cubicBezTo>
                  <a:pt x="76987" y="679156"/>
                  <a:pt x="71065" y="672323"/>
                  <a:pt x="63776" y="667767"/>
                </a:cubicBezTo>
                <a:close/>
                <a:moveTo>
                  <a:pt x="375213" y="667535"/>
                </a:moveTo>
                <a:lnTo>
                  <a:pt x="375368" y="667767"/>
                </a:lnTo>
                <a:lnTo>
                  <a:pt x="375205" y="667704"/>
                </a:lnTo>
                <a:close/>
                <a:moveTo>
                  <a:pt x="2104556" y="667325"/>
                </a:moveTo>
                <a:lnTo>
                  <a:pt x="2104803" y="667671"/>
                </a:lnTo>
                <a:lnTo>
                  <a:pt x="2104611" y="667767"/>
                </a:lnTo>
                <a:close/>
                <a:moveTo>
                  <a:pt x="1234523" y="666401"/>
                </a:moveTo>
                <a:cubicBezTo>
                  <a:pt x="1231334" y="668678"/>
                  <a:pt x="1229057" y="673234"/>
                  <a:pt x="1228146" y="678700"/>
                </a:cubicBezTo>
                <a:cubicBezTo>
                  <a:pt x="1228146" y="680522"/>
                  <a:pt x="1233612" y="680522"/>
                  <a:pt x="1231790" y="682345"/>
                </a:cubicBezTo>
                <a:cubicBezTo>
                  <a:pt x="1240901" y="680522"/>
                  <a:pt x="1240901" y="673234"/>
                  <a:pt x="1246367" y="667767"/>
                </a:cubicBezTo>
                <a:cubicBezTo>
                  <a:pt x="1241811" y="664123"/>
                  <a:pt x="1237712" y="664123"/>
                  <a:pt x="1234523" y="666401"/>
                </a:cubicBezTo>
                <a:close/>
                <a:moveTo>
                  <a:pt x="2933700" y="665945"/>
                </a:moveTo>
                <a:cubicBezTo>
                  <a:pt x="2926412" y="667767"/>
                  <a:pt x="2939167" y="676878"/>
                  <a:pt x="2946456" y="675056"/>
                </a:cubicBezTo>
                <a:cubicBezTo>
                  <a:pt x="2948278" y="667767"/>
                  <a:pt x="2935523" y="671411"/>
                  <a:pt x="2933700" y="665945"/>
                </a:cubicBezTo>
                <a:close/>
                <a:moveTo>
                  <a:pt x="2620287" y="665945"/>
                </a:moveTo>
                <a:cubicBezTo>
                  <a:pt x="2620287" y="671411"/>
                  <a:pt x="2616642" y="671411"/>
                  <a:pt x="2618464" y="678700"/>
                </a:cubicBezTo>
                <a:cubicBezTo>
                  <a:pt x="2616642" y="680522"/>
                  <a:pt x="2618464" y="671411"/>
                  <a:pt x="2614820" y="673234"/>
                </a:cubicBezTo>
                <a:cubicBezTo>
                  <a:pt x="2612998" y="678700"/>
                  <a:pt x="2622109" y="682345"/>
                  <a:pt x="2614820" y="684167"/>
                </a:cubicBezTo>
                <a:cubicBezTo>
                  <a:pt x="2620287" y="693278"/>
                  <a:pt x="2623931" y="704211"/>
                  <a:pt x="2622109" y="687811"/>
                </a:cubicBezTo>
                <a:cubicBezTo>
                  <a:pt x="2625753" y="687811"/>
                  <a:pt x="2625753" y="689633"/>
                  <a:pt x="2627575" y="689633"/>
                </a:cubicBezTo>
                <a:cubicBezTo>
                  <a:pt x="2627575" y="684167"/>
                  <a:pt x="2627575" y="684167"/>
                  <a:pt x="2627575" y="680522"/>
                </a:cubicBezTo>
                <a:cubicBezTo>
                  <a:pt x="2629397" y="684167"/>
                  <a:pt x="2634864" y="684167"/>
                  <a:pt x="2634864" y="689633"/>
                </a:cubicBezTo>
                <a:cubicBezTo>
                  <a:pt x="2634864" y="680522"/>
                  <a:pt x="2625753" y="671411"/>
                  <a:pt x="2620287" y="665945"/>
                </a:cubicBezTo>
                <a:close/>
                <a:moveTo>
                  <a:pt x="1355698" y="665945"/>
                </a:moveTo>
                <a:cubicBezTo>
                  <a:pt x="1348410" y="667767"/>
                  <a:pt x="1337476" y="678700"/>
                  <a:pt x="1333832" y="684167"/>
                </a:cubicBezTo>
                <a:cubicBezTo>
                  <a:pt x="1337476" y="685989"/>
                  <a:pt x="1341120" y="682345"/>
                  <a:pt x="1341120" y="680522"/>
                </a:cubicBezTo>
                <a:cubicBezTo>
                  <a:pt x="1342942" y="680522"/>
                  <a:pt x="1342942" y="682345"/>
                  <a:pt x="1344765" y="682345"/>
                </a:cubicBezTo>
                <a:cubicBezTo>
                  <a:pt x="1352053" y="678700"/>
                  <a:pt x="1352053" y="671411"/>
                  <a:pt x="1355698" y="665945"/>
                </a:cubicBezTo>
                <a:close/>
                <a:moveTo>
                  <a:pt x="1268233" y="665945"/>
                </a:moveTo>
                <a:cubicBezTo>
                  <a:pt x="1266411" y="665945"/>
                  <a:pt x="1264589" y="669589"/>
                  <a:pt x="1262767" y="669589"/>
                </a:cubicBezTo>
                <a:cubicBezTo>
                  <a:pt x="1264589" y="673234"/>
                  <a:pt x="1268233" y="667767"/>
                  <a:pt x="1268233" y="665945"/>
                </a:cubicBezTo>
                <a:close/>
                <a:moveTo>
                  <a:pt x="1120637" y="665945"/>
                </a:moveTo>
                <a:cubicBezTo>
                  <a:pt x="1120637" y="667767"/>
                  <a:pt x="1116993" y="671411"/>
                  <a:pt x="1118815" y="671411"/>
                </a:cubicBezTo>
                <a:cubicBezTo>
                  <a:pt x="1118815" y="669589"/>
                  <a:pt x="1124282" y="665945"/>
                  <a:pt x="1120637" y="665945"/>
                </a:cubicBezTo>
                <a:close/>
                <a:moveTo>
                  <a:pt x="1078727" y="665945"/>
                </a:moveTo>
                <a:cubicBezTo>
                  <a:pt x="1076905" y="664123"/>
                  <a:pt x="1073262" y="665945"/>
                  <a:pt x="1069616" y="669589"/>
                </a:cubicBezTo>
                <a:cubicBezTo>
                  <a:pt x="1069616" y="671411"/>
                  <a:pt x="1071439" y="669589"/>
                  <a:pt x="1073262" y="669589"/>
                </a:cubicBezTo>
                <a:cubicBezTo>
                  <a:pt x="1067794" y="675056"/>
                  <a:pt x="1069616" y="678700"/>
                  <a:pt x="1064151" y="684167"/>
                </a:cubicBezTo>
                <a:cubicBezTo>
                  <a:pt x="1073262" y="680522"/>
                  <a:pt x="1076905" y="671411"/>
                  <a:pt x="1078727" y="665945"/>
                </a:cubicBezTo>
                <a:close/>
                <a:moveTo>
                  <a:pt x="696071" y="665945"/>
                </a:moveTo>
                <a:cubicBezTo>
                  <a:pt x="690604" y="665945"/>
                  <a:pt x="696071" y="671411"/>
                  <a:pt x="694249" y="673234"/>
                </a:cubicBezTo>
                <a:cubicBezTo>
                  <a:pt x="699715" y="673234"/>
                  <a:pt x="696071" y="667767"/>
                  <a:pt x="696071" y="665945"/>
                </a:cubicBezTo>
                <a:close/>
                <a:moveTo>
                  <a:pt x="668738" y="665945"/>
                </a:moveTo>
                <a:cubicBezTo>
                  <a:pt x="668738" y="669589"/>
                  <a:pt x="674205" y="675056"/>
                  <a:pt x="679671" y="673234"/>
                </a:cubicBezTo>
                <a:cubicBezTo>
                  <a:pt x="679671" y="673234"/>
                  <a:pt x="677849" y="675056"/>
                  <a:pt x="677849" y="675056"/>
                </a:cubicBezTo>
                <a:cubicBezTo>
                  <a:pt x="681493" y="678700"/>
                  <a:pt x="685138" y="678700"/>
                  <a:pt x="688782" y="678700"/>
                </a:cubicBezTo>
                <a:cubicBezTo>
                  <a:pt x="688782" y="676878"/>
                  <a:pt x="683316" y="673234"/>
                  <a:pt x="679671" y="673234"/>
                </a:cubicBezTo>
                <a:cubicBezTo>
                  <a:pt x="676027" y="671411"/>
                  <a:pt x="672383" y="669589"/>
                  <a:pt x="668738" y="665945"/>
                </a:cubicBezTo>
                <a:close/>
                <a:moveTo>
                  <a:pt x="590385" y="665945"/>
                </a:moveTo>
                <a:cubicBezTo>
                  <a:pt x="586741" y="669589"/>
                  <a:pt x="583096" y="675056"/>
                  <a:pt x="588562" y="680522"/>
                </a:cubicBezTo>
                <a:cubicBezTo>
                  <a:pt x="590385" y="675056"/>
                  <a:pt x="592207" y="671411"/>
                  <a:pt x="590385" y="665945"/>
                </a:cubicBezTo>
                <a:close/>
                <a:moveTo>
                  <a:pt x="581274" y="665945"/>
                </a:moveTo>
                <a:cubicBezTo>
                  <a:pt x="577630" y="664123"/>
                  <a:pt x="570341" y="669589"/>
                  <a:pt x="575808" y="671411"/>
                </a:cubicBezTo>
                <a:cubicBezTo>
                  <a:pt x="579452" y="669589"/>
                  <a:pt x="579452" y="667767"/>
                  <a:pt x="581274" y="665945"/>
                </a:cubicBezTo>
                <a:close/>
                <a:moveTo>
                  <a:pt x="510209" y="665945"/>
                </a:moveTo>
                <a:cubicBezTo>
                  <a:pt x="506565" y="675056"/>
                  <a:pt x="517498" y="676878"/>
                  <a:pt x="519320" y="682345"/>
                </a:cubicBezTo>
                <a:cubicBezTo>
                  <a:pt x="521142" y="678700"/>
                  <a:pt x="510209" y="671411"/>
                  <a:pt x="510209" y="665945"/>
                </a:cubicBezTo>
                <a:close/>
                <a:moveTo>
                  <a:pt x="215017" y="665945"/>
                </a:moveTo>
                <a:cubicBezTo>
                  <a:pt x="213195" y="669589"/>
                  <a:pt x="220483" y="676878"/>
                  <a:pt x="224128" y="678700"/>
                </a:cubicBezTo>
                <a:cubicBezTo>
                  <a:pt x="222306" y="673234"/>
                  <a:pt x="216839" y="671411"/>
                  <a:pt x="215017" y="665945"/>
                </a:cubicBezTo>
                <a:close/>
                <a:moveTo>
                  <a:pt x="1175217" y="664949"/>
                </a:moveTo>
                <a:cubicBezTo>
                  <a:pt x="1167444" y="664693"/>
                  <a:pt x="1158903" y="675968"/>
                  <a:pt x="1153436" y="684167"/>
                </a:cubicBezTo>
                <a:cubicBezTo>
                  <a:pt x="1153436" y="685989"/>
                  <a:pt x="1155259" y="682345"/>
                  <a:pt x="1157081" y="682345"/>
                </a:cubicBezTo>
                <a:cubicBezTo>
                  <a:pt x="1155259" y="684167"/>
                  <a:pt x="1153436" y="687811"/>
                  <a:pt x="1155259" y="689633"/>
                </a:cubicBezTo>
                <a:cubicBezTo>
                  <a:pt x="1157081" y="691455"/>
                  <a:pt x="1157081" y="687811"/>
                  <a:pt x="1160725" y="685989"/>
                </a:cubicBezTo>
                <a:cubicBezTo>
                  <a:pt x="1162547" y="687811"/>
                  <a:pt x="1157081" y="687811"/>
                  <a:pt x="1158903" y="689633"/>
                </a:cubicBezTo>
                <a:cubicBezTo>
                  <a:pt x="1160725" y="691455"/>
                  <a:pt x="1168014" y="689633"/>
                  <a:pt x="1164370" y="685989"/>
                </a:cubicBezTo>
                <a:cubicBezTo>
                  <a:pt x="1166192" y="684167"/>
                  <a:pt x="1166192" y="685989"/>
                  <a:pt x="1168014" y="685989"/>
                </a:cubicBezTo>
                <a:cubicBezTo>
                  <a:pt x="1169836" y="684167"/>
                  <a:pt x="1169836" y="680522"/>
                  <a:pt x="1168014" y="678700"/>
                </a:cubicBezTo>
                <a:cubicBezTo>
                  <a:pt x="1168014" y="678700"/>
                  <a:pt x="1166192" y="680522"/>
                  <a:pt x="1166192" y="680522"/>
                </a:cubicBezTo>
                <a:cubicBezTo>
                  <a:pt x="1164370" y="678700"/>
                  <a:pt x="1168014" y="676878"/>
                  <a:pt x="1166192" y="675056"/>
                </a:cubicBezTo>
                <a:cubicBezTo>
                  <a:pt x="1168014" y="675056"/>
                  <a:pt x="1169836" y="676878"/>
                  <a:pt x="1171658" y="675056"/>
                </a:cubicBezTo>
                <a:cubicBezTo>
                  <a:pt x="1171658" y="673234"/>
                  <a:pt x="1171658" y="673234"/>
                  <a:pt x="1171658" y="671411"/>
                </a:cubicBezTo>
                <a:cubicBezTo>
                  <a:pt x="1173481" y="671411"/>
                  <a:pt x="1175303" y="673234"/>
                  <a:pt x="1175303" y="669589"/>
                </a:cubicBezTo>
                <a:cubicBezTo>
                  <a:pt x="1177125" y="671411"/>
                  <a:pt x="1175303" y="673234"/>
                  <a:pt x="1178947" y="675056"/>
                </a:cubicBezTo>
                <a:cubicBezTo>
                  <a:pt x="1178947" y="671411"/>
                  <a:pt x="1178947" y="671411"/>
                  <a:pt x="1182592" y="669589"/>
                </a:cubicBezTo>
                <a:cubicBezTo>
                  <a:pt x="1180313" y="666401"/>
                  <a:pt x="1177808" y="665034"/>
                  <a:pt x="1175217" y="664949"/>
                </a:cubicBezTo>
                <a:close/>
                <a:moveTo>
                  <a:pt x="725522" y="664632"/>
                </a:moveTo>
                <a:lnTo>
                  <a:pt x="729097" y="665490"/>
                </a:lnTo>
                <a:lnTo>
                  <a:pt x="729941" y="667660"/>
                </a:lnTo>
                <a:lnTo>
                  <a:pt x="727503" y="667312"/>
                </a:lnTo>
                <a:close/>
                <a:moveTo>
                  <a:pt x="3422043" y="664123"/>
                </a:moveTo>
                <a:cubicBezTo>
                  <a:pt x="3416577" y="665945"/>
                  <a:pt x="3425687" y="669589"/>
                  <a:pt x="3420221" y="673234"/>
                </a:cubicBezTo>
                <a:cubicBezTo>
                  <a:pt x="3422043" y="676878"/>
                  <a:pt x="3425687" y="669589"/>
                  <a:pt x="3427510" y="667767"/>
                </a:cubicBezTo>
                <a:cubicBezTo>
                  <a:pt x="3429332" y="665945"/>
                  <a:pt x="3425687" y="665945"/>
                  <a:pt x="3425687" y="667767"/>
                </a:cubicBezTo>
                <a:cubicBezTo>
                  <a:pt x="3423865" y="665945"/>
                  <a:pt x="3422043" y="665945"/>
                  <a:pt x="3422043" y="664123"/>
                </a:cubicBezTo>
                <a:close/>
                <a:moveTo>
                  <a:pt x="3225248" y="664123"/>
                </a:moveTo>
                <a:cubicBezTo>
                  <a:pt x="3221604" y="667767"/>
                  <a:pt x="3216137" y="667767"/>
                  <a:pt x="3214315" y="671411"/>
                </a:cubicBezTo>
                <a:cubicBezTo>
                  <a:pt x="3214315" y="675056"/>
                  <a:pt x="3217960" y="675056"/>
                  <a:pt x="3219782" y="675056"/>
                </a:cubicBezTo>
                <a:cubicBezTo>
                  <a:pt x="3225248" y="673234"/>
                  <a:pt x="3227071" y="665945"/>
                  <a:pt x="3225248" y="664123"/>
                </a:cubicBezTo>
                <a:close/>
                <a:moveTo>
                  <a:pt x="1328365" y="664123"/>
                </a:moveTo>
                <a:cubicBezTo>
                  <a:pt x="1319254" y="662301"/>
                  <a:pt x="1313788" y="673234"/>
                  <a:pt x="1315610" y="680522"/>
                </a:cubicBezTo>
                <a:cubicBezTo>
                  <a:pt x="1319254" y="676878"/>
                  <a:pt x="1321077" y="676878"/>
                  <a:pt x="1321077" y="673234"/>
                </a:cubicBezTo>
                <a:cubicBezTo>
                  <a:pt x="1321077" y="673234"/>
                  <a:pt x="1322899" y="675056"/>
                  <a:pt x="1322899" y="675056"/>
                </a:cubicBezTo>
                <a:cubicBezTo>
                  <a:pt x="1328365" y="673234"/>
                  <a:pt x="1321077" y="665945"/>
                  <a:pt x="1328365" y="664123"/>
                </a:cubicBezTo>
                <a:close/>
                <a:moveTo>
                  <a:pt x="1297388" y="664123"/>
                </a:moveTo>
                <a:cubicBezTo>
                  <a:pt x="1295566" y="665945"/>
                  <a:pt x="1295566" y="667767"/>
                  <a:pt x="1293744" y="669589"/>
                </a:cubicBezTo>
                <a:cubicBezTo>
                  <a:pt x="1295566" y="671411"/>
                  <a:pt x="1299210" y="665945"/>
                  <a:pt x="1297388" y="664123"/>
                </a:cubicBezTo>
                <a:close/>
                <a:moveTo>
                  <a:pt x="1115171" y="664123"/>
                </a:moveTo>
                <a:cubicBezTo>
                  <a:pt x="1113349" y="665945"/>
                  <a:pt x="1113349" y="665945"/>
                  <a:pt x="1111526" y="667767"/>
                </a:cubicBezTo>
                <a:cubicBezTo>
                  <a:pt x="1111526" y="669589"/>
                  <a:pt x="1113349" y="665945"/>
                  <a:pt x="1116993" y="664123"/>
                </a:cubicBezTo>
                <a:cubicBezTo>
                  <a:pt x="1115171" y="664123"/>
                  <a:pt x="1115171" y="664123"/>
                  <a:pt x="1115171" y="664123"/>
                </a:cubicBezTo>
                <a:close/>
                <a:moveTo>
                  <a:pt x="949353" y="664123"/>
                </a:moveTo>
                <a:cubicBezTo>
                  <a:pt x="949353" y="664123"/>
                  <a:pt x="947531" y="665945"/>
                  <a:pt x="949353" y="665945"/>
                </a:cubicBezTo>
                <a:lnTo>
                  <a:pt x="949244" y="664852"/>
                </a:lnTo>
                <a:close/>
                <a:moveTo>
                  <a:pt x="940242" y="664123"/>
                </a:moveTo>
                <a:cubicBezTo>
                  <a:pt x="934777" y="664123"/>
                  <a:pt x="934777" y="669589"/>
                  <a:pt x="938420" y="669589"/>
                </a:cubicBezTo>
                <a:cubicBezTo>
                  <a:pt x="938420" y="667767"/>
                  <a:pt x="940242" y="665945"/>
                  <a:pt x="940242" y="664123"/>
                </a:cubicBezTo>
                <a:close/>
                <a:moveTo>
                  <a:pt x="789003" y="664123"/>
                </a:moveTo>
                <a:cubicBezTo>
                  <a:pt x="790824" y="667767"/>
                  <a:pt x="787179" y="673234"/>
                  <a:pt x="792646" y="676878"/>
                </a:cubicBezTo>
                <a:cubicBezTo>
                  <a:pt x="794468" y="671411"/>
                  <a:pt x="790824" y="667767"/>
                  <a:pt x="789003" y="664123"/>
                </a:cubicBezTo>
                <a:close/>
                <a:moveTo>
                  <a:pt x="759848" y="664123"/>
                </a:moveTo>
                <a:cubicBezTo>
                  <a:pt x="758025" y="667767"/>
                  <a:pt x="765313" y="673234"/>
                  <a:pt x="768959" y="673234"/>
                </a:cubicBezTo>
                <a:cubicBezTo>
                  <a:pt x="768959" y="669589"/>
                  <a:pt x="763491" y="664123"/>
                  <a:pt x="759848" y="664123"/>
                </a:cubicBezTo>
                <a:close/>
                <a:moveTo>
                  <a:pt x="561230" y="664123"/>
                </a:moveTo>
                <a:cubicBezTo>
                  <a:pt x="559408" y="665945"/>
                  <a:pt x="563052" y="665945"/>
                  <a:pt x="563052" y="669589"/>
                </a:cubicBezTo>
                <a:cubicBezTo>
                  <a:pt x="566697" y="669589"/>
                  <a:pt x="564874" y="667767"/>
                  <a:pt x="566697" y="665945"/>
                </a:cubicBezTo>
                <a:cubicBezTo>
                  <a:pt x="564874" y="664123"/>
                  <a:pt x="563052" y="665945"/>
                  <a:pt x="561230" y="664123"/>
                </a:cubicBezTo>
                <a:close/>
                <a:moveTo>
                  <a:pt x="501098" y="664123"/>
                </a:moveTo>
                <a:lnTo>
                  <a:pt x="499320" y="669678"/>
                </a:lnTo>
                <a:lnTo>
                  <a:pt x="499276" y="669817"/>
                </a:lnTo>
                <a:cubicBezTo>
                  <a:pt x="499731" y="671867"/>
                  <a:pt x="501098" y="674145"/>
                  <a:pt x="502920" y="676878"/>
                </a:cubicBezTo>
                <a:cubicBezTo>
                  <a:pt x="506565" y="675056"/>
                  <a:pt x="502920" y="675056"/>
                  <a:pt x="504743" y="673234"/>
                </a:cubicBezTo>
                <a:cubicBezTo>
                  <a:pt x="506565" y="673234"/>
                  <a:pt x="506565" y="675056"/>
                  <a:pt x="506565" y="676878"/>
                </a:cubicBezTo>
                <a:cubicBezTo>
                  <a:pt x="510209" y="673234"/>
                  <a:pt x="508387" y="665945"/>
                  <a:pt x="501098" y="664123"/>
                </a:cubicBezTo>
                <a:close/>
                <a:moveTo>
                  <a:pt x="493809" y="664123"/>
                </a:moveTo>
                <a:cubicBezTo>
                  <a:pt x="495632" y="662301"/>
                  <a:pt x="490165" y="669589"/>
                  <a:pt x="488343" y="665945"/>
                </a:cubicBezTo>
                <a:cubicBezTo>
                  <a:pt x="488343" y="669589"/>
                  <a:pt x="491987" y="673234"/>
                  <a:pt x="493809" y="676878"/>
                </a:cubicBezTo>
                <a:cubicBezTo>
                  <a:pt x="493809" y="673234"/>
                  <a:pt x="493809" y="667767"/>
                  <a:pt x="493809" y="664123"/>
                </a:cubicBezTo>
                <a:close/>
                <a:moveTo>
                  <a:pt x="349858" y="664123"/>
                </a:moveTo>
                <a:cubicBezTo>
                  <a:pt x="353502" y="676878"/>
                  <a:pt x="368079" y="682345"/>
                  <a:pt x="375368" y="693278"/>
                </a:cubicBezTo>
                <a:cubicBezTo>
                  <a:pt x="369902" y="680522"/>
                  <a:pt x="358969" y="667767"/>
                  <a:pt x="349858" y="664123"/>
                </a:cubicBezTo>
                <a:close/>
                <a:moveTo>
                  <a:pt x="344391" y="664123"/>
                </a:moveTo>
                <a:cubicBezTo>
                  <a:pt x="344391" y="665945"/>
                  <a:pt x="346213" y="667767"/>
                  <a:pt x="346213" y="669589"/>
                </a:cubicBezTo>
                <a:cubicBezTo>
                  <a:pt x="348037" y="671411"/>
                  <a:pt x="346213" y="665945"/>
                  <a:pt x="348037" y="665945"/>
                </a:cubicBezTo>
                <a:cubicBezTo>
                  <a:pt x="348037" y="665945"/>
                  <a:pt x="346213" y="662301"/>
                  <a:pt x="344391" y="664123"/>
                </a:cubicBezTo>
                <a:close/>
                <a:moveTo>
                  <a:pt x="284259" y="664123"/>
                </a:moveTo>
                <a:cubicBezTo>
                  <a:pt x="286082" y="669589"/>
                  <a:pt x="289726" y="676878"/>
                  <a:pt x="293370" y="680522"/>
                </a:cubicBezTo>
                <a:cubicBezTo>
                  <a:pt x="295193" y="676878"/>
                  <a:pt x="289726" y="667767"/>
                  <a:pt x="284259" y="664123"/>
                </a:cubicBezTo>
                <a:close/>
                <a:moveTo>
                  <a:pt x="3609307" y="662582"/>
                </a:moveTo>
                <a:lnTo>
                  <a:pt x="3612460" y="663212"/>
                </a:lnTo>
                <a:lnTo>
                  <a:pt x="3611549" y="664123"/>
                </a:lnTo>
                <a:close/>
                <a:moveTo>
                  <a:pt x="1428585" y="662301"/>
                </a:moveTo>
                <a:cubicBezTo>
                  <a:pt x="1424940" y="660478"/>
                  <a:pt x="1423118" y="665945"/>
                  <a:pt x="1419474" y="667767"/>
                </a:cubicBezTo>
                <a:cubicBezTo>
                  <a:pt x="1423118" y="671411"/>
                  <a:pt x="1426763" y="665945"/>
                  <a:pt x="1428585" y="662301"/>
                </a:cubicBezTo>
                <a:close/>
                <a:moveTo>
                  <a:pt x="1086016" y="662301"/>
                </a:moveTo>
                <a:cubicBezTo>
                  <a:pt x="1084194" y="662301"/>
                  <a:pt x="1076905" y="671411"/>
                  <a:pt x="1078727" y="673234"/>
                </a:cubicBezTo>
                <a:cubicBezTo>
                  <a:pt x="1080549" y="673234"/>
                  <a:pt x="1086016" y="662301"/>
                  <a:pt x="1086016" y="662301"/>
                </a:cubicBezTo>
                <a:close/>
                <a:moveTo>
                  <a:pt x="639583" y="662301"/>
                </a:moveTo>
                <a:cubicBezTo>
                  <a:pt x="637761" y="667767"/>
                  <a:pt x="626828" y="673234"/>
                  <a:pt x="626828" y="680522"/>
                </a:cubicBezTo>
                <a:cubicBezTo>
                  <a:pt x="628650" y="678700"/>
                  <a:pt x="630472" y="678700"/>
                  <a:pt x="632296" y="676878"/>
                </a:cubicBezTo>
                <a:cubicBezTo>
                  <a:pt x="625006" y="684167"/>
                  <a:pt x="617717" y="695100"/>
                  <a:pt x="612251" y="702388"/>
                </a:cubicBezTo>
                <a:cubicBezTo>
                  <a:pt x="619539" y="700566"/>
                  <a:pt x="619539" y="691455"/>
                  <a:pt x="628650" y="689633"/>
                </a:cubicBezTo>
                <a:cubicBezTo>
                  <a:pt x="623185" y="702388"/>
                  <a:pt x="635939" y="709677"/>
                  <a:pt x="635939" y="722432"/>
                </a:cubicBezTo>
                <a:lnTo>
                  <a:pt x="641407" y="722432"/>
                </a:lnTo>
                <a:lnTo>
                  <a:pt x="645050" y="722432"/>
                </a:lnTo>
                <a:cubicBezTo>
                  <a:pt x="643228" y="722432"/>
                  <a:pt x="641407" y="720610"/>
                  <a:pt x="641407" y="718788"/>
                </a:cubicBezTo>
                <a:cubicBezTo>
                  <a:pt x="637761" y="722432"/>
                  <a:pt x="641407" y="715144"/>
                  <a:pt x="635939" y="713321"/>
                </a:cubicBezTo>
                <a:cubicBezTo>
                  <a:pt x="637761" y="709677"/>
                  <a:pt x="637761" y="711499"/>
                  <a:pt x="639583" y="713321"/>
                </a:cubicBezTo>
                <a:cubicBezTo>
                  <a:pt x="641407" y="707855"/>
                  <a:pt x="634117" y="706033"/>
                  <a:pt x="632296" y="702388"/>
                </a:cubicBezTo>
                <a:cubicBezTo>
                  <a:pt x="641407" y="702388"/>
                  <a:pt x="639583" y="715144"/>
                  <a:pt x="643228" y="713321"/>
                </a:cubicBezTo>
                <a:cubicBezTo>
                  <a:pt x="648694" y="713321"/>
                  <a:pt x="641407" y="713321"/>
                  <a:pt x="641407" y="709677"/>
                </a:cubicBezTo>
                <a:cubicBezTo>
                  <a:pt x="646872" y="707855"/>
                  <a:pt x="646872" y="706033"/>
                  <a:pt x="650516" y="704211"/>
                </a:cubicBezTo>
                <a:cubicBezTo>
                  <a:pt x="646872" y="707855"/>
                  <a:pt x="646872" y="711499"/>
                  <a:pt x="650516" y="711499"/>
                </a:cubicBezTo>
                <a:cubicBezTo>
                  <a:pt x="652339" y="709677"/>
                  <a:pt x="654161" y="707855"/>
                  <a:pt x="657805" y="707855"/>
                </a:cubicBezTo>
                <a:cubicBezTo>
                  <a:pt x="655983" y="709677"/>
                  <a:pt x="654161" y="711499"/>
                  <a:pt x="652339" y="713321"/>
                </a:cubicBezTo>
                <a:lnTo>
                  <a:pt x="653718" y="715549"/>
                </a:lnTo>
                <a:lnTo>
                  <a:pt x="648922" y="719927"/>
                </a:lnTo>
                <a:cubicBezTo>
                  <a:pt x="647783" y="721977"/>
                  <a:pt x="647783" y="724255"/>
                  <a:pt x="650516" y="726077"/>
                </a:cubicBezTo>
                <a:cubicBezTo>
                  <a:pt x="653249" y="724255"/>
                  <a:pt x="653705" y="722433"/>
                  <a:pt x="653705" y="720611"/>
                </a:cubicBezTo>
                <a:lnTo>
                  <a:pt x="654078" y="716132"/>
                </a:lnTo>
                <a:lnTo>
                  <a:pt x="655300" y="718105"/>
                </a:lnTo>
                <a:lnTo>
                  <a:pt x="655588" y="718151"/>
                </a:lnTo>
                <a:lnTo>
                  <a:pt x="652339" y="727899"/>
                </a:lnTo>
                <a:cubicBezTo>
                  <a:pt x="655983" y="726077"/>
                  <a:pt x="659627" y="720610"/>
                  <a:pt x="661449" y="720610"/>
                </a:cubicBezTo>
                <a:lnTo>
                  <a:pt x="658433" y="718600"/>
                </a:lnTo>
                <a:lnTo>
                  <a:pt x="659627" y="718788"/>
                </a:lnTo>
                <a:cubicBezTo>
                  <a:pt x="665094" y="715144"/>
                  <a:pt x="659627" y="706033"/>
                  <a:pt x="663272" y="700566"/>
                </a:cubicBezTo>
                <a:cubicBezTo>
                  <a:pt x="666916" y="706033"/>
                  <a:pt x="665094" y="709677"/>
                  <a:pt x="663272" y="713321"/>
                </a:cubicBezTo>
                <a:cubicBezTo>
                  <a:pt x="668738" y="709677"/>
                  <a:pt x="677849" y="713321"/>
                  <a:pt x="676027" y="704211"/>
                </a:cubicBezTo>
                <a:cubicBezTo>
                  <a:pt x="677849" y="704211"/>
                  <a:pt x="679671" y="707855"/>
                  <a:pt x="679671" y="707855"/>
                </a:cubicBezTo>
                <a:cubicBezTo>
                  <a:pt x="692426" y="702388"/>
                  <a:pt x="681493" y="687811"/>
                  <a:pt x="672383" y="685989"/>
                </a:cubicBezTo>
                <a:cubicBezTo>
                  <a:pt x="670560" y="685989"/>
                  <a:pt x="670560" y="685989"/>
                  <a:pt x="668738" y="685989"/>
                </a:cubicBezTo>
                <a:lnTo>
                  <a:pt x="666919" y="684809"/>
                </a:lnTo>
                <a:lnTo>
                  <a:pt x="663271" y="686025"/>
                </a:lnTo>
                <a:cubicBezTo>
                  <a:pt x="666915" y="687847"/>
                  <a:pt x="665093" y="691492"/>
                  <a:pt x="665093" y="695136"/>
                </a:cubicBezTo>
                <a:cubicBezTo>
                  <a:pt x="663271" y="687847"/>
                  <a:pt x="661449" y="686025"/>
                  <a:pt x="655982" y="682381"/>
                </a:cubicBezTo>
                <a:cubicBezTo>
                  <a:pt x="658715" y="680559"/>
                  <a:pt x="660539" y="681015"/>
                  <a:pt x="662360" y="681926"/>
                </a:cubicBezTo>
                <a:lnTo>
                  <a:pt x="662623" y="682019"/>
                </a:lnTo>
                <a:lnTo>
                  <a:pt x="655755" y="677562"/>
                </a:lnTo>
                <a:cubicBezTo>
                  <a:pt x="650516" y="676423"/>
                  <a:pt x="645050" y="675967"/>
                  <a:pt x="641407" y="673234"/>
                </a:cubicBezTo>
                <a:cubicBezTo>
                  <a:pt x="646872" y="675056"/>
                  <a:pt x="652339" y="676878"/>
                  <a:pt x="655983" y="675056"/>
                </a:cubicBezTo>
                <a:cubicBezTo>
                  <a:pt x="650516" y="665945"/>
                  <a:pt x="643228" y="667767"/>
                  <a:pt x="635939" y="673234"/>
                </a:cubicBezTo>
                <a:cubicBezTo>
                  <a:pt x="639583" y="671411"/>
                  <a:pt x="641407" y="667767"/>
                  <a:pt x="643228" y="665945"/>
                </a:cubicBezTo>
                <a:cubicBezTo>
                  <a:pt x="639583" y="665945"/>
                  <a:pt x="641407" y="664123"/>
                  <a:pt x="639583" y="662301"/>
                </a:cubicBezTo>
                <a:close/>
                <a:moveTo>
                  <a:pt x="371724" y="662301"/>
                </a:moveTo>
                <a:cubicBezTo>
                  <a:pt x="369901" y="662301"/>
                  <a:pt x="369446" y="664123"/>
                  <a:pt x="370129" y="665718"/>
                </a:cubicBezTo>
                <a:lnTo>
                  <a:pt x="375205" y="667704"/>
                </a:lnTo>
                <a:lnTo>
                  <a:pt x="375140" y="669134"/>
                </a:lnTo>
                <a:cubicBezTo>
                  <a:pt x="375823" y="670957"/>
                  <a:pt x="377190" y="672323"/>
                  <a:pt x="379012" y="671411"/>
                </a:cubicBezTo>
                <a:cubicBezTo>
                  <a:pt x="379012" y="669589"/>
                  <a:pt x="377190" y="667767"/>
                  <a:pt x="375368" y="664123"/>
                </a:cubicBezTo>
                <a:lnTo>
                  <a:pt x="375213" y="667535"/>
                </a:lnTo>
                <a:close/>
                <a:moveTo>
                  <a:pt x="271504" y="662301"/>
                </a:moveTo>
                <a:cubicBezTo>
                  <a:pt x="273327" y="665945"/>
                  <a:pt x="271504" y="673234"/>
                  <a:pt x="276971" y="673234"/>
                </a:cubicBezTo>
                <a:cubicBezTo>
                  <a:pt x="276971" y="671411"/>
                  <a:pt x="273327" y="665945"/>
                  <a:pt x="273327" y="664123"/>
                </a:cubicBezTo>
                <a:cubicBezTo>
                  <a:pt x="276971" y="667767"/>
                  <a:pt x="275149" y="673234"/>
                  <a:pt x="278793" y="676878"/>
                </a:cubicBezTo>
                <a:cubicBezTo>
                  <a:pt x="282438" y="675056"/>
                  <a:pt x="278793" y="669589"/>
                  <a:pt x="282438" y="667767"/>
                </a:cubicBezTo>
                <a:cubicBezTo>
                  <a:pt x="280615" y="662301"/>
                  <a:pt x="275149" y="662301"/>
                  <a:pt x="271504" y="662301"/>
                </a:cubicBezTo>
                <a:close/>
                <a:moveTo>
                  <a:pt x="269682" y="662301"/>
                </a:moveTo>
                <a:lnTo>
                  <a:pt x="270019" y="663365"/>
                </a:lnTo>
                <a:lnTo>
                  <a:pt x="271504" y="675056"/>
                </a:lnTo>
                <a:lnTo>
                  <a:pt x="268941" y="669076"/>
                </a:lnTo>
                <a:close/>
                <a:moveTo>
                  <a:pt x="200439" y="662301"/>
                </a:moveTo>
                <a:cubicBezTo>
                  <a:pt x="205906" y="678700"/>
                  <a:pt x="220483" y="700566"/>
                  <a:pt x="227772" y="700566"/>
                </a:cubicBezTo>
                <a:cubicBezTo>
                  <a:pt x="225950" y="685989"/>
                  <a:pt x="207728" y="675056"/>
                  <a:pt x="200439" y="662301"/>
                </a:cubicBezTo>
                <a:close/>
                <a:moveTo>
                  <a:pt x="794923" y="662073"/>
                </a:moveTo>
                <a:cubicBezTo>
                  <a:pt x="793557" y="660934"/>
                  <a:pt x="791735" y="660479"/>
                  <a:pt x="790824" y="662301"/>
                </a:cubicBezTo>
                <a:cubicBezTo>
                  <a:pt x="792646" y="664123"/>
                  <a:pt x="794468" y="665945"/>
                  <a:pt x="796290" y="665945"/>
                </a:cubicBezTo>
                <a:cubicBezTo>
                  <a:pt x="797202" y="665034"/>
                  <a:pt x="796290" y="663212"/>
                  <a:pt x="794923" y="662073"/>
                </a:cubicBezTo>
                <a:close/>
                <a:moveTo>
                  <a:pt x="2955111" y="660650"/>
                </a:moveTo>
                <a:cubicBezTo>
                  <a:pt x="2953175" y="661162"/>
                  <a:pt x="2951922" y="662757"/>
                  <a:pt x="2951922" y="665945"/>
                </a:cubicBezTo>
                <a:cubicBezTo>
                  <a:pt x="2964677" y="665945"/>
                  <a:pt x="2964677" y="671411"/>
                  <a:pt x="2975610" y="671411"/>
                </a:cubicBezTo>
                <a:cubicBezTo>
                  <a:pt x="2972877" y="667312"/>
                  <a:pt x="2960919" y="659112"/>
                  <a:pt x="2955111" y="660650"/>
                </a:cubicBezTo>
                <a:close/>
                <a:moveTo>
                  <a:pt x="3217960" y="660478"/>
                </a:moveTo>
                <a:cubicBezTo>
                  <a:pt x="3210671" y="662301"/>
                  <a:pt x="3210671" y="662301"/>
                  <a:pt x="3203382" y="662301"/>
                </a:cubicBezTo>
                <a:cubicBezTo>
                  <a:pt x="3201560" y="665945"/>
                  <a:pt x="3205204" y="665945"/>
                  <a:pt x="3205204" y="667767"/>
                </a:cubicBezTo>
                <a:cubicBezTo>
                  <a:pt x="3210671" y="665945"/>
                  <a:pt x="3219782" y="665945"/>
                  <a:pt x="3217960" y="660478"/>
                </a:cubicBezTo>
                <a:close/>
                <a:moveTo>
                  <a:pt x="2880857" y="660478"/>
                </a:moveTo>
                <a:cubicBezTo>
                  <a:pt x="2873569" y="660478"/>
                  <a:pt x="2875391" y="667767"/>
                  <a:pt x="2877213" y="675056"/>
                </a:cubicBezTo>
                <a:cubicBezTo>
                  <a:pt x="2879035" y="671411"/>
                  <a:pt x="2882680" y="667767"/>
                  <a:pt x="2880857" y="660478"/>
                </a:cubicBezTo>
                <a:close/>
                <a:moveTo>
                  <a:pt x="2605709" y="660478"/>
                </a:moveTo>
                <a:cubicBezTo>
                  <a:pt x="2603887" y="662301"/>
                  <a:pt x="2607531" y="667767"/>
                  <a:pt x="2605709" y="671411"/>
                </a:cubicBezTo>
                <a:cubicBezTo>
                  <a:pt x="2607531" y="671411"/>
                  <a:pt x="2605709" y="665945"/>
                  <a:pt x="2609353" y="667767"/>
                </a:cubicBezTo>
                <a:cubicBezTo>
                  <a:pt x="2609353" y="662301"/>
                  <a:pt x="2605709" y="664123"/>
                  <a:pt x="2605709" y="660478"/>
                </a:cubicBezTo>
                <a:close/>
                <a:moveTo>
                  <a:pt x="1414007" y="660478"/>
                </a:moveTo>
                <a:cubicBezTo>
                  <a:pt x="1414007" y="658656"/>
                  <a:pt x="1408541" y="665945"/>
                  <a:pt x="1406719" y="667767"/>
                </a:cubicBezTo>
                <a:cubicBezTo>
                  <a:pt x="1410363" y="669589"/>
                  <a:pt x="1410363" y="664123"/>
                  <a:pt x="1414007" y="660478"/>
                </a:cubicBezTo>
                <a:close/>
                <a:moveTo>
                  <a:pt x="1024062" y="660478"/>
                </a:moveTo>
                <a:cubicBezTo>
                  <a:pt x="1020418" y="656834"/>
                  <a:pt x="1020418" y="664123"/>
                  <a:pt x="1018596" y="669589"/>
                </a:cubicBezTo>
                <a:cubicBezTo>
                  <a:pt x="1024062" y="667767"/>
                  <a:pt x="1029529" y="662301"/>
                  <a:pt x="1024062" y="660478"/>
                </a:cubicBezTo>
                <a:close/>
                <a:moveTo>
                  <a:pt x="816334" y="660478"/>
                </a:moveTo>
                <a:cubicBezTo>
                  <a:pt x="814512" y="660478"/>
                  <a:pt x="807223" y="665945"/>
                  <a:pt x="810868" y="667767"/>
                </a:cubicBezTo>
                <a:cubicBezTo>
                  <a:pt x="814512" y="665945"/>
                  <a:pt x="812690" y="664123"/>
                  <a:pt x="816334" y="660478"/>
                </a:cubicBezTo>
                <a:close/>
                <a:moveTo>
                  <a:pt x="652339" y="660478"/>
                </a:moveTo>
                <a:cubicBezTo>
                  <a:pt x="657805" y="665945"/>
                  <a:pt x="665094" y="678700"/>
                  <a:pt x="676027" y="678700"/>
                </a:cubicBezTo>
                <a:cubicBezTo>
                  <a:pt x="668738" y="675056"/>
                  <a:pt x="663272" y="658656"/>
                  <a:pt x="652339" y="660478"/>
                </a:cubicBezTo>
                <a:close/>
                <a:moveTo>
                  <a:pt x="586741" y="660478"/>
                </a:moveTo>
                <a:cubicBezTo>
                  <a:pt x="586741" y="664123"/>
                  <a:pt x="579452" y="665945"/>
                  <a:pt x="584919" y="669589"/>
                </a:cubicBezTo>
                <a:cubicBezTo>
                  <a:pt x="586741" y="667767"/>
                  <a:pt x="592207" y="662301"/>
                  <a:pt x="586741" y="660478"/>
                </a:cubicBezTo>
                <a:close/>
                <a:moveTo>
                  <a:pt x="488343" y="660478"/>
                </a:moveTo>
                <a:cubicBezTo>
                  <a:pt x="484700" y="662301"/>
                  <a:pt x="486521" y="665945"/>
                  <a:pt x="490165" y="664123"/>
                </a:cubicBezTo>
                <a:cubicBezTo>
                  <a:pt x="488343" y="662301"/>
                  <a:pt x="490165" y="662301"/>
                  <a:pt x="488343" y="660478"/>
                </a:cubicBezTo>
                <a:close/>
                <a:moveTo>
                  <a:pt x="413634" y="660478"/>
                </a:moveTo>
                <a:cubicBezTo>
                  <a:pt x="411812" y="662301"/>
                  <a:pt x="415456" y="665945"/>
                  <a:pt x="419100" y="664123"/>
                </a:cubicBezTo>
                <a:cubicBezTo>
                  <a:pt x="419100" y="662301"/>
                  <a:pt x="415456" y="660478"/>
                  <a:pt x="413634" y="660478"/>
                </a:cubicBezTo>
                <a:close/>
                <a:moveTo>
                  <a:pt x="397234" y="660478"/>
                </a:moveTo>
                <a:cubicBezTo>
                  <a:pt x="395412" y="662301"/>
                  <a:pt x="399056" y="665945"/>
                  <a:pt x="400879" y="665945"/>
                </a:cubicBezTo>
                <a:cubicBezTo>
                  <a:pt x="400879" y="665945"/>
                  <a:pt x="399056" y="660478"/>
                  <a:pt x="397234" y="660478"/>
                </a:cubicBezTo>
                <a:close/>
                <a:moveTo>
                  <a:pt x="385162" y="660023"/>
                </a:moveTo>
                <a:cubicBezTo>
                  <a:pt x="383569" y="659568"/>
                  <a:pt x="381746" y="659568"/>
                  <a:pt x="380835" y="662301"/>
                </a:cubicBezTo>
                <a:cubicBezTo>
                  <a:pt x="382657" y="665945"/>
                  <a:pt x="382657" y="667767"/>
                  <a:pt x="386301" y="665945"/>
                </a:cubicBezTo>
                <a:cubicBezTo>
                  <a:pt x="386301" y="664123"/>
                  <a:pt x="388123" y="662301"/>
                  <a:pt x="388123" y="660478"/>
                </a:cubicBezTo>
                <a:cubicBezTo>
                  <a:pt x="388123" y="661390"/>
                  <a:pt x="386756" y="660479"/>
                  <a:pt x="385162" y="660023"/>
                </a:cubicBezTo>
                <a:close/>
                <a:moveTo>
                  <a:pt x="3529551" y="658656"/>
                </a:moveTo>
                <a:cubicBezTo>
                  <a:pt x="3527729" y="660478"/>
                  <a:pt x="3529551" y="667767"/>
                  <a:pt x="3529551" y="669589"/>
                </a:cubicBezTo>
                <a:cubicBezTo>
                  <a:pt x="3531374" y="669589"/>
                  <a:pt x="3533196" y="667767"/>
                  <a:pt x="3535018" y="667767"/>
                </a:cubicBezTo>
                <a:cubicBezTo>
                  <a:pt x="3535018" y="664123"/>
                  <a:pt x="3533196" y="662301"/>
                  <a:pt x="3533196" y="658656"/>
                </a:cubicBezTo>
                <a:cubicBezTo>
                  <a:pt x="3531374" y="658656"/>
                  <a:pt x="3529551" y="660478"/>
                  <a:pt x="3529551" y="658656"/>
                </a:cubicBezTo>
                <a:close/>
                <a:moveTo>
                  <a:pt x="3489463" y="658656"/>
                </a:moveTo>
                <a:cubicBezTo>
                  <a:pt x="3487641" y="662301"/>
                  <a:pt x="3491286" y="662301"/>
                  <a:pt x="3491286" y="665945"/>
                </a:cubicBezTo>
                <a:cubicBezTo>
                  <a:pt x="3487641" y="669589"/>
                  <a:pt x="3480353" y="660478"/>
                  <a:pt x="3474886" y="660478"/>
                </a:cubicBezTo>
                <a:cubicBezTo>
                  <a:pt x="3476708" y="673234"/>
                  <a:pt x="3489463" y="673234"/>
                  <a:pt x="3500397" y="675056"/>
                </a:cubicBezTo>
                <a:cubicBezTo>
                  <a:pt x="3502219" y="678700"/>
                  <a:pt x="3500397" y="678700"/>
                  <a:pt x="3502219" y="682345"/>
                </a:cubicBezTo>
                <a:cubicBezTo>
                  <a:pt x="3507685" y="680522"/>
                  <a:pt x="3505863" y="682345"/>
                  <a:pt x="3509507" y="680522"/>
                </a:cubicBezTo>
                <a:cubicBezTo>
                  <a:pt x="3509507" y="678700"/>
                  <a:pt x="3505863" y="680522"/>
                  <a:pt x="3505863" y="678700"/>
                </a:cubicBezTo>
                <a:cubicBezTo>
                  <a:pt x="3505863" y="678700"/>
                  <a:pt x="3507685" y="678700"/>
                  <a:pt x="3507685" y="676878"/>
                </a:cubicBezTo>
                <a:cubicBezTo>
                  <a:pt x="3511330" y="675056"/>
                  <a:pt x="3509507" y="680522"/>
                  <a:pt x="3513152" y="678700"/>
                </a:cubicBezTo>
                <a:cubicBezTo>
                  <a:pt x="3513152" y="669589"/>
                  <a:pt x="3504041" y="669589"/>
                  <a:pt x="3502219" y="662301"/>
                </a:cubicBezTo>
                <a:cubicBezTo>
                  <a:pt x="3500397" y="664123"/>
                  <a:pt x="3493108" y="665945"/>
                  <a:pt x="3494930" y="658656"/>
                </a:cubicBezTo>
                <a:cubicBezTo>
                  <a:pt x="3493108" y="658656"/>
                  <a:pt x="3491286" y="658656"/>
                  <a:pt x="3489463" y="658656"/>
                </a:cubicBezTo>
                <a:close/>
                <a:moveTo>
                  <a:pt x="2541933" y="658656"/>
                </a:moveTo>
                <a:cubicBezTo>
                  <a:pt x="2540111" y="662301"/>
                  <a:pt x="2540111" y="671411"/>
                  <a:pt x="2543755" y="675056"/>
                </a:cubicBezTo>
                <a:cubicBezTo>
                  <a:pt x="2551044" y="675056"/>
                  <a:pt x="2549222" y="662301"/>
                  <a:pt x="2552866" y="665945"/>
                </a:cubicBezTo>
                <a:cubicBezTo>
                  <a:pt x="2552866" y="656834"/>
                  <a:pt x="2547400" y="658656"/>
                  <a:pt x="2541933" y="658656"/>
                </a:cubicBezTo>
                <a:close/>
                <a:moveTo>
                  <a:pt x="1364809" y="658656"/>
                </a:moveTo>
                <a:cubicBezTo>
                  <a:pt x="1359342" y="662301"/>
                  <a:pt x="1357521" y="665945"/>
                  <a:pt x="1355698" y="669589"/>
                </a:cubicBezTo>
                <a:cubicBezTo>
                  <a:pt x="1361164" y="671411"/>
                  <a:pt x="1368453" y="664123"/>
                  <a:pt x="1364809" y="658656"/>
                </a:cubicBezTo>
                <a:close/>
                <a:moveTo>
                  <a:pt x="1310143" y="658656"/>
                </a:moveTo>
                <a:cubicBezTo>
                  <a:pt x="1301033" y="662301"/>
                  <a:pt x="1301033" y="667767"/>
                  <a:pt x="1302855" y="673234"/>
                </a:cubicBezTo>
                <a:cubicBezTo>
                  <a:pt x="1304677" y="671411"/>
                  <a:pt x="1306499" y="665945"/>
                  <a:pt x="1304677" y="664123"/>
                </a:cubicBezTo>
                <a:cubicBezTo>
                  <a:pt x="1308321" y="665945"/>
                  <a:pt x="1308321" y="660478"/>
                  <a:pt x="1310143" y="658656"/>
                </a:cubicBezTo>
                <a:close/>
                <a:moveTo>
                  <a:pt x="1275522" y="658656"/>
                </a:moveTo>
                <a:cubicBezTo>
                  <a:pt x="1271878" y="658656"/>
                  <a:pt x="1273700" y="660478"/>
                  <a:pt x="1271878" y="660478"/>
                </a:cubicBezTo>
                <a:cubicBezTo>
                  <a:pt x="1273700" y="662301"/>
                  <a:pt x="1273700" y="660478"/>
                  <a:pt x="1275522" y="660478"/>
                </a:cubicBezTo>
                <a:close/>
                <a:moveTo>
                  <a:pt x="1240901" y="658656"/>
                </a:moveTo>
                <a:cubicBezTo>
                  <a:pt x="1239080" y="656834"/>
                  <a:pt x="1239080" y="662301"/>
                  <a:pt x="1237256" y="662301"/>
                </a:cubicBezTo>
                <a:cubicBezTo>
                  <a:pt x="1239080" y="662301"/>
                  <a:pt x="1242723" y="665945"/>
                  <a:pt x="1248189" y="664123"/>
                </a:cubicBezTo>
                <a:cubicBezTo>
                  <a:pt x="1246367" y="662301"/>
                  <a:pt x="1244545" y="660478"/>
                  <a:pt x="1242723" y="658656"/>
                </a:cubicBezTo>
                <a:cubicBezTo>
                  <a:pt x="1240901" y="658656"/>
                  <a:pt x="1240901" y="660478"/>
                  <a:pt x="1239080" y="662301"/>
                </a:cubicBezTo>
                <a:cubicBezTo>
                  <a:pt x="1237256" y="660478"/>
                  <a:pt x="1240901" y="660478"/>
                  <a:pt x="1240901" y="658656"/>
                </a:cubicBezTo>
                <a:close/>
                <a:moveTo>
                  <a:pt x="1200814" y="658656"/>
                </a:moveTo>
                <a:lnTo>
                  <a:pt x="1186353" y="669902"/>
                </a:lnTo>
                <a:lnTo>
                  <a:pt x="1186236" y="669589"/>
                </a:lnTo>
                <a:lnTo>
                  <a:pt x="1185821" y="670317"/>
                </a:lnTo>
                <a:lnTo>
                  <a:pt x="1184414" y="671411"/>
                </a:lnTo>
                <a:cubicBezTo>
                  <a:pt x="1184414" y="672323"/>
                  <a:pt x="1184869" y="671867"/>
                  <a:pt x="1185325" y="671184"/>
                </a:cubicBezTo>
                <a:lnTo>
                  <a:pt x="1185821" y="670317"/>
                </a:lnTo>
                <a:lnTo>
                  <a:pt x="1186353" y="669902"/>
                </a:lnTo>
                <a:lnTo>
                  <a:pt x="1186919" y="671412"/>
                </a:lnTo>
                <a:cubicBezTo>
                  <a:pt x="1186235" y="671867"/>
                  <a:pt x="1185324" y="672323"/>
                  <a:pt x="1186236" y="673234"/>
                </a:cubicBezTo>
                <a:cubicBezTo>
                  <a:pt x="1188058" y="675967"/>
                  <a:pt x="1189880" y="675512"/>
                  <a:pt x="1191703" y="674601"/>
                </a:cubicBezTo>
                <a:lnTo>
                  <a:pt x="1193333" y="674193"/>
                </a:lnTo>
                <a:lnTo>
                  <a:pt x="1190563" y="675512"/>
                </a:lnTo>
                <a:cubicBezTo>
                  <a:pt x="1189424" y="676878"/>
                  <a:pt x="1188969" y="678701"/>
                  <a:pt x="1189880" y="680522"/>
                </a:cubicBezTo>
                <a:lnTo>
                  <a:pt x="1194925" y="673795"/>
                </a:lnTo>
                <a:lnTo>
                  <a:pt x="1197169" y="673234"/>
                </a:lnTo>
                <a:cubicBezTo>
                  <a:pt x="1198991" y="667767"/>
                  <a:pt x="1202636" y="664123"/>
                  <a:pt x="1200814" y="658656"/>
                </a:cubicBezTo>
                <a:close/>
                <a:moveTo>
                  <a:pt x="929309" y="658656"/>
                </a:moveTo>
                <a:cubicBezTo>
                  <a:pt x="914732" y="671411"/>
                  <a:pt x="922020" y="667767"/>
                  <a:pt x="931131" y="660478"/>
                </a:cubicBezTo>
                <a:cubicBezTo>
                  <a:pt x="931131" y="660478"/>
                  <a:pt x="929309" y="658656"/>
                  <a:pt x="929309" y="658656"/>
                </a:cubicBezTo>
                <a:close/>
                <a:moveTo>
                  <a:pt x="510209" y="658656"/>
                </a:moveTo>
                <a:cubicBezTo>
                  <a:pt x="510209" y="664123"/>
                  <a:pt x="517498" y="667767"/>
                  <a:pt x="519320" y="673234"/>
                </a:cubicBezTo>
                <a:cubicBezTo>
                  <a:pt x="519320" y="669589"/>
                  <a:pt x="519320" y="660478"/>
                  <a:pt x="510209" y="658656"/>
                </a:cubicBezTo>
                <a:close/>
                <a:moveTo>
                  <a:pt x="475589" y="658656"/>
                </a:moveTo>
                <a:cubicBezTo>
                  <a:pt x="473766" y="660478"/>
                  <a:pt x="475589" y="662301"/>
                  <a:pt x="475589" y="664123"/>
                </a:cubicBezTo>
                <a:cubicBezTo>
                  <a:pt x="477410" y="664123"/>
                  <a:pt x="475589" y="662301"/>
                  <a:pt x="477410" y="662301"/>
                </a:cubicBezTo>
                <a:cubicBezTo>
                  <a:pt x="479232" y="665945"/>
                  <a:pt x="475589" y="667767"/>
                  <a:pt x="481054" y="673234"/>
                </a:cubicBezTo>
                <a:cubicBezTo>
                  <a:pt x="486521" y="669589"/>
                  <a:pt x="479232" y="660478"/>
                  <a:pt x="475589" y="658656"/>
                </a:cubicBezTo>
                <a:close/>
                <a:moveTo>
                  <a:pt x="440966" y="658656"/>
                </a:moveTo>
                <a:cubicBezTo>
                  <a:pt x="435500" y="658656"/>
                  <a:pt x="439145" y="660478"/>
                  <a:pt x="442789" y="665945"/>
                </a:cubicBezTo>
                <a:cubicBezTo>
                  <a:pt x="446433" y="664123"/>
                  <a:pt x="442789" y="660478"/>
                  <a:pt x="440966" y="658656"/>
                </a:cubicBezTo>
                <a:close/>
                <a:moveTo>
                  <a:pt x="3591798" y="658480"/>
                </a:moveTo>
                <a:lnTo>
                  <a:pt x="3595150" y="658656"/>
                </a:lnTo>
                <a:lnTo>
                  <a:pt x="3595096" y="659037"/>
                </a:lnTo>
                <a:lnTo>
                  <a:pt x="3594011" y="659112"/>
                </a:lnTo>
                <a:close/>
                <a:moveTo>
                  <a:pt x="2892930" y="657974"/>
                </a:moveTo>
                <a:cubicBezTo>
                  <a:pt x="2891791" y="659112"/>
                  <a:pt x="2890879" y="660479"/>
                  <a:pt x="2889968" y="658656"/>
                </a:cubicBezTo>
                <a:cubicBezTo>
                  <a:pt x="2888146" y="667767"/>
                  <a:pt x="2891790" y="675056"/>
                  <a:pt x="2882680" y="671411"/>
                </a:cubicBezTo>
                <a:cubicBezTo>
                  <a:pt x="2880857" y="680522"/>
                  <a:pt x="2893613" y="680522"/>
                  <a:pt x="2897257" y="675056"/>
                </a:cubicBezTo>
                <a:cubicBezTo>
                  <a:pt x="2893613" y="684167"/>
                  <a:pt x="2904546" y="691455"/>
                  <a:pt x="2910012" y="689633"/>
                </a:cubicBezTo>
                <a:cubicBezTo>
                  <a:pt x="2915479" y="685989"/>
                  <a:pt x="2917301" y="689633"/>
                  <a:pt x="2920945" y="691455"/>
                </a:cubicBezTo>
                <a:cubicBezTo>
                  <a:pt x="2917301" y="684167"/>
                  <a:pt x="2917301" y="669589"/>
                  <a:pt x="2906368" y="671411"/>
                </a:cubicBezTo>
                <a:cubicBezTo>
                  <a:pt x="2900901" y="673234"/>
                  <a:pt x="2908190" y="678700"/>
                  <a:pt x="2908190" y="684167"/>
                </a:cubicBezTo>
                <a:cubicBezTo>
                  <a:pt x="2906368" y="682345"/>
                  <a:pt x="2904546" y="682345"/>
                  <a:pt x="2902724" y="684167"/>
                </a:cubicBezTo>
                <a:cubicBezTo>
                  <a:pt x="2900901" y="682345"/>
                  <a:pt x="2900901" y="676878"/>
                  <a:pt x="2902724" y="675056"/>
                </a:cubicBezTo>
                <a:cubicBezTo>
                  <a:pt x="2900901" y="675056"/>
                  <a:pt x="2900901" y="676878"/>
                  <a:pt x="2899079" y="676878"/>
                </a:cubicBezTo>
                <a:cubicBezTo>
                  <a:pt x="2899079" y="671411"/>
                  <a:pt x="2897257" y="665945"/>
                  <a:pt x="2891790" y="664123"/>
                </a:cubicBezTo>
                <a:cubicBezTo>
                  <a:pt x="2895435" y="665945"/>
                  <a:pt x="2900901" y="662301"/>
                  <a:pt x="2897257" y="658656"/>
                </a:cubicBezTo>
                <a:cubicBezTo>
                  <a:pt x="2895435" y="655923"/>
                  <a:pt x="2894068" y="656835"/>
                  <a:pt x="2892930" y="657974"/>
                </a:cubicBezTo>
                <a:close/>
                <a:moveTo>
                  <a:pt x="3589921" y="657944"/>
                </a:moveTo>
                <a:lnTo>
                  <a:pt x="3591798" y="658480"/>
                </a:lnTo>
                <a:lnTo>
                  <a:pt x="3590822" y="658429"/>
                </a:lnTo>
                <a:close/>
                <a:moveTo>
                  <a:pt x="3587861" y="656834"/>
                </a:moveTo>
                <a:lnTo>
                  <a:pt x="3589921" y="657944"/>
                </a:lnTo>
                <a:lnTo>
                  <a:pt x="3588037" y="657405"/>
                </a:lnTo>
                <a:close/>
                <a:moveTo>
                  <a:pt x="2917301" y="656834"/>
                </a:moveTo>
                <a:cubicBezTo>
                  <a:pt x="2913656" y="655012"/>
                  <a:pt x="2913656" y="660478"/>
                  <a:pt x="2915479" y="662301"/>
                </a:cubicBezTo>
                <a:cubicBezTo>
                  <a:pt x="2917301" y="660478"/>
                  <a:pt x="2917301" y="658656"/>
                  <a:pt x="2920945" y="660478"/>
                </a:cubicBezTo>
                <a:cubicBezTo>
                  <a:pt x="2919123" y="658656"/>
                  <a:pt x="2917301" y="658656"/>
                  <a:pt x="2917301" y="656834"/>
                </a:cubicBezTo>
                <a:close/>
                <a:moveTo>
                  <a:pt x="2585665" y="656834"/>
                </a:moveTo>
                <a:cubicBezTo>
                  <a:pt x="2580199" y="658656"/>
                  <a:pt x="2569266" y="660478"/>
                  <a:pt x="2569266" y="662301"/>
                </a:cubicBezTo>
                <a:cubicBezTo>
                  <a:pt x="2565621" y="682345"/>
                  <a:pt x="2583843" y="667767"/>
                  <a:pt x="2596598" y="671411"/>
                </a:cubicBezTo>
                <a:cubicBezTo>
                  <a:pt x="2594776" y="662301"/>
                  <a:pt x="2589310" y="660478"/>
                  <a:pt x="2585665" y="656834"/>
                </a:cubicBezTo>
                <a:close/>
                <a:moveTo>
                  <a:pt x="1302855" y="656834"/>
                </a:moveTo>
                <a:lnTo>
                  <a:pt x="1303176" y="658764"/>
                </a:lnTo>
                <a:lnTo>
                  <a:pt x="1303083" y="658656"/>
                </a:lnTo>
                <a:cubicBezTo>
                  <a:pt x="1303311" y="657745"/>
                  <a:pt x="1303767" y="656834"/>
                  <a:pt x="1302855" y="656834"/>
                </a:cubicBezTo>
                <a:close/>
                <a:moveTo>
                  <a:pt x="1259123" y="656834"/>
                </a:moveTo>
                <a:cubicBezTo>
                  <a:pt x="1255478" y="656834"/>
                  <a:pt x="1253656" y="660478"/>
                  <a:pt x="1251834" y="662301"/>
                </a:cubicBezTo>
                <a:cubicBezTo>
                  <a:pt x="1251834" y="664123"/>
                  <a:pt x="1251834" y="665945"/>
                  <a:pt x="1253656" y="667767"/>
                </a:cubicBezTo>
                <a:cubicBezTo>
                  <a:pt x="1257300" y="664123"/>
                  <a:pt x="1257300" y="660478"/>
                  <a:pt x="1259123" y="656834"/>
                </a:cubicBezTo>
                <a:close/>
                <a:moveTo>
                  <a:pt x="1213568" y="656834"/>
                </a:moveTo>
                <a:cubicBezTo>
                  <a:pt x="1209925" y="655012"/>
                  <a:pt x="1208102" y="658656"/>
                  <a:pt x="1204457" y="660478"/>
                </a:cubicBezTo>
                <a:cubicBezTo>
                  <a:pt x="1206279" y="662301"/>
                  <a:pt x="1208102" y="664123"/>
                  <a:pt x="1208102" y="665945"/>
                </a:cubicBezTo>
                <a:cubicBezTo>
                  <a:pt x="1209925" y="660478"/>
                  <a:pt x="1213568" y="660478"/>
                  <a:pt x="1213568" y="656834"/>
                </a:cubicBezTo>
                <a:close/>
                <a:moveTo>
                  <a:pt x="1075083" y="656834"/>
                </a:moveTo>
                <a:cubicBezTo>
                  <a:pt x="1067794" y="658656"/>
                  <a:pt x="1060506" y="664123"/>
                  <a:pt x="1053217" y="667767"/>
                </a:cubicBezTo>
                <a:cubicBezTo>
                  <a:pt x="1058683" y="665945"/>
                  <a:pt x="1071439" y="664123"/>
                  <a:pt x="1075083" y="656834"/>
                </a:cubicBezTo>
                <a:close/>
                <a:moveTo>
                  <a:pt x="903799" y="656834"/>
                </a:moveTo>
                <a:cubicBezTo>
                  <a:pt x="900154" y="662301"/>
                  <a:pt x="892866" y="665945"/>
                  <a:pt x="896510" y="675056"/>
                </a:cubicBezTo>
                <a:cubicBezTo>
                  <a:pt x="900154" y="675056"/>
                  <a:pt x="900154" y="669589"/>
                  <a:pt x="901976" y="667767"/>
                </a:cubicBezTo>
                <a:cubicBezTo>
                  <a:pt x="901976" y="665945"/>
                  <a:pt x="901976" y="669589"/>
                  <a:pt x="901976" y="669589"/>
                </a:cubicBezTo>
                <a:cubicBezTo>
                  <a:pt x="907444" y="667767"/>
                  <a:pt x="900154" y="660478"/>
                  <a:pt x="903799" y="656834"/>
                </a:cubicBezTo>
                <a:close/>
                <a:moveTo>
                  <a:pt x="557586" y="656834"/>
                </a:moveTo>
                <a:cubicBezTo>
                  <a:pt x="553941" y="656834"/>
                  <a:pt x="557586" y="660478"/>
                  <a:pt x="557586" y="662301"/>
                </a:cubicBezTo>
                <a:cubicBezTo>
                  <a:pt x="561230" y="662301"/>
                  <a:pt x="559408" y="660478"/>
                  <a:pt x="561230" y="660478"/>
                </a:cubicBezTo>
                <a:cubicBezTo>
                  <a:pt x="559408" y="658656"/>
                  <a:pt x="557586" y="658656"/>
                  <a:pt x="557586" y="656834"/>
                </a:cubicBezTo>
                <a:close/>
                <a:moveTo>
                  <a:pt x="318882" y="656834"/>
                </a:moveTo>
                <a:cubicBezTo>
                  <a:pt x="320703" y="664123"/>
                  <a:pt x="324347" y="678700"/>
                  <a:pt x="333458" y="676878"/>
                </a:cubicBezTo>
                <a:cubicBezTo>
                  <a:pt x="329814" y="669589"/>
                  <a:pt x="324347" y="662301"/>
                  <a:pt x="318882" y="656834"/>
                </a:cubicBezTo>
                <a:close/>
                <a:moveTo>
                  <a:pt x="194973" y="656834"/>
                </a:moveTo>
                <a:cubicBezTo>
                  <a:pt x="193151" y="658656"/>
                  <a:pt x="196795" y="664123"/>
                  <a:pt x="200439" y="669589"/>
                </a:cubicBezTo>
                <a:cubicBezTo>
                  <a:pt x="202262" y="671411"/>
                  <a:pt x="194973" y="658656"/>
                  <a:pt x="194973" y="656834"/>
                </a:cubicBezTo>
                <a:close/>
                <a:moveTo>
                  <a:pt x="3374666" y="655012"/>
                </a:moveTo>
                <a:cubicBezTo>
                  <a:pt x="3374666" y="656834"/>
                  <a:pt x="3374666" y="656834"/>
                  <a:pt x="3374666" y="658656"/>
                </a:cubicBezTo>
                <a:cubicBezTo>
                  <a:pt x="3378311" y="658656"/>
                  <a:pt x="3381955" y="660478"/>
                  <a:pt x="3380133" y="655012"/>
                </a:cubicBezTo>
                <a:cubicBezTo>
                  <a:pt x="3376489" y="655012"/>
                  <a:pt x="3376489" y="653190"/>
                  <a:pt x="3374666" y="655012"/>
                </a:cubicBezTo>
                <a:close/>
                <a:moveTo>
                  <a:pt x="2521889" y="655012"/>
                </a:moveTo>
                <a:lnTo>
                  <a:pt x="2518245" y="660478"/>
                </a:lnTo>
                <a:lnTo>
                  <a:pt x="2525534" y="665945"/>
                </a:lnTo>
                <a:cubicBezTo>
                  <a:pt x="2523711" y="662301"/>
                  <a:pt x="2523711" y="656834"/>
                  <a:pt x="2521889" y="655012"/>
                </a:cubicBezTo>
                <a:close/>
                <a:moveTo>
                  <a:pt x="1403074" y="655012"/>
                </a:moveTo>
                <a:cubicBezTo>
                  <a:pt x="1397608" y="653190"/>
                  <a:pt x="1386676" y="660478"/>
                  <a:pt x="1392141" y="665945"/>
                </a:cubicBezTo>
                <a:cubicBezTo>
                  <a:pt x="1393963" y="664123"/>
                  <a:pt x="1393963" y="664123"/>
                  <a:pt x="1395787" y="664123"/>
                </a:cubicBezTo>
                <a:cubicBezTo>
                  <a:pt x="1399430" y="662301"/>
                  <a:pt x="1399430" y="658656"/>
                  <a:pt x="1403074" y="655012"/>
                </a:cubicBezTo>
                <a:close/>
                <a:moveTo>
                  <a:pt x="743447" y="655012"/>
                </a:moveTo>
                <a:cubicBezTo>
                  <a:pt x="750737" y="656834"/>
                  <a:pt x="748914" y="665945"/>
                  <a:pt x="758025" y="662301"/>
                </a:cubicBezTo>
                <a:cubicBezTo>
                  <a:pt x="758025" y="660478"/>
                  <a:pt x="752558" y="660478"/>
                  <a:pt x="750737" y="658656"/>
                </a:cubicBezTo>
                <a:cubicBezTo>
                  <a:pt x="748914" y="656834"/>
                  <a:pt x="754380" y="658656"/>
                  <a:pt x="754380" y="656834"/>
                </a:cubicBezTo>
                <a:cubicBezTo>
                  <a:pt x="750737" y="655012"/>
                  <a:pt x="747092" y="653190"/>
                  <a:pt x="743447" y="655012"/>
                </a:cubicBezTo>
                <a:close/>
                <a:moveTo>
                  <a:pt x="628650" y="655012"/>
                </a:moveTo>
                <a:cubicBezTo>
                  <a:pt x="625006" y="656834"/>
                  <a:pt x="632296" y="658656"/>
                  <a:pt x="626828" y="660478"/>
                </a:cubicBezTo>
                <a:cubicBezTo>
                  <a:pt x="630472" y="662301"/>
                  <a:pt x="630472" y="658656"/>
                  <a:pt x="632296" y="658656"/>
                </a:cubicBezTo>
                <a:cubicBezTo>
                  <a:pt x="632296" y="656834"/>
                  <a:pt x="630472" y="656834"/>
                  <a:pt x="628650" y="655012"/>
                </a:cubicBezTo>
                <a:close/>
                <a:moveTo>
                  <a:pt x="626828" y="655012"/>
                </a:moveTo>
                <a:cubicBezTo>
                  <a:pt x="621362" y="653190"/>
                  <a:pt x="621362" y="656834"/>
                  <a:pt x="623185" y="662301"/>
                </a:cubicBezTo>
                <a:cubicBezTo>
                  <a:pt x="626828" y="664123"/>
                  <a:pt x="625006" y="656834"/>
                  <a:pt x="626828" y="655012"/>
                </a:cubicBezTo>
                <a:close/>
                <a:moveTo>
                  <a:pt x="610429" y="655012"/>
                </a:moveTo>
                <a:cubicBezTo>
                  <a:pt x="608606" y="655012"/>
                  <a:pt x="608606" y="658656"/>
                  <a:pt x="606784" y="660478"/>
                </a:cubicBezTo>
                <a:cubicBezTo>
                  <a:pt x="610429" y="662301"/>
                  <a:pt x="608606" y="656834"/>
                  <a:pt x="610429" y="655012"/>
                </a:cubicBezTo>
                <a:close/>
                <a:moveTo>
                  <a:pt x="140308" y="655012"/>
                </a:moveTo>
                <a:cubicBezTo>
                  <a:pt x="142130" y="656834"/>
                  <a:pt x="142130" y="658656"/>
                  <a:pt x="143952" y="662301"/>
                </a:cubicBezTo>
                <a:cubicBezTo>
                  <a:pt x="145774" y="667767"/>
                  <a:pt x="147596" y="673234"/>
                  <a:pt x="149419" y="678700"/>
                </a:cubicBezTo>
                <a:cubicBezTo>
                  <a:pt x="149419" y="676878"/>
                  <a:pt x="149419" y="676878"/>
                  <a:pt x="149419" y="676878"/>
                </a:cubicBezTo>
                <a:cubicBezTo>
                  <a:pt x="153063" y="676878"/>
                  <a:pt x="153063" y="676878"/>
                  <a:pt x="154885" y="678700"/>
                </a:cubicBezTo>
                <a:cubicBezTo>
                  <a:pt x="153063" y="673234"/>
                  <a:pt x="147596" y="667767"/>
                  <a:pt x="143952" y="662301"/>
                </a:cubicBezTo>
                <a:cubicBezTo>
                  <a:pt x="145774" y="662301"/>
                  <a:pt x="145774" y="662301"/>
                  <a:pt x="145774" y="664123"/>
                </a:cubicBezTo>
                <a:cubicBezTo>
                  <a:pt x="145774" y="660478"/>
                  <a:pt x="142130" y="656834"/>
                  <a:pt x="140308" y="655012"/>
                </a:cubicBezTo>
                <a:close/>
                <a:moveTo>
                  <a:pt x="685024" y="654030"/>
                </a:moveTo>
                <a:lnTo>
                  <a:pt x="685138" y="654329"/>
                </a:lnTo>
                <a:lnTo>
                  <a:pt x="681974" y="659666"/>
                </a:lnTo>
                <a:lnTo>
                  <a:pt x="681493" y="658885"/>
                </a:lnTo>
                <a:close/>
                <a:moveTo>
                  <a:pt x="3509507" y="653190"/>
                </a:moveTo>
                <a:cubicBezTo>
                  <a:pt x="3505863" y="651368"/>
                  <a:pt x="3507685" y="658656"/>
                  <a:pt x="3507685" y="660478"/>
                </a:cubicBezTo>
                <a:cubicBezTo>
                  <a:pt x="3513152" y="662301"/>
                  <a:pt x="3513152" y="660478"/>
                  <a:pt x="3516796" y="658656"/>
                </a:cubicBezTo>
                <a:cubicBezTo>
                  <a:pt x="3513152" y="656834"/>
                  <a:pt x="3505863" y="660478"/>
                  <a:pt x="3509507" y="653190"/>
                </a:cubicBezTo>
                <a:close/>
                <a:moveTo>
                  <a:pt x="3398355" y="653190"/>
                </a:moveTo>
                <a:cubicBezTo>
                  <a:pt x="3391066" y="660478"/>
                  <a:pt x="3376489" y="658656"/>
                  <a:pt x="3371022" y="667767"/>
                </a:cubicBezTo>
                <a:cubicBezTo>
                  <a:pt x="3363734" y="669589"/>
                  <a:pt x="3354623" y="667767"/>
                  <a:pt x="3347334" y="673234"/>
                </a:cubicBezTo>
                <a:cubicBezTo>
                  <a:pt x="3347334" y="671411"/>
                  <a:pt x="3347334" y="671411"/>
                  <a:pt x="3345512" y="669589"/>
                </a:cubicBezTo>
                <a:cubicBezTo>
                  <a:pt x="3343690" y="673234"/>
                  <a:pt x="3338223" y="675056"/>
                  <a:pt x="3334579" y="673234"/>
                </a:cubicBezTo>
                <a:cubicBezTo>
                  <a:pt x="3332756" y="676878"/>
                  <a:pt x="3325468" y="680522"/>
                  <a:pt x="3327290" y="687811"/>
                </a:cubicBezTo>
                <a:cubicBezTo>
                  <a:pt x="3329112" y="689633"/>
                  <a:pt x="3330934" y="689633"/>
                  <a:pt x="3332756" y="687811"/>
                </a:cubicBezTo>
                <a:cubicBezTo>
                  <a:pt x="3332756" y="685989"/>
                  <a:pt x="3332756" y="682345"/>
                  <a:pt x="3330934" y="680522"/>
                </a:cubicBezTo>
                <a:cubicBezTo>
                  <a:pt x="3338223" y="682345"/>
                  <a:pt x="3330934" y="687811"/>
                  <a:pt x="3332756" y="689633"/>
                </a:cubicBezTo>
                <a:cubicBezTo>
                  <a:pt x="3327290" y="693278"/>
                  <a:pt x="3320001" y="687811"/>
                  <a:pt x="3321824" y="682345"/>
                </a:cubicBezTo>
                <a:cubicBezTo>
                  <a:pt x="3316357" y="691455"/>
                  <a:pt x="3312713" y="687811"/>
                  <a:pt x="3305424" y="680522"/>
                </a:cubicBezTo>
                <a:cubicBezTo>
                  <a:pt x="3303602" y="682345"/>
                  <a:pt x="3303602" y="685989"/>
                  <a:pt x="3303602" y="687811"/>
                </a:cubicBezTo>
                <a:cubicBezTo>
                  <a:pt x="3299957" y="687811"/>
                  <a:pt x="3299957" y="682345"/>
                  <a:pt x="3299957" y="680522"/>
                </a:cubicBezTo>
                <a:cubicBezTo>
                  <a:pt x="3299957" y="678700"/>
                  <a:pt x="3294491" y="685989"/>
                  <a:pt x="3292669" y="680522"/>
                </a:cubicBezTo>
                <a:cubicBezTo>
                  <a:pt x="3290847" y="684167"/>
                  <a:pt x="3290847" y="684167"/>
                  <a:pt x="3289024" y="685989"/>
                </a:cubicBezTo>
                <a:cubicBezTo>
                  <a:pt x="3283558" y="685989"/>
                  <a:pt x="3274447" y="687811"/>
                  <a:pt x="3276269" y="696922"/>
                </a:cubicBezTo>
                <a:cubicBezTo>
                  <a:pt x="3274447" y="696922"/>
                  <a:pt x="3272625" y="695100"/>
                  <a:pt x="3272625" y="695100"/>
                </a:cubicBezTo>
                <a:cubicBezTo>
                  <a:pt x="3272625" y="689633"/>
                  <a:pt x="3276269" y="680522"/>
                  <a:pt x="3268980" y="678700"/>
                </a:cubicBezTo>
                <a:cubicBezTo>
                  <a:pt x="3267158" y="676878"/>
                  <a:pt x="3263514" y="678700"/>
                  <a:pt x="3261692" y="678700"/>
                </a:cubicBezTo>
                <a:cubicBezTo>
                  <a:pt x="3261692" y="678700"/>
                  <a:pt x="3261692" y="676878"/>
                  <a:pt x="3261692" y="676878"/>
                </a:cubicBezTo>
                <a:cubicBezTo>
                  <a:pt x="3259869" y="675056"/>
                  <a:pt x="3259869" y="678700"/>
                  <a:pt x="3258047" y="678700"/>
                </a:cubicBezTo>
                <a:cubicBezTo>
                  <a:pt x="3250759" y="676878"/>
                  <a:pt x="3256225" y="673234"/>
                  <a:pt x="3248937" y="669589"/>
                </a:cubicBezTo>
                <a:cubicBezTo>
                  <a:pt x="3239826" y="669589"/>
                  <a:pt x="3228893" y="667767"/>
                  <a:pt x="3223426" y="675056"/>
                </a:cubicBezTo>
                <a:cubicBezTo>
                  <a:pt x="3214315" y="687811"/>
                  <a:pt x="3234359" y="706033"/>
                  <a:pt x="3247114" y="716966"/>
                </a:cubicBezTo>
                <a:cubicBezTo>
                  <a:pt x="3245292" y="718788"/>
                  <a:pt x="3241648" y="722432"/>
                  <a:pt x="3245292" y="726077"/>
                </a:cubicBezTo>
                <a:cubicBezTo>
                  <a:pt x="3247114" y="726077"/>
                  <a:pt x="3248937" y="726077"/>
                  <a:pt x="3250759" y="727899"/>
                </a:cubicBezTo>
                <a:cubicBezTo>
                  <a:pt x="3250759" y="733365"/>
                  <a:pt x="3254403" y="742476"/>
                  <a:pt x="3258047" y="740654"/>
                </a:cubicBezTo>
                <a:cubicBezTo>
                  <a:pt x="3263514" y="737010"/>
                  <a:pt x="3268980" y="740654"/>
                  <a:pt x="3274447" y="738832"/>
                </a:cubicBezTo>
                <a:cubicBezTo>
                  <a:pt x="3272625" y="744298"/>
                  <a:pt x="3265336" y="746121"/>
                  <a:pt x="3263514" y="749765"/>
                </a:cubicBezTo>
                <a:cubicBezTo>
                  <a:pt x="3259869" y="758876"/>
                  <a:pt x="3270803" y="760698"/>
                  <a:pt x="3278091" y="758876"/>
                </a:cubicBezTo>
                <a:cubicBezTo>
                  <a:pt x="3281736" y="757054"/>
                  <a:pt x="3285380" y="755231"/>
                  <a:pt x="3287202" y="753409"/>
                </a:cubicBezTo>
                <a:cubicBezTo>
                  <a:pt x="3287202" y="755231"/>
                  <a:pt x="3285380" y="760698"/>
                  <a:pt x="3287202" y="762520"/>
                </a:cubicBezTo>
                <a:cubicBezTo>
                  <a:pt x="3289024" y="764342"/>
                  <a:pt x="3290847" y="757054"/>
                  <a:pt x="3296313" y="758876"/>
                </a:cubicBezTo>
                <a:cubicBezTo>
                  <a:pt x="3294491" y="755231"/>
                  <a:pt x="3290847" y="757054"/>
                  <a:pt x="3290847" y="755231"/>
                </a:cubicBezTo>
                <a:cubicBezTo>
                  <a:pt x="3285380" y="744298"/>
                  <a:pt x="3290847" y="729721"/>
                  <a:pt x="3301780" y="737010"/>
                </a:cubicBezTo>
                <a:cubicBezTo>
                  <a:pt x="3320001" y="749765"/>
                  <a:pt x="3332756" y="731543"/>
                  <a:pt x="3345512" y="722432"/>
                </a:cubicBezTo>
                <a:cubicBezTo>
                  <a:pt x="3349156" y="718788"/>
                  <a:pt x="3338223" y="709677"/>
                  <a:pt x="3338223" y="700566"/>
                </a:cubicBezTo>
                <a:cubicBezTo>
                  <a:pt x="3343690" y="706033"/>
                  <a:pt x="3341867" y="709677"/>
                  <a:pt x="3350978" y="707855"/>
                </a:cubicBezTo>
                <a:cubicBezTo>
                  <a:pt x="3350978" y="711499"/>
                  <a:pt x="3345512" y="718788"/>
                  <a:pt x="3349156" y="718788"/>
                </a:cubicBezTo>
                <a:cubicBezTo>
                  <a:pt x="3358267" y="720610"/>
                  <a:pt x="3371022" y="711499"/>
                  <a:pt x="3360089" y="700566"/>
                </a:cubicBezTo>
                <a:cubicBezTo>
                  <a:pt x="3363734" y="704211"/>
                  <a:pt x="3369200" y="698744"/>
                  <a:pt x="3371022" y="698744"/>
                </a:cubicBezTo>
                <a:lnTo>
                  <a:pt x="3371450" y="703870"/>
                </a:lnTo>
                <a:lnTo>
                  <a:pt x="3371022" y="704211"/>
                </a:lnTo>
                <a:lnTo>
                  <a:pt x="3371271" y="704708"/>
                </a:lnTo>
                <a:lnTo>
                  <a:pt x="3369200" y="709677"/>
                </a:lnTo>
                <a:cubicBezTo>
                  <a:pt x="3371022" y="707855"/>
                  <a:pt x="3371022" y="707855"/>
                  <a:pt x="3372844" y="707855"/>
                </a:cubicBezTo>
                <a:lnTo>
                  <a:pt x="3371271" y="704708"/>
                </a:lnTo>
                <a:lnTo>
                  <a:pt x="3371478" y="704211"/>
                </a:lnTo>
                <a:lnTo>
                  <a:pt x="3371450" y="703870"/>
                </a:lnTo>
                <a:lnTo>
                  <a:pt x="3380133" y="696922"/>
                </a:lnTo>
                <a:cubicBezTo>
                  <a:pt x="3372844" y="691455"/>
                  <a:pt x="3371022" y="685989"/>
                  <a:pt x="3378311" y="680522"/>
                </a:cubicBezTo>
                <a:cubicBezTo>
                  <a:pt x="3374666" y="682345"/>
                  <a:pt x="3374666" y="680522"/>
                  <a:pt x="3372844" y="678700"/>
                </a:cubicBezTo>
                <a:cubicBezTo>
                  <a:pt x="3372844" y="675056"/>
                  <a:pt x="3365556" y="673234"/>
                  <a:pt x="3371022" y="667767"/>
                </a:cubicBezTo>
                <a:cubicBezTo>
                  <a:pt x="3376489" y="667767"/>
                  <a:pt x="3380133" y="678700"/>
                  <a:pt x="3383777" y="671411"/>
                </a:cubicBezTo>
                <a:cubicBezTo>
                  <a:pt x="3387422" y="671411"/>
                  <a:pt x="3383777" y="676878"/>
                  <a:pt x="3383777" y="678700"/>
                </a:cubicBezTo>
                <a:cubicBezTo>
                  <a:pt x="3389244" y="675056"/>
                  <a:pt x="3389244" y="676878"/>
                  <a:pt x="3392888" y="680522"/>
                </a:cubicBezTo>
                <a:cubicBezTo>
                  <a:pt x="3403821" y="678700"/>
                  <a:pt x="3392888" y="662301"/>
                  <a:pt x="3400177" y="658656"/>
                </a:cubicBezTo>
                <a:cubicBezTo>
                  <a:pt x="3401999" y="655012"/>
                  <a:pt x="3396532" y="656834"/>
                  <a:pt x="3398355" y="653190"/>
                </a:cubicBezTo>
                <a:close/>
                <a:moveTo>
                  <a:pt x="2822548" y="653190"/>
                </a:moveTo>
                <a:cubicBezTo>
                  <a:pt x="2817081" y="653190"/>
                  <a:pt x="2818903" y="664123"/>
                  <a:pt x="2826192" y="662301"/>
                </a:cubicBezTo>
                <a:cubicBezTo>
                  <a:pt x="2826192" y="656834"/>
                  <a:pt x="2822548" y="656834"/>
                  <a:pt x="2822548" y="653190"/>
                </a:cubicBezTo>
                <a:close/>
                <a:moveTo>
                  <a:pt x="2762416" y="653190"/>
                </a:moveTo>
                <a:lnTo>
                  <a:pt x="2769341" y="656291"/>
                </a:lnTo>
                <a:lnTo>
                  <a:pt x="2771527" y="667767"/>
                </a:lnTo>
                <a:lnTo>
                  <a:pt x="2766789" y="667767"/>
                </a:lnTo>
                <a:close/>
                <a:moveTo>
                  <a:pt x="2332383" y="653190"/>
                </a:moveTo>
                <a:cubicBezTo>
                  <a:pt x="2323272" y="658656"/>
                  <a:pt x="2330561" y="673234"/>
                  <a:pt x="2337850" y="678700"/>
                </a:cubicBezTo>
                <a:cubicBezTo>
                  <a:pt x="2339672" y="664123"/>
                  <a:pt x="2330561" y="669589"/>
                  <a:pt x="2332383" y="653190"/>
                </a:cubicBezTo>
                <a:close/>
                <a:moveTo>
                  <a:pt x="1439518" y="653190"/>
                </a:moveTo>
                <a:cubicBezTo>
                  <a:pt x="1432229" y="651368"/>
                  <a:pt x="1432229" y="660478"/>
                  <a:pt x="1432229" y="665945"/>
                </a:cubicBezTo>
                <a:cubicBezTo>
                  <a:pt x="1435873" y="662301"/>
                  <a:pt x="1439518" y="656834"/>
                  <a:pt x="1439518" y="653190"/>
                </a:cubicBezTo>
                <a:close/>
                <a:moveTo>
                  <a:pt x="1341120" y="653190"/>
                </a:moveTo>
                <a:cubicBezTo>
                  <a:pt x="1337476" y="655012"/>
                  <a:pt x="1333832" y="660478"/>
                  <a:pt x="1332009" y="658656"/>
                </a:cubicBezTo>
                <a:cubicBezTo>
                  <a:pt x="1335654" y="667767"/>
                  <a:pt x="1324721" y="676878"/>
                  <a:pt x="1326543" y="685989"/>
                </a:cubicBezTo>
                <a:cubicBezTo>
                  <a:pt x="1332009" y="684167"/>
                  <a:pt x="1335654" y="678700"/>
                  <a:pt x="1335654" y="673234"/>
                </a:cubicBezTo>
                <a:cubicBezTo>
                  <a:pt x="1335654" y="673234"/>
                  <a:pt x="1335654" y="675056"/>
                  <a:pt x="1335654" y="675056"/>
                </a:cubicBezTo>
                <a:cubicBezTo>
                  <a:pt x="1341120" y="669589"/>
                  <a:pt x="1348410" y="660478"/>
                  <a:pt x="1341120" y="653190"/>
                </a:cubicBezTo>
                <a:close/>
                <a:moveTo>
                  <a:pt x="1297388" y="653190"/>
                </a:moveTo>
                <a:cubicBezTo>
                  <a:pt x="1295566" y="653190"/>
                  <a:pt x="1291922" y="658656"/>
                  <a:pt x="1291922" y="660478"/>
                </a:cubicBezTo>
                <a:cubicBezTo>
                  <a:pt x="1282811" y="664123"/>
                  <a:pt x="1282811" y="673234"/>
                  <a:pt x="1277344" y="680522"/>
                </a:cubicBezTo>
                <a:cubicBezTo>
                  <a:pt x="1280989" y="680522"/>
                  <a:pt x="1282811" y="678700"/>
                  <a:pt x="1288277" y="676878"/>
                </a:cubicBezTo>
                <a:cubicBezTo>
                  <a:pt x="1290100" y="669589"/>
                  <a:pt x="1295566" y="660478"/>
                  <a:pt x="1297388" y="653190"/>
                </a:cubicBezTo>
                <a:close/>
                <a:moveTo>
                  <a:pt x="1246367" y="653190"/>
                </a:moveTo>
                <a:cubicBezTo>
                  <a:pt x="1244545" y="653190"/>
                  <a:pt x="1244545" y="655012"/>
                  <a:pt x="1242723" y="655012"/>
                </a:cubicBezTo>
                <a:cubicBezTo>
                  <a:pt x="1244545" y="656834"/>
                  <a:pt x="1246367" y="664123"/>
                  <a:pt x="1250012" y="662301"/>
                </a:cubicBezTo>
                <a:cubicBezTo>
                  <a:pt x="1248189" y="658656"/>
                  <a:pt x="1248189" y="656834"/>
                  <a:pt x="1246367" y="653190"/>
                </a:cubicBezTo>
                <a:close/>
                <a:moveTo>
                  <a:pt x="1186236" y="653190"/>
                </a:moveTo>
                <a:cubicBezTo>
                  <a:pt x="1186236" y="653190"/>
                  <a:pt x="1178947" y="656834"/>
                  <a:pt x="1182592" y="658656"/>
                </a:cubicBezTo>
                <a:cubicBezTo>
                  <a:pt x="1184414" y="656834"/>
                  <a:pt x="1184414" y="655012"/>
                  <a:pt x="1186236" y="653190"/>
                </a:cubicBezTo>
                <a:close/>
                <a:moveTo>
                  <a:pt x="1115171" y="653190"/>
                </a:moveTo>
                <a:cubicBezTo>
                  <a:pt x="1107882" y="662301"/>
                  <a:pt x="1098771" y="665945"/>
                  <a:pt x="1096949" y="676878"/>
                </a:cubicBezTo>
                <a:cubicBezTo>
                  <a:pt x="1104238" y="675056"/>
                  <a:pt x="1107882" y="664123"/>
                  <a:pt x="1113349" y="658656"/>
                </a:cubicBezTo>
                <a:cubicBezTo>
                  <a:pt x="1116993" y="655012"/>
                  <a:pt x="1115171" y="655012"/>
                  <a:pt x="1115171" y="653190"/>
                </a:cubicBezTo>
                <a:close/>
                <a:moveTo>
                  <a:pt x="1100593" y="653190"/>
                </a:moveTo>
                <a:cubicBezTo>
                  <a:pt x="1096949" y="653190"/>
                  <a:pt x="1091484" y="656834"/>
                  <a:pt x="1095127" y="658656"/>
                </a:cubicBezTo>
                <a:cubicBezTo>
                  <a:pt x="1095127" y="658656"/>
                  <a:pt x="1096949" y="656834"/>
                  <a:pt x="1096949" y="656834"/>
                </a:cubicBezTo>
                <a:cubicBezTo>
                  <a:pt x="1098771" y="658656"/>
                  <a:pt x="1096949" y="660478"/>
                  <a:pt x="1096949" y="662301"/>
                </a:cubicBezTo>
                <a:cubicBezTo>
                  <a:pt x="1100593" y="660478"/>
                  <a:pt x="1098771" y="656834"/>
                  <a:pt x="1100593" y="653190"/>
                </a:cubicBezTo>
                <a:close/>
                <a:moveTo>
                  <a:pt x="444611" y="653190"/>
                </a:moveTo>
                <a:cubicBezTo>
                  <a:pt x="446433" y="660478"/>
                  <a:pt x="453722" y="665945"/>
                  <a:pt x="459188" y="667767"/>
                </a:cubicBezTo>
                <a:cubicBezTo>
                  <a:pt x="459188" y="660478"/>
                  <a:pt x="448256" y="658656"/>
                  <a:pt x="444611" y="653190"/>
                </a:cubicBezTo>
                <a:close/>
                <a:moveTo>
                  <a:pt x="415456" y="653190"/>
                </a:moveTo>
                <a:cubicBezTo>
                  <a:pt x="411812" y="662301"/>
                  <a:pt x="424567" y="660478"/>
                  <a:pt x="424567" y="664123"/>
                </a:cubicBezTo>
                <a:cubicBezTo>
                  <a:pt x="426389" y="658656"/>
                  <a:pt x="417278" y="655012"/>
                  <a:pt x="415456" y="653190"/>
                </a:cubicBezTo>
                <a:close/>
                <a:moveTo>
                  <a:pt x="493582" y="652962"/>
                </a:moveTo>
                <a:cubicBezTo>
                  <a:pt x="492898" y="652735"/>
                  <a:pt x="491987" y="653190"/>
                  <a:pt x="490165" y="655012"/>
                </a:cubicBezTo>
                <a:cubicBezTo>
                  <a:pt x="491987" y="655012"/>
                  <a:pt x="493809" y="656834"/>
                  <a:pt x="493809" y="658656"/>
                </a:cubicBezTo>
                <a:cubicBezTo>
                  <a:pt x="495632" y="660478"/>
                  <a:pt x="493809" y="655012"/>
                  <a:pt x="495632" y="655012"/>
                </a:cubicBezTo>
                <a:cubicBezTo>
                  <a:pt x="494721" y="654101"/>
                  <a:pt x="494265" y="653190"/>
                  <a:pt x="493582" y="652962"/>
                </a:cubicBezTo>
                <a:close/>
                <a:moveTo>
                  <a:pt x="3592645" y="652962"/>
                </a:moveTo>
                <a:cubicBezTo>
                  <a:pt x="3589228" y="651823"/>
                  <a:pt x="3586039" y="652279"/>
                  <a:pt x="3586039" y="656834"/>
                </a:cubicBezTo>
                <a:lnTo>
                  <a:pt x="3588037" y="657405"/>
                </a:lnTo>
                <a:lnTo>
                  <a:pt x="3588772" y="659795"/>
                </a:lnTo>
                <a:cubicBezTo>
                  <a:pt x="3589683" y="660934"/>
                  <a:pt x="3590594" y="662301"/>
                  <a:pt x="3589683" y="664123"/>
                </a:cubicBezTo>
                <a:cubicBezTo>
                  <a:pt x="3591505" y="664123"/>
                  <a:pt x="3593328" y="664123"/>
                  <a:pt x="3594467" y="663440"/>
                </a:cubicBezTo>
                <a:lnTo>
                  <a:pt x="3595096" y="659037"/>
                </a:lnTo>
                <a:lnTo>
                  <a:pt x="3600616" y="658656"/>
                </a:lnTo>
                <a:cubicBezTo>
                  <a:pt x="3599705" y="656834"/>
                  <a:pt x="3596061" y="654101"/>
                  <a:pt x="3592645" y="652962"/>
                </a:cubicBezTo>
                <a:close/>
                <a:moveTo>
                  <a:pt x="1412185" y="651368"/>
                </a:moveTo>
                <a:lnTo>
                  <a:pt x="1404896" y="661572"/>
                </a:lnTo>
                <a:lnTo>
                  <a:pt x="1404896" y="658656"/>
                </a:lnTo>
                <a:cubicBezTo>
                  <a:pt x="1403074" y="660478"/>
                  <a:pt x="1404896" y="662301"/>
                  <a:pt x="1403074" y="664123"/>
                </a:cubicBezTo>
                <a:lnTo>
                  <a:pt x="1404896" y="661572"/>
                </a:lnTo>
                <a:lnTo>
                  <a:pt x="1404896" y="665945"/>
                </a:lnTo>
                <a:cubicBezTo>
                  <a:pt x="1410363" y="664123"/>
                  <a:pt x="1415829" y="656834"/>
                  <a:pt x="1412185" y="651368"/>
                </a:cubicBezTo>
                <a:close/>
                <a:moveTo>
                  <a:pt x="1326543" y="651368"/>
                </a:moveTo>
                <a:cubicBezTo>
                  <a:pt x="1321077" y="655012"/>
                  <a:pt x="1321077" y="658656"/>
                  <a:pt x="1319254" y="662301"/>
                </a:cubicBezTo>
                <a:cubicBezTo>
                  <a:pt x="1322899" y="662301"/>
                  <a:pt x="1326543" y="658656"/>
                  <a:pt x="1330188" y="656834"/>
                </a:cubicBezTo>
                <a:cubicBezTo>
                  <a:pt x="1330188" y="655012"/>
                  <a:pt x="1328365" y="653190"/>
                  <a:pt x="1326543" y="651368"/>
                </a:cubicBezTo>
                <a:close/>
                <a:moveTo>
                  <a:pt x="1107882" y="651368"/>
                </a:moveTo>
                <a:cubicBezTo>
                  <a:pt x="1104238" y="653190"/>
                  <a:pt x="1104238" y="655012"/>
                  <a:pt x="1104238" y="656834"/>
                </a:cubicBezTo>
                <a:cubicBezTo>
                  <a:pt x="1106060" y="658656"/>
                  <a:pt x="1109704" y="653190"/>
                  <a:pt x="1107882" y="651368"/>
                </a:cubicBezTo>
                <a:close/>
                <a:moveTo>
                  <a:pt x="1022240" y="651368"/>
                </a:moveTo>
                <a:lnTo>
                  <a:pt x="1018483" y="662637"/>
                </a:lnTo>
                <a:lnTo>
                  <a:pt x="1018368" y="662757"/>
                </a:lnTo>
                <a:cubicBezTo>
                  <a:pt x="1017230" y="665945"/>
                  <a:pt x="1016774" y="669590"/>
                  <a:pt x="1014951" y="673234"/>
                </a:cubicBezTo>
                <a:lnTo>
                  <a:pt x="1018483" y="662637"/>
                </a:lnTo>
                <a:lnTo>
                  <a:pt x="1025884" y="655012"/>
                </a:lnTo>
                <a:cubicBezTo>
                  <a:pt x="1022240" y="653190"/>
                  <a:pt x="1024062" y="651368"/>
                  <a:pt x="1022240" y="651368"/>
                </a:cubicBezTo>
                <a:close/>
                <a:moveTo>
                  <a:pt x="805401" y="651368"/>
                </a:moveTo>
                <a:cubicBezTo>
                  <a:pt x="805401" y="656834"/>
                  <a:pt x="803579" y="660478"/>
                  <a:pt x="807223" y="665945"/>
                </a:cubicBezTo>
                <a:cubicBezTo>
                  <a:pt x="809046" y="660478"/>
                  <a:pt x="812690" y="655012"/>
                  <a:pt x="805401" y="651368"/>
                </a:cubicBezTo>
                <a:close/>
                <a:moveTo>
                  <a:pt x="652339" y="651368"/>
                </a:moveTo>
                <a:cubicBezTo>
                  <a:pt x="652339" y="653190"/>
                  <a:pt x="650516" y="653190"/>
                  <a:pt x="650516" y="653190"/>
                </a:cubicBezTo>
                <a:cubicBezTo>
                  <a:pt x="652339" y="655012"/>
                  <a:pt x="654161" y="655012"/>
                  <a:pt x="655983" y="656834"/>
                </a:cubicBezTo>
                <a:cubicBezTo>
                  <a:pt x="655983" y="655012"/>
                  <a:pt x="652339" y="653190"/>
                  <a:pt x="652339" y="651368"/>
                </a:cubicBezTo>
                <a:close/>
                <a:moveTo>
                  <a:pt x="337102" y="651368"/>
                </a:moveTo>
                <a:cubicBezTo>
                  <a:pt x="335280" y="653190"/>
                  <a:pt x="342569" y="656834"/>
                  <a:pt x="344391" y="658656"/>
                </a:cubicBezTo>
                <a:cubicBezTo>
                  <a:pt x="346213" y="656834"/>
                  <a:pt x="344391" y="655012"/>
                  <a:pt x="346213" y="655012"/>
                </a:cubicBezTo>
                <a:cubicBezTo>
                  <a:pt x="344391" y="653190"/>
                  <a:pt x="340747" y="655012"/>
                  <a:pt x="337102" y="651368"/>
                </a:cubicBezTo>
                <a:close/>
                <a:moveTo>
                  <a:pt x="333458" y="651368"/>
                </a:moveTo>
                <a:cubicBezTo>
                  <a:pt x="329814" y="655012"/>
                  <a:pt x="337102" y="658656"/>
                  <a:pt x="338926" y="660478"/>
                </a:cubicBezTo>
                <a:cubicBezTo>
                  <a:pt x="340747" y="658656"/>
                  <a:pt x="335280" y="656834"/>
                  <a:pt x="337102" y="655012"/>
                </a:cubicBezTo>
                <a:cubicBezTo>
                  <a:pt x="337102" y="653190"/>
                  <a:pt x="335280" y="655012"/>
                  <a:pt x="333458" y="651368"/>
                </a:cubicBezTo>
                <a:close/>
                <a:moveTo>
                  <a:pt x="1056541" y="650939"/>
                </a:moveTo>
                <a:lnTo>
                  <a:pt x="1055040" y="653190"/>
                </a:lnTo>
                <a:lnTo>
                  <a:pt x="1055195" y="652587"/>
                </a:lnTo>
                <a:close/>
                <a:moveTo>
                  <a:pt x="3381955" y="649545"/>
                </a:moveTo>
                <a:cubicBezTo>
                  <a:pt x="3380133" y="649545"/>
                  <a:pt x="3380133" y="651368"/>
                  <a:pt x="3380133" y="653190"/>
                </a:cubicBezTo>
                <a:cubicBezTo>
                  <a:pt x="3383777" y="653190"/>
                  <a:pt x="3385600" y="658656"/>
                  <a:pt x="3389244" y="655012"/>
                </a:cubicBezTo>
                <a:cubicBezTo>
                  <a:pt x="3389244" y="653190"/>
                  <a:pt x="3385600" y="655012"/>
                  <a:pt x="3387422" y="649545"/>
                </a:cubicBezTo>
                <a:cubicBezTo>
                  <a:pt x="3385600" y="649545"/>
                  <a:pt x="3381955" y="651368"/>
                  <a:pt x="3381955" y="649545"/>
                </a:cubicBezTo>
                <a:close/>
                <a:moveTo>
                  <a:pt x="2616642" y="649545"/>
                </a:moveTo>
                <a:cubicBezTo>
                  <a:pt x="2612998" y="653190"/>
                  <a:pt x="2618464" y="656834"/>
                  <a:pt x="2616642" y="658656"/>
                </a:cubicBezTo>
                <a:cubicBezTo>
                  <a:pt x="2620287" y="660478"/>
                  <a:pt x="2618464" y="655012"/>
                  <a:pt x="2620287" y="655012"/>
                </a:cubicBezTo>
                <a:cubicBezTo>
                  <a:pt x="2620287" y="651368"/>
                  <a:pt x="2616642" y="655012"/>
                  <a:pt x="2616642" y="649545"/>
                </a:cubicBezTo>
                <a:close/>
                <a:moveTo>
                  <a:pt x="2563799" y="649545"/>
                </a:moveTo>
                <a:cubicBezTo>
                  <a:pt x="2560155" y="653190"/>
                  <a:pt x="2561977" y="658656"/>
                  <a:pt x="2560155" y="662301"/>
                </a:cubicBezTo>
                <a:cubicBezTo>
                  <a:pt x="2561977" y="660478"/>
                  <a:pt x="2563799" y="660478"/>
                  <a:pt x="2565621" y="662301"/>
                </a:cubicBezTo>
                <a:cubicBezTo>
                  <a:pt x="2565621" y="655012"/>
                  <a:pt x="2563799" y="655012"/>
                  <a:pt x="2563799" y="649545"/>
                </a:cubicBezTo>
                <a:close/>
                <a:moveTo>
                  <a:pt x="2545577" y="649545"/>
                </a:moveTo>
                <a:lnTo>
                  <a:pt x="2542302" y="651380"/>
                </a:lnTo>
                <a:lnTo>
                  <a:pt x="2541933" y="651368"/>
                </a:lnTo>
                <a:cubicBezTo>
                  <a:pt x="2543755" y="649545"/>
                  <a:pt x="2543755" y="649545"/>
                  <a:pt x="2545577" y="649545"/>
                </a:cubicBezTo>
                <a:close/>
                <a:moveTo>
                  <a:pt x="519320" y="649545"/>
                </a:moveTo>
                <a:cubicBezTo>
                  <a:pt x="517498" y="649545"/>
                  <a:pt x="519320" y="651368"/>
                  <a:pt x="517498" y="651368"/>
                </a:cubicBezTo>
                <a:cubicBezTo>
                  <a:pt x="522964" y="656834"/>
                  <a:pt x="522964" y="655012"/>
                  <a:pt x="519320" y="649545"/>
                </a:cubicBezTo>
                <a:close/>
                <a:moveTo>
                  <a:pt x="360791" y="649545"/>
                </a:moveTo>
                <a:cubicBezTo>
                  <a:pt x="358969" y="651368"/>
                  <a:pt x="360791" y="653190"/>
                  <a:pt x="358969" y="655012"/>
                </a:cubicBezTo>
                <a:cubicBezTo>
                  <a:pt x="360791" y="655012"/>
                  <a:pt x="362613" y="653190"/>
                  <a:pt x="362613" y="655012"/>
                </a:cubicBezTo>
                <a:cubicBezTo>
                  <a:pt x="364435" y="655012"/>
                  <a:pt x="362613" y="651368"/>
                  <a:pt x="360791" y="649545"/>
                </a:cubicBezTo>
                <a:close/>
                <a:moveTo>
                  <a:pt x="198617" y="649545"/>
                </a:moveTo>
                <a:cubicBezTo>
                  <a:pt x="198617" y="658656"/>
                  <a:pt x="204084" y="667767"/>
                  <a:pt x="211372" y="671411"/>
                </a:cubicBezTo>
                <a:cubicBezTo>
                  <a:pt x="209550" y="664123"/>
                  <a:pt x="204084" y="656834"/>
                  <a:pt x="198617" y="649545"/>
                </a:cubicBezTo>
                <a:close/>
                <a:moveTo>
                  <a:pt x="1210379" y="648407"/>
                </a:moveTo>
                <a:cubicBezTo>
                  <a:pt x="1208101" y="649546"/>
                  <a:pt x="1206279" y="652279"/>
                  <a:pt x="1208102" y="655012"/>
                </a:cubicBezTo>
                <a:cubicBezTo>
                  <a:pt x="1209925" y="653190"/>
                  <a:pt x="1211747" y="655012"/>
                  <a:pt x="1215390" y="651368"/>
                </a:cubicBezTo>
                <a:cubicBezTo>
                  <a:pt x="1215390" y="653190"/>
                  <a:pt x="1217213" y="656834"/>
                  <a:pt x="1219036" y="660478"/>
                </a:cubicBezTo>
                <a:cubicBezTo>
                  <a:pt x="1219036" y="660478"/>
                  <a:pt x="1220858" y="658656"/>
                  <a:pt x="1220858" y="658656"/>
                </a:cubicBezTo>
                <a:cubicBezTo>
                  <a:pt x="1220858" y="662301"/>
                  <a:pt x="1215390" y="665945"/>
                  <a:pt x="1217213" y="669589"/>
                </a:cubicBezTo>
                <a:cubicBezTo>
                  <a:pt x="1220858" y="660478"/>
                  <a:pt x="1231790" y="662301"/>
                  <a:pt x="1235434" y="653190"/>
                </a:cubicBezTo>
                <a:cubicBezTo>
                  <a:pt x="1228146" y="655012"/>
                  <a:pt x="1222679" y="647723"/>
                  <a:pt x="1215390" y="651368"/>
                </a:cubicBezTo>
                <a:cubicBezTo>
                  <a:pt x="1215390" y="647724"/>
                  <a:pt x="1212657" y="647268"/>
                  <a:pt x="1210379" y="648407"/>
                </a:cubicBezTo>
                <a:close/>
                <a:moveTo>
                  <a:pt x="3596972" y="647723"/>
                </a:moveTo>
                <a:cubicBezTo>
                  <a:pt x="3596972" y="649545"/>
                  <a:pt x="3604260" y="647723"/>
                  <a:pt x="3602438" y="653190"/>
                </a:cubicBezTo>
                <a:cubicBezTo>
                  <a:pt x="3598794" y="653190"/>
                  <a:pt x="3596972" y="653190"/>
                  <a:pt x="3595150" y="651368"/>
                </a:cubicBezTo>
                <a:cubicBezTo>
                  <a:pt x="3596972" y="649545"/>
                  <a:pt x="3595150" y="647723"/>
                  <a:pt x="3596972" y="647723"/>
                </a:cubicBezTo>
                <a:close/>
                <a:moveTo>
                  <a:pt x="3208849" y="647723"/>
                </a:moveTo>
                <a:cubicBezTo>
                  <a:pt x="3207027" y="644079"/>
                  <a:pt x="3199738" y="651368"/>
                  <a:pt x="3203382" y="655012"/>
                </a:cubicBezTo>
                <a:cubicBezTo>
                  <a:pt x="3205204" y="649545"/>
                  <a:pt x="3212493" y="649545"/>
                  <a:pt x="3208849" y="647723"/>
                </a:cubicBezTo>
                <a:close/>
                <a:moveTo>
                  <a:pt x="2866280" y="647723"/>
                </a:moveTo>
                <a:cubicBezTo>
                  <a:pt x="2860813" y="647723"/>
                  <a:pt x="2855347" y="645901"/>
                  <a:pt x="2857169" y="653190"/>
                </a:cubicBezTo>
                <a:cubicBezTo>
                  <a:pt x="2864458" y="651368"/>
                  <a:pt x="2864458" y="655012"/>
                  <a:pt x="2869924" y="656834"/>
                </a:cubicBezTo>
                <a:cubicBezTo>
                  <a:pt x="2869924" y="653190"/>
                  <a:pt x="2868102" y="651368"/>
                  <a:pt x="2866280" y="647723"/>
                </a:cubicBezTo>
                <a:close/>
                <a:moveTo>
                  <a:pt x="1386676" y="647723"/>
                </a:moveTo>
                <a:cubicBezTo>
                  <a:pt x="1384854" y="655012"/>
                  <a:pt x="1377564" y="655012"/>
                  <a:pt x="1375743" y="662301"/>
                </a:cubicBezTo>
                <a:cubicBezTo>
                  <a:pt x="1383030" y="662301"/>
                  <a:pt x="1381208" y="655012"/>
                  <a:pt x="1388497" y="653190"/>
                </a:cubicBezTo>
                <a:cubicBezTo>
                  <a:pt x="1386676" y="651368"/>
                  <a:pt x="1388497" y="649545"/>
                  <a:pt x="1386676" y="647723"/>
                </a:cubicBezTo>
                <a:close/>
                <a:moveTo>
                  <a:pt x="1353876" y="647723"/>
                </a:moveTo>
                <a:cubicBezTo>
                  <a:pt x="1348410" y="649545"/>
                  <a:pt x="1337476" y="653190"/>
                  <a:pt x="1344765" y="660478"/>
                </a:cubicBezTo>
                <a:cubicBezTo>
                  <a:pt x="1350231" y="658656"/>
                  <a:pt x="1350231" y="651368"/>
                  <a:pt x="1353876" y="647723"/>
                </a:cubicBezTo>
                <a:close/>
                <a:moveTo>
                  <a:pt x="1321077" y="647723"/>
                </a:moveTo>
                <a:cubicBezTo>
                  <a:pt x="1313788" y="653190"/>
                  <a:pt x="1310143" y="662301"/>
                  <a:pt x="1308321" y="669589"/>
                </a:cubicBezTo>
                <a:cubicBezTo>
                  <a:pt x="1310143" y="669589"/>
                  <a:pt x="1313788" y="669589"/>
                  <a:pt x="1310143" y="673234"/>
                </a:cubicBezTo>
                <a:cubicBezTo>
                  <a:pt x="1311966" y="675056"/>
                  <a:pt x="1311966" y="669589"/>
                  <a:pt x="1313788" y="669589"/>
                </a:cubicBezTo>
                <a:cubicBezTo>
                  <a:pt x="1311966" y="667767"/>
                  <a:pt x="1311966" y="669589"/>
                  <a:pt x="1310143" y="667767"/>
                </a:cubicBezTo>
                <a:cubicBezTo>
                  <a:pt x="1310143" y="667767"/>
                  <a:pt x="1313788" y="667767"/>
                  <a:pt x="1311966" y="664123"/>
                </a:cubicBezTo>
                <a:cubicBezTo>
                  <a:pt x="1313788" y="664123"/>
                  <a:pt x="1311966" y="665945"/>
                  <a:pt x="1313788" y="667767"/>
                </a:cubicBezTo>
                <a:cubicBezTo>
                  <a:pt x="1317432" y="660478"/>
                  <a:pt x="1317432" y="655012"/>
                  <a:pt x="1321077" y="647723"/>
                </a:cubicBezTo>
                <a:close/>
                <a:moveTo>
                  <a:pt x="1304677" y="647723"/>
                </a:moveTo>
                <a:cubicBezTo>
                  <a:pt x="1297388" y="651368"/>
                  <a:pt x="1299210" y="656834"/>
                  <a:pt x="1301033" y="662301"/>
                </a:cubicBezTo>
                <a:cubicBezTo>
                  <a:pt x="1302855" y="661390"/>
                  <a:pt x="1303311" y="660479"/>
                  <a:pt x="1303311" y="659568"/>
                </a:cubicBezTo>
                <a:lnTo>
                  <a:pt x="1303176" y="658764"/>
                </a:lnTo>
                <a:lnTo>
                  <a:pt x="1304677" y="660478"/>
                </a:lnTo>
                <a:cubicBezTo>
                  <a:pt x="1304677" y="658656"/>
                  <a:pt x="1308321" y="656834"/>
                  <a:pt x="1310143" y="656834"/>
                </a:cubicBezTo>
                <a:cubicBezTo>
                  <a:pt x="1310143" y="653190"/>
                  <a:pt x="1308321" y="649545"/>
                  <a:pt x="1304677" y="647723"/>
                </a:cubicBezTo>
                <a:close/>
                <a:moveTo>
                  <a:pt x="1193525" y="647723"/>
                </a:moveTo>
                <a:cubicBezTo>
                  <a:pt x="1186236" y="653190"/>
                  <a:pt x="1188058" y="656834"/>
                  <a:pt x="1180769" y="660478"/>
                </a:cubicBezTo>
                <a:cubicBezTo>
                  <a:pt x="1184414" y="660478"/>
                  <a:pt x="1191703" y="660478"/>
                  <a:pt x="1195346" y="656834"/>
                </a:cubicBezTo>
                <a:cubicBezTo>
                  <a:pt x="1197169" y="658656"/>
                  <a:pt x="1198991" y="660478"/>
                  <a:pt x="1202636" y="656834"/>
                </a:cubicBezTo>
                <a:cubicBezTo>
                  <a:pt x="1200814" y="653190"/>
                  <a:pt x="1197169" y="651368"/>
                  <a:pt x="1193525" y="647723"/>
                </a:cubicBezTo>
                <a:close/>
                <a:moveTo>
                  <a:pt x="1169836" y="647723"/>
                </a:moveTo>
                <a:cubicBezTo>
                  <a:pt x="1166192" y="651368"/>
                  <a:pt x="1160725" y="655012"/>
                  <a:pt x="1158903" y="658656"/>
                </a:cubicBezTo>
                <a:cubicBezTo>
                  <a:pt x="1158903" y="664123"/>
                  <a:pt x="1157081" y="667767"/>
                  <a:pt x="1155259" y="671411"/>
                </a:cubicBezTo>
                <a:cubicBezTo>
                  <a:pt x="1162547" y="667767"/>
                  <a:pt x="1168014" y="656834"/>
                  <a:pt x="1169836" y="647723"/>
                </a:cubicBezTo>
                <a:close/>
                <a:moveTo>
                  <a:pt x="1091484" y="647723"/>
                </a:moveTo>
                <a:cubicBezTo>
                  <a:pt x="1093305" y="649545"/>
                  <a:pt x="1082373" y="653190"/>
                  <a:pt x="1093305" y="651368"/>
                </a:cubicBezTo>
                <a:cubicBezTo>
                  <a:pt x="1095127" y="649545"/>
                  <a:pt x="1093305" y="647723"/>
                  <a:pt x="1091484" y="647723"/>
                </a:cubicBezTo>
                <a:close/>
                <a:moveTo>
                  <a:pt x="1025884" y="647723"/>
                </a:moveTo>
                <a:cubicBezTo>
                  <a:pt x="1022240" y="647723"/>
                  <a:pt x="1022240" y="653190"/>
                  <a:pt x="1025884" y="653190"/>
                </a:cubicBezTo>
                <a:cubicBezTo>
                  <a:pt x="1027707" y="651368"/>
                  <a:pt x="1022240" y="649545"/>
                  <a:pt x="1025884" y="647723"/>
                </a:cubicBezTo>
                <a:close/>
                <a:moveTo>
                  <a:pt x="945709" y="647723"/>
                </a:moveTo>
                <a:cubicBezTo>
                  <a:pt x="934777" y="647723"/>
                  <a:pt x="931131" y="656834"/>
                  <a:pt x="932953" y="662301"/>
                </a:cubicBezTo>
                <a:cubicBezTo>
                  <a:pt x="936598" y="660478"/>
                  <a:pt x="938420" y="656834"/>
                  <a:pt x="938420" y="655012"/>
                </a:cubicBezTo>
                <a:cubicBezTo>
                  <a:pt x="940242" y="656834"/>
                  <a:pt x="942064" y="656834"/>
                  <a:pt x="942064" y="660478"/>
                </a:cubicBezTo>
                <a:cubicBezTo>
                  <a:pt x="943886" y="656834"/>
                  <a:pt x="943886" y="651368"/>
                  <a:pt x="945709" y="647723"/>
                </a:cubicBezTo>
                <a:close/>
                <a:moveTo>
                  <a:pt x="659627" y="647723"/>
                </a:moveTo>
                <a:cubicBezTo>
                  <a:pt x="652339" y="653190"/>
                  <a:pt x="659627" y="655012"/>
                  <a:pt x="661449" y="658656"/>
                </a:cubicBezTo>
                <a:cubicBezTo>
                  <a:pt x="665094" y="655012"/>
                  <a:pt x="665094" y="651368"/>
                  <a:pt x="659627" y="647723"/>
                </a:cubicBezTo>
                <a:close/>
                <a:moveTo>
                  <a:pt x="368079" y="647723"/>
                </a:moveTo>
                <a:cubicBezTo>
                  <a:pt x="364435" y="649545"/>
                  <a:pt x="368079" y="656834"/>
                  <a:pt x="373546" y="656834"/>
                </a:cubicBezTo>
                <a:cubicBezTo>
                  <a:pt x="369902" y="653190"/>
                  <a:pt x="369902" y="651368"/>
                  <a:pt x="368079" y="647723"/>
                </a:cubicBezTo>
                <a:close/>
                <a:moveTo>
                  <a:pt x="1266820" y="647246"/>
                </a:moveTo>
                <a:lnTo>
                  <a:pt x="1266836" y="647298"/>
                </a:lnTo>
                <a:lnTo>
                  <a:pt x="1266411" y="647723"/>
                </a:lnTo>
                <a:close/>
                <a:moveTo>
                  <a:pt x="65787" y="646176"/>
                </a:moveTo>
                <a:lnTo>
                  <a:pt x="77721" y="662445"/>
                </a:lnTo>
                <a:lnTo>
                  <a:pt x="70154" y="654101"/>
                </a:lnTo>
                <a:close/>
                <a:moveTo>
                  <a:pt x="2791571" y="645901"/>
                </a:moveTo>
                <a:cubicBezTo>
                  <a:pt x="2797037" y="655012"/>
                  <a:pt x="2802504" y="660478"/>
                  <a:pt x="2813437" y="655012"/>
                </a:cubicBezTo>
                <a:cubicBezTo>
                  <a:pt x="2809793" y="649545"/>
                  <a:pt x="2800682" y="649545"/>
                  <a:pt x="2791571" y="645901"/>
                </a:cubicBezTo>
                <a:close/>
                <a:moveTo>
                  <a:pt x="2780638" y="645901"/>
                </a:moveTo>
                <a:cubicBezTo>
                  <a:pt x="2784282" y="658656"/>
                  <a:pt x="2780638" y="685989"/>
                  <a:pt x="2797037" y="680522"/>
                </a:cubicBezTo>
                <a:cubicBezTo>
                  <a:pt x="2797037" y="678700"/>
                  <a:pt x="2795215" y="675056"/>
                  <a:pt x="2795215" y="671411"/>
                </a:cubicBezTo>
                <a:cubicBezTo>
                  <a:pt x="2798860" y="684167"/>
                  <a:pt x="2809793" y="685989"/>
                  <a:pt x="2820726" y="687811"/>
                </a:cubicBezTo>
                <a:cubicBezTo>
                  <a:pt x="2817081" y="682345"/>
                  <a:pt x="2824370" y="684167"/>
                  <a:pt x="2824370" y="682345"/>
                </a:cubicBezTo>
                <a:cubicBezTo>
                  <a:pt x="2826192" y="676878"/>
                  <a:pt x="2826192" y="667767"/>
                  <a:pt x="2818903" y="665945"/>
                </a:cubicBezTo>
                <a:cubicBezTo>
                  <a:pt x="2822548" y="676878"/>
                  <a:pt x="2811615" y="665945"/>
                  <a:pt x="2807971" y="673234"/>
                </a:cubicBezTo>
                <a:cubicBezTo>
                  <a:pt x="2806148" y="669589"/>
                  <a:pt x="2806148" y="667767"/>
                  <a:pt x="2804326" y="664123"/>
                </a:cubicBezTo>
                <a:cubicBezTo>
                  <a:pt x="2800682" y="660478"/>
                  <a:pt x="2798860" y="667767"/>
                  <a:pt x="2797037" y="665945"/>
                </a:cubicBezTo>
                <a:cubicBezTo>
                  <a:pt x="2789749" y="664123"/>
                  <a:pt x="2787927" y="653190"/>
                  <a:pt x="2787927" y="645901"/>
                </a:cubicBezTo>
                <a:cubicBezTo>
                  <a:pt x="2786104" y="645901"/>
                  <a:pt x="2782460" y="645901"/>
                  <a:pt x="2780638" y="645901"/>
                </a:cubicBezTo>
                <a:close/>
                <a:moveTo>
                  <a:pt x="2591132" y="645901"/>
                </a:moveTo>
                <a:cubicBezTo>
                  <a:pt x="2589310" y="645901"/>
                  <a:pt x="2591132" y="649545"/>
                  <a:pt x="2587487" y="649545"/>
                </a:cubicBezTo>
                <a:cubicBezTo>
                  <a:pt x="2587487" y="656834"/>
                  <a:pt x="2589310" y="660478"/>
                  <a:pt x="2594776" y="662301"/>
                </a:cubicBezTo>
                <a:cubicBezTo>
                  <a:pt x="2594776" y="655012"/>
                  <a:pt x="2592954" y="651368"/>
                  <a:pt x="2591132" y="645901"/>
                </a:cubicBezTo>
                <a:close/>
                <a:moveTo>
                  <a:pt x="1362987" y="645901"/>
                </a:moveTo>
                <a:cubicBezTo>
                  <a:pt x="1352053" y="645901"/>
                  <a:pt x="1348410" y="664123"/>
                  <a:pt x="1342942" y="671411"/>
                </a:cubicBezTo>
                <a:cubicBezTo>
                  <a:pt x="1353876" y="667767"/>
                  <a:pt x="1361164" y="656834"/>
                  <a:pt x="1362987" y="645901"/>
                </a:cubicBezTo>
                <a:close/>
                <a:moveTo>
                  <a:pt x="1266411" y="645901"/>
                </a:moveTo>
                <a:lnTo>
                  <a:pt x="1267697" y="646115"/>
                </a:lnTo>
                <a:lnTo>
                  <a:pt x="1267723" y="646193"/>
                </a:lnTo>
                <a:lnTo>
                  <a:pt x="1266820" y="647246"/>
                </a:lnTo>
                <a:close/>
                <a:moveTo>
                  <a:pt x="1255478" y="645901"/>
                </a:moveTo>
                <a:cubicBezTo>
                  <a:pt x="1250012" y="647723"/>
                  <a:pt x="1251834" y="655012"/>
                  <a:pt x="1251834" y="660478"/>
                </a:cubicBezTo>
                <a:cubicBezTo>
                  <a:pt x="1255478" y="658656"/>
                  <a:pt x="1255478" y="653190"/>
                  <a:pt x="1259123" y="653190"/>
                </a:cubicBezTo>
                <a:cubicBezTo>
                  <a:pt x="1257300" y="649545"/>
                  <a:pt x="1257300" y="647723"/>
                  <a:pt x="1255478" y="645901"/>
                </a:cubicBezTo>
                <a:close/>
                <a:moveTo>
                  <a:pt x="1244545" y="645901"/>
                </a:moveTo>
                <a:cubicBezTo>
                  <a:pt x="1242723" y="644079"/>
                  <a:pt x="1239080" y="647723"/>
                  <a:pt x="1237256" y="649545"/>
                </a:cubicBezTo>
                <a:cubicBezTo>
                  <a:pt x="1239080" y="651368"/>
                  <a:pt x="1239080" y="653190"/>
                  <a:pt x="1240901" y="653190"/>
                </a:cubicBezTo>
                <a:cubicBezTo>
                  <a:pt x="1244545" y="649545"/>
                  <a:pt x="1240901" y="645901"/>
                  <a:pt x="1244545" y="645901"/>
                </a:cubicBezTo>
                <a:close/>
                <a:moveTo>
                  <a:pt x="1071439" y="645901"/>
                </a:moveTo>
                <a:lnTo>
                  <a:pt x="1070463" y="647073"/>
                </a:lnTo>
                <a:lnTo>
                  <a:pt x="1068863" y="646007"/>
                </a:lnTo>
                <a:close/>
                <a:moveTo>
                  <a:pt x="911087" y="645901"/>
                </a:moveTo>
                <a:cubicBezTo>
                  <a:pt x="909265" y="647723"/>
                  <a:pt x="909265" y="651368"/>
                  <a:pt x="909265" y="653190"/>
                </a:cubicBezTo>
                <a:cubicBezTo>
                  <a:pt x="911087" y="653190"/>
                  <a:pt x="914732" y="647723"/>
                  <a:pt x="911087" y="645901"/>
                </a:cubicBezTo>
                <a:close/>
                <a:moveTo>
                  <a:pt x="887399" y="645901"/>
                </a:moveTo>
                <a:cubicBezTo>
                  <a:pt x="883755" y="651368"/>
                  <a:pt x="881933" y="655012"/>
                  <a:pt x="880111" y="660478"/>
                </a:cubicBezTo>
                <a:cubicBezTo>
                  <a:pt x="883755" y="656834"/>
                  <a:pt x="889222" y="653190"/>
                  <a:pt x="891043" y="647723"/>
                </a:cubicBezTo>
                <a:cubicBezTo>
                  <a:pt x="889222" y="645901"/>
                  <a:pt x="887399" y="645901"/>
                  <a:pt x="887399" y="645901"/>
                </a:cubicBezTo>
                <a:close/>
                <a:moveTo>
                  <a:pt x="805401" y="645901"/>
                </a:moveTo>
                <a:cubicBezTo>
                  <a:pt x="801757" y="647723"/>
                  <a:pt x="807223" y="651368"/>
                  <a:pt x="809046" y="653190"/>
                </a:cubicBezTo>
                <a:cubicBezTo>
                  <a:pt x="810868" y="649545"/>
                  <a:pt x="807223" y="649545"/>
                  <a:pt x="807223" y="645901"/>
                </a:cubicBezTo>
                <a:cubicBezTo>
                  <a:pt x="805401" y="645901"/>
                  <a:pt x="805401" y="645901"/>
                  <a:pt x="805401" y="645901"/>
                </a:cubicBezTo>
                <a:close/>
                <a:moveTo>
                  <a:pt x="606784" y="645901"/>
                </a:moveTo>
                <a:cubicBezTo>
                  <a:pt x="599496" y="647723"/>
                  <a:pt x="601318" y="655012"/>
                  <a:pt x="603140" y="658656"/>
                </a:cubicBezTo>
                <a:cubicBezTo>
                  <a:pt x="606784" y="656834"/>
                  <a:pt x="612251" y="649545"/>
                  <a:pt x="606784" y="645901"/>
                </a:cubicBezTo>
                <a:close/>
                <a:moveTo>
                  <a:pt x="561230" y="645901"/>
                </a:moveTo>
                <a:cubicBezTo>
                  <a:pt x="555763" y="645901"/>
                  <a:pt x="559408" y="649545"/>
                  <a:pt x="561230" y="651368"/>
                </a:cubicBezTo>
                <a:cubicBezTo>
                  <a:pt x="561230" y="649545"/>
                  <a:pt x="561230" y="645901"/>
                  <a:pt x="561230" y="645901"/>
                </a:cubicBezTo>
                <a:close/>
                <a:moveTo>
                  <a:pt x="502920" y="645901"/>
                </a:moveTo>
                <a:cubicBezTo>
                  <a:pt x="482876" y="676878"/>
                  <a:pt x="504743" y="651368"/>
                  <a:pt x="506565" y="655012"/>
                </a:cubicBezTo>
                <a:cubicBezTo>
                  <a:pt x="508387" y="653190"/>
                  <a:pt x="502920" y="649545"/>
                  <a:pt x="502920" y="645901"/>
                </a:cubicBezTo>
                <a:close/>
                <a:moveTo>
                  <a:pt x="455544" y="645901"/>
                </a:moveTo>
                <a:cubicBezTo>
                  <a:pt x="453722" y="647723"/>
                  <a:pt x="455544" y="655012"/>
                  <a:pt x="461010" y="655012"/>
                </a:cubicBezTo>
                <a:cubicBezTo>
                  <a:pt x="462832" y="653190"/>
                  <a:pt x="459188" y="647723"/>
                  <a:pt x="455544" y="645901"/>
                </a:cubicBezTo>
                <a:close/>
                <a:moveTo>
                  <a:pt x="444611" y="645901"/>
                </a:moveTo>
                <a:cubicBezTo>
                  <a:pt x="442789" y="647723"/>
                  <a:pt x="446433" y="651368"/>
                  <a:pt x="448256" y="649545"/>
                </a:cubicBezTo>
                <a:cubicBezTo>
                  <a:pt x="448256" y="645901"/>
                  <a:pt x="446433" y="645901"/>
                  <a:pt x="444611" y="645901"/>
                </a:cubicBezTo>
                <a:close/>
                <a:moveTo>
                  <a:pt x="320703" y="645901"/>
                </a:moveTo>
                <a:cubicBezTo>
                  <a:pt x="324347" y="662301"/>
                  <a:pt x="335280" y="676878"/>
                  <a:pt x="348037" y="685989"/>
                </a:cubicBezTo>
                <a:cubicBezTo>
                  <a:pt x="346213" y="673234"/>
                  <a:pt x="340747" y="658656"/>
                  <a:pt x="326169" y="655012"/>
                </a:cubicBezTo>
                <a:cubicBezTo>
                  <a:pt x="327993" y="655012"/>
                  <a:pt x="329814" y="655012"/>
                  <a:pt x="331636" y="653190"/>
                </a:cubicBezTo>
                <a:cubicBezTo>
                  <a:pt x="329814" y="647723"/>
                  <a:pt x="327993" y="644079"/>
                  <a:pt x="320703" y="645901"/>
                </a:cubicBezTo>
                <a:close/>
                <a:moveTo>
                  <a:pt x="2962855" y="644079"/>
                </a:moveTo>
                <a:lnTo>
                  <a:pt x="2962858" y="644083"/>
                </a:lnTo>
                <a:lnTo>
                  <a:pt x="2966500" y="649545"/>
                </a:lnTo>
                <a:cubicBezTo>
                  <a:pt x="2964677" y="647723"/>
                  <a:pt x="2964677" y="645901"/>
                  <a:pt x="2962855" y="644079"/>
                </a:cubicBezTo>
                <a:close/>
                <a:moveTo>
                  <a:pt x="1432229" y="644079"/>
                </a:moveTo>
                <a:cubicBezTo>
                  <a:pt x="1424940" y="645901"/>
                  <a:pt x="1423118" y="653190"/>
                  <a:pt x="1417652" y="658656"/>
                </a:cubicBezTo>
                <a:cubicBezTo>
                  <a:pt x="1423118" y="655012"/>
                  <a:pt x="1430407" y="649545"/>
                  <a:pt x="1432229" y="644079"/>
                </a:cubicBezTo>
                <a:close/>
                <a:moveTo>
                  <a:pt x="1390319" y="644079"/>
                </a:moveTo>
                <a:cubicBezTo>
                  <a:pt x="1388497" y="644079"/>
                  <a:pt x="1388497" y="645901"/>
                  <a:pt x="1388497" y="647723"/>
                </a:cubicBezTo>
                <a:cubicBezTo>
                  <a:pt x="1388497" y="647723"/>
                  <a:pt x="1388497" y="649545"/>
                  <a:pt x="1388497" y="649545"/>
                </a:cubicBezTo>
                <a:cubicBezTo>
                  <a:pt x="1390319" y="649545"/>
                  <a:pt x="1392141" y="645901"/>
                  <a:pt x="1390319" y="644079"/>
                </a:cubicBezTo>
                <a:close/>
                <a:moveTo>
                  <a:pt x="1229969" y="644079"/>
                </a:moveTo>
                <a:cubicBezTo>
                  <a:pt x="1226323" y="645901"/>
                  <a:pt x="1231790" y="645901"/>
                  <a:pt x="1231790" y="647723"/>
                </a:cubicBezTo>
                <a:cubicBezTo>
                  <a:pt x="1231790" y="647723"/>
                  <a:pt x="1233612" y="645901"/>
                  <a:pt x="1233612" y="645901"/>
                </a:cubicBezTo>
                <a:cubicBezTo>
                  <a:pt x="1233612" y="644079"/>
                  <a:pt x="1229969" y="645901"/>
                  <a:pt x="1229969" y="644079"/>
                </a:cubicBezTo>
                <a:close/>
                <a:moveTo>
                  <a:pt x="1197169" y="644079"/>
                </a:moveTo>
                <a:cubicBezTo>
                  <a:pt x="1195346" y="644079"/>
                  <a:pt x="1195346" y="645901"/>
                  <a:pt x="1193525" y="645901"/>
                </a:cubicBezTo>
                <a:cubicBezTo>
                  <a:pt x="1195346" y="649545"/>
                  <a:pt x="1197169" y="649545"/>
                  <a:pt x="1198991" y="651368"/>
                </a:cubicBezTo>
                <a:cubicBezTo>
                  <a:pt x="1198991" y="649545"/>
                  <a:pt x="1198991" y="647723"/>
                  <a:pt x="1198991" y="647723"/>
                </a:cubicBezTo>
                <a:cubicBezTo>
                  <a:pt x="1198991" y="651368"/>
                  <a:pt x="1204457" y="649545"/>
                  <a:pt x="1202636" y="653190"/>
                </a:cubicBezTo>
                <a:cubicBezTo>
                  <a:pt x="1204457" y="653190"/>
                  <a:pt x="1206279" y="647723"/>
                  <a:pt x="1206279" y="645901"/>
                </a:cubicBezTo>
                <a:cubicBezTo>
                  <a:pt x="1204457" y="644079"/>
                  <a:pt x="1204457" y="645901"/>
                  <a:pt x="1202636" y="644079"/>
                </a:cubicBezTo>
                <a:cubicBezTo>
                  <a:pt x="1202636" y="645901"/>
                  <a:pt x="1202636" y="647723"/>
                  <a:pt x="1202636" y="651368"/>
                </a:cubicBezTo>
                <a:cubicBezTo>
                  <a:pt x="1200814" y="651368"/>
                  <a:pt x="1202636" y="644079"/>
                  <a:pt x="1197169" y="644079"/>
                </a:cubicBezTo>
                <a:close/>
                <a:moveTo>
                  <a:pt x="798112" y="644079"/>
                </a:moveTo>
                <a:cubicBezTo>
                  <a:pt x="798112" y="644079"/>
                  <a:pt x="799935" y="645901"/>
                  <a:pt x="799935" y="645901"/>
                </a:cubicBezTo>
                <a:cubicBezTo>
                  <a:pt x="799935" y="645901"/>
                  <a:pt x="798112" y="645901"/>
                  <a:pt x="796290" y="645901"/>
                </a:cubicBezTo>
                <a:cubicBezTo>
                  <a:pt x="798112" y="645901"/>
                  <a:pt x="798112" y="644079"/>
                  <a:pt x="798112" y="644079"/>
                </a:cubicBezTo>
                <a:close/>
                <a:moveTo>
                  <a:pt x="750737" y="644079"/>
                </a:moveTo>
                <a:cubicBezTo>
                  <a:pt x="748914" y="644079"/>
                  <a:pt x="754380" y="647723"/>
                  <a:pt x="754380" y="649545"/>
                </a:cubicBezTo>
                <a:cubicBezTo>
                  <a:pt x="758025" y="649545"/>
                  <a:pt x="752558" y="645901"/>
                  <a:pt x="750737" y="644079"/>
                </a:cubicBezTo>
                <a:close/>
                <a:moveTo>
                  <a:pt x="668738" y="644079"/>
                </a:moveTo>
                <a:cubicBezTo>
                  <a:pt x="666916" y="644079"/>
                  <a:pt x="665094" y="649545"/>
                  <a:pt x="666916" y="651368"/>
                </a:cubicBezTo>
                <a:cubicBezTo>
                  <a:pt x="666916" y="651368"/>
                  <a:pt x="668738" y="649545"/>
                  <a:pt x="670560" y="651368"/>
                </a:cubicBezTo>
                <a:cubicBezTo>
                  <a:pt x="666916" y="653190"/>
                  <a:pt x="666916" y="656834"/>
                  <a:pt x="665094" y="660478"/>
                </a:cubicBezTo>
                <a:cubicBezTo>
                  <a:pt x="672383" y="665945"/>
                  <a:pt x="679671" y="673234"/>
                  <a:pt x="688782" y="673234"/>
                </a:cubicBezTo>
                <a:cubicBezTo>
                  <a:pt x="679671" y="660478"/>
                  <a:pt x="674205" y="656834"/>
                  <a:pt x="670560" y="645901"/>
                </a:cubicBezTo>
                <a:cubicBezTo>
                  <a:pt x="670560" y="645901"/>
                  <a:pt x="670560" y="647723"/>
                  <a:pt x="668738" y="647723"/>
                </a:cubicBezTo>
                <a:cubicBezTo>
                  <a:pt x="668738" y="645901"/>
                  <a:pt x="666916" y="645901"/>
                  <a:pt x="668738" y="644079"/>
                </a:cubicBezTo>
                <a:close/>
                <a:moveTo>
                  <a:pt x="594030" y="644079"/>
                </a:moveTo>
                <a:cubicBezTo>
                  <a:pt x="592207" y="645901"/>
                  <a:pt x="594030" y="647723"/>
                  <a:pt x="595852" y="651368"/>
                </a:cubicBezTo>
                <a:cubicBezTo>
                  <a:pt x="595852" y="651368"/>
                  <a:pt x="595852" y="649545"/>
                  <a:pt x="597673" y="649545"/>
                </a:cubicBezTo>
                <a:cubicBezTo>
                  <a:pt x="594030" y="649545"/>
                  <a:pt x="595852" y="645901"/>
                  <a:pt x="594030" y="644079"/>
                </a:cubicBezTo>
                <a:close/>
                <a:moveTo>
                  <a:pt x="424567" y="644079"/>
                </a:moveTo>
                <a:cubicBezTo>
                  <a:pt x="420923" y="649545"/>
                  <a:pt x="420923" y="656834"/>
                  <a:pt x="430034" y="658656"/>
                </a:cubicBezTo>
                <a:cubicBezTo>
                  <a:pt x="428211" y="655012"/>
                  <a:pt x="428211" y="651368"/>
                  <a:pt x="424567" y="649545"/>
                </a:cubicBezTo>
                <a:cubicBezTo>
                  <a:pt x="426389" y="647723"/>
                  <a:pt x="426389" y="647723"/>
                  <a:pt x="428211" y="649545"/>
                </a:cubicBezTo>
                <a:cubicBezTo>
                  <a:pt x="430034" y="647723"/>
                  <a:pt x="428211" y="644079"/>
                  <a:pt x="424567" y="644079"/>
                </a:cubicBezTo>
                <a:close/>
                <a:moveTo>
                  <a:pt x="411812" y="644079"/>
                </a:moveTo>
                <a:lnTo>
                  <a:pt x="417188" y="651249"/>
                </a:lnTo>
                <a:lnTo>
                  <a:pt x="417191" y="651303"/>
                </a:lnTo>
                <a:lnTo>
                  <a:pt x="413633" y="648635"/>
                </a:lnTo>
                <a:lnTo>
                  <a:pt x="410799" y="645092"/>
                </a:lnTo>
                <a:close/>
                <a:moveTo>
                  <a:pt x="236883" y="644079"/>
                </a:moveTo>
                <a:cubicBezTo>
                  <a:pt x="235061" y="649545"/>
                  <a:pt x="238705" y="656834"/>
                  <a:pt x="242349" y="662301"/>
                </a:cubicBezTo>
                <a:cubicBezTo>
                  <a:pt x="245994" y="658656"/>
                  <a:pt x="238705" y="651368"/>
                  <a:pt x="236883" y="644079"/>
                </a:cubicBezTo>
                <a:close/>
                <a:moveTo>
                  <a:pt x="165818" y="644079"/>
                </a:moveTo>
                <a:lnTo>
                  <a:pt x="169132" y="645736"/>
                </a:lnTo>
                <a:lnTo>
                  <a:pt x="173107" y="655012"/>
                </a:lnTo>
                <a:lnTo>
                  <a:pt x="168325" y="648257"/>
                </a:lnTo>
                <a:close/>
                <a:moveTo>
                  <a:pt x="1220858" y="643168"/>
                </a:moveTo>
                <a:cubicBezTo>
                  <a:pt x="1217669" y="642713"/>
                  <a:pt x="1214480" y="643168"/>
                  <a:pt x="1211747" y="644079"/>
                </a:cubicBezTo>
                <a:cubicBezTo>
                  <a:pt x="1217213" y="645901"/>
                  <a:pt x="1222679" y="651368"/>
                  <a:pt x="1229969" y="647723"/>
                </a:cubicBezTo>
                <a:cubicBezTo>
                  <a:pt x="1227235" y="644990"/>
                  <a:pt x="1224046" y="643624"/>
                  <a:pt x="1220858" y="643168"/>
                </a:cubicBezTo>
                <a:close/>
                <a:moveTo>
                  <a:pt x="3265336" y="642257"/>
                </a:moveTo>
                <a:cubicBezTo>
                  <a:pt x="3259869" y="642257"/>
                  <a:pt x="3261692" y="645901"/>
                  <a:pt x="3261692" y="649545"/>
                </a:cubicBezTo>
                <a:cubicBezTo>
                  <a:pt x="3267158" y="649545"/>
                  <a:pt x="3267158" y="644079"/>
                  <a:pt x="3265336" y="642257"/>
                </a:cubicBezTo>
                <a:close/>
                <a:moveTo>
                  <a:pt x="2880857" y="642257"/>
                </a:moveTo>
                <a:cubicBezTo>
                  <a:pt x="2877213" y="640435"/>
                  <a:pt x="2877213" y="644079"/>
                  <a:pt x="2875391" y="644079"/>
                </a:cubicBezTo>
                <a:cubicBezTo>
                  <a:pt x="2875391" y="647723"/>
                  <a:pt x="2882680" y="647723"/>
                  <a:pt x="2880857" y="642257"/>
                </a:cubicBezTo>
                <a:close/>
                <a:moveTo>
                  <a:pt x="1454095" y="642257"/>
                </a:moveTo>
                <a:cubicBezTo>
                  <a:pt x="1452273" y="644079"/>
                  <a:pt x="1451362" y="646813"/>
                  <a:pt x="1449995" y="649318"/>
                </a:cubicBezTo>
                <a:lnTo>
                  <a:pt x="1448365" y="650676"/>
                </a:lnTo>
                <a:close/>
                <a:moveTo>
                  <a:pt x="1437696" y="642257"/>
                </a:moveTo>
                <a:cubicBezTo>
                  <a:pt x="1435873" y="644079"/>
                  <a:pt x="1435873" y="645901"/>
                  <a:pt x="1434051" y="647723"/>
                </a:cubicBezTo>
                <a:cubicBezTo>
                  <a:pt x="1434051" y="649545"/>
                  <a:pt x="1441340" y="645901"/>
                  <a:pt x="1437696" y="642257"/>
                </a:cubicBezTo>
                <a:close/>
                <a:moveTo>
                  <a:pt x="1366632" y="642257"/>
                </a:moveTo>
                <a:cubicBezTo>
                  <a:pt x="1366632" y="645901"/>
                  <a:pt x="1362987" y="655012"/>
                  <a:pt x="1370275" y="656834"/>
                </a:cubicBezTo>
                <a:cubicBezTo>
                  <a:pt x="1372097" y="653190"/>
                  <a:pt x="1366632" y="647723"/>
                  <a:pt x="1366632" y="642257"/>
                </a:cubicBezTo>
                <a:close/>
                <a:moveTo>
                  <a:pt x="1319254" y="642257"/>
                </a:moveTo>
                <a:cubicBezTo>
                  <a:pt x="1319254" y="645901"/>
                  <a:pt x="1315610" y="647723"/>
                  <a:pt x="1313788" y="649545"/>
                </a:cubicBezTo>
                <a:cubicBezTo>
                  <a:pt x="1315610" y="649545"/>
                  <a:pt x="1321077" y="644079"/>
                  <a:pt x="1319254" y="642257"/>
                </a:cubicBezTo>
                <a:close/>
                <a:moveTo>
                  <a:pt x="1306499" y="642257"/>
                </a:moveTo>
                <a:cubicBezTo>
                  <a:pt x="1306499" y="642257"/>
                  <a:pt x="1304677" y="644079"/>
                  <a:pt x="1304677" y="644079"/>
                </a:cubicBezTo>
                <a:cubicBezTo>
                  <a:pt x="1304677" y="645901"/>
                  <a:pt x="1306499" y="644079"/>
                  <a:pt x="1308321" y="644079"/>
                </a:cubicBezTo>
                <a:cubicBezTo>
                  <a:pt x="1306499" y="644079"/>
                  <a:pt x="1306499" y="644079"/>
                  <a:pt x="1306499" y="642257"/>
                </a:cubicBezTo>
                <a:close/>
                <a:moveTo>
                  <a:pt x="1266411" y="642257"/>
                </a:moveTo>
                <a:cubicBezTo>
                  <a:pt x="1264589" y="645901"/>
                  <a:pt x="1260945" y="647723"/>
                  <a:pt x="1260945" y="651368"/>
                </a:cubicBezTo>
                <a:cubicBezTo>
                  <a:pt x="1262767" y="651368"/>
                  <a:pt x="1264589" y="651368"/>
                  <a:pt x="1266411" y="651368"/>
                </a:cubicBezTo>
                <a:cubicBezTo>
                  <a:pt x="1268233" y="653190"/>
                  <a:pt x="1268233" y="653190"/>
                  <a:pt x="1268233" y="655012"/>
                </a:cubicBezTo>
                <a:cubicBezTo>
                  <a:pt x="1269144" y="655012"/>
                  <a:pt x="1268689" y="653190"/>
                  <a:pt x="1268005" y="651140"/>
                </a:cubicBezTo>
                <a:lnTo>
                  <a:pt x="1266836" y="647298"/>
                </a:lnTo>
                <a:lnTo>
                  <a:pt x="1267777" y="646357"/>
                </a:lnTo>
                <a:lnTo>
                  <a:pt x="1267723" y="646193"/>
                </a:lnTo>
                <a:lnTo>
                  <a:pt x="1267778" y="646129"/>
                </a:lnTo>
                <a:lnTo>
                  <a:pt x="1267697" y="646115"/>
                </a:lnTo>
                <a:close/>
                <a:moveTo>
                  <a:pt x="193151" y="642257"/>
                </a:moveTo>
                <a:cubicBezTo>
                  <a:pt x="189506" y="645901"/>
                  <a:pt x="194973" y="655012"/>
                  <a:pt x="200439" y="658656"/>
                </a:cubicBezTo>
                <a:cubicBezTo>
                  <a:pt x="198617" y="653190"/>
                  <a:pt x="198617" y="645901"/>
                  <a:pt x="193151" y="642257"/>
                </a:cubicBezTo>
                <a:close/>
                <a:moveTo>
                  <a:pt x="3538662" y="640435"/>
                </a:moveTo>
                <a:cubicBezTo>
                  <a:pt x="3535018" y="638612"/>
                  <a:pt x="3536840" y="644079"/>
                  <a:pt x="3536840" y="645901"/>
                </a:cubicBezTo>
                <a:cubicBezTo>
                  <a:pt x="3533196" y="647723"/>
                  <a:pt x="3535018" y="644079"/>
                  <a:pt x="3529551" y="642257"/>
                </a:cubicBezTo>
                <a:cubicBezTo>
                  <a:pt x="3524085" y="644079"/>
                  <a:pt x="3525907" y="649545"/>
                  <a:pt x="3529551" y="653190"/>
                </a:cubicBezTo>
                <a:cubicBezTo>
                  <a:pt x="3533196" y="655012"/>
                  <a:pt x="3531374" y="649545"/>
                  <a:pt x="3535018" y="649545"/>
                </a:cubicBezTo>
                <a:cubicBezTo>
                  <a:pt x="3535018" y="656834"/>
                  <a:pt x="3535018" y="662301"/>
                  <a:pt x="3540484" y="664123"/>
                </a:cubicBezTo>
                <a:cubicBezTo>
                  <a:pt x="3538662" y="667767"/>
                  <a:pt x="3540484" y="673234"/>
                  <a:pt x="3542306" y="678700"/>
                </a:cubicBezTo>
                <a:cubicBezTo>
                  <a:pt x="3536840" y="680522"/>
                  <a:pt x="3538662" y="675056"/>
                  <a:pt x="3535018" y="675056"/>
                </a:cubicBezTo>
                <a:cubicBezTo>
                  <a:pt x="3535018" y="676878"/>
                  <a:pt x="3538662" y="678700"/>
                  <a:pt x="3536840" y="682345"/>
                </a:cubicBezTo>
                <a:cubicBezTo>
                  <a:pt x="3540484" y="684167"/>
                  <a:pt x="3547773" y="687811"/>
                  <a:pt x="3553240" y="684167"/>
                </a:cubicBezTo>
                <a:cubicBezTo>
                  <a:pt x="3553240" y="678700"/>
                  <a:pt x="3547773" y="678700"/>
                  <a:pt x="3545951" y="682345"/>
                </a:cubicBezTo>
                <a:cubicBezTo>
                  <a:pt x="3542306" y="676878"/>
                  <a:pt x="3544129" y="667767"/>
                  <a:pt x="3544129" y="662301"/>
                </a:cubicBezTo>
                <a:cubicBezTo>
                  <a:pt x="3545951" y="662301"/>
                  <a:pt x="3547773" y="664123"/>
                  <a:pt x="3549595" y="664123"/>
                </a:cubicBezTo>
                <a:cubicBezTo>
                  <a:pt x="3549595" y="656834"/>
                  <a:pt x="3555062" y="653190"/>
                  <a:pt x="3551417" y="645901"/>
                </a:cubicBezTo>
                <a:cubicBezTo>
                  <a:pt x="3547773" y="645901"/>
                  <a:pt x="3544129" y="645901"/>
                  <a:pt x="3542306" y="647723"/>
                </a:cubicBezTo>
                <a:cubicBezTo>
                  <a:pt x="3538662" y="647723"/>
                  <a:pt x="3540484" y="642257"/>
                  <a:pt x="3538662" y="640435"/>
                </a:cubicBezTo>
                <a:close/>
                <a:moveTo>
                  <a:pt x="2760594" y="640435"/>
                </a:moveTo>
                <a:lnTo>
                  <a:pt x="2763371" y="644832"/>
                </a:lnTo>
                <a:lnTo>
                  <a:pt x="2764238" y="647723"/>
                </a:lnTo>
                <a:lnTo>
                  <a:pt x="2760594" y="643229"/>
                </a:lnTo>
                <a:close/>
                <a:moveTo>
                  <a:pt x="2627575" y="640435"/>
                </a:moveTo>
                <a:cubicBezTo>
                  <a:pt x="2627575" y="645901"/>
                  <a:pt x="2629397" y="647723"/>
                  <a:pt x="2633042" y="647723"/>
                </a:cubicBezTo>
                <a:cubicBezTo>
                  <a:pt x="2631219" y="644079"/>
                  <a:pt x="2631219" y="638612"/>
                  <a:pt x="2627575" y="640435"/>
                </a:cubicBezTo>
                <a:close/>
                <a:moveTo>
                  <a:pt x="2352427" y="640435"/>
                </a:moveTo>
                <a:cubicBezTo>
                  <a:pt x="2343316" y="644079"/>
                  <a:pt x="2330561" y="653190"/>
                  <a:pt x="2337850" y="665945"/>
                </a:cubicBezTo>
                <a:cubicBezTo>
                  <a:pt x="2341494" y="662301"/>
                  <a:pt x="2339672" y="658656"/>
                  <a:pt x="2339672" y="655012"/>
                </a:cubicBezTo>
                <a:cubicBezTo>
                  <a:pt x="2345138" y="662301"/>
                  <a:pt x="2346960" y="669589"/>
                  <a:pt x="2346960" y="676878"/>
                </a:cubicBezTo>
                <a:cubicBezTo>
                  <a:pt x="2346960" y="675056"/>
                  <a:pt x="2345138" y="671411"/>
                  <a:pt x="2343316" y="669589"/>
                </a:cubicBezTo>
                <a:cubicBezTo>
                  <a:pt x="2339672" y="682345"/>
                  <a:pt x="2346960" y="689633"/>
                  <a:pt x="2356071" y="693278"/>
                </a:cubicBezTo>
                <a:lnTo>
                  <a:pt x="2354249" y="684167"/>
                </a:lnTo>
                <a:lnTo>
                  <a:pt x="2376115" y="658656"/>
                </a:lnTo>
                <a:lnTo>
                  <a:pt x="2368827" y="645901"/>
                </a:lnTo>
                <a:lnTo>
                  <a:pt x="2372471" y="645901"/>
                </a:lnTo>
                <a:cubicBezTo>
                  <a:pt x="2365182" y="642257"/>
                  <a:pt x="2359716" y="638612"/>
                  <a:pt x="2352427" y="640435"/>
                </a:cubicBezTo>
                <a:close/>
                <a:moveTo>
                  <a:pt x="1423118" y="640435"/>
                </a:moveTo>
                <a:cubicBezTo>
                  <a:pt x="1421296" y="644079"/>
                  <a:pt x="1421296" y="645901"/>
                  <a:pt x="1419474" y="647723"/>
                </a:cubicBezTo>
                <a:cubicBezTo>
                  <a:pt x="1423118" y="647723"/>
                  <a:pt x="1426763" y="642257"/>
                  <a:pt x="1423118" y="640435"/>
                </a:cubicBezTo>
                <a:close/>
                <a:moveTo>
                  <a:pt x="1195346" y="640435"/>
                </a:moveTo>
                <a:lnTo>
                  <a:pt x="1186600" y="644808"/>
                </a:lnTo>
                <a:lnTo>
                  <a:pt x="1184414" y="644079"/>
                </a:lnTo>
                <a:lnTo>
                  <a:pt x="1186017" y="645100"/>
                </a:lnTo>
                <a:lnTo>
                  <a:pt x="1173481" y="651368"/>
                </a:lnTo>
                <a:cubicBezTo>
                  <a:pt x="1173481" y="653190"/>
                  <a:pt x="1175303" y="651368"/>
                  <a:pt x="1175303" y="651368"/>
                </a:cubicBezTo>
                <a:cubicBezTo>
                  <a:pt x="1171658" y="655012"/>
                  <a:pt x="1166192" y="658656"/>
                  <a:pt x="1162547" y="664123"/>
                </a:cubicBezTo>
                <a:cubicBezTo>
                  <a:pt x="1173481" y="664123"/>
                  <a:pt x="1178947" y="653190"/>
                  <a:pt x="1188058" y="645901"/>
                </a:cubicBezTo>
                <a:cubicBezTo>
                  <a:pt x="1188058" y="644990"/>
                  <a:pt x="1187602" y="645446"/>
                  <a:pt x="1186919" y="645674"/>
                </a:cubicBezTo>
                <a:lnTo>
                  <a:pt x="1186017" y="645100"/>
                </a:lnTo>
                <a:lnTo>
                  <a:pt x="1186600" y="644808"/>
                </a:lnTo>
                <a:lnTo>
                  <a:pt x="1189880" y="645901"/>
                </a:lnTo>
                <a:cubicBezTo>
                  <a:pt x="1193525" y="642257"/>
                  <a:pt x="1193525" y="642257"/>
                  <a:pt x="1195346" y="640435"/>
                </a:cubicBezTo>
                <a:close/>
                <a:moveTo>
                  <a:pt x="1127926" y="640435"/>
                </a:moveTo>
                <a:cubicBezTo>
                  <a:pt x="1126104" y="642257"/>
                  <a:pt x="1122459" y="644079"/>
                  <a:pt x="1127926" y="644079"/>
                </a:cubicBezTo>
                <a:cubicBezTo>
                  <a:pt x="1129748" y="642257"/>
                  <a:pt x="1129748" y="642257"/>
                  <a:pt x="1127926" y="640435"/>
                </a:cubicBezTo>
                <a:close/>
                <a:moveTo>
                  <a:pt x="841845" y="640435"/>
                </a:moveTo>
                <a:cubicBezTo>
                  <a:pt x="840022" y="640435"/>
                  <a:pt x="834556" y="645901"/>
                  <a:pt x="836378" y="647723"/>
                </a:cubicBezTo>
                <a:cubicBezTo>
                  <a:pt x="841845" y="644079"/>
                  <a:pt x="840022" y="644079"/>
                  <a:pt x="841845" y="640435"/>
                </a:cubicBezTo>
                <a:close/>
                <a:moveTo>
                  <a:pt x="761670" y="640435"/>
                </a:moveTo>
                <a:cubicBezTo>
                  <a:pt x="761670" y="645901"/>
                  <a:pt x="767136" y="649545"/>
                  <a:pt x="767136" y="653190"/>
                </a:cubicBezTo>
                <a:cubicBezTo>
                  <a:pt x="768959" y="651368"/>
                  <a:pt x="765313" y="644079"/>
                  <a:pt x="761670" y="640435"/>
                </a:cubicBezTo>
                <a:close/>
                <a:moveTo>
                  <a:pt x="657805" y="640435"/>
                </a:moveTo>
                <a:cubicBezTo>
                  <a:pt x="654161" y="642257"/>
                  <a:pt x="654161" y="645901"/>
                  <a:pt x="655983" y="647723"/>
                </a:cubicBezTo>
                <a:cubicBezTo>
                  <a:pt x="657805" y="647723"/>
                  <a:pt x="661449" y="645901"/>
                  <a:pt x="661449" y="644079"/>
                </a:cubicBezTo>
                <a:cubicBezTo>
                  <a:pt x="659627" y="642257"/>
                  <a:pt x="657805" y="642257"/>
                  <a:pt x="657805" y="640435"/>
                </a:cubicBezTo>
                <a:close/>
                <a:moveTo>
                  <a:pt x="479232" y="640435"/>
                </a:moveTo>
                <a:cubicBezTo>
                  <a:pt x="479232" y="644079"/>
                  <a:pt x="482876" y="647723"/>
                  <a:pt x="486521" y="653190"/>
                </a:cubicBezTo>
                <a:cubicBezTo>
                  <a:pt x="484700" y="651368"/>
                  <a:pt x="482876" y="642257"/>
                  <a:pt x="479232" y="640435"/>
                </a:cubicBezTo>
                <a:close/>
                <a:moveTo>
                  <a:pt x="455544" y="640435"/>
                </a:moveTo>
                <a:cubicBezTo>
                  <a:pt x="453722" y="644079"/>
                  <a:pt x="461010" y="645901"/>
                  <a:pt x="462832" y="645901"/>
                </a:cubicBezTo>
                <a:cubicBezTo>
                  <a:pt x="461010" y="642257"/>
                  <a:pt x="457367" y="644079"/>
                  <a:pt x="455544" y="640435"/>
                </a:cubicBezTo>
                <a:close/>
                <a:moveTo>
                  <a:pt x="220483" y="640435"/>
                </a:moveTo>
                <a:cubicBezTo>
                  <a:pt x="222306" y="647723"/>
                  <a:pt x="222306" y="653190"/>
                  <a:pt x="224128" y="656834"/>
                </a:cubicBezTo>
                <a:cubicBezTo>
                  <a:pt x="224128" y="673234"/>
                  <a:pt x="236883" y="684167"/>
                  <a:pt x="245994" y="687811"/>
                </a:cubicBezTo>
                <a:cubicBezTo>
                  <a:pt x="236883" y="673234"/>
                  <a:pt x="236883" y="649545"/>
                  <a:pt x="220483" y="640435"/>
                </a:cubicBezTo>
                <a:close/>
                <a:moveTo>
                  <a:pt x="138486" y="640435"/>
                </a:moveTo>
                <a:cubicBezTo>
                  <a:pt x="140308" y="645901"/>
                  <a:pt x="142130" y="651368"/>
                  <a:pt x="147596" y="655012"/>
                </a:cubicBezTo>
                <a:cubicBezTo>
                  <a:pt x="147596" y="655012"/>
                  <a:pt x="145774" y="656834"/>
                  <a:pt x="145774" y="655012"/>
                </a:cubicBezTo>
                <a:cubicBezTo>
                  <a:pt x="145774" y="660478"/>
                  <a:pt x="158529" y="671411"/>
                  <a:pt x="162174" y="678700"/>
                </a:cubicBezTo>
                <a:cubicBezTo>
                  <a:pt x="163996" y="680522"/>
                  <a:pt x="163996" y="680522"/>
                  <a:pt x="167640" y="682345"/>
                </a:cubicBezTo>
                <a:cubicBezTo>
                  <a:pt x="163996" y="676878"/>
                  <a:pt x="165818" y="671411"/>
                  <a:pt x="160352" y="665945"/>
                </a:cubicBezTo>
                <a:cubicBezTo>
                  <a:pt x="167640" y="664123"/>
                  <a:pt x="165818" y="676878"/>
                  <a:pt x="173107" y="678700"/>
                </a:cubicBezTo>
                <a:cubicBezTo>
                  <a:pt x="163996" y="662301"/>
                  <a:pt x="151241" y="653190"/>
                  <a:pt x="138486" y="640435"/>
                </a:cubicBezTo>
                <a:close/>
                <a:moveTo>
                  <a:pt x="125730" y="640435"/>
                </a:moveTo>
                <a:cubicBezTo>
                  <a:pt x="131197" y="653190"/>
                  <a:pt x="134841" y="665945"/>
                  <a:pt x="142130" y="676878"/>
                </a:cubicBezTo>
                <a:lnTo>
                  <a:pt x="149944" y="693216"/>
                </a:lnTo>
                <a:lnTo>
                  <a:pt x="147596" y="691455"/>
                </a:lnTo>
                <a:lnTo>
                  <a:pt x="151505" y="696482"/>
                </a:lnTo>
                <a:lnTo>
                  <a:pt x="162174" y="718788"/>
                </a:lnTo>
                <a:cubicBezTo>
                  <a:pt x="163996" y="715144"/>
                  <a:pt x="158529" y="709677"/>
                  <a:pt x="156707" y="706033"/>
                </a:cubicBezTo>
                <a:cubicBezTo>
                  <a:pt x="158529" y="704211"/>
                  <a:pt x="158529" y="711499"/>
                  <a:pt x="160352" y="707855"/>
                </a:cubicBezTo>
                <a:lnTo>
                  <a:pt x="151505" y="696482"/>
                </a:lnTo>
                <a:lnTo>
                  <a:pt x="149944" y="693216"/>
                </a:lnTo>
                <a:lnTo>
                  <a:pt x="154885" y="696922"/>
                </a:lnTo>
                <a:cubicBezTo>
                  <a:pt x="153063" y="693278"/>
                  <a:pt x="151241" y="685989"/>
                  <a:pt x="149419" y="684167"/>
                </a:cubicBezTo>
                <a:cubicBezTo>
                  <a:pt x="149419" y="685989"/>
                  <a:pt x="147596" y="685989"/>
                  <a:pt x="149419" y="689633"/>
                </a:cubicBezTo>
                <a:cubicBezTo>
                  <a:pt x="147596" y="687811"/>
                  <a:pt x="145774" y="680522"/>
                  <a:pt x="142130" y="676878"/>
                </a:cubicBezTo>
                <a:lnTo>
                  <a:pt x="141095" y="672116"/>
                </a:lnTo>
                <a:lnTo>
                  <a:pt x="143269" y="675739"/>
                </a:lnTo>
                <a:cubicBezTo>
                  <a:pt x="144863" y="678701"/>
                  <a:pt x="146685" y="681434"/>
                  <a:pt x="149419" y="682345"/>
                </a:cubicBezTo>
                <a:cubicBezTo>
                  <a:pt x="143952" y="671411"/>
                  <a:pt x="138486" y="647723"/>
                  <a:pt x="125730" y="640435"/>
                </a:cubicBezTo>
                <a:close/>
                <a:moveTo>
                  <a:pt x="2775784" y="640330"/>
                </a:moveTo>
                <a:lnTo>
                  <a:pt x="2776993" y="640435"/>
                </a:lnTo>
                <a:lnTo>
                  <a:pt x="2777479" y="643350"/>
                </a:lnTo>
                <a:lnTo>
                  <a:pt x="2776993" y="644079"/>
                </a:lnTo>
                <a:close/>
                <a:moveTo>
                  <a:pt x="2385682" y="639751"/>
                </a:moveTo>
                <a:cubicBezTo>
                  <a:pt x="2384315" y="639524"/>
                  <a:pt x="2382493" y="640435"/>
                  <a:pt x="2381582" y="642257"/>
                </a:cubicBezTo>
                <a:cubicBezTo>
                  <a:pt x="2381582" y="645901"/>
                  <a:pt x="2385226" y="645901"/>
                  <a:pt x="2387048" y="644079"/>
                </a:cubicBezTo>
                <a:cubicBezTo>
                  <a:pt x="2387960" y="641346"/>
                  <a:pt x="2387049" y="639979"/>
                  <a:pt x="2385682" y="639751"/>
                </a:cubicBezTo>
                <a:close/>
                <a:moveTo>
                  <a:pt x="941812" y="639144"/>
                </a:moveTo>
                <a:lnTo>
                  <a:pt x="943886" y="642257"/>
                </a:lnTo>
                <a:lnTo>
                  <a:pt x="942018" y="643191"/>
                </a:lnTo>
                <a:close/>
                <a:moveTo>
                  <a:pt x="3254403" y="638612"/>
                </a:moveTo>
                <a:cubicBezTo>
                  <a:pt x="3250759" y="642257"/>
                  <a:pt x="3258047" y="640435"/>
                  <a:pt x="3259869" y="644079"/>
                </a:cubicBezTo>
                <a:cubicBezTo>
                  <a:pt x="3261692" y="644079"/>
                  <a:pt x="3259869" y="636790"/>
                  <a:pt x="3254403" y="638612"/>
                </a:cubicBezTo>
                <a:close/>
                <a:moveTo>
                  <a:pt x="3053964" y="638612"/>
                </a:moveTo>
                <a:cubicBezTo>
                  <a:pt x="3052142" y="642257"/>
                  <a:pt x="3053964" y="644079"/>
                  <a:pt x="3057608" y="644079"/>
                </a:cubicBezTo>
                <a:cubicBezTo>
                  <a:pt x="3057608" y="642257"/>
                  <a:pt x="3057608" y="640435"/>
                  <a:pt x="3057608" y="638612"/>
                </a:cubicBezTo>
                <a:cubicBezTo>
                  <a:pt x="3057608" y="638612"/>
                  <a:pt x="3055786" y="638612"/>
                  <a:pt x="3053964" y="638612"/>
                </a:cubicBezTo>
                <a:close/>
                <a:moveTo>
                  <a:pt x="2510956" y="638612"/>
                </a:moveTo>
                <a:cubicBezTo>
                  <a:pt x="2510956" y="638612"/>
                  <a:pt x="2510956" y="638612"/>
                  <a:pt x="2510956" y="640435"/>
                </a:cubicBezTo>
                <a:lnTo>
                  <a:pt x="2514600" y="642257"/>
                </a:lnTo>
                <a:cubicBezTo>
                  <a:pt x="2512778" y="640435"/>
                  <a:pt x="2512778" y="640435"/>
                  <a:pt x="2510956" y="638612"/>
                </a:cubicBezTo>
                <a:close/>
                <a:moveTo>
                  <a:pt x="1239080" y="638612"/>
                </a:moveTo>
                <a:cubicBezTo>
                  <a:pt x="1237256" y="640435"/>
                  <a:pt x="1239080" y="640435"/>
                  <a:pt x="1237256" y="642257"/>
                </a:cubicBezTo>
                <a:cubicBezTo>
                  <a:pt x="1239080" y="642257"/>
                  <a:pt x="1240901" y="644079"/>
                  <a:pt x="1240901" y="642257"/>
                </a:cubicBezTo>
                <a:cubicBezTo>
                  <a:pt x="1240901" y="640435"/>
                  <a:pt x="1240901" y="640435"/>
                  <a:pt x="1239080" y="638612"/>
                </a:cubicBezTo>
                <a:close/>
                <a:moveTo>
                  <a:pt x="1146148" y="638612"/>
                </a:moveTo>
                <a:cubicBezTo>
                  <a:pt x="1140681" y="636790"/>
                  <a:pt x="1135215" y="645901"/>
                  <a:pt x="1135215" y="649545"/>
                </a:cubicBezTo>
                <a:cubicBezTo>
                  <a:pt x="1138859" y="645901"/>
                  <a:pt x="1142503" y="642257"/>
                  <a:pt x="1146148" y="638612"/>
                </a:cubicBezTo>
                <a:close/>
                <a:moveTo>
                  <a:pt x="1098771" y="638612"/>
                </a:moveTo>
                <a:cubicBezTo>
                  <a:pt x="1098771" y="640435"/>
                  <a:pt x="1087838" y="638612"/>
                  <a:pt x="1095127" y="645901"/>
                </a:cubicBezTo>
                <a:cubicBezTo>
                  <a:pt x="1098771" y="644079"/>
                  <a:pt x="1096949" y="642257"/>
                  <a:pt x="1098771" y="638612"/>
                </a:cubicBezTo>
                <a:close/>
                <a:moveTo>
                  <a:pt x="767136" y="638612"/>
                </a:moveTo>
                <a:cubicBezTo>
                  <a:pt x="763491" y="640435"/>
                  <a:pt x="767136" y="647723"/>
                  <a:pt x="770781" y="649545"/>
                </a:cubicBezTo>
                <a:cubicBezTo>
                  <a:pt x="770781" y="645901"/>
                  <a:pt x="767136" y="642257"/>
                  <a:pt x="767136" y="638612"/>
                </a:cubicBezTo>
                <a:close/>
                <a:moveTo>
                  <a:pt x="655983" y="638612"/>
                </a:moveTo>
                <a:cubicBezTo>
                  <a:pt x="654161" y="638612"/>
                  <a:pt x="652339" y="640435"/>
                  <a:pt x="652339" y="642257"/>
                </a:cubicBezTo>
                <a:cubicBezTo>
                  <a:pt x="648694" y="649545"/>
                  <a:pt x="654161" y="645901"/>
                  <a:pt x="655983" y="638612"/>
                </a:cubicBezTo>
                <a:close/>
                <a:moveTo>
                  <a:pt x="331636" y="638612"/>
                </a:moveTo>
                <a:cubicBezTo>
                  <a:pt x="331636" y="642257"/>
                  <a:pt x="337102" y="644079"/>
                  <a:pt x="338926" y="645901"/>
                </a:cubicBezTo>
                <a:cubicBezTo>
                  <a:pt x="340747" y="642257"/>
                  <a:pt x="333458" y="640435"/>
                  <a:pt x="331636" y="638612"/>
                </a:cubicBezTo>
                <a:close/>
                <a:moveTo>
                  <a:pt x="282438" y="638612"/>
                </a:moveTo>
                <a:lnTo>
                  <a:pt x="283803" y="646813"/>
                </a:lnTo>
                <a:lnTo>
                  <a:pt x="283463" y="646129"/>
                </a:lnTo>
                <a:lnTo>
                  <a:pt x="282666" y="642712"/>
                </a:lnTo>
                <a:cubicBezTo>
                  <a:pt x="282438" y="640435"/>
                  <a:pt x="282438" y="638612"/>
                  <a:pt x="282438" y="638612"/>
                </a:cubicBezTo>
                <a:close/>
                <a:moveTo>
                  <a:pt x="2757726" y="637002"/>
                </a:moveTo>
                <a:lnTo>
                  <a:pt x="2757405" y="639296"/>
                </a:lnTo>
                <a:lnTo>
                  <a:pt x="2760594" y="643229"/>
                </a:lnTo>
                <a:lnTo>
                  <a:pt x="2760594" y="647723"/>
                </a:lnTo>
                <a:cubicBezTo>
                  <a:pt x="2758772" y="645901"/>
                  <a:pt x="2756950" y="642257"/>
                  <a:pt x="2756950" y="640435"/>
                </a:cubicBezTo>
                <a:close/>
                <a:moveTo>
                  <a:pt x="2341494" y="636790"/>
                </a:moveTo>
                <a:cubicBezTo>
                  <a:pt x="2339672" y="634968"/>
                  <a:pt x="2336027" y="636790"/>
                  <a:pt x="2334205" y="640435"/>
                </a:cubicBezTo>
                <a:cubicBezTo>
                  <a:pt x="2332383" y="647723"/>
                  <a:pt x="2341494" y="640435"/>
                  <a:pt x="2341494" y="636790"/>
                </a:cubicBezTo>
                <a:close/>
                <a:moveTo>
                  <a:pt x="1273700" y="636790"/>
                </a:moveTo>
                <a:cubicBezTo>
                  <a:pt x="1273700" y="640435"/>
                  <a:pt x="1273700" y="642257"/>
                  <a:pt x="1271878" y="647723"/>
                </a:cubicBezTo>
                <a:cubicBezTo>
                  <a:pt x="1275522" y="649545"/>
                  <a:pt x="1273700" y="649545"/>
                  <a:pt x="1275522" y="651368"/>
                </a:cubicBezTo>
                <a:cubicBezTo>
                  <a:pt x="1277344" y="649545"/>
                  <a:pt x="1277344" y="651368"/>
                  <a:pt x="1277344" y="649545"/>
                </a:cubicBezTo>
                <a:lnTo>
                  <a:pt x="1278710" y="652279"/>
                </a:lnTo>
                <a:lnTo>
                  <a:pt x="1278255" y="653190"/>
                </a:lnTo>
                <a:lnTo>
                  <a:pt x="1275522" y="653190"/>
                </a:lnTo>
                <a:cubicBezTo>
                  <a:pt x="1275522" y="653190"/>
                  <a:pt x="1277344" y="655012"/>
                  <a:pt x="1277344" y="655012"/>
                </a:cubicBezTo>
                <a:lnTo>
                  <a:pt x="1278255" y="653190"/>
                </a:lnTo>
                <a:lnTo>
                  <a:pt x="1279166" y="653190"/>
                </a:lnTo>
                <a:lnTo>
                  <a:pt x="1278710" y="652279"/>
                </a:lnTo>
                <a:lnTo>
                  <a:pt x="1279166" y="651368"/>
                </a:lnTo>
                <a:cubicBezTo>
                  <a:pt x="1280989" y="647723"/>
                  <a:pt x="1280989" y="642257"/>
                  <a:pt x="1282811" y="636790"/>
                </a:cubicBezTo>
                <a:cubicBezTo>
                  <a:pt x="1279166" y="634968"/>
                  <a:pt x="1277344" y="636790"/>
                  <a:pt x="1273700" y="636790"/>
                </a:cubicBezTo>
                <a:close/>
                <a:moveTo>
                  <a:pt x="1237256" y="636790"/>
                </a:moveTo>
                <a:cubicBezTo>
                  <a:pt x="1231790" y="640435"/>
                  <a:pt x="1220858" y="633146"/>
                  <a:pt x="1215390" y="642257"/>
                </a:cubicBezTo>
                <a:cubicBezTo>
                  <a:pt x="1220858" y="642257"/>
                  <a:pt x="1226323" y="644079"/>
                  <a:pt x="1231790" y="642257"/>
                </a:cubicBezTo>
                <a:cubicBezTo>
                  <a:pt x="1229969" y="640435"/>
                  <a:pt x="1229969" y="638612"/>
                  <a:pt x="1229969" y="638612"/>
                </a:cubicBezTo>
                <a:cubicBezTo>
                  <a:pt x="1231790" y="638612"/>
                  <a:pt x="1231790" y="642257"/>
                  <a:pt x="1233612" y="644079"/>
                </a:cubicBezTo>
                <a:cubicBezTo>
                  <a:pt x="1237256" y="642257"/>
                  <a:pt x="1235434" y="638612"/>
                  <a:pt x="1237256" y="636790"/>
                </a:cubicBezTo>
                <a:close/>
                <a:moveTo>
                  <a:pt x="1215390" y="636790"/>
                </a:moveTo>
                <a:cubicBezTo>
                  <a:pt x="1215390" y="636790"/>
                  <a:pt x="1213568" y="640435"/>
                  <a:pt x="1211747" y="638612"/>
                </a:cubicBezTo>
                <a:cubicBezTo>
                  <a:pt x="1209925" y="638612"/>
                  <a:pt x="1213568" y="640435"/>
                  <a:pt x="1213568" y="640435"/>
                </a:cubicBezTo>
                <a:cubicBezTo>
                  <a:pt x="1213568" y="640435"/>
                  <a:pt x="1217213" y="638612"/>
                  <a:pt x="1215390" y="636790"/>
                </a:cubicBezTo>
                <a:close/>
                <a:moveTo>
                  <a:pt x="1166192" y="636790"/>
                </a:moveTo>
                <a:cubicBezTo>
                  <a:pt x="1164370" y="642257"/>
                  <a:pt x="1162547" y="649545"/>
                  <a:pt x="1158903" y="655012"/>
                </a:cubicBezTo>
                <a:cubicBezTo>
                  <a:pt x="1166192" y="655012"/>
                  <a:pt x="1180769" y="636790"/>
                  <a:pt x="1166192" y="636790"/>
                </a:cubicBezTo>
                <a:close/>
                <a:moveTo>
                  <a:pt x="1164370" y="636790"/>
                </a:moveTo>
                <a:cubicBezTo>
                  <a:pt x="1160725" y="634968"/>
                  <a:pt x="1158903" y="644079"/>
                  <a:pt x="1157081" y="645901"/>
                </a:cubicBezTo>
                <a:cubicBezTo>
                  <a:pt x="1158903" y="647723"/>
                  <a:pt x="1157081" y="647723"/>
                  <a:pt x="1158903" y="649545"/>
                </a:cubicBezTo>
                <a:cubicBezTo>
                  <a:pt x="1162547" y="644079"/>
                  <a:pt x="1160725" y="640435"/>
                  <a:pt x="1164370" y="636790"/>
                </a:cubicBezTo>
                <a:close/>
                <a:moveTo>
                  <a:pt x="1157081" y="636790"/>
                </a:moveTo>
                <a:cubicBezTo>
                  <a:pt x="1157081" y="636790"/>
                  <a:pt x="1157081" y="638612"/>
                  <a:pt x="1158903" y="640435"/>
                </a:cubicBezTo>
                <a:cubicBezTo>
                  <a:pt x="1160725" y="638612"/>
                  <a:pt x="1158903" y="638612"/>
                  <a:pt x="1160725" y="638612"/>
                </a:cubicBezTo>
                <a:cubicBezTo>
                  <a:pt x="1160725" y="634968"/>
                  <a:pt x="1158903" y="638612"/>
                  <a:pt x="1157081" y="636790"/>
                </a:cubicBezTo>
                <a:close/>
                <a:moveTo>
                  <a:pt x="1153436" y="636790"/>
                </a:moveTo>
                <a:cubicBezTo>
                  <a:pt x="1147970" y="636790"/>
                  <a:pt x="1144326" y="642257"/>
                  <a:pt x="1138859" y="647723"/>
                </a:cubicBezTo>
                <a:cubicBezTo>
                  <a:pt x="1138859" y="649545"/>
                  <a:pt x="1140681" y="649545"/>
                  <a:pt x="1140681" y="649545"/>
                </a:cubicBezTo>
                <a:cubicBezTo>
                  <a:pt x="1129748" y="653190"/>
                  <a:pt x="1127926" y="664123"/>
                  <a:pt x="1122459" y="671411"/>
                </a:cubicBezTo>
                <a:cubicBezTo>
                  <a:pt x="1122459" y="669589"/>
                  <a:pt x="1126104" y="667767"/>
                  <a:pt x="1127926" y="667767"/>
                </a:cubicBezTo>
                <a:lnTo>
                  <a:pt x="1126104" y="669589"/>
                </a:lnTo>
                <a:cubicBezTo>
                  <a:pt x="1133393" y="673234"/>
                  <a:pt x="1133393" y="669589"/>
                  <a:pt x="1133393" y="664123"/>
                </a:cubicBezTo>
                <a:cubicBezTo>
                  <a:pt x="1135215" y="665945"/>
                  <a:pt x="1133393" y="665945"/>
                  <a:pt x="1133393" y="667767"/>
                </a:cubicBezTo>
                <a:cubicBezTo>
                  <a:pt x="1138859" y="665945"/>
                  <a:pt x="1144326" y="662301"/>
                  <a:pt x="1142503" y="656834"/>
                </a:cubicBezTo>
                <a:cubicBezTo>
                  <a:pt x="1144326" y="655012"/>
                  <a:pt x="1144326" y="660478"/>
                  <a:pt x="1146148" y="658656"/>
                </a:cubicBezTo>
                <a:cubicBezTo>
                  <a:pt x="1147970" y="656834"/>
                  <a:pt x="1142503" y="653190"/>
                  <a:pt x="1144326" y="649545"/>
                </a:cubicBezTo>
                <a:cubicBezTo>
                  <a:pt x="1146148" y="649545"/>
                  <a:pt x="1147970" y="653190"/>
                  <a:pt x="1149792" y="655012"/>
                </a:cubicBezTo>
                <a:cubicBezTo>
                  <a:pt x="1155259" y="651368"/>
                  <a:pt x="1151614" y="644079"/>
                  <a:pt x="1155259" y="640435"/>
                </a:cubicBezTo>
                <a:cubicBezTo>
                  <a:pt x="1153436" y="638612"/>
                  <a:pt x="1155259" y="638612"/>
                  <a:pt x="1153436" y="636790"/>
                </a:cubicBezTo>
                <a:close/>
                <a:moveTo>
                  <a:pt x="1100593" y="636790"/>
                </a:moveTo>
                <a:cubicBezTo>
                  <a:pt x="1098771" y="638612"/>
                  <a:pt x="1098771" y="642257"/>
                  <a:pt x="1100593" y="642257"/>
                </a:cubicBezTo>
                <a:cubicBezTo>
                  <a:pt x="1098771" y="644079"/>
                  <a:pt x="1098771" y="645901"/>
                  <a:pt x="1096949" y="647723"/>
                </a:cubicBezTo>
                <a:cubicBezTo>
                  <a:pt x="1100593" y="647723"/>
                  <a:pt x="1098771" y="644079"/>
                  <a:pt x="1102416" y="642257"/>
                </a:cubicBezTo>
                <a:cubicBezTo>
                  <a:pt x="1100593" y="640435"/>
                  <a:pt x="1102416" y="638612"/>
                  <a:pt x="1100593" y="636790"/>
                </a:cubicBezTo>
                <a:close/>
                <a:moveTo>
                  <a:pt x="1051395" y="636790"/>
                </a:moveTo>
                <a:cubicBezTo>
                  <a:pt x="1047750" y="636790"/>
                  <a:pt x="1042284" y="644079"/>
                  <a:pt x="1045929" y="645901"/>
                </a:cubicBezTo>
                <a:cubicBezTo>
                  <a:pt x="1049573" y="642257"/>
                  <a:pt x="1047750" y="640435"/>
                  <a:pt x="1051395" y="636790"/>
                </a:cubicBezTo>
                <a:close/>
                <a:moveTo>
                  <a:pt x="597673" y="636790"/>
                </a:moveTo>
                <a:cubicBezTo>
                  <a:pt x="594030" y="634968"/>
                  <a:pt x="595852" y="638612"/>
                  <a:pt x="595852" y="640435"/>
                </a:cubicBezTo>
                <a:cubicBezTo>
                  <a:pt x="599496" y="642257"/>
                  <a:pt x="599496" y="638612"/>
                  <a:pt x="597673" y="636790"/>
                </a:cubicBezTo>
                <a:close/>
                <a:moveTo>
                  <a:pt x="384479" y="636790"/>
                </a:moveTo>
                <a:cubicBezTo>
                  <a:pt x="382657" y="642257"/>
                  <a:pt x="386301" y="644079"/>
                  <a:pt x="389946" y="644079"/>
                </a:cubicBezTo>
                <a:cubicBezTo>
                  <a:pt x="389946" y="644079"/>
                  <a:pt x="389946" y="642257"/>
                  <a:pt x="389946" y="642257"/>
                </a:cubicBezTo>
                <a:cubicBezTo>
                  <a:pt x="388123" y="638612"/>
                  <a:pt x="386301" y="640435"/>
                  <a:pt x="384479" y="636790"/>
                </a:cubicBezTo>
                <a:close/>
                <a:moveTo>
                  <a:pt x="340747" y="636790"/>
                </a:moveTo>
                <a:cubicBezTo>
                  <a:pt x="340747" y="638612"/>
                  <a:pt x="342569" y="640435"/>
                  <a:pt x="342569" y="642257"/>
                </a:cubicBezTo>
                <a:cubicBezTo>
                  <a:pt x="346213" y="642257"/>
                  <a:pt x="340747" y="638612"/>
                  <a:pt x="340747" y="636790"/>
                </a:cubicBezTo>
                <a:close/>
                <a:moveTo>
                  <a:pt x="1043665" y="636515"/>
                </a:moveTo>
                <a:lnTo>
                  <a:pt x="1043821" y="638539"/>
                </a:lnTo>
                <a:lnTo>
                  <a:pt x="1043650" y="640663"/>
                </a:lnTo>
                <a:lnTo>
                  <a:pt x="1043359" y="641309"/>
                </a:lnTo>
                <a:lnTo>
                  <a:pt x="1042578" y="640318"/>
                </a:lnTo>
                <a:close/>
                <a:moveTo>
                  <a:pt x="2586491" y="636392"/>
                </a:moveTo>
                <a:cubicBezTo>
                  <a:pt x="2581451" y="634855"/>
                  <a:pt x="2575643" y="644079"/>
                  <a:pt x="2572910" y="644079"/>
                </a:cubicBezTo>
                <a:cubicBezTo>
                  <a:pt x="2578377" y="655012"/>
                  <a:pt x="2587487" y="649545"/>
                  <a:pt x="2591132" y="642257"/>
                </a:cubicBezTo>
                <a:cubicBezTo>
                  <a:pt x="2589766" y="638613"/>
                  <a:pt x="2588171" y="636905"/>
                  <a:pt x="2586491" y="636392"/>
                </a:cubicBezTo>
                <a:close/>
                <a:moveTo>
                  <a:pt x="3343690" y="634968"/>
                </a:moveTo>
                <a:cubicBezTo>
                  <a:pt x="3343690" y="642257"/>
                  <a:pt x="3350978" y="638612"/>
                  <a:pt x="3354623" y="638612"/>
                </a:cubicBezTo>
                <a:cubicBezTo>
                  <a:pt x="3354623" y="634968"/>
                  <a:pt x="3345512" y="638612"/>
                  <a:pt x="3343690" y="634968"/>
                </a:cubicBezTo>
                <a:close/>
                <a:moveTo>
                  <a:pt x="3258047" y="634968"/>
                </a:moveTo>
                <a:cubicBezTo>
                  <a:pt x="3259869" y="636790"/>
                  <a:pt x="3261692" y="638612"/>
                  <a:pt x="3263514" y="640435"/>
                </a:cubicBezTo>
                <a:cubicBezTo>
                  <a:pt x="3267158" y="638612"/>
                  <a:pt x="3265336" y="636790"/>
                  <a:pt x="3265336" y="636790"/>
                </a:cubicBezTo>
                <a:cubicBezTo>
                  <a:pt x="3265336" y="634968"/>
                  <a:pt x="3261692" y="634968"/>
                  <a:pt x="3258047" y="634968"/>
                </a:cubicBezTo>
                <a:close/>
                <a:moveTo>
                  <a:pt x="635939" y="634968"/>
                </a:moveTo>
                <a:cubicBezTo>
                  <a:pt x="632296" y="636790"/>
                  <a:pt x="634117" y="645901"/>
                  <a:pt x="626828" y="645901"/>
                </a:cubicBezTo>
                <a:cubicBezTo>
                  <a:pt x="632296" y="647723"/>
                  <a:pt x="635939" y="656834"/>
                  <a:pt x="639583" y="651368"/>
                </a:cubicBezTo>
                <a:cubicBezTo>
                  <a:pt x="641407" y="649545"/>
                  <a:pt x="645050" y="644079"/>
                  <a:pt x="645050" y="638612"/>
                </a:cubicBezTo>
                <a:cubicBezTo>
                  <a:pt x="641407" y="634968"/>
                  <a:pt x="639583" y="634968"/>
                  <a:pt x="635939" y="634968"/>
                </a:cubicBezTo>
                <a:close/>
                <a:moveTo>
                  <a:pt x="451899" y="634968"/>
                </a:moveTo>
                <a:cubicBezTo>
                  <a:pt x="446433" y="634968"/>
                  <a:pt x="448256" y="638612"/>
                  <a:pt x="450077" y="640435"/>
                </a:cubicBezTo>
                <a:cubicBezTo>
                  <a:pt x="450077" y="640435"/>
                  <a:pt x="450077" y="640435"/>
                  <a:pt x="451899" y="640435"/>
                </a:cubicBezTo>
                <a:cubicBezTo>
                  <a:pt x="455544" y="638612"/>
                  <a:pt x="450077" y="634968"/>
                  <a:pt x="451899" y="634968"/>
                </a:cubicBezTo>
                <a:close/>
                <a:moveTo>
                  <a:pt x="349858" y="634968"/>
                </a:moveTo>
                <a:cubicBezTo>
                  <a:pt x="346213" y="636790"/>
                  <a:pt x="349858" y="642257"/>
                  <a:pt x="353502" y="647723"/>
                </a:cubicBezTo>
                <a:cubicBezTo>
                  <a:pt x="355324" y="647723"/>
                  <a:pt x="353502" y="642257"/>
                  <a:pt x="357146" y="638612"/>
                </a:cubicBezTo>
                <a:cubicBezTo>
                  <a:pt x="355324" y="636790"/>
                  <a:pt x="351680" y="636790"/>
                  <a:pt x="349858" y="634968"/>
                </a:cubicBezTo>
                <a:close/>
                <a:moveTo>
                  <a:pt x="218661" y="634968"/>
                </a:moveTo>
                <a:lnTo>
                  <a:pt x="218739" y="635202"/>
                </a:lnTo>
                <a:lnTo>
                  <a:pt x="219298" y="639799"/>
                </a:lnTo>
                <a:lnTo>
                  <a:pt x="218661" y="640435"/>
                </a:lnTo>
                <a:cubicBezTo>
                  <a:pt x="218661" y="638612"/>
                  <a:pt x="216839" y="636790"/>
                  <a:pt x="218661" y="634968"/>
                </a:cubicBezTo>
                <a:close/>
                <a:moveTo>
                  <a:pt x="145774" y="634968"/>
                </a:moveTo>
                <a:cubicBezTo>
                  <a:pt x="151241" y="640435"/>
                  <a:pt x="154885" y="658656"/>
                  <a:pt x="163996" y="660478"/>
                </a:cubicBezTo>
                <a:cubicBezTo>
                  <a:pt x="156707" y="649545"/>
                  <a:pt x="153063" y="640435"/>
                  <a:pt x="145774" y="634968"/>
                </a:cubicBezTo>
                <a:close/>
                <a:moveTo>
                  <a:pt x="2951011" y="634513"/>
                </a:moveTo>
                <a:cubicBezTo>
                  <a:pt x="2949189" y="634968"/>
                  <a:pt x="2947367" y="635879"/>
                  <a:pt x="2946456" y="634968"/>
                </a:cubicBezTo>
                <a:cubicBezTo>
                  <a:pt x="2940989" y="651368"/>
                  <a:pt x="2957389" y="656834"/>
                  <a:pt x="2970144" y="662301"/>
                </a:cubicBezTo>
                <a:cubicBezTo>
                  <a:pt x="2970144" y="659568"/>
                  <a:pt x="2970600" y="655468"/>
                  <a:pt x="2969916" y="651824"/>
                </a:cubicBezTo>
                <a:lnTo>
                  <a:pt x="2962858" y="644083"/>
                </a:lnTo>
                <a:lnTo>
                  <a:pt x="2959211" y="638612"/>
                </a:lnTo>
                <a:cubicBezTo>
                  <a:pt x="2957389" y="636790"/>
                  <a:pt x="2951922" y="638612"/>
                  <a:pt x="2955566" y="636790"/>
                </a:cubicBezTo>
                <a:cubicBezTo>
                  <a:pt x="2954655" y="634058"/>
                  <a:pt x="2952833" y="634058"/>
                  <a:pt x="2951011" y="634513"/>
                </a:cubicBezTo>
                <a:close/>
                <a:moveTo>
                  <a:pt x="163997" y="633147"/>
                </a:moveTo>
                <a:lnTo>
                  <a:pt x="164482" y="633593"/>
                </a:lnTo>
                <a:lnTo>
                  <a:pt x="165477" y="635749"/>
                </a:lnTo>
                <a:lnTo>
                  <a:pt x="163997" y="633149"/>
                </a:lnTo>
                <a:close/>
                <a:moveTo>
                  <a:pt x="3006587" y="633146"/>
                </a:moveTo>
                <a:cubicBezTo>
                  <a:pt x="3002943" y="634968"/>
                  <a:pt x="3004765" y="642257"/>
                  <a:pt x="3010232" y="640435"/>
                </a:cubicBezTo>
                <a:cubicBezTo>
                  <a:pt x="3012054" y="636790"/>
                  <a:pt x="3006587" y="636790"/>
                  <a:pt x="3006587" y="633146"/>
                </a:cubicBezTo>
                <a:close/>
                <a:moveTo>
                  <a:pt x="2922767" y="633146"/>
                </a:moveTo>
                <a:cubicBezTo>
                  <a:pt x="2920945" y="633146"/>
                  <a:pt x="2919123" y="642257"/>
                  <a:pt x="2924590" y="640435"/>
                </a:cubicBezTo>
                <a:cubicBezTo>
                  <a:pt x="2924590" y="636790"/>
                  <a:pt x="2922767" y="636790"/>
                  <a:pt x="2922767" y="633146"/>
                </a:cubicBezTo>
                <a:close/>
                <a:moveTo>
                  <a:pt x="2500023" y="633146"/>
                </a:moveTo>
                <a:cubicBezTo>
                  <a:pt x="2501845" y="634968"/>
                  <a:pt x="2501845" y="636790"/>
                  <a:pt x="2503667" y="636790"/>
                </a:cubicBezTo>
                <a:lnTo>
                  <a:pt x="2507312" y="638612"/>
                </a:lnTo>
                <a:cubicBezTo>
                  <a:pt x="2507312" y="636790"/>
                  <a:pt x="2507312" y="634968"/>
                  <a:pt x="2507312" y="633146"/>
                </a:cubicBezTo>
                <a:cubicBezTo>
                  <a:pt x="2503667" y="633146"/>
                  <a:pt x="2501845" y="633146"/>
                  <a:pt x="2500023" y="633146"/>
                </a:cubicBezTo>
                <a:close/>
                <a:moveTo>
                  <a:pt x="1290100" y="633146"/>
                </a:moveTo>
                <a:cubicBezTo>
                  <a:pt x="1288277" y="638612"/>
                  <a:pt x="1286455" y="642257"/>
                  <a:pt x="1284633" y="647723"/>
                </a:cubicBezTo>
                <a:cubicBezTo>
                  <a:pt x="1280989" y="649545"/>
                  <a:pt x="1279166" y="653190"/>
                  <a:pt x="1282811" y="655012"/>
                </a:cubicBezTo>
                <a:cubicBezTo>
                  <a:pt x="1286455" y="649545"/>
                  <a:pt x="1291922" y="640435"/>
                  <a:pt x="1291922" y="633146"/>
                </a:cubicBezTo>
                <a:cubicBezTo>
                  <a:pt x="1291922" y="633146"/>
                  <a:pt x="1290100" y="634968"/>
                  <a:pt x="1290100" y="633146"/>
                </a:cubicBezTo>
                <a:close/>
                <a:moveTo>
                  <a:pt x="1195346" y="633146"/>
                </a:moveTo>
                <a:cubicBezTo>
                  <a:pt x="1195346" y="633146"/>
                  <a:pt x="1195346" y="634968"/>
                  <a:pt x="1197169" y="636790"/>
                </a:cubicBezTo>
                <a:cubicBezTo>
                  <a:pt x="1197169" y="636790"/>
                  <a:pt x="1198991" y="636790"/>
                  <a:pt x="1200814" y="634968"/>
                </a:cubicBezTo>
                <a:cubicBezTo>
                  <a:pt x="1198991" y="634968"/>
                  <a:pt x="1197169" y="634968"/>
                  <a:pt x="1195346" y="633146"/>
                </a:cubicBezTo>
                <a:close/>
                <a:moveTo>
                  <a:pt x="1062328" y="633146"/>
                </a:moveTo>
                <a:cubicBezTo>
                  <a:pt x="1062328" y="631324"/>
                  <a:pt x="1056861" y="636790"/>
                  <a:pt x="1060506" y="636790"/>
                </a:cubicBezTo>
                <a:cubicBezTo>
                  <a:pt x="1062328" y="634968"/>
                  <a:pt x="1060506" y="634968"/>
                  <a:pt x="1062328" y="633146"/>
                </a:cubicBezTo>
                <a:close/>
                <a:moveTo>
                  <a:pt x="1031351" y="633146"/>
                </a:moveTo>
                <a:cubicBezTo>
                  <a:pt x="1027707" y="638612"/>
                  <a:pt x="1024062" y="645901"/>
                  <a:pt x="1033173" y="649545"/>
                </a:cubicBezTo>
                <a:cubicBezTo>
                  <a:pt x="1034995" y="644079"/>
                  <a:pt x="1034995" y="638612"/>
                  <a:pt x="1031351" y="633146"/>
                </a:cubicBezTo>
                <a:close/>
                <a:moveTo>
                  <a:pt x="883755" y="633146"/>
                </a:moveTo>
                <a:cubicBezTo>
                  <a:pt x="880111" y="638612"/>
                  <a:pt x="871000" y="640435"/>
                  <a:pt x="876466" y="649545"/>
                </a:cubicBezTo>
                <a:cubicBezTo>
                  <a:pt x="878288" y="647723"/>
                  <a:pt x="880111" y="644079"/>
                  <a:pt x="878288" y="640435"/>
                </a:cubicBezTo>
                <a:cubicBezTo>
                  <a:pt x="881933" y="640435"/>
                  <a:pt x="880111" y="636790"/>
                  <a:pt x="883755" y="633146"/>
                </a:cubicBezTo>
                <a:close/>
                <a:moveTo>
                  <a:pt x="728870" y="633146"/>
                </a:moveTo>
                <a:cubicBezTo>
                  <a:pt x="730692" y="636790"/>
                  <a:pt x="737981" y="644079"/>
                  <a:pt x="745269" y="642257"/>
                </a:cubicBezTo>
                <a:cubicBezTo>
                  <a:pt x="745269" y="638612"/>
                  <a:pt x="739803" y="638612"/>
                  <a:pt x="736159" y="634968"/>
                </a:cubicBezTo>
                <a:cubicBezTo>
                  <a:pt x="734336" y="636790"/>
                  <a:pt x="736159" y="636790"/>
                  <a:pt x="736159" y="638612"/>
                </a:cubicBezTo>
                <a:cubicBezTo>
                  <a:pt x="732515" y="636790"/>
                  <a:pt x="732515" y="631324"/>
                  <a:pt x="728870" y="633146"/>
                </a:cubicBezTo>
                <a:close/>
                <a:moveTo>
                  <a:pt x="590385" y="633146"/>
                </a:moveTo>
                <a:cubicBezTo>
                  <a:pt x="588562" y="634968"/>
                  <a:pt x="590385" y="638612"/>
                  <a:pt x="590385" y="640435"/>
                </a:cubicBezTo>
                <a:cubicBezTo>
                  <a:pt x="588562" y="642257"/>
                  <a:pt x="588562" y="642257"/>
                  <a:pt x="588562" y="642257"/>
                </a:cubicBezTo>
                <a:cubicBezTo>
                  <a:pt x="586741" y="642257"/>
                  <a:pt x="586741" y="640435"/>
                  <a:pt x="584919" y="638612"/>
                </a:cubicBezTo>
                <a:cubicBezTo>
                  <a:pt x="583096" y="642257"/>
                  <a:pt x="586741" y="644079"/>
                  <a:pt x="586741" y="645901"/>
                </a:cubicBezTo>
                <a:cubicBezTo>
                  <a:pt x="588562" y="644079"/>
                  <a:pt x="590385" y="642257"/>
                  <a:pt x="590385" y="640435"/>
                </a:cubicBezTo>
                <a:cubicBezTo>
                  <a:pt x="590385" y="638612"/>
                  <a:pt x="590385" y="636790"/>
                  <a:pt x="592207" y="636790"/>
                </a:cubicBezTo>
                <a:cubicBezTo>
                  <a:pt x="592207" y="634968"/>
                  <a:pt x="592207" y="634968"/>
                  <a:pt x="590385" y="633146"/>
                </a:cubicBezTo>
                <a:close/>
                <a:moveTo>
                  <a:pt x="424567" y="633146"/>
                </a:moveTo>
                <a:cubicBezTo>
                  <a:pt x="422745" y="634968"/>
                  <a:pt x="422745" y="640435"/>
                  <a:pt x="426389" y="640435"/>
                </a:cubicBezTo>
                <a:cubicBezTo>
                  <a:pt x="428211" y="638612"/>
                  <a:pt x="424567" y="634968"/>
                  <a:pt x="424567" y="633146"/>
                </a:cubicBezTo>
                <a:close/>
                <a:moveTo>
                  <a:pt x="284259" y="633146"/>
                </a:moveTo>
                <a:lnTo>
                  <a:pt x="285385" y="633837"/>
                </a:lnTo>
                <a:lnTo>
                  <a:pt x="284902" y="639801"/>
                </a:lnTo>
                <a:lnTo>
                  <a:pt x="284487" y="637019"/>
                </a:lnTo>
                <a:cubicBezTo>
                  <a:pt x="283348" y="634058"/>
                  <a:pt x="282438" y="632235"/>
                  <a:pt x="284259" y="633146"/>
                </a:cubicBezTo>
                <a:close/>
                <a:moveTo>
                  <a:pt x="163996" y="633146"/>
                </a:moveTo>
                <a:lnTo>
                  <a:pt x="163997" y="633147"/>
                </a:lnTo>
                <a:lnTo>
                  <a:pt x="163996" y="633147"/>
                </a:lnTo>
                <a:close/>
                <a:moveTo>
                  <a:pt x="3332415" y="632235"/>
                </a:moveTo>
                <a:cubicBezTo>
                  <a:pt x="3330821" y="631666"/>
                  <a:pt x="3328657" y="632235"/>
                  <a:pt x="3325468" y="634968"/>
                </a:cubicBezTo>
                <a:cubicBezTo>
                  <a:pt x="3325468" y="638612"/>
                  <a:pt x="3330934" y="640435"/>
                  <a:pt x="3329112" y="640435"/>
                </a:cubicBezTo>
                <a:cubicBezTo>
                  <a:pt x="3320001" y="645901"/>
                  <a:pt x="3316357" y="651368"/>
                  <a:pt x="3309068" y="642257"/>
                </a:cubicBezTo>
                <a:cubicBezTo>
                  <a:pt x="3307246" y="653190"/>
                  <a:pt x="3314535" y="656834"/>
                  <a:pt x="3323646" y="662301"/>
                </a:cubicBezTo>
                <a:cubicBezTo>
                  <a:pt x="3325468" y="664123"/>
                  <a:pt x="3330934" y="665945"/>
                  <a:pt x="3332756" y="664123"/>
                </a:cubicBezTo>
                <a:cubicBezTo>
                  <a:pt x="3334579" y="662301"/>
                  <a:pt x="3329112" y="658656"/>
                  <a:pt x="3330934" y="656834"/>
                </a:cubicBezTo>
                <a:cubicBezTo>
                  <a:pt x="3334579" y="655012"/>
                  <a:pt x="3334579" y="664123"/>
                  <a:pt x="3338223" y="662301"/>
                </a:cubicBezTo>
                <a:cubicBezTo>
                  <a:pt x="3336401" y="656834"/>
                  <a:pt x="3338223" y="653190"/>
                  <a:pt x="3340045" y="647723"/>
                </a:cubicBezTo>
                <a:cubicBezTo>
                  <a:pt x="3341867" y="649545"/>
                  <a:pt x="3338223" y="653190"/>
                  <a:pt x="3340045" y="655012"/>
                </a:cubicBezTo>
                <a:cubicBezTo>
                  <a:pt x="3343690" y="651368"/>
                  <a:pt x="3345512" y="645901"/>
                  <a:pt x="3343690" y="640435"/>
                </a:cubicBezTo>
                <a:cubicBezTo>
                  <a:pt x="3336857" y="645902"/>
                  <a:pt x="3337198" y="633943"/>
                  <a:pt x="3332415" y="632235"/>
                </a:cubicBezTo>
                <a:close/>
                <a:moveTo>
                  <a:pt x="3555062" y="631324"/>
                </a:moveTo>
                <a:cubicBezTo>
                  <a:pt x="3551417" y="629501"/>
                  <a:pt x="3551417" y="633146"/>
                  <a:pt x="3549595" y="633146"/>
                </a:cubicBezTo>
                <a:cubicBezTo>
                  <a:pt x="3551417" y="636790"/>
                  <a:pt x="3555062" y="636790"/>
                  <a:pt x="3556884" y="634968"/>
                </a:cubicBezTo>
                <a:cubicBezTo>
                  <a:pt x="3555062" y="634968"/>
                  <a:pt x="3555062" y="633146"/>
                  <a:pt x="3555062" y="631324"/>
                </a:cubicBezTo>
                <a:close/>
                <a:moveTo>
                  <a:pt x="2598421" y="631324"/>
                </a:moveTo>
                <a:cubicBezTo>
                  <a:pt x="2592954" y="631324"/>
                  <a:pt x="2596598" y="636790"/>
                  <a:pt x="2598421" y="638612"/>
                </a:cubicBezTo>
                <a:cubicBezTo>
                  <a:pt x="2602065" y="638612"/>
                  <a:pt x="2598421" y="634968"/>
                  <a:pt x="2598421" y="631324"/>
                </a:cubicBezTo>
                <a:close/>
                <a:moveTo>
                  <a:pt x="1410363" y="631324"/>
                </a:moveTo>
                <a:cubicBezTo>
                  <a:pt x="1404896" y="638612"/>
                  <a:pt x="1408541" y="645901"/>
                  <a:pt x="1401252" y="653190"/>
                </a:cubicBezTo>
                <a:cubicBezTo>
                  <a:pt x="1414007" y="656834"/>
                  <a:pt x="1417652" y="640435"/>
                  <a:pt x="1410363" y="631324"/>
                </a:cubicBezTo>
                <a:close/>
                <a:moveTo>
                  <a:pt x="1297388" y="631324"/>
                </a:moveTo>
                <a:cubicBezTo>
                  <a:pt x="1293744" y="634968"/>
                  <a:pt x="1293744" y="640435"/>
                  <a:pt x="1291922" y="644079"/>
                </a:cubicBezTo>
                <a:cubicBezTo>
                  <a:pt x="1293744" y="644079"/>
                  <a:pt x="1293744" y="645901"/>
                  <a:pt x="1295566" y="647723"/>
                </a:cubicBezTo>
                <a:cubicBezTo>
                  <a:pt x="1299210" y="642257"/>
                  <a:pt x="1297388" y="636790"/>
                  <a:pt x="1297388" y="631324"/>
                </a:cubicBezTo>
                <a:close/>
                <a:moveTo>
                  <a:pt x="1073262" y="631324"/>
                </a:moveTo>
                <a:cubicBezTo>
                  <a:pt x="1073262" y="629501"/>
                  <a:pt x="1062328" y="636790"/>
                  <a:pt x="1065972" y="638612"/>
                </a:cubicBezTo>
                <a:cubicBezTo>
                  <a:pt x="1069616" y="634968"/>
                  <a:pt x="1071439" y="633146"/>
                  <a:pt x="1073262" y="631324"/>
                </a:cubicBezTo>
                <a:close/>
                <a:moveTo>
                  <a:pt x="663272" y="631324"/>
                </a:moveTo>
                <a:cubicBezTo>
                  <a:pt x="657805" y="634968"/>
                  <a:pt x="663272" y="636790"/>
                  <a:pt x="665094" y="638612"/>
                </a:cubicBezTo>
                <a:cubicBezTo>
                  <a:pt x="668738" y="636790"/>
                  <a:pt x="665094" y="634968"/>
                  <a:pt x="663272" y="631324"/>
                </a:cubicBezTo>
                <a:close/>
                <a:moveTo>
                  <a:pt x="641407" y="631324"/>
                </a:moveTo>
                <a:cubicBezTo>
                  <a:pt x="639583" y="633146"/>
                  <a:pt x="637761" y="633146"/>
                  <a:pt x="637761" y="634968"/>
                </a:cubicBezTo>
                <a:cubicBezTo>
                  <a:pt x="639583" y="633146"/>
                  <a:pt x="641407" y="636790"/>
                  <a:pt x="643228" y="634968"/>
                </a:cubicBezTo>
                <a:cubicBezTo>
                  <a:pt x="641407" y="633146"/>
                  <a:pt x="639583" y="633146"/>
                  <a:pt x="641407" y="631324"/>
                </a:cubicBezTo>
                <a:close/>
                <a:moveTo>
                  <a:pt x="123908" y="631324"/>
                </a:moveTo>
                <a:cubicBezTo>
                  <a:pt x="123908" y="636790"/>
                  <a:pt x="131197" y="642257"/>
                  <a:pt x="134841" y="645901"/>
                </a:cubicBezTo>
                <a:cubicBezTo>
                  <a:pt x="134841" y="638612"/>
                  <a:pt x="127552" y="631324"/>
                  <a:pt x="123908" y="631324"/>
                </a:cubicBezTo>
                <a:close/>
                <a:moveTo>
                  <a:pt x="2374749" y="631324"/>
                </a:moveTo>
                <a:cubicBezTo>
                  <a:pt x="2372016" y="631779"/>
                  <a:pt x="2368827" y="633146"/>
                  <a:pt x="2365182" y="634968"/>
                </a:cubicBezTo>
                <a:cubicBezTo>
                  <a:pt x="2368827" y="638612"/>
                  <a:pt x="2370649" y="647723"/>
                  <a:pt x="2379760" y="642257"/>
                </a:cubicBezTo>
                <a:cubicBezTo>
                  <a:pt x="2379760" y="634968"/>
                  <a:pt x="2377937" y="633146"/>
                  <a:pt x="2381582" y="633146"/>
                </a:cubicBezTo>
                <a:cubicBezTo>
                  <a:pt x="2379760" y="631324"/>
                  <a:pt x="2377482" y="630868"/>
                  <a:pt x="2374749" y="631324"/>
                </a:cubicBezTo>
                <a:close/>
                <a:moveTo>
                  <a:pt x="92569" y="630493"/>
                </a:moveTo>
                <a:lnTo>
                  <a:pt x="116427" y="663855"/>
                </a:lnTo>
                <a:lnTo>
                  <a:pt x="118442" y="669589"/>
                </a:lnTo>
                <a:cubicBezTo>
                  <a:pt x="118442" y="673234"/>
                  <a:pt x="120264" y="675056"/>
                  <a:pt x="122086" y="676878"/>
                </a:cubicBezTo>
                <a:close/>
                <a:moveTo>
                  <a:pt x="3274447" y="629501"/>
                </a:moveTo>
                <a:cubicBezTo>
                  <a:pt x="3276269" y="629501"/>
                  <a:pt x="3276269" y="631324"/>
                  <a:pt x="3276269" y="631324"/>
                </a:cubicBezTo>
                <a:lnTo>
                  <a:pt x="3274447" y="629502"/>
                </a:lnTo>
                <a:close/>
                <a:moveTo>
                  <a:pt x="2758772" y="629501"/>
                </a:moveTo>
                <a:lnTo>
                  <a:pt x="2759141" y="630732"/>
                </a:lnTo>
                <a:lnTo>
                  <a:pt x="2757726" y="637002"/>
                </a:lnTo>
                <a:close/>
                <a:moveTo>
                  <a:pt x="2428958" y="629501"/>
                </a:moveTo>
                <a:cubicBezTo>
                  <a:pt x="2427136" y="631324"/>
                  <a:pt x="2425314" y="634968"/>
                  <a:pt x="2425314" y="636790"/>
                </a:cubicBezTo>
                <a:lnTo>
                  <a:pt x="2427136" y="636790"/>
                </a:lnTo>
                <a:lnTo>
                  <a:pt x="2428958" y="633146"/>
                </a:lnTo>
                <a:cubicBezTo>
                  <a:pt x="2428958" y="631324"/>
                  <a:pt x="2428958" y="631324"/>
                  <a:pt x="2428958" y="629501"/>
                </a:cubicBezTo>
                <a:close/>
                <a:moveTo>
                  <a:pt x="2396159" y="629501"/>
                </a:moveTo>
                <a:cubicBezTo>
                  <a:pt x="2392515" y="633146"/>
                  <a:pt x="2390693" y="638612"/>
                  <a:pt x="2390693" y="642257"/>
                </a:cubicBezTo>
                <a:cubicBezTo>
                  <a:pt x="2392515" y="642257"/>
                  <a:pt x="2392515" y="642257"/>
                  <a:pt x="2394337" y="642257"/>
                </a:cubicBezTo>
                <a:cubicBezTo>
                  <a:pt x="2390693" y="636790"/>
                  <a:pt x="2399803" y="634968"/>
                  <a:pt x="2396159" y="629501"/>
                </a:cubicBezTo>
                <a:close/>
                <a:moveTo>
                  <a:pt x="1439518" y="629501"/>
                </a:moveTo>
                <a:cubicBezTo>
                  <a:pt x="1437696" y="629501"/>
                  <a:pt x="1432229" y="633146"/>
                  <a:pt x="1435873" y="634968"/>
                </a:cubicBezTo>
                <a:cubicBezTo>
                  <a:pt x="1439518" y="633146"/>
                  <a:pt x="1439518" y="631324"/>
                  <a:pt x="1439518" y="629501"/>
                </a:cubicBezTo>
                <a:close/>
                <a:moveTo>
                  <a:pt x="1370275" y="629501"/>
                </a:moveTo>
                <a:cubicBezTo>
                  <a:pt x="1368453" y="633146"/>
                  <a:pt x="1366632" y="631324"/>
                  <a:pt x="1366632" y="634968"/>
                </a:cubicBezTo>
                <a:cubicBezTo>
                  <a:pt x="1368453" y="634968"/>
                  <a:pt x="1368453" y="633146"/>
                  <a:pt x="1368453" y="633146"/>
                </a:cubicBezTo>
                <a:cubicBezTo>
                  <a:pt x="1370275" y="638612"/>
                  <a:pt x="1368453" y="642257"/>
                  <a:pt x="1370275" y="645901"/>
                </a:cubicBezTo>
                <a:cubicBezTo>
                  <a:pt x="1372097" y="642257"/>
                  <a:pt x="1372097" y="634968"/>
                  <a:pt x="1370275" y="629501"/>
                </a:cubicBezTo>
                <a:close/>
                <a:moveTo>
                  <a:pt x="512031" y="629501"/>
                </a:moveTo>
                <a:cubicBezTo>
                  <a:pt x="508387" y="627679"/>
                  <a:pt x="508387" y="633146"/>
                  <a:pt x="508387" y="636790"/>
                </a:cubicBezTo>
                <a:cubicBezTo>
                  <a:pt x="510209" y="636790"/>
                  <a:pt x="512031" y="640435"/>
                  <a:pt x="513853" y="640435"/>
                </a:cubicBezTo>
                <a:cubicBezTo>
                  <a:pt x="517498" y="636790"/>
                  <a:pt x="512031" y="631324"/>
                  <a:pt x="512031" y="629501"/>
                </a:cubicBezTo>
                <a:close/>
                <a:moveTo>
                  <a:pt x="406345" y="629501"/>
                </a:moveTo>
                <a:lnTo>
                  <a:pt x="409050" y="634910"/>
                </a:lnTo>
                <a:lnTo>
                  <a:pt x="406752" y="632141"/>
                </a:lnTo>
                <a:close/>
                <a:moveTo>
                  <a:pt x="313414" y="629501"/>
                </a:moveTo>
                <a:cubicBezTo>
                  <a:pt x="315236" y="636790"/>
                  <a:pt x="320703" y="642257"/>
                  <a:pt x="327993" y="644079"/>
                </a:cubicBezTo>
                <a:cubicBezTo>
                  <a:pt x="333458" y="644079"/>
                  <a:pt x="324347" y="638612"/>
                  <a:pt x="327993" y="638612"/>
                </a:cubicBezTo>
                <a:cubicBezTo>
                  <a:pt x="324347" y="634968"/>
                  <a:pt x="320703" y="627679"/>
                  <a:pt x="313414" y="629501"/>
                </a:cubicBezTo>
                <a:close/>
                <a:moveTo>
                  <a:pt x="1180086" y="629046"/>
                </a:moveTo>
                <a:cubicBezTo>
                  <a:pt x="1178947" y="629046"/>
                  <a:pt x="1177125" y="629501"/>
                  <a:pt x="1175303" y="629501"/>
                </a:cubicBezTo>
                <a:cubicBezTo>
                  <a:pt x="1177125" y="633146"/>
                  <a:pt x="1178947" y="629501"/>
                  <a:pt x="1180769" y="631324"/>
                </a:cubicBezTo>
                <a:cubicBezTo>
                  <a:pt x="1181680" y="629502"/>
                  <a:pt x="1181224" y="629046"/>
                  <a:pt x="1180086" y="629046"/>
                </a:cubicBezTo>
                <a:close/>
                <a:moveTo>
                  <a:pt x="1403074" y="627679"/>
                </a:moveTo>
                <a:cubicBezTo>
                  <a:pt x="1401252" y="629501"/>
                  <a:pt x="1397608" y="631324"/>
                  <a:pt x="1399430" y="634968"/>
                </a:cubicBezTo>
                <a:cubicBezTo>
                  <a:pt x="1399430" y="634968"/>
                  <a:pt x="1397608" y="633146"/>
                  <a:pt x="1397608" y="633146"/>
                </a:cubicBezTo>
                <a:cubicBezTo>
                  <a:pt x="1393963" y="636790"/>
                  <a:pt x="1393963" y="638612"/>
                  <a:pt x="1395787" y="642257"/>
                </a:cubicBezTo>
                <a:cubicBezTo>
                  <a:pt x="1397608" y="640435"/>
                  <a:pt x="1397608" y="636790"/>
                  <a:pt x="1401252" y="640435"/>
                </a:cubicBezTo>
                <a:cubicBezTo>
                  <a:pt x="1404896" y="636790"/>
                  <a:pt x="1404896" y="634968"/>
                  <a:pt x="1406719" y="631324"/>
                </a:cubicBezTo>
                <a:cubicBezTo>
                  <a:pt x="1404896" y="631324"/>
                  <a:pt x="1404896" y="629501"/>
                  <a:pt x="1403074" y="627679"/>
                </a:cubicBezTo>
                <a:close/>
                <a:moveTo>
                  <a:pt x="1191703" y="627679"/>
                </a:moveTo>
                <a:cubicBezTo>
                  <a:pt x="1189880" y="625857"/>
                  <a:pt x="1184414" y="629501"/>
                  <a:pt x="1188058" y="631324"/>
                </a:cubicBezTo>
                <a:cubicBezTo>
                  <a:pt x="1189880" y="629501"/>
                  <a:pt x="1189880" y="629501"/>
                  <a:pt x="1191703" y="627679"/>
                </a:cubicBezTo>
                <a:close/>
                <a:moveTo>
                  <a:pt x="1137037" y="627679"/>
                </a:moveTo>
                <a:cubicBezTo>
                  <a:pt x="1135215" y="625857"/>
                  <a:pt x="1133393" y="633146"/>
                  <a:pt x="1131570" y="634968"/>
                </a:cubicBezTo>
                <a:cubicBezTo>
                  <a:pt x="1135215" y="634968"/>
                  <a:pt x="1137037" y="629501"/>
                  <a:pt x="1137037" y="627679"/>
                </a:cubicBezTo>
                <a:close/>
                <a:moveTo>
                  <a:pt x="936598" y="627679"/>
                </a:moveTo>
                <a:lnTo>
                  <a:pt x="936442" y="636691"/>
                </a:lnTo>
                <a:lnTo>
                  <a:pt x="935231" y="638157"/>
                </a:lnTo>
                <a:cubicBezTo>
                  <a:pt x="932042" y="641802"/>
                  <a:pt x="929309" y="644079"/>
                  <a:pt x="929309" y="640435"/>
                </a:cubicBezTo>
                <a:lnTo>
                  <a:pt x="936504" y="627737"/>
                </a:lnTo>
                <a:close/>
                <a:moveTo>
                  <a:pt x="854600" y="627679"/>
                </a:moveTo>
                <a:cubicBezTo>
                  <a:pt x="850956" y="634968"/>
                  <a:pt x="843667" y="638612"/>
                  <a:pt x="845489" y="642257"/>
                </a:cubicBezTo>
                <a:cubicBezTo>
                  <a:pt x="845489" y="649545"/>
                  <a:pt x="850956" y="645901"/>
                  <a:pt x="854600" y="647723"/>
                </a:cubicBezTo>
                <a:cubicBezTo>
                  <a:pt x="852778" y="640435"/>
                  <a:pt x="860066" y="634968"/>
                  <a:pt x="854600" y="627679"/>
                </a:cubicBezTo>
                <a:close/>
                <a:moveTo>
                  <a:pt x="845489" y="627679"/>
                </a:moveTo>
                <a:cubicBezTo>
                  <a:pt x="841845" y="631324"/>
                  <a:pt x="841845" y="633146"/>
                  <a:pt x="841845" y="636790"/>
                </a:cubicBezTo>
                <a:cubicBezTo>
                  <a:pt x="841845" y="633146"/>
                  <a:pt x="849133" y="629501"/>
                  <a:pt x="845489" y="627679"/>
                </a:cubicBezTo>
                <a:close/>
                <a:moveTo>
                  <a:pt x="756203" y="627679"/>
                </a:moveTo>
                <a:cubicBezTo>
                  <a:pt x="756203" y="631324"/>
                  <a:pt x="756203" y="634968"/>
                  <a:pt x="756203" y="638612"/>
                </a:cubicBezTo>
                <a:cubicBezTo>
                  <a:pt x="759848" y="634968"/>
                  <a:pt x="759848" y="633146"/>
                  <a:pt x="761670" y="631324"/>
                </a:cubicBezTo>
                <a:cubicBezTo>
                  <a:pt x="759848" y="631324"/>
                  <a:pt x="758025" y="629501"/>
                  <a:pt x="756203" y="627679"/>
                </a:cubicBezTo>
                <a:close/>
                <a:moveTo>
                  <a:pt x="697893" y="627679"/>
                </a:moveTo>
                <a:cubicBezTo>
                  <a:pt x="699715" y="633146"/>
                  <a:pt x="697893" y="636790"/>
                  <a:pt x="699715" y="642257"/>
                </a:cubicBezTo>
                <a:cubicBezTo>
                  <a:pt x="707004" y="636790"/>
                  <a:pt x="705182" y="633146"/>
                  <a:pt x="708826" y="627679"/>
                </a:cubicBezTo>
                <a:cubicBezTo>
                  <a:pt x="705182" y="625857"/>
                  <a:pt x="701537" y="625857"/>
                  <a:pt x="697893" y="627679"/>
                </a:cubicBezTo>
                <a:close/>
                <a:moveTo>
                  <a:pt x="158529" y="627679"/>
                </a:moveTo>
                <a:cubicBezTo>
                  <a:pt x="160352" y="629501"/>
                  <a:pt x="162174" y="629501"/>
                  <a:pt x="162174" y="631324"/>
                </a:cubicBezTo>
                <a:cubicBezTo>
                  <a:pt x="160352" y="634968"/>
                  <a:pt x="165818" y="636790"/>
                  <a:pt x="165818" y="640435"/>
                </a:cubicBezTo>
                <a:cubicBezTo>
                  <a:pt x="163996" y="640435"/>
                  <a:pt x="158529" y="633146"/>
                  <a:pt x="158529" y="627679"/>
                </a:cubicBezTo>
                <a:close/>
                <a:moveTo>
                  <a:pt x="2771389" y="627633"/>
                </a:moveTo>
                <a:lnTo>
                  <a:pt x="2771527" y="627679"/>
                </a:lnTo>
                <a:lnTo>
                  <a:pt x="2771414" y="627980"/>
                </a:lnTo>
                <a:close/>
                <a:moveTo>
                  <a:pt x="1225958" y="626587"/>
                </a:moveTo>
                <a:lnTo>
                  <a:pt x="1224501" y="629501"/>
                </a:lnTo>
                <a:lnTo>
                  <a:pt x="1222585" y="629354"/>
                </a:lnTo>
                <a:lnTo>
                  <a:pt x="1224956" y="627680"/>
                </a:lnTo>
                <a:close/>
                <a:moveTo>
                  <a:pt x="2961033" y="625857"/>
                </a:moveTo>
                <a:cubicBezTo>
                  <a:pt x="2959211" y="625857"/>
                  <a:pt x="2968322" y="629501"/>
                  <a:pt x="2961033" y="633146"/>
                </a:cubicBezTo>
                <a:cubicBezTo>
                  <a:pt x="2966500" y="644079"/>
                  <a:pt x="2979255" y="645901"/>
                  <a:pt x="2990188" y="653190"/>
                </a:cubicBezTo>
                <a:cubicBezTo>
                  <a:pt x="2986543" y="655012"/>
                  <a:pt x="2984721" y="653190"/>
                  <a:pt x="2982899" y="653190"/>
                </a:cubicBezTo>
                <a:cubicBezTo>
                  <a:pt x="2982899" y="653190"/>
                  <a:pt x="2984721" y="653190"/>
                  <a:pt x="2984721" y="655012"/>
                </a:cubicBezTo>
                <a:cubicBezTo>
                  <a:pt x="2981077" y="655012"/>
                  <a:pt x="2977432" y="653190"/>
                  <a:pt x="2975610" y="658656"/>
                </a:cubicBezTo>
                <a:cubicBezTo>
                  <a:pt x="2973788" y="665945"/>
                  <a:pt x="2981077" y="665945"/>
                  <a:pt x="2984721" y="664123"/>
                </a:cubicBezTo>
                <a:cubicBezTo>
                  <a:pt x="2984721" y="662301"/>
                  <a:pt x="2984721" y="662301"/>
                  <a:pt x="2986543" y="660478"/>
                </a:cubicBezTo>
                <a:cubicBezTo>
                  <a:pt x="2990188" y="658656"/>
                  <a:pt x="2988366" y="665945"/>
                  <a:pt x="2992010" y="664123"/>
                </a:cubicBezTo>
                <a:cubicBezTo>
                  <a:pt x="2988366" y="664123"/>
                  <a:pt x="2986543" y="667767"/>
                  <a:pt x="2981077" y="665945"/>
                </a:cubicBezTo>
                <a:cubicBezTo>
                  <a:pt x="2982899" y="671411"/>
                  <a:pt x="2988366" y="673234"/>
                  <a:pt x="2992010" y="675056"/>
                </a:cubicBezTo>
                <a:cubicBezTo>
                  <a:pt x="2993832" y="676878"/>
                  <a:pt x="2999299" y="673234"/>
                  <a:pt x="3001121" y="675056"/>
                </a:cubicBezTo>
                <a:cubicBezTo>
                  <a:pt x="3008410" y="682345"/>
                  <a:pt x="3019343" y="685989"/>
                  <a:pt x="3026631" y="680522"/>
                </a:cubicBezTo>
                <a:cubicBezTo>
                  <a:pt x="3026631" y="684167"/>
                  <a:pt x="3028453" y="684167"/>
                  <a:pt x="3030276" y="685989"/>
                </a:cubicBezTo>
                <a:cubicBezTo>
                  <a:pt x="3032098" y="685989"/>
                  <a:pt x="3033920" y="685989"/>
                  <a:pt x="3033920" y="684167"/>
                </a:cubicBezTo>
                <a:cubicBezTo>
                  <a:pt x="3033920" y="682345"/>
                  <a:pt x="3032098" y="682345"/>
                  <a:pt x="3032098" y="680522"/>
                </a:cubicBezTo>
                <a:cubicBezTo>
                  <a:pt x="3035742" y="687811"/>
                  <a:pt x="3044853" y="689633"/>
                  <a:pt x="3052142" y="687811"/>
                </a:cubicBezTo>
                <a:cubicBezTo>
                  <a:pt x="3053964" y="685989"/>
                  <a:pt x="3053964" y="685989"/>
                  <a:pt x="3053964" y="684167"/>
                </a:cubicBezTo>
                <a:lnTo>
                  <a:pt x="3044853" y="675056"/>
                </a:lnTo>
                <a:lnTo>
                  <a:pt x="3077652" y="680522"/>
                </a:lnTo>
                <a:lnTo>
                  <a:pt x="3075830" y="684167"/>
                </a:lnTo>
                <a:cubicBezTo>
                  <a:pt x="3077652" y="682345"/>
                  <a:pt x="3079474" y="680522"/>
                  <a:pt x="3081297" y="680522"/>
                </a:cubicBezTo>
                <a:cubicBezTo>
                  <a:pt x="3081297" y="682345"/>
                  <a:pt x="3081297" y="682345"/>
                  <a:pt x="3081297" y="684167"/>
                </a:cubicBezTo>
                <a:cubicBezTo>
                  <a:pt x="3090407" y="680522"/>
                  <a:pt x="3083119" y="665945"/>
                  <a:pt x="3092230" y="673234"/>
                </a:cubicBezTo>
                <a:cubicBezTo>
                  <a:pt x="3094052" y="675056"/>
                  <a:pt x="3097696" y="675056"/>
                  <a:pt x="3097696" y="678700"/>
                </a:cubicBezTo>
                <a:cubicBezTo>
                  <a:pt x="3103163" y="675056"/>
                  <a:pt x="3106807" y="676878"/>
                  <a:pt x="3112274" y="678700"/>
                </a:cubicBezTo>
                <a:cubicBezTo>
                  <a:pt x="3119562" y="680522"/>
                  <a:pt x="3128673" y="675056"/>
                  <a:pt x="3126851" y="667767"/>
                </a:cubicBezTo>
                <a:cubicBezTo>
                  <a:pt x="3123206" y="660478"/>
                  <a:pt x="3115918" y="658656"/>
                  <a:pt x="3108629" y="653190"/>
                </a:cubicBezTo>
                <a:cubicBezTo>
                  <a:pt x="3108629" y="651368"/>
                  <a:pt x="3110451" y="649545"/>
                  <a:pt x="3112274" y="647723"/>
                </a:cubicBezTo>
                <a:cubicBezTo>
                  <a:pt x="3114096" y="656834"/>
                  <a:pt x="3125029" y="658656"/>
                  <a:pt x="3132317" y="658656"/>
                </a:cubicBezTo>
                <a:cubicBezTo>
                  <a:pt x="3126851" y="655012"/>
                  <a:pt x="3135962" y="647723"/>
                  <a:pt x="3128673" y="649545"/>
                </a:cubicBezTo>
                <a:cubicBezTo>
                  <a:pt x="3128673" y="649545"/>
                  <a:pt x="3128673" y="653190"/>
                  <a:pt x="3130495" y="655012"/>
                </a:cubicBezTo>
                <a:cubicBezTo>
                  <a:pt x="3123206" y="651368"/>
                  <a:pt x="3117740" y="645901"/>
                  <a:pt x="3110451" y="644079"/>
                </a:cubicBezTo>
                <a:cubicBezTo>
                  <a:pt x="3099518" y="644079"/>
                  <a:pt x="3086763" y="636790"/>
                  <a:pt x="3075830" y="644079"/>
                </a:cubicBezTo>
                <a:cubicBezTo>
                  <a:pt x="3075830" y="645901"/>
                  <a:pt x="3070363" y="642257"/>
                  <a:pt x="3068541" y="640435"/>
                </a:cubicBezTo>
                <a:cubicBezTo>
                  <a:pt x="3066719" y="645901"/>
                  <a:pt x="3072186" y="649545"/>
                  <a:pt x="3074008" y="649545"/>
                </a:cubicBezTo>
                <a:cubicBezTo>
                  <a:pt x="3079474" y="651368"/>
                  <a:pt x="3092230" y="640435"/>
                  <a:pt x="3094052" y="651368"/>
                </a:cubicBezTo>
                <a:cubicBezTo>
                  <a:pt x="3095874" y="656834"/>
                  <a:pt x="3086763" y="664123"/>
                  <a:pt x="3095874" y="667767"/>
                </a:cubicBezTo>
                <a:cubicBezTo>
                  <a:pt x="3090407" y="665945"/>
                  <a:pt x="3077652" y="665945"/>
                  <a:pt x="3079474" y="675056"/>
                </a:cubicBezTo>
                <a:cubicBezTo>
                  <a:pt x="3077652" y="671411"/>
                  <a:pt x="3079474" y="665945"/>
                  <a:pt x="3077652" y="660478"/>
                </a:cubicBezTo>
                <a:cubicBezTo>
                  <a:pt x="3079474" y="660478"/>
                  <a:pt x="3081297" y="660478"/>
                  <a:pt x="3083119" y="660478"/>
                </a:cubicBezTo>
                <a:cubicBezTo>
                  <a:pt x="3072186" y="651368"/>
                  <a:pt x="3059430" y="638612"/>
                  <a:pt x="3048497" y="653190"/>
                </a:cubicBezTo>
                <a:cubicBezTo>
                  <a:pt x="3046675" y="640435"/>
                  <a:pt x="3035742" y="636790"/>
                  <a:pt x="3024809" y="638612"/>
                </a:cubicBezTo>
                <a:cubicBezTo>
                  <a:pt x="3024809" y="640435"/>
                  <a:pt x="3026631" y="642257"/>
                  <a:pt x="3026631" y="644079"/>
                </a:cubicBezTo>
                <a:cubicBezTo>
                  <a:pt x="3026631" y="645901"/>
                  <a:pt x="3022987" y="645901"/>
                  <a:pt x="3022987" y="644079"/>
                </a:cubicBezTo>
                <a:cubicBezTo>
                  <a:pt x="3022987" y="634968"/>
                  <a:pt x="3017521" y="636790"/>
                  <a:pt x="3010232" y="636790"/>
                </a:cubicBezTo>
                <a:cubicBezTo>
                  <a:pt x="3015698" y="644079"/>
                  <a:pt x="3015698" y="656834"/>
                  <a:pt x="3026631" y="658656"/>
                </a:cubicBezTo>
                <a:cubicBezTo>
                  <a:pt x="3022987" y="660478"/>
                  <a:pt x="3021165" y="656834"/>
                  <a:pt x="3019343" y="662301"/>
                </a:cubicBezTo>
                <a:cubicBezTo>
                  <a:pt x="3013876" y="656834"/>
                  <a:pt x="3017521" y="642257"/>
                  <a:pt x="3006587" y="644079"/>
                </a:cubicBezTo>
                <a:cubicBezTo>
                  <a:pt x="2995654" y="644079"/>
                  <a:pt x="3013876" y="653190"/>
                  <a:pt x="3006587" y="660478"/>
                </a:cubicBezTo>
                <a:cubicBezTo>
                  <a:pt x="3004765" y="660478"/>
                  <a:pt x="3002943" y="660478"/>
                  <a:pt x="3001121" y="658656"/>
                </a:cubicBezTo>
                <a:cubicBezTo>
                  <a:pt x="3001121" y="662301"/>
                  <a:pt x="3004765" y="667767"/>
                  <a:pt x="3002943" y="671411"/>
                </a:cubicBezTo>
                <a:cubicBezTo>
                  <a:pt x="3001121" y="665945"/>
                  <a:pt x="2995654" y="665945"/>
                  <a:pt x="2992010" y="664123"/>
                </a:cubicBezTo>
                <a:cubicBezTo>
                  <a:pt x="2993832" y="664123"/>
                  <a:pt x="2995654" y="660478"/>
                  <a:pt x="2995654" y="658656"/>
                </a:cubicBezTo>
                <a:cubicBezTo>
                  <a:pt x="2993832" y="656834"/>
                  <a:pt x="2992010" y="656834"/>
                  <a:pt x="2990188" y="655012"/>
                </a:cubicBezTo>
                <a:cubicBezTo>
                  <a:pt x="2995654" y="649545"/>
                  <a:pt x="2986543" y="647723"/>
                  <a:pt x="2986543" y="642257"/>
                </a:cubicBezTo>
                <a:cubicBezTo>
                  <a:pt x="2988366" y="644079"/>
                  <a:pt x="2993832" y="644079"/>
                  <a:pt x="2995654" y="642257"/>
                </a:cubicBezTo>
                <a:cubicBezTo>
                  <a:pt x="2999299" y="634968"/>
                  <a:pt x="2992010" y="627679"/>
                  <a:pt x="2984721" y="627679"/>
                </a:cubicBezTo>
                <a:cubicBezTo>
                  <a:pt x="2975610" y="629501"/>
                  <a:pt x="2971966" y="622213"/>
                  <a:pt x="2961033" y="625857"/>
                </a:cubicBezTo>
                <a:close/>
                <a:moveTo>
                  <a:pt x="2578377" y="625857"/>
                </a:moveTo>
                <a:cubicBezTo>
                  <a:pt x="2561977" y="627679"/>
                  <a:pt x="2576554" y="633146"/>
                  <a:pt x="2572910" y="636790"/>
                </a:cubicBezTo>
                <a:cubicBezTo>
                  <a:pt x="2574732" y="636790"/>
                  <a:pt x="2576554" y="636790"/>
                  <a:pt x="2580199" y="636790"/>
                </a:cubicBezTo>
                <a:cubicBezTo>
                  <a:pt x="2580199" y="631324"/>
                  <a:pt x="2578377" y="631324"/>
                  <a:pt x="2578377" y="625857"/>
                </a:cubicBezTo>
                <a:close/>
                <a:moveTo>
                  <a:pt x="1291922" y="625857"/>
                </a:moveTo>
                <a:cubicBezTo>
                  <a:pt x="1288277" y="627679"/>
                  <a:pt x="1290100" y="629501"/>
                  <a:pt x="1291922" y="631324"/>
                </a:cubicBezTo>
                <a:cubicBezTo>
                  <a:pt x="1293744" y="629501"/>
                  <a:pt x="1293744" y="629501"/>
                  <a:pt x="1293744" y="627679"/>
                </a:cubicBezTo>
                <a:cubicBezTo>
                  <a:pt x="1293744" y="625857"/>
                  <a:pt x="1291922" y="627679"/>
                  <a:pt x="1291922" y="625857"/>
                </a:cubicBezTo>
                <a:close/>
                <a:moveTo>
                  <a:pt x="1200814" y="625857"/>
                </a:moveTo>
                <a:cubicBezTo>
                  <a:pt x="1198991" y="625857"/>
                  <a:pt x="1202636" y="627679"/>
                  <a:pt x="1198991" y="629501"/>
                </a:cubicBezTo>
                <a:cubicBezTo>
                  <a:pt x="1202636" y="631324"/>
                  <a:pt x="1204457" y="625857"/>
                  <a:pt x="1200814" y="625857"/>
                </a:cubicBezTo>
                <a:close/>
                <a:moveTo>
                  <a:pt x="1118815" y="625857"/>
                </a:moveTo>
                <a:cubicBezTo>
                  <a:pt x="1113349" y="631324"/>
                  <a:pt x="1107882" y="640435"/>
                  <a:pt x="1116993" y="642257"/>
                </a:cubicBezTo>
                <a:cubicBezTo>
                  <a:pt x="1120637" y="638612"/>
                  <a:pt x="1118815" y="636790"/>
                  <a:pt x="1122459" y="638612"/>
                </a:cubicBezTo>
                <a:cubicBezTo>
                  <a:pt x="1124282" y="633146"/>
                  <a:pt x="1124282" y="627679"/>
                  <a:pt x="1118815" y="625857"/>
                </a:cubicBezTo>
                <a:close/>
                <a:moveTo>
                  <a:pt x="1040462" y="625857"/>
                </a:moveTo>
                <a:cubicBezTo>
                  <a:pt x="1038639" y="629501"/>
                  <a:pt x="1038639" y="633146"/>
                  <a:pt x="1038639" y="634968"/>
                </a:cubicBezTo>
                <a:lnTo>
                  <a:pt x="1038200" y="634684"/>
                </a:lnTo>
                <a:close/>
                <a:moveTo>
                  <a:pt x="907444" y="625857"/>
                </a:moveTo>
                <a:cubicBezTo>
                  <a:pt x="905621" y="627679"/>
                  <a:pt x="905621" y="631324"/>
                  <a:pt x="905621" y="633146"/>
                </a:cubicBezTo>
                <a:cubicBezTo>
                  <a:pt x="907444" y="633146"/>
                  <a:pt x="911087" y="625857"/>
                  <a:pt x="907444" y="625857"/>
                </a:cubicBezTo>
                <a:close/>
                <a:moveTo>
                  <a:pt x="736159" y="625857"/>
                </a:moveTo>
                <a:cubicBezTo>
                  <a:pt x="734336" y="627679"/>
                  <a:pt x="739803" y="631324"/>
                  <a:pt x="741626" y="633146"/>
                </a:cubicBezTo>
                <a:cubicBezTo>
                  <a:pt x="745269" y="629501"/>
                  <a:pt x="739803" y="627679"/>
                  <a:pt x="736159" y="625857"/>
                </a:cubicBezTo>
                <a:close/>
                <a:moveTo>
                  <a:pt x="717937" y="625857"/>
                </a:moveTo>
                <a:cubicBezTo>
                  <a:pt x="717937" y="627679"/>
                  <a:pt x="717937" y="627679"/>
                  <a:pt x="719759" y="629501"/>
                </a:cubicBezTo>
                <a:cubicBezTo>
                  <a:pt x="716115" y="625857"/>
                  <a:pt x="714293" y="625857"/>
                  <a:pt x="710648" y="627679"/>
                </a:cubicBezTo>
                <a:cubicBezTo>
                  <a:pt x="707004" y="642257"/>
                  <a:pt x="688782" y="653190"/>
                  <a:pt x="699715" y="669589"/>
                </a:cubicBezTo>
                <a:cubicBezTo>
                  <a:pt x="703359" y="667767"/>
                  <a:pt x="703359" y="664123"/>
                  <a:pt x="705182" y="660478"/>
                </a:cubicBezTo>
                <a:cubicBezTo>
                  <a:pt x="705182" y="667767"/>
                  <a:pt x="697893" y="671411"/>
                  <a:pt x="699715" y="675056"/>
                </a:cubicBezTo>
                <a:cubicBezTo>
                  <a:pt x="705182" y="684167"/>
                  <a:pt x="716115" y="678700"/>
                  <a:pt x="717937" y="669589"/>
                </a:cubicBezTo>
                <a:cubicBezTo>
                  <a:pt x="719759" y="665945"/>
                  <a:pt x="714293" y="665945"/>
                  <a:pt x="710648" y="665945"/>
                </a:cubicBezTo>
                <a:cubicBezTo>
                  <a:pt x="712470" y="665945"/>
                  <a:pt x="714293" y="662301"/>
                  <a:pt x="714293" y="658656"/>
                </a:cubicBezTo>
                <a:cubicBezTo>
                  <a:pt x="714293" y="658656"/>
                  <a:pt x="716115" y="658656"/>
                  <a:pt x="716115" y="662301"/>
                </a:cubicBezTo>
                <a:cubicBezTo>
                  <a:pt x="717937" y="660478"/>
                  <a:pt x="719759" y="660478"/>
                  <a:pt x="719759" y="656834"/>
                </a:cubicBezTo>
                <a:lnTo>
                  <a:pt x="725522" y="664632"/>
                </a:lnTo>
                <a:lnTo>
                  <a:pt x="723404" y="664123"/>
                </a:lnTo>
                <a:cubicBezTo>
                  <a:pt x="723404" y="685989"/>
                  <a:pt x="741626" y="675056"/>
                  <a:pt x="750737" y="676878"/>
                </a:cubicBezTo>
                <a:cubicBezTo>
                  <a:pt x="745269" y="671411"/>
                  <a:pt x="736159" y="667767"/>
                  <a:pt x="730692" y="669589"/>
                </a:cubicBezTo>
                <a:lnTo>
                  <a:pt x="729941" y="667660"/>
                </a:lnTo>
                <a:lnTo>
                  <a:pt x="743447" y="669589"/>
                </a:lnTo>
                <a:cubicBezTo>
                  <a:pt x="741626" y="667767"/>
                  <a:pt x="741626" y="665945"/>
                  <a:pt x="737981" y="665945"/>
                </a:cubicBezTo>
                <a:cubicBezTo>
                  <a:pt x="748914" y="667767"/>
                  <a:pt x="756203" y="676878"/>
                  <a:pt x="765313" y="676878"/>
                </a:cubicBezTo>
                <a:cubicBezTo>
                  <a:pt x="752558" y="671411"/>
                  <a:pt x="747092" y="655012"/>
                  <a:pt x="732515" y="655012"/>
                </a:cubicBezTo>
                <a:lnTo>
                  <a:pt x="734336" y="653190"/>
                </a:lnTo>
                <a:cubicBezTo>
                  <a:pt x="732515" y="651368"/>
                  <a:pt x="730692" y="651368"/>
                  <a:pt x="728870" y="649545"/>
                </a:cubicBezTo>
                <a:lnTo>
                  <a:pt x="734336" y="649545"/>
                </a:lnTo>
                <a:lnTo>
                  <a:pt x="737981" y="649545"/>
                </a:lnTo>
                <a:cubicBezTo>
                  <a:pt x="732515" y="642257"/>
                  <a:pt x="723404" y="644079"/>
                  <a:pt x="717937" y="638612"/>
                </a:cubicBezTo>
                <a:cubicBezTo>
                  <a:pt x="727048" y="638612"/>
                  <a:pt x="732515" y="640435"/>
                  <a:pt x="739803" y="645901"/>
                </a:cubicBezTo>
                <a:cubicBezTo>
                  <a:pt x="732515" y="642257"/>
                  <a:pt x="727048" y="633146"/>
                  <a:pt x="717937" y="631324"/>
                </a:cubicBezTo>
                <a:cubicBezTo>
                  <a:pt x="719759" y="629501"/>
                  <a:pt x="721581" y="627679"/>
                  <a:pt x="725226" y="627679"/>
                </a:cubicBezTo>
                <a:cubicBezTo>
                  <a:pt x="723404" y="625857"/>
                  <a:pt x="721581" y="625857"/>
                  <a:pt x="717937" y="625857"/>
                </a:cubicBezTo>
                <a:close/>
                <a:moveTo>
                  <a:pt x="692426" y="625857"/>
                </a:moveTo>
                <a:cubicBezTo>
                  <a:pt x="686960" y="633146"/>
                  <a:pt x="685138" y="642257"/>
                  <a:pt x="686960" y="651368"/>
                </a:cubicBezTo>
                <a:lnTo>
                  <a:pt x="685024" y="654030"/>
                </a:lnTo>
                <a:lnTo>
                  <a:pt x="683316" y="649545"/>
                </a:lnTo>
                <a:cubicBezTo>
                  <a:pt x="690604" y="644079"/>
                  <a:pt x="685138" y="636790"/>
                  <a:pt x="679671" y="633146"/>
                </a:cubicBezTo>
                <a:cubicBezTo>
                  <a:pt x="683316" y="633146"/>
                  <a:pt x="685138" y="636790"/>
                  <a:pt x="686960" y="636790"/>
                </a:cubicBezTo>
                <a:cubicBezTo>
                  <a:pt x="690604" y="633146"/>
                  <a:pt x="692426" y="629501"/>
                  <a:pt x="690604" y="627679"/>
                </a:cubicBezTo>
                <a:cubicBezTo>
                  <a:pt x="688782" y="625857"/>
                  <a:pt x="683316" y="629501"/>
                  <a:pt x="679671" y="627679"/>
                </a:cubicBezTo>
                <a:cubicBezTo>
                  <a:pt x="676027" y="638612"/>
                  <a:pt x="668738" y="647723"/>
                  <a:pt x="681493" y="660478"/>
                </a:cubicBezTo>
                <a:lnTo>
                  <a:pt x="681974" y="659666"/>
                </a:lnTo>
                <a:lnTo>
                  <a:pt x="686960" y="667767"/>
                </a:lnTo>
                <a:cubicBezTo>
                  <a:pt x="692426" y="664123"/>
                  <a:pt x="690604" y="660478"/>
                  <a:pt x="688782" y="656834"/>
                </a:cubicBezTo>
                <a:cubicBezTo>
                  <a:pt x="690604" y="656834"/>
                  <a:pt x="692426" y="658656"/>
                  <a:pt x="692426" y="658656"/>
                </a:cubicBezTo>
                <a:cubicBezTo>
                  <a:pt x="697893" y="649545"/>
                  <a:pt x="699715" y="638612"/>
                  <a:pt x="692426" y="625857"/>
                </a:cubicBezTo>
                <a:close/>
                <a:moveTo>
                  <a:pt x="338926" y="625857"/>
                </a:moveTo>
                <a:cubicBezTo>
                  <a:pt x="340747" y="629501"/>
                  <a:pt x="344391" y="629501"/>
                  <a:pt x="346213" y="631324"/>
                </a:cubicBezTo>
                <a:cubicBezTo>
                  <a:pt x="346213" y="629501"/>
                  <a:pt x="346213" y="627679"/>
                  <a:pt x="344391" y="625857"/>
                </a:cubicBezTo>
                <a:cubicBezTo>
                  <a:pt x="342569" y="627679"/>
                  <a:pt x="340747" y="624035"/>
                  <a:pt x="338926" y="625857"/>
                </a:cubicBezTo>
                <a:close/>
                <a:moveTo>
                  <a:pt x="331636" y="625857"/>
                </a:moveTo>
                <a:cubicBezTo>
                  <a:pt x="327993" y="629501"/>
                  <a:pt x="337102" y="634968"/>
                  <a:pt x="338926" y="638612"/>
                </a:cubicBezTo>
                <a:cubicBezTo>
                  <a:pt x="338926" y="633146"/>
                  <a:pt x="337102" y="627679"/>
                  <a:pt x="331636" y="625857"/>
                </a:cubicBezTo>
                <a:close/>
                <a:moveTo>
                  <a:pt x="2902724" y="624035"/>
                </a:moveTo>
                <a:cubicBezTo>
                  <a:pt x="2904546" y="627679"/>
                  <a:pt x="2902724" y="629501"/>
                  <a:pt x="2900901" y="629501"/>
                </a:cubicBezTo>
                <a:cubicBezTo>
                  <a:pt x="2899079" y="629501"/>
                  <a:pt x="2897257" y="625857"/>
                  <a:pt x="2893613" y="625857"/>
                </a:cubicBezTo>
                <a:cubicBezTo>
                  <a:pt x="2897257" y="629501"/>
                  <a:pt x="2899079" y="633146"/>
                  <a:pt x="2902724" y="636790"/>
                </a:cubicBezTo>
                <a:cubicBezTo>
                  <a:pt x="2902724" y="634968"/>
                  <a:pt x="2906368" y="631324"/>
                  <a:pt x="2908190" y="631324"/>
                </a:cubicBezTo>
                <a:cubicBezTo>
                  <a:pt x="2908190" y="627679"/>
                  <a:pt x="2908190" y="624035"/>
                  <a:pt x="2902724" y="624035"/>
                </a:cubicBezTo>
                <a:close/>
                <a:moveTo>
                  <a:pt x="1434051" y="624035"/>
                </a:moveTo>
                <a:cubicBezTo>
                  <a:pt x="1432229" y="622213"/>
                  <a:pt x="1434051" y="625857"/>
                  <a:pt x="1430407" y="625857"/>
                </a:cubicBezTo>
                <a:cubicBezTo>
                  <a:pt x="1430407" y="627679"/>
                  <a:pt x="1430407" y="629501"/>
                  <a:pt x="1432229" y="631324"/>
                </a:cubicBezTo>
                <a:cubicBezTo>
                  <a:pt x="1430407" y="634968"/>
                  <a:pt x="1426763" y="631324"/>
                  <a:pt x="1428585" y="636790"/>
                </a:cubicBezTo>
                <a:cubicBezTo>
                  <a:pt x="1430407" y="636790"/>
                  <a:pt x="1430407" y="636790"/>
                  <a:pt x="1432229" y="634968"/>
                </a:cubicBezTo>
                <a:cubicBezTo>
                  <a:pt x="1434051" y="633146"/>
                  <a:pt x="1430407" y="633146"/>
                  <a:pt x="1432229" y="631324"/>
                </a:cubicBezTo>
                <a:cubicBezTo>
                  <a:pt x="1435873" y="629501"/>
                  <a:pt x="1434051" y="625857"/>
                  <a:pt x="1434051" y="624035"/>
                </a:cubicBezTo>
                <a:close/>
                <a:moveTo>
                  <a:pt x="643228" y="624035"/>
                </a:moveTo>
                <a:cubicBezTo>
                  <a:pt x="635939" y="627679"/>
                  <a:pt x="645050" y="634968"/>
                  <a:pt x="648694" y="636790"/>
                </a:cubicBezTo>
                <a:cubicBezTo>
                  <a:pt x="650516" y="634968"/>
                  <a:pt x="643228" y="631324"/>
                  <a:pt x="646872" y="629501"/>
                </a:cubicBezTo>
                <a:cubicBezTo>
                  <a:pt x="648694" y="629501"/>
                  <a:pt x="648694" y="631324"/>
                  <a:pt x="650516" y="633146"/>
                </a:cubicBezTo>
                <a:cubicBezTo>
                  <a:pt x="652339" y="629501"/>
                  <a:pt x="645050" y="629501"/>
                  <a:pt x="643228" y="624035"/>
                </a:cubicBezTo>
                <a:close/>
                <a:moveTo>
                  <a:pt x="628650" y="624035"/>
                </a:moveTo>
                <a:cubicBezTo>
                  <a:pt x="628650" y="624035"/>
                  <a:pt x="629105" y="624491"/>
                  <a:pt x="629105" y="624946"/>
                </a:cubicBezTo>
                <a:lnTo>
                  <a:pt x="628315" y="625262"/>
                </a:lnTo>
                <a:close/>
                <a:moveTo>
                  <a:pt x="590385" y="624035"/>
                </a:moveTo>
                <a:cubicBezTo>
                  <a:pt x="590385" y="624035"/>
                  <a:pt x="588562" y="625857"/>
                  <a:pt x="586741" y="627679"/>
                </a:cubicBezTo>
                <a:cubicBezTo>
                  <a:pt x="588562" y="629501"/>
                  <a:pt x="590385" y="633146"/>
                  <a:pt x="594030" y="631324"/>
                </a:cubicBezTo>
                <a:cubicBezTo>
                  <a:pt x="590385" y="627679"/>
                  <a:pt x="594030" y="625857"/>
                  <a:pt x="590385" y="624035"/>
                </a:cubicBezTo>
                <a:close/>
                <a:moveTo>
                  <a:pt x="504743" y="624035"/>
                </a:moveTo>
                <a:cubicBezTo>
                  <a:pt x="504743" y="627679"/>
                  <a:pt x="499276" y="631324"/>
                  <a:pt x="502920" y="634968"/>
                </a:cubicBezTo>
                <a:cubicBezTo>
                  <a:pt x="506565" y="633146"/>
                  <a:pt x="506565" y="629501"/>
                  <a:pt x="504743" y="624035"/>
                </a:cubicBezTo>
                <a:close/>
                <a:moveTo>
                  <a:pt x="475589" y="624035"/>
                </a:moveTo>
                <a:cubicBezTo>
                  <a:pt x="477410" y="627679"/>
                  <a:pt x="481054" y="634968"/>
                  <a:pt x="486521" y="638612"/>
                </a:cubicBezTo>
                <a:cubicBezTo>
                  <a:pt x="490165" y="634968"/>
                  <a:pt x="482876" y="633146"/>
                  <a:pt x="486521" y="631324"/>
                </a:cubicBezTo>
                <a:cubicBezTo>
                  <a:pt x="484700" y="627679"/>
                  <a:pt x="481054" y="624035"/>
                  <a:pt x="475589" y="624035"/>
                </a:cubicBezTo>
                <a:close/>
                <a:moveTo>
                  <a:pt x="455544" y="624035"/>
                </a:moveTo>
                <a:cubicBezTo>
                  <a:pt x="455544" y="625857"/>
                  <a:pt x="451899" y="629501"/>
                  <a:pt x="453722" y="634968"/>
                </a:cubicBezTo>
                <a:cubicBezTo>
                  <a:pt x="457367" y="629501"/>
                  <a:pt x="453722" y="638612"/>
                  <a:pt x="459188" y="636790"/>
                </a:cubicBezTo>
                <a:cubicBezTo>
                  <a:pt x="455544" y="631324"/>
                  <a:pt x="457367" y="627679"/>
                  <a:pt x="455544" y="624035"/>
                </a:cubicBezTo>
                <a:close/>
                <a:moveTo>
                  <a:pt x="349858" y="624035"/>
                </a:moveTo>
                <a:cubicBezTo>
                  <a:pt x="346213" y="629501"/>
                  <a:pt x="355324" y="633146"/>
                  <a:pt x="358969" y="634968"/>
                </a:cubicBezTo>
                <a:cubicBezTo>
                  <a:pt x="358969" y="629501"/>
                  <a:pt x="353502" y="625857"/>
                  <a:pt x="349858" y="624035"/>
                </a:cubicBezTo>
                <a:close/>
                <a:moveTo>
                  <a:pt x="306126" y="624035"/>
                </a:moveTo>
                <a:cubicBezTo>
                  <a:pt x="306126" y="627679"/>
                  <a:pt x="307948" y="634968"/>
                  <a:pt x="313414" y="640435"/>
                </a:cubicBezTo>
                <a:cubicBezTo>
                  <a:pt x="317059" y="636790"/>
                  <a:pt x="311592" y="625857"/>
                  <a:pt x="306126" y="624035"/>
                </a:cubicBezTo>
                <a:close/>
                <a:moveTo>
                  <a:pt x="2565621" y="622213"/>
                </a:moveTo>
                <a:cubicBezTo>
                  <a:pt x="2549222" y="625857"/>
                  <a:pt x="2545577" y="624035"/>
                  <a:pt x="2551044" y="642257"/>
                </a:cubicBezTo>
                <a:cubicBezTo>
                  <a:pt x="2545577" y="638612"/>
                  <a:pt x="2540111" y="636790"/>
                  <a:pt x="2534644" y="636790"/>
                </a:cubicBezTo>
                <a:cubicBezTo>
                  <a:pt x="2532822" y="636790"/>
                  <a:pt x="2536466" y="642257"/>
                  <a:pt x="2534644" y="645901"/>
                </a:cubicBezTo>
                <a:cubicBezTo>
                  <a:pt x="2532822" y="644079"/>
                  <a:pt x="2532822" y="640435"/>
                  <a:pt x="2529178" y="640435"/>
                </a:cubicBezTo>
                <a:cubicBezTo>
                  <a:pt x="2532822" y="645901"/>
                  <a:pt x="2525534" y="665945"/>
                  <a:pt x="2538289" y="658656"/>
                </a:cubicBezTo>
                <a:cubicBezTo>
                  <a:pt x="2539200" y="657745"/>
                  <a:pt x="2539200" y="655012"/>
                  <a:pt x="2539883" y="652734"/>
                </a:cubicBezTo>
                <a:lnTo>
                  <a:pt x="2542302" y="651380"/>
                </a:lnTo>
                <a:lnTo>
                  <a:pt x="2549450" y="651596"/>
                </a:lnTo>
                <a:cubicBezTo>
                  <a:pt x="2551955" y="649546"/>
                  <a:pt x="2554688" y="646812"/>
                  <a:pt x="2558332" y="647723"/>
                </a:cubicBezTo>
                <a:cubicBezTo>
                  <a:pt x="2558332" y="645901"/>
                  <a:pt x="2558332" y="644079"/>
                  <a:pt x="2558332" y="642257"/>
                </a:cubicBezTo>
                <a:cubicBezTo>
                  <a:pt x="2558332" y="642257"/>
                  <a:pt x="2558332" y="642257"/>
                  <a:pt x="2560155" y="644079"/>
                </a:cubicBezTo>
                <a:cubicBezTo>
                  <a:pt x="2558332" y="634968"/>
                  <a:pt x="2567443" y="640435"/>
                  <a:pt x="2571088" y="640435"/>
                </a:cubicBezTo>
                <a:cubicBezTo>
                  <a:pt x="2569266" y="633146"/>
                  <a:pt x="2565621" y="629501"/>
                  <a:pt x="2565621" y="622213"/>
                </a:cubicBezTo>
                <a:close/>
                <a:moveTo>
                  <a:pt x="2337850" y="622213"/>
                </a:moveTo>
                <a:cubicBezTo>
                  <a:pt x="2334205" y="622213"/>
                  <a:pt x="2334205" y="625857"/>
                  <a:pt x="2334205" y="629501"/>
                </a:cubicBezTo>
                <a:cubicBezTo>
                  <a:pt x="2337850" y="631324"/>
                  <a:pt x="2339672" y="625857"/>
                  <a:pt x="2337850" y="622213"/>
                </a:cubicBezTo>
                <a:close/>
                <a:moveTo>
                  <a:pt x="1410363" y="622213"/>
                </a:moveTo>
                <a:cubicBezTo>
                  <a:pt x="1412185" y="624035"/>
                  <a:pt x="1410363" y="624035"/>
                  <a:pt x="1412185" y="624035"/>
                </a:cubicBezTo>
                <a:cubicBezTo>
                  <a:pt x="1415829" y="624035"/>
                  <a:pt x="1412185" y="620391"/>
                  <a:pt x="1410363" y="622213"/>
                </a:cubicBezTo>
                <a:close/>
                <a:moveTo>
                  <a:pt x="1089660" y="622213"/>
                </a:moveTo>
                <a:cubicBezTo>
                  <a:pt x="1091482" y="623124"/>
                  <a:pt x="1093760" y="624491"/>
                  <a:pt x="1095582" y="626313"/>
                </a:cubicBezTo>
                <a:lnTo>
                  <a:pt x="1096221" y="627681"/>
                </a:lnTo>
                <a:close/>
                <a:moveTo>
                  <a:pt x="697893" y="622213"/>
                </a:moveTo>
                <a:cubicBezTo>
                  <a:pt x="696071" y="625857"/>
                  <a:pt x="703359" y="624035"/>
                  <a:pt x="707004" y="625857"/>
                </a:cubicBezTo>
                <a:cubicBezTo>
                  <a:pt x="708826" y="625857"/>
                  <a:pt x="699715" y="624035"/>
                  <a:pt x="697893" y="622213"/>
                </a:cubicBezTo>
                <a:close/>
                <a:moveTo>
                  <a:pt x="641407" y="622213"/>
                </a:moveTo>
                <a:cubicBezTo>
                  <a:pt x="639583" y="624035"/>
                  <a:pt x="639583" y="622213"/>
                  <a:pt x="637761" y="624035"/>
                </a:cubicBezTo>
                <a:cubicBezTo>
                  <a:pt x="643228" y="627679"/>
                  <a:pt x="641407" y="624035"/>
                  <a:pt x="641407" y="622213"/>
                </a:cubicBezTo>
                <a:close/>
                <a:moveTo>
                  <a:pt x="559408" y="622213"/>
                </a:moveTo>
                <a:cubicBezTo>
                  <a:pt x="557586" y="624035"/>
                  <a:pt x="557586" y="627679"/>
                  <a:pt x="555763" y="629501"/>
                </a:cubicBezTo>
                <a:cubicBezTo>
                  <a:pt x="557586" y="631324"/>
                  <a:pt x="557586" y="633146"/>
                  <a:pt x="559408" y="634968"/>
                </a:cubicBezTo>
                <a:cubicBezTo>
                  <a:pt x="561230" y="633146"/>
                  <a:pt x="563052" y="627679"/>
                  <a:pt x="559408" y="627679"/>
                </a:cubicBezTo>
                <a:cubicBezTo>
                  <a:pt x="557586" y="625857"/>
                  <a:pt x="561230" y="624035"/>
                  <a:pt x="559408" y="622213"/>
                </a:cubicBezTo>
                <a:close/>
                <a:moveTo>
                  <a:pt x="535719" y="622213"/>
                </a:moveTo>
                <a:cubicBezTo>
                  <a:pt x="532075" y="625857"/>
                  <a:pt x="539364" y="634968"/>
                  <a:pt x="541186" y="636790"/>
                </a:cubicBezTo>
                <a:cubicBezTo>
                  <a:pt x="546653" y="634968"/>
                  <a:pt x="541186" y="624035"/>
                  <a:pt x="535719" y="622213"/>
                </a:cubicBezTo>
                <a:close/>
                <a:moveTo>
                  <a:pt x="526609" y="622213"/>
                </a:moveTo>
                <a:cubicBezTo>
                  <a:pt x="524786" y="627679"/>
                  <a:pt x="528431" y="627679"/>
                  <a:pt x="532075" y="627679"/>
                </a:cubicBezTo>
                <a:cubicBezTo>
                  <a:pt x="530253" y="625857"/>
                  <a:pt x="528431" y="625857"/>
                  <a:pt x="526609" y="622213"/>
                </a:cubicBezTo>
                <a:close/>
                <a:moveTo>
                  <a:pt x="459188" y="622213"/>
                </a:moveTo>
                <a:cubicBezTo>
                  <a:pt x="461010" y="636790"/>
                  <a:pt x="471943" y="640435"/>
                  <a:pt x="481054" y="649545"/>
                </a:cubicBezTo>
                <a:cubicBezTo>
                  <a:pt x="473766" y="640435"/>
                  <a:pt x="468299" y="624035"/>
                  <a:pt x="459188" y="622213"/>
                </a:cubicBezTo>
                <a:close/>
                <a:moveTo>
                  <a:pt x="101564" y="621555"/>
                </a:moveTo>
                <a:lnTo>
                  <a:pt x="105230" y="629473"/>
                </a:lnTo>
                <a:cubicBezTo>
                  <a:pt x="109900" y="640777"/>
                  <a:pt x="113886" y="652279"/>
                  <a:pt x="116619" y="664123"/>
                </a:cubicBezTo>
                <a:lnTo>
                  <a:pt x="116427" y="663855"/>
                </a:lnTo>
                <a:lnTo>
                  <a:pt x="106597" y="635879"/>
                </a:lnTo>
                <a:close/>
                <a:moveTo>
                  <a:pt x="3232537" y="620391"/>
                </a:moveTo>
                <a:lnTo>
                  <a:pt x="3237812" y="622501"/>
                </a:lnTo>
                <a:lnTo>
                  <a:pt x="3237776" y="622897"/>
                </a:lnTo>
                <a:cubicBezTo>
                  <a:pt x="3238915" y="623124"/>
                  <a:pt x="3240737" y="623124"/>
                  <a:pt x="3241648" y="624035"/>
                </a:cubicBezTo>
                <a:lnTo>
                  <a:pt x="3237812" y="622501"/>
                </a:lnTo>
                <a:lnTo>
                  <a:pt x="3238003" y="620391"/>
                </a:lnTo>
                <a:cubicBezTo>
                  <a:pt x="3236181" y="620391"/>
                  <a:pt x="3234359" y="620391"/>
                  <a:pt x="3232537" y="620391"/>
                </a:cubicBezTo>
                <a:close/>
                <a:moveTo>
                  <a:pt x="3225248" y="620391"/>
                </a:moveTo>
                <a:cubicBezTo>
                  <a:pt x="3219782" y="620391"/>
                  <a:pt x="3221604" y="625857"/>
                  <a:pt x="3227071" y="625857"/>
                </a:cubicBezTo>
                <a:cubicBezTo>
                  <a:pt x="3228893" y="622213"/>
                  <a:pt x="3225248" y="622213"/>
                  <a:pt x="3225248" y="620391"/>
                </a:cubicBezTo>
                <a:close/>
                <a:moveTo>
                  <a:pt x="3055786" y="620391"/>
                </a:moveTo>
                <a:cubicBezTo>
                  <a:pt x="3059430" y="622213"/>
                  <a:pt x="3055786" y="631324"/>
                  <a:pt x="3064897" y="629501"/>
                </a:cubicBezTo>
                <a:cubicBezTo>
                  <a:pt x="3063075" y="625857"/>
                  <a:pt x="3063075" y="620391"/>
                  <a:pt x="3055786" y="620391"/>
                </a:cubicBezTo>
                <a:close/>
                <a:moveTo>
                  <a:pt x="2879035" y="620391"/>
                </a:moveTo>
                <a:cubicBezTo>
                  <a:pt x="2868102" y="622213"/>
                  <a:pt x="2860813" y="633146"/>
                  <a:pt x="2869924" y="644079"/>
                </a:cubicBezTo>
                <a:cubicBezTo>
                  <a:pt x="2873569" y="645901"/>
                  <a:pt x="2880857" y="640435"/>
                  <a:pt x="2882680" y="633146"/>
                </a:cubicBezTo>
                <a:cubicBezTo>
                  <a:pt x="2879035" y="625857"/>
                  <a:pt x="2877213" y="625857"/>
                  <a:pt x="2879035" y="620391"/>
                </a:cubicBezTo>
                <a:close/>
                <a:moveTo>
                  <a:pt x="1055040" y="620391"/>
                </a:moveTo>
                <a:lnTo>
                  <a:pt x="1055950" y="620999"/>
                </a:lnTo>
                <a:lnTo>
                  <a:pt x="1055040" y="622213"/>
                </a:lnTo>
                <a:lnTo>
                  <a:pt x="1054431" y="621606"/>
                </a:lnTo>
                <a:close/>
                <a:moveTo>
                  <a:pt x="712470" y="620391"/>
                </a:moveTo>
                <a:cubicBezTo>
                  <a:pt x="710648" y="624035"/>
                  <a:pt x="708826" y="624035"/>
                  <a:pt x="716115" y="622213"/>
                </a:cubicBezTo>
                <a:cubicBezTo>
                  <a:pt x="714293" y="620391"/>
                  <a:pt x="712470" y="622213"/>
                  <a:pt x="712470" y="620391"/>
                </a:cubicBezTo>
                <a:close/>
                <a:moveTo>
                  <a:pt x="519320" y="620391"/>
                </a:moveTo>
                <a:cubicBezTo>
                  <a:pt x="513853" y="618568"/>
                  <a:pt x="519320" y="624035"/>
                  <a:pt x="515676" y="625857"/>
                </a:cubicBezTo>
                <a:cubicBezTo>
                  <a:pt x="513853" y="625857"/>
                  <a:pt x="515676" y="624035"/>
                  <a:pt x="513853" y="624035"/>
                </a:cubicBezTo>
                <a:cubicBezTo>
                  <a:pt x="513853" y="625857"/>
                  <a:pt x="515676" y="627679"/>
                  <a:pt x="515676" y="629501"/>
                </a:cubicBezTo>
                <a:cubicBezTo>
                  <a:pt x="517498" y="625857"/>
                  <a:pt x="519320" y="624035"/>
                  <a:pt x="519320" y="620391"/>
                </a:cubicBezTo>
                <a:close/>
                <a:moveTo>
                  <a:pt x="399056" y="620391"/>
                </a:moveTo>
                <a:cubicBezTo>
                  <a:pt x="397234" y="624035"/>
                  <a:pt x="397234" y="633146"/>
                  <a:pt x="399056" y="633146"/>
                </a:cubicBezTo>
                <a:cubicBezTo>
                  <a:pt x="397234" y="629501"/>
                  <a:pt x="400879" y="625857"/>
                  <a:pt x="399056" y="620391"/>
                </a:cubicBezTo>
                <a:close/>
                <a:moveTo>
                  <a:pt x="369902" y="620391"/>
                </a:moveTo>
                <a:cubicBezTo>
                  <a:pt x="369902" y="622213"/>
                  <a:pt x="371724" y="622213"/>
                  <a:pt x="369902" y="624035"/>
                </a:cubicBezTo>
                <a:cubicBezTo>
                  <a:pt x="377190" y="631324"/>
                  <a:pt x="366257" y="622213"/>
                  <a:pt x="369902" y="620391"/>
                </a:cubicBezTo>
                <a:close/>
                <a:moveTo>
                  <a:pt x="366257" y="620391"/>
                </a:moveTo>
                <a:cubicBezTo>
                  <a:pt x="364435" y="620391"/>
                  <a:pt x="368079" y="627679"/>
                  <a:pt x="369902" y="627679"/>
                </a:cubicBezTo>
                <a:cubicBezTo>
                  <a:pt x="371724" y="625857"/>
                  <a:pt x="368079" y="624035"/>
                  <a:pt x="366257" y="620391"/>
                </a:cubicBezTo>
                <a:close/>
                <a:moveTo>
                  <a:pt x="3538662" y="618568"/>
                </a:moveTo>
                <a:cubicBezTo>
                  <a:pt x="3535018" y="620391"/>
                  <a:pt x="3540484" y="624035"/>
                  <a:pt x="3538662" y="627679"/>
                </a:cubicBezTo>
                <a:cubicBezTo>
                  <a:pt x="3542306" y="629501"/>
                  <a:pt x="3542306" y="629501"/>
                  <a:pt x="3547773" y="631324"/>
                </a:cubicBezTo>
                <a:cubicBezTo>
                  <a:pt x="3544129" y="627679"/>
                  <a:pt x="3540484" y="624035"/>
                  <a:pt x="3538662" y="618568"/>
                </a:cubicBezTo>
                <a:close/>
                <a:moveTo>
                  <a:pt x="3270803" y="618568"/>
                </a:moveTo>
                <a:cubicBezTo>
                  <a:pt x="3267158" y="620391"/>
                  <a:pt x="3250759" y="620391"/>
                  <a:pt x="3259869" y="627679"/>
                </a:cubicBezTo>
                <a:cubicBezTo>
                  <a:pt x="3261692" y="631324"/>
                  <a:pt x="3267158" y="624035"/>
                  <a:pt x="3272625" y="622213"/>
                </a:cubicBezTo>
                <a:cubicBezTo>
                  <a:pt x="3272625" y="620391"/>
                  <a:pt x="3268980" y="620391"/>
                  <a:pt x="3270803" y="618568"/>
                </a:cubicBezTo>
                <a:close/>
                <a:moveTo>
                  <a:pt x="2767882" y="618568"/>
                </a:moveTo>
                <a:cubicBezTo>
                  <a:pt x="2767882" y="620391"/>
                  <a:pt x="2769704" y="621758"/>
                  <a:pt x="2771071" y="623352"/>
                </a:cubicBezTo>
                <a:lnTo>
                  <a:pt x="2771389" y="627633"/>
                </a:lnTo>
                <a:lnTo>
                  <a:pt x="2766060" y="625857"/>
                </a:lnTo>
                <a:cubicBezTo>
                  <a:pt x="2766060" y="627679"/>
                  <a:pt x="2766060" y="627679"/>
                  <a:pt x="2766060" y="629501"/>
                </a:cubicBezTo>
                <a:cubicBezTo>
                  <a:pt x="2767883" y="630413"/>
                  <a:pt x="2769249" y="631324"/>
                  <a:pt x="2770161" y="631324"/>
                </a:cubicBezTo>
                <a:lnTo>
                  <a:pt x="2771414" y="627980"/>
                </a:lnTo>
                <a:lnTo>
                  <a:pt x="2771527" y="629501"/>
                </a:lnTo>
                <a:cubicBezTo>
                  <a:pt x="2773349" y="629501"/>
                  <a:pt x="2773349" y="629501"/>
                  <a:pt x="2773349" y="627679"/>
                </a:cubicBezTo>
                <a:cubicBezTo>
                  <a:pt x="2775171" y="629501"/>
                  <a:pt x="2775171" y="631324"/>
                  <a:pt x="2776993" y="633146"/>
                </a:cubicBezTo>
                <a:cubicBezTo>
                  <a:pt x="2773349" y="633146"/>
                  <a:pt x="2769705" y="631324"/>
                  <a:pt x="2769705" y="636790"/>
                </a:cubicBezTo>
                <a:cubicBezTo>
                  <a:pt x="2773349" y="634058"/>
                  <a:pt x="2774260" y="634969"/>
                  <a:pt x="2774716" y="637019"/>
                </a:cubicBezTo>
                <a:lnTo>
                  <a:pt x="2775784" y="640330"/>
                </a:lnTo>
                <a:lnTo>
                  <a:pt x="2771755" y="639979"/>
                </a:lnTo>
                <a:cubicBezTo>
                  <a:pt x="2770616" y="639068"/>
                  <a:pt x="2769705" y="637702"/>
                  <a:pt x="2767882" y="636790"/>
                </a:cubicBezTo>
                <a:cubicBezTo>
                  <a:pt x="2767882" y="644079"/>
                  <a:pt x="2767882" y="655012"/>
                  <a:pt x="2778816" y="651368"/>
                </a:cubicBezTo>
                <a:lnTo>
                  <a:pt x="2777479" y="643350"/>
                </a:lnTo>
                <a:lnTo>
                  <a:pt x="2781093" y="637929"/>
                </a:lnTo>
                <a:cubicBezTo>
                  <a:pt x="2783371" y="636790"/>
                  <a:pt x="2786105" y="636790"/>
                  <a:pt x="2787927" y="638612"/>
                </a:cubicBezTo>
                <a:cubicBezTo>
                  <a:pt x="2784282" y="634968"/>
                  <a:pt x="2787927" y="629501"/>
                  <a:pt x="2786104" y="624035"/>
                </a:cubicBezTo>
                <a:cubicBezTo>
                  <a:pt x="2789749" y="627679"/>
                  <a:pt x="2787927" y="634968"/>
                  <a:pt x="2789749" y="638612"/>
                </a:cubicBezTo>
                <a:cubicBezTo>
                  <a:pt x="2793393" y="640435"/>
                  <a:pt x="2795215" y="636790"/>
                  <a:pt x="2795215" y="634968"/>
                </a:cubicBezTo>
                <a:cubicBezTo>
                  <a:pt x="2791571" y="625857"/>
                  <a:pt x="2791571" y="613103"/>
                  <a:pt x="2778816" y="618568"/>
                </a:cubicBezTo>
                <a:cubicBezTo>
                  <a:pt x="2776993" y="618568"/>
                  <a:pt x="2782460" y="624035"/>
                  <a:pt x="2780638" y="625857"/>
                </a:cubicBezTo>
                <a:cubicBezTo>
                  <a:pt x="2778816" y="627679"/>
                  <a:pt x="2778816" y="620391"/>
                  <a:pt x="2775171" y="620391"/>
                </a:cubicBezTo>
                <a:cubicBezTo>
                  <a:pt x="2771527" y="618568"/>
                  <a:pt x="2771527" y="625857"/>
                  <a:pt x="2767882" y="618568"/>
                </a:cubicBezTo>
                <a:close/>
                <a:moveTo>
                  <a:pt x="2430780" y="618568"/>
                </a:moveTo>
                <a:cubicBezTo>
                  <a:pt x="2425314" y="620391"/>
                  <a:pt x="2430780" y="625857"/>
                  <a:pt x="2430780" y="625857"/>
                </a:cubicBezTo>
                <a:cubicBezTo>
                  <a:pt x="2434425" y="624035"/>
                  <a:pt x="2430780" y="622213"/>
                  <a:pt x="2430780" y="618568"/>
                </a:cubicBezTo>
                <a:close/>
                <a:moveTo>
                  <a:pt x="2414381" y="618568"/>
                </a:moveTo>
                <a:cubicBezTo>
                  <a:pt x="2408914" y="622213"/>
                  <a:pt x="2403448" y="625857"/>
                  <a:pt x="2396159" y="625857"/>
                </a:cubicBezTo>
                <a:cubicBezTo>
                  <a:pt x="2397981" y="627679"/>
                  <a:pt x="2397981" y="633146"/>
                  <a:pt x="2397981" y="636790"/>
                </a:cubicBezTo>
                <a:cubicBezTo>
                  <a:pt x="2399803" y="631324"/>
                  <a:pt x="2403448" y="631324"/>
                  <a:pt x="2403448" y="636790"/>
                </a:cubicBezTo>
                <a:cubicBezTo>
                  <a:pt x="2401626" y="629501"/>
                  <a:pt x="2414381" y="625857"/>
                  <a:pt x="2414381" y="618568"/>
                </a:cubicBezTo>
                <a:close/>
                <a:moveTo>
                  <a:pt x="1406719" y="618568"/>
                </a:moveTo>
                <a:cubicBezTo>
                  <a:pt x="1406719" y="620391"/>
                  <a:pt x="1404896" y="622213"/>
                  <a:pt x="1404896" y="624035"/>
                </a:cubicBezTo>
                <a:cubicBezTo>
                  <a:pt x="1408541" y="625857"/>
                  <a:pt x="1410363" y="620391"/>
                  <a:pt x="1406719" y="618568"/>
                </a:cubicBezTo>
                <a:close/>
                <a:moveTo>
                  <a:pt x="630472" y="618568"/>
                </a:moveTo>
                <a:cubicBezTo>
                  <a:pt x="630472" y="622213"/>
                  <a:pt x="625006" y="622213"/>
                  <a:pt x="626828" y="625857"/>
                </a:cubicBezTo>
                <a:lnTo>
                  <a:pt x="628315" y="625262"/>
                </a:lnTo>
                <a:lnTo>
                  <a:pt x="623185" y="644079"/>
                </a:lnTo>
                <a:cubicBezTo>
                  <a:pt x="632296" y="636790"/>
                  <a:pt x="645050" y="627679"/>
                  <a:pt x="630472" y="618568"/>
                </a:cubicBezTo>
                <a:close/>
                <a:moveTo>
                  <a:pt x="594030" y="618568"/>
                </a:moveTo>
                <a:cubicBezTo>
                  <a:pt x="590385" y="620391"/>
                  <a:pt x="595852" y="622213"/>
                  <a:pt x="594030" y="624035"/>
                </a:cubicBezTo>
                <a:cubicBezTo>
                  <a:pt x="597673" y="624035"/>
                  <a:pt x="595852" y="620391"/>
                  <a:pt x="594030" y="618568"/>
                </a:cubicBezTo>
                <a:close/>
                <a:moveTo>
                  <a:pt x="470121" y="618568"/>
                </a:moveTo>
                <a:cubicBezTo>
                  <a:pt x="466478" y="625857"/>
                  <a:pt x="477410" y="638612"/>
                  <a:pt x="486521" y="640435"/>
                </a:cubicBezTo>
                <a:cubicBezTo>
                  <a:pt x="481054" y="633146"/>
                  <a:pt x="475589" y="625857"/>
                  <a:pt x="470121" y="618568"/>
                </a:cubicBezTo>
                <a:close/>
                <a:moveTo>
                  <a:pt x="435500" y="618568"/>
                </a:moveTo>
                <a:cubicBezTo>
                  <a:pt x="436411" y="619480"/>
                  <a:pt x="437322" y="620391"/>
                  <a:pt x="437550" y="621302"/>
                </a:cubicBezTo>
                <a:lnTo>
                  <a:pt x="436981" y="622061"/>
                </a:lnTo>
                <a:lnTo>
                  <a:pt x="435500" y="620708"/>
                </a:lnTo>
                <a:close/>
                <a:moveTo>
                  <a:pt x="664866" y="618113"/>
                </a:moveTo>
                <a:cubicBezTo>
                  <a:pt x="662360" y="617202"/>
                  <a:pt x="658717" y="618569"/>
                  <a:pt x="659627" y="624035"/>
                </a:cubicBezTo>
                <a:cubicBezTo>
                  <a:pt x="661449" y="624035"/>
                  <a:pt x="663272" y="624035"/>
                  <a:pt x="663272" y="625857"/>
                </a:cubicBezTo>
                <a:cubicBezTo>
                  <a:pt x="668738" y="622213"/>
                  <a:pt x="667372" y="619024"/>
                  <a:pt x="664866" y="618113"/>
                </a:cubicBezTo>
                <a:close/>
                <a:moveTo>
                  <a:pt x="1318343" y="617658"/>
                </a:moveTo>
                <a:lnTo>
                  <a:pt x="1319254" y="620391"/>
                </a:lnTo>
                <a:cubicBezTo>
                  <a:pt x="1315610" y="621302"/>
                  <a:pt x="1313332" y="626313"/>
                  <a:pt x="1311282" y="630641"/>
                </a:cubicBezTo>
                <a:lnTo>
                  <a:pt x="1310293" y="631562"/>
                </a:lnTo>
                <a:close/>
                <a:moveTo>
                  <a:pt x="460413" y="617563"/>
                </a:moveTo>
                <a:lnTo>
                  <a:pt x="464536" y="620312"/>
                </a:lnTo>
                <a:lnTo>
                  <a:pt x="464536" y="620316"/>
                </a:lnTo>
                <a:lnTo>
                  <a:pt x="460327" y="617658"/>
                </a:lnTo>
                <a:close/>
                <a:moveTo>
                  <a:pt x="3048497" y="616746"/>
                </a:moveTo>
                <a:cubicBezTo>
                  <a:pt x="3041209" y="618568"/>
                  <a:pt x="3046675" y="629501"/>
                  <a:pt x="3050319" y="631324"/>
                </a:cubicBezTo>
                <a:cubicBezTo>
                  <a:pt x="3061253" y="629501"/>
                  <a:pt x="3050319" y="620391"/>
                  <a:pt x="3048497" y="616746"/>
                </a:cubicBezTo>
                <a:close/>
                <a:moveTo>
                  <a:pt x="1335654" y="616746"/>
                </a:moveTo>
                <a:cubicBezTo>
                  <a:pt x="1330188" y="620391"/>
                  <a:pt x="1328365" y="625857"/>
                  <a:pt x="1330188" y="629501"/>
                </a:cubicBezTo>
                <a:cubicBezTo>
                  <a:pt x="1326543" y="634968"/>
                  <a:pt x="1322899" y="640435"/>
                  <a:pt x="1324721" y="645901"/>
                </a:cubicBezTo>
                <a:cubicBezTo>
                  <a:pt x="1328365" y="640435"/>
                  <a:pt x="1332009" y="634968"/>
                  <a:pt x="1332009" y="627679"/>
                </a:cubicBezTo>
                <a:cubicBezTo>
                  <a:pt x="1337476" y="625857"/>
                  <a:pt x="1339299" y="620391"/>
                  <a:pt x="1335654" y="616746"/>
                </a:cubicBezTo>
                <a:close/>
                <a:moveTo>
                  <a:pt x="1301033" y="616746"/>
                </a:moveTo>
                <a:cubicBezTo>
                  <a:pt x="1297388" y="616746"/>
                  <a:pt x="1295566" y="618568"/>
                  <a:pt x="1293744" y="620391"/>
                </a:cubicBezTo>
                <a:cubicBezTo>
                  <a:pt x="1295566" y="620391"/>
                  <a:pt x="1295566" y="620391"/>
                  <a:pt x="1297388" y="622213"/>
                </a:cubicBezTo>
                <a:cubicBezTo>
                  <a:pt x="1297388" y="620391"/>
                  <a:pt x="1299210" y="618568"/>
                  <a:pt x="1301033" y="616746"/>
                </a:cubicBezTo>
                <a:close/>
                <a:moveTo>
                  <a:pt x="1284633" y="616746"/>
                </a:moveTo>
                <a:cubicBezTo>
                  <a:pt x="1280989" y="622213"/>
                  <a:pt x="1270056" y="625857"/>
                  <a:pt x="1273700" y="633146"/>
                </a:cubicBezTo>
                <a:cubicBezTo>
                  <a:pt x="1275522" y="634968"/>
                  <a:pt x="1280989" y="633146"/>
                  <a:pt x="1282811" y="631324"/>
                </a:cubicBezTo>
                <a:cubicBezTo>
                  <a:pt x="1282811" y="633146"/>
                  <a:pt x="1284633" y="631324"/>
                  <a:pt x="1286455" y="633146"/>
                </a:cubicBezTo>
                <a:cubicBezTo>
                  <a:pt x="1288277" y="631324"/>
                  <a:pt x="1290100" y="629501"/>
                  <a:pt x="1288277" y="625857"/>
                </a:cubicBezTo>
                <a:cubicBezTo>
                  <a:pt x="1282811" y="629501"/>
                  <a:pt x="1279166" y="629501"/>
                  <a:pt x="1273700" y="633146"/>
                </a:cubicBezTo>
                <a:cubicBezTo>
                  <a:pt x="1277344" y="629501"/>
                  <a:pt x="1275522" y="627679"/>
                  <a:pt x="1277344" y="624035"/>
                </a:cubicBezTo>
                <a:cubicBezTo>
                  <a:pt x="1280989" y="625857"/>
                  <a:pt x="1273700" y="627679"/>
                  <a:pt x="1277344" y="629501"/>
                </a:cubicBezTo>
                <a:cubicBezTo>
                  <a:pt x="1279166" y="627679"/>
                  <a:pt x="1280989" y="627679"/>
                  <a:pt x="1282811" y="625857"/>
                </a:cubicBezTo>
                <a:cubicBezTo>
                  <a:pt x="1280989" y="624035"/>
                  <a:pt x="1282811" y="624035"/>
                  <a:pt x="1280989" y="622213"/>
                </a:cubicBezTo>
                <a:cubicBezTo>
                  <a:pt x="1282811" y="620391"/>
                  <a:pt x="1282811" y="622213"/>
                  <a:pt x="1284633" y="620391"/>
                </a:cubicBezTo>
                <a:cubicBezTo>
                  <a:pt x="1284633" y="620391"/>
                  <a:pt x="1284633" y="622213"/>
                  <a:pt x="1284633" y="624035"/>
                </a:cubicBezTo>
                <a:cubicBezTo>
                  <a:pt x="1286455" y="625857"/>
                  <a:pt x="1290100" y="622213"/>
                  <a:pt x="1290100" y="620391"/>
                </a:cubicBezTo>
                <a:cubicBezTo>
                  <a:pt x="1288277" y="618568"/>
                  <a:pt x="1286455" y="618568"/>
                  <a:pt x="1284633" y="616746"/>
                </a:cubicBezTo>
                <a:close/>
                <a:moveTo>
                  <a:pt x="1257300" y="616746"/>
                </a:moveTo>
                <a:cubicBezTo>
                  <a:pt x="1255478" y="618568"/>
                  <a:pt x="1259123" y="620391"/>
                  <a:pt x="1257300" y="622213"/>
                </a:cubicBezTo>
                <a:cubicBezTo>
                  <a:pt x="1259123" y="622213"/>
                  <a:pt x="1257300" y="620391"/>
                  <a:pt x="1259123" y="620391"/>
                </a:cubicBezTo>
                <a:cubicBezTo>
                  <a:pt x="1260945" y="624035"/>
                  <a:pt x="1257300" y="625857"/>
                  <a:pt x="1257300" y="629501"/>
                </a:cubicBezTo>
                <a:cubicBezTo>
                  <a:pt x="1259123" y="629501"/>
                  <a:pt x="1259123" y="627679"/>
                  <a:pt x="1260945" y="627679"/>
                </a:cubicBezTo>
                <a:cubicBezTo>
                  <a:pt x="1262767" y="629501"/>
                  <a:pt x="1259123" y="629501"/>
                  <a:pt x="1260945" y="631324"/>
                </a:cubicBezTo>
                <a:cubicBezTo>
                  <a:pt x="1260945" y="633146"/>
                  <a:pt x="1262767" y="627679"/>
                  <a:pt x="1264589" y="625857"/>
                </a:cubicBezTo>
                <a:cubicBezTo>
                  <a:pt x="1260945" y="622213"/>
                  <a:pt x="1259123" y="616746"/>
                  <a:pt x="1257300" y="616746"/>
                </a:cubicBezTo>
                <a:close/>
                <a:moveTo>
                  <a:pt x="1229969" y="616746"/>
                </a:moveTo>
                <a:cubicBezTo>
                  <a:pt x="1228146" y="618568"/>
                  <a:pt x="1229969" y="620391"/>
                  <a:pt x="1229969" y="622213"/>
                </a:cubicBezTo>
                <a:lnTo>
                  <a:pt x="1225958" y="626587"/>
                </a:lnTo>
                <a:lnTo>
                  <a:pt x="1226323" y="625857"/>
                </a:lnTo>
                <a:cubicBezTo>
                  <a:pt x="1226323" y="625857"/>
                  <a:pt x="1224501" y="624035"/>
                  <a:pt x="1224501" y="624035"/>
                </a:cubicBezTo>
                <a:cubicBezTo>
                  <a:pt x="1219036" y="625857"/>
                  <a:pt x="1215390" y="627679"/>
                  <a:pt x="1215390" y="631324"/>
                </a:cubicBezTo>
                <a:cubicBezTo>
                  <a:pt x="1216301" y="631324"/>
                  <a:pt x="1217213" y="629958"/>
                  <a:pt x="1218579" y="629046"/>
                </a:cubicBezTo>
                <a:lnTo>
                  <a:pt x="1222585" y="629354"/>
                </a:lnTo>
                <a:lnTo>
                  <a:pt x="1217213" y="633146"/>
                </a:lnTo>
                <a:cubicBezTo>
                  <a:pt x="1224501" y="636790"/>
                  <a:pt x="1231790" y="636790"/>
                  <a:pt x="1239080" y="633146"/>
                </a:cubicBezTo>
                <a:cubicBezTo>
                  <a:pt x="1237256" y="627679"/>
                  <a:pt x="1235434" y="620391"/>
                  <a:pt x="1229969" y="616746"/>
                </a:cubicBezTo>
                <a:close/>
                <a:moveTo>
                  <a:pt x="1175303" y="616746"/>
                </a:moveTo>
                <a:cubicBezTo>
                  <a:pt x="1169836" y="622213"/>
                  <a:pt x="1162547" y="625857"/>
                  <a:pt x="1157081" y="631324"/>
                </a:cubicBezTo>
                <a:cubicBezTo>
                  <a:pt x="1162547" y="629501"/>
                  <a:pt x="1168014" y="629501"/>
                  <a:pt x="1173481" y="627679"/>
                </a:cubicBezTo>
                <a:cubicBezTo>
                  <a:pt x="1171658" y="625857"/>
                  <a:pt x="1173481" y="625857"/>
                  <a:pt x="1171658" y="624035"/>
                </a:cubicBezTo>
                <a:cubicBezTo>
                  <a:pt x="1173481" y="622213"/>
                  <a:pt x="1173481" y="627679"/>
                  <a:pt x="1175303" y="625857"/>
                </a:cubicBezTo>
                <a:cubicBezTo>
                  <a:pt x="1175303" y="622213"/>
                  <a:pt x="1175303" y="620391"/>
                  <a:pt x="1175303" y="616746"/>
                </a:cubicBezTo>
                <a:close/>
                <a:moveTo>
                  <a:pt x="1116993" y="616746"/>
                </a:moveTo>
                <a:cubicBezTo>
                  <a:pt x="1113349" y="620391"/>
                  <a:pt x="1106060" y="627679"/>
                  <a:pt x="1109704" y="629501"/>
                </a:cubicBezTo>
                <a:cubicBezTo>
                  <a:pt x="1113349" y="625857"/>
                  <a:pt x="1118815" y="618568"/>
                  <a:pt x="1116993" y="616746"/>
                </a:cubicBezTo>
                <a:close/>
                <a:moveTo>
                  <a:pt x="603140" y="616746"/>
                </a:moveTo>
                <a:cubicBezTo>
                  <a:pt x="601318" y="620391"/>
                  <a:pt x="599496" y="624035"/>
                  <a:pt x="599496" y="627679"/>
                </a:cubicBezTo>
                <a:cubicBezTo>
                  <a:pt x="599496" y="627679"/>
                  <a:pt x="599496" y="625857"/>
                  <a:pt x="599496" y="625857"/>
                </a:cubicBezTo>
                <a:cubicBezTo>
                  <a:pt x="595852" y="627679"/>
                  <a:pt x="601318" y="629501"/>
                  <a:pt x="597673" y="633146"/>
                </a:cubicBezTo>
                <a:cubicBezTo>
                  <a:pt x="599496" y="633146"/>
                  <a:pt x="599496" y="633146"/>
                  <a:pt x="599496" y="631324"/>
                </a:cubicBezTo>
                <a:cubicBezTo>
                  <a:pt x="601318" y="636790"/>
                  <a:pt x="603140" y="640435"/>
                  <a:pt x="610429" y="638612"/>
                </a:cubicBezTo>
                <a:cubicBezTo>
                  <a:pt x="608606" y="631324"/>
                  <a:pt x="606784" y="624035"/>
                  <a:pt x="603140" y="616746"/>
                </a:cubicBezTo>
                <a:close/>
                <a:moveTo>
                  <a:pt x="306126" y="616746"/>
                </a:moveTo>
                <a:cubicBezTo>
                  <a:pt x="304303" y="618568"/>
                  <a:pt x="307948" y="624035"/>
                  <a:pt x="309771" y="622213"/>
                </a:cubicBezTo>
                <a:cubicBezTo>
                  <a:pt x="307948" y="620391"/>
                  <a:pt x="307948" y="616746"/>
                  <a:pt x="306126" y="616746"/>
                </a:cubicBezTo>
                <a:close/>
                <a:moveTo>
                  <a:pt x="297015" y="616746"/>
                </a:moveTo>
                <a:cubicBezTo>
                  <a:pt x="295193" y="620391"/>
                  <a:pt x="300660" y="624035"/>
                  <a:pt x="302481" y="627679"/>
                </a:cubicBezTo>
                <a:cubicBezTo>
                  <a:pt x="307948" y="624035"/>
                  <a:pt x="300660" y="618568"/>
                  <a:pt x="297015" y="616746"/>
                </a:cubicBezTo>
                <a:close/>
                <a:moveTo>
                  <a:pt x="218675" y="616680"/>
                </a:moveTo>
                <a:lnTo>
                  <a:pt x="219572" y="618540"/>
                </a:lnTo>
                <a:lnTo>
                  <a:pt x="217448" y="622810"/>
                </a:lnTo>
                <a:close/>
                <a:moveTo>
                  <a:pt x="400879" y="616201"/>
                </a:moveTo>
                <a:lnTo>
                  <a:pt x="401335" y="617430"/>
                </a:lnTo>
                <a:lnTo>
                  <a:pt x="401052" y="620391"/>
                </a:lnTo>
                <a:lnTo>
                  <a:pt x="400879" y="620391"/>
                </a:lnTo>
                <a:close/>
                <a:moveTo>
                  <a:pt x="2480161" y="615836"/>
                </a:moveTo>
                <a:lnTo>
                  <a:pt x="2480207" y="617430"/>
                </a:lnTo>
                <a:cubicBezTo>
                  <a:pt x="2479979" y="619936"/>
                  <a:pt x="2479979" y="622214"/>
                  <a:pt x="2481801" y="624035"/>
                </a:cubicBezTo>
                <a:cubicBezTo>
                  <a:pt x="2479979" y="621302"/>
                  <a:pt x="2479524" y="619024"/>
                  <a:pt x="2479751" y="616974"/>
                </a:cubicBezTo>
                <a:close/>
                <a:moveTo>
                  <a:pt x="3214315" y="614924"/>
                </a:moveTo>
                <a:cubicBezTo>
                  <a:pt x="3201560" y="614924"/>
                  <a:pt x="3199738" y="618568"/>
                  <a:pt x="3188805" y="616746"/>
                </a:cubicBezTo>
                <a:cubicBezTo>
                  <a:pt x="3183338" y="622213"/>
                  <a:pt x="3177872" y="622213"/>
                  <a:pt x="3181516" y="627679"/>
                </a:cubicBezTo>
                <a:cubicBezTo>
                  <a:pt x="3183338" y="627679"/>
                  <a:pt x="3186982" y="629501"/>
                  <a:pt x="3188805" y="629501"/>
                </a:cubicBezTo>
                <a:cubicBezTo>
                  <a:pt x="3188805" y="627679"/>
                  <a:pt x="3185160" y="625857"/>
                  <a:pt x="3186982" y="624035"/>
                </a:cubicBezTo>
                <a:cubicBezTo>
                  <a:pt x="3190627" y="622213"/>
                  <a:pt x="3188805" y="631324"/>
                  <a:pt x="3194271" y="629501"/>
                </a:cubicBezTo>
                <a:cubicBezTo>
                  <a:pt x="3188805" y="629501"/>
                  <a:pt x="3188805" y="634968"/>
                  <a:pt x="3190627" y="638612"/>
                </a:cubicBezTo>
                <a:cubicBezTo>
                  <a:pt x="3197916" y="634968"/>
                  <a:pt x="3197916" y="634968"/>
                  <a:pt x="3205204" y="634968"/>
                </a:cubicBezTo>
                <a:cubicBezTo>
                  <a:pt x="3210671" y="633146"/>
                  <a:pt x="3199738" y="627679"/>
                  <a:pt x="3203382" y="624035"/>
                </a:cubicBezTo>
                <a:cubicBezTo>
                  <a:pt x="3208849" y="618568"/>
                  <a:pt x="3216137" y="627679"/>
                  <a:pt x="3219782" y="622213"/>
                </a:cubicBezTo>
                <a:cubicBezTo>
                  <a:pt x="3221604" y="620391"/>
                  <a:pt x="3214315" y="618568"/>
                  <a:pt x="3214315" y="614924"/>
                </a:cubicBezTo>
                <a:close/>
                <a:moveTo>
                  <a:pt x="3028453" y="614924"/>
                </a:moveTo>
                <a:lnTo>
                  <a:pt x="3028455" y="614924"/>
                </a:lnTo>
                <a:lnTo>
                  <a:pt x="3028453" y="614926"/>
                </a:lnTo>
                <a:close/>
                <a:moveTo>
                  <a:pt x="2880857" y="614924"/>
                </a:moveTo>
                <a:cubicBezTo>
                  <a:pt x="2877213" y="614924"/>
                  <a:pt x="2880857" y="620391"/>
                  <a:pt x="2882680" y="622213"/>
                </a:cubicBezTo>
                <a:cubicBezTo>
                  <a:pt x="2886324" y="622213"/>
                  <a:pt x="2882680" y="616746"/>
                  <a:pt x="2880857" y="614924"/>
                </a:cubicBezTo>
                <a:close/>
                <a:moveTo>
                  <a:pt x="2376115" y="614924"/>
                </a:moveTo>
                <a:cubicBezTo>
                  <a:pt x="2372471" y="618568"/>
                  <a:pt x="2367004" y="616746"/>
                  <a:pt x="2368827" y="624035"/>
                </a:cubicBezTo>
                <a:cubicBezTo>
                  <a:pt x="2372471" y="622213"/>
                  <a:pt x="2376115" y="620391"/>
                  <a:pt x="2376115" y="614924"/>
                </a:cubicBezTo>
                <a:close/>
                <a:moveTo>
                  <a:pt x="2137410" y="614924"/>
                </a:moveTo>
                <a:cubicBezTo>
                  <a:pt x="2139233" y="616746"/>
                  <a:pt x="2137410" y="618568"/>
                  <a:pt x="2139233" y="620391"/>
                </a:cubicBezTo>
                <a:lnTo>
                  <a:pt x="2137376" y="614963"/>
                </a:lnTo>
                <a:close/>
                <a:moveTo>
                  <a:pt x="1122459" y="614924"/>
                </a:moveTo>
                <a:cubicBezTo>
                  <a:pt x="1120637" y="616746"/>
                  <a:pt x="1118815" y="618568"/>
                  <a:pt x="1116993" y="624035"/>
                </a:cubicBezTo>
                <a:cubicBezTo>
                  <a:pt x="1119727" y="623124"/>
                  <a:pt x="1121092" y="622213"/>
                  <a:pt x="1122231" y="621302"/>
                </a:cubicBezTo>
                <a:lnTo>
                  <a:pt x="1126104" y="618569"/>
                </a:lnTo>
                <a:lnTo>
                  <a:pt x="1127926" y="620391"/>
                </a:lnTo>
                <a:cubicBezTo>
                  <a:pt x="1124282" y="624035"/>
                  <a:pt x="1124282" y="627679"/>
                  <a:pt x="1127926" y="629501"/>
                </a:cubicBezTo>
                <a:cubicBezTo>
                  <a:pt x="1127926" y="631324"/>
                  <a:pt x="1127926" y="625857"/>
                  <a:pt x="1131570" y="625857"/>
                </a:cubicBezTo>
                <a:cubicBezTo>
                  <a:pt x="1131570" y="624035"/>
                  <a:pt x="1131570" y="624035"/>
                  <a:pt x="1131570" y="622213"/>
                </a:cubicBezTo>
                <a:cubicBezTo>
                  <a:pt x="1131570" y="620391"/>
                  <a:pt x="1129748" y="620391"/>
                  <a:pt x="1129748" y="618568"/>
                </a:cubicBezTo>
                <a:cubicBezTo>
                  <a:pt x="1129748" y="618568"/>
                  <a:pt x="1127926" y="620391"/>
                  <a:pt x="1127926" y="620391"/>
                </a:cubicBezTo>
                <a:cubicBezTo>
                  <a:pt x="1126104" y="618568"/>
                  <a:pt x="1126104" y="618568"/>
                  <a:pt x="1126104" y="618568"/>
                </a:cubicBezTo>
                <a:lnTo>
                  <a:pt x="1126104" y="618569"/>
                </a:lnTo>
                <a:lnTo>
                  <a:pt x="1124282" y="616746"/>
                </a:lnTo>
                <a:cubicBezTo>
                  <a:pt x="1126104" y="614924"/>
                  <a:pt x="1122459" y="614924"/>
                  <a:pt x="1122459" y="614924"/>
                </a:cubicBezTo>
                <a:close/>
                <a:moveTo>
                  <a:pt x="1093305" y="614924"/>
                </a:moveTo>
                <a:cubicBezTo>
                  <a:pt x="1091484" y="616746"/>
                  <a:pt x="1091484" y="616746"/>
                  <a:pt x="1091484" y="618568"/>
                </a:cubicBezTo>
                <a:cubicBezTo>
                  <a:pt x="1087838" y="616746"/>
                  <a:pt x="1084194" y="616746"/>
                  <a:pt x="1082373" y="618568"/>
                </a:cubicBezTo>
                <a:cubicBezTo>
                  <a:pt x="1075083" y="622213"/>
                  <a:pt x="1073262" y="636790"/>
                  <a:pt x="1065972" y="644079"/>
                </a:cubicBezTo>
                <a:lnTo>
                  <a:pt x="1068863" y="646007"/>
                </a:lnTo>
                <a:lnTo>
                  <a:pt x="1060278" y="646357"/>
                </a:lnTo>
                <a:lnTo>
                  <a:pt x="1056541" y="650939"/>
                </a:lnTo>
                <a:lnTo>
                  <a:pt x="1062328" y="642257"/>
                </a:lnTo>
                <a:cubicBezTo>
                  <a:pt x="1060505" y="643168"/>
                  <a:pt x="1058228" y="644990"/>
                  <a:pt x="1056633" y="647040"/>
                </a:cubicBezTo>
                <a:lnTo>
                  <a:pt x="1055195" y="652587"/>
                </a:lnTo>
                <a:lnTo>
                  <a:pt x="1053217" y="655012"/>
                </a:lnTo>
                <a:cubicBezTo>
                  <a:pt x="1056861" y="655012"/>
                  <a:pt x="1058683" y="655012"/>
                  <a:pt x="1062328" y="655012"/>
                </a:cubicBezTo>
                <a:cubicBezTo>
                  <a:pt x="1062328" y="660478"/>
                  <a:pt x="1058683" y="662301"/>
                  <a:pt x="1055040" y="664123"/>
                </a:cubicBezTo>
                <a:cubicBezTo>
                  <a:pt x="1062328" y="662301"/>
                  <a:pt x="1069616" y="656834"/>
                  <a:pt x="1078727" y="651368"/>
                </a:cubicBezTo>
                <a:cubicBezTo>
                  <a:pt x="1076905" y="649545"/>
                  <a:pt x="1071439" y="649545"/>
                  <a:pt x="1075083" y="649545"/>
                </a:cubicBezTo>
                <a:cubicBezTo>
                  <a:pt x="1067794" y="649545"/>
                  <a:pt x="1065972" y="655012"/>
                  <a:pt x="1062328" y="656834"/>
                </a:cubicBezTo>
                <a:lnTo>
                  <a:pt x="1070463" y="647073"/>
                </a:lnTo>
                <a:lnTo>
                  <a:pt x="1071439" y="647723"/>
                </a:lnTo>
                <a:cubicBezTo>
                  <a:pt x="1073262" y="644079"/>
                  <a:pt x="1076905" y="640435"/>
                  <a:pt x="1078727" y="636790"/>
                </a:cubicBezTo>
                <a:cubicBezTo>
                  <a:pt x="1076905" y="640435"/>
                  <a:pt x="1073262" y="642257"/>
                  <a:pt x="1073262" y="645901"/>
                </a:cubicBezTo>
                <a:cubicBezTo>
                  <a:pt x="1075083" y="645901"/>
                  <a:pt x="1078727" y="647723"/>
                  <a:pt x="1082373" y="649545"/>
                </a:cubicBezTo>
                <a:cubicBezTo>
                  <a:pt x="1082373" y="647723"/>
                  <a:pt x="1082373" y="645901"/>
                  <a:pt x="1084194" y="644079"/>
                </a:cubicBezTo>
                <a:cubicBezTo>
                  <a:pt x="1087838" y="649545"/>
                  <a:pt x="1089660" y="645901"/>
                  <a:pt x="1087838" y="642257"/>
                </a:cubicBezTo>
                <a:cubicBezTo>
                  <a:pt x="1086016" y="642257"/>
                  <a:pt x="1086016" y="644079"/>
                  <a:pt x="1084194" y="644079"/>
                </a:cubicBezTo>
                <a:cubicBezTo>
                  <a:pt x="1086016" y="642257"/>
                  <a:pt x="1086016" y="640435"/>
                  <a:pt x="1084194" y="638612"/>
                </a:cubicBezTo>
                <a:cubicBezTo>
                  <a:pt x="1089660" y="640435"/>
                  <a:pt x="1095127" y="638612"/>
                  <a:pt x="1098771" y="633146"/>
                </a:cubicBezTo>
                <a:lnTo>
                  <a:pt x="1096221" y="627681"/>
                </a:lnTo>
                <a:lnTo>
                  <a:pt x="1100593" y="631324"/>
                </a:lnTo>
                <a:cubicBezTo>
                  <a:pt x="1102416" y="625857"/>
                  <a:pt x="1100593" y="622213"/>
                  <a:pt x="1096949" y="620391"/>
                </a:cubicBezTo>
                <a:cubicBezTo>
                  <a:pt x="1098771" y="620391"/>
                  <a:pt x="1100593" y="620391"/>
                  <a:pt x="1102416" y="620391"/>
                </a:cubicBezTo>
                <a:cubicBezTo>
                  <a:pt x="1100593" y="618568"/>
                  <a:pt x="1096949" y="614924"/>
                  <a:pt x="1093305" y="614924"/>
                </a:cubicBezTo>
                <a:close/>
                <a:moveTo>
                  <a:pt x="918376" y="614924"/>
                </a:moveTo>
                <a:cubicBezTo>
                  <a:pt x="916555" y="622213"/>
                  <a:pt x="914732" y="625857"/>
                  <a:pt x="912909" y="629501"/>
                </a:cubicBezTo>
                <a:cubicBezTo>
                  <a:pt x="923843" y="631324"/>
                  <a:pt x="914732" y="620391"/>
                  <a:pt x="918376" y="620391"/>
                </a:cubicBezTo>
                <a:cubicBezTo>
                  <a:pt x="920198" y="618568"/>
                  <a:pt x="920198" y="616746"/>
                  <a:pt x="918376" y="614924"/>
                </a:cubicBezTo>
                <a:close/>
                <a:moveTo>
                  <a:pt x="869177" y="614924"/>
                </a:moveTo>
                <a:cubicBezTo>
                  <a:pt x="867355" y="616746"/>
                  <a:pt x="863711" y="620391"/>
                  <a:pt x="860066" y="622213"/>
                </a:cubicBezTo>
                <a:cubicBezTo>
                  <a:pt x="854600" y="629501"/>
                  <a:pt x="861889" y="627679"/>
                  <a:pt x="861889" y="636790"/>
                </a:cubicBezTo>
                <a:cubicBezTo>
                  <a:pt x="865533" y="629501"/>
                  <a:pt x="869177" y="624035"/>
                  <a:pt x="869177" y="614924"/>
                </a:cubicBezTo>
                <a:close/>
                <a:moveTo>
                  <a:pt x="634117" y="614924"/>
                </a:moveTo>
                <a:cubicBezTo>
                  <a:pt x="630472" y="620391"/>
                  <a:pt x="639583" y="620391"/>
                  <a:pt x="639583" y="620391"/>
                </a:cubicBezTo>
                <a:cubicBezTo>
                  <a:pt x="641407" y="618568"/>
                  <a:pt x="635939" y="616746"/>
                  <a:pt x="634117" y="614924"/>
                </a:cubicBezTo>
                <a:close/>
                <a:moveTo>
                  <a:pt x="462832" y="614924"/>
                </a:moveTo>
                <a:lnTo>
                  <a:pt x="460413" y="617563"/>
                </a:lnTo>
                <a:lnTo>
                  <a:pt x="459188" y="616746"/>
                </a:lnTo>
                <a:cubicBezTo>
                  <a:pt x="459188" y="622213"/>
                  <a:pt x="461010" y="624035"/>
                  <a:pt x="464655" y="622213"/>
                </a:cubicBezTo>
                <a:lnTo>
                  <a:pt x="464536" y="620316"/>
                </a:lnTo>
                <a:lnTo>
                  <a:pt x="464655" y="620391"/>
                </a:lnTo>
                <a:lnTo>
                  <a:pt x="464536" y="620312"/>
                </a:lnTo>
                <a:lnTo>
                  <a:pt x="464427" y="618569"/>
                </a:lnTo>
                <a:cubicBezTo>
                  <a:pt x="463743" y="617202"/>
                  <a:pt x="462832" y="615835"/>
                  <a:pt x="462832" y="614924"/>
                </a:cubicBezTo>
                <a:close/>
                <a:moveTo>
                  <a:pt x="313414" y="614924"/>
                </a:moveTo>
                <a:cubicBezTo>
                  <a:pt x="315236" y="625857"/>
                  <a:pt x="324347" y="636790"/>
                  <a:pt x="335280" y="638612"/>
                </a:cubicBezTo>
                <a:cubicBezTo>
                  <a:pt x="329814" y="631324"/>
                  <a:pt x="324347" y="625857"/>
                  <a:pt x="318882" y="618568"/>
                </a:cubicBezTo>
                <a:cubicBezTo>
                  <a:pt x="320703" y="622213"/>
                  <a:pt x="322525" y="625857"/>
                  <a:pt x="322525" y="629501"/>
                </a:cubicBezTo>
                <a:cubicBezTo>
                  <a:pt x="318882" y="625857"/>
                  <a:pt x="317059" y="620391"/>
                  <a:pt x="313414" y="614924"/>
                </a:cubicBezTo>
                <a:close/>
                <a:moveTo>
                  <a:pt x="72887" y="614924"/>
                </a:moveTo>
                <a:lnTo>
                  <a:pt x="74707" y="620385"/>
                </a:lnTo>
                <a:lnTo>
                  <a:pt x="74709" y="620391"/>
                </a:lnTo>
                <a:cubicBezTo>
                  <a:pt x="74709" y="618568"/>
                  <a:pt x="72887" y="616746"/>
                  <a:pt x="72887" y="614924"/>
                </a:cubicBezTo>
                <a:close/>
                <a:moveTo>
                  <a:pt x="903343" y="614697"/>
                </a:moveTo>
                <a:cubicBezTo>
                  <a:pt x="902432" y="614469"/>
                  <a:pt x="901065" y="614924"/>
                  <a:pt x="900154" y="616746"/>
                </a:cubicBezTo>
                <a:cubicBezTo>
                  <a:pt x="894688" y="616746"/>
                  <a:pt x="892866" y="620391"/>
                  <a:pt x="891043" y="625857"/>
                </a:cubicBezTo>
                <a:cubicBezTo>
                  <a:pt x="896510" y="624035"/>
                  <a:pt x="901976" y="629501"/>
                  <a:pt x="905621" y="624035"/>
                </a:cubicBezTo>
                <a:cubicBezTo>
                  <a:pt x="905621" y="624035"/>
                  <a:pt x="905621" y="620391"/>
                  <a:pt x="903799" y="620391"/>
                </a:cubicBezTo>
                <a:cubicBezTo>
                  <a:pt x="901976" y="622213"/>
                  <a:pt x="901976" y="622213"/>
                  <a:pt x="901976" y="622213"/>
                </a:cubicBezTo>
                <a:cubicBezTo>
                  <a:pt x="901976" y="620391"/>
                  <a:pt x="901976" y="618568"/>
                  <a:pt x="900154" y="616746"/>
                </a:cubicBezTo>
                <a:cubicBezTo>
                  <a:pt x="900154" y="616746"/>
                  <a:pt x="901976" y="616746"/>
                  <a:pt x="903799" y="616746"/>
                </a:cubicBezTo>
                <a:cubicBezTo>
                  <a:pt x="904710" y="615835"/>
                  <a:pt x="904254" y="614924"/>
                  <a:pt x="903343" y="614697"/>
                </a:cubicBezTo>
                <a:close/>
                <a:moveTo>
                  <a:pt x="177264" y="613911"/>
                </a:moveTo>
                <a:lnTo>
                  <a:pt x="178288" y="615178"/>
                </a:lnTo>
                <a:lnTo>
                  <a:pt x="178573" y="616746"/>
                </a:lnTo>
                <a:close/>
                <a:moveTo>
                  <a:pt x="2868102" y="613103"/>
                </a:moveTo>
                <a:cubicBezTo>
                  <a:pt x="2864458" y="613103"/>
                  <a:pt x="2864458" y="614924"/>
                  <a:pt x="2864458" y="620391"/>
                </a:cubicBezTo>
                <a:cubicBezTo>
                  <a:pt x="2869924" y="622213"/>
                  <a:pt x="2868102" y="616746"/>
                  <a:pt x="2868102" y="613103"/>
                </a:cubicBezTo>
                <a:close/>
                <a:moveTo>
                  <a:pt x="2315983" y="613103"/>
                </a:moveTo>
                <a:cubicBezTo>
                  <a:pt x="2312339" y="614924"/>
                  <a:pt x="2312339" y="624035"/>
                  <a:pt x="2317806" y="620391"/>
                </a:cubicBezTo>
                <a:cubicBezTo>
                  <a:pt x="2317806" y="616746"/>
                  <a:pt x="2317806" y="614924"/>
                  <a:pt x="2315983" y="613103"/>
                </a:cubicBezTo>
                <a:close/>
                <a:moveTo>
                  <a:pt x="1146148" y="613103"/>
                </a:moveTo>
                <a:cubicBezTo>
                  <a:pt x="1142503" y="618568"/>
                  <a:pt x="1135215" y="624035"/>
                  <a:pt x="1137037" y="629501"/>
                </a:cubicBezTo>
                <a:cubicBezTo>
                  <a:pt x="1142503" y="625857"/>
                  <a:pt x="1146148" y="618568"/>
                  <a:pt x="1146148" y="613103"/>
                </a:cubicBezTo>
                <a:close/>
                <a:moveTo>
                  <a:pt x="1073262" y="613103"/>
                </a:moveTo>
                <a:cubicBezTo>
                  <a:pt x="1073262" y="616746"/>
                  <a:pt x="1073262" y="618568"/>
                  <a:pt x="1075083" y="620391"/>
                </a:cubicBezTo>
                <a:cubicBezTo>
                  <a:pt x="1075083" y="620391"/>
                  <a:pt x="1076905" y="618568"/>
                  <a:pt x="1078727" y="616746"/>
                </a:cubicBezTo>
                <a:cubicBezTo>
                  <a:pt x="1075083" y="618568"/>
                  <a:pt x="1076905" y="614924"/>
                  <a:pt x="1073262" y="613103"/>
                </a:cubicBezTo>
                <a:close/>
                <a:moveTo>
                  <a:pt x="1053217" y="613103"/>
                </a:moveTo>
                <a:lnTo>
                  <a:pt x="1058757" y="617257"/>
                </a:lnTo>
                <a:lnTo>
                  <a:pt x="1056477" y="620295"/>
                </a:lnTo>
                <a:lnTo>
                  <a:pt x="1055040" y="620391"/>
                </a:lnTo>
                <a:lnTo>
                  <a:pt x="1053824" y="620999"/>
                </a:lnTo>
                <a:lnTo>
                  <a:pt x="1053217" y="620391"/>
                </a:lnTo>
                <a:lnTo>
                  <a:pt x="1052611" y="621606"/>
                </a:lnTo>
                <a:lnTo>
                  <a:pt x="1051395" y="622213"/>
                </a:lnTo>
                <a:cubicBezTo>
                  <a:pt x="1051395" y="616746"/>
                  <a:pt x="1051395" y="614924"/>
                  <a:pt x="1053217" y="613103"/>
                </a:cubicBezTo>
                <a:close/>
                <a:moveTo>
                  <a:pt x="677849" y="613103"/>
                </a:moveTo>
                <a:cubicBezTo>
                  <a:pt x="676027" y="614924"/>
                  <a:pt x="676027" y="614924"/>
                  <a:pt x="674205" y="616746"/>
                </a:cubicBezTo>
                <a:cubicBezTo>
                  <a:pt x="676027" y="616746"/>
                  <a:pt x="677849" y="620391"/>
                  <a:pt x="681493" y="618568"/>
                </a:cubicBezTo>
                <a:cubicBezTo>
                  <a:pt x="679671" y="616746"/>
                  <a:pt x="677849" y="614924"/>
                  <a:pt x="677849" y="613103"/>
                </a:cubicBezTo>
                <a:close/>
                <a:moveTo>
                  <a:pt x="623185" y="613103"/>
                </a:moveTo>
                <a:cubicBezTo>
                  <a:pt x="619539" y="614924"/>
                  <a:pt x="621362" y="616746"/>
                  <a:pt x="619539" y="620391"/>
                </a:cubicBezTo>
                <a:cubicBezTo>
                  <a:pt x="621362" y="620391"/>
                  <a:pt x="623185" y="614924"/>
                  <a:pt x="623185" y="613103"/>
                </a:cubicBezTo>
                <a:close/>
                <a:moveTo>
                  <a:pt x="116619" y="613103"/>
                </a:moveTo>
                <a:cubicBezTo>
                  <a:pt x="114797" y="616746"/>
                  <a:pt x="120264" y="629501"/>
                  <a:pt x="125730" y="629501"/>
                </a:cubicBezTo>
                <a:cubicBezTo>
                  <a:pt x="127552" y="625857"/>
                  <a:pt x="116619" y="614924"/>
                  <a:pt x="116619" y="613103"/>
                </a:cubicBezTo>
                <a:close/>
                <a:moveTo>
                  <a:pt x="3306449" y="613074"/>
                </a:moveTo>
                <a:cubicBezTo>
                  <a:pt x="3295175" y="611280"/>
                  <a:pt x="3284925" y="623580"/>
                  <a:pt x="3272625" y="627679"/>
                </a:cubicBezTo>
                <a:lnTo>
                  <a:pt x="3274447" y="629502"/>
                </a:lnTo>
                <a:lnTo>
                  <a:pt x="3272625" y="644079"/>
                </a:lnTo>
                <a:cubicBezTo>
                  <a:pt x="3274447" y="642257"/>
                  <a:pt x="3278091" y="638612"/>
                  <a:pt x="3279913" y="644079"/>
                </a:cubicBezTo>
                <a:cubicBezTo>
                  <a:pt x="3281736" y="636790"/>
                  <a:pt x="3287202" y="634968"/>
                  <a:pt x="3292669" y="633146"/>
                </a:cubicBezTo>
                <a:cubicBezTo>
                  <a:pt x="3296313" y="633146"/>
                  <a:pt x="3296313" y="636790"/>
                  <a:pt x="3296313" y="638612"/>
                </a:cubicBezTo>
                <a:cubicBezTo>
                  <a:pt x="3289024" y="638612"/>
                  <a:pt x="3292669" y="640435"/>
                  <a:pt x="3294491" y="642257"/>
                </a:cubicBezTo>
                <a:cubicBezTo>
                  <a:pt x="3292669" y="644079"/>
                  <a:pt x="3290847" y="640435"/>
                  <a:pt x="3289024" y="640435"/>
                </a:cubicBezTo>
                <a:cubicBezTo>
                  <a:pt x="3289024" y="644079"/>
                  <a:pt x="3287202" y="645901"/>
                  <a:pt x="3289024" y="647723"/>
                </a:cubicBezTo>
                <a:cubicBezTo>
                  <a:pt x="3290847" y="649545"/>
                  <a:pt x="3294491" y="647723"/>
                  <a:pt x="3296313" y="647723"/>
                </a:cubicBezTo>
                <a:cubicBezTo>
                  <a:pt x="3296313" y="644079"/>
                  <a:pt x="3296313" y="642257"/>
                  <a:pt x="3298135" y="640435"/>
                </a:cubicBezTo>
                <a:cubicBezTo>
                  <a:pt x="3299957" y="640435"/>
                  <a:pt x="3299957" y="640435"/>
                  <a:pt x="3301780" y="640435"/>
                </a:cubicBezTo>
                <a:cubicBezTo>
                  <a:pt x="3299957" y="638612"/>
                  <a:pt x="3298135" y="636790"/>
                  <a:pt x="3299957" y="634968"/>
                </a:cubicBezTo>
                <a:cubicBezTo>
                  <a:pt x="3310890" y="629501"/>
                  <a:pt x="3323646" y="634968"/>
                  <a:pt x="3330934" y="627679"/>
                </a:cubicBezTo>
                <a:cubicBezTo>
                  <a:pt x="3332756" y="625857"/>
                  <a:pt x="3327290" y="622213"/>
                  <a:pt x="3325468" y="618568"/>
                </a:cubicBezTo>
                <a:cubicBezTo>
                  <a:pt x="3323646" y="618568"/>
                  <a:pt x="3320001" y="622213"/>
                  <a:pt x="3318179" y="620391"/>
                </a:cubicBezTo>
                <a:cubicBezTo>
                  <a:pt x="3314080" y="615836"/>
                  <a:pt x="3310207" y="613672"/>
                  <a:pt x="3306449" y="613074"/>
                </a:cubicBezTo>
                <a:close/>
                <a:moveTo>
                  <a:pt x="2997477" y="612360"/>
                </a:moveTo>
                <a:lnTo>
                  <a:pt x="2997477" y="613103"/>
                </a:lnTo>
                <a:lnTo>
                  <a:pt x="2996195" y="612740"/>
                </a:lnTo>
                <a:close/>
                <a:moveTo>
                  <a:pt x="330624" y="611281"/>
                </a:moveTo>
                <a:lnTo>
                  <a:pt x="331636" y="613103"/>
                </a:lnTo>
                <a:lnTo>
                  <a:pt x="331275" y="612793"/>
                </a:lnTo>
                <a:close/>
                <a:moveTo>
                  <a:pt x="3457803" y="611280"/>
                </a:moveTo>
                <a:cubicBezTo>
                  <a:pt x="3456209" y="612191"/>
                  <a:pt x="3454842" y="614014"/>
                  <a:pt x="3454842" y="616746"/>
                </a:cubicBezTo>
                <a:cubicBezTo>
                  <a:pt x="3456664" y="618568"/>
                  <a:pt x="3462131" y="616746"/>
                  <a:pt x="3462131" y="611280"/>
                </a:cubicBezTo>
                <a:cubicBezTo>
                  <a:pt x="3461220" y="610370"/>
                  <a:pt x="3459398" y="610370"/>
                  <a:pt x="3457803" y="611280"/>
                </a:cubicBezTo>
                <a:close/>
                <a:moveTo>
                  <a:pt x="3361911" y="611280"/>
                </a:moveTo>
                <a:cubicBezTo>
                  <a:pt x="3354623" y="613103"/>
                  <a:pt x="3360089" y="618568"/>
                  <a:pt x="3358267" y="622213"/>
                </a:cubicBezTo>
                <a:cubicBezTo>
                  <a:pt x="3361911" y="620391"/>
                  <a:pt x="3363734" y="613103"/>
                  <a:pt x="3361911" y="611280"/>
                </a:cubicBezTo>
                <a:close/>
                <a:moveTo>
                  <a:pt x="2933700" y="611280"/>
                </a:moveTo>
                <a:cubicBezTo>
                  <a:pt x="2939167" y="616746"/>
                  <a:pt x="2944634" y="622213"/>
                  <a:pt x="2946456" y="629501"/>
                </a:cubicBezTo>
                <a:cubicBezTo>
                  <a:pt x="2951922" y="622213"/>
                  <a:pt x="2940989" y="620391"/>
                  <a:pt x="2953744" y="620391"/>
                </a:cubicBezTo>
                <a:cubicBezTo>
                  <a:pt x="2950100" y="614924"/>
                  <a:pt x="2939167" y="607635"/>
                  <a:pt x="2933700" y="611280"/>
                </a:cubicBezTo>
                <a:close/>
                <a:moveTo>
                  <a:pt x="2800682" y="611280"/>
                </a:moveTo>
                <a:cubicBezTo>
                  <a:pt x="2797037" y="624035"/>
                  <a:pt x="2807971" y="631324"/>
                  <a:pt x="2817081" y="636790"/>
                </a:cubicBezTo>
                <a:cubicBezTo>
                  <a:pt x="2811615" y="638612"/>
                  <a:pt x="2804326" y="633146"/>
                  <a:pt x="2800682" y="638612"/>
                </a:cubicBezTo>
                <a:cubicBezTo>
                  <a:pt x="2797037" y="644079"/>
                  <a:pt x="2807971" y="645901"/>
                  <a:pt x="2811615" y="651368"/>
                </a:cubicBezTo>
                <a:cubicBezTo>
                  <a:pt x="2811615" y="647723"/>
                  <a:pt x="2815259" y="640435"/>
                  <a:pt x="2817081" y="640435"/>
                </a:cubicBezTo>
                <a:cubicBezTo>
                  <a:pt x="2818903" y="638612"/>
                  <a:pt x="2818903" y="645901"/>
                  <a:pt x="2822548" y="647723"/>
                </a:cubicBezTo>
                <a:cubicBezTo>
                  <a:pt x="2820726" y="644079"/>
                  <a:pt x="2817081" y="631324"/>
                  <a:pt x="2826192" y="634968"/>
                </a:cubicBezTo>
                <a:cubicBezTo>
                  <a:pt x="2826192" y="634968"/>
                  <a:pt x="2826192" y="636790"/>
                  <a:pt x="2826192" y="638612"/>
                </a:cubicBezTo>
                <a:cubicBezTo>
                  <a:pt x="2828014" y="636790"/>
                  <a:pt x="2829837" y="636790"/>
                  <a:pt x="2831659" y="634968"/>
                </a:cubicBezTo>
                <a:cubicBezTo>
                  <a:pt x="2837125" y="642257"/>
                  <a:pt x="2838947" y="647723"/>
                  <a:pt x="2848058" y="645901"/>
                </a:cubicBezTo>
                <a:cubicBezTo>
                  <a:pt x="2846236" y="640435"/>
                  <a:pt x="2831659" y="638612"/>
                  <a:pt x="2838947" y="629501"/>
                </a:cubicBezTo>
                <a:cubicBezTo>
                  <a:pt x="2840769" y="629501"/>
                  <a:pt x="2835303" y="627679"/>
                  <a:pt x="2835303" y="627679"/>
                </a:cubicBezTo>
                <a:cubicBezTo>
                  <a:pt x="2837125" y="625857"/>
                  <a:pt x="2838947" y="616746"/>
                  <a:pt x="2833481" y="614924"/>
                </a:cubicBezTo>
                <a:cubicBezTo>
                  <a:pt x="2835303" y="616746"/>
                  <a:pt x="2833481" y="618568"/>
                  <a:pt x="2833481" y="620391"/>
                </a:cubicBezTo>
                <a:cubicBezTo>
                  <a:pt x="2824370" y="614924"/>
                  <a:pt x="2817081" y="614924"/>
                  <a:pt x="2815259" y="625857"/>
                </a:cubicBezTo>
                <a:cubicBezTo>
                  <a:pt x="2813437" y="620391"/>
                  <a:pt x="2815259" y="613103"/>
                  <a:pt x="2807971" y="614924"/>
                </a:cubicBezTo>
                <a:cubicBezTo>
                  <a:pt x="2806148" y="614924"/>
                  <a:pt x="2806148" y="618568"/>
                  <a:pt x="2807971" y="622213"/>
                </a:cubicBezTo>
                <a:cubicBezTo>
                  <a:pt x="2809793" y="620391"/>
                  <a:pt x="2806148" y="620391"/>
                  <a:pt x="2804326" y="616746"/>
                </a:cubicBezTo>
                <a:cubicBezTo>
                  <a:pt x="2804326" y="616746"/>
                  <a:pt x="2802504" y="616746"/>
                  <a:pt x="2802504" y="618568"/>
                </a:cubicBezTo>
                <a:cubicBezTo>
                  <a:pt x="2800682" y="616746"/>
                  <a:pt x="2798860" y="613103"/>
                  <a:pt x="2800682" y="611280"/>
                </a:cubicBezTo>
                <a:close/>
                <a:moveTo>
                  <a:pt x="1304677" y="611280"/>
                </a:moveTo>
                <a:cubicBezTo>
                  <a:pt x="1304677" y="616746"/>
                  <a:pt x="1299210" y="620391"/>
                  <a:pt x="1299210" y="624035"/>
                </a:cubicBezTo>
                <a:cubicBezTo>
                  <a:pt x="1302855" y="622213"/>
                  <a:pt x="1308321" y="614924"/>
                  <a:pt x="1304677" y="611280"/>
                </a:cubicBezTo>
                <a:close/>
                <a:moveTo>
                  <a:pt x="1122459" y="611280"/>
                </a:moveTo>
                <a:cubicBezTo>
                  <a:pt x="1120637" y="613103"/>
                  <a:pt x="1120637" y="613103"/>
                  <a:pt x="1118815" y="614924"/>
                </a:cubicBezTo>
                <a:cubicBezTo>
                  <a:pt x="1120637" y="616746"/>
                  <a:pt x="1126104" y="611280"/>
                  <a:pt x="1122459" y="611280"/>
                </a:cubicBezTo>
                <a:close/>
                <a:moveTo>
                  <a:pt x="1086016" y="611280"/>
                </a:moveTo>
                <a:cubicBezTo>
                  <a:pt x="1084194" y="611280"/>
                  <a:pt x="1082373" y="614924"/>
                  <a:pt x="1082373" y="614924"/>
                </a:cubicBezTo>
                <a:cubicBezTo>
                  <a:pt x="1084194" y="614924"/>
                  <a:pt x="1086016" y="614924"/>
                  <a:pt x="1087838" y="613103"/>
                </a:cubicBezTo>
                <a:cubicBezTo>
                  <a:pt x="1087838" y="613103"/>
                  <a:pt x="1086016" y="613103"/>
                  <a:pt x="1084194" y="613103"/>
                </a:cubicBezTo>
                <a:cubicBezTo>
                  <a:pt x="1086016" y="611280"/>
                  <a:pt x="1086016" y="611280"/>
                  <a:pt x="1086016" y="611280"/>
                </a:cubicBezTo>
                <a:close/>
                <a:moveTo>
                  <a:pt x="663272" y="611280"/>
                </a:moveTo>
                <a:cubicBezTo>
                  <a:pt x="659627" y="613103"/>
                  <a:pt x="663272" y="618568"/>
                  <a:pt x="666916" y="614924"/>
                </a:cubicBezTo>
                <a:cubicBezTo>
                  <a:pt x="666916" y="613103"/>
                  <a:pt x="665094" y="613103"/>
                  <a:pt x="663272" y="611280"/>
                </a:cubicBezTo>
                <a:close/>
                <a:moveTo>
                  <a:pt x="657805" y="611280"/>
                </a:moveTo>
                <a:cubicBezTo>
                  <a:pt x="655983" y="609459"/>
                  <a:pt x="655983" y="613103"/>
                  <a:pt x="654161" y="613103"/>
                </a:cubicBezTo>
                <a:lnTo>
                  <a:pt x="657385" y="616326"/>
                </a:lnTo>
                <a:lnTo>
                  <a:pt x="657350" y="616746"/>
                </a:lnTo>
                <a:lnTo>
                  <a:pt x="654161" y="616746"/>
                </a:lnTo>
                <a:cubicBezTo>
                  <a:pt x="653250" y="616291"/>
                  <a:pt x="652339" y="615835"/>
                  <a:pt x="650516" y="616746"/>
                </a:cubicBezTo>
                <a:cubicBezTo>
                  <a:pt x="645050" y="622213"/>
                  <a:pt x="650516" y="627679"/>
                  <a:pt x="655983" y="633146"/>
                </a:cubicBezTo>
                <a:lnTo>
                  <a:pt x="657350" y="616746"/>
                </a:lnTo>
                <a:lnTo>
                  <a:pt x="657805" y="616746"/>
                </a:lnTo>
                <a:lnTo>
                  <a:pt x="657385" y="616326"/>
                </a:lnTo>
                <a:close/>
                <a:moveTo>
                  <a:pt x="597673" y="611280"/>
                </a:moveTo>
                <a:cubicBezTo>
                  <a:pt x="590385" y="614924"/>
                  <a:pt x="594030" y="618568"/>
                  <a:pt x="597673" y="620391"/>
                </a:cubicBezTo>
                <a:cubicBezTo>
                  <a:pt x="597673" y="616746"/>
                  <a:pt x="599496" y="613103"/>
                  <a:pt x="597673" y="611280"/>
                </a:cubicBezTo>
                <a:close/>
                <a:moveTo>
                  <a:pt x="524786" y="611280"/>
                </a:moveTo>
                <a:cubicBezTo>
                  <a:pt x="521142" y="613103"/>
                  <a:pt x="519320" y="614924"/>
                  <a:pt x="521142" y="616746"/>
                </a:cubicBezTo>
                <a:cubicBezTo>
                  <a:pt x="524786" y="614924"/>
                  <a:pt x="524786" y="614924"/>
                  <a:pt x="526609" y="613103"/>
                </a:cubicBezTo>
                <a:cubicBezTo>
                  <a:pt x="526609" y="613103"/>
                  <a:pt x="524786" y="611280"/>
                  <a:pt x="524786" y="611280"/>
                </a:cubicBezTo>
                <a:close/>
                <a:moveTo>
                  <a:pt x="479232" y="611280"/>
                </a:moveTo>
                <a:cubicBezTo>
                  <a:pt x="479232" y="613103"/>
                  <a:pt x="482876" y="616746"/>
                  <a:pt x="482876" y="620391"/>
                </a:cubicBezTo>
                <a:cubicBezTo>
                  <a:pt x="484700" y="620391"/>
                  <a:pt x="481054" y="611280"/>
                  <a:pt x="479232" y="611280"/>
                </a:cubicBezTo>
                <a:close/>
                <a:moveTo>
                  <a:pt x="400879" y="611280"/>
                </a:moveTo>
                <a:lnTo>
                  <a:pt x="400879" y="616201"/>
                </a:lnTo>
                <a:lnTo>
                  <a:pt x="399707" y="613038"/>
                </a:lnTo>
                <a:close/>
                <a:moveTo>
                  <a:pt x="2458175" y="610908"/>
                </a:moveTo>
                <a:lnTo>
                  <a:pt x="2458113" y="611280"/>
                </a:lnTo>
                <a:lnTo>
                  <a:pt x="2450841" y="616516"/>
                </a:lnTo>
                <a:lnTo>
                  <a:pt x="2453330" y="613103"/>
                </a:lnTo>
                <a:close/>
                <a:moveTo>
                  <a:pt x="279037" y="610047"/>
                </a:moveTo>
                <a:lnTo>
                  <a:pt x="286082" y="618568"/>
                </a:lnTo>
                <a:lnTo>
                  <a:pt x="282171" y="617591"/>
                </a:lnTo>
                <a:close/>
                <a:moveTo>
                  <a:pt x="880111" y="609459"/>
                </a:moveTo>
                <a:cubicBezTo>
                  <a:pt x="871000" y="618568"/>
                  <a:pt x="872822" y="629501"/>
                  <a:pt x="869177" y="640435"/>
                </a:cubicBezTo>
                <a:cubicBezTo>
                  <a:pt x="872822" y="636790"/>
                  <a:pt x="878288" y="629501"/>
                  <a:pt x="883755" y="624035"/>
                </a:cubicBezTo>
                <a:cubicBezTo>
                  <a:pt x="881933" y="618568"/>
                  <a:pt x="883755" y="613103"/>
                  <a:pt x="880111" y="609459"/>
                </a:cubicBezTo>
                <a:close/>
                <a:moveTo>
                  <a:pt x="841845" y="609459"/>
                </a:moveTo>
                <a:cubicBezTo>
                  <a:pt x="838200" y="611280"/>
                  <a:pt x="838200" y="614924"/>
                  <a:pt x="836378" y="616746"/>
                </a:cubicBezTo>
                <a:cubicBezTo>
                  <a:pt x="836378" y="618568"/>
                  <a:pt x="840022" y="613103"/>
                  <a:pt x="838200" y="616746"/>
                </a:cubicBezTo>
                <a:cubicBezTo>
                  <a:pt x="834556" y="618568"/>
                  <a:pt x="829089" y="622213"/>
                  <a:pt x="836378" y="625857"/>
                </a:cubicBezTo>
                <a:cubicBezTo>
                  <a:pt x="838200" y="625857"/>
                  <a:pt x="840022" y="620391"/>
                  <a:pt x="838200" y="616746"/>
                </a:cubicBezTo>
                <a:cubicBezTo>
                  <a:pt x="840022" y="618568"/>
                  <a:pt x="840022" y="613103"/>
                  <a:pt x="841845" y="614924"/>
                </a:cubicBezTo>
                <a:cubicBezTo>
                  <a:pt x="843667" y="613103"/>
                  <a:pt x="843667" y="611280"/>
                  <a:pt x="841845" y="609459"/>
                </a:cubicBezTo>
                <a:close/>
                <a:moveTo>
                  <a:pt x="488343" y="609459"/>
                </a:moveTo>
                <a:cubicBezTo>
                  <a:pt x="484700" y="611280"/>
                  <a:pt x="491987" y="616746"/>
                  <a:pt x="490165" y="620391"/>
                </a:cubicBezTo>
                <a:cubicBezTo>
                  <a:pt x="493809" y="620391"/>
                  <a:pt x="490165" y="614924"/>
                  <a:pt x="495632" y="614924"/>
                </a:cubicBezTo>
                <a:cubicBezTo>
                  <a:pt x="493809" y="613103"/>
                  <a:pt x="490165" y="613103"/>
                  <a:pt x="488343" y="609459"/>
                </a:cubicBezTo>
                <a:close/>
                <a:moveTo>
                  <a:pt x="379012" y="609459"/>
                </a:moveTo>
                <a:cubicBezTo>
                  <a:pt x="373546" y="609459"/>
                  <a:pt x="375368" y="618568"/>
                  <a:pt x="379012" y="622213"/>
                </a:cubicBezTo>
                <a:cubicBezTo>
                  <a:pt x="380835" y="618568"/>
                  <a:pt x="380835" y="613103"/>
                  <a:pt x="379012" y="609459"/>
                </a:cubicBezTo>
                <a:close/>
                <a:moveTo>
                  <a:pt x="278793" y="609459"/>
                </a:moveTo>
                <a:lnTo>
                  <a:pt x="279037" y="610047"/>
                </a:lnTo>
                <a:lnTo>
                  <a:pt x="278898" y="609878"/>
                </a:lnTo>
                <a:close/>
                <a:moveTo>
                  <a:pt x="1234345" y="609417"/>
                </a:moveTo>
                <a:lnTo>
                  <a:pt x="1234028" y="610221"/>
                </a:lnTo>
                <a:lnTo>
                  <a:pt x="1233612" y="609459"/>
                </a:lnTo>
                <a:close/>
                <a:moveTo>
                  <a:pt x="1243316" y="608166"/>
                </a:moveTo>
                <a:lnTo>
                  <a:pt x="1240901" y="611280"/>
                </a:lnTo>
                <a:lnTo>
                  <a:pt x="1240685" y="609054"/>
                </a:lnTo>
                <a:lnTo>
                  <a:pt x="1241584" y="609003"/>
                </a:lnTo>
                <a:close/>
                <a:moveTo>
                  <a:pt x="78055" y="607686"/>
                </a:moveTo>
                <a:lnTo>
                  <a:pt x="92569" y="630493"/>
                </a:lnTo>
                <a:lnTo>
                  <a:pt x="89742" y="626541"/>
                </a:lnTo>
                <a:close/>
                <a:moveTo>
                  <a:pt x="3482175" y="607635"/>
                </a:moveTo>
                <a:cubicBezTo>
                  <a:pt x="3480353" y="613103"/>
                  <a:pt x="3487641" y="616746"/>
                  <a:pt x="3493108" y="616746"/>
                </a:cubicBezTo>
                <a:cubicBezTo>
                  <a:pt x="3493108" y="614924"/>
                  <a:pt x="3493108" y="613103"/>
                  <a:pt x="3494930" y="613103"/>
                </a:cubicBezTo>
                <a:cubicBezTo>
                  <a:pt x="3496752" y="613103"/>
                  <a:pt x="3493108" y="611280"/>
                  <a:pt x="3493108" y="613103"/>
                </a:cubicBezTo>
                <a:cubicBezTo>
                  <a:pt x="3493108" y="609459"/>
                  <a:pt x="3485819" y="611280"/>
                  <a:pt x="3482175" y="607635"/>
                </a:cubicBezTo>
                <a:close/>
                <a:moveTo>
                  <a:pt x="2540111" y="607635"/>
                </a:moveTo>
                <a:cubicBezTo>
                  <a:pt x="2538289" y="605813"/>
                  <a:pt x="2538289" y="614924"/>
                  <a:pt x="2536466" y="616746"/>
                </a:cubicBezTo>
                <a:cubicBezTo>
                  <a:pt x="2540111" y="616746"/>
                  <a:pt x="2545577" y="618568"/>
                  <a:pt x="2547400" y="614924"/>
                </a:cubicBezTo>
                <a:cubicBezTo>
                  <a:pt x="2547400" y="609459"/>
                  <a:pt x="2540111" y="613103"/>
                  <a:pt x="2540111" y="607635"/>
                </a:cubicBezTo>
                <a:close/>
                <a:moveTo>
                  <a:pt x="2405270" y="607635"/>
                </a:moveTo>
                <a:cubicBezTo>
                  <a:pt x="2403448" y="611280"/>
                  <a:pt x="2407092" y="611280"/>
                  <a:pt x="2407092" y="614924"/>
                </a:cubicBezTo>
                <a:cubicBezTo>
                  <a:pt x="2408914" y="613103"/>
                  <a:pt x="2407092" y="609459"/>
                  <a:pt x="2408914" y="609459"/>
                </a:cubicBezTo>
                <a:cubicBezTo>
                  <a:pt x="2408914" y="607635"/>
                  <a:pt x="2407092" y="607635"/>
                  <a:pt x="2405270" y="607635"/>
                </a:cubicBezTo>
                <a:close/>
                <a:moveTo>
                  <a:pt x="2385226" y="607635"/>
                </a:moveTo>
                <a:cubicBezTo>
                  <a:pt x="2377937" y="611280"/>
                  <a:pt x="2379760" y="616746"/>
                  <a:pt x="2383404" y="620391"/>
                </a:cubicBezTo>
                <a:cubicBezTo>
                  <a:pt x="2385226" y="618568"/>
                  <a:pt x="2385226" y="613103"/>
                  <a:pt x="2385226" y="607635"/>
                </a:cubicBezTo>
                <a:close/>
                <a:moveTo>
                  <a:pt x="1301033" y="607635"/>
                </a:moveTo>
                <a:cubicBezTo>
                  <a:pt x="1299210" y="607635"/>
                  <a:pt x="1297388" y="613103"/>
                  <a:pt x="1299210" y="616746"/>
                </a:cubicBezTo>
                <a:cubicBezTo>
                  <a:pt x="1302855" y="613103"/>
                  <a:pt x="1299210" y="609459"/>
                  <a:pt x="1301033" y="607635"/>
                </a:cubicBezTo>
                <a:close/>
                <a:moveTo>
                  <a:pt x="1293744" y="607635"/>
                </a:moveTo>
                <a:cubicBezTo>
                  <a:pt x="1292834" y="608547"/>
                  <a:pt x="1293288" y="609458"/>
                  <a:pt x="1293516" y="610369"/>
                </a:cubicBezTo>
                <a:lnTo>
                  <a:pt x="1293274" y="610786"/>
                </a:lnTo>
                <a:lnTo>
                  <a:pt x="1293077" y="608302"/>
                </a:lnTo>
                <a:close/>
                <a:moveTo>
                  <a:pt x="927487" y="607635"/>
                </a:moveTo>
                <a:cubicBezTo>
                  <a:pt x="925666" y="607635"/>
                  <a:pt x="923843" y="609459"/>
                  <a:pt x="923843" y="609459"/>
                </a:cubicBezTo>
                <a:cubicBezTo>
                  <a:pt x="927487" y="611280"/>
                  <a:pt x="920198" y="618568"/>
                  <a:pt x="922020" y="622213"/>
                </a:cubicBezTo>
                <a:cubicBezTo>
                  <a:pt x="927487" y="618568"/>
                  <a:pt x="925666" y="613103"/>
                  <a:pt x="927487" y="607635"/>
                </a:cubicBezTo>
                <a:close/>
                <a:moveTo>
                  <a:pt x="869177" y="607635"/>
                </a:moveTo>
                <a:cubicBezTo>
                  <a:pt x="865533" y="611280"/>
                  <a:pt x="863711" y="614924"/>
                  <a:pt x="860066" y="616746"/>
                </a:cubicBezTo>
                <a:cubicBezTo>
                  <a:pt x="865533" y="616746"/>
                  <a:pt x="872822" y="611280"/>
                  <a:pt x="869177" y="607635"/>
                </a:cubicBezTo>
                <a:close/>
                <a:moveTo>
                  <a:pt x="710648" y="607635"/>
                </a:moveTo>
                <a:cubicBezTo>
                  <a:pt x="710648" y="618568"/>
                  <a:pt x="721581" y="629501"/>
                  <a:pt x="732515" y="627679"/>
                </a:cubicBezTo>
                <a:cubicBezTo>
                  <a:pt x="728870" y="625857"/>
                  <a:pt x="725226" y="625857"/>
                  <a:pt x="723404" y="622213"/>
                </a:cubicBezTo>
                <a:cubicBezTo>
                  <a:pt x="725226" y="620391"/>
                  <a:pt x="725226" y="618568"/>
                  <a:pt x="728870" y="622213"/>
                </a:cubicBezTo>
                <a:cubicBezTo>
                  <a:pt x="728870" y="614924"/>
                  <a:pt x="717937" y="609459"/>
                  <a:pt x="710648" y="607635"/>
                </a:cubicBezTo>
                <a:close/>
                <a:moveTo>
                  <a:pt x="3238232" y="605814"/>
                </a:moveTo>
                <a:cubicBezTo>
                  <a:pt x="3235271" y="605358"/>
                  <a:pt x="3231626" y="605814"/>
                  <a:pt x="3228893" y="607635"/>
                </a:cubicBezTo>
                <a:cubicBezTo>
                  <a:pt x="3230715" y="613103"/>
                  <a:pt x="3239826" y="609459"/>
                  <a:pt x="3243470" y="609459"/>
                </a:cubicBezTo>
                <a:cubicBezTo>
                  <a:pt x="3243470" y="607636"/>
                  <a:pt x="3241193" y="606269"/>
                  <a:pt x="3238232" y="605814"/>
                </a:cubicBezTo>
                <a:close/>
                <a:moveTo>
                  <a:pt x="2396159" y="605813"/>
                </a:moveTo>
                <a:cubicBezTo>
                  <a:pt x="2394337" y="609459"/>
                  <a:pt x="2394337" y="613103"/>
                  <a:pt x="2394337" y="618568"/>
                </a:cubicBezTo>
                <a:cubicBezTo>
                  <a:pt x="2397981" y="618568"/>
                  <a:pt x="2399803" y="616746"/>
                  <a:pt x="2403448" y="616746"/>
                </a:cubicBezTo>
                <a:cubicBezTo>
                  <a:pt x="2401626" y="611280"/>
                  <a:pt x="2401626" y="603991"/>
                  <a:pt x="2396159" y="605813"/>
                </a:cubicBezTo>
                <a:close/>
                <a:moveTo>
                  <a:pt x="1419474" y="605813"/>
                </a:moveTo>
                <a:cubicBezTo>
                  <a:pt x="1415829" y="607635"/>
                  <a:pt x="1408541" y="607635"/>
                  <a:pt x="1408541" y="613103"/>
                </a:cubicBezTo>
                <a:cubicBezTo>
                  <a:pt x="1408541" y="613103"/>
                  <a:pt x="1412185" y="614924"/>
                  <a:pt x="1408541" y="616746"/>
                </a:cubicBezTo>
                <a:cubicBezTo>
                  <a:pt x="1410363" y="616746"/>
                  <a:pt x="1408541" y="618568"/>
                  <a:pt x="1410363" y="620391"/>
                </a:cubicBezTo>
                <a:cubicBezTo>
                  <a:pt x="1412185" y="618568"/>
                  <a:pt x="1412185" y="614924"/>
                  <a:pt x="1412185" y="613103"/>
                </a:cubicBezTo>
                <a:cubicBezTo>
                  <a:pt x="1414007" y="613103"/>
                  <a:pt x="1415829" y="613103"/>
                  <a:pt x="1415829" y="613103"/>
                </a:cubicBezTo>
                <a:lnTo>
                  <a:pt x="1416369" y="616881"/>
                </a:lnTo>
                <a:lnTo>
                  <a:pt x="1415829" y="616746"/>
                </a:lnTo>
                <a:lnTo>
                  <a:pt x="1417044" y="621602"/>
                </a:lnTo>
                <a:lnTo>
                  <a:pt x="1417424" y="624263"/>
                </a:lnTo>
                <a:lnTo>
                  <a:pt x="1415829" y="625857"/>
                </a:lnTo>
                <a:lnTo>
                  <a:pt x="1418089" y="628913"/>
                </a:lnTo>
                <a:lnTo>
                  <a:pt x="1419143" y="636294"/>
                </a:lnTo>
                <a:lnTo>
                  <a:pt x="1417652" y="642257"/>
                </a:lnTo>
                <a:cubicBezTo>
                  <a:pt x="1417652" y="640435"/>
                  <a:pt x="1419474" y="640435"/>
                  <a:pt x="1419474" y="638612"/>
                </a:cubicBezTo>
                <a:lnTo>
                  <a:pt x="1419143" y="636294"/>
                </a:lnTo>
                <a:lnTo>
                  <a:pt x="1419474" y="634968"/>
                </a:lnTo>
                <a:cubicBezTo>
                  <a:pt x="1420385" y="634968"/>
                  <a:pt x="1420385" y="633146"/>
                  <a:pt x="1419702" y="631096"/>
                </a:cubicBezTo>
                <a:lnTo>
                  <a:pt x="1418089" y="628913"/>
                </a:lnTo>
                <a:lnTo>
                  <a:pt x="1417424" y="624263"/>
                </a:lnTo>
                <a:lnTo>
                  <a:pt x="1417652" y="624035"/>
                </a:lnTo>
                <a:lnTo>
                  <a:pt x="1417044" y="621602"/>
                </a:lnTo>
                <a:lnTo>
                  <a:pt x="1416369" y="616881"/>
                </a:lnTo>
                <a:lnTo>
                  <a:pt x="1417652" y="617202"/>
                </a:lnTo>
                <a:cubicBezTo>
                  <a:pt x="1418108" y="618113"/>
                  <a:pt x="1418563" y="619480"/>
                  <a:pt x="1419474" y="620391"/>
                </a:cubicBezTo>
                <a:cubicBezTo>
                  <a:pt x="1426763" y="614924"/>
                  <a:pt x="1419474" y="611280"/>
                  <a:pt x="1419474" y="605813"/>
                </a:cubicBezTo>
                <a:close/>
                <a:moveTo>
                  <a:pt x="1404896" y="605813"/>
                </a:moveTo>
                <a:lnTo>
                  <a:pt x="1405807" y="605813"/>
                </a:lnTo>
                <a:lnTo>
                  <a:pt x="1404896" y="607635"/>
                </a:lnTo>
                <a:close/>
                <a:moveTo>
                  <a:pt x="1355698" y="605813"/>
                </a:moveTo>
                <a:cubicBezTo>
                  <a:pt x="1357521" y="607635"/>
                  <a:pt x="1359342" y="609459"/>
                  <a:pt x="1361164" y="611280"/>
                </a:cubicBezTo>
                <a:cubicBezTo>
                  <a:pt x="1359342" y="613103"/>
                  <a:pt x="1361164" y="613103"/>
                  <a:pt x="1359342" y="614924"/>
                </a:cubicBezTo>
                <a:cubicBezTo>
                  <a:pt x="1357521" y="611280"/>
                  <a:pt x="1357521" y="609459"/>
                  <a:pt x="1355698" y="605813"/>
                </a:cubicBezTo>
                <a:close/>
                <a:moveTo>
                  <a:pt x="1275522" y="605813"/>
                </a:moveTo>
                <a:cubicBezTo>
                  <a:pt x="1270056" y="607635"/>
                  <a:pt x="1271878" y="616746"/>
                  <a:pt x="1271878" y="622213"/>
                </a:cubicBezTo>
                <a:cubicBezTo>
                  <a:pt x="1273700" y="624035"/>
                  <a:pt x="1275522" y="620391"/>
                  <a:pt x="1277344" y="618568"/>
                </a:cubicBezTo>
                <a:cubicBezTo>
                  <a:pt x="1275522" y="616746"/>
                  <a:pt x="1277344" y="614924"/>
                  <a:pt x="1273700" y="611280"/>
                </a:cubicBezTo>
                <a:cubicBezTo>
                  <a:pt x="1275522" y="609459"/>
                  <a:pt x="1277344" y="613103"/>
                  <a:pt x="1279166" y="611280"/>
                </a:cubicBezTo>
                <a:cubicBezTo>
                  <a:pt x="1277344" y="609459"/>
                  <a:pt x="1275522" y="609459"/>
                  <a:pt x="1275522" y="605813"/>
                </a:cubicBezTo>
                <a:close/>
                <a:moveTo>
                  <a:pt x="1147970" y="605813"/>
                </a:moveTo>
                <a:cubicBezTo>
                  <a:pt x="1146148" y="603991"/>
                  <a:pt x="1142503" y="609459"/>
                  <a:pt x="1146148" y="609459"/>
                </a:cubicBezTo>
                <a:cubicBezTo>
                  <a:pt x="1147970" y="609459"/>
                  <a:pt x="1146148" y="607635"/>
                  <a:pt x="1147970" y="605813"/>
                </a:cubicBezTo>
                <a:close/>
                <a:moveTo>
                  <a:pt x="1137037" y="605813"/>
                </a:moveTo>
                <a:cubicBezTo>
                  <a:pt x="1133393" y="607635"/>
                  <a:pt x="1129748" y="611280"/>
                  <a:pt x="1127926" y="614924"/>
                </a:cubicBezTo>
                <a:cubicBezTo>
                  <a:pt x="1138859" y="618568"/>
                  <a:pt x="1135215" y="605813"/>
                  <a:pt x="1137037" y="605813"/>
                </a:cubicBezTo>
                <a:close/>
                <a:moveTo>
                  <a:pt x="821801" y="605813"/>
                </a:moveTo>
                <a:cubicBezTo>
                  <a:pt x="818156" y="607635"/>
                  <a:pt x="816334" y="613103"/>
                  <a:pt x="819979" y="614924"/>
                </a:cubicBezTo>
                <a:cubicBezTo>
                  <a:pt x="812690" y="616746"/>
                  <a:pt x="823623" y="618568"/>
                  <a:pt x="823623" y="618568"/>
                </a:cubicBezTo>
                <a:cubicBezTo>
                  <a:pt x="825445" y="616746"/>
                  <a:pt x="823623" y="616746"/>
                  <a:pt x="823623" y="614924"/>
                </a:cubicBezTo>
                <a:cubicBezTo>
                  <a:pt x="821801" y="614924"/>
                  <a:pt x="821801" y="614924"/>
                  <a:pt x="819979" y="614924"/>
                </a:cubicBezTo>
                <a:cubicBezTo>
                  <a:pt x="821801" y="614924"/>
                  <a:pt x="821801" y="613103"/>
                  <a:pt x="823623" y="611280"/>
                </a:cubicBezTo>
                <a:cubicBezTo>
                  <a:pt x="823623" y="609459"/>
                  <a:pt x="821801" y="607635"/>
                  <a:pt x="821801" y="605813"/>
                </a:cubicBezTo>
                <a:close/>
                <a:moveTo>
                  <a:pt x="512031" y="605813"/>
                </a:moveTo>
                <a:cubicBezTo>
                  <a:pt x="510209" y="607635"/>
                  <a:pt x="508387" y="607635"/>
                  <a:pt x="508387" y="609459"/>
                </a:cubicBezTo>
                <a:cubicBezTo>
                  <a:pt x="510209" y="613103"/>
                  <a:pt x="512031" y="613103"/>
                  <a:pt x="513853" y="613103"/>
                </a:cubicBezTo>
                <a:cubicBezTo>
                  <a:pt x="513853" y="611280"/>
                  <a:pt x="513853" y="611280"/>
                  <a:pt x="515676" y="609459"/>
                </a:cubicBezTo>
                <a:cubicBezTo>
                  <a:pt x="513853" y="609459"/>
                  <a:pt x="513853" y="607635"/>
                  <a:pt x="512031" y="605813"/>
                </a:cubicBezTo>
                <a:close/>
                <a:moveTo>
                  <a:pt x="386301" y="605813"/>
                </a:moveTo>
                <a:cubicBezTo>
                  <a:pt x="382657" y="605813"/>
                  <a:pt x="382657" y="611280"/>
                  <a:pt x="388123" y="609459"/>
                </a:cubicBezTo>
                <a:cubicBezTo>
                  <a:pt x="388123" y="609459"/>
                  <a:pt x="384479" y="605813"/>
                  <a:pt x="386301" y="605813"/>
                </a:cubicBezTo>
                <a:close/>
                <a:moveTo>
                  <a:pt x="1080549" y="604904"/>
                </a:moveTo>
                <a:lnTo>
                  <a:pt x="1080549" y="607635"/>
                </a:lnTo>
                <a:lnTo>
                  <a:pt x="1079288" y="606795"/>
                </a:lnTo>
                <a:close/>
                <a:moveTo>
                  <a:pt x="2762416" y="604903"/>
                </a:moveTo>
                <a:lnTo>
                  <a:pt x="2762645" y="605246"/>
                </a:lnTo>
                <a:lnTo>
                  <a:pt x="2762717" y="605981"/>
                </a:lnTo>
                <a:lnTo>
                  <a:pt x="2762416" y="605813"/>
                </a:lnTo>
                <a:close/>
                <a:moveTo>
                  <a:pt x="1191342" y="604724"/>
                </a:moveTo>
                <a:lnTo>
                  <a:pt x="1189504" y="617784"/>
                </a:lnTo>
                <a:lnTo>
                  <a:pt x="1189241" y="618505"/>
                </a:lnTo>
                <a:lnTo>
                  <a:pt x="1188264" y="619375"/>
                </a:lnTo>
                <a:lnTo>
                  <a:pt x="1191019" y="605814"/>
                </a:lnTo>
                <a:close/>
                <a:moveTo>
                  <a:pt x="3471242" y="603991"/>
                </a:moveTo>
                <a:cubicBezTo>
                  <a:pt x="3471242" y="605813"/>
                  <a:pt x="3473064" y="613103"/>
                  <a:pt x="3463953" y="611280"/>
                </a:cubicBezTo>
                <a:cubicBezTo>
                  <a:pt x="3465775" y="613103"/>
                  <a:pt x="3462131" y="618568"/>
                  <a:pt x="3465775" y="618568"/>
                </a:cubicBezTo>
                <a:cubicBezTo>
                  <a:pt x="3471242" y="616746"/>
                  <a:pt x="3467597" y="609459"/>
                  <a:pt x="3474886" y="613103"/>
                </a:cubicBezTo>
                <a:cubicBezTo>
                  <a:pt x="3474886" y="607635"/>
                  <a:pt x="3473064" y="605813"/>
                  <a:pt x="3471242" y="603991"/>
                </a:cubicBezTo>
                <a:close/>
                <a:moveTo>
                  <a:pt x="3369200" y="603991"/>
                </a:moveTo>
                <a:cubicBezTo>
                  <a:pt x="3365556" y="603991"/>
                  <a:pt x="3361911" y="605813"/>
                  <a:pt x="3361911" y="609459"/>
                </a:cubicBezTo>
                <a:cubicBezTo>
                  <a:pt x="3365556" y="613103"/>
                  <a:pt x="3367378" y="605813"/>
                  <a:pt x="3367378" y="609459"/>
                </a:cubicBezTo>
                <a:cubicBezTo>
                  <a:pt x="3369200" y="607635"/>
                  <a:pt x="3369200" y="605813"/>
                  <a:pt x="3369200" y="603991"/>
                </a:cubicBezTo>
                <a:close/>
                <a:moveTo>
                  <a:pt x="2975610" y="603991"/>
                </a:moveTo>
                <a:cubicBezTo>
                  <a:pt x="2964677" y="603991"/>
                  <a:pt x="2968322" y="609459"/>
                  <a:pt x="2964677" y="616746"/>
                </a:cubicBezTo>
                <a:cubicBezTo>
                  <a:pt x="2967411" y="614014"/>
                  <a:pt x="2971966" y="614469"/>
                  <a:pt x="2975383" y="614241"/>
                </a:cubicBezTo>
                <a:lnTo>
                  <a:pt x="2978687" y="608606"/>
                </a:lnTo>
                <a:lnTo>
                  <a:pt x="2979255" y="609459"/>
                </a:lnTo>
                <a:cubicBezTo>
                  <a:pt x="2979255" y="607635"/>
                  <a:pt x="2979255" y="607635"/>
                  <a:pt x="2979255" y="607635"/>
                </a:cubicBezTo>
                <a:lnTo>
                  <a:pt x="2978687" y="608606"/>
                </a:lnTo>
                <a:close/>
                <a:moveTo>
                  <a:pt x="2944634" y="603991"/>
                </a:moveTo>
                <a:cubicBezTo>
                  <a:pt x="2946456" y="611280"/>
                  <a:pt x="2951922" y="603991"/>
                  <a:pt x="2957389" y="609459"/>
                </a:cubicBezTo>
                <a:cubicBezTo>
                  <a:pt x="2959211" y="602169"/>
                  <a:pt x="2950100" y="605813"/>
                  <a:pt x="2944634" y="603991"/>
                </a:cubicBezTo>
                <a:close/>
                <a:moveTo>
                  <a:pt x="668738" y="603991"/>
                </a:moveTo>
                <a:cubicBezTo>
                  <a:pt x="666916" y="607635"/>
                  <a:pt x="666916" y="611280"/>
                  <a:pt x="670560" y="616746"/>
                </a:cubicBezTo>
                <a:cubicBezTo>
                  <a:pt x="670560" y="614924"/>
                  <a:pt x="672383" y="613103"/>
                  <a:pt x="674205" y="613103"/>
                </a:cubicBezTo>
                <a:cubicBezTo>
                  <a:pt x="672383" y="609459"/>
                  <a:pt x="670560" y="607635"/>
                  <a:pt x="668738" y="603991"/>
                </a:cubicBezTo>
                <a:close/>
                <a:moveTo>
                  <a:pt x="461010" y="603991"/>
                </a:moveTo>
                <a:cubicBezTo>
                  <a:pt x="461010" y="609459"/>
                  <a:pt x="462832" y="611280"/>
                  <a:pt x="466478" y="613103"/>
                </a:cubicBezTo>
                <a:cubicBezTo>
                  <a:pt x="473766" y="607635"/>
                  <a:pt x="462832" y="607635"/>
                  <a:pt x="461010" y="603991"/>
                </a:cubicBezTo>
                <a:close/>
                <a:moveTo>
                  <a:pt x="340747" y="603991"/>
                </a:moveTo>
                <a:cubicBezTo>
                  <a:pt x="340747" y="605813"/>
                  <a:pt x="344391" y="609459"/>
                  <a:pt x="346213" y="611280"/>
                </a:cubicBezTo>
                <a:cubicBezTo>
                  <a:pt x="349858" y="611280"/>
                  <a:pt x="344391" y="609459"/>
                  <a:pt x="344391" y="607635"/>
                </a:cubicBezTo>
                <a:cubicBezTo>
                  <a:pt x="346213" y="605813"/>
                  <a:pt x="346213" y="609459"/>
                  <a:pt x="348037" y="611280"/>
                </a:cubicBezTo>
                <a:cubicBezTo>
                  <a:pt x="348037" y="611280"/>
                  <a:pt x="346213" y="607635"/>
                  <a:pt x="346213" y="605813"/>
                </a:cubicBezTo>
                <a:cubicBezTo>
                  <a:pt x="344391" y="605813"/>
                  <a:pt x="342569" y="603991"/>
                  <a:pt x="340747" y="603991"/>
                </a:cubicBezTo>
                <a:close/>
                <a:moveTo>
                  <a:pt x="304303" y="603991"/>
                </a:moveTo>
                <a:cubicBezTo>
                  <a:pt x="302481" y="605813"/>
                  <a:pt x="306126" y="609459"/>
                  <a:pt x="307948" y="611280"/>
                </a:cubicBezTo>
                <a:cubicBezTo>
                  <a:pt x="311592" y="609459"/>
                  <a:pt x="309771" y="607635"/>
                  <a:pt x="309771" y="605813"/>
                </a:cubicBezTo>
                <a:cubicBezTo>
                  <a:pt x="306126" y="607635"/>
                  <a:pt x="306126" y="603991"/>
                  <a:pt x="304303" y="603991"/>
                </a:cubicBezTo>
                <a:close/>
                <a:moveTo>
                  <a:pt x="2997072" y="603876"/>
                </a:moveTo>
                <a:lnTo>
                  <a:pt x="2997477" y="603991"/>
                </a:lnTo>
                <a:lnTo>
                  <a:pt x="2997477" y="604304"/>
                </a:lnTo>
                <a:close/>
                <a:moveTo>
                  <a:pt x="2856942" y="603166"/>
                </a:moveTo>
                <a:cubicBezTo>
                  <a:pt x="2852159" y="603080"/>
                  <a:pt x="2849426" y="614014"/>
                  <a:pt x="2842592" y="616746"/>
                </a:cubicBezTo>
                <a:cubicBezTo>
                  <a:pt x="2842592" y="631324"/>
                  <a:pt x="2851703" y="644079"/>
                  <a:pt x="2866280" y="642257"/>
                </a:cubicBezTo>
                <a:cubicBezTo>
                  <a:pt x="2864458" y="634968"/>
                  <a:pt x="2860813" y="625857"/>
                  <a:pt x="2862636" y="618568"/>
                </a:cubicBezTo>
                <a:cubicBezTo>
                  <a:pt x="2858991" y="620391"/>
                  <a:pt x="2858991" y="622213"/>
                  <a:pt x="2860813" y="624035"/>
                </a:cubicBezTo>
                <a:cubicBezTo>
                  <a:pt x="2855347" y="620391"/>
                  <a:pt x="2857169" y="614924"/>
                  <a:pt x="2860813" y="613103"/>
                </a:cubicBezTo>
                <a:cubicBezTo>
                  <a:pt x="2857169" y="611280"/>
                  <a:pt x="2855347" y="607635"/>
                  <a:pt x="2851703" y="609459"/>
                </a:cubicBezTo>
                <a:cubicBezTo>
                  <a:pt x="2853525" y="603991"/>
                  <a:pt x="2858991" y="607635"/>
                  <a:pt x="2862636" y="607635"/>
                </a:cubicBezTo>
                <a:cubicBezTo>
                  <a:pt x="2860358" y="604447"/>
                  <a:pt x="2858536" y="603194"/>
                  <a:pt x="2856942" y="603166"/>
                </a:cubicBezTo>
                <a:close/>
                <a:moveTo>
                  <a:pt x="3516796" y="602169"/>
                </a:moveTo>
                <a:cubicBezTo>
                  <a:pt x="3514974" y="607635"/>
                  <a:pt x="3516796" y="611280"/>
                  <a:pt x="3518618" y="616746"/>
                </a:cubicBezTo>
                <a:cubicBezTo>
                  <a:pt x="3522263" y="616746"/>
                  <a:pt x="3524085" y="614924"/>
                  <a:pt x="3527729" y="614924"/>
                </a:cubicBezTo>
                <a:cubicBezTo>
                  <a:pt x="3529551" y="605813"/>
                  <a:pt x="3524085" y="603991"/>
                  <a:pt x="3516796" y="602169"/>
                </a:cubicBezTo>
                <a:close/>
                <a:moveTo>
                  <a:pt x="3283558" y="602169"/>
                </a:moveTo>
                <a:cubicBezTo>
                  <a:pt x="3276269" y="602169"/>
                  <a:pt x="3276269" y="613103"/>
                  <a:pt x="3283558" y="611280"/>
                </a:cubicBezTo>
                <a:cubicBezTo>
                  <a:pt x="3279913" y="605813"/>
                  <a:pt x="3281736" y="605813"/>
                  <a:pt x="3283558" y="602169"/>
                </a:cubicBezTo>
                <a:close/>
                <a:moveTo>
                  <a:pt x="2961033" y="602169"/>
                </a:moveTo>
                <a:cubicBezTo>
                  <a:pt x="2955566" y="600347"/>
                  <a:pt x="2959211" y="607635"/>
                  <a:pt x="2961033" y="609459"/>
                </a:cubicBezTo>
                <a:cubicBezTo>
                  <a:pt x="2966500" y="609459"/>
                  <a:pt x="2959211" y="605813"/>
                  <a:pt x="2961033" y="602169"/>
                </a:cubicBezTo>
                <a:close/>
                <a:moveTo>
                  <a:pt x="1415829" y="602169"/>
                </a:moveTo>
                <a:cubicBezTo>
                  <a:pt x="1415829" y="602169"/>
                  <a:pt x="1414007" y="603991"/>
                  <a:pt x="1412185" y="605813"/>
                </a:cubicBezTo>
                <a:cubicBezTo>
                  <a:pt x="1414007" y="605813"/>
                  <a:pt x="1419474" y="605813"/>
                  <a:pt x="1415829" y="602169"/>
                </a:cubicBezTo>
                <a:close/>
                <a:moveTo>
                  <a:pt x="1299210" y="602169"/>
                </a:moveTo>
                <a:cubicBezTo>
                  <a:pt x="1295566" y="602169"/>
                  <a:pt x="1293744" y="604903"/>
                  <a:pt x="1293062" y="608091"/>
                </a:cubicBezTo>
                <a:lnTo>
                  <a:pt x="1293077" y="608302"/>
                </a:lnTo>
                <a:lnTo>
                  <a:pt x="1288277" y="613103"/>
                </a:lnTo>
                <a:cubicBezTo>
                  <a:pt x="1290100" y="613103"/>
                  <a:pt x="1291922" y="613103"/>
                  <a:pt x="1291922" y="613103"/>
                </a:cubicBezTo>
                <a:lnTo>
                  <a:pt x="1293274" y="610786"/>
                </a:lnTo>
                <a:lnTo>
                  <a:pt x="1293744" y="616746"/>
                </a:lnTo>
                <a:cubicBezTo>
                  <a:pt x="1299210" y="613103"/>
                  <a:pt x="1297388" y="607635"/>
                  <a:pt x="1299210" y="602169"/>
                </a:cubicBezTo>
                <a:close/>
                <a:moveTo>
                  <a:pt x="1275522" y="602169"/>
                </a:moveTo>
                <a:cubicBezTo>
                  <a:pt x="1277344" y="603991"/>
                  <a:pt x="1280989" y="603991"/>
                  <a:pt x="1277344" y="607635"/>
                </a:cubicBezTo>
                <a:cubicBezTo>
                  <a:pt x="1280989" y="609459"/>
                  <a:pt x="1284633" y="614924"/>
                  <a:pt x="1280989" y="614924"/>
                </a:cubicBezTo>
                <a:cubicBezTo>
                  <a:pt x="1282811" y="616746"/>
                  <a:pt x="1284633" y="613103"/>
                  <a:pt x="1286455" y="611280"/>
                </a:cubicBezTo>
                <a:cubicBezTo>
                  <a:pt x="1284633" y="607635"/>
                  <a:pt x="1282811" y="609459"/>
                  <a:pt x="1280989" y="605813"/>
                </a:cubicBezTo>
                <a:cubicBezTo>
                  <a:pt x="1282811" y="605813"/>
                  <a:pt x="1284633" y="605813"/>
                  <a:pt x="1286455" y="605813"/>
                </a:cubicBezTo>
                <a:cubicBezTo>
                  <a:pt x="1282811" y="603991"/>
                  <a:pt x="1279166" y="602169"/>
                  <a:pt x="1275522" y="602169"/>
                </a:cubicBezTo>
                <a:close/>
                <a:moveTo>
                  <a:pt x="1080549" y="602169"/>
                </a:moveTo>
                <a:cubicBezTo>
                  <a:pt x="1080549" y="602169"/>
                  <a:pt x="1082373" y="602169"/>
                  <a:pt x="1082373" y="602169"/>
                </a:cubicBezTo>
                <a:lnTo>
                  <a:pt x="1080549" y="604904"/>
                </a:lnTo>
                <a:close/>
                <a:moveTo>
                  <a:pt x="916555" y="602169"/>
                </a:moveTo>
                <a:cubicBezTo>
                  <a:pt x="905621" y="609459"/>
                  <a:pt x="909265" y="611280"/>
                  <a:pt x="905621" y="620391"/>
                </a:cubicBezTo>
                <a:cubicBezTo>
                  <a:pt x="914732" y="616746"/>
                  <a:pt x="922020" y="607635"/>
                  <a:pt x="916555" y="602169"/>
                </a:cubicBezTo>
                <a:close/>
                <a:moveTo>
                  <a:pt x="530253" y="602169"/>
                </a:moveTo>
                <a:cubicBezTo>
                  <a:pt x="528431" y="603991"/>
                  <a:pt x="526609" y="609459"/>
                  <a:pt x="528431" y="613103"/>
                </a:cubicBezTo>
                <a:cubicBezTo>
                  <a:pt x="530253" y="613103"/>
                  <a:pt x="532075" y="624035"/>
                  <a:pt x="535719" y="616746"/>
                </a:cubicBezTo>
                <a:cubicBezTo>
                  <a:pt x="532075" y="613103"/>
                  <a:pt x="535719" y="611280"/>
                  <a:pt x="533897" y="609459"/>
                </a:cubicBezTo>
                <a:cubicBezTo>
                  <a:pt x="532075" y="611280"/>
                  <a:pt x="530253" y="611280"/>
                  <a:pt x="528431" y="613103"/>
                </a:cubicBezTo>
                <a:cubicBezTo>
                  <a:pt x="530253" y="613103"/>
                  <a:pt x="532075" y="609459"/>
                  <a:pt x="530253" y="605813"/>
                </a:cubicBezTo>
                <a:cubicBezTo>
                  <a:pt x="532075" y="607635"/>
                  <a:pt x="532075" y="607635"/>
                  <a:pt x="532075" y="609459"/>
                </a:cubicBezTo>
                <a:cubicBezTo>
                  <a:pt x="533897" y="609459"/>
                  <a:pt x="533897" y="602169"/>
                  <a:pt x="530253" y="602169"/>
                </a:cubicBezTo>
                <a:close/>
                <a:moveTo>
                  <a:pt x="457367" y="602169"/>
                </a:moveTo>
                <a:cubicBezTo>
                  <a:pt x="453722" y="603991"/>
                  <a:pt x="459188" y="605813"/>
                  <a:pt x="459188" y="607635"/>
                </a:cubicBezTo>
                <a:cubicBezTo>
                  <a:pt x="459188" y="605813"/>
                  <a:pt x="459188" y="603991"/>
                  <a:pt x="457367" y="602169"/>
                </a:cubicBezTo>
                <a:close/>
                <a:moveTo>
                  <a:pt x="400879" y="602169"/>
                </a:moveTo>
                <a:cubicBezTo>
                  <a:pt x="400879" y="605813"/>
                  <a:pt x="400879" y="609459"/>
                  <a:pt x="399056" y="611280"/>
                </a:cubicBezTo>
                <a:lnTo>
                  <a:pt x="399707" y="613038"/>
                </a:lnTo>
                <a:lnTo>
                  <a:pt x="398061" y="615506"/>
                </a:lnTo>
                <a:lnTo>
                  <a:pt x="396893" y="612724"/>
                </a:lnTo>
                <a:lnTo>
                  <a:pt x="396647" y="609826"/>
                </a:lnTo>
                <a:close/>
                <a:moveTo>
                  <a:pt x="272054" y="601598"/>
                </a:moveTo>
                <a:lnTo>
                  <a:pt x="278898" y="609878"/>
                </a:lnTo>
                <a:lnTo>
                  <a:pt x="280615" y="616746"/>
                </a:lnTo>
                <a:close/>
                <a:moveTo>
                  <a:pt x="3303602" y="600347"/>
                </a:moveTo>
                <a:cubicBezTo>
                  <a:pt x="3299957" y="602169"/>
                  <a:pt x="3296313" y="602169"/>
                  <a:pt x="3296313" y="605813"/>
                </a:cubicBezTo>
                <a:cubicBezTo>
                  <a:pt x="3299957" y="605813"/>
                  <a:pt x="3301780" y="605813"/>
                  <a:pt x="3303602" y="603991"/>
                </a:cubicBezTo>
                <a:cubicBezTo>
                  <a:pt x="3310890" y="607635"/>
                  <a:pt x="3320001" y="607635"/>
                  <a:pt x="3329112" y="607635"/>
                </a:cubicBezTo>
                <a:cubicBezTo>
                  <a:pt x="3329112" y="607635"/>
                  <a:pt x="3329112" y="605813"/>
                  <a:pt x="3329112" y="603991"/>
                </a:cubicBezTo>
                <a:cubicBezTo>
                  <a:pt x="3318179" y="605813"/>
                  <a:pt x="3312713" y="602169"/>
                  <a:pt x="3303602" y="603991"/>
                </a:cubicBezTo>
                <a:cubicBezTo>
                  <a:pt x="3303602" y="603991"/>
                  <a:pt x="3303602" y="602169"/>
                  <a:pt x="3303602" y="600347"/>
                </a:cubicBezTo>
                <a:close/>
                <a:moveTo>
                  <a:pt x="2534644" y="600347"/>
                </a:moveTo>
                <a:cubicBezTo>
                  <a:pt x="2529178" y="602169"/>
                  <a:pt x="2531000" y="613103"/>
                  <a:pt x="2529178" y="618568"/>
                </a:cubicBezTo>
                <a:cubicBezTo>
                  <a:pt x="2532822" y="618568"/>
                  <a:pt x="2529178" y="607635"/>
                  <a:pt x="2534644" y="607635"/>
                </a:cubicBezTo>
                <a:cubicBezTo>
                  <a:pt x="2534644" y="605813"/>
                  <a:pt x="2532822" y="602169"/>
                  <a:pt x="2534644" y="600347"/>
                </a:cubicBezTo>
                <a:close/>
                <a:moveTo>
                  <a:pt x="1173481" y="600347"/>
                </a:moveTo>
                <a:cubicBezTo>
                  <a:pt x="1169836" y="603991"/>
                  <a:pt x="1171658" y="605813"/>
                  <a:pt x="1168014" y="607635"/>
                </a:cubicBezTo>
                <a:cubicBezTo>
                  <a:pt x="1173481" y="609459"/>
                  <a:pt x="1175303" y="603991"/>
                  <a:pt x="1173481" y="600347"/>
                </a:cubicBezTo>
                <a:close/>
                <a:moveTo>
                  <a:pt x="714293" y="600347"/>
                </a:moveTo>
                <a:cubicBezTo>
                  <a:pt x="723404" y="605813"/>
                  <a:pt x="728870" y="618568"/>
                  <a:pt x="739803" y="622213"/>
                </a:cubicBezTo>
                <a:cubicBezTo>
                  <a:pt x="734336" y="613103"/>
                  <a:pt x="728870" y="600347"/>
                  <a:pt x="714293" y="600347"/>
                </a:cubicBezTo>
                <a:close/>
                <a:moveTo>
                  <a:pt x="686960" y="600347"/>
                </a:moveTo>
                <a:cubicBezTo>
                  <a:pt x="683316" y="607635"/>
                  <a:pt x="672383" y="613103"/>
                  <a:pt x="683316" y="613103"/>
                </a:cubicBezTo>
                <a:cubicBezTo>
                  <a:pt x="686960" y="613103"/>
                  <a:pt x="679671" y="603991"/>
                  <a:pt x="688782" y="603991"/>
                </a:cubicBezTo>
                <a:cubicBezTo>
                  <a:pt x="681493" y="611280"/>
                  <a:pt x="686960" y="625857"/>
                  <a:pt x="696071" y="622213"/>
                </a:cubicBezTo>
                <a:cubicBezTo>
                  <a:pt x="693337" y="618569"/>
                  <a:pt x="692882" y="614924"/>
                  <a:pt x="692654" y="611280"/>
                </a:cubicBezTo>
                <a:lnTo>
                  <a:pt x="690827" y="601537"/>
                </a:lnTo>
                <a:lnTo>
                  <a:pt x="691255" y="601669"/>
                </a:lnTo>
                <a:lnTo>
                  <a:pt x="698348" y="616063"/>
                </a:lnTo>
                <a:cubicBezTo>
                  <a:pt x="701537" y="620846"/>
                  <a:pt x="705182" y="623124"/>
                  <a:pt x="708826" y="616746"/>
                </a:cubicBezTo>
                <a:cubicBezTo>
                  <a:pt x="708826" y="614924"/>
                  <a:pt x="694249" y="614924"/>
                  <a:pt x="694249" y="605813"/>
                </a:cubicBezTo>
                <a:cubicBezTo>
                  <a:pt x="699715" y="609459"/>
                  <a:pt x="701537" y="613103"/>
                  <a:pt x="707004" y="614924"/>
                </a:cubicBezTo>
                <a:cubicBezTo>
                  <a:pt x="708826" y="609458"/>
                  <a:pt x="706094" y="606725"/>
                  <a:pt x="701765" y="604903"/>
                </a:cubicBezTo>
                <a:lnTo>
                  <a:pt x="691255" y="601669"/>
                </a:lnTo>
                <a:lnTo>
                  <a:pt x="690604" y="600347"/>
                </a:lnTo>
                <a:lnTo>
                  <a:pt x="690827" y="601537"/>
                </a:lnTo>
                <a:close/>
                <a:moveTo>
                  <a:pt x="683316" y="600347"/>
                </a:moveTo>
                <a:cubicBezTo>
                  <a:pt x="679671" y="598524"/>
                  <a:pt x="679671" y="605813"/>
                  <a:pt x="677849" y="607635"/>
                </a:cubicBezTo>
                <a:cubicBezTo>
                  <a:pt x="681493" y="605813"/>
                  <a:pt x="679671" y="602169"/>
                  <a:pt x="683316" y="600347"/>
                </a:cubicBezTo>
                <a:close/>
                <a:moveTo>
                  <a:pt x="466478" y="600347"/>
                </a:moveTo>
                <a:cubicBezTo>
                  <a:pt x="464655" y="603991"/>
                  <a:pt x="471943" y="609459"/>
                  <a:pt x="475589" y="609459"/>
                </a:cubicBezTo>
                <a:cubicBezTo>
                  <a:pt x="482876" y="605813"/>
                  <a:pt x="470121" y="603991"/>
                  <a:pt x="473766" y="602169"/>
                </a:cubicBezTo>
                <a:cubicBezTo>
                  <a:pt x="471943" y="600347"/>
                  <a:pt x="468299" y="600347"/>
                  <a:pt x="466478" y="600347"/>
                </a:cubicBezTo>
                <a:close/>
                <a:moveTo>
                  <a:pt x="211372" y="600347"/>
                </a:moveTo>
                <a:lnTo>
                  <a:pt x="219379" y="613158"/>
                </a:lnTo>
                <a:lnTo>
                  <a:pt x="218675" y="616680"/>
                </a:lnTo>
                <a:lnTo>
                  <a:pt x="216839" y="612875"/>
                </a:lnTo>
                <a:cubicBezTo>
                  <a:pt x="214105" y="609003"/>
                  <a:pt x="210461" y="604903"/>
                  <a:pt x="211372" y="600347"/>
                </a:cubicBezTo>
                <a:close/>
                <a:moveTo>
                  <a:pt x="173107" y="600347"/>
                </a:moveTo>
                <a:cubicBezTo>
                  <a:pt x="174018" y="603080"/>
                  <a:pt x="175840" y="606269"/>
                  <a:pt x="177207" y="609230"/>
                </a:cubicBezTo>
                <a:lnTo>
                  <a:pt x="177340" y="609961"/>
                </a:lnTo>
                <a:lnTo>
                  <a:pt x="174254" y="606659"/>
                </a:lnTo>
                <a:close/>
                <a:moveTo>
                  <a:pt x="3355306" y="599664"/>
                </a:moveTo>
                <a:cubicBezTo>
                  <a:pt x="3353256" y="600803"/>
                  <a:pt x="3351889" y="603080"/>
                  <a:pt x="3352800" y="605813"/>
                </a:cubicBezTo>
                <a:cubicBezTo>
                  <a:pt x="3356445" y="607635"/>
                  <a:pt x="3363734" y="602169"/>
                  <a:pt x="3361911" y="600347"/>
                </a:cubicBezTo>
                <a:cubicBezTo>
                  <a:pt x="3360089" y="598525"/>
                  <a:pt x="3357356" y="598525"/>
                  <a:pt x="3355306" y="599664"/>
                </a:cubicBezTo>
                <a:close/>
                <a:moveTo>
                  <a:pt x="1251834" y="598524"/>
                </a:moveTo>
                <a:lnTo>
                  <a:pt x="1253656" y="602169"/>
                </a:lnTo>
                <a:cubicBezTo>
                  <a:pt x="1251834" y="603991"/>
                  <a:pt x="1253656" y="600347"/>
                  <a:pt x="1251834" y="600347"/>
                </a:cubicBezTo>
                <a:cubicBezTo>
                  <a:pt x="1250012" y="602169"/>
                  <a:pt x="1246367" y="603991"/>
                  <a:pt x="1248189" y="605813"/>
                </a:cubicBezTo>
                <a:lnTo>
                  <a:pt x="1243316" y="608166"/>
                </a:lnTo>
                <a:lnTo>
                  <a:pt x="1248357" y="601665"/>
                </a:lnTo>
                <a:lnTo>
                  <a:pt x="1248189" y="602169"/>
                </a:lnTo>
                <a:close/>
                <a:moveTo>
                  <a:pt x="3165116" y="598524"/>
                </a:moveTo>
                <a:cubicBezTo>
                  <a:pt x="3161472" y="598524"/>
                  <a:pt x="3159650" y="609459"/>
                  <a:pt x="3165116" y="607635"/>
                </a:cubicBezTo>
                <a:cubicBezTo>
                  <a:pt x="3163294" y="603991"/>
                  <a:pt x="3165116" y="602169"/>
                  <a:pt x="3165116" y="598524"/>
                </a:cubicBezTo>
                <a:close/>
                <a:moveTo>
                  <a:pt x="2421669" y="598524"/>
                </a:moveTo>
                <a:cubicBezTo>
                  <a:pt x="2418025" y="603991"/>
                  <a:pt x="2418025" y="596702"/>
                  <a:pt x="2412559" y="600347"/>
                </a:cubicBezTo>
                <a:cubicBezTo>
                  <a:pt x="2412559" y="602169"/>
                  <a:pt x="2410737" y="605813"/>
                  <a:pt x="2410737" y="609459"/>
                </a:cubicBezTo>
                <a:cubicBezTo>
                  <a:pt x="2416203" y="605813"/>
                  <a:pt x="2419847" y="607635"/>
                  <a:pt x="2421669" y="598524"/>
                </a:cubicBezTo>
                <a:close/>
                <a:moveTo>
                  <a:pt x="2374293" y="598524"/>
                </a:moveTo>
                <a:cubicBezTo>
                  <a:pt x="2370649" y="598524"/>
                  <a:pt x="2372471" y="602169"/>
                  <a:pt x="2372471" y="605813"/>
                </a:cubicBezTo>
                <a:cubicBezTo>
                  <a:pt x="2374293" y="603991"/>
                  <a:pt x="2374293" y="603991"/>
                  <a:pt x="2376115" y="603991"/>
                </a:cubicBezTo>
                <a:cubicBezTo>
                  <a:pt x="2376115" y="602169"/>
                  <a:pt x="2374293" y="600347"/>
                  <a:pt x="2374293" y="598524"/>
                </a:cubicBezTo>
                <a:close/>
                <a:moveTo>
                  <a:pt x="1240901" y="598524"/>
                </a:moveTo>
                <a:cubicBezTo>
                  <a:pt x="1241812" y="600347"/>
                  <a:pt x="1240901" y="602169"/>
                  <a:pt x="1240217" y="604219"/>
                </a:cubicBezTo>
                <a:lnTo>
                  <a:pt x="1240685" y="609054"/>
                </a:lnTo>
                <a:lnTo>
                  <a:pt x="1234345" y="609417"/>
                </a:lnTo>
                <a:lnTo>
                  <a:pt x="1236117" y="604903"/>
                </a:lnTo>
                <a:cubicBezTo>
                  <a:pt x="1236800" y="602625"/>
                  <a:pt x="1237256" y="601258"/>
                  <a:pt x="1237256" y="603991"/>
                </a:cubicBezTo>
                <a:cubicBezTo>
                  <a:pt x="1240901" y="603991"/>
                  <a:pt x="1239080" y="600347"/>
                  <a:pt x="1240901" y="598524"/>
                </a:cubicBezTo>
                <a:close/>
                <a:moveTo>
                  <a:pt x="734336" y="598524"/>
                </a:moveTo>
                <a:cubicBezTo>
                  <a:pt x="730692" y="600347"/>
                  <a:pt x="734336" y="603991"/>
                  <a:pt x="737981" y="602169"/>
                </a:cubicBezTo>
                <a:cubicBezTo>
                  <a:pt x="736159" y="600347"/>
                  <a:pt x="736159" y="600347"/>
                  <a:pt x="734336" y="598524"/>
                </a:cubicBezTo>
                <a:close/>
                <a:moveTo>
                  <a:pt x="493809" y="598524"/>
                </a:moveTo>
                <a:cubicBezTo>
                  <a:pt x="493809" y="603991"/>
                  <a:pt x="495632" y="603991"/>
                  <a:pt x="499276" y="603991"/>
                </a:cubicBezTo>
                <a:cubicBezTo>
                  <a:pt x="501098" y="600347"/>
                  <a:pt x="495632" y="602169"/>
                  <a:pt x="493809" y="598524"/>
                </a:cubicBezTo>
                <a:close/>
                <a:moveTo>
                  <a:pt x="315236" y="598524"/>
                </a:moveTo>
                <a:cubicBezTo>
                  <a:pt x="306126" y="607635"/>
                  <a:pt x="317059" y="618568"/>
                  <a:pt x="327993" y="622213"/>
                </a:cubicBezTo>
                <a:cubicBezTo>
                  <a:pt x="329814" y="624035"/>
                  <a:pt x="327993" y="620391"/>
                  <a:pt x="326169" y="620391"/>
                </a:cubicBezTo>
                <a:cubicBezTo>
                  <a:pt x="326169" y="618568"/>
                  <a:pt x="329814" y="618568"/>
                  <a:pt x="329814" y="616746"/>
                </a:cubicBezTo>
                <a:cubicBezTo>
                  <a:pt x="326169" y="609459"/>
                  <a:pt x="320703" y="603991"/>
                  <a:pt x="315236" y="598524"/>
                </a:cubicBezTo>
                <a:close/>
                <a:moveTo>
                  <a:pt x="222306" y="598524"/>
                </a:moveTo>
                <a:lnTo>
                  <a:pt x="223350" y="603459"/>
                </a:lnTo>
                <a:lnTo>
                  <a:pt x="220483" y="614924"/>
                </a:lnTo>
                <a:lnTo>
                  <a:pt x="219379" y="613158"/>
                </a:lnTo>
                <a:close/>
                <a:moveTo>
                  <a:pt x="1251834" y="598524"/>
                </a:moveTo>
                <a:lnTo>
                  <a:pt x="1251834" y="598524"/>
                </a:lnTo>
                <a:lnTo>
                  <a:pt x="1251834" y="598524"/>
                </a:lnTo>
                <a:close/>
                <a:moveTo>
                  <a:pt x="1249631" y="598044"/>
                </a:moveTo>
                <a:lnTo>
                  <a:pt x="1249556" y="600119"/>
                </a:lnTo>
                <a:lnTo>
                  <a:pt x="1248357" y="601665"/>
                </a:lnTo>
                <a:lnTo>
                  <a:pt x="1249556" y="598069"/>
                </a:lnTo>
                <a:close/>
                <a:moveTo>
                  <a:pt x="2092252" y="597574"/>
                </a:moveTo>
                <a:lnTo>
                  <a:pt x="2094851" y="599306"/>
                </a:lnTo>
                <a:lnTo>
                  <a:pt x="2093679" y="603991"/>
                </a:lnTo>
                <a:cubicBezTo>
                  <a:pt x="2092767" y="603080"/>
                  <a:pt x="2091856" y="600803"/>
                  <a:pt x="2091629" y="598753"/>
                </a:cubicBezTo>
                <a:close/>
                <a:moveTo>
                  <a:pt x="2363360" y="596702"/>
                </a:moveTo>
                <a:cubicBezTo>
                  <a:pt x="2350605" y="602169"/>
                  <a:pt x="2365182" y="603991"/>
                  <a:pt x="2361538" y="609459"/>
                </a:cubicBezTo>
                <a:cubicBezTo>
                  <a:pt x="2363360" y="609459"/>
                  <a:pt x="2365182" y="609459"/>
                  <a:pt x="2367004" y="609459"/>
                </a:cubicBezTo>
                <a:cubicBezTo>
                  <a:pt x="2368827" y="603991"/>
                  <a:pt x="2361538" y="605813"/>
                  <a:pt x="2363360" y="596702"/>
                </a:cubicBezTo>
                <a:close/>
                <a:moveTo>
                  <a:pt x="1424940" y="596702"/>
                </a:moveTo>
                <a:cubicBezTo>
                  <a:pt x="1426763" y="594880"/>
                  <a:pt x="1428585" y="600347"/>
                  <a:pt x="1430407" y="600347"/>
                </a:cubicBezTo>
                <a:cubicBezTo>
                  <a:pt x="1432229" y="598524"/>
                  <a:pt x="1428585" y="596702"/>
                  <a:pt x="1424940" y="596702"/>
                </a:cubicBezTo>
                <a:close/>
                <a:moveTo>
                  <a:pt x="1158903" y="596702"/>
                </a:moveTo>
                <a:cubicBezTo>
                  <a:pt x="1157081" y="598524"/>
                  <a:pt x="1149792" y="603991"/>
                  <a:pt x="1151614" y="607635"/>
                </a:cubicBezTo>
                <a:cubicBezTo>
                  <a:pt x="1155259" y="603991"/>
                  <a:pt x="1157081" y="600347"/>
                  <a:pt x="1158903" y="596702"/>
                </a:cubicBezTo>
                <a:close/>
                <a:moveTo>
                  <a:pt x="654161" y="596702"/>
                </a:moveTo>
                <a:cubicBezTo>
                  <a:pt x="650516" y="598524"/>
                  <a:pt x="655983" y="600347"/>
                  <a:pt x="655983" y="603991"/>
                </a:cubicBezTo>
                <a:cubicBezTo>
                  <a:pt x="655983" y="600347"/>
                  <a:pt x="655983" y="598524"/>
                  <a:pt x="654161" y="596702"/>
                </a:cubicBezTo>
                <a:close/>
                <a:moveTo>
                  <a:pt x="650516" y="596702"/>
                </a:moveTo>
                <a:cubicBezTo>
                  <a:pt x="643228" y="602169"/>
                  <a:pt x="646872" y="607635"/>
                  <a:pt x="646872" y="613103"/>
                </a:cubicBezTo>
                <a:cubicBezTo>
                  <a:pt x="652339" y="620391"/>
                  <a:pt x="648694" y="607635"/>
                  <a:pt x="652339" y="611280"/>
                </a:cubicBezTo>
                <a:cubicBezTo>
                  <a:pt x="657805" y="605813"/>
                  <a:pt x="652339" y="603991"/>
                  <a:pt x="650516" y="596702"/>
                </a:cubicBezTo>
                <a:close/>
                <a:moveTo>
                  <a:pt x="324347" y="596702"/>
                </a:moveTo>
                <a:lnTo>
                  <a:pt x="330624" y="611281"/>
                </a:lnTo>
                <a:lnTo>
                  <a:pt x="330497" y="611053"/>
                </a:lnTo>
                <a:cubicBezTo>
                  <a:pt x="329359" y="610369"/>
                  <a:pt x="327993" y="609458"/>
                  <a:pt x="327993" y="607635"/>
                </a:cubicBezTo>
                <a:cubicBezTo>
                  <a:pt x="327080" y="608547"/>
                  <a:pt x="327537" y="609458"/>
                  <a:pt x="328447" y="610369"/>
                </a:cubicBezTo>
                <a:lnTo>
                  <a:pt x="331275" y="612793"/>
                </a:lnTo>
                <a:lnTo>
                  <a:pt x="331408" y="613102"/>
                </a:lnTo>
                <a:cubicBezTo>
                  <a:pt x="334369" y="618569"/>
                  <a:pt x="338014" y="623124"/>
                  <a:pt x="342569" y="624035"/>
                </a:cubicBezTo>
                <a:cubicBezTo>
                  <a:pt x="338926" y="620391"/>
                  <a:pt x="335280" y="616746"/>
                  <a:pt x="333458" y="613103"/>
                </a:cubicBezTo>
                <a:cubicBezTo>
                  <a:pt x="335280" y="614924"/>
                  <a:pt x="338926" y="616746"/>
                  <a:pt x="340747" y="616746"/>
                </a:cubicBezTo>
                <a:cubicBezTo>
                  <a:pt x="340747" y="605813"/>
                  <a:pt x="329814" y="600347"/>
                  <a:pt x="324347" y="596702"/>
                </a:cubicBezTo>
                <a:close/>
                <a:moveTo>
                  <a:pt x="2758336" y="595164"/>
                </a:moveTo>
                <a:lnTo>
                  <a:pt x="2762075" y="599436"/>
                </a:lnTo>
                <a:lnTo>
                  <a:pt x="2762416" y="602914"/>
                </a:lnTo>
                <a:lnTo>
                  <a:pt x="2762416" y="604903"/>
                </a:lnTo>
                <a:lnTo>
                  <a:pt x="2761050" y="602853"/>
                </a:lnTo>
                <a:close/>
                <a:moveTo>
                  <a:pt x="3083119" y="594880"/>
                </a:moveTo>
                <a:cubicBezTo>
                  <a:pt x="3079474" y="594880"/>
                  <a:pt x="3081297" y="602169"/>
                  <a:pt x="3083119" y="602169"/>
                </a:cubicBezTo>
                <a:cubicBezTo>
                  <a:pt x="3086763" y="602169"/>
                  <a:pt x="3084941" y="594880"/>
                  <a:pt x="3083119" y="594880"/>
                </a:cubicBezTo>
                <a:close/>
                <a:moveTo>
                  <a:pt x="2512778" y="594880"/>
                </a:moveTo>
                <a:cubicBezTo>
                  <a:pt x="2512778" y="603991"/>
                  <a:pt x="2503667" y="609459"/>
                  <a:pt x="2509134" y="616746"/>
                </a:cubicBezTo>
                <a:cubicBezTo>
                  <a:pt x="2509134" y="614924"/>
                  <a:pt x="2510956" y="613103"/>
                  <a:pt x="2512778" y="614924"/>
                </a:cubicBezTo>
                <a:cubicBezTo>
                  <a:pt x="2512778" y="616746"/>
                  <a:pt x="2514600" y="618568"/>
                  <a:pt x="2514600" y="620391"/>
                </a:cubicBezTo>
                <a:cubicBezTo>
                  <a:pt x="2521889" y="618568"/>
                  <a:pt x="2523711" y="609459"/>
                  <a:pt x="2523711" y="602169"/>
                </a:cubicBezTo>
                <a:cubicBezTo>
                  <a:pt x="2521889" y="603991"/>
                  <a:pt x="2521889" y="602169"/>
                  <a:pt x="2520067" y="602169"/>
                </a:cubicBezTo>
                <a:cubicBezTo>
                  <a:pt x="2518245" y="603991"/>
                  <a:pt x="2521889" y="609459"/>
                  <a:pt x="2520067" y="611280"/>
                </a:cubicBezTo>
                <a:cubicBezTo>
                  <a:pt x="2521889" y="605813"/>
                  <a:pt x="2512778" y="603991"/>
                  <a:pt x="2514600" y="596702"/>
                </a:cubicBezTo>
                <a:cubicBezTo>
                  <a:pt x="2514600" y="596702"/>
                  <a:pt x="2512778" y="596702"/>
                  <a:pt x="2512778" y="594880"/>
                </a:cubicBezTo>
                <a:close/>
                <a:moveTo>
                  <a:pt x="2354249" y="594880"/>
                </a:moveTo>
                <a:cubicBezTo>
                  <a:pt x="2350605" y="594880"/>
                  <a:pt x="2350605" y="602169"/>
                  <a:pt x="2352427" y="603991"/>
                </a:cubicBezTo>
                <a:cubicBezTo>
                  <a:pt x="2354249" y="602169"/>
                  <a:pt x="2354249" y="598524"/>
                  <a:pt x="2354249" y="594880"/>
                </a:cubicBezTo>
                <a:close/>
                <a:moveTo>
                  <a:pt x="1969770" y="594880"/>
                </a:moveTo>
                <a:lnTo>
                  <a:pt x="1960732" y="607442"/>
                </a:lnTo>
                <a:lnTo>
                  <a:pt x="1963849" y="599208"/>
                </a:lnTo>
                <a:cubicBezTo>
                  <a:pt x="1965671" y="597614"/>
                  <a:pt x="1967948" y="596703"/>
                  <a:pt x="1969770" y="594880"/>
                </a:cubicBezTo>
                <a:close/>
                <a:moveTo>
                  <a:pt x="1255478" y="594880"/>
                </a:moveTo>
                <a:lnTo>
                  <a:pt x="1255604" y="595039"/>
                </a:lnTo>
                <a:lnTo>
                  <a:pt x="1255478" y="596702"/>
                </a:lnTo>
                <a:lnTo>
                  <a:pt x="1255170" y="596112"/>
                </a:lnTo>
                <a:close/>
                <a:moveTo>
                  <a:pt x="1124282" y="594880"/>
                </a:moveTo>
                <a:cubicBezTo>
                  <a:pt x="1118815" y="594880"/>
                  <a:pt x="1118815" y="602169"/>
                  <a:pt x="1116993" y="605813"/>
                </a:cubicBezTo>
                <a:cubicBezTo>
                  <a:pt x="1120637" y="603991"/>
                  <a:pt x="1122459" y="598524"/>
                  <a:pt x="1124282" y="594880"/>
                </a:cubicBezTo>
                <a:close/>
                <a:moveTo>
                  <a:pt x="767136" y="594880"/>
                </a:moveTo>
                <a:cubicBezTo>
                  <a:pt x="765313" y="596702"/>
                  <a:pt x="767136" y="598524"/>
                  <a:pt x="765313" y="598524"/>
                </a:cubicBezTo>
                <a:cubicBezTo>
                  <a:pt x="770781" y="600347"/>
                  <a:pt x="774424" y="602169"/>
                  <a:pt x="779892" y="603991"/>
                </a:cubicBezTo>
                <a:cubicBezTo>
                  <a:pt x="776246" y="600347"/>
                  <a:pt x="770781" y="600347"/>
                  <a:pt x="767136" y="594880"/>
                </a:cubicBezTo>
                <a:close/>
                <a:moveTo>
                  <a:pt x="743447" y="594880"/>
                </a:moveTo>
                <a:cubicBezTo>
                  <a:pt x="741626" y="600347"/>
                  <a:pt x="737981" y="605813"/>
                  <a:pt x="745269" y="611280"/>
                </a:cubicBezTo>
                <a:cubicBezTo>
                  <a:pt x="750737" y="605813"/>
                  <a:pt x="752558" y="596702"/>
                  <a:pt x="743447" y="594880"/>
                </a:cubicBezTo>
                <a:close/>
                <a:moveTo>
                  <a:pt x="668738" y="594880"/>
                </a:moveTo>
                <a:lnTo>
                  <a:pt x="670300" y="599566"/>
                </a:lnTo>
                <a:lnTo>
                  <a:pt x="668738" y="598524"/>
                </a:lnTo>
                <a:cubicBezTo>
                  <a:pt x="670560" y="600347"/>
                  <a:pt x="672383" y="602169"/>
                  <a:pt x="672383" y="605813"/>
                </a:cubicBezTo>
                <a:lnTo>
                  <a:pt x="670300" y="599566"/>
                </a:lnTo>
                <a:lnTo>
                  <a:pt x="674205" y="602169"/>
                </a:lnTo>
                <a:cubicBezTo>
                  <a:pt x="676027" y="600347"/>
                  <a:pt x="674205" y="598524"/>
                  <a:pt x="676027" y="598524"/>
                </a:cubicBezTo>
                <a:cubicBezTo>
                  <a:pt x="674205" y="596702"/>
                  <a:pt x="670560" y="596702"/>
                  <a:pt x="668738" y="594880"/>
                </a:cubicBezTo>
                <a:close/>
                <a:moveTo>
                  <a:pt x="444611" y="594880"/>
                </a:moveTo>
                <a:cubicBezTo>
                  <a:pt x="444611" y="602169"/>
                  <a:pt x="439145" y="613103"/>
                  <a:pt x="453722" y="614924"/>
                </a:cubicBezTo>
                <a:cubicBezTo>
                  <a:pt x="451899" y="611280"/>
                  <a:pt x="448256" y="603991"/>
                  <a:pt x="446433" y="600347"/>
                </a:cubicBezTo>
                <a:cubicBezTo>
                  <a:pt x="448256" y="602169"/>
                  <a:pt x="451899" y="602169"/>
                  <a:pt x="451899" y="603991"/>
                </a:cubicBezTo>
                <a:cubicBezTo>
                  <a:pt x="453722" y="600347"/>
                  <a:pt x="448256" y="594880"/>
                  <a:pt x="444611" y="594880"/>
                </a:cubicBezTo>
                <a:close/>
                <a:moveTo>
                  <a:pt x="364435" y="594880"/>
                </a:moveTo>
                <a:cubicBezTo>
                  <a:pt x="360791" y="594880"/>
                  <a:pt x="364435" y="600347"/>
                  <a:pt x="366257" y="598524"/>
                </a:cubicBezTo>
                <a:cubicBezTo>
                  <a:pt x="366257" y="596702"/>
                  <a:pt x="364435" y="596702"/>
                  <a:pt x="364435" y="594880"/>
                </a:cubicBezTo>
                <a:close/>
                <a:moveTo>
                  <a:pt x="307948" y="594880"/>
                </a:moveTo>
                <a:cubicBezTo>
                  <a:pt x="298837" y="603991"/>
                  <a:pt x="306126" y="603991"/>
                  <a:pt x="307948" y="603991"/>
                </a:cubicBezTo>
                <a:cubicBezTo>
                  <a:pt x="309771" y="602169"/>
                  <a:pt x="307948" y="598524"/>
                  <a:pt x="307948" y="594880"/>
                </a:cubicBezTo>
                <a:close/>
                <a:moveTo>
                  <a:pt x="1426104" y="594625"/>
                </a:moveTo>
                <a:lnTo>
                  <a:pt x="1426080" y="594880"/>
                </a:lnTo>
                <a:lnTo>
                  <a:pt x="1425269" y="596116"/>
                </a:lnTo>
                <a:close/>
                <a:moveTo>
                  <a:pt x="1404896" y="594197"/>
                </a:moveTo>
                <a:lnTo>
                  <a:pt x="1404896" y="605813"/>
                </a:lnTo>
                <a:lnTo>
                  <a:pt x="1403074" y="605813"/>
                </a:lnTo>
                <a:cubicBezTo>
                  <a:pt x="1406719" y="602169"/>
                  <a:pt x="1403074" y="600347"/>
                  <a:pt x="1403074" y="594880"/>
                </a:cubicBezTo>
                <a:close/>
                <a:moveTo>
                  <a:pt x="2343316" y="593058"/>
                </a:moveTo>
                <a:cubicBezTo>
                  <a:pt x="2341494" y="598524"/>
                  <a:pt x="2343316" y="603991"/>
                  <a:pt x="2345138" y="609459"/>
                </a:cubicBezTo>
                <a:cubicBezTo>
                  <a:pt x="2346960" y="607635"/>
                  <a:pt x="2348782" y="605813"/>
                  <a:pt x="2348782" y="600347"/>
                </a:cubicBezTo>
                <a:cubicBezTo>
                  <a:pt x="2343316" y="600347"/>
                  <a:pt x="2348782" y="594880"/>
                  <a:pt x="2343316" y="593058"/>
                </a:cubicBezTo>
                <a:close/>
                <a:moveTo>
                  <a:pt x="1306499" y="593058"/>
                </a:moveTo>
                <a:cubicBezTo>
                  <a:pt x="1304677" y="593058"/>
                  <a:pt x="1304677" y="598524"/>
                  <a:pt x="1304677" y="602169"/>
                </a:cubicBezTo>
                <a:cubicBezTo>
                  <a:pt x="1308321" y="600347"/>
                  <a:pt x="1304677" y="596702"/>
                  <a:pt x="1306499" y="593058"/>
                </a:cubicBezTo>
                <a:close/>
                <a:moveTo>
                  <a:pt x="758025" y="593058"/>
                </a:moveTo>
                <a:cubicBezTo>
                  <a:pt x="759848" y="593058"/>
                  <a:pt x="761670" y="594880"/>
                  <a:pt x="761670" y="596702"/>
                </a:cubicBezTo>
                <a:lnTo>
                  <a:pt x="757249" y="595772"/>
                </a:lnTo>
                <a:close/>
                <a:moveTo>
                  <a:pt x="614074" y="593058"/>
                </a:moveTo>
                <a:lnTo>
                  <a:pt x="608169" y="609459"/>
                </a:lnTo>
                <a:lnTo>
                  <a:pt x="606784" y="609459"/>
                </a:lnTo>
                <a:lnTo>
                  <a:pt x="607819" y="610430"/>
                </a:lnTo>
                <a:lnTo>
                  <a:pt x="605873" y="615835"/>
                </a:lnTo>
                <a:cubicBezTo>
                  <a:pt x="606329" y="624035"/>
                  <a:pt x="609517" y="632235"/>
                  <a:pt x="614074" y="638612"/>
                </a:cubicBezTo>
                <a:cubicBezTo>
                  <a:pt x="616806" y="633146"/>
                  <a:pt x="618628" y="625858"/>
                  <a:pt x="617945" y="619936"/>
                </a:cubicBezTo>
                <a:lnTo>
                  <a:pt x="607819" y="610430"/>
                </a:lnTo>
                <a:lnTo>
                  <a:pt x="608169" y="609459"/>
                </a:lnTo>
                <a:lnTo>
                  <a:pt x="617717" y="609459"/>
                </a:lnTo>
                <a:cubicBezTo>
                  <a:pt x="623185" y="603991"/>
                  <a:pt x="614074" y="598524"/>
                  <a:pt x="614074" y="593058"/>
                </a:cubicBezTo>
                <a:close/>
                <a:moveTo>
                  <a:pt x="3391066" y="591236"/>
                </a:moveTo>
                <a:cubicBezTo>
                  <a:pt x="3385600" y="589414"/>
                  <a:pt x="3387422" y="596702"/>
                  <a:pt x="3385600" y="598524"/>
                </a:cubicBezTo>
                <a:cubicBezTo>
                  <a:pt x="3383777" y="593058"/>
                  <a:pt x="3374666" y="594880"/>
                  <a:pt x="3372844" y="600347"/>
                </a:cubicBezTo>
                <a:cubicBezTo>
                  <a:pt x="3372844" y="603991"/>
                  <a:pt x="3374666" y="607635"/>
                  <a:pt x="3376489" y="611280"/>
                </a:cubicBezTo>
                <a:cubicBezTo>
                  <a:pt x="3385600" y="607635"/>
                  <a:pt x="3380133" y="620391"/>
                  <a:pt x="3387422" y="618568"/>
                </a:cubicBezTo>
                <a:cubicBezTo>
                  <a:pt x="3391066" y="616746"/>
                  <a:pt x="3391066" y="609459"/>
                  <a:pt x="3391066" y="603991"/>
                </a:cubicBezTo>
                <a:cubicBezTo>
                  <a:pt x="3392888" y="614924"/>
                  <a:pt x="3409288" y="634968"/>
                  <a:pt x="3398355" y="636790"/>
                </a:cubicBezTo>
                <a:cubicBezTo>
                  <a:pt x="3392888" y="636790"/>
                  <a:pt x="3400177" y="627679"/>
                  <a:pt x="3398355" y="625857"/>
                </a:cubicBezTo>
                <a:cubicBezTo>
                  <a:pt x="3394711" y="623124"/>
                  <a:pt x="3389244" y="619480"/>
                  <a:pt x="3384461" y="618569"/>
                </a:cubicBezTo>
                <a:lnTo>
                  <a:pt x="3378376" y="624229"/>
                </a:lnTo>
                <a:lnTo>
                  <a:pt x="3378311" y="624035"/>
                </a:lnTo>
                <a:cubicBezTo>
                  <a:pt x="3378311" y="625857"/>
                  <a:pt x="3376489" y="627679"/>
                  <a:pt x="3374666" y="627679"/>
                </a:cubicBezTo>
                <a:lnTo>
                  <a:pt x="3378376" y="624229"/>
                </a:lnTo>
                <a:lnTo>
                  <a:pt x="3380133" y="629501"/>
                </a:lnTo>
                <a:cubicBezTo>
                  <a:pt x="3381955" y="629501"/>
                  <a:pt x="3381955" y="629501"/>
                  <a:pt x="3383777" y="627679"/>
                </a:cubicBezTo>
                <a:cubicBezTo>
                  <a:pt x="3385600" y="634968"/>
                  <a:pt x="3376489" y="634968"/>
                  <a:pt x="3374666" y="642257"/>
                </a:cubicBezTo>
                <a:cubicBezTo>
                  <a:pt x="3376489" y="642257"/>
                  <a:pt x="3378311" y="640435"/>
                  <a:pt x="3378311" y="640435"/>
                </a:cubicBezTo>
                <a:cubicBezTo>
                  <a:pt x="3381955" y="647723"/>
                  <a:pt x="3392888" y="653190"/>
                  <a:pt x="3396532" y="649545"/>
                </a:cubicBezTo>
                <a:cubicBezTo>
                  <a:pt x="3403821" y="640435"/>
                  <a:pt x="3414754" y="647723"/>
                  <a:pt x="3416577" y="640435"/>
                </a:cubicBezTo>
                <a:cubicBezTo>
                  <a:pt x="3418399" y="636790"/>
                  <a:pt x="3414754" y="631324"/>
                  <a:pt x="3407466" y="634968"/>
                </a:cubicBezTo>
                <a:cubicBezTo>
                  <a:pt x="3409288" y="629501"/>
                  <a:pt x="3407466" y="622213"/>
                  <a:pt x="3411110" y="620391"/>
                </a:cubicBezTo>
                <a:cubicBezTo>
                  <a:pt x="3414754" y="618568"/>
                  <a:pt x="3416577" y="629501"/>
                  <a:pt x="3423865" y="627679"/>
                </a:cubicBezTo>
                <a:cubicBezTo>
                  <a:pt x="3412932" y="624035"/>
                  <a:pt x="3422043" y="613103"/>
                  <a:pt x="3429332" y="613103"/>
                </a:cubicBezTo>
                <a:cubicBezTo>
                  <a:pt x="3427510" y="609459"/>
                  <a:pt x="3425687" y="607635"/>
                  <a:pt x="3427510" y="603991"/>
                </a:cubicBezTo>
                <a:cubicBezTo>
                  <a:pt x="3422043" y="603991"/>
                  <a:pt x="3422043" y="603991"/>
                  <a:pt x="3423865" y="600347"/>
                </a:cubicBezTo>
                <a:cubicBezTo>
                  <a:pt x="3416577" y="603991"/>
                  <a:pt x="3423865" y="609459"/>
                  <a:pt x="3422043" y="611280"/>
                </a:cubicBezTo>
                <a:cubicBezTo>
                  <a:pt x="3416577" y="613103"/>
                  <a:pt x="3407466" y="620391"/>
                  <a:pt x="3405643" y="613103"/>
                </a:cubicBezTo>
                <a:cubicBezTo>
                  <a:pt x="3403821" y="611280"/>
                  <a:pt x="3407466" y="605813"/>
                  <a:pt x="3405643" y="602169"/>
                </a:cubicBezTo>
                <a:cubicBezTo>
                  <a:pt x="3409288" y="602169"/>
                  <a:pt x="3411110" y="602169"/>
                  <a:pt x="3412932" y="600347"/>
                </a:cubicBezTo>
                <a:cubicBezTo>
                  <a:pt x="3412932" y="596702"/>
                  <a:pt x="3412932" y="594880"/>
                  <a:pt x="3411110" y="593058"/>
                </a:cubicBezTo>
                <a:cubicBezTo>
                  <a:pt x="3403821" y="598524"/>
                  <a:pt x="3403821" y="589414"/>
                  <a:pt x="3396532" y="591236"/>
                </a:cubicBezTo>
                <a:cubicBezTo>
                  <a:pt x="3394710" y="591236"/>
                  <a:pt x="3398355" y="598524"/>
                  <a:pt x="3394710" y="598524"/>
                </a:cubicBezTo>
                <a:cubicBezTo>
                  <a:pt x="3391066" y="600347"/>
                  <a:pt x="3394710" y="594880"/>
                  <a:pt x="3392888" y="593058"/>
                </a:cubicBezTo>
                <a:cubicBezTo>
                  <a:pt x="3391066" y="594880"/>
                  <a:pt x="3391066" y="596702"/>
                  <a:pt x="3389244" y="596702"/>
                </a:cubicBezTo>
                <a:cubicBezTo>
                  <a:pt x="3385600" y="593058"/>
                  <a:pt x="3396532" y="591236"/>
                  <a:pt x="3391066" y="591236"/>
                </a:cubicBezTo>
                <a:close/>
                <a:moveTo>
                  <a:pt x="3192449" y="591236"/>
                </a:moveTo>
                <a:cubicBezTo>
                  <a:pt x="3186982" y="594880"/>
                  <a:pt x="3192449" y="602169"/>
                  <a:pt x="3186982" y="607635"/>
                </a:cubicBezTo>
                <a:cubicBezTo>
                  <a:pt x="3190627" y="607635"/>
                  <a:pt x="3190627" y="600347"/>
                  <a:pt x="3196093" y="602169"/>
                </a:cubicBezTo>
                <a:cubicBezTo>
                  <a:pt x="3197916" y="596702"/>
                  <a:pt x="3192449" y="594880"/>
                  <a:pt x="3192449" y="591236"/>
                </a:cubicBezTo>
                <a:close/>
                <a:moveTo>
                  <a:pt x="2915479" y="591236"/>
                </a:moveTo>
                <a:cubicBezTo>
                  <a:pt x="2913656" y="596702"/>
                  <a:pt x="2906368" y="594880"/>
                  <a:pt x="2908190" y="600347"/>
                </a:cubicBezTo>
                <a:cubicBezTo>
                  <a:pt x="2913656" y="602169"/>
                  <a:pt x="2915479" y="602169"/>
                  <a:pt x="2919123" y="602169"/>
                </a:cubicBezTo>
                <a:cubicBezTo>
                  <a:pt x="2920945" y="598524"/>
                  <a:pt x="2917301" y="596702"/>
                  <a:pt x="2915479" y="594880"/>
                </a:cubicBezTo>
                <a:cubicBezTo>
                  <a:pt x="2915479" y="593058"/>
                  <a:pt x="2919123" y="596702"/>
                  <a:pt x="2922767" y="596702"/>
                </a:cubicBezTo>
                <a:cubicBezTo>
                  <a:pt x="2920945" y="594880"/>
                  <a:pt x="2919123" y="593058"/>
                  <a:pt x="2915479" y="591236"/>
                </a:cubicBezTo>
                <a:close/>
                <a:moveTo>
                  <a:pt x="1404896" y="591236"/>
                </a:moveTo>
                <a:lnTo>
                  <a:pt x="1406117" y="594655"/>
                </a:lnTo>
                <a:lnTo>
                  <a:pt x="1404896" y="594197"/>
                </a:lnTo>
                <a:close/>
                <a:moveTo>
                  <a:pt x="1111526" y="591236"/>
                </a:moveTo>
                <a:cubicBezTo>
                  <a:pt x="1104238" y="596702"/>
                  <a:pt x="1095127" y="602169"/>
                  <a:pt x="1091484" y="609459"/>
                </a:cubicBezTo>
                <a:cubicBezTo>
                  <a:pt x="1089660" y="609459"/>
                  <a:pt x="1095127" y="611280"/>
                  <a:pt x="1100593" y="611280"/>
                </a:cubicBezTo>
                <a:cubicBezTo>
                  <a:pt x="1100593" y="614924"/>
                  <a:pt x="1098771" y="614924"/>
                  <a:pt x="1096949" y="616746"/>
                </a:cubicBezTo>
                <a:cubicBezTo>
                  <a:pt x="1098771" y="620391"/>
                  <a:pt x="1106060" y="618568"/>
                  <a:pt x="1107882" y="624035"/>
                </a:cubicBezTo>
                <a:cubicBezTo>
                  <a:pt x="1115171" y="618568"/>
                  <a:pt x="1115171" y="613103"/>
                  <a:pt x="1113349" y="609459"/>
                </a:cubicBezTo>
                <a:cubicBezTo>
                  <a:pt x="1111526" y="613103"/>
                  <a:pt x="1107882" y="613103"/>
                  <a:pt x="1106060" y="609459"/>
                </a:cubicBezTo>
                <a:cubicBezTo>
                  <a:pt x="1116993" y="607635"/>
                  <a:pt x="1115171" y="598524"/>
                  <a:pt x="1111526" y="591236"/>
                </a:cubicBezTo>
                <a:close/>
                <a:moveTo>
                  <a:pt x="838200" y="591236"/>
                </a:moveTo>
                <a:cubicBezTo>
                  <a:pt x="836378" y="594880"/>
                  <a:pt x="836378" y="600347"/>
                  <a:pt x="836378" y="603991"/>
                </a:cubicBezTo>
                <a:cubicBezTo>
                  <a:pt x="840022" y="602169"/>
                  <a:pt x="840022" y="598524"/>
                  <a:pt x="841845" y="596702"/>
                </a:cubicBezTo>
                <a:cubicBezTo>
                  <a:pt x="838200" y="594880"/>
                  <a:pt x="838200" y="593058"/>
                  <a:pt x="838200" y="591236"/>
                </a:cubicBezTo>
                <a:close/>
                <a:moveTo>
                  <a:pt x="834556" y="591236"/>
                </a:moveTo>
                <a:cubicBezTo>
                  <a:pt x="832734" y="594880"/>
                  <a:pt x="830912" y="600347"/>
                  <a:pt x="829089" y="605813"/>
                </a:cubicBezTo>
                <a:cubicBezTo>
                  <a:pt x="836378" y="603991"/>
                  <a:pt x="834556" y="594880"/>
                  <a:pt x="834556" y="591236"/>
                </a:cubicBezTo>
                <a:close/>
                <a:moveTo>
                  <a:pt x="779892" y="591236"/>
                </a:moveTo>
                <a:cubicBezTo>
                  <a:pt x="779892" y="593058"/>
                  <a:pt x="779892" y="598524"/>
                  <a:pt x="783535" y="598524"/>
                </a:cubicBezTo>
                <a:cubicBezTo>
                  <a:pt x="783535" y="596702"/>
                  <a:pt x="783535" y="596702"/>
                  <a:pt x="785357" y="594880"/>
                </a:cubicBezTo>
                <a:cubicBezTo>
                  <a:pt x="783535" y="593058"/>
                  <a:pt x="781713" y="593058"/>
                  <a:pt x="779892" y="591236"/>
                </a:cubicBezTo>
                <a:close/>
                <a:moveTo>
                  <a:pt x="522964" y="591236"/>
                </a:moveTo>
                <a:cubicBezTo>
                  <a:pt x="519320" y="594880"/>
                  <a:pt x="519320" y="600347"/>
                  <a:pt x="519320" y="603991"/>
                </a:cubicBezTo>
                <a:cubicBezTo>
                  <a:pt x="521142" y="600347"/>
                  <a:pt x="526609" y="596702"/>
                  <a:pt x="522964" y="591236"/>
                </a:cubicBezTo>
                <a:close/>
                <a:moveTo>
                  <a:pt x="391768" y="591236"/>
                </a:moveTo>
                <a:cubicBezTo>
                  <a:pt x="390857" y="592147"/>
                  <a:pt x="390857" y="593514"/>
                  <a:pt x="390629" y="594653"/>
                </a:cubicBezTo>
                <a:lnTo>
                  <a:pt x="389670" y="595437"/>
                </a:lnTo>
                <a:lnTo>
                  <a:pt x="389300" y="593929"/>
                </a:lnTo>
                <a:close/>
                <a:moveTo>
                  <a:pt x="331636" y="591236"/>
                </a:moveTo>
                <a:cubicBezTo>
                  <a:pt x="331636" y="598524"/>
                  <a:pt x="340747" y="600347"/>
                  <a:pt x="342569" y="603991"/>
                </a:cubicBezTo>
                <a:cubicBezTo>
                  <a:pt x="348037" y="600347"/>
                  <a:pt x="337102" y="589414"/>
                  <a:pt x="331636" y="591236"/>
                </a:cubicBezTo>
                <a:close/>
                <a:moveTo>
                  <a:pt x="2161099" y="589435"/>
                </a:moveTo>
                <a:cubicBezTo>
                  <a:pt x="2162921" y="593080"/>
                  <a:pt x="2164743" y="596724"/>
                  <a:pt x="2166565" y="600368"/>
                </a:cubicBezTo>
                <a:cubicBezTo>
                  <a:pt x="2159277" y="598546"/>
                  <a:pt x="2161099" y="593080"/>
                  <a:pt x="2161099" y="589435"/>
                </a:cubicBezTo>
                <a:close/>
                <a:moveTo>
                  <a:pt x="3364645" y="589414"/>
                </a:moveTo>
                <a:cubicBezTo>
                  <a:pt x="3363279" y="589414"/>
                  <a:pt x="3361912" y="590325"/>
                  <a:pt x="3360089" y="593058"/>
                </a:cubicBezTo>
                <a:cubicBezTo>
                  <a:pt x="3360089" y="593058"/>
                  <a:pt x="3361911" y="594880"/>
                  <a:pt x="3361911" y="596702"/>
                </a:cubicBezTo>
                <a:cubicBezTo>
                  <a:pt x="3363734" y="593058"/>
                  <a:pt x="3367378" y="593058"/>
                  <a:pt x="3369200" y="591236"/>
                </a:cubicBezTo>
                <a:cubicBezTo>
                  <a:pt x="3367378" y="590325"/>
                  <a:pt x="3366012" y="589414"/>
                  <a:pt x="3364645" y="589414"/>
                </a:cubicBezTo>
                <a:close/>
                <a:moveTo>
                  <a:pt x="1113349" y="589414"/>
                </a:moveTo>
                <a:cubicBezTo>
                  <a:pt x="1111526" y="593058"/>
                  <a:pt x="1115171" y="596702"/>
                  <a:pt x="1115171" y="600347"/>
                </a:cubicBezTo>
                <a:cubicBezTo>
                  <a:pt x="1120637" y="596702"/>
                  <a:pt x="1115171" y="593058"/>
                  <a:pt x="1113349" y="589414"/>
                </a:cubicBezTo>
                <a:close/>
                <a:moveTo>
                  <a:pt x="1096949" y="589414"/>
                </a:moveTo>
                <a:cubicBezTo>
                  <a:pt x="1091484" y="593058"/>
                  <a:pt x="1091484" y="598524"/>
                  <a:pt x="1089660" y="602169"/>
                </a:cubicBezTo>
                <a:cubicBezTo>
                  <a:pt x="1095127" y="600347"/>
                  <a:pt x="1098771" y="596702"/>
                  <a:pt x="1102416" y="591236"/>
                </a:cubicBezTo>
                <a:cubicBezTo>
                  <a:pt x="1100593" y="591236"/>
                  <a:pt x="1098771" y="591236"/>
                  <a:pt x="1096949" y="589414"/>
                </a:cubicBezTo>
                <a:close/>
                <a:moveTo>
                  <a:pt x="943886" y="589414"/>
                </a:moveTo>
                <a:cubicBezTo>
                  <a:pt x="934777" y="596702"/>
                  <a:pt x="923843" y="605813"/>
                  <a:pt x="927487" y="618568"/>
                </a:cubicBezTo>
                <a:cubicBezTo>
                  <a:pt x="931131" y="614924"/>
                  <a:pt x="932953" y="609459"/>
                  <a:pt x="934777" y="605813"/>
                </a:cubicBezTo>
                <a:cubicBezTo>
                  <a:pt x="934777" y="607635"/>
                  <a:pt x="934777" y="609459"/>
                  <a:pt x="934777" y="611280"/>
                </a:cubicBezTo>
                <a:cubicBezTo>
                  <a:pt x="942064" y="603991"/>
                  <a:pt x="940242" y="596702"/>
                  <a:pt x="943886" y="589414"/>
                </a:cubicBezTo>
                <a:close/>
                <a:moveTo>
                  <a:pt x="927487" y="589414"/>
                </a:moveTo>
                <a:cubicBezTo>
                  <a:pt x="927487" y="591236"/>
                  <a:pt x="925666" y="591236"/>
                  <a:pt x="923843" y="593058"/>
                </a:cubicBezTo>
                <a:cubicBezTo>
                  <a:pt x="925666" y="594880"/>
                  <a:pt x="931131" y="591236"/>
                  <a:pt x="927487" y="589414"/>
                </a:cubicBezTo>
                <a:close/>
                <a:moveTo>
                  <a:pt x="911087" y="589414"/>
                </a:moveTo>
                <a:cubicBezTo>
                  <a:pt x="907444" y="589414"/>
                  <a:pt x="907444" y="593058"/>
                  <a:pt x="903799" y="594880"/>
                </a:cubicBezTo>
                <a:lnTo>
                  <a:pt x="905818" y="596002"/>
                </a:lnTo>
                <a:lnTo>
                  <a:pt x="903799" y="598524"/>
                </a:lnTo>
                <a:cubicBezTo>
                  <a:pt x="904710" y="596703"/>
                  <a:pt x="905621" y="596247"/>
                  <a:pt x="905849" y="596019"/>
                </a:cubicBezTo>
                <a:lnTo>
                  <a:pt x="905818" y="596002"/>
                </a:lnTo>
                <a:close/>
                <a:moveTo>
                  <a:pt x="905621" y="589414"/>
                </a:moveTo>
                <a:cubicBezTo>
                  <a:pt x="903799" y="587591"/>
                  <a:pt x="898333" y="591236"/>
                  <a:pt x="901976" y="593058"/>
                </a:cubicBezTo>
                <a:cubicBezTo>
                  <a:pt x="903799" y="591236"/>
                  <a:pt x="903799" y="589414"/>
                  <a:pt x="905621" y="589414"/>
                </a:cubicBezTo>
                <a:close/>
                <a:moveTo>
                  <a:pt x="348037" y="589414"/>
                </a:moveTo>
                <a:cubicBezTo>
                  <a:pt x="344391" y="596702"/>
                  <a:pt x="349858" y="602169"/>
                  <a:pt x="353502" y="600347"/>
                </a:cubicBezTo>
                <a:cubicBezTo>
                  <a:pt x="357146" y="600347"/>
                  <a:pt x="348037" y="596702"/>
                  <a:pt x="349858" y="593058"/>
                </a:cubicBezTo>
                <a:cubicBezTo>
                  <a:pt x="349858" y="591236"/>
                  <a:pt x="348037" y="591236"/>
                  <a:pt x="348037" y="589414"/>
                </a:cubicBezTo>
                <a:close/>
                <a:moveTo>
                  <a:pt x="317059" y="589414"/>
                </a:moveTo>
                <a:cubicBezTo>
                  <a:pt x="315236" y="598524"/>
                  <a:pt x="324347" y="600347"/>
                  <a:pt x="326169" y="605813"/>
                </a:cubicBezTo>
                <a:cubicBezTo>
                  <a:pt x="322525" y="598524"/>
                  <a:pt x="322525" y="596702"/>
                  <a:pt x="317059" y="589414"/>
                </a:cubicBezTo>
                <a:close/>
                <a:moveTo>
                  <a:pt x="1090086" y="589206"/>
                </a:moveTo>
                <a:lnTo>
                  <a:pt x="1090397" y="590991"/>
                </a:lnTo>
                <a:lnTo>
                  <a:pt x="1087838" y="593058"/>
                </a:lnTo>
                <a:close/>
                <a:moveTo>
                  <a:pt x="664951" y="588521"/>
                </a:moveTo>
                <a:lnTo>
                  <a:pt x="665094" y="589414"/>
                </a:lnTo>
                <a:lnTo>
                  <a:pt x="664998" y="589414"/>
                </a:lnTo>
                <a:close/>
                <a:moveTo>
                  <a:pt x="2491595" y="588048"/>
                </a:moveTo>
                <a:cubicBezTo>
                  <a:pt x="2490457" y="588503"/>
                  <a:pt x="2489090" y="589414"/>
                  <a:pt x="2487268" y="589414"/>
                </a:cubicBezTo>
                <a:cubicBezTo>
                  <a:pt x="2483624" y="591236"/>
                  <a:pt x="2489090" y="593058"/>
                  <a:pt x="2489090" y="600347"/>
                </a:cubicBezTo>
                <a:cubicBezTo>
                  <a:pt x="2492734" y="598524"/>
                  <a:pt x="2492734" y="593058"/>
                  <a:pt x="2494556" y="589414"/>
                </a:cubicBezTo>
                <a:cubicBezTo>
                  <a:pt x="2493645" y="587592"/>
                  <a:pt x="2492734" y="587592"/>
                  <a:pt x="2491595" y="588048"/>
                </a:cubicBezTo>
                <a:close/>
                <a:moveTo>
                  <a:pt x="3493108" y="587591"/>
                </a:moveTo>
                <a:cubicBezTo>
                  <a:pt x="3489463" y="585769"/>
                  <a:pt x="3487641" y="589414"/>
                  <a:pt x="3485819" y="594880"/>
                </a:cubicBezTo>
                <a:cubicBezTo>
                  <a:pt x="3487641" y="594880"/>
                  <a:pt x="3493108" y="593058"/>
                  <a:pt x="3491286" y="596702"/>
                </a:cubicBezTo>
                <a:cubicBezTo>
                  <a:pt x="3491286" y="598524"/>
                  <a:pt x="3483997" y="594880"/>
                  <a:pt x="3485819" y="600347"/>
                </a:cubicBezTo>
                <a:cubicBezTo>
                  <a:pt x="3491286" y="598524"/>
                  <a:pt x="3489463" y="603991"/>
                  <a:pt x="3493108" y="602169"/>
                </a:cubicBezTo>
                <a:cubicBezTo>
                  <a:pt x="3498574" y="596702"/>
                  <a:pt x="3493108" y="594880"/>
                  <a:pt x="3493108" y="587591"/>
                </a:cubicBezTo>
                <a:close/>
                <a:moveTo>
                  <a:pt x="2585665" y="587591"/>
                </a:moveTo>
                <a:cubicBezTo>
                  <a:pt x="2580199" y="589414"/>
                  <a:pt x="2583843" y="607635"/>
                  <a:pt x="2585665" y="613103"/>
                </a:cubicBezTo>
                <a:cubicBezTo>
                  <a:pt x="2589310" y="616746"/>
                  <a:pt x="2585665" y="607635"/>
                  <a:pt x="2583843" y="602169"/>
                </a:cubicBezTo>
                <a:cubicBezTo>
                  <a:pt x="2585665" y="603991"/>
                  <a:pt x="2585665" y="605813"/>
                  <a:pt x="2587487" y="605813"/>
                </a:cubicBezTo>
                <a:cubicBezTo>
                  <a:pt x="2587487" y="602169"/>
                  <a:pt x="2591132" y="602169"/>
                  <a:pt x="2589310" y="598524"/>
                </a:cubicBezTo>
                <a:cubicBezTo>
                  <a:pt x="2585665" y="598524"/>
                  <a:pt x="2587487" y="602169"/>
                  <a:pt x="2585665" y="602169"/>
                </a:cubicBezTo>
                <a:cubicBezTo>
                  <a:pt x="2582021" y="598524"/>
                  <a:pt x="2585665" y="591236"/>
                  <a:pt x="2585665" y="587591"/>
                </a:cubicBezTo>
                <a:close/>
                <a:moveTo>
                  <a:pt x="1253656" y="587591"/>
                </a:moveTo>
                <a:cubicBezTo>
                  <a:pt x="1255478" y="589414"/>
                  <a:pt x="1255478" y="593058"/>
                  <a:pt x="1255478" y="594880"/>
                </a:cubicBezTo>
                <a:lnTo>
                  <a:pt x="1253890" y="593659"/>
                </a:lnTo>
                <a:lnTo>
                  <a:pt x="1252766" y="591505"/>
                </a:lnTo>
                <a:close/>
                <a:moveTo>
                  <a:pt x="1250012" y="587591"/>
                </a:moveTo>
                <a:cubicBezTo>
                  <a:pt x="1251834" y="588503"/>
                  <a:pt x="1252289" y="589870"/>
                  <a:pt x="1252745" y="591464"/>
                </a:cubicBezTo>
                <a:lnTo>
                  <a:pt x="1252766" y="591505"/>
                </a:lnTo>
                <a:lnTo>
                  <a:pt x="1252517" y="592603"/>
                </a:lnTo>
                <a:lnTo>
                  <a:pt x="1253890" y="593659"/>
                </a:lnTo>
                <a:lnTo>
                  <a:pt x="1255170" y="596112"/>
                </a:lnTo>
                <a:lnTo>
                  <a:pt x="1255022" y="596702"/>
                </a:lnTo>
                <a:lnTo>
                  <a:pt x="1251834" y="598524"/>
                </a:lnTo>
                <a:lnTo>
                  <a:pt x="1253656" y="596702"/>
                </a:lnTo>
                <a:lnTo>
                  <a:pt x="1249631" y="598044"/>
                </a:lnTo>
                <a:close/>
                <a:moveTo>
                  <a:pt x="878288" y="587591"/>
                </a:moveTo>
                <a:cubicBezTo>
                  <a:pt x="878288" y="587591"/>
                  <a:pt x="876466" y="596702"/>
                  <a:pt x="871000" y="600347"/>
                </a:cubicBezTo>
                <a:cubicBezTo>
                  <a:pt x="874644" y="600347"/>
                  <a:pt x="874644" y="594880"/>
                  <a:pt x="880111" y="591236"/>
                </a:cubicBezTo>
                <a:cubicBezTo>
                  <a:pt x="876466" y="591236"/>
                  <a:pt x="878288" y="589414"/>
                  <a:pt x="878288" y="587591"/>
                </a:cubicBezTo>
                <a:close/>
                <a:moveTo>
                  <a:pt x="860066" y="587591"/>
                </a:moveTo>
                <a:cubicBezTo>
                  <a:pt x="852778" y="591236"/>
                  <a:pt x="838200" y="596702"/>
                  <a:pt x="845489" y="602169"/>
                </a:cubicBezTo>
                <a:cubicBezTo>
                  <a:pt x="847311" y="600347"/>
                  <a:pt x="849133" y="600347"/>
                  <a:pt x="849133" y="596702"/>
                </a:cubicBezTo>
                <a:cubicBezTo>
                  <a:pt x="850956" y="603991"/>
                  <a:pt x="841845" y="611280"/>
                  <a:pt x="849133" y="614924"/>
                </a:cubicBezTo>
                <a:cubicBezTo>
                  <a:pt x="850956" y="618568"/>
                  <a:pt x="852778" y="607635"/>
                  <a:pt x="856422" y="605813"/>
                </a:cubicBezTo>
                <a:cubicBezTo>
                  <a:pt x="856422" y="611280"/>
                  <a:pt x="850956" y="616746"/>
                  <a:pt x="852778" y="622213"/>
                </a:cubicBezTo>
                <a:cubicBezTo>
                  <a:pt x="865533" y="613103"/>
                  <a:pt x="871000" y="600347"/>
                  <a:pt x="860066" y="587591"/>
                </a:cubicBezTo>
                <a:close/>
                <a:moveTo>
                  <a:pt x="548475" y="587591"/>
                </a:moveTo>
                <a:cubicBezTo>
                  <a:pt x="552119" y="591236"/>
                  <a:pt x="548475" y="596702"/>
                  <a:pt x="550297" y="602169"/>
                </a:cubicBezTo>
                <a:cubicBezTo>
                  <a:pt x="552119" y="602169"/>
                  <a:pt x="553941" y="596702"/>
                  <a:pt x="555763" y="600347"/>
                </a:cubicBezTo>
                <a:cubicBezTo>
                  <a:pt x="555763" y="594880"/>
                  <a:pt x="552119" y="593058"/>
                  <a:pt x="548475" y="587591"/>
                </a:cubicBezTo>
                <a:close/>
                <a:moveTo>
                  <a:pt x="3292669" y="585769"/>
                </a:moveTo>
                <a:cubicBezTo>
                  <a:pt x="3290847" y="587591"/>
                  <a:pt x="3289024" y="591236"/>
                  <a:pt x="3287202" y="591236"/>
                </a:cubicBezTo>
                <a:cubicBezTo>
                  <a:pt x="3283558" y="591236"/>
                  <a:pt x="3283558" y="589414"/>
                  <a:pt x="3283558" y="587591"/>
                </a:cubicBezTo>
                <a:cubicBezTo>
                  <a:pt x="3274447" y="589414"/>
                  <a:pt x="3278091" y="593058"/>
                  <a:pt x="3276269" y="594880"/>
                </a:cubicBezTo>
                <a:cubicBezTo>
                  <a:pt x="3287202" y="593058"/>
                  <a:pt x="3303602" y="607635"/>
                  <a:pt x="3299957" y="591236"/>
                </a:cubicBezTo>
                <a:cubicBezTo>
                  <a:pt x="3299957" y="591236"/>
                  <a:pt x="3294491" y="587591"/>
                  <a:pt x="3292669" y="585769"/>
                </a:cubicBezTo>
                <a:close/>
                <a:moveTo>
                  <a:pt x="3064897" y="585769"/>
                </a:moveTo>
                <a:cubicBezTo>
                  <a:pt x="3061253" y="585769"/>
                  <a:pt x="3066719" y="591236"/>
                  <a:pt x="3059430" y="589414"/>
                </a:cubicBezTo>
                <a:cubicBezTo>
                  <a:pt x="3057608" y="593058"/>
                  <a:pt x="3061253" y="600347"/>
                  <a:pt x="3053964" y="598524"/>
                </a:cubicBezTo>
                <a:cubicBezTo>
                  <a:pt x="3053964" y="602169"/>
                  <a:pt x="3063075" y="614924"/>
                  <a:pt x="3053964" y="611280"/>
                </a:cubicBezTo>
                <a:cubicBezTo>
                  <a:pt x="3055786" y="616746"/>
                  <a:pt x="3061253" y="611280"/>
                  <a:pt x="3066719" y="611280"/>
                </a:cubicBezTo>
                <a:cubicBezTo>
                  <a:pt x="3066719" y="609459"/>
                  <a:pt x="3066719" y="607635"/>
                  <a:pt x="3066719" y="605813"/>
                </a:cubicBezTo>
                <a:cubicBezTo>
                  <a:pt x="3052142" y="603991"/>
                  <a:pt x="3068541" y="596702"/>
                  <a:pt x="3070363" y="589414"/>
                </a:cubicBezTo>
                <a:cubicBezTo>
                  <a:pt x="3070363" y="587591"/>
                  <a:pt x="3064897" y="587591"/>
                  <a:pt x="3064897" y="585769"/>
                </a:cubicBezTo>
                <a:close/>
                <a:moveTo>
                  <a:pt x="2875391" y="585769"/>
                </a:moveTo>
                <a:cubicBezTo>
                  <a:pt x="2880857" y="591236"/>
                  <a:pt x="2879035" y="600347"/>
                  <a:pt x="2869924" y="600347"/>
                </a:cubicBezTo>
                <a:cubicBezTo>
                  <a:pt x="2875391" y="605813"/>
                  <a:pt x="2879035" y="596702"/>
                  <a:pt x="2884502" y="596702"/>
                </a:cubicBezTo>
                <a:cubicBezTo>
                  <a:pt x="2886324" y="596702"/>
                  <a:pt x="2886324" y="598524"/>
                  <a:pt x="2886324" y="600347"/>
                </a:cubicBezTo>
                <a:cubicBezTo>
                  <a:pt x="2889968" y="600347"/>
                  <a:pt x="2891790" y="598524"/>
                  <a:pt x="2891790" y="594880"/>
                </a:cubicBezTo>
                <a:cubicBezTo>
                  <a:pt x="2884502" y="596702"/>
                  <a:pt x="2880857" y="589414"/>
                  <a:pt x="2875391" y="585769"/>
                </a:cubicBezTo>
                <a:close/>
                <a:moveTo>
                  <a:pt x="2121011" y="585769"/>
                </a:moveTo>
                <a:cubicBezTo>
                  <a:pt x="2115544" y="587591"/>
                  <a:pt x="2117366" y="593058"/>
                  <a:pt x="2115544" y="596702"/>
                </a:cubicBezTo>
                <a:cubicBezTo>
                  <a:pt x="2113722" y="598524"/>
                  <a:pt x="2111900" y="596702"/>
                  <a:pt x="2111900" y="594880"/>
                </a:cubicBezTo>
                <a:cubicBezTo>
                  <a:pt x="2111900" y="600347"/>
                  <a:pt x="2108256" y="607635"/>
                  <a:pt x="2115544" y="607635"/>
                </a:cubicBezTo>
                <a:cubicBezTo>
                  <a:pt x="2119189" y="607635"/>
                  <a:pt x="2119189" y="600347"/>
                  <a:pt x="2121011" y="596702"/>
                </a:cubicBezTo>
                <a:cubicBezTo>
                  <a:pt x="2122833" y="600347"/>
                  <a:pt x="2122833" y="603991"/>
                  <a:pt x="2128300" y="602169"/>
                </a:cubicBezTo>
                <a:cubicBezTo>
                  <a:pt x="2128300" y="593058"/>
                  <a:pt x="2121011" y="593058"/>
                  <a:pt x="2121011" y="585769"/>
                </a:cubicBezTo>
                <a:close/>
                <a:moveTo>
                  <a:pt x="909265" y="585769"/>
                </a:moveTo>
                <a:cubicBezTo>
                  <a:pt x="907444" y="587591"/>
                  <a:pt x="907444" y="589414"/>
                  <a:pt x="905621" y="591236"/>
                </a:cubicBezTo>
                <a:cubicBezTo>
                  <a:pt x="907444" y="591236"/>
                  <a:pt x="909265" y="589414"/>
                  <a:pt x="911087" y="587591"/>
                </a:cubicBezTo>
                <a:cubicBezTo>
                  <a:pt x="909265" y="585769"/>
                  <a:pt x="911087" y="585769"/>
                  <a:pt x="909265" y="585769"/>
                </a:cubicBezTo>
                <a:close/>
                <a:moveTo>
                  <a:pt x="696071" y="585769"/>
                </a:moveTo>
                <a:cubicBezTo>
                  <a:pt x="692426" y="587591"/>
                  <a:pt x="692426" y="591236"/>
                  <a:pt x="690604" y="593058"/>
                </a:cubicBezTo>
                <a:cubicBezTo>
                  <a:pt x="697893" y="603991"/>
                  <a:pt x="707004" y="602169"/>
                  <a:pt x="716115" y="605813"/>
                </a:cubicBezTo>
                <a:cubicBezTo>
                  <a:pt x="712470" y="602169"/>
                  <a:pt x="703359" y="603991"/>
                  <a:pt x="697893" y="598524"/>
                </a:cubicBezTo>
                <a:cubicBezTo>
                  <a:pt x="701537" y="598524"/>
                  <a:pt x="705182" y="600347"/>
                  <a:pt x="708826" y="600347"/>
                </a:cubicBezTo>
                <a:cubicBezTo>
                  <a:pt x="710648" y="596702"/>
                  <a:pt x="699715" y="591236"/>
                  <a:pt x="696071" y="585769"/>
                </a:cubicBezTo>
                <a:close/>
                <a:moveTo>
                  <a:pt x="654161" y="585769"/>
                </a:moveTo>
                <a:cubicBezTo>
                  <a:pt x="654161" y="587591"/>
                  <a:pt x="650516" y="591236"/>
                  <a:pt x="650516" y="593058"/>
                </a:cubicBezTo>
                <a:cubicBezTo>
                  <a:pt x="652339" y="594880"/>
                  <a:pt x="654161" y="594880"/>
                  <a:pt x="657805" y="593058"/>
                </a:cubicBezTo>
                <a:cubicBezTo>
                  <a:pt x="657805" y="589414"/>
                  <a:pt x="654161" y="589414"/>
                  <a:pt x="654161" y="585769"/>
                </a:cubicBezTo>
                <a:close/>
                <a:moveTo>
                  <a:pt x="588562" y="585769"/>
                </a:moveTo>
                <a:cubicBezTo>
                  <a:pt x="588562" y="583947"/>
                  <a:pt x="583096" y="587591"/>
                  <a:pt x="584919" y="589414"/>
                </a:cubicBezTo>
                <a:cubicBezTo>
                  <a:pt x="586741" y="587591"/>
                  <a:pt x="586741" y="585769"/>
                  <a:pt x="588562" y="585769"/>
                </a:cubicBezTo>
                <a:close/>
                <a:moveTo>
                  <a:pt x="255105" y="585769"/>
                </a:moveTo>
                <a:lnTo>
                  <a:pt x="270442" y="598746"/>
                </a:lnTo>
                <a:lnTo>
                  <a:pt x="272054" y="601598"/>
                </a:lnTo>
                <a:lnTo>
                  <a:pt x="271960" y="601486"/>
                </a:lnTo>
                <a:cubicBezTo>
                  <a:pt x="266038" y="596703"/>
                  <a:pt x="259660" y="592147"/>
                  <a:pt x="255105" y="585769"/>
                </a:cubicBezTo>
                <a:close/>
                <a:moveTo>
                  <a:pt x="3529551" y="583947"/>
                </a:moveTo>
                <a:cubicBezTo>
                  <a:pt x="3525907" y="585769"/>
                  <a:pt x="3527729" y="593058"/>
                  <a:pt x="3529551" y="594880"/>
                </a:cubicBezTo>
                <a:cubicBezTo>
                  <a:pt x="3533196" y="593058"/>
                  <a:pt x="3527729" y="587591"/>
                  <a:pt x="3529551" y="583947"/>
                </a:cubicBezTo>
                <a:close/>
                <a:moveTo>
                  <a:pt x="2866280" y="583947"/>
                </a:moveTo>
                <a:cubicBezTo>
                  <a:pt x="2860813" y="582125"/>
                  <a:pt x="2855347" y="583947"/>
                  <a:pt x="2857169" y="591236"/>
                </a:cubicBezTo>
                <a:cubicBezTo>
                  <a:pt x="2860813" y="591236"/>
                  <a:pt x="2857169" y="594880"/>
                  <a:pt x="2862636" y="594880"/>
                </a:cubicBezTo>
                <a:cubicBezTo>
                  <a:pt x="2860813" y="589414"/>
                  <a:pt x="2862636" y="585769"/>
                  <a:pt x="2866280" y="589414"/>
                </a:cubicBezTo>
                <a:cubicBezTo>
                  <a:pt x="2868102" y="591236"/>
                  <a:pt x="2866280" y="585769"/>
                  <a:pt x="2866280" y="583947"/>
                </a:cubicBezTo>
                <a:close/>
                <a:moveTo>
                  <a:pt x="1109704" y="583947"/>
                </a:moveTo>
                <a:cubicBezTo>
                  <a:pt x="1107882" y="582125"/>
                  <a:pt x="1104238" y="587591"/>
                  <a:pt x="1102416" y="587591"/>
                </a:cubicBezTo>
                <a:cubicBezTo>
                  <a:pt x="1100593" y="587591"/>
                  <a:pt x="1100593" y="589414"/>
                  <a:pt x="1102416" y="589414"/>
                </a:cubicBezTo>
                <a:cubicBezTo>
                  <a:pt x="1106060" y="589414"/>
                  <a:pt x="1107882" y="585769"/>
                  <a:pt x="1109704" y="583947"/>
                </a:cubicBezTo>
                <a:close/>
                <a:moveTo>
                  <a:pt x="798112" y="583947"/>
                </a:moveTo>
                <a:cubicBezTo>
                  <a:pt x="794468" y="587591"/>
                  <a:pt x="794468" y="594880"/>
                  <a:pt x="799935" y="593058"/>
                </a:cubicBezTo>
                <a:cubicBezTo>
                  <a:pt x="794468" y="591236"/>
                  <a:pt x="799935" y="587591"/>
                  <a:pt x="798112" y="583947"/>
                </a:cubicBezTo>
                <a:close/>
                <a:moveTo>
                  <a:pt x="770781" y="583947"/>
                </a:moveTo>
                <a:cubicBezTo>
                  <a:pt x="765313" y="589414"/>
                  <a:pt x="765313" y="589414"/>
                  <a:pt x="770781" y="591236"/>
                </a:cubicBezTo>
                <a:cubicBezTo>
                  <a:pt x="772602" y="589414"/>
                  <a:pt x="767136" y="585769"/>
                  <a:pt x="770781" y="583947"/>
                </a:cubicBezTo>
                <a:cubicBezTo>
                  <a:pt x="768959" y="589414"/>
                  <a:pt x="772602" y="594880"/>
                  <a:pt x="776246" y="594880"/>
                </a:cubicBezTo>
                <a:cubicBezTo>
                  <a:pt x="778070" y="591236"/>
                  <a:pt x="776246" y="587591"/>
                  <a:pt x="770781" y="583947"/>
                </a:cubicBezTo>
                <a:close/>
                <a:moveTo>
                  <a:pt x="701537" y="583947"/>
                </a:moveTo>
                <a:cubicBezTo>
                  <a:pt x="707004" y="596702"/>
                  <a:pt x="716115" y="598524"/>
                  <a:pt x="725226" y="600347"/>
                </a:cubicBezTo>
                <a:cubicBezTo>
                  <a:pt x="719759" y="594880"/>
                  <a:pt x="708826" y="587591"/>
                  <a:pt x="701537" y="583947"/>
                </a:cubicBezTo>
                <a:close/>
                <a:moveTo>
                  <a:pt x="546653" y="583947"/>
                </a:moveTo>
                <a:cubicBezTo>
                  <a:pt x="544830" y="583947"/>
                  <a:pt x="543008" y="587591"/>
                  <a:pt x="544830" y="589414"/>
                </a:cubicBezTo>
                <a:cubicBezTo>
                  <a:pt x="548475" y="589414"/>
                  <a:pt x="544830" y="585769"/>
                  <a:pt x="548475" y="585769"/>
                </a:cubicBezTo>
                <a:cubicBezTo>
                  <a:pt x="548475" y="583947"/>
                  <a:pt x="544830" y="585769"/>
                  <a:pt x="546653" y="583947"/>
                </a:cubicBezTo>
                <a:close/>
                <a:moveTo>
                  <a:pt x="501098" y="583947"/>
                </a:moveTo>
                <a:cubicBezTo>
                  <a:pt x="502920" y="587591"/>
                  <a:pt x="502920" y="589414"/>
                  <a:pt x="504743" y="593058"/>
                </a:cubicBezTo>
                <a:cubicBezTo>
                  <a:pt x="504743" y="591236"/>
                  <a:pt x="504743" y="587591"/>
                  <a:pt x="502920" y="583947"/>
                </a:cubicBezTo>
                <a:cubicBezTo>
                  <a:pt x="501098" y="583947"/>
                  <a:pt x="501098" y="583947"/>
                  <a:pt x="501098" y="583947"/>
                </a:cubicBezTo>
                <a:close/>
                <a:moveTo>
                  <a:pt x="439145" y="583947"/>
                </a:moveTo>
                <a:cubicBezTo>
                  <a:pt x="439145" y="585769"/>
                  <a:pt x="444611" y="587591"/>
                  <a:pt x="446433" y="589414"/>
                </a:cubicBezTo>
                <a:cubicBezTo>
                  <a:pt x="450077" y="587591"/>
                  <a:pt x="442789" y="583947"/>
                  <a:pt x="439145" y="583947"/>
                </a:cubicBezTo>
                <a:close/>
                <a:moveTo>
                  <a:pt x="153063" y="583947"/>
                </a:moveTo>
                <a:lnTo>
                  <a:pt x="160303" y="592911"/>
                </a:lnTo>
                <a:lnTo>
                  <a:pt x="160352" y="593058"/>
                </a:lnTo>
                <a:cubicBezTo>
                  <a:pt x="158529" y="589414"/>
                  <a:pt x="154885" y="587591"/>
                  <a:pt x="153063" y="583947"/>
                </a:cubicBezTo>
                <a:close/>
                <a:moveTo>
                  <a:pt x="664110" y="583266"/>
                </a:moveTo>
                <a:lnTo>
                  <a:pt x="664687" y="583513"/>
                </a:lnTo>
                <a:lnTo>
                  <a:pt x="664951" y="588521"/>
                </a:lnTo>
                <a:close/>
                <a:moveTo>
                  <a:pt x="3044853" y="582125"/>
                </a:moveTo>
                <a:cubicBezTo>
                  <a:pt x="3044853" y="585769"/>
                  <a:pt x="3039387" y="585769"/>
                  <a:pt x="3039387" y="591236"/>
                </a:cubicBezTo>
                <a:cubicBezTo>
                  <a:pt x="3046675" y="594880"/>
                  <a:pt x="3053964" y="593058"/>
                  <a:pt x="3052142" y="585769"/>
                </a:cubicBezTo>
                <a:cubicBezTo>
                  <a:pt x="3052142" y="583947"/>
                  <a:pt x="3048497" y="583947"/>
                  <a:pt x="3044853" y="582125"/>
                </a:cubicBezTo>
                <a:close/>
                <a:moveTo>
                  <a:pt x="2414381" y="582125"/>
                </a:moveTo>
                <a:cubicBezTo>
                  <a:pt x="2408914" y="578481"/>
                  <a:pt x="2410737" y="591236"/>
                  <a:pt x="2412559" y="593058"/>
                </a:cubicBezTo>
                <a:cubicBezTo>
                  <a:pt x="2416203" y="593058"/>
                  <a:pt x="2412559" y="583947"/>
                  <a:pt x="2414381" y="582125"/>
                </a:cubicBezTo>
                <a:close/>
                <a:moveTo>
                  <a:pt x="1118815" y="582125"/>
                </a:moveTo>
                <a:cubicBezTo>
                  <a:pt x="1116993" y="583947"/>
                  <a:pt x="1115171" y="585769"/>
                  <a:pt x="1113349" y="587591"/>
                </a:cubicBezTo>
                <a:cubicBezTo>
                  <a:pt x="1118815" y="589414"/>
                  <a:pt x="1115171" y="593058"/>
                  <a:pt x="1118815" y="594880"/>
                </a:cubicBezTo>
                <a:cubicBezTo>
                  <a:pt x="1118815" y="593058"/>
                  <a:pt x="1120637" y="589414"/>
                  <a:pt x="1120637" y="591236"/>
                </a:cubicBezTo>
                <a:cubicBezTo>
                  <a:pt x="1122459" y="591236"/>
                  <a:pt x="1118815" y="585769"/>
                  <a:pt x="1118815" y="582125"/>
                </a:cubicBezTo>
                <a:close/>
                <a:moveTo>
                  <a:pt x="1096949" y="582125"/>
                </a:moveTo>
                <a:lnTo>
                  <a:pt x="1095935" y="584080"/>
                </a:lnTo>
                <a:lnTo>
                  <a:pt x="1095542" y="583424"/>
                </a:lnTo>
                <a:close/>
                <a:moveTo>
                  <a:pt x="942064" y="582125"/>
                </a:moveTo>
                <a:cubicBezTo>
                  <a:pt x="932953" y="589414"/>
                  <a:pt x="922020" y="598524"/>
                  <a:pt x="920198" y="607635"/>
                </a:cubicBezTo>
                <a:cubicBezTo>
                  <a:pt x="925666" y="600347"/>
                  <a:pt x="938420" y="591236"/>
                  <a:pt x="942064" y="582125"/>
                </a:cubicBezTo>
                <a:close/>
                <a:moveTo>
                  <a:pt x="920198" y="582125"/>
                </a:moveTo>
                <a:cubicBezTo>
                  <a:pt x="912909" y="585769"/>
                  <a:pt x="914732" y="591236"/>
                  <a:pt x="911087" y="596702"/>
                </a:cubicBezTo>
                <a:cubicBezTo>
                  <a:pt x="914732" y="596702"/>
                  <a:pt x="916555" y="593058"/>
                  <a:pt x="920198" y="591236"/>
                </a:cubicBezTo>
                <a:cubicBezTo>
                  <a:pt x="918376" y="587591"/>
                  <a:pt x="918376" y="585769"/>
                  <a:pt x="920198" y="582125"/>
                </a:cubicBezTo>
                <a:close/>
                <a:moveTo>
                  <a:pt x="710648" y="582125"/>
                </a:moveTo>
                <a:cubicBezTo>
                  <a:pt x="707004" y="593058"/>
                  <a:pt x="721581" y="591236"/>
                  <a:pt x="723404" y="596702"/>
                </a:cubicBezTo>
                <a:cubicBezTo>
                  <a:pt x="725226" y="591236"/>
                  <a:pt x="716115" y="585769"/>
                  <a:pt x="710648" y="582125"/>
                </a:cubicBezTo>
                <a:close/>
                <a:moveTo>
                  <a:pt x="690604" y="582125"/>
                </a:moveTo>
                <a:cubicBezTo>
                  <a:pt x="688782" y="583947"/>
                  <a:pt x="685138" y="587591"/>
                  <a:pt x="688782" y="591236"/>
                </a:cubicBezTo>
                <a:cubicBezTo>
                  <a:pt x="692426" y="589414"/>
                  <a:pt x="690604" y="585769"/>
                  <a:pt x="694249" y="583947"/>
                </a:cubicBezTo>
                <a:cubicBezTo>
                  <a:pt x="692426" y="582125"/>
                  <a:pt x="690604" y="583947"/>
                  <a:pt x="690604" y="582125"/>
                </a:cubicBezTo>
                <a:close/>
                <a:moveTo>
                  <a:pt x="599496" y="582125"/>
                </a:moveTo>
                <a:cubicBezTo>
                  <a:pt x="597673" y="587591"/>
                  <a:pt x="595852" y="594880"/>
                  <a:pt x="597673" y="600347"/>
                </a:cubicBezTo>
                <a:cubicBezTo>
                  <a:pt x="601318" y="596702"/>
                  <a:pt x="597673" y="593058"/>
                  <a:pt x="599496" y="589414"/>
                </a:cubicBezTo>
                <a:cubicBezTo>
                  <a:pt x="603140" y="589414"/>
                  <a:pt x="601318" y="593058"/>
                  <a:pt x="601318" y="594880"/>
                </a:cubicBezTo>
                <a:cubicBezTo>
                  <a:pt x="604963" y="593058"/>
                  <a:pt x="603140" y="587591"/>
                  <a:pt x="599496" y="582125"/>
                </a:cubicBezTo>
                <a:close/>
                <a:moveTo>
                  <a:pt x="320703" y="582125"/>
                </a:moveTo>
                <a:cubicBezTo>
                  <a:pt x="315236" y="587591"/>
                  <a:pt x="326169" y="594880"/>
                  <a:pt x="329814" y="598524"/>
                </a:cubicBezTo>
                <a:cubicBezTo>
                  <a:pt x="331636" y="593058"/>
                  <a:pt x="322525" y="589414"/>
                  <a:pt x="320703" y="582125"/>
                </a:cubicBezTo>
                <a:close/>
                <a:moveTo>
                  <a:pt x="156707" y="582125"/>
                </a:moveTo>
                <a:cubicBezTo>
                  <a:pt x="159440" y="586681"/>
                  <a:pt x="162174" y="592147"/>
                  <a:pt x="165590" y="597386"/>
                </a:cubicBezTo>
                <a:lnTo>
                  <a:pt x="174254" y="606659"/>
                </a:lnTo>
                <a:lnTo>
                  <a:pt x="174473" y="607864"/>
                </a:lnTo>
                <a:lnTo>
                  <a:pt x="177264" y="613911"/>
                </a:lnTo>
                <a:lnTo>
                  <a:pt x="160303" y="592911"/>
                </a:lnTo>
                <a:close/>
                <a:moveTo>
                  <a:pt x="1208170" y="582057"/>
                </a:moveTo>
                <a:lnTo>
                  <a:pt x="1216757" y="590325"/>
                </a:lnTo>
                <a:lnTo>
                  <a:pt x="1218533" y="592525"/>
                </a:lnTo>
                <a:lnTo>
                  <a:pt x="1216529" y="591919"/>
                </a:lnTo>
                <a:cubicBezTo>
                  <a:pt x="1213568" y="588958"/>
                  <a:pt x="1210835" y="584859"/>
                  <a:pt x="1208102" y="582125"/>
                </a:cubicBezTo>
                <a:close/>
                <a:moveTo>
                  <a:pt x="663744" y="580978"/>
                </a:moveTo>
                <a:lnTo>
                  <a:pt x="664110" y="583266"/>
                </a:lnTo>
                <a:lnTo>
                  <a:pt x="661449" y="582125"/>
                </a:lnTo>
                <a:close/>
                <a:moveTo>
                  <a:pt x="394409" y="580524"/>
                </a:moveTo>
                <a:lnTo>
                  <a:pt x="394956" y="581670"/>
                </a:lnTo>
                <a:cubicBezTo>
                  <a:pt x="394956" y="584859"/>
                  <a:pt x="393590" y="587592"/>
                  <a:pt x="391768" y="589414"/>
                </a:cubicBezTo>
                <a:lnTo>
                  <a:pt x="391185" y="587082"/>
                </a:lnTo>
                <a:close/>
                <a:moveTo>
                  <a:pt x="3498574" y="580303"/>
                </a:moveTo>
                <a:cubicBezTo>
                  <a:pt x="3498574" y="582125"/>
                  <a:pt x="3498574" y="583947"/>
                  <a:pt x="3498574" y="587591"/>
                </a:cubicBezTo>
                <a:cubicBezTo>
                  <a:pt x="3504041" y="587591"/>
                  <a:pt x="3504041" y="589414"/>
                  <a:pt x="3505863" y="593058"/>
                </a:cubicBezTo>
                <a:cubicBezTo>
                  <a:pt x="3509507" y="593058"/>
                  <a:pt x="3507685" y="587591"/>
                  <a:pt x="3511330" y="589414"/>
                </a:cubicBezTo>
                <a:cubicBezTo>
                  <a:pt x="3509507" y="585769"/>
                  <a:pt x="3509507" y="587591"/>
                  <a:pt x="3505863" y="587591"/>
                </a:cubicBezTo>
                <a:cubicBezTo>
                  <a:pt x="3505863" y="583947"/>
                  <a:pt x="3509507" y="585769"/>
                  <a:pt x="3507685" y="582125"/>
                </a:cubicBezTo>
                <a:cubicBezTo>
                  <a:pt x="3505863" y="580303"/>
                  <a:pt x="3502219" y="580303"/>
                  <a:pt x="3498574" y="580303"/>
                </a:cubicBezTo>
                <a:close/>
                <a:moveTo>
                  <a:pt x="2359716" y="580303"/>
                </a:moveTo>
                <a:cubicBezTo>
                  <a:pt x="2356071" y="585769"/>
                  <a:pt x="2357893" y="582125"/>
                  <a:pt x="2354249" y="582125"/>
                </a:cubicBezTo>
                <a:cubicBezTo>
                  <a:pt x="2354249" y="585769"/>
                  <a:pt x="2354249" y="593058"/>
                  <a:pt x="2356071" y="594880"/>
                </a:cubicBezTo>
                <a:cubicBezTo>
                  <a:pt x="2357893" y="593058"/>
                  <a:pt x="2357893" y="593058"/>
                  <a:pt x="2359716" y="593058"/>
                </a:cubicBezTo>
                <a:cubicBezTo>
                  <a:pt x="2361538" y="591236"/>
                  <a:pt x="2361538" y="582125"/>
                  <a:pt x="2359716" y="580303"/>
                </a:cubicBezTo>
                <a:close/>
                <a:moveTo>
                  <a:pt x="1158903" y="580303"/>
                </a:moveTo>
                <a:cubicBezTo>
                  <a:pt x="1155259" y="582125"/>
                  <a:pt x="1158903" y="587591"/>
                  <a:pt x="1157081" y="585769"/>
                </a:cubicBezTo>
                <a:cubicBezTo>
                  <a:pt x="1160725" y="585769"/>
                  <a:pt x="1160725" y="582125"/>
                  <a:pt x="1158903" y="580303"/>
                </a:cubicBezTo>
                <a:close/>
                <a:moveTo>
                  <a:pt x="592207" y="580303"/>
                </a:moveTo>
                <a:lnTo>
                  <a:pt x="592374" y="580805"/>
                </a:lnTo>
                <a:lnTo>
                  <a:pt x="591959" y="581462"/>
                </a:lnTo>
                <a:close/>
                <a:moveTo>
                  <a:pt x="506565" y="580303"/>
                </a:moveTo>
                <a:cubicBezTo>
                  <a:pt x="502920" y="583947"/>
                  <a:pt x="508387" y="596702"/>
                  <a:pt x="515676" y="603991"/>
                </a:cubicBezTo>
                <a:cubicBezTo>
                  <a:pt x="519320" y="598524"/>
                  <a:pt x="517498" y="593058"/>
                  <a:pt x="517498" y="587591"/>
                </a:cubicBezTo>
                <a:cubicBezTo>
                  <a:pt x="513853" y="585769"/>
                  <a:pt x="508387" y="583947"/>
                  <a:pt x="506565" y="580303"/>
                </a:cubicBezTo>
                <a:close/>
                <a:moveTo>
                  <a:pt x="3545951" y="578481"/>
                </a:moveTo>
                <a:cubicBezTo>
                  <a:pt x="3546862" y="580303"/>
                  <a:pt x="3546862" y="581214"/>
                  <a:pt x="3546634" y="582581"/>
                </a:cubicBezTo>
                <a:lnTo>
                  <a:pt x="3546047" y="588455"/>
                </a:lnTo>
                <a:lnTo>
                  <a:pt x="3545496" y="588731"/>
                </a:lnTo>
                <a:lnTo>
                  <a:pt x="3543750" y="586113"/>
                </a:lnTo>
                <a:lnTo>
                  <a:pt x="3543238" y="581647"/>
                </a:lnTo>
                <a:close/>
                <a:moveTo>
                  <a:pt x="2966500" y="578481"/>
                </a:moveTo>
                <a:cubicBezTo>
                  <a:pt x="2962855" y="578481"/>
                  <a:pt x="2959211" y="578481"/>
                  <a:pt x="2959211" y="583947"/>
                </a:cubicBezTo>
                <a:cubicBezTo>
                  <a:pt x="2961033" y="583947"/>
                  <a:pt x="2962855" y="585769"/>
                  <a:pt x="2966500" y="585769"/>
                </a:cubicBezTo>
                <a:cubicBezTo>
                  <a:pt x="2966500" y="582125"/>
                  <a:pt x="2970144" y="582125"/>
                  <a:pt x="2966500" y="578481"/>
                </a:cubicBezTo>
                <a:close/>
                <a:moveTo>
                  <a:pt x="2487268" y="578481"/>
                </a:moveTo>
                <a:cubicBezTo>
                  <a:pt x="2485446" y="578481"/>
                  <a:pt x="2485446" y="580303"/>
                  <a:pt x="2485446" y="583947"/>
                </a:cubicBezTo>
                <a:cubicBezTo>
                  <a:pt x="2487268" y="583947"/>
                  <a:pt x="2489090" y="583947"/>
                  <a:pt x="2490912" y="583947"/>
                </a:cubicBezTo>
                <a:cubicBezTo>
                  <a:pt x="2492734" y="578481"/>
                  <a:pt x="2485446" y="583947"/>
                  <a:pt x="2487268" y="578481"/>
                </a:cubicBezTo>
                <a:close/>
                <a:moveTo>
                  <a:pt x="2450824" y="578481"/>
                </a:moveTo>
                <a:cubicBezTo>
                  <a:pt x="2447180" y="591236"/>
                  <a:pt x="2427136" y="596702"/>
                  <a:pt x="2434425" y="611280"/>
                </a:cubicBezTo>
                <a:cubicBezTo>
                  <a:pt x="2432603" y="611280"/>
                  <a:pt x="2430780" y="611280"/>
                  <a:pt x="2428958" y="614924"/>
                </a:cubicBezTo>
                <a:cubicBezTo>
                  <a:pt x="2432603" y="614924"/>
                  <a:pt x="2432603" y="618568"/>
                  <a:pt x="2434425" y="622213"/>
                </a:cubicBezTo>
                <a:cubicBezTo>
                  <a:pt x="2438069" y="616746"/>
                  <a:pt x="2439891" y="611280"/>
                  <a:pt x="2438069" y="603991"/>
                </a:cubicBezTo>
                <a:cubicBezTo>
                  <a:pt x="2441713" y="607635"/>
                  <a:pt x="2438069" y="614924"/>
                  <a:pt x="2441713" y="614924"/>
                </a:cubicBezTo>
                <a:cubicBezTo>
                  <a:pt x="2441713" y="618568"/>
                  <a:pt x="2439891" y="616746"/>
                  <a:pt x="2438069" y="616746"/>
                </a:cubicBezTo>
                <a:cubicBezTo>
                  <a:pt x="2439891" y="623124"/>
                  <a:pt x="2443080" y="622213"/>
                  <a:pt x="2446724" y="619480"/>
                </a:cubicBezTo>
                <a:lnTo>
                  <a:pt x="2450841" y="616516"/>
                </a:lnTo>
                <a:lnTo>
                  <a:pt x="2445358" y="624035"/>
                </a:lnTo>
                <a:lnTo>
                  <a:pt x="2461757" y="629501"/>
                </a:lnTo>
                <a:cubicBezTo>
                  <a:pt x="2463580" y="622213"/>
                  <a:pt x="2461757" y="614924"/>
                  <a:pt x="2469046" y="614924"/>
                </a:cubicBezTo>
                <a:cubicBezTo>
                  <a:pt x="2470868" y="614924"/>
                  <a:pt x="2472690" y="620391"/>
                  <a:pt x="2472690" y="622213"/>
                </a:cubicBezTo>
                <a:cubicBezTo>
                  <a:pt x="2465402" y="622213"/>
                  <a:pt x="2469046" y="627679"/>
                  <a:pt x="2467224" y="631324"/>
                </a:cubicBezTo>
                <a:cubicBezTo>
                  <a:pt x="2469046" y="631324"/>
                  <a:pt x="2469046" y="631324"/>
                  <a:pt x="2470868" y="631324"/>
                </a:cubicBezTo>
                <a:lnTo>
                  <a:pt x="2481801" y="627679"/>
                </a:lnTo>
                <a:lnTo>
                  <a:pt x="2483624" y="633146"/>
                </a:lnTo>
                <a:cubicBezTo>
                  <a:pt x="2483624" y="633146"/>
                  <a:pt x="2483624" y="631324"/>
                  <a:pt x="2483624" y="631324"/>
                </a:cubicBezTo>
                <a:cubicBezTo>
                  <a:pt x="2492734" y="629501"/>
                  <a:pt x="2492734" y="618568"/>
                  <a:pt x="2489090" y="611280"/>
                </a:cubicBezTo>
                <a:cubicBezTo>
                  <a:pt x="2490912" y="611280"/>
                  <a:pt x="2494556" y="613103"/>
                  <a:pt x="2496379" y="611280"/>
                </a:cubicBezTo>
                <a:cubicBezTo>
                  <a:pt x="2498201" y="609459"/>
                  <a:pt x="2492734" y="605813"/>
                  <a:pt x="2494556" y="602169"/>
                </a:cubicBezTo>
                <a:cubicBezTo>
                  <a:pt x="2490912" y="602169"/>
                  <a:pt x="2489090" y="609459"/>
                  <a:pt x="2483624" y="605813"/>
                </a:cubicBezTo>
                <a:cubicBezTo>
                  <a:pt x="2483624" y="614924"/>
                  <a:pt x="2483624" y="618568"/>
                  <a:pt x="2483624" y="624035"/>
                </a:cubicBezTo>
                <a:cubicBezTo>
                  <a:pt x="2483624" y="620391"/>
                  <a:pt x="2483624" y="614924"/>
                  <a:pt x="2481801" y="611280"/>
                </a:cubicBezTo>
                <a:lnTo>
                  <a:pt x="2480161" y="615836"/>
                </a:lnTo>
                <a:lnTo>
                  <a:pt x="2479979" y="609459"/>
                </a:lnTo>
                <a:cubicBezTo>
                  <a:pt x="2476335" y="614924"/>
                  <a:pt x="2472690" y="607635"/>
                  <a:pt x="2469046" y="607635"/>
                </a:cubicBezTo>
                <a:cubicBezTo>
                  <a:pt x="2469046" y="609459"/>
                  <a:pt x="2467224" y="613103"/>
                  <a:pt x="2467224" y="614924"/>
                </a:cubicBezTo>
                <a:cubicBezTo>
                  <a:pt x="2459935" y="613103"/>
                  <a:pt x="2467224" y="605813"/>
                  <a:pt x="2465402" y="607635"/>
                </a:cubicBezTo>
                <a:lnTo>
                  <a:pt x="2458175" y="610908"/>
                </a:lnTo>
                <a:lnTo>
                  <a:pt x="2461757" y="589414"/>
                </a:lnTo>
                <a:cubicBezTo>
                  <a:pt x="2458113" y="593058"/>
                  <a:pt x="2456291" y="593058"/>
                  <a:pt x="2452647" y="593058"/>
                </a:cubicBezTo>
                <a:cubicBezTo>
                  <a:pt x="2450824" y="589414"/>
                  <a:pt x="2452647" y="589414"/>
                  <a:pt x="2452647" y="585769"/>
                </a:cubicBezTo>
                <a:cubicBezTo>
                  <a:pt x="2450824" y="585769"/>
                  <a:pt x="2450824" y="587591"/>
                  <a:pt x="2450824" y="589414"/>
                </a:cubicBezTo>
                <a:cubicBezTo>
                  <a:pt x="2447180" y="589414"/>
                  <a:pt x="2452647" y="583947"/>
                  <a:pt x="2450824" y="578481"/>
                </a:cubicBezTo>
                <a:close/>
                <a:moveTo>
                  <a:pt x="2077279" y="578481"/>
                </a:moveTo>
                <a:cubicBezTo>
                  <a:pt x="2075457" y="578481"/>
                  <a:pt x="2079101" y="583947"/>
                  <a:pt x="2079101" y="585769"/>
                </a:cubicBezTo>
                <a:cubicBezTo>
                  <a:pt x="2079101" y="585769"/>
                  <a:pt x="2079101" y="582125"/>
                  <a:pt x="2082745" y="583947"/>
                </a:cubicBezTo>
                <a:cubicBezTo>
                  <a:pt x="2082745" y="578481"/>
                  <a:pt x="2077279" y="582125"/>
                  <a:pt x="2077279" y="578481"/>
                </a:cubicBezTo>
                <a:close/>
                <a:moveTo>
                  <a:pt x="852778" y="578481"/>
                </a:moveTo>
                <a:lnTo>
                  <a:pt x="853142" y="578845"/>
                </a:lnTo>
                <a:lnTo>
                  <a:pt x="851749" y="580935"/>
                </a:lnTo>
                <a:close/>
                <a:moveTo>
                  <a:pt x="588562" y="578481"/>
                </a:moveTo>
                <a:cubicBezTo>
                  <a:pt x="586741" y="578481"/>
                  <a:pt x="583096" y="582125"/>
                  <a:pt x="583096" y="582125"/>
                </a:cubicBezTo>
                <a:cubicBezTo>
                  <a:pt x="584919" y="583947"/>
                  <a:pt x="586741" y="578481"/>
                  <a:pt x="588562" y="580303"/>
                </a:cubicBezTo>
                <a:cubicBezTo>
                  <a:pt x="588562" y="580303"/>
                  <a:pt x="586741" y="578481"/>
                  <a:pt x="588562" y="578481"/>
                </a:cubicBezTo>
                <a:close/>
                <a:moveTo>
                  <a:pt x="395412" y="578481"/>
                </a:moveTo>
                <a:lnTo>
                  <a:pt x="394409" y="580524"/>
                </a:lnTo>
                <a:lnTo>
                  <a:pt x="393643" y="578924"/>
                </a:lnTo>
                <a:close/>
                <a:moveTo>
                  <a:pt x="2072040" y="577342"/>
                </a:moveTo>
                <a:cubicBezTo>
                  <a:pt x="2070446" y="577114"/>
                  <a:pt x="2069079" y="578481"/>
                  <a:pt x="2069990" y="582125"/>
                </a:cubicBezTo>
                <a:cubicBezTo>
                  <a:pt x="2071812" y="582125"/>
                  <a:pt x="2073634" y="582125"/>
                  <a:pt x="2075457" y="582125"/>
                </a:cubicBezTo>
                <a:cubicBezTo>
                  <a:pt x="2075457" y="579392"/>
                  <a:pt x="2073634" y="577570"/>
                  <a:pt x="2072040" y="577342"/>
                </a:cubicBezTo>
                <a:close/>
                <a:moveTo>
                  <a:pt x="2538289" y="576658"/>
                </a:moveTo>
                <a:cubicBezTo>
                  <a:pt x="2540111" y="578481"/>
                  <a:pt x="2540111" y="582125"/>
                  <a:pt x="2540111" y="582125"/>
                </a:cubicBezTo>
                <a:cubicBezTo>
                  <a:pt x="2543755" y="582125"/>
                  <a:pt x="2543755" y="578481"/>
                  <a:pt x="2545577" y="576658"/>
                </a:cubicBezTo>
                <a:cubicBezTo>
                  <a:pt x="2543755" y="578481"/>
                  <a:pt x="2540111" y="578481"/>
                  <a:pt x="2538289" y="576658"/>
                </a:cubicBezTo>
                <a:close/>
                <a:moveTo>
                  <a:pt x="2421669" y="576658"/>
                </a:moveTo>
                <a:cubicBezTo>
                  <a:pt x="2419847" y="576658"/>
                  <a:pt x="2421669" y="580303"/>
                  <a:pt x="2419847" y="580303"/>
                </a:cubicBezTo>
                <a:cubicBezTo>
                  <a:pt x="2418025" y="580303"/>
                  <a:pt x="2418025" y="580303"/>
                  <a:pt x="2418025" y="578481"/>
                </a:cubicBezTo>
                <a:cubicBezTo>
                  <a:pt x="2416203" y="580303"/>
                  <a:pt x="2421669" y="578481"/>
                  <a:pt x="2419847" y="583947"/>
                </a:cubicBezTo>
                <a:cubicBezTo>
                  <a:pt x="2423492" y="583947"/>
                  <a:pt x="2423492" y="576658"/>
                  <a:pt x="2421669" y="576658"/>
                </a:cubicBezTo>
                <a:close/>
                <a:moveTo>
                  <a:pt x="2343316" y="576658"/>
                </a:moveTo>
                <a:cubicBezTo>
                  <a:pt x="2343316" y="576658"/>
                  <a:pt x="2343316" y="576658"/>
                  <a:pt x="2343316" y="578481"/>
                </a:cubicBezTo>
                <a:lnTo>
                  <a:pt x="2343468" y="578679"/>
                </a:lnTo>
                <a:lnTo>
                  <a:pt x="2344000" y="585770"/>
                </a:lnTo>
                <a:cubicBezTo>
                  <a:pt x="2345594" y="589414"/>
                  <a:pt x="2347871" y="593059"/>
                  <a:pt x="2348782" y="594880"/>
                </a:cubicBezTo>
                <a:cubicBezTo>
                  <a:pt x="2352427" y="591236"/>
                  <a:pt x="2354249" y="589414"/>
                  <a:pt x="2352427" y="583947"/>
                </a:cubicBezTo>
                <a:cubicBezTo>
                  <a:pt x="2350605" y="590325"/>
                  <a:pt x="2349694" y="588503"/>
                  <a:pt x="2348555" y="585314"/>
                </a:cubicBezTo>
                <a:lnTo>
                  <a:pt x="2343468" y="578679"/>
                </a:lnTo>
                <a:close/>
                <a:moveTo>
                  <a:pt x="2321450" y="576658"/>
                </a:moveTo>
                <a:cubicBezTo>
                  <a:pt x="2319628" y="582125"/>
                  <a:pt x="2323272" y="585769"/>
                  <a:pt x="2325094" y="589414"/>
                </a:cubicBezTo>
                <a:cubicBezTo>
                  <a:pt x="2326916" y="587591"/>
                  <a:pt x="2321450" y="583947"/>
                  <a:pt x="2328739" y="582125"/>
                </a:cubicBezTo>
                <a:cubicBezTo>
                  <a:pt x="2328739" y="574836"/>
                  <a:pt x="2321450" y="582125"/>
                  <a:pt x="2321450" y="576658"/>
                </a:cubicBezTo>
                <a:close/>
                <a:moveTo>
                  <a:pt x="1375743" y="576658"/>
                </a:moveTo>
                <a:cubicBezTo>
                  <a:pt x="1375743" y="576658"/>
                  <a:pt x="1376653" y="577570"/>
                  <a:pt x="1377337" y="578709"/>
                </a:cubicBezTo>
                <a:lnTo>
                  <a:pt x="1377341" y="578776"/>
                </a:lnTo>
                <a:close/>
                <a:moveTo>
                  <a:pt x="1149792" y="576658"/>
                </a:moveTo>
                <a:cubicBezTo>
                  <a:pt x="1147970" y="578481"/>
                  <a:pt x="1151614" y="582125"/>
                  <a:pt x="1153436" y="582125"/>
                </a:cubicBezTo>
                <a:cubicBezTo>
                  <a:pt x="1157081" y="580303"/>
                  <a:pt x="1151614" y="580303"/>
                  <a:pt x="1149792" y="576658"/>
                </a:cubicBezTo>
                <a:close/>
                <a:moveTo>
                  <a:pt x="648694" y="576658"/>
                </a:moveTo>
                <a:cubicBezTo>
                  <a:pt x="641407" y="583947"/>
                  <a:pt x="637761" y="593058"/>
                  <a:pt x="645050" y="598524"/>
                </a:cubicBezTo>
                <a:cubicBezTo>
                  <a:pt x="647783" y="600347"/>
                  <a:pt x="647783" y="597614"/>
                  <a:pt x="648011" y="594425"/>
                </a:cubicBezTo>
                <a:lnTo>
                  <a:pt x="650833" y="589969"/>
                </a:lnTo>
                <a:lnTo>
                  <a:pt x="650516" y="591236"/>
                </a:lnTo>
                <a:cubicBezTo>
                  <a:pt x="650516" y="589414"/>
                  <a:pt x="650516" y="587591"/>
                  <a:pt x="652339" y="587591"/>
                </a:cubicBezTo>
                <a:lnTo>
                  <a:pt x="650833" y="589969"/>
                </a:lnTo>
                <a:lnTo>
                  <a:pt x="652339" y="583947"/>
                </a:lnTo>
                <a:cubicBezTo>
                  <a:pt x="651883" y="581214"/>
                  <a:pt x="650516" y="578481"/>
                  <a:pt x="648694" y="576658"/>
                </a:cubicBezTo>
                <a:close/>
                <a:moveTo>
                  <a:pt x="573985" y="576658"/>
                </a:moveTo>
                <a:cubicBezTo>
                  <a:pt x="572163" y="580303"/>
                  <a:pt x="575808" y="580303"/>
                  <a:pt x="573985" y="583947"/>
                </a:cubicBezTo>
                <a:cubicBezTo>
                  <a:pt x="573985" y="585769"/>
                  <a:pt x="577630" y="580303"/>
                  <a:pt x="573985" y="576658"/>
                </a:cubicBezTo>
                <a:close/>
                <a:moveTo>
                  <a:pt x="552119" y="576658"/>
                </a:moveTo>
                <a:cubicBezTo>
                  <a:pt x="548475" y="583947"/>
                  <a:pt x="559408" y="583947"/>
                  <a:pt x="561230" y="593058"/>
                </a:cubicBezTo>
                <a:cubicBezTo>
                  <a:pt x="561230" y="591236"/>
                  <a:pt x="557586" y="589414"/>
                  <a:pt x="561230" y="585769"/>
                </a:cubicBezTo>
                <a:cubicBezTo>
                  <a:pt x="557586" y="582125"/>
                  <a:pt x="555763" y="578481"/>
                  <a:pt x="552119" y="576658"/>
                </a:cubicBezTo>
                <a:close/>
                <a:moveTo>
                  <a:pt x="278793" y="576658"/>
                </a:moveTo>
                <a:cubicBezTo>
                  <a:pt x="276971" y="591236"/>
                  <a:pt x="287904" y="611280"/>
                  <a:pt x="302481" y="618568"/>
                </a:cubicBezTo>
                <a:cubicBezTo>
                  <a:pt x="302481" y="603991"/>
                  <a:pt x="289726" y="587591"/>
                  <a:pt x="278793" y="576658"/>
                </a:cubicBezTo>
                <a:close/>
                <a:moveTo>
                  <a:pt x="3010232" y="574836"/>
                </a:moveTo>
                <a:cubicBezTo>
                  <a:pt x="3012054" y="576658"/>
                  <a:pt x="3012054" y="578481"/>
                  <a:pt x="3010232" y="582125"/>
                </a:cubicBezTo>
                <a:cubicBezTo>
                  <a:pt x="2997477" y="574836"/>
                  <a:pt x="2979255" y="578481"/>
                  <a:pt x="2971966" y="589414"/>
                </a:cubicBezTo>
                <a:cubicBezTo>
                  <a:pt x="2977432" y="593058"/>
                  <a:pt x="2984721" y="598524"/>
                  <a:pt x="2992010" y="593058"/>
                </a:cubicBezTo>
                <a:cubicBezTo>
                  <a:pt x="2993832" y="591236"/>
                  <a:pt x="2993832" y="589414"/>
                  <a:pt x="2993832" y="587591"/>
                </a:cubicBezTo>
                <a:cubicBezTo>
                  <a:pt x="3001121" y="587591"/>
                  <a:pt x="2995654" y="596702"/>
                  <a:pt x="2992010" y="598524"/>
                </a:cubicBezTo>
                <a:lnTo>
                  <a:pt x="2997072" y="603876"/>
                </a:lnTo>
                <a:lnTo>
                  <a:pt x="2991099" y="602169"/>
                </a:lnTo>
                <a:cubicBezTo>
                  <a:pt x="2988822" y="602170"/>
                  <a:pt x="2986544" y="602170"/>
                  <a:pt x="2984721" y="600347"/>
                </a:cubicBezTo>
                <a:cubicBezTo>
                  <a:pt x="2983810" y="603991"/>
                  <a:pt x="2984722" y="607636"/>
                  <a:pt x="2986999" y="610141"/>
                </a:cubicBezTo>
                <a:lnTo>
                  <a:pt x="2996195" y="612740"/>
                </a:lnTo>
                <a:lnTo>
                  <a:pt x="2994971" y="613103"/>
                </a:lnTo>
                <a:cubicBezTo>
                  <a:pt x="2993832" y="614469"/>
                  <a:pt x="2993832" y="616747"/>
                  <a:pt x="2995654" y="620391"/>
                </a:cubicBezTo>
                <a:cubicBezTo>
                  <a:pt x="2990188" y="614924"/>
                  <a:pt x="2984721" y="614924"/>
                  <a:pt x="2977432" y="618568"/>
                </a:cubicBezTo>
                <a:cubicBezTo>
                  <a:pt x="2982899" y="627679"/>
                  <a:pt x="2995654" y="620391"/>
                  <a:pt x="3002943" y="624035"/>
                </a:cubicBezTo>
                <a:cubicBezTo>
                  <a:pt x="3002943" y="618568"/>
                  <a:pt x="2999299" y="616746"/>
                  <a:pt x="3001121" y="611280"/>
                </a:cubicBezTo>
                <a:lnTo>
                  <a:pt x="2997477" y="612360"/>
                </a:lnTo>
                <a:lnTo>
                  <a:pt x="2997477" y="604304"/>
                </a:lnTo>
                <a:lnTo>
                  <a:pt x="2999982" y="606952"/>
                </a:lnTo>
                <a:cubicBezTo>
                  <a:pt x="3003855" y="609002"/>
                  <a:pt x="3007499" y="611280"/>
                  <a:pt x="3006587" y="616746"/>
                </a:cubicBezTo>
                <a:cubicBezTo>
                  <a:pt x="3019343" y="611280"/>
                  <a:pt x="3021165" y="634968"/>
                  <a:pt x="3037564" y="629501"/>
                </a:cubicBezTo>
                <a:cubicBezTo>
                  <a:pt x="3033920" y="622213"/>
                  <a:pt x="3022987" y="627679"/>
                  <a:pt x="3022987" y="620391"/>
                </a:cubicBezTo>
                <a:lnTo>
                  <a:pt x="3028453" y="614926"/>
                </a:lnTo>
                <a:lnTo>
                  <a:pt x="3028453" y="622213"/>
                </a:lnTo>
                <a:cubicBezTo>
                  <a:pt x="3032098" y="622213"/>
                  <a:pt x="3037564" y="622213"/>
                  <a:pt x="3035742" y="616746"/>
                </a:cubicBezTo>
                <a:cubicBezTo>
                  <a:pt x="3034831" y="616746"/>
                  <a:pt x="3034376" y="615835"/>
                  <a:pt x="3033465" y="615152"/>
                </a:cubicBezTo>
                <a:lnTo>
                  <a:pt x="3028455" y="614924"/>
                </a:lnTo>
                <a:lnTo>
                  <a:pt x="3033920" y="609459"/>
                </a:lnTo>
                <a:cubicBezTo>
                  <a:pt x="3035742" y="609459"/>
                  <a:pt x="3035742" y="613103"/>
                  <a:pt x="3035742" y="614924"/>
                </a:cubicBezTo>
                <a:cubicBezTo>
                  <a:pt x="3043031" y="611280"/>
                  <a:pt x="3041209" y="603991"/>
                  <a:pt x="3037564" y="600347"/>
                </a:cubicBezTo>
                <a:cubicBezTo>
                  <a:pt x="3033920" y="596702"/>
                  <a:pt x="3028453" y="594880"/>
                  <a:pt x="3026631" y="593058"/>
                </a:cubicBezTo>
                <a:cubicBezTo>
                  <a:pt x="3026631" y="592147"/>
                  <a:pt x="3027998" y="591692"/>
                  <a:pt x="3029137" y="591009"/>
                </a:cubicBezTo>
                <a:lnTo>
                  <a:pt x="3030219" y="587763"/>
                </a:lnTo>
                <a:lnTo>
                  <a:pt x="3030825" y="588140"/>
                </a:lnTo>
                <a:lnTo>
                  <a:pt x="3041209" y="598524"/>
                </a:lnTo>
                <a:cubicBezTo>
                  <a:pt x="3041209" y="593969"/>
                  <a:pt x="3037565" y="591692"/>
                  <a:pt x="3033237" y="589642"/>
                </a:cubicBezTo>
                <a:lnTo>
                  <a:pt x="3030825" y="588140"/>
                </a:lnTo>
                <a:lnTo>
                  <a:pt x="3030276" y="587591"/>
                </a:lnTo>
                <a:lnTo>
                  <a:pt x="3030219" y="587763"/>
                </a:lnTo>
                <a:lnTo>
                  <a:pt x="3021165" y="582125"/>
                </a:lnTo>
                <a:cubicBezTo>
                  <a:pt x="3021165" y="582125"/>
                  <a:pt x="3022987" y="580303"/>
                  <a:pt x="3024809" y="580303"/>
                </a:cubicBezTo>
                <a:cubicBezTo>
                  <a:pt x="3019343" y="578481"/>
                  <a:pt x="3017521" y="571192"/>
                  <a:pt x="3010232" y="574836"/>
                </a:cubicBezTo>
                <a:close/>
                <a:moveTo>
                  <a:pt x="912909" y="574836"/>
                </a:moveTo>
                <a:cubicBezTo>
                  <a:pt x="911087" y="576658"/>
                  <a:pt x="912909" y="578481"/>
                  <a:pt x="911087" y="582125"/>
                </a:cubicBezTo>
                <a:cubicBezTo>
                  <a:pt x="911087" y="583947"/>
                  <a:pt x="914732" y="580303"/>
                  <a:pt x="916555" y="578481"/>
                </a:cubicBezTo>
                <a:cubicBezTo>
                  <a:pt x="914732" y="576658"/>
                  <a:pt x="914732" y="576658"/>
                  <a:pt x="912909" y="574836"/>
                </a:cubicBezTo>
                <a:close/>
                <a:moveTo>
                  <a:pt x="635939" y="574836"/>
                </a:moveTo>
                <a:cubicBezTo>
                  <a:pt x="634117" y="576658"/>
                  <a:pt x="634117" y="578481"/>
                  <a:pt x="634117" y="580303"/>
                </a:cubicBezTo>
                <a:cubicBezTo>
                  <a:pt x="637761" y="582125"/>
                  <a:pt x="637761" y="576658"/>
                  <a:pt x="635939" y="574836"/>
                </a:cubicBezTo>
                <a:close/>
                <a:moveTo>
                  <a:pt x="477410" y="574836"/>
                </a:moveTo>
                <a:cubicBezTo>
                  <a:pt x="470121" y="582125"/>
                  <a:pt x="481054" y="583947"/>
                  <a:pt x="482876" y="589414"/>
                </a:cubicBezTo>
                <a:cubicBezTo>
                  <a:pt x="482876" y="585769"/>
                  <a:pt x="479232" y="580303"/>
                  <a:pt x="477410" y="574836"/>
                </a:cubicBezTo>
                <a:close/>
                <a:moveTo>
                  <a:pt x="256927" y="574836"/>
                </a:moveTo>
                <a:lnTo>
                  <a:pt x="263958" y="580696"/>
                </a:lnTo>
                <a:lnTo>
                  <a:pt x="278793" y="605813"/>
                </a:lnTo>
                <a:lnTo>
                  <a:pt x="270442" y="598746"/>
                </a:lnTo>
                <a:close/>
                <a:moveTo>
                  <a:pt x="308999" y="574276"/>
                </a:moveTo>
                <a:lnTo>
                  <a:pt x="309771" y="578481"/>
                </a:lnTo>
                <a:lnTo>
                  <a:pt x="308421" y="576587"/>
                </a:lnTo>
                <a:close/>
                <a:moveTo>
                  <a:pt x="2065505" y="573295"/>
                </a:moveTo>
                <a:lnTo>
                  <a:pt x="2066346" y="573925"/>
                </a:lnTo>
                <a:lnTo>
                  <a:pt x="2066346" y="575984"/>
                </a:lnTo>
                <a:lnTo>
                  <a:pt x="2063840" y="575520"/>
                </a:lnTo>
                <a:lnTo>
                  <a:pt x="2060879" y="577353"/>
                </a:lnTo>
                <a:lnTo>
                  <a:pt x="2060879" y="574836"/>
                </a:lnTo>
                <a:close/>
                <a:moveTo>
                  <a:pt x="3316357" y="573014"/>
                </a:moveTo>
                <a:cubicBezTo>
                  <a:pt x="3316357" y="574836"/>
                  <a:pt x="3309068" y="573014"/>
                  <a:pt x="3310890" y="578481"/>
                </a:cubicBezTo>
                <a:cubicBezTo>
                  <a:pt x="3310890" y="580303"/>
                  <a:pt x="3314535" y="582125"/>
                  <a:pt x="3316357" y="583947"/>
                </a:cubicBezTo>
                <a:cubicBezTo>
                  <a:pt x="3321824" y="582125"/>
                  <a:pt x="3318179" y="574836"/>
                  <a:pt x="3316357" y="573014"/>
                </a:cubicBezTo>
                <a:close/>
                <a:moveTo>
                  <a:pt x="3172405" y="573014"/>
                </a:moveTo>
                <a:cubicBezTo>
                  <a:pt x="3163294" y="578481"/>
                  <a:pt x="3156006" y="587591"/>
                  <a:pt x="3150539" y="596702"/>
                </a:cubicBezTo>
                <a:cubicBezTo>
                  <a:pt x="3152361" y="598524"/>
                  <a:pt x="3154184" y="598524"/>
                  <a:pt x="3157828" y="598524"/>
                </a:cubicBezTo>
                <a:cubicBezTo>
                  <a:pt x="3157828" y="593058"/>
                  <a:pt x="3156006" y="589414"/>
                  <a:pt x="3159650" y="587591"/>
                </a:cubicBezTo>
                <a:cubicBezTo>
                  <a:pt x="3165116" y="587591"/>
                  <a:pt x="3157828" y="593058"/>
                  <a:pt x="3161472" y="594880"/>
                </a:cubicBezTo>
                <a:cubicBezTo>
                  <a:pt x="3163294" y="594880"/>
                  <a:pt x="3163294" y="593058"/>
                  <a:pt x="3163294" y="591236"/>
                </a:cubicBezTo>
                <a:cubicBezTo>
                  <a:pt x="3168761" y="591236"/>
                  <a:pt x="3165116" y="593058"/>
                  <a:pt x="3165116" y="596702"/>
                </a:cubicBezTo>
                <a:cubicBezTo>
                  <a:pt x="3170583" y="591236"/>
                  <a:pt x="3168761" y="578481"/>
                  <a:pt x="3172405" y="573014"/>
                </a:cubicBezTo>
                <a:close/>
                <a:moveTo>
                  <a:pt x="2884502" y="573014"/>
                </a:moveTo>
                <a:cubicBezTo>
                  <a:pt x="2884502" y="576658"/>
                  <a:pt x="2880857" y="583947"/>
                  <a:pt x="2882680" y="585769"/>
                </a:cubicBezTo>
                <a:cubicBezTo>
                  <a:pt x="2888146" y="587591"/>
                  <a:pt x="2882680" y="583947"/>
                  <a:pt x="2884502" y="582125"/>
                </a:cubicBezTo>
                <a:cubicBezTo>
                  <a:pt x="2888146" y="583947"/>
                  <a:pt x="2886324" y="587591"/>
                  <a:pt x="2889968" y="587591"/>
                </a:cubicBezTo>
                <a:cubicBezTo>
                  <a:pt x="2889968" y="585769"/>
                  <a:pt x="2889968" y="583947"/>
                  <a:pt x="2889968" y="582125"/>
                </a:cubicBezTo>
                <a:cubicBezTo>
                  <a:pt x="2891790" y="583947"/>
                  <a:pt x="2891790" y="585769"/>
                  <a:pt x="2895435" y="585769"/>
                </a:cubicBezTo>
                <a:cubicBezTo>
                  <a:pt x="2893613" y="582125"/>
                  <a:pt x="2897257" y="580303"/>
                  <a:pt x="2897257" y="576658"/>
                </a:cubicBezTo>
                <a:cubicBezTo>
                  <a:pt x="2893613" y="573014"/>
                  <a:pt x="2891790" y="573014"/>
                  <a:pt x="2884502" y="573014"/>
                </a:cubicBezTo>
                <a:close/>
                <a:moveTo>
                  <a:pt x="2390693" y="573014"/>
                </a:moveTo>
                <a:cubicBezTo>
                  <a:pt x="2387048" y="576658"/>
                  <a:pt x="2387048" y="582125"/>
                  <a:pt x="2385226" y="582125"/>
                </a:cubicBezTo>
                <a:cubicBezTo>
                  <a:pt x="2383404" y="582125"/>
                  <a:pt x="2383404" y="576658"/>
                  <a:pt x="2381582" y="574836"/>
                </a:cubicBezTo>
                <a:cubicBezTo>
                  <a:pt x="2379760" y="578481"/>
                  <a:pt x="2381582" y="583947"/>
                  <a:pt x="2379760" y="585769"/>
                </a:cubicBezTo>
                <a:cubicBezTo>
                  <a:pt x="2376115" y="587591"/>
                  <a:pt x="2379760" y="580303"/>
                  <a:pt x="2377937" y="578481"/>
                </a:cubicBezTo>
                <a:cubicBezTo>
                  <a:pt x="2370649" y="583947"/>
                  <a:pt x="2374293" y="594880"/>
                  <a:pt x="2377937" y="602169"/>
                </a:cubicBezTo>
                <a:cubicBezTo>
                  <a:pt x="2385226" y="594880"/>
                  <a:pt x="2385226" y="589414"/>
                  <a:pt x="2394337" y="587591"/>
                </a:cubicBezTo>
                <a:cubicBezTo>
                  <a:pt x="2399803" y="587591"/>
                  <a:pt x="2388871" y="591236"/>
                  <a:pt x="2396159" y="593058"/>
                </a:cubicBezTo>
                <a:cubicBezTo>
                  <a:pt x="2397981" y="583947"/>
                  <a:pt x="2394337" y="580303"/>
                  <a:pt x="2390693" y="573014"/>
                </a:cubicBezTo>
                <a:close/>
                <a:moveTo>
                  <a:pt x="1106060" y="573014"/>
                </a:moveTo>
                <a:cubicBezTo>
                  <a:pt x="1104238" y="576658"/>
                  <a:pt x="1096949" y="583947"/>
                  <a:pt x="1100593" y="587591"/>
                </a:cubicBezTo>
                <a:cubicBezTo>
                  <a:pt x="1109704" y="583947"/>
                  <a:pt x="1113349" y="573014"/>
                  <a:pt x="1106060" y="573014"/>
                </a:cubicBezTo>
                <a:close/>
                <a:moveTo>
                  <a:pt x="945709" y="573014"/>
                </a:moveTo>
                <a:cubicBezTo>
                  <a:pt x="940242" y="578481"/>
                  <a:pt x="932953" y="583947"/>
                  <a:pt x="932953" y="587591"/>
                </a:cubicBezTo>
                <a:cubicBezTo>
                  <a:pt x="936598" y="583947"/>
                  <a:pt x="947531" y="576658"/>
                  <a:pt x="945709" y="573014"/>
                </a:cubicBezTo>
                <a:close/>
                <a:moveTo>
                  <a:pt x="843667" y="573014"/>
                </a:moveTo>
                <a:cubicBezTo>
                  <a:pt x="841845" y="576658"/>
                  <a:pt x="838200" y="580303"/>
                  <a:pt x="841845" y="583947"/>
                </a:cubicBezTo>
                <a:cubicBezTo>
                  <a:pt x="841845" y="583947"/>
                  <a:pt x="843667" y="582125"/>
                  <a:pt x="843667" y="580303"/>
                </a:cubicBezTo>
                <a:cubicBezTo>
                  <a:pt x="845489" y="583947"/>
                  <a:pt x="843667" y="585769"/>
                  <a:pt x="847311" y="587591"/>
                </a:cubicBezTo>
                <a:lnTo>
                  <a:pt x="851749" y="580935"/>
                </a:lnTo>
                <a:lnTo>
                  <a:pt x="849817" y="585542"/>
                </a:lnTo>
                <a:cubicBezTo>
                  <a:pt x="849133" y="587592"/>
                  <a:pt x="848222" y="589414"/>
                  <a:pt x="845489" y="591236"/>
                </a:cubicBezTo>
                <a:cubicBezTo>
                  <a:pt x="852778" y="591236"/>
                  <a:pt x="854600" y="583947"/>
                  <a:pt x="854600" y="580303"/>
                </a:cubicBezTo>
                <a:lnTo>
                  <a:pt x="853142" y="578845"/>
                </a:lnTo>
                <a:lnTo>
                  <a:pt x="854600" y="576658"/>
                </a:lnTo>
                <a:cubicBezTo>
                  <a:pt x="850956" y="576658"/>
                  <a:pt x="847311" y="573014"/>
                  <a:pt x="843667" y="573014"/>
                </a:cubicBezTo>
                <a:close/>
                <a:moveTo>
                  <a:pt x="821801" y="573014"/>
                </a:moveTo>
                <a:cubicBezTo>
                  <a:pt x="821801" y="574836"/>
                  <a:pt x="819979" y="576658"/>
                  <a:pt x="821801" y="578481"/>
                </a:cubicBezTo>
                <a:cubicBezTo>
                  <a:pt x="823623" y="578481"/>
                  <a:pt x="823623" y="576658"/>
                  <a:pt x="825445" y="574836"/>
                </a:cubicBezTo>
                <a:cubicBezTo>
                  <a:pt x="825445" y="573014"/>
                  <a:pt x="823623" y="573014"/>
                  <a:pt x="821801" y="573014"/>
                </a:cubicBezTo>
                <a:close/>
                <a:moveTo>
                  <a:pt x="809046" y="573014"/>
                </a:moveTo>
                <a:cubicBezTo>
                  <a:pt x="805401" y="574836"/>
                  <a:pt x="810868" y="576658"/>
                  <a:pt x="812690" y="576658"/>
                </a:cubicBezTo>
                <a:cubicBezTo>
                  <a:pt x="814512" y="576658"/>
                  <a:pt x="810868" y="573014"/>
                  <a:pt x="809046" y="573014"/>
                </a:cubicBezTo>
                <a:close/>
                <a:moveTo>
                  <a:pt x="736159" y="573014"/>
                </a:moveTo>
                <a:lnTo>
                  <a:pt x="734154" y="583038"/>
                </a:lnTo>
                <a:lnTo>
                  <a:pt x="734108" y="580531"/>
                </a:lnTo>
                <a:cubicBezTo>
                  <a:pt x="733881" y="580303"/>
                  <a:pt x="733425" y="583947"/>
                  <a:pt x="732515" y="591236"/>
                </a:cubicBezTo>
                <a:lnTo>
                  <a:pt x="734154" y="583038"/>
                </a:lnTo>
                <a:lnTo>
                  <a:pt x="734336" y="593058"/>
                </a:lnTo>
                <a:cubicBezTo>
                  <a:pt x="739803" y="589414"/>
                  <a:pt x="736159" y="582125"/>
                  <a:pt x="743447" y="578481"/>
                </a:cubicBezTo>
                <a:cubicBezTo>
                  <a:pt x="741626" y="578481"/>
                  <a:pt x="737981" y="574836"/>
                  <a:pt x="736159" y="573014"/>
                </a:cubicBezTo>
                <a:close/>
                <a:moveTo>
                  <a:pt x="477410" y="573014"/>
                </a:moveTo>
                <a:cubicBezTo>
                  <a:pt x="479232" y="578481"/>
                  <a:pt x="481054" y="585769"/>
                  <a:pt x="488343" y="587591"/>
                </a:cubicBezTo>
                <a:cubicBezTo>
                  <a:pt x="484700" y="580303"/>
                  <a:pt x="486521" y="578481"/>
                  <a:pt x="486521" y="573014"/>
                </a:cubicBezTo>
                <a:cubicBezTo>
                  <a:pt x="482876" y="573014"/>
                  <a:pt x="481054" y="573014"/>
                  <a:pt x="477410" y="573014"/>
                </a:cubicBezTo>
                <a:close/>
                <a:moveTo>
                  <a:pt x="1164048" y="572909"/>
                </a:moveTo>
                <a:lnTo>
                  <a:pt x="1163962" y="573365"/>
                </a:lnTo>
                <a:lnTo>
                  <a:pt x="1163914" y="573214"/>
                </a:lnTo>
                <a:close/>
                <a:moveTo>
                  <a:pt x="2680802" y="571672"/>
                </a:moveTo>
                <a:lnTo>
                  <a:pt x="2687707" y="580303"/>
                </a:lnTo>
                <a:cubicBezTo>
                  <a:pt x="2687707" y="578481"/>
                  <a:pt x="2687707" y="576658"/>
                  <a:pt x="2689529" y="574836"/>
                </a:cubicBezTo>
                <a:cubicBezTo>
                  <a:pt x="2691351" y="585769"/>
                  <a:pt x="2691351" y="594880"/>
                  <a:pt x="2685885" y="603991"/>
                </a:cubicBezTo>
                <a:cubicBezTo>
                  <a:pt x="2684063" y="596702"/>
                  <a:pt x="2685885" y="585769"/>
                  <a:pt x="2678596" y="583947"/>
                </a:cubicBezTo>
                <a:cubicBezTo>
                  <a:pt x="2669485" y="580303"/>
                  <a:pt x="2674952" y="596702"/>
                  <a:pt x="2665841" y="596702"/>
                </a:cubicBezTo>
                <a:cubicBezTo>
                  <a:pt x="2665841" y="593058"/>
                  <a:pt x="2669485" y="587591"/>
                  <a:pt x="2664019" y="583947"/>
                </a:cubicBezTo>
                <a:cubicBezTo>
                  <a:pt x="2662197" y="587591"/>
                  <a:pt x="2664019" y="593058"/>
                  <a:pt x="2662197" y="594880"/>
                </a:cubicBezTo>
                <a:cubicBezTo>
                  <a:pt x="2654908" y="589414"/>
                  <a:pt x="2664019" y="582125"/>
                  <a:pt x="2665841" y="574836"/>
                </a:cubicBezTo>
                <a:cubicBezTo>
                  <a:pt x="2671307" y="578481"/>
                  <a:pt x="2676774" y="587591"/>
                  <a:pt x="2682240" y="580303"/>
                </a:cubicBezTo>
                <a:close/>
                <a:moveTo>
                  <a:pt x="580819" y="571647"/>
                </a:moveTo>
                <a:lnTo>
                  <a:pt x="579623" y="574438"/>
                </a:lnTo>
                <a:lnTo>
                  <a:pt x="579460" y="574470"/>
                </a:lnTo>
                <a:lnTo>
                  <a:pt x="579492" y="572974"/>
                </a:lnTo>
                <a:close/>
                <a:moveTo>
                  <a:pt x="2937345" y="571192"/>
                </a:moveTo>
                <a:lnTo>
                  <a:pt x="2944223" y="579481"/>
                </a:lnTo>
                <a:lnTo>
                  <a:pt x="2944634" y="580303"/>
                </a:lnTo>
                <a:cubicBezTo>
                  <a:pt x="2942811" y="582125"/>
                  <a:pt x="2935523" y="580303"/>
                  <a:pt x="2931878" y="580303"/>
                </a:cubicBezTo>
                <a:cubicBezTo>
                  <a:pt x="2935523" y="587591"/>
                  <a:pt x="2931878" y="596702"/>
                  <a:pt x="2942811" y="596702"/>
                </a:cubicBezTo>
                <a:cubicBezTo>
                  <a:pt x="2943723" y="593058"/>
                  <a:pt x="2946000" y="587136"/>
                  <a:pt x="2946228" y="581897"/>
                </a:cubicBezTo>
                <a:lnTo>
                  <a:pt x="2944223" y="579481"/>
                </a:lnTo>
                <a:lnTo>
                  <a:pt x="2942356" y="575747"/>
                </a:lnTo>
                <a:cubicBezTo>
                  <a:pt x="2940534" y="574381"/>
                  <a:pt x="2938256" y="573014"/>
                  <a:pt x="2937345" y="571192"/>
                </a:cubicBezTo>
                <a:close/>
                <a:moveTo>
                  <a:pt x="2549222" y="571192"/>
                </a:moveTo>
                <a:cubicBezTo>
                  <a:pt x="2549222" y="580303"/>
                  <a:pt x="2552866" y="585769"/>
                  <a:pt x="2551044" y="591236"/>
                </a:cubicBezTo>
                <a:cubicBezTo>
                  <a:pt x="2551044" y="594880"/>
                  <a:pt x="2549222" y="587591"/>
                  <a:pt x="2545577" y="587591"/>
                </a:cubicBezTo>
                <a:cubicBezTo>
                  <a:pt x="2540111" y="600347"/>
                  <a:pt x="2549222" y="603991"/>
                  <a:pt x="2551044" y="613103"/>
                </a:cubicBezTo>
                <a:cubicBezTo>
                  <a:pt x="2554688" y="611280"/>
                  <a:pt x="2556510" y="616746"/>
                  <a:pt x="2563799" y="614924"/>
                </a:cubicBezTo>
                <a:cubicBezTo>
                  <a:pt x="2565621" y="611280"/>
                  <a:pt x="2569266" y="603991"/>
                  <a:pt x="2572910" y="607635"/>
                </a:cubicBezTo>
                <a:cubicBezTo>
                  <a:pt x="2572910" y="594880"/>
                  <a:pt x="2563799" y="593058"/>
                  <a:pt x="2560155" y="587591"/>
                </a:cubicBezTo>
                <a:cubicBezTo>
                  <a:pt x="2565621" y="578481"/>
                  <a:pt x="2556510" y="565725"/>
                  <a:pt x="2549222" y="571192"/>
                </a:cubicBezTo>
                <a:close/>
                <a:moveTo>
                  <a:pt x="703359" y="571192"/>
                </a:moveTo>
                <a:cubicBezTo>
                  <a:pt x="701537" y="574836"/>
                  <a:pt x="697893" y="578481"/>
                  <a:pt x="697893" y="582125"/>
                </a:cubicBezTo>
                <a:cubicBezTo>
                  <a:pt x="701537" y="580303"/>
                  <a:pt x="705182" y="582125"/>
                  <a:pt x="707004" y="583947"/>
                </a:cubicBezTo>
                <a:cubicBezTo>
                  <a:pt x="705182" y="582125"/>
                  <a:pt x="708826" y="576658"/>
                  <a:pt x="703359" y="571192"/>
                </a:cubicBezTo>
                <a:close/>
                <a:moveTo>
                  <a:pt x="491987" y="571192"/>
                </a:moveTo>
                <a:cubicBezTo>
                  <a:pt x="495632" y="578481"/>
                  <a:pt x="493809" y="574836"/>
                  <a:pt x="491987" y="583947"/>
                </a:cubicBezTo>
                <a:cubicBezTo>
                  <a:pt x="497454" y="585769"/>
                  <a:pt x="495632" y="594880"/>
                  <a:pt x="501098" y="598524"/>
                </a:cubicBezTo>
                <a:cubicBezTo>
                  <a:pt x="501098" y="591236"/>
                  <a:pt x="501098" y="585769"/>
                  <a:pt x="493809" y="580303"/>
                </a:cubicBezTo>
                <a:cubicBezTo>
                  <a:pt x="497454" y="578481"/>
                  <a:pt x="499276" y="585769"/>
                  <a:pt x="501098" y="582125"/>
                </a:cubicBezTo>
                <a:cubicBezTo>
                  <a:pt x="499276" y="578481"/>
                  <a:pt x="493809" y="574836"/>
                  <a:pt x="491987" y="571192"/>
                </a:cubicBezTo>
                <a:close/>
                <a:moveTo>
                  <a:pt x="468299" y="571192"/>
                </a:moveTo>
                <a:cubicBezTo>
                  <a:pt x="464655" y="571192"/>
                  <a:pt x="468299" y="576658"/>
                  <a:pt x="470121" y="576658"/>
                </a:cubicBezTo>
                <a:cubicBezTo>
                  <a:pt x="471943" y="574836"/>
                  <a:pt x="470121" y="571192"/>
                  <a:pt x="468299" y="571192"/>
                </a:cubicBezTo>
                <a:close/>
                <a:moveTo>
                  <a:pt x="389946" y="571192"/>
                </a:moveTo>
                <a:lnTo>
                  <a:pt x="393643" y="578924"/>
                </a:lnTo>
                <a:lnTo>
                  <a:pt x="389507" y="579957"/>
                </a:lnTo>
                <a:close/>
                <a:moveTo>
                  <a:pt x="322525" y="571192"/>
                </a:moveTo>
                <a:cubicBezTo>
                  <a:pt x="320703" y="576658"/>
                  <a:pt x="320703" y="583947"/>
                  <a:pt x="327993" y="585769"/>
                </a:cubicBezTo>
                <a:cubicBezTo>
                  <a:pt x="326169" y="583947"/>
                  <a:pt x="327993" y="583947"/>
                  <a:pt x="329814" y="582125"/>
                </a:cubicBezTo>
                <a:cubicBezTo>
                  <a:pt x="327993" y="578481"/>
                  <a:pt x="324347" y="574836"/>
                  <a:pt x="322525" y="571192"/>
                </a:cubicBezTo>
                <a:close/>
                <a:moveTo>
                  <a:pt x="2680558" y="570211"/>
                </a:moveTo>
                <a:lnTo>
                  <a:pt x="2680802" y="571672"/>
                </a:lnTo>
                <a:lnTo>
                  <a:pt x="2680418" y="571192"/>
                </a:lnTo>
                <a:close/>
                <a:moveTo>
                  <a:pt x="3482175" y="569370"/>
                </a:moveTo>
                <a:cubicBezTo>
                  <a:pt x="3483997" y="571192"/>
                  <a:pt x="3483997" y="574836"/>
                  <a:pt x="3483997" y="574836"/>
                </a:cubicBezTo>
                <a:lnTo>
                  <a:pt x="3484838" y="572403"/>
                </a:lnTo>
                <a:lnTo>
                  <a:pt x="3484470" y="575864"/>
                </a:lnTo>
                <a:lnTo>
                  <a:pt x="3482175" y="576658"/>
                </a:lnTo>
                <a:lnTo>
                  <a:pt x="3482663" y="581045"/>
                </a:lnTo>
                <a:lnTo>
                  <a:pt x="3478917" y="583126"/>
                </a:lnTo>
                <a:close/>
                <a:moveTo>
                  <a:pt x="832734" y="569370"/>
                </a:moveTo>
                <a:cubicBezTo>
                  <a:pt x="827267" y="571192"/>
                  <a:pt x="829089" y="576658"/>
                  <a:pt x="830912" y="582125"/>
                </a:cubicBezTo>
                <a:cubicBezTo>
                  <a:pt x="832734" y="578481"/>
                  <a:pt x="834556" y="574836"/>
                  <a:pt x="838200" y="571192"/>
                </a:cubicBezTo>
                <a:cubicBezTo>
                  <a:pt x="836378" y="571192"/>
                  <a:pt x="834556" y="571192"/>
                  <a:pt x="832734" y="569370"/>
                </a:cubicBezTo>
                <a:close/>
                <a:moveTo>
                  <a:pt x="776246" y="569370"/>
                </a:moveTo>
                <a:cubicBezTo>
                  <a:pt x="774424" y="574836"/>
                  <a:pt x="778070" y="582125"/>
                  <a:pt x="781713" y="587591"/>
                </a:cubicBezTo>
                <a:cubicBezTo>
                  <a:pt x="783535" y="587591"/>
                  <a:pt x="783535" y="587591"/>
                  <a:pt x="783535" y="587591"/>
                </a:cubicBezTo>
                <a:cubicBezTo>
                  <a:pt x="783535" y="591236"/>
                  <a:pt x="787179" y="594880"/>
                  <a:pt x="789003" y="594880"/>
                </a:cubicBezTo>
                <a:cubicBezTo>
                  <a:pt x="794468" y="596702"/>
                  <a:pt x="783535" y="587591"/>
                  <a:pt x="790824" y="587591"/>
                </a:cubicBezTo>
                <a:cubicBezTo>
                  <a:pt x="790824" y="589414"/>
                  <a:pt x="787179" y="593058"/>
                  <a:pt x="792646" y="593058"/>
                </a:cubicBezTo>
                <a:cubicBezTo>
                  <a:pt x="792646" y="591236"/>
                  <a:pt x="792646" y="589414"/>
                  <a:pt x="790824" y="587591"/>
                </a:cubicBezTo>
                <a:cubicBezTo>
                  <a:pt x="789003" y="578481"/>
                  <a:pt x="785357" y="571192"/>
                  <a:pt x="776246" y="569370"/>
                </a:cubicBezTo>
                <a:close/>
                <a:moveTo>
                  <a:pt x="701537" y="569370"/>
                </a:moveTo>
                <a:cubicBezTo>
                  <a:pt x="696071" y="571192"/>
                  <a:pt x="690604" y="576658"/>
                  <a:pt x="694249" y="582125"/>
                </a:cubicBezTo>
                <a:cubicBezTo>
                  <a:pt x="696071" y="578481"/>
                  <a:pt x="697893" y="573014"/>
                  <a:pt x="701537" y="569370"/>
                </a:cubicBezTo>
                <a:close/>
                <a:moveTo>
                  <a:pt x="632296" y="569370"/>
                </a:moveTo>
                <a:cubicBezTo>
                  <a:pt x="628650" y="574836"/>
                  <a:pt x="635939" y="574836"/>
                  <a:pt x="632296" y="580303"/>
                </a:cubicBezTo>
                <a:cubicBezTo>
                  <a:pt x="635939" y="576658"/>
                  <a:pt x="632296" y="573014"/>
                  <a:pt x="632296" y="569370"/>
                </a:cubicBezTo>
                <a:close/>
                <a:moveTo>
                  <a:pt x="544830" y="569370"/>
                </a:moveTo>
                <a:cubicBezTo>
                  <a:pt x="544830" y="571192"/>
                  <a:pt x="544830" y="574836"/>
                  <a:pt x="544830" y="580303"/>
                </a:cubicBezTo>
                <a:cubicBezTo>
                  <a:pt x="544830" y="578481"/>
                  <a:pt x="546653" y="576658"/>
                  <a:pt x="548475" y="574836"/>
                </a:cubicBezTo>
                <a:cubicBezTo>
                  <a:pt x="548475" y="571192"/>
                  <a:pt x="546653" y="571192"/>
                  <a:pt x="544830" y="569370"/>
                </a:cubicBezTo>
                <a:close/>
                <a:moveTo>
                  <a:pt x="2871767" y="569311"/>
                </a:moveTo>
                <a:lnTo>
                  <a:pt x="2871809" y="569340"/>
                </a:lnTo>
                <a:lnTo>
                  <a:pt x="2871747" y="569370"/>
                </a:lnTo>
                <a:close/>
                <a:moveTo>
                  <a:pt x="2613909" y="568004"/>
                </a:moveTo>
                <a:lnTo>
                  <a:pt x="2615428" y="568763"/>
                </a:lnTo>
                <a:lnTo>
                  <a:pt x="2616642" y="574836"/>
                </a:lnTo>
                <a:lnTo>
                  <a:pt x="2613298" y="570655"/>
                </a:lnTo>
                <a:lnTo>
                  <a:pt x="2613210" y="569750"/>
                </a:lnTo>
                <a:close/>
                <a:moveTo>
                  <a:pt x="436761" y="567827"/>
                </a:moveTo>
                <a:lnTo>
                  <a:pt x="437309" y="568740"/>
                </a:lnTo>
                <a:lnTo>
                  <a:pt x="437322" y="569370"/>
                </a:lnTo>
                <a:close/>
                <a:moveTo>
                  <a:pt x="648580" y="567777"/>
                </a:moveTo>
                <a:lnTo>
                  <a:pt x="648466" y="569826"/>
                </a:lnTo>
                <a:cubicBezTo>
                  <a:pt x="647783" y="571192"/>
                  <a:pt x="646872" y="572103"/>
                  <a:pt x="646872" y="571192"/>
                </a:cubicBezTo>
                <a:close/>
                <a:moveTo>
                  <a:pt x="2875391" y="567548"/>
                </a:moveTo>
                <a:lnTo>
                  <a:pt x="2877578" y="571921"/>
                </a:lnTo>
                <a:lnTo>
                  <a:pt x="2877213" y="573014"/>
                </a:lnTo>
                <a:lnTo>
                  <a:pt x="2871809" y="569340"/>
                </a:lnTo>
                <a:close/>
                <a:moveTo>
                  <a:pt x="2430780" y="567548"/>
                </a:moveTo>
                <a:cubicBezTo>
                  <a:pt x="2428958" y="571192"/>
                  <a:pt x="2428958" y="582125"/>
                  <a:pt x="2432603" y="580303"/>
                </a:cubicBezTo>
                <a:cubicBezTo>
                  <a:pt x="2436247" y="578481"/>
                  <a:pt x="2436247" y="571192"/>
                  <a:pt x="2438069" y="567548"/>
                </a:cubicBezTo>
                <a:cubicBezTo>
                  <a:pt x="2437158" y="566637"/>
                  <a:pt x="2436703" y="567092"/>
                  <a:pt x="2435792" y="567548"/>
                </a:cubicBezTo>
                <a:cubicBezTo>
                  <a:pt x="2434880" y="568004"/>
                  <a:pt x="2433514" y="568459"/>
                  <a:pt x="2430780" y="567548"/>
                </a:cubicBezTo>
                <a:close/>
                <a:moveTo>
                  <a:pt x="2401626" y="567548"/>
                </a:moveTo>
                <a:cubicBezTo>
                  <a:pt x="2396159" y="569370"/>
                  <a:pt x="2401626" y="574836"/>
                  <a:pt x="2399803" y="580303"/>
                </a:cubicBezTo>
                <a:cubicBezTo>
                  <a:pt x="2403448" y="578481"/>
                  <a:pt x="2401626" y="573014"/>
                  <a:pt x="2401626" y="567548"/>
                </a:cubicBezTo>
                <a:close/>
                <a:moveTo>
                  <a:pt x="1989814" y="567548"/>
                </a:moveTo>
                <a:cubicBezTo>
                  <a:pt x="1984348" y="576658"/>
                  <a:pt x="1975237" y="578481"/>
                  <a:pt x="1973416" y="589414"/>
                </a:cubicBezTo>
                <a:cubicBezTo>
                  <a:pt x="1982527" y="585769"/>
                  <a:pt x="1989814" y="582125"/>
                  <a:pt x="1995281" y="576658"/>
                </a:cubicBezTo>
                <a:cubicBezTo>
                  <a:pt x="1987992" y="580303"/>
                  <a:pt x="1991638" y="569370"/>
                  <a:pt x="1989814" y="567548"/>
                </a:cubicBezTo>
                <a:close/>
                <a:moveTo>
                  <a:pt x="843667" y="567548"/>
                </a:moveTo>
                <a:cubicBezTo>
                  <a:pt x="841845" y="567548"/>
                  <a:pt x="843667" y="569370"/>
                  <a:pt x="841845" y="569370"/>
                </a:cubicBezTo>
                <a:cubicBezTo>
                  <a:pt x="843667" y="573014"/>
                  <a:pt x="845489" y="571192"/>
                  <a:pt x="847311" y="573014"/>
                </a:cubicBezTo>
                <a:cubicBezTo>
                  <a:pt x="849133" y="571192"/>
                  <a:pt x="841845" y="569370"/>
                  <a:pt x="843667" y="567548"/>
                </a:cubicBezTo>
                <a:close/>
                <a:moveTo>
                  <a:pt x="756203" y="567548"/>
                </a:moveTo>
                <a:cubicBezTo>
                  <a:pt x="758025" y="571192"/>
                  <a:pt x="759848" y="578481"/>
                  <a:pt x="758025" y="582125"/>
                </a:cubicBezTo>
                <a:lnTo>
                  <a:pt x="752345" y="572129"/>
                </a:lnTo>
                <a:close/>
                <a:moveTo>
                  <a:pt x="313414" y="567548"/>
                </a:moveTo>
                <a:cubicBezTo>
                  <a:pt x="311592" y="571192"/>
                  <a:pt x="313414" y="576658"/>
                  <a:pt x="317059" y="582125"/>
                </a:cubicBezTo>
                <a:cubicBezTo>
                  <a:pt x="320703" y="576658"/>
                  <a:pt x="313414" y="574836"/>
                  <a:pt x="313414" y="567548"/>
                </a:cubicBezTo>
                <a:close/>
                <a:moveTo>
                  <a:pt x="666202" y="566252"/>
                </a:moveTo>
                <a:lnTo>
                  <a:pt x="666688" y="566865"/>
                </a:lnTo>
                <a:cubicBezTo>
                  <a:pt x="666916" y="569370"/>
                  <a:pt x="666005" y="572103"/>
                  <a:pt x="665094" y="574836"/>
                </a:cubicBezTo>
                <a:lnTo>
                  <a:pt x="664321" y="573401"/>
                </a:lnTo>
                <a:close/>
                <a:moveTo>
                  <a:pt x="2622109" y="565725"/>
                </a:moveTo>
                <a:cubicBezTo>
                  <a:pt x="2622109" y="574836"/>
                  <a:pt x="2625753" y="574836"/>
                  <a:pt x="2629397" y="574836"/>
                </a:cubicBezTo>
                <a:cubicBezTo>
                  <a:pt x="2627575" y="571192"/>
                  <a:pt x="2625753" y="567548"/>
                  <a:pt x="2622109" y="565725"/>
                </a:cubicBezTo>
                <a:close/>
                <a:moveTo>
                  <a:pt x="2592954" y="565725"/>
                </a:moveTo>
                <a:cubicBezTo>
                  <a:pt x="2591132" y="571192"/>
                  <a:pt x="2589310" y="576658"/>
                  <a:pt x="2589310" y="580303"/>
                </a:cubicBezTo>
                <a:cubicBezTo>
                  <a:pt x="2590221" y="583947"/>
                  <a:pt x="2589310" y="586681"/>
                  <a:pt x="2588854" y="589414"/>
                </a:cubicBezTo>
                <a:lnTo>
                  <a:pt x="2590043" y="594169"/>
                </a:lnTo>
                <a:lnTo>
                  <a:pt x="2589310" y="593058"/>
                </a:lnTo>
                <a:cubicBezTo>
                  <a:pt x="2589310" y="596702"/>
                  <a:pt x="2591132" y="596702"/>
                  <a:pt x="2591132" y="598524"/>
                </a:cubicBezTo>
                <a:lnTo>
                  <a:pt x="2590043" y="594169"/>
                </a:lnTo>
                <a:lnTo>
                  <a:pt x="2596826" y="604447"/>
                </a:lnTo>
                <a:cubicBezTo>
                  <a:pt x="2598876" y="608092"/>
                  <a:pt x="2601154" y="611280"/>
                  <a:pt x="2605709" y="613103"/>
                </a:cubicBezTo>
                <a:cubicBezTo>
                  <a:pt x="2607531" y="609459"/>
                  <a:pt x="2603887" y="603991"/>
                  <a:pt x="2607531" y="600347"/>
                </a:cubicBezTo>
                <a:cubicBezTo>
                  <a:pt x="2607531" y="600347"/>
                  <a:pt x="2607531" y="602169"/>
                  <a:pt x="2609353" y="602169"/>
                </a:cubicBezTo>
                <a:cubicBezTo>
                  <a:pt x="2607531" y="607635"/>
                  <a:pt x="2611176" y="614924"/>
                  <a:pt x="2614820" y="614924"/>
                </a:cubicBezTo>
                <a:cubicBezTo>
                  <a:pt x="2612998" y="613103"/>
                  <a:pt x="2612998" y="605813"/>
                  <a:pt x="2609353" y="602169"/>
                </a:cubicBezTo>
                <a:cubicBezTo>
                  <a:pt x="2611176" y="594880"/>
                  <a:pt x="2605709" y="593058"/>
                  <a:pt x="2600243" y="589414"/>
                </a:cubicBezTo>
                <a:cubicBezTo>
                  <a:pt x="2592954" y="585769"/>
                  <a:pt x="2600243" y="573014"/>
                  <a:pt x="2592954" y="565725"/>
                </a:cubicBezTo>
                <a:close/>
                <a:moveTo>
                  <a:pt x="922020" y="565725"/>
                </a:moveTo>
                <a:cubicBezTo>
                  <a:pt x="920198" y="563904"/>
                  <a:pt x="914732" y="571192"/>
                  <a:pt x="914732" y="573014"/>
                </a:cubicBezTo>
                <a:cubicBezTo>
                  <a:pt x="916555" y="574836"/>
                  <a:pt x="918376" y="576658"/>
                  <a:pt x="920198" y="576658"/>
                </a:cubicBezTo>
                <a:cubicBezTo>
                  <a:pt x="923843" y="571192"/>
                  <a:pt x="918376" y="569370"/>
                  <a:pt x="922020" y="565725"/>
                </a:cubicBezTo>
                <a:close/>
                <a:moveTo>
                  <a:pt x="712470" y="565725"/>
                </a:moveTo>
                <a:cubicBezTo>
                  <a:pt x="713381" y="567548"/>
                  <a:pt x="715205" y="568915"/>
                  <a:pt x="716570" y="570281"/>
                </a:cubicBezTo>
                <a:lnTo>
                  <a:pt x="717198" y="572376"/>
                </a:lnTo>
                <a:lnTo>
                  <a:pt x="716798" y="571420"/>
                </a:lnTo>
                <a:cubicBezTo>
                  <a:pt x="716115" y="568915"/>
                  <a:pt x="715203" y="566637"/>
                  <a:pt x="712470" y="565725"/>
                </a:cubicBezTo>
                <a:close/>
                <a:moveTo>
                  <a:pt x="561230" y="565725"/>
                </a:moveTo>
                <a:cubicBezTo>
                  <a:pt x="559408" y="565725"/>
                  <a:pt x="559408" y="569370"/>
                  <a:pt x="557586" y="569370"/>
                </a:cubicBezTo>
                <a:cubicBezTo>
                  <a:pt x="557586" y="571192"/>
                  <a:pt x="559408" y="571192"/>
                  <a:pt x="561230" y="573014"/>
                </a:cubicBezTo>
                <a:cubicBezTo>
                  <a:pt x="563052" y="571192"/>
                  <a:pt x="559408" y="569370"/>
                  <a:pt x="561230" y="565725"/>
                </a:cubicBezTo>
                <a:close/>
                <a:moveTo>
                  <a:pt x="435500" y="565725"/>
                </a:moveTo>
                <a:cubicBezTo>
                  <a:pt x="436411" y="563903"/>
                  <a:pt x="436411" y="565270"/>
                  <a:pt x="436411" y="566864"/>
                </a:cubicBezTo>
                <a:lnTo>
                  <a:pt x="436761" y="567827"/>
                </a:lnTo>
                <a:close/>
                <a:moveTo>
                  <a:pt x="1121293" y="564672"/>
                </a:moveTo>
                <a:lnTo>
                  <a:pt x="1122388" y="565726"/>
                </a:lnTo>
                <a:lnTo>
                  <a:pt x="1120638" y="565726"/>
                </a:lnTo>
                <a:lnTo>
                  <a:pt x="1120220" y="565726"/>
                </a:lnTo>
                <a:close/>
                <a:moveTo>
                  <a:pt x="2870625" y="564184"/>
                </a:moveTo>
                <a:lnTo>
                  <a:pt x="2873140" y="565190"/>
                </a:lnTo>
                <a:lnTo>
                  <a:pt x="2871767" y="569311"/>
                </a:lnTo>
                <a:lnTo>
                  <a:pt x="2871519" y="569143"/>
                </a:lnTo>
                <a:lnTo>
                  <a:pt x="2870661" y="566323"/>
                </a:lnTo>
                <a:lnTo>
                  <a:pt x="2871747" y="567548"/>
                </a:lnTo>
                <a:close/>
                <a:moveTo>
                  <a:pt x="3261692" y="563904"/>
                </a:moveTo>
                <a:cubicBezTo>
                  <a:pt x="3258047" y="563904"/>
                  <a:pt x="3259869" y="567548"/>
                  <a:pt x="3254403" y="567548"/>
                </a:cubicBezTo>
                <a:cubicBezTo>
                  <a:pt x="3256225" y="569370"/>
                  <a:pt x="3256225" y="573014"/>
                  <a:pt x="3261692" y="571192"/>
                </a:cubicBezTo>
                <a:cubicBezTo>
                  <a:pt x="3263514" y="569370"/>
                  <a:pt x="3263514" y="565725"/>
                  <a:pt x="3261692" y="563904"/>
                </a:cubicBezTo>
                <a:close/>
                <a:moveTo>
                  <a:pt x="2587487" y="563904"/>
                </a:moveTo>
                <a:cubicBezTo>
                  <a:pt x="2583843" y="563904"/>
                  <a:pt x="2585665" y="571192"/>
                  <a:pt x="2583843" y="576658"/>
                </a:cubicBezTo>
                <a:cubicBezTo>
                  <a:pt x="2589310" y="576658"/>
                  <a:pt x="2589310" y="567548"/>
                  <a:pt x="2587487" y="563904"/>
                </a:cubicBezTo>
                <a:close/>
                <a:moveTo>
                  <a:pt x="2139233" y="563904"/>
                </a:moveTo>
                <a:cubicBezTo>
                  <a:pt x="2137410" y="567548"/>
                  <a:pt x="2142877" y="573014"/>
                  <a:pt x="2144699" y="576658"/>
                </a:cubicBezTo>
                <a:cubicBezTo>
                  <a:pt x="2146521" y="574836"/>
                  <a:pt x="2142877" y="565725"/>
                  <a:pt x="2139233" y="563904"/>
                </a:cubicBezTo>
                <a:close/>
                <a:moveTo>
                  <a:pt x="1131570" y="563904"/>
                </a:moveTo>
                <a:cubicBezTo>
                  <a:pt x="1126104" y="569370"/>
                  <a:pt x="1127926" y="574836"/>
                  <a:pt x="1126104" y="580303"/>
                </a:cubicBezTo>
                <a:cubicBezTo>
                  <a:pt x="1129748" y="583947"/>
                  <a:pt x="1133393" y="583947"/>
                  <a:pt x="1137037" y="583947"/>
                </a:cubicBezTo>
                <a:cubicBezTo>
                  <a:pt x="1133393" y="583947"/>
                  <a:pt x="1129748" y="583947"/>
                  <a:pt x="1126104" y="585769"/>
                </a:cubicBezTo>
                <a:cubicBezTo>
                  <a:pt x="1127926" y="587591"/>
                  <a:pt x="1127926" y="589414"/>
                  <a:pt x="1131570" y="589414"/>
                </a:cubicBezTo>
                <a:cubicBezTo>
                  <a:pt x="1124282" y="593058"/>
                  <a:pt x="1122459" y="602169"/>
                  <a:pt x="1116993" y="609459"/>
                </a:cubicBezTo>
                <a:cubicBezTo>
                  <a:pt x="1124282" y="607635"/>
                  <a:pt x="1124282" y="600347"/>
                  <a:pt x="1127926" y="596702"/>
                </a:cubicBezTo>
                <a:cubicBezTo>
                  <a:pt x="1129748" y="600347"/>
                  <a:pt x="1127926" y="600347"/>
                  <a:pt x="1126104" y="602169"/>
                </a:cubicBezTo>
                <a:cubicBezTo>
                  <a:pt x="1127926" y="603991"/>
                  <a:pt x="1131570" y="602169"/>
                  <a:pt x="1131570" y="605813"/>
                </a:cubicBezTo>
                <a:cubicBezTo>
                  <a:pt x="1133393" y="603991"/>
                  <a:pt x="1135215" y="602169"/>
                  <a:pt x="1137037" y="598524"/>
                </a:cubicBezTo>
                <a:cubicBezTo>
                  <a:pt x="1137037" y="596702"/>
                  <a:pt x="1135215" y="598524"/>
                  <a:pt x="1133393" y="596702"/>
                </a:cubicBezTo>
                <a:cubicBezTo>
                  <a:pt x="1137037" y="594880"/>
                  <a:pt x="1138859" y="600347"/>
                  <a:pt x="1142503" y="598524"/>
                </a:cubicBezTo>
                <a:cubicBezTo>
                  <a:pt x="1142503" y="602169"/>
                  <a:pt x="1140681" y="602169"/>
                  <a:pt x="1138859" y="603991"/>
                </a:cubicBezTo>
                <a:cubicBezTo>
                  <a:pt x="1149792" y="603991"/>
                  <a:pt x="1149792" y="594880"/>
                  <a:pt x="1146148" y="591236"/>
                </a:cubicBezTo>
                <a:cubicBezTo>
                  <a:pt x="1146148" y="589414"/>
                  <a:pt x="1142503" y="585769"/>
                  <a:pt x="1138859" y="585769"/>
                </a:cubicBezTo>
                <a:cubicBezTo>
                  <a:pt x="1140681" y="585769"/>
                  <a:pt x="1144326" y="587591"/>
                  <a:pt x="1146148" y="587591"/>
                </a:cubicBezTo>
                <a:cubicBezTo>
                  <a:pt x="1144326" y="580303"/>
                  <a:pt x="1144326" y="569370"/>
                  <a:pt x="1131570" y="563904"/>
                </a:cubicBezTo>
                <a:close/>
                <a:moveTo>
                  <a:pt x="907444" y="563904"/>
                </a:moveTo>
                <a:cubicBezTo>
                  <a:pt x="901976" y="567548"/>
                  <a:pt x="894688" y="571192"/>
                  <a:pt x="898333" y="578481"/>
                </a:cubicBezTo>
                <a:cubicBezTo>
                  <a:pt x="900154" y="576658"/>
                  <a:pt x="903799" y="571192"/>
                  <a:pt x="901976" y="569370"/>
                </a:cubicBezTo>
                <a:cubicBezTo>
                  <a:pt x="909265" y="571192"/>
                  <a:pt x="896510" y="578481"/>
                  <a:pt x="901976" y="576658"/>
                </a:cubicBezTo>
                <a:cubicBezTo>
                  <a:pt x="905621" y="576658"/>
                  <a:pt x="905621" y="569370"/>
                  <a:pt x="907444" y="563904"/>
                </a:cubicBezTo>
                <a:close/>
                <a:moveTo>
                  <a:pt x="887399" y="563904"/>
                </a:moveTo>
                <a:cubicBezTo>
                  <a:pt x="885577" y="565725"/>
                  <a:pt x="885577" y="567548"/>
                  <a:pt x="885577" y="571192"/>
                </a:cubicBezTo>
                <a:cubicBezTo>
                  <a:pt x="881933" y="578481"/>
                  <a:pt x="880111" y="583947"/>
                  <a:pt x="881933" y="591236"/>
                </a:cubicBezTo>
                <a:cubicBezTo>
                  <a:pt x="885577" y="585769"/>
                  <a:pt x="887399" y="583947"/>
                  <a:pt x="891043" y="578481"/>
                </a:cubicBezTo>
                <a:cubicBezTo>
                  <a:pt x="885577" y="576658"/>
                  <a:pt x="889222" y="583947"/>
                  <a:pt x="885577" y="585769"/>
                </a:cubicBezTo>
                <a:cubicBezTo>
                  <a:pt x="889222" y="580303"/>
                  <a:pt x="885577" y="576658"/>
                  <a:pt x="885577" y="571192"/>
                </a:cubicBezTo>
                <a:cubicBezTo>
                  <a:pt x="885577" y="573014"/>
                  <a:pt x="885577" y="574836"/>
                  <a:pt x="887399" y="576658"/>
                </a:cubicBezTo>
                <a:cubicBezTo>
                  <a:pt x="891043" y="571192"/>
                  <a:pt x="887399" y="567548"/>
                  <a:pt x="887399" y="563904"/>
                </a:cubicBezTo>
                <a:close/>
                <a:moveTo>
                  <a:pt x="537542" y="563904"/>
                </a:moveTo>
                <a:cubicBezTo>
                  <a:pt x="535719" y="569370"/>
                  <a:pt x="539364" y="573014"/>
                  <a:pt x="543008" y="576658"/>
                </a:cubicBezTo>
                <a:cubicBezTo>
                  <a:pt x="543008" y="573014"/>
                  <a:pt x="541186" y="569370"/>
                  <a:pt x="543008" y="565725"/>
                </a:cubicBezTo>
                <a:cubicBezTo>
                  <a:pt x="539364" y="563904"/>
                  <a:pt x="537542" y="563904"/>
                  <a:pt x="537542" y="563904"/>
                </a:cubicBezTo>
                <a:close/>
                <a:moveTo>
                  <a:pt x="2574049" y="563448"/>
                </a:moveTo>
                <a:cubicBezTo>
                  <a:pt x="2572455" y="563904"/>
                  <a:pt x="2571088" y="564815"/>
                  <a:pt x="2571088" y="565725"/>
                </a:cubicBezTo>
                <a:cubicBezTo>
                  <a:pt x="2569266" y="571192"/>
                  <a:pt x="2574732" y="573014"/>
                  <a:pt x="2572910" y="578481"/>
                </a:cubicBezTo>
                <a:cubicBezTo>
                  <a:pt x="2572910" y="578481"/>
                  <a:pt x="2572910" y="576658"/>
                  <a:pt x="2571088" y="576658"/>
                </a:cubicBezTo>
                <a:cubicBezTo>
                  <a:pt x="2571088" y="582125"/>
                  <a:pt x="2574732" y="587591"/>
                  <a:pt x="2576554" y="593058"/>
                </a:cubicBezTo>
                <a:cubicBezTo>
                  <a:pt x="2576554" y="587591"/>
                  <a:pt x="2580199" y="580303"/>
                  <a:pt x="2576554" y="574836"/>
                </a:cubicBezTo>
                <a:cubicBezTo>
                  <a:pt x="2582021" y="573014"/>
                  <a:pt x="2580199" y="567548"/>
                  <a:pt x="2578377" y="563904"/>
                </a:cubicBezTo>
                <a:cubicBezTo>
                  <a:pt x="2577466" y="562992"/>
                  <a:pt x="2575643" y="562992"/>
                  <a:pt x="2574049" y="563448"/>
                </a:cubicBezTo>
                <a:close/>
                <a:moveTo>
                  <a:pt x="602576" y="562819"/>
                </a:moveTo>
                <a:lnTo>
                  <a:pt x="602371" y="565014"/>
                </a:lnTo>
                <a:lnTo>
                  <a:pt x="595267" y="576236"/>
                </a:lnTo>
                <a:lnTo>
                  <a:pt x="597218" y="569826"/>
                </a:lnTo>
                <a:close/>
                <a:moveTo>
                  <a:pt x="2866923" y="562105"/>
                </a:moveTo>
                <a:lnTo>
                  <a:pt x="2869970" y="562218"/>
                </a:lnTo>
                <a:lnTo>
                  <a:pt x="2870625" y="564184"/>
                </a:lnTo>
                <a:lnTo>
                  <a:pt x="2869924" y="563904"/>
                </a:lnTo>
                <a:lnTo>
                  <a:pt x="2870661" y="566323"/>
                </a:lnTo>
                <a:close/>
                <a:moveTo>
                  <a:pt x="3320001" y="562081"/>
                </a:moveTo>
                <a:cubicBezTo>
                  <a:pt x="3320001" y="567548"/>
                  <a:pt x="3325468" y="569370"/>
                  <a:pt x="3329112" y="565725"/>
                </a:cubicBezTo>
                <a:cubicBezTo>
                  <a:pt x="3329112" y="567548"/>
                  <a:pt x="3325468" y="569370"/>
                  <a:pt x="3323646" y="571192"/>
                </a:cubicBezTo>
                <a:cubicBezTo>
                  <a:pt x="3320001" y="573014"/>
                  <a:pt x="3327290" y="565725"/>
                  <a:pt x="3320001" y="567548"/>
                </a:cubicBezTo>
                <a:cubicBezTo>
                  <a:pt x="3321824" y="571192"/>
                  <a:pt x="3329112" y="583947"/>
                  <a:pt x="3321824" y="591236"/>
                </a:cubicBezTo>
                <a:cubicBezTo>
                  <a:pt x="3320001" y="591236"/>
                  <a:pt x="3320001" y="589414"/>
                  <a:pt x="3320001" y="589414"/>
                </a:cubicBezTo>
                <a:cubicBezTo>
                  <a:pt x="3314535" y="591236"/>
                  <a:pt x="3318179" y="598524"/>
                  <a:pt x="3325468" y="589414"/>
                </a:cubicBezTo>
                <a:cubicBezTo>
                  <a:pt x="3327290" y="593058"/>
                  <a:pt x="3323646" y="593058"/>
                  <a:pt x="3321824" y="593058"/>
                </a:cubicBezTo>
                <a:cubicBezTo>
                  <a:pt x="3327290" y="594880"/>
                  <a:pt x="3329112" y="598524"/>
                  <a:pt x="3340045" y="596702"/>
                </a:cubicBezTo>
                <a:cubicBezTo>
                  <a:pt x="3343690" y="594880"/>
                  <a:pt x="3341867" y="591236"/>
                  <a:pt x="3345512" y="589414"/>
                </a:cubicBezTo>
                <a:cubicBezTo>
                  <a:pt x="3343690" y="585769"/>
                  <a:pt x="3340045" y="585769"/>
                  <a:pt x="3334579" y="585769"/>
                </a:cubicBezTo>
                <a:cubicBezTo>
                  <a:pt x="3334579" y="582125"/>
                  <a:pt x="3338223" y="578481"/>
                  <a:pt x="3336401" y="573014"/>
                </a:cubicBezTo>
                <a:cubicBezTo>
                  <a:pt x="3340045" y="573014"/>
                  <a:pt x="3340045" y="574836"/>
                  <a:pt x="3343690" y="573014"/>
                </a:cubicBezTo>
                <a:cubicBezTo>
                  <a:pt x="3343690" y="574836"/>
                  <a:pt x="3338223" y="578481"/>
                  <a:pt x="3341867" y="580303"/>
                </a:cubicBezTo>
                <a:cubicBezTo>
                  <a:pt x="3347334" y="576658"/>
                  <a:pt x="3349156" y="578481"/>
                  <a:pt x="3352800" y="580303"/>
                </a:cubicBezTo>
                <a:cubicBezTo>
                  <a:pt x="3354623" y="585769"/>
                  <a:pt x="3347334" y="593058"/>
                  <a:pt x="3356445" y="593058"/>
                </a:cubicBezTo>
                <a:cubicBezTo>
                  <a:pt x="3354623" y="585769"/>
                  <a:pt x="3358267" y="580303"/>
                  <a:pt x="3363734" y="576658"/>
                </a:cubicBezTo>
                <a:cubicBezTo>
                  <a:pt x="3363734" y="569370"/>
                  <a:pt x="3352800" y="573014"/>
                  <a:pt x="3350978" y="565725"/>
                </a:cubicBezTo>
                <a:cubicBezTo>
                  <a:pt x="3338223" y="565725"/>
                  <a:pt x="3332756" y="563904"/>
                  <a:pt x="3320001" y="562081"/>
                </a:cubicBezTo>
                <a:close/>
                <a:moveTo>
                  <a:pt x="2869924" y="562081"/>
                </a:moveTo>
                <a:lnTo>
                  <a:pt x="2870216" y="562227"/>
                </a:lnTo>
                <a:lnTo>
                  <a:pt x="2869970" y="562218"/>
                </a:lnTo>
                <a:close/>
                <a:moveTo>
                  <a:pt x="2463580" y="562081"/>
                </a:moveTo>
                <a:cubicBezTo>
                  <a:pt x="2459935" y="567548"/>
                  <a:pt x="2458113" y="565725"/>
                  <a:pt x="2454469" y="571192"/>
                </a:cubicBezTo>
                <a:cubicBezTo>
                  <a:pt x="2458113" y="574836"/>
                  <a:pt x="2469046" y="573014"/>
                  <a:pt x="2467224" y="563904"/>
                </a:cubicBezTo>
                <a:cubicBezTo>
                  <a:pt x="2465402" y="563904"/>
                  <a:pt x="2463580" y="563904"/>
                  <a:pt x="2463580" y="562081"/>
                </a:cubicBezTo>
                <a:close/>
                <a:moveTo>
                  <a:pt x="2370649" y="562081"/>
                </a:moveTo>
                <a:cubicBezTo>
                  <a:pt x="2368827" y="565725"/>
                  <a:pt x="2370649" y="574836"/>
                  <a:pt x="2368827" y="580303"/>
                </a:cubicBezTo>
                <a:cubicBezTo>
                  <a:pt x="2372471" y="580303"/>
                  <a:pt x="2374293" y="563904"/>
                  <a:pt x="2370649" y="562081"/>
                </a:cubicBezTo>
                <a:close/>
                <a:moveTo>
                  <a:pt x="2352427" y="562081"/>
                </a:moveTo>
                <a:cubicBezTo>
                  <a:pt x="2348782" y="563904"/>
                  <a:pt x="2348782" y="569370"/>
                  <a:pt x="2346960" y="573014"/>
                </a:cubicBezTo>
                <a:cubicBezTo>
                  <a:pt x="2352427" y="571192"/>
                  <a:pt x="2352427" y="574836"/>
                  <a:pt x="2357893" y="573014"/>
                </a:cubicBezTo>
                <a:cubicBezTo>
                  <a:pt x="2357893" y="565725"/>
                  <a:pt x="2352427" y="571192"/>
                  <a:pt x="2352427" y="562081"/>
                </a:cubicBezTo>
                <a:close/>
                <a:moveTo>
                  <a:pt x="739803" y="562081"/>
                </a:moveTo>
                <a:lnTo>
                  <a:pt x="740002" y="562456"/>
                </a:lnTo>
                <a:lnTo>
                  <a:pt x="739739" y="562306"/>
                </a:lnTo>
                <a:close/>
                <a:moveTo>
                  <a:pt x="2866311" y="561415"/>
                </a:moveTo>
                <a:lnTo>
                  <a:pt x="2866923" y="562105"/>
                </a:lnTo>
                <a:lnTo>
                  <a:pt x="2866280" y="562081"/>
                </a:lnTo>
                <a:close/>
                <a:moveTo>
                  <a:pt x="972050" y="561344"/>
                </a:moveTo>
                <a:lnTo>
                  <a:pt x="970536" y="563220"/>
                </a:lnTo>
                <a:lnTo>
                  <a:pt x="964088" y="568420"/>
                </a:lnTo>
                <a:close/>
                <a:moveTo>
                  <a:pt x="3239826" y="560260"/>
                </a:moveTo>
                <a:cubicBezTo>
                  <a:pt x="3239826" y="562081"/>
                  <a:pt x="3236181" y="562081"/>
                  <a:pt x="3234359" y="562081"/>
                </a:cubicBezTo>
                <a:cubicBezTo>
                  <a:pt x="3234359" y="565725"/>
                  <a:pt x="3238003" y="565725"/>
                  <a:pt x="3238003" y="567548"/>
                </a:cubicBezTo>
                <a:cubicBezTo>
                  <a:pt x="3241648" y="567548"/>
                  <a:pt x="3241648" y="563904"/>
                  <a:pt x="3239826" y="560260"/>
                </a:cubicBezTo>
                <a:close/>
                <a:moveTo>
                  <a:pt x="1188058" y="560260"/>
                </a:moveTo>
                <a:cubicBezTo>
                  <a:pt x="1178947" y="571192"/>
                  <a:pt x="1171658" y="580303"/>
                  <a:pt x="1173481" y="587591"/>
                </a:cubicBezTo>
                <a:cubicBezTo>
                  <a:pt x="1175303" y="587591"/>
                  <a:pt x="1175303" y="585769"/>
                  <a:pt x="1177125" y="585769"/>
                </a:cubicBezTo>
                <a:cubicBezTo>
                  <a:pt x="1178947" y="589414"/>
                  <a:pt x="1171658" y="589414"/>
                  <a:pt x="1171658" y="593058"/>
                </a:cubicBezTo>
                <a:cubicBezTo>
                  <a:pt x="1175303" y="593058"/>
                  <a:pt x="1180769" y="589414"/>
                  <a:pt x="1180769" y="585769"/>
                </a:cubicBezTo>
                <a:cubicBezTo>
                  <a:pt x="1184414" y="591236"/>
                  <a:pt x="1177125" y="594880"/>
                  <a:pt x="1173481" y="596702"/>
                </a:cubicBezTo>
                <a:cubicBezTo>
                  <a:pt x="1173481" y="598524"/>
                  <a:pt x="1173481" y="600347"/>
                  <a:pt x="1175303" y="602169"/>
                </a:cubicBezTo>
                <a:cubicBezTo>
                  <a:pt x="1177125" y="598524"/>
                  <a:pt x="1177125" y="602169"/>
                  <a:pt x="1177125" y="603991"/>
                </a:cubicBezTo>
                <a:cubicBezTo>
                  <a:pt x="1180769" y="600347"/>
                  <a:pt x="1184414" y="593058"/>
                  <a:pt x="1186236" y="587591"/>
                </a:cubicBezTo>
                <a:cubicBezTo>
                  <a:pt x="1188058" y="578481"/>
                  <a:pt x="1191703" y="567548"/>
                  <a:pt x="1188058" y="560260"/>
                </a:cubicBezTo>
                <a:close/>
                <a:moveTo>
                  <a:pt x="1180769" y="560260"/>
                </a:moveTo>
                <a:cubicBezTo>
                  <a:pt x="1173481" y="563904"/>
                  <a:pt x="1173481" y="573014"/>
                  <a:pt x="1171658" y="578481"/>
                </a:cubicBezTo>
                <a:cubicBezTo>
                  <a:pt x="1177125" y="574836"/>
                  <a:pt x="1180769" y="567548"/>
                  <a:pt x="1180769" y="560260"/>
                </a:cubicBezTo>
                <a:close/>
                <a:moveTo>
                  <a:pt x="1164370" y="560260"/>
                </a:moveTo>
                <a:cubicBezTo>
                  <a:pt x="1164370" y="562081"/>
                  <a:pt x="1166192" y="563904"/>
                  <a:pt x="1164370" y="565725"/>
                </a:cubicBezTo>
                <a:lnTo>
                  <a:pt x="1163993" y="564971"/>
                </a:lnTo>
                <a:lnTo>
                  <a:pt x="1163545" y="561910"/>
                </a:lnTo>
                <a:close/>
                <a:moveTo>
                  <a:pt x="1120637" y="560260"/>
                </a:moveTo>
                <a:cubicBezTo>
                  <a:pt x="1118815" y="563904"/>
                  <a:pt x="1115171" y="563904"/>
                  <a:pt x="1115171" y="565725"/>
                </a:cubicBezTo>
                <a:cubicBezTo>
                  <a:pt x="1115171" y="567548"/>
                  <a:pt x="1113349" y="567548"/>
                  <a:pt x="1113349" y="567548"/>
                </a:cubicBezTo>
                <a:cubicBezTo>
                  <a:pt x="1111526" y="569370"/>
                  <a:pt x="1111526" y="571192"/>
                  <a:pt x="1113349" y="573014"/>
                </a:cubicBezTo>
                <a:cubicBezTo>
                  <a:pt x="1115171" y="569370"/>
                  <a:pt x="1116993" y="567548"/>
                  <a:pt x="1115171" y="565725"/>
                </a:cubicBezTo>
                <a:lnTo>
                  <a:pt x="1120220" y="565726"/>
                </a:lnTo>
                <a:lnTo>
                  <a:pt x="1118132" y="567776"/>
                </a:lnTo>
                <a:cubicBezTo>
                  <a:pt x="1116082" y="571192"/>
                  <a:pt x="1114260" y="576659"/>
                  <a:pt x="1113349" y="580303"/>
                </a:cubicBezTo>
                <a:cubicBezTo>
                  <a:pt x="1111526" y="580303"/>
                  <a:pt x="1113349" y="580303"/>
                  <a:pt x="1111526" y="582125"/>
                </a:cubicBezTo>
                <a:cubicBezTo>
                  <a:pt x="1113349" y="580303"/>
                  <a:pt x="1116993" y="578481"/>
                  <a:pt x="1118815" y="576658"/>
                </a:cubicBezTo>
                <a:cubicBezTo>
                  <a:pt x="1116993" y="578481"/>
                  <a:pt x="1116993" y="580303"/>
                  <a:pt x="1120637" y="582125"/>
                </a:cubicBezTo>
                <a:cubicBezTo>
                  <a:pt x="1124282" y="580303"/>
                  <a:pt x="1126104" y="574836"/>
                  <a:pt x="1124282" y="573014"/>
                </a:cubicBezTo>
                <a:cubicBezTo>
                  <a:pt x="1124282" y="573014"/>
                  <a:pt x="1122459" y="574836"/>
                  <a:pt x="1122459" y="574836"/>
                </a:cubicBezTo>
                <a:cubicBezTo>
                  <a:pt x="1124282" y="573014"/>
                  <a:pt x="1126104" y="569370"/>
                  <a:pt x="1124282" y="567548"/>
                </a:cubicBezTo>
                <a:lnTo>
                  <a:pt x="1122388" y="565726"/>
                </a:lnTo>
                <a:lnTo>
                  <a:pt x="1126104" y="565725"/>
                </a:lnTo>
                <a:cubicBezTo>
                  <a:pt x="1127926" y="562081"/>
                  <a:pt x="1122459" y="560260"/>
                  <a:pt x="1120637" y="560260"/>
                </a:cubicBezTo>
                <a:close/>
                <a:moveTo>
                  <a:pt x="559408" y="560260"/>
                </a:moveTo>
                <a:cubicBezTo>
                  <a:pt x="557586" y="562081"/>
                  <a:pt x="555763" y="563904"/>
                  <a:pt x="557586" y="565725"/>
                </a:cubicBezTo>
                <a:cubicBezTo>
                  <a:pt x="559408" y="565725"/>
                  <a:pt x="561230" y="563904"/>
                  <a:pt x="561230" y="562081"/>
                </a:cubicBezTo>
                <a:cubicBezTo>
                  <a:pt x="561230" y="562081"/>
                  <a:pt x="559408" y="562081"/>
                  <a:pt x="559408" y="560260"/>
                </a:cubicBezTo>
                <a:close/>
                <a:moveTo>
                  <a:pt x="2663651" y="560175"/>
                </a:moveTo>
                <a:lnTo>
                  <a:pt x="2664019" y="560260"/>
                </a:lnTo>
                <a:lnTo>
                  <a:pt x="2662828" y="566217"/>
                </a:lnTo>
                <a:lnTo>
                  <a:pt x="2662425" y="565954"/>
                </a:lnTo>
                <a:close/>
                <a:moveTo>
                  <a:pt x="1998925" y="558437"/>
                </a:moveTo>
                <a:cubicBezTo>
                  <a:pt x="1997103" y="558437"/>
                  <a:pt x="1998925" y="567548"/>
                  <a:pt x="2000747" y="567548"/>
                </a:cubicBezTo>
                <a:cubicBezTo>
                  <a:pt x="2006214" y="569370"/>
                  <a:pt x="1998925" y="562081"/>
                  <a:pt x="1998925" y="558437"/>
                </a:cubicBezTo>
                <a:close/>
                <a:moveTo>
                  <a:pt x="1344765" y="558437"/>
                </a:moveTo>
                <a:lnTo>
                  <a:pt x="1344765" y="568277"/>
                </a:lnTo>
                <a:lnTo>
                  <a:pt x="1344309" y="566637"/>
                </a:lnTo>
                <a:cubicBezTo>
                  <a:pt x="1344309" y="563904"/>
                  <a:pt x="1344765" y="561171"/>
                  <a:pt x="1344765" y="558437"/>
                </a:cubicBezTo>
                <a:close/>
                <a:moveTo>
                  <a:pt x="1080549" y="558437"/>
                </a:moveTo>
                <a:lnTo>
                  <a:pt x="1095542" y="583424"/>
                </a:lnTo>
                <a:lnTo>
                  <a:pt x="1091028" y="587592"/>
                </a:lnTo>
                <a:lnTo>
                  <a:pt x="1090086" y="589206"/>
                </a:lnTo>
                <a:lnTo>
                  <a:pt x="1089205" y="584175"/>
                </a:lnTo>
                <a:cubicBezTo>
                  <a:pt x="1085561" y="577570"/>
                  <a:pt x="1077816" y="571192"/>
                  <a:pt x="1071439" y="567548"/>
                </a:cubicBezTo>
                <a:cubicBezTo>
                  <a:pt x="1078727" y="565725"/>
                  <a:pt x="1078727" y="573014"/>
                  <a:pt x="1084194" y="573014"/>
                </a:cubicBezTo>
                <a:cubicBezTo>
                  <a:pt x="1084194" y="569370"/>
                  <a:pt x="1082373" y="563904"/>
                  <a:pt x="1080549" y="558437"/>
                </a:cubicBezTo>
                <a:close/>
                <a:moveTo>
                  <a:pt x="903799" y="558437"/>
                </a:moveTo>
                <a:cubicBezTo>
                  <a:pt x="903799" y="560260"/>
                  <a:pt x="901976" y="563904"/>
                  <a:pt x="901976" y="565725"/>
                </a:cubicBezTo>
                <a:cubicBezTo>
                  <a:pt x="903799" y="563904"/>
                  <a:pt x="903799" y="562081"/>
                  <a:pt x="907444" y="560260"/>
                </a:cubicBezTo>
                <a:cubicBezTo>
                  <a:pt x="907444" y="558437"/>
                  <a:pt x="905621" y="560260"/>
                  <a:pt x="905621" y="560260"/>
                </a:cubicBezTo>
                <a:cubicBezTo>
                  <a:pt x="903799" y="560260"/>
                  <a:pt x="905621" y="558437"/>
                  <a:pt x="903799" y="558437"/>
                </a:cubicBezTo>
                <a:close/>
                <a:moveTo>
                  <a:pt x="741626" y="558437"/>
                </a:moveTo>
                <a:cubicBezTo>
                  <a:pt x="744358" y="559348"/>
                  <a:pt x="745725" y="561171"/>
                  <a:pt x="747092" y="562765"/>
                </a:cubicBezTo>
                <a:lnTo>
                  <a:pt x="747370" y="562915"/>
                </a:lnTo>
                <a:lnTo>
                  <a:pt x="748914" y="567548"/>
                </a:lnTo>
                <a:lnTo>
                  <a:pt x="743581" y="564501"/>
                </a:lnTo>
                <a:close/>
                <a:moveTo>
                  <a:pt x="710648" y="558437"/>
                </a:moveTo>
                <a:cubicBezTo>
                  <a:pt x="707004" y="563904"/>
                  <a:pt x="701537" y="573014"/>
                  <a:pt x="712470" y="576658"/>
                </a:cubicBezTo>
                <a:cubicBezTo>
                  <a:pt x="712470" y="571192"/>
                  <a:pt x="716115" y="576658"/>
                  <a:pt x="717937" y="574836"/>
                </a:cubicBezTo>
                <a:lnTo>
                  <a:pt x="717198" y="572376"/>
                </a:lnTo>
                <a:lnTo>
                  <a:pt x="719759" y="578481"/>
                </a:lnTo>
                <a:cubicBezTo>
                  <a:pt x="723404" y="573014"/>
                  <a:pt x="714293" y="563904"/>
                  <a:pt x="710648" y="558437"/>
                </a:cubicBezTo>
                <a:close/>
                <a:moveTo>
                  <a:pt x="544830" y="558437"/>
                </a:moveTo>
                <a:cubicBezTo>
                  <a:pt x="543008" y="560260"/>
                  <a:pt x="544830" y="562081"/>
                  <a:pt x="544830" y="565725"/>
                </a:cubicBezTo>
                <a:cubicBezTo>
                  <a:pt x="546653" y="567548"/>
                  <a:pt x="548475" y="567548"/>
                  <a:pt x="550297" y="567548"/>
                </a:cubicBezTo>
                <a:cubicBezTo>
                  <a:pt x="550297" y="563904"/>
                  <a:pt x="546653" y="562081"/>
                  <a:pt x="544830" y="558437"/>
                </a:cubicBezTo>
                <a:close/>
                <a:moveTo>
                  <a:pt x="508387" y="558437"/>
                </a:moveTo>
                <a:lnTo>
                  <a:pt x="514427" y="562320"/>
                </a:lnTo>
                <a:lnTo>
                  <a:pt x="514992" y="562992"/>
                </a:lnTo>
                <a:cubicBezTo>
                  <a:pt x="517953" y="565270"/>
                  <a:pt x="520231" y="567548"/>
                  <a:pt x="519320" y="573014"/>
                </a:cubicBezTo>
                <a:lnTo>
                  <a:pt x="512802" y="567758"/>
                </a:lnTo>
                <a:close/>
                <a:moveTo>
                  <a:pt x="1114602" y="557980"/>
                </a:moveTo>
                <a:lnTo>
                  <a:pt x="1114032" y="559348"/>
                </a:lnTo>
                <a:cubicBezTo>
                  <a:pt x="1113804" y="560260"/>
                  <a:pt x="1113348" y="561171"/>
                  <a:pt x="1111526" y="562081"/>
                </a:cubicBezTo>
                <a:close/>
                <a:moveTo>
                  <a:pt x="653522" y="557896"/>
                </a:moveTo>
                <a:lnTo>
                  <a:pt x="654161" y="559576"/>
                </a:lnTo>
                <a:cubicBezTo>
                  <a:pt x="653250" y="561626"/>
                  <a:pt x="651427" y="563903"/>
                  <a:pt x="650516" y="565725"/>
                </a:cubicBezTo>
                <a:lnTo>
                  <a:pt x="650972" y="562994"/>
                </a:lnTo>
                <a:close/>
                <a:moveTo>
                  <a:pt x="1147242" y="557709"/>
                </a:moveTo>
                <a:lnTo>
                  <a:pt x="1147742" y="558210"/>
                </a:lnTo>
                <a:cubicBezTo>
                  <a:pt x="1148425" y="558437"/>
                  <a:pt x="1148881" y="558437"/>
                  <a:pt x="1147970" y="558437"/>
                </a:cubicBezTo>
                <a:close/>
                <a:moveTo>
                  <a:pt x="1142503" y="556616"/>
                </a:moveTo>
                <a:cubicBezTo>
                  <a:pt x="1140681" y="554792"/>
                  <a:pt x="1138859" y="560260"/>
                  <a:pt x="1137037" y="560260"/>
                </a:cubicBezTo>
                <a:cubicBezTo>
                  <a:pt x="1138859" y="562081"/>
                  <a:pt x="1140681" y="562081"/>
                  <a:pt x="1142503" y="563904"/>
                </a:cubicBezTo>
                <a:cubicBezTo>
                  <a:pt x="1144326" y="560260"/>
                  <a:pt x="1142503" y="558437"/>
                  <a:pt x="1142503" y="556616"/>
                </a:cubicBezTo>
                <a:close/>
                <a:moveTo>
                  <a:pt x="470121" y="556616"/>
                </a:moveTo>
                <a:cubicBezTo>
                  <a:pt x="462832" y="571192"/>
                  <a:pt x="479232" y="567548"/>
                  <a:pt x="486521" y="569370"/>
                </a:cubicBezTo>
                <a:cubicBezTo>
                  <a:pt x="482876" y="567548"/>
                  <a:pt x="482876" y="562081"/>
                  <a:pt x="477410" y="563904"/>
                </a:cubicBezTo>
                <a:cubicBezTo>
                  <a:pt x="475589" y="560260"/>
                  <a:pt x="479232" y="560260"/>
                  <a:pt x="477410" y="558437"/>
                </a:cubicBezTo>
                <a:cubicBezTo>
                  <a:pt x="479232" y="558437"/>
                  <a:pt x="475589" y="558437"/>
                  <a:pt x="475589" y="558437"/>
                </a:cubicBezTo>
                <a:cubicBezTo>
                  <a:pt x="473766" y="560260"/>
                  <a:pt x="473766" y="563904"/>
                  <a:pt x="475589" y="565725"/>
                </a:cubicBezTo>
                <a:cubicBezTo>
                  <a:pt x="471943" y="562081"/>
                  <a:pt x="471943" y="560260"/>
                  <a:pt x="470121" y="556616"/>
                </a:cubicBezTo>
                <a:close/>
                <a:moveTo>
                  <a:pt x="464655" y="556616"/>
                </a:moveTo>
                <a:cubicBezTo>
                  <a:pt x="462832" y="560260"/>
                  <a:pt x="462832" y="565725"/>
                  <a:pt x="468299" y="565725"/>
                </a:cubicBezTo>
                <a:cubicBezTo>
                  <a:pt x="468299" y="562081"/>
                  <a:pt x="466478" y="558437"/>
                  <a:pt x="464655" y="556616"/>
                </a:cubicBezTo>
                <a:close/>
                <a:moveTo>
                  <a:pt x="442789" y="556616"/>
                </a:moveTo>
                <a:lnTo>
                  <a:pt x="444594" y="558381"/>
                </a:lnTo>
                <a:lnTo>
                  <a:pt x="444611" y="558437"/>
                </a:lnTo>
                <a:close/>
                <a:moveTo>
                  <a:pt x="2419354" y="555156"/>
                </a:moveTo>
                <a:lnTo>
                  <a:pt x="2419303" y="556864"/>
                </a:lnTo>
                <a:lnTo>
                  <a:pt x="2417342" y="557071"/>
                </a:lnTo>
                <a:lnTo>
                  <a:pt x="2415616" y="555742"/>
                </a:lnTo>
                <a:close/>
                <a:moveTo>
                  <a:pt x="2930056" y="554792"/>
                </a:moveTo>
                <a:cubicBezTo>
                  <a:pt x="2930056" y="556616"/>
                  <a:pt x="2930056" y="558437"/>
                  <a:pt x="2930056" y="560260"/>
                </a:cubicBezTo>
                <a:cubicBezTo>
                  <a:pt x="2933700" y="562081"/>
                  <a:pt x="2937345" y="562081"/>
                  <a:pt x="2933700" y="567548"/>
                </a:cubicBezTo>
                <a:cubicBezTo>
                  <a:pt x="2935523" y="565725"/>
                  <a:pt x="2942811" y="569370"/>
                  <a:pt x="2942811" y="563904"/>
                </a:cubicBezTo>
                <a:cubicBezTo>
                  <a:pt x="2935523" y="563904"/>
                  <a:pt x="2939167" y="554792"/>
                  <a:pt x="2930056" y="554792"/>
                </a:cubicBezTo>
                <a:close/>
                <a:moveTo>
                  <a:pt x="2640330" y="554792"/>
                </a:moveTo>
                <a:cubicBezTo>
                  <a:pt x="2634864" y="556616"/>
                  <a:pt x="2640330" y="562081"/>
                  <a:pt x="2645797" y="563904"/>
                </a:cubicBezTo>
                <a:cubicBezTo>
                  <a:pt x="2645797" y="560260"/>
                  <a:pt x="2645797" y="558437"/>
                  <a:pt x="2645797" y="554792"/>
                </a:cubicBezTo>
                <a:cubicBezTo>
                  <a:pt x="2642153" y="552970"/>
                  <a:pt x="2640330" y="565725"/>
                  <a:pt x="2640330" y="554792"/>
                </a:cubicBezTo>
                <a:close/>
                <a:moveTo>
                  <a:pt x="2314161" y="554792"/>
                </a:moveTo>
                <a:cubicBezTo>
                  <a:pt x="2310517" y="556616"/>
                  <a:pt x="2315983" y="562081"/>
                  <a:pt x="2315983" y="565725"/>
                </a:cubicBezTo>
                <a:cubicBezTo>
                  <a:pt x="2319628" y="565725"/>
                  <a:pt x="2319628" y="562081"/>
                  <a:pt x="2321450" y="560260"/>
                </a:cubicBezTo>
                <a:cubicBezTo>
                  <a:pt x="2315983" y="562081"/>
                  <a:pt x="2317806" y="551148"/>
                  <a:pt x="2314161" y="554792"/>
                </a:cubicBezTo>
                <a:close/>
                <a:moveTo>
                  <a:pt x="1198991" y="554792"/>
                </a:moveTo>
                <a:cubicBezTo>
                  <a:pt x="1197169" y="556616"/>
                  <a:pt x="1195346" y="560260"/>
                  <a:pt x="1195346" y="562081"/>
                </a:cubicBezTo>
                <a:cubicBezTo>
                  <a:pt x="1197169" y="562081"/>
                  <a:pt x="1197169" y="562081"/>
                  <a:pt x="1198991" y="560260"/>
                </a:cubicBezTo>
                <a:cubicBezTo>
                  <a:pt x="1193525" y="565725"/>
                  <a:pt x="1189880" y="574836"/>
                  <a:pt x="1195346" y="583947"/>
                </a:cubicBezTo>
                <a:cubicBezTo>
                  <a:pt x="1197169" y="583947"/>
                  <a:pt x="1197169" y="582125"/>
                  <a:pt x="1197169" y="580303"/>
                </a:cubicBezTo>
                <a:cubicBezTo>
                  <a:pt x="1197169" y="582125"/>
                  <a:pt x="1197169" y="583947"/>
                  <a:pt x="1195346" y="585769"/>
                </a:cubicBezTo>
                <a:cubicBezTo>
                  <a:pt x="1198991" y="585769"/>
                  <a:pt x="1198991" y="580303"/>
                  <a:pt x="1200814" y="578481"/>
                </a:cubicBezTo>
                <a:cubicBezTo>
                  <a:pt x="1197169" y="576658"/>
                  <a:pt x="1195346" y="573014"/>
                  <a:pt x="1193525" y="571192"/>
                </a:cubicBezTo>
                <a:cubicBezTo>
                  <a:pt x="1195346" y="573014"/>
                  <a:pt x="1198991" y="574836"/>
                  <a:pt x="1200814" y="576658"/>
                </a:cubicBezTo>
                <a:cubicBezTo>
                  <a:pt x="1202636" y="574836"/>
                  <a:pt x="1202636" y="571192"/>
                  <a:pt x="1206279" y="571192"/>
                </a:cubicBezTo>
                <a:cubicBezTo>
                  <a:pt x="1200814" y="567548"/>
                  <a:pt x="1202636" y="560260"/>
                  <a:pt x="1198991" y="554792"/>
                </a:cubicBezTo>
                <a:close/>
                <a:moveTo>
                  <a:pt x="1182592" y="554792"/>
                </a:moveTo>
                <a:cubicBezTo>
                  <a:pt x="1180769" y="556616"/>
                  <a:pt x="1180769" y="560260"/>
                  <a:pt x="1182592" y="565725"/>
                </a:cubicBezTo>
                <a:cubicBezTo>
                  <a:pt x="1184414" y="563904"/>
                  <a:pt x="1186236" y="562081"/>
                  <a:pt x="1186236" y="560260"/>
                </a:cubicBezTo>
                <a:cubicBezTo>
                  <a:pt x="1184414" y="558437"/>
                  <a:pt x="1184414" y="556616"/>
                  <a:pt x="1182592" y="554792"/>
                </a:cubicBezTo>
                <a:close/>
                <a:moveTo>
                  <a:pt x="1124282" y="554792"/>
                </a:moveTo>
                <a:cubicBezTo>
                  <a:pt x="1122459" y="558437"/>
                  <a:pt x="1127926" y="562081"/>
                  <a:pt x="1129748" y="560260"/>
                </a:cubicBezTo>
                <a:cubicBezTo>
                  <a:pt x="1133393" y="556616"/>
                  <a:pt x="1126104" y="554792"/>
                  <a:pt x="1124282" y="554792"/>
                </a:cubicBezTo>
                <a:close/>
                <a:moveTo>
                  <a:pt x="1116993" y="554792"/>
                </a:moveTo>
                <a:lnTo>
                  <a:pt x="1114602" y="557980"/>
                </a:lnTo>
                <a:lnTo>
                  <a:pt x="1115171" y="556616"/>
                </a:lnTo>
                <a:cubicBezTo>
                  <a:pt x="1113349" y="554792"/>
                  <a:pt x="1109704" y="560260"/>
                  <a:pt x="1111526" y="562081"/>
                </a:cubicBezTo>
                <a:cubicBezTo>
                  <a:pt x="1109704" y="565725"/>
                  <a:pt x="1120637" y="556616"/>
                  <a:pt x="1116993" y="554792"/>
                </a:cubicBezTo>
                <a:close/>
                <a:moveTo>
                  <a:pt x="829089" y="554792"/>
                </a:moveTo>
                <a:lnTo>
                  <a:pt x="829187" y="554923"/>
                </a:lnTo>
                <a:lnTo>
                  <a:pt x="829089" y="558437"/>
                </a:lnTo>
                <a:lnTo>
                  <a:pt x="828144" y="558437"/>
                </a:lnTo>
                <a:close/>
                <a:moveTo>
                  <a:pt x="3436621" y="554565"/>
                </a:moveTo>
                <a:cubicBezTo>
                  <a:pt x="3435710" y="554793"/>
                  <a:pt x="3434799" y="555704"/>
                  <a:pt x="3432976" y="554792"/>
                </a:cubicBezTo>
                <a:cubicBezTo>
                  <a:pt x="3432976" y="558437"/>
                  <a:pt x="3434798" y="558437"/>
                  <a:pt x="3434798" y="560260"/>
                </a:cubicBezTo>
                <a:cubicBezTo>
                  <a:pt x="3436621" y="560260"/>
                  <a:pt x="3438443" y="558437"/>
                  <a:pt x="3440265" y="558437"/>
                </a:cubicBezTo>
                <a:cubicBezTo>
                  <a:pt x="3438443" y="554793"/>
                  <a:pt x="3437532" y="554337"/>
                  <a:pt x="3436621" y="554565"/>
                </a:cubicBezTo>
                <a:close/>
                <a:moveTo>
                  <a:pt x="778791" y="554174"/>
                </a:moveTo>
                <a:lnTo>
                  <a:pt x="780056" y="556284"/>
                </a:lnTo>
                <a:lnTo>
                  <a:pt x="778659" y="555236"/>
                </a:lnTo>
                <a:lnTo>
                  <a:pt x="778457" y="554460"/>
                </a:lnTo>
                <a:close/>
                <a:moveTo>
                  <a:pt x="2374293" y="552970"/>
                </a:moveTo>
                <a:cubicBezTo>
                  <a:pt x="2377937" y="562081"/>
                  <a:pt x="2377937" y="560260"/>
                  <a:pt x="2377937" y="573014"/>
                </a:cubicBezTo>
                <a:cubicBezTo>
                  <a:pt x="2379760" y="574836"/>
                  <a:pt x="2377937" y="562081"/>
                  <a:pt x="2381582" y="562081"/>
                </a:cubicBezTo>
                <a:cubicBezTo>
                  <a:pt x="2379760" y="558437"/>
                  <a:pt x="2379760" y="552970"/>
                  <a:pt x="2374293" y="552970"/>
                </a:cubicBezTo>
                <a:close/>
                <a:moveTo>
                  <a:pt x="1893239" y="552970"/>
                </a:moveTo>
                <a:cubicBezTo>
                  <a:pt x="1895061" y="556616"/>
                  <a:pt x="1891417" y="556616"/>
                  <a:pt x="1893239" y="560260"/>
                </a:cubicBezTo>
                <a:cubicBezTo>
                  <a:pt x="1898706" y="560260"/>
                  <a:pt x="1904172" y="562081"/>
                  <a:pt x="1904172" y="554792"/>
                </a:cubicBezTo>
                <a:cubicBezTo>
                  <a:pt x="1900528" y="552970"/>
                  <a:pt x="1896883" y="552970"/>
                  <a:pt x="1893239" y="552970"/>
                </a:cubicBezTo>
                <a:close/>
                <a:moveTo>
                  <a:pt x="1127926" y="552970"/>
                </a:moveTo>
                <a:cubicBezTo>
                  <a:pt x="1124282" y="556616"/>
                  <a:pt x="1129748" y="554792"/>
                  <a:pt x="1131570" y="556616"/>
                </a:cubicBezTo>
                <a:cubicBezTo>
                  <a:pt x="1133393" y="554792"/>
                  <a:pt x="1129748" y="551148"/>
                  <a:pt x="1127926" y="552970"/>
                </a:cubicBezTo>
                <a:close/>
                <a:moveTo>
                  <a:pt x="916555" y="552970"/>
                </a:moveTo>
                <a:cubicBezTo>
                  <a:pt x="911087" y="560260"/>
                  <a:pt x="911087" y="567548"/>
                  <a:pt x="905621" y="574836"/>
                </a:cubicBezTo>
                <a:cubicBezTo>
                  <a:pt x="911087" y="574836"/>
                  <a:pt x="912909" y="567548"/>
                  <a:pt x="916555" y="565725"/>
                </a:cubicBezTo>
                <a:cubicBezTo>
                  <a:pt x="914732" y="565725"/>
                  <a:pt x="914732" y="563904"/>
                  <a:pt x="912909" y="562081"/>
                </a:cubicBezTo>
                <a:cubicBezTo>
                  <a:pt x="918376" y="563904"/>
                  <a:pt x="914732" y="552970"/>
                  <a:pt x="918376" y="556616"/>
                </a:cubicBezTo>
                <a:cubicBezTo>
                  <a:pt x="918376" y="558437"/>
                  <a:pt x="916555" y="563904"/>
                  <a:pt x="920198" y="563904"/>
                </a:cubicBezTo>
                <a:cubicBezTo>
                  <a:pt x="922020" y="560260"/>
                  <a:pt x="920198" y="558437"/>
                  <a:pt x="918376" y="556616"/>
                </a:cubicBezTo>
                <a:cubicBezTo>
                  <a:pt x="918376" y="554792"/>
                  <a:pt x="918376" y="551148"/>
                  <a:pt x="916555" y="552970"/>
                </a:cubicBezTo>
                <a:close/>
                <a:moveTo>
                  <a:pt x="2566504" y="551746"/>
                </a:moveTo>
                <a:cubicBezTo>
                  <a:pt x="2565963" y="552401"/>
                  <a:pt x="2565621" y="553882"/>
                  <a:pt x="2565621" y="556616"/>
                </a:cubicBezTo>
                <a:cubicBezTo>
                  <a:pt x="2569266" y="556616"/>
                  <a:pt x="2571088" y="560260"/>
                  <a:pt x="2572910" y="556616"/>
                </a:cubicBezTo>
                <a:cubicBezTo>
                  <a:pt x="2571999" y="555704"/>
                  <a:pt x="2570177" y="552971"/>
                  <a:pt x="2568583" y="551832"/>
                </a:cubicBezTo>
                <a:cubicBezTo>
                  <a:pt x="2567786" y="551263"/>
                  <a:pt x="2567045" y="551092"/>
                  <a:pt x="2566504" y="551746"/>
                </a:cubicBezTo>
                <a:close/>
                <a:moveTo>
                  <a:pt x="2924590" y="551148"/>
                </a:moveTo>
                <a:cubicBezTo>
                  <a:pt x="2913656" y="552970"/>
                  <a:pt x="2917301" y="558437"/>
                  <a:pt x="2910012" y="567548"/>
                </a:cubicBezTo>
                <a:cubicBezTo>
                  <a:pt x="2913656" y="567548"/>
                  <a:pt x="2917301" y="569370"/>
                  <a:pt x="2922767" y="567548"/>
                </a:cubicBezTo>
                <a:cubicBezTo>
                  <a:pt x="2922767" y="560260"/>
                  <a:pt x="2924590" y="556616"/>
                  <a:pt x="2924590" y="551148"/>
                </a:cubicBezTo>
                <a:close/>
                <a:moveTo>
                  <a:pt x="2667663" y="551148"/>
                </a:moveTo>
                <a:cubicBezTo>
                  <a:pt x="2662197" y="551148"/>
                  <a:pt x="2665841" y="558437"/>
                  <a:pt x="2665841" y="560260"/>
                </a:cubicBezTo>
                <a:cubicBezTo>
                  <a:pt x="2671307" y="560260"/>
                  <a:pt x="2667663" y="558437"/>
                  <a:pt x="2667663" y="551148"/>
                </a:cubicBezTo>
                <a:close/>
                <a:moveTo>
                  <a:pt x="2478157" y="551148"/>
                </a:moveTo>
                <a:cubicBezTo>
                  <a:pt x="2474513" y="551148"/>
                  <a:pt x="2472690" y="551148"/>
                  <a:pt x="2472690" y="556616"/>
                </a:cubicBezTo>
                <a:cubicBezTo>
                  <a:pt x="2478157" y="558437"/>
                  <a:pt x="2479979" y="562081"/>
                  <a:pt x="2478157" y="551148"/>
                </a:cubicBezTo>
                <a:close/>
                <a:moveTo>
                  <a:pt x="2088212" y="551148"/>
                </a:moveTo>
                <a:cubicBezTo>
                  <a:pt x="2088212" y="552970"/>
                  <a:pt x="2086390" y="558437"/>
                  <a:pt x="2084568" y="552970"/>
                </a:cubicBezTo>
                <a:cubicBezTo>
                  <a:pt x="2082745" y="554792"/>
                  <a:pt x="2088212" y="563904"/>
                  <a:pt x="2091856" y="565725"/>
                </a:cubicBezTo>
                <a:cubicBezTo>
                  <a:pt x="2090034" y="558437"/>
                  <a:pt x="2090034" y="558437"/>
                  <a:pt x="2088212" y="551148"/>
                </a:cubicBezTo>
                <a:close/>
                <a:moveTo>
                  <a:pt x="1876839" y="551148"/>
                </a:moveTo>
                <a:cubicBezTo>
                  <a:pt x="1876839" y="552970"/>
                  <a:pt x="1875017" y="552970"/>
                  <a:pt x="1875017" y="552970"/>
                </a:cubicBezTo>
                <a:lnTo>
                  <a:pt x="1875017" y="558437"/>
                </a:lnTo>
                <a:cubicBezTo>
                  <a:pt x="1875017" y="558437"/>
                  <a:pt x="1876839" y="560260"/>
                  <a:pt x="1878662" y="560260"/>
                </a:cubicBezTo>
                <a:cubicBezTo>
                  <a:pt x="1880484" y="558437"/>
                  <a:pt x="1876839" y="552970"/>
                  <a:pt x="1876839" y="551148"/>
                </a:cubicBezTo>
                <a:close/>
                <a:moveTo>
                  <a:pt x="1111526" y="551148"/>
                </a:moveTo>
                <a:cubicBezTo>
                  <a:pt x="1109704" y="552970"/>
                  <a:pt x="1107882" y="556616"/>
                  <a:pt x="1106060" y="558437"/>
                </a:cubicBezTo>
                <a:cubicBezTo>
                  <a:pt x="1109704" y="558437"/>
                  <a:pt x="1113349" y="552970"/>
                  <a:pt x="1111526" y="551148"/>
                </a:cubicBezTo>
                <a:close/>
                <a:moveTo>
                  <a:pt x="491039" y="551105"/>
                </a:moveTo>
                <a:lnTo>
                  <a:pt x="496707" y="557668"/>
                </a:lnTo>
                <a:lnTo>
                  <a:pt x="501098" y="567548"/>
                </a:lnTo>
                <a:close/>
                <a:moveTo>
                  <a:pt x="734686" y="549954"/>
                </a:moveTo>
                <a:lnTo>
                  <a:pt x="735475" y="551148"/>
                </a:lnTo>
                <a:lnTo>
                  <a:pt x="735237" y="553813"/>
                </a:lnTo>
                <a:close/>
                <a:moveTo>
                  <a:pt x="263953" y="549819"/>
                </a:moveTo>
                <a:lnTo>
                  <a:pt x="266721" y="553654"/>
                </a:lnTo>
                <a:lnTo>
                  <a:pt x="271889" y="566622"/>
                </a:lnTo>
                <a:lnTo>
                  <a:pt x="271049" y="565726"/>
                </a:lnTo>
                <a:cubicBezTo>
                  <a:pt x="267860" y="561854"/>
                  <a:pt x="265241" y="557754"/>
                  <a:pt x="263875" y="553255"/>
                </a:cubicBezTo>
                <a:close/>
                <a:moveTo>
                  <a:pt x="3392888" y="549326"/>
                </a:moveTo>
                <a:cubicBezTo>
                  <a:pt x="3387422" y="545681"/>
                  <a:pt x="3391066" y="567548"/>
                  <a:pt x="3378311" y="562081"/>
                </a:cubicBezTo>
                <a:cubicBezTo>
                  <a:pt x="3381955" y="565725"/>
                  <a:pt x="3381955" y="574836"/>
                  <a:pt x="3385600" y="576658"/>
                </a:cubicBezTo>
                <a:cubicBezTo>
                  <a:pt x="3385600" y="580303"/>
                  <a:pt x="3391066" y="573014"/>
                  <a:pt x="3392888" y="573014"/>
                </a:cubicBezTo>
                <a:cubicBezTo>
                  <a:pt x="3396532" y="571192"/>
                  <a:pt x="3391066" y="578481"/>
                  <a:pt x="3392888" y="576658"/>
                </a:cubicBezTo>
                <a:cubicBezTo>
                  <a:pt x="3398355" y="574836"/>
                  <a:pt x="3398355" y="569370"/>
                  <a:pt x="3400177" y="563904"/>
                </a:cubicBezTo>
                <a:cubicBezTo>
                  <a:pt x="3407466" y="567548"/>
                  <a:pt x="3403821" y="569370"/>
                  <a:pt x="3400177" y="574836"/>
                </a:cubicBezTo>
                <a:cubicBezTo>
                  <a:pt x="3405643" y="578481"/>
                  <a:pt x="3411110" y="582125"/>
                  <a:pt x="3416577" y="585769"/>
                </a:cubicBezTo>
                <a:cubicBezTo>
                  <a:pt x="3418399" y="576658"/>
                  <a:pt x="3422043" y="582125"/>
                  <a:pt x="3427510" y="583947"/>
                </a:cubicBezTo>
                <a:cubicBezTo>
                  <a:pt x="3431154" y="585769"/>
                  <a:pt x="3425687" y="585769"/>
                  <a:pt x="3425687" y="587591"/>
                </a:cubicBezTo>
                <a:cubicBezTo>
                  <a:pt x="3443909" y="589414"/>
                  <a:pt x="3467597" y="574836"/>
                  <a:pt x="3463953" y="554792"/>
                </a:cubicBezTo>
                <a:cubicBezTo>
                  <a:pt x="3454842" y="556616"/>
                  <a:pt x="3460309" y="573014"/>
                  <a:pt x="3453020" y="567548"/>
                </a:cubicBezTo>
                <a:cubicBezTo>
                  <a:pt x="3451198" y="567548"/>
                  <a:pt x="3449376" y="563904"/>
                  <a:pt x="3447553" y="562081"/>
                </a:cubicBezTo>
                <a:cubicBezTo>
                  <a:pt x="3447553" y="571192"/>
                  <a:pt x="3432976" y="580303"/>
                  <a:pt x="3427510" y="573014"/>
                </a:cubicBezTo>
                <a:cubicBezTo>
                  <a:pt x="3425687" y="569370"/>
                  <a:pt x="3431154" y="573014"/>
                  <a:pt x="3432976" y="571192"/>
                </a:cubicBezTo>
                <a:cubicBezTo>
                  <a:pt x="3432976" y="567548"/>
                  <a:pt x="3434798" y="560260"/>
                  <a:pt x="3429332" y="560260"/>
                </a:cubicBezTo>
                <a:cubicBezTo>
                  <a:pt x="3427510" y="560260"/>
                  <a:pt x="3427510" y="567548"/>
                  <a:pt x="3422043" y="567548"/>
                </a:cubicBezTo>
                <a:cubicBezTo>
                  <a:pt x="3414754" y="565725"/>
                  <a:pt x="3418399" y="556616"/>
                  <a:pt x="3418399" y="551148"/>
                </a:cubicBezTo>
                <a:cubicBezTo>
                  <a:pt x="3409288" y="545681"/>
                  <a:pt x="3401999" y="558437"/>
                  <a:pt x="3396532" y="556616"/>
                </a:cubicBezTo>
                <a:cubicBezTo>
                  <a:pt x="3396532" y="560260"/>
                  <a:pt x="3398355" y="567548"/>
                  <a:pt x="3394710" y="565725"/>
                </a:cubicBezTo>
                <a:cubicBezTo>
                  <a:pt x="3385600" y="563904"/>
                  <a:pt x="3400177" y="554792"/>
                  <a:pt x="3392888" y="549326"/>
                </a:cubicBezTo>
                <a:close/>
                <a:moveTo>
                  <a:pt x="3208849" y="549326"/>
                </a:moveTo>
                <a:cubicBezTo>
                  <a:pt x="3194271" y="554792"/>
                  <a:pt x="3185160" y="573014"/>
                  <a:pt x="3196093" y="587591"/>
                </a:cubicBezTo>
                <a:cubicBezTo>
                  <a:pt x="3196093" y="589414"/>
                  <a:pt x="3201560" y="582125"/>
                  <a:pt x="3207027" y="585769"/>
                </a:cubicBezTo>
                <a:cubicBezTo>
                  <a:pt x="3207027" y="587591"/>
                  <a:pt x="3207027" y="589414"/>
                  <a:pt x="3205204" y="589414"/>
                </a:cubicBezTo>
                <a:cubicBezTo>
                  <a:pt x="3201560" y="589414"/>
                  <a:pt x="3199738" y="587591"/>
                  <a:pt x="3197916" y="589414"/>
                </a:cubicBezTo>
                <a:lnTo>
                  <a:pt x="3199738" y="593058"/>
                </a:lnTo>
                <a:cubicBezTo>
                  <a:pt x="3201560" y="593058"/>
                  <a:pt x="3201560" y="593058"/>
                  <a:pt x="3203382" y="593058"/>
                </a:cubicBezTo>
                <a:cubicBezTo>
                  <a:pt x="3205204" y="594880"/>
                  <a:pt x="3203382" y="598524"/>
                  <a:pt x="3203382" y="600347"/>
                </a:cubicBezTo>
                <a:cubicBezTo>
                  <a:pt x="3212493" y="594880"/>
                  <a:pt x="3203382" y="593058"/>
                  <a:pt x="3205204" y="591236"/>
                </a:cubicBezTo>
                <a:cubicBezTo>
                  <a:pt x="3210671" y="585769"/>
                  <a:pt x="3212493" y="594880"/>
                  <a:pt x="3217960" y="593058"/>
                </a:cubicBezTo>
                <a:cubicBezTo>
                  <a:pt x="3214315" y="596702"/>
                  <a:pt x="3205204" y="598524"/>
                  <a:pt x="3207027" y="603991"/>
                </a:cubicBezTo>
                <a:cubicBezTo>
                  <a:pt x="3208849" y="609459"/>
                  <a:pt x="3214315" y="602169"/>
                  <a:pt x="3217960" y="602169"/>
                </a:cubicBezTo>
                <a:cubicBezTo>
                  <a:pt x="3217960" y="602169"/>
                  <a:pt x="3217960" y="605813"/>
                  <a:pt x="3219782" y="605813"/>
                </a:cubicBezTo>
                <a:cubicBezTo>
                  <a:pt x="3232537" y="605813"/>
                  <a:pt x="3241648" y="589414"/>
                  <a:pt x="3243470" y="578481"/>
                </a:cubicBezTo>
                <a:cubicBezTo>
                  <a:pt x="3239826" y="580303"/>
                  <a:pt x="3236181" y="576658"/>
                  <a:pt x="3234359" y="576658"/>
                </a:cubicBezTo>
                <a:cubicBezTo>
                  <a:pt x="3232537" y="578481"/>
                  <a:pt x="3232537" y="580303"/>
                  <a:pt x="3234359" y="582125"/>
                </a:cubicBezTo>
                <a:cubicBezTo>
                  <a:pt x="3228893" y="571192"/>
                  <a:pt x="3230715" y="565725"/>
                  <a:pt x="3214315" y="563904"/>
                </a:cubicBezTo>
                <a:cubicBezTo>
                  <a:pt x="3205204" y="563904"/>
                  <a:pt x="3216137" y="560260"/>
                  <a:pt x="3219782" y="554792"/>
                </a:cubicBezTo>
                <a:cubicBezTo>
                  <a:pt x="3210671" y="558437"/>
                  <a:pt x="3210671" y="552970"/>
                  <a:pt x="3208849" y="549326"/>
                </a:cubicBezTo>
                <a:close/>
                <a:moveTo>
                  <a:pt x="2868102" y="549326"/>
                </a:moveTo>
                <a:lnTo>
                  <a:pt x="2868649" y="550055"/>
                </a:lnTo>
                <a:lnTo>
                  <a:pt x="2868102" y="556616"/>
                </a:lnTo>
                <a:lnTo>
                  <a:pt x="2866764" y="555828"/>
                </a:lnTo>
                <a:close/>
                <a:moveTo>
                  <a:pt x="2527356" y="549326"/>
                </a:moveTo>
                <a:cubicBezTo>
                  <a:pt x="2523711" y="549326"/>
                  <a:pt x="2520067" y="549326"/>
                  <a:pt x="2521889" y="554792"/>
                </a:cubicBezTo>
                <a:cubicBezTo>
                  <a:pt x="2523711" y="554792"/>
                  <a:pt x="2525534" y="554792"/>
                  <a:pt x="2527356" y="549326"/>
                </a:cubicBezTo>
                <a:close/>
                <a:moveTo>
                  <a:pt x="2441713" y="549326"/>
                </a:moveTo>
                <a:cubicBezTo>
                  <a:pt x="2439891" y="547504"/>
                  <a:pt x="2436247" y="549326"/>
                  <a:pt x="2432603" y="551148"/>
                </a:cubicBezTo>
                <a:cubicBezTo>
                  <a:pt x="2432603" y="556616"/>
                  <a:pt x="2434425" y="562081"/>
                  <a:pt x="2438069" y="560260"/>
                </a:cubicBezTo>
                <a:cubicBezTo>
                  <a:pt x="2439891" y="558437"/>
                  <a:pt x="2441713" y="554792"/>
                  <a:pt x="2441713" y="549326"/>
                </a:cubicBezTo>
                <a:close/>
                <a:moveTo>
                  <a:pt x="2381582" y="549326"/>
                </a:moveTo>
                <a:cubicBezTo>
                  <a:pt x="2379760" y="552970"/>
                  <a:pt x="2383404" y="556616"/>
                  <a:pt x="2383404" y="558437"/>
                </a:cubicBezTo>
                <a:cubicBezTo>
                  <a:pt x="2385226" y="558437"/>
                  <a:pt x="2383404" y="552970"/>
                  <a:pt x="2383404" y="549326"/>
                </a:cubicBezTo>
                <a:cubicBezTo>
                  <a:pt x="2383404" y="551148"/>
                  <a:pt x="2381582" y="551148"/>
                  <a:pt x="2381582" y="549326"/>
                </a:cubicBezTo>
                <a:close/>
                <a:moveTo>
                  <a:pt x="2365182" y="549326"/>
                </a:moveTo>
                <a:cubicBezTo>
                  <a:pt x="2365182" y="547504"/>
                  <a:pt x="2359716" y="551148"/>
                  <a:pt x="2357893" y="554792"/>
                </a:cubicBezTo>
                <a:cubicBezTo>
                  <a:pt x="2356071" y="563904"/>
                  <a:pt x="2368827" y="569370"/>
                  <a:pt x="2361538" y="578481"/>
                </a:cubicBezTo>
                <a:cubicBezTo>
                  <a:pt x="2359716" y="578481"/>
                  <a:pt x="2363360" y="580303"/>
                  <a:pt x="2367004" y="580303"/>
                </a:cubicBezTo>
                <a:cubicBezTo>
                  <a:pt x="2365182" y="573014"/>
                  <a:pt x="2367004" y="567548"/>
                  <a:pt x="2367004" y="558437"/>
                </a:cubicBezTo>
                <a:cubicBezTo>
                  <a:pt x="2363360" y="556616"/>
                  <a:pt x="2365182" y="554792"/>
                  <a:pt x="2365182" y="549326"/>
                </a:cubicBezTo>
                <a:close/>
                <a:moveTo>
                  <a:pt x="987143" y="549239"/>
                </a:moveTo>
                <a:lnTo>
                  <a:pt x="986333" y="552194"/>
                </a:lnTo>
                <a:lnTo>
                  <a:pt x="985796" y="552970"/>
                </a:lnTo>
                <a:close/>
                <a:moveTo>
                  <a:pt x="2937345" y="547504"/>
                </a:moveTo>
                <a:cubicBezTo>
                  <a:pt x="2939167" y="554792"/>
                  <a:pt x="2942811" y="562081"/>
                  <a:pt x="2951922" y="563904"/>
                </a:cubicBezTo>
                <a:cubicBezTo>
                  <a:pt x="2951922" y="560260"/>
                  <a:pt x="2948278" y="558437"/>
                  <a:pt x="2950100" y="552970"/>
                </a:cubicBezTo>
                <a:cubicBezTo>
                  <a:pt x="2944634" y="552970"/>
                  <a:pt x="2942811" y="552970"/>
                  <a:pt x="2937345" y="547504"/>
                </a:cubicBezTo>
                <a:close/>
                <a:moveTo>
                  <a:pt x="2512778" y="547504"/>
                </a:moveTo>
                <a:cubicBezTo>
                  <a:pt x="2510956" y="549326"/>
                  <a:pt x="2510956" y="551148"/>
                  <a:pt x="2510956" y="554792"/>
                </a:cubicBezTo>
                <a:cubicBezTo>
                  <a:pt x="2514600" y="554792"/>
                  <a:pt x="2516423" y="556616"/>
                  <a:pt x="2520067" y="556616"/>
                </a:cubicBezTo>
                <a:cubicBezTo>
                  <a:pt x="2520067" y="549326"/>
                  <a:pt x="2514600" y="549326"/>
                  <a:pt x="2512778" y="547504"/>
                </a:cubicBezTo>
                <a:close/>
                <a:moveTo>
                  <a:pt x="1233612" y="547504"/>
                </a:moveTo>
                <a:cubicBezTo>
                  <a:pt x="1231790" y="549326"/>
                  <a:pt x="1231790" y="549326"/>
                  <a:pt x="1229969" y="551148"/>
                </a:cubicBezTo>
                <a:cubicBezTo>
                  <a:pt x="1231790" y="552970"/>
                  <a:pt x="1237256" y="549326"/>
                  <a:pt x="1233612" y="547504"/>
                </a:cubicBezTo>
                <a:close/>
                <a:moveTo>
                  <a:pt x="1213568" y="547504"/>
                </a:moveTo>
                <a:cubicBezTo>
                  <a:pt x="1211747" y="547504"/>
                  <a:pt x="1211747" y="551148"/>
                  <a:pt x="1211747" y="554792"/>
                </a:cubicBezTo>
                <a:cubicBezTo>
                  <a:pt x="1215390" y="554792"/>
                  <a:pt x="1211747" y="549326"/>
                  <a:pt x="1213568" y="547504"/>
                </a:cubicBezTo>
                <a:close/>
                <a:moveTo>
                  <a:pt x="1102416" y="547504"/>
                </a:moveTo>
                <a:cubicBezTo>
                  <a:pt x="1104238" y="547504"/>
                  <a:pt x="1104238" y="563904"/>
                  <a:pt x="1106060" y="549326"/>
                </a:cubicBezTo>
                <a:cubicBezTo>
                  <a:pt x="1104238" y="547504"/>
                  <a:pt x="1104238" y="549326"/>
                  <a:pt x="1102416" y="547504"/>
                </a:cubicBezTo>
                <a:close/>
                <a:moveTo>
                  <a:pt x="982152" y="547504"/>
                </a:moveTo>
                <a:cubicBezTo>
                  <a:pt x="980330" y="549326"/>
                  <a:pt x="978508" y="551604"/>
                  <a:pt x="976230" y="553427"/>
                </a:cubicBezTo>
                <a:lnTo>
                  <a:pt x="971636" y="555120"/>
                </a:lnTo>
                <a:close/>
                <a:moveTo>
                  <a:pt x="936598" y="547504"/>
                </a:moveTo>
                <a:cubicBezTo>
                  <a:pt x="931131" y="562081"/>
                  <a:pt x="920198" y="571192"/>
                  <a:pt x="922020" y="587591"/>
                </a:cubicBezTo>
                <a:cubicBezTo>
                  <a:pt x="927487" y="574836"/>
                  <a:pt x="951175" y="556616"/>
                  <a:pt x="936598" y="547504"/>
                </a:cubicBezTo>
                <a:close/>
                <a:moveTo>
                  <a:pt x="816334" y="547504"/>
                </a:moveTo>
                <a:cubicBezTo>
                  <a:pt x="812690" y="551148"/>
                  <a:pt x="814512" y="558437"/>
                  <a:pt x="816334" y="562081"/>
                </a:cubicBezTo>
                <a:cubicBezTo>
                  <a:pt x="816334" y="560260"/>
                  <a:pt x="818156" y="560260"/>
                  <a:pt x="819979" y="558437"/>
                </a:cubicBezTo>
                <a:cubicBezTo>
                  <a:pt x="818156" y="554792"/>
                  <a:pt x="818156" y="551148"/>
                  <a:pt x="816334" y="547504"/>
                </a:cubicBezTo>
                <a:close/>
                <a:moveTo>
                  <a:pt x="734336" y="547504"/>
                </a:moveTo>
                <a:lnTo>
                  <a:pt x="734686" y="549954"/>
                </a:lnTo>
                <a:lnTo>
                  <a:pt x="733383" y="547981"/>
                </a:lnTo>
                <a:close/>
                <a:moveTo>
                  <a:pt x="317059" y="547504"/>
                </a:moveTo>
                <a:cubicBezTo>
                  <a:pt x="315236" y="554792"/>
                  <a:pt x="309771" y="562081"/>
                  <a:pt x="317059" y="573014"/>
                </a:cubicBezTo>
                <a:cubicBezTo>
                  <a:pt x="320703" y="569370"/>
                  <a:pt x="317059" y="562081"/>
                  <a:pt x="318882" y="558437"/>
                </a:cubicBezTo>
                <a:cubicBezTo>
                  <a:pt x="318882" y="567548"/>
                  <a:pt x="327993" y="576658"/>
                  <a:pt x="335280" y="587591"/>
                </a:cubicBezTo>
                <a:cubicBezTo>
                  <a:pt x="329814" y="573014"/>
                  <a:pt x="326169" y="565725"/>
                  <a:pt x="320703" y="552970"/>
                </a:cubicBezTo>
                <a:cubicBezTo>
                  <a:pt x="318882" y="558437"/>
                  <a:pt x="317059" y="549326"/>
                  <a:pt x="317059" y="547504"/>
                </a:cubicBezTo>
                <a:close/>
                <a:moveTo>
                  <a:pt x="2334661" y="547276"/>
                </a:moveTo>
                <a:cubicBezTo>
                  <a:pt x="2332839" y="548415"/>
                  <a:pt x="2331472" y="551148"/>
                  <a:pt x="2332383" y="554792"/>
                </a:cubicBezTo>
                <a:cubicBezTo>
                  <a:pt x="2336027" y="552970"/>
                  <a:pt x="2336027" y="547504"/>
                  <a:pt x="2339672" y="549326"/>
                </a:cubicBezTo>
                <a:cubicBezTo>
                  <a:pt x="2338761" y="546593"/>
                  <a:pt x="2336483" y="546137"/>
                  <a:pt x="2334661" y="547276"/>
                </a:cubicBezTo>
                <a:close/>
                <a:moveTo>
                  <a:pt x="820202" y="546426"/>
                </a:moveTo>
                <a:lnTo>
                  <a:pt x="821345" y="550237"/>
                </a:lnTo>
                <a:lnTo>
                  <a:pt x="820340" y="553589"/>
                </a:lnTo>
                <a:lnTo>
                  <a:pt x="819751" y="550237"/>
                </a:lnTo>
                <a:close/>
                <a:moveTo>
                  <a:pt x="731950" y="545812"/>
                </a:moveTo>
                <a:lnTo>
                  <a:pt x="733383" y="547981"/>
                </a:lnTo>
                <a:lnTo>
                  <a:pt x="730692" y="549326"/>
                </a:lnTo>
                <a:cubicBezTo>
                  <a:pt x="731603" y="548416"/>
                  <a:pt x="731603" y="547049"/>
                  <a:pt x="731831" y="545910"/>
                </a:cubicBezTo>
                <a:close/>
                <a:moveTo>
                  <a:pt x="2421669" y="545681"/>
                </a:moveTo>
                <a:lnTo>
                  <a:pt x="2421846" y="547446"/>
                </a:lnTo>
                <a:lnTo>
                  <a:pt x="2421669" y="547504"/>
                </a:lnTo>
                <a:lnTo>
                  <a:pt x="2422167" y="550658"/>
                </a:lnTo>
                <a:lnTo>
                  <a:pt x="2422305" y="552037"/>
                </a:lnTo>
                <a:lnTo>
                  <a:pt x="2421669" y="554792"/>
                </a:lnTo>
                <a:lnTo>
                  <a:pt x="2419354" y="555156"/>
                </a:lnTo>
                <a:lnTo>
                  <a:pt x="2419392" y="553882"/>
                </a:lnTo>
                <a:lnTo>
                  <a:pt x="2418352" y="550613"/>
                </a:lnTo>
                <a:lnTo>
                  <a:pt x="2418708" y="550237"/>
                </a:lnTo>
                <a:cubicBezTo>
                  <a:pt x="2419392" y="548871"/>
                  <a:pt x="2419847" y="547504"/>
                  <a:pt x="2421669" y="545681"/>
                </a:cubicBezTo>
                <a:close/>
                <a:moveTo>
                  <a:pt x="2172032" y="545681"/>
                </a:moveTo>
                <a:cubicBezTo>
                  <a:pt x="2170210" y="549326"/>
                  <a:pt x="2170210" y="554792"/>
                  <a:pt x="2170210" y="558437"/>
                </a:cubicBezTo>
                <a:cubicBezTo>
                  <a:pt x="2175676" y="560260"/>
                  <a:pt x="2168387" y="549326"/>
                  <a:pt x="2173854" y="551148"/>
                </a:cubicBezTo>
                <a:cubicBezTo>
                  <a:pt x="2173854" y="549326"/>
                  <a:pt x="2172032" y="549326"/>
                  <a:pt x="2172032" y="545681"/>
                </a:cubicBezTo>
                <a:close/>
                <a:moveTo>
                  <a:pt x="1987992" y="545681"/>
                </a:moveTo>
                <a:lnTo>
                  <a:pt x="1988199" y="546927"/>
                </a:lnTo>
                <a:lnTo>
                  <a:pt x="1986788" y="547806"/>
                </a:lnTo>
                <a:close/>
                <a:moveTo>
                  <a:pt x="716115" y="545681"/>
                </a:moveTo>
                <a:cubicBezTo>
                  <a:pt x="708826" y="552970"/>
                  <a:pt x="712470" y="560260"/>
                  <a:pt x="719759" y="565725"/>
                </a:cubicBezTo>
                <a:cubicBezTo>
                  <a:pt x="725226" y="560260"/>
                  <a:pt x="721581" y="551148"/>
                  <a:pt x="716115" y="545681"/>
                </a:cubicBezTo>
                <a:close/>
                <a:moveTo>
                  <a:pt x="258749" y="545681"/>
                </a:moveTo>
                <a:cubicBezTo>
                  <a:pt x="260571" y="545681"/>
                  <a:pt x="262393" y="552970"/>
                  <a:pt x="260571" y="552970"/>
                </a:cubicBezTo>
                <a:cubicBezTo>
                  <a:pt x="260571" y="549326"/>
                  <a:pt x="255105" y="547504"/>
                  <a:pt x="258749" y="545681"/>
                </a:cubicBezTo>
                <a:close/>
                <a:moveTo>
                  <a:pt x="1139107" y="544301"/>
                </a:moveTo>
                <a:lnTo>
                  <a:pt x="1137529" y="546421"/>
                </a:lnTo>
                <a:lnTo>
                  <a:pt x="1137037" y="545681"/>
                </a:lnTo>
                <a:close/>
                <a:moveTo>
                  <a:pt x="3323646" y="543860"/>
                </a:moveTo>
                <a:cubicBezTo>
                  <a:pt x="3323646" y="547504"/>
                  <a:pt x="3323646" y="552970"/>
                  <a:pt x="3320001" y="549326"/>
                </a:cubicBezTo>
                <a:cubicBezTo>
                  <a:pt x="3320001" y="563904"/>
                  <a:pt x="3341867" y="562081"/>
                  <a:pt x="3354623" y="554792"/>
                </a:cubicBezTo>
                <a:cubicBezTo>
                  <a:pt x="3352800" y="554792"/>
                  <a:pt x="3347334" y="554792"/>
                  <a:pt x="3349156" y="551148"/>
                </a:cubicBezTo>
                <a:cubicBezTo>
                  <a:pt x="3347334" y="552970"/>
                  <a:pt x="3347334" y="552970"/>
                  <a:pt x="3347334" y="554792"/>
                </a:cubicBezTo>
                <a:cubicBezTo>
                  <a:pt x="3338223" y="552970"/>
                  <a:pt x="3336401" y="542037"/>
                  <a:pt x="3327290" y="551148"/>
                </a:cubicBezTo>
                <a:cubicBezTo>
                  <a:pt x="3329112" y="549326"/>
                  <a:pt x="3329112" y="547504"/>
                  <a:pt x="3329112" y="547504"/>
                </a:cubicBezTo>
                <a:cubicBezTo>
                  <a:pt x="3325468" y="549326"/>
                  <a:pt x="3327290" y="543860"/>
                  <a:pt x="3323646" y="543860"/>
                </a:cubicBezTo>
                <a:close/>
                <a:moveTo>
                  <a:pt x="3261692" y="543860"/>
                </a:moveTo>
                <a:cubicBezTo>
                  <a:pt x="3258047" y="545681"/>
                  <a:pt x="3254403" y="547504"/>
                  <a:pt x="3252581" y="549326"/>
                </a:cubicBezTo>
                <a:cubicBezTo>
                  <a:pt x="3248937" y="554792"/>
                  <a:pt x="3258047" y="549326"/>
                  <a:pt x="3258047" y="552970"/>
                </a:cubicBezTo>
                <a:cubicBezTo>
                  <a:pt x="3261692" y="549326"/>
                  <a:pt x="3261692" y="547504"/>
                  <a:pt x="3261692" y="543860"/>
                </a:cubicBezTo>
                <a:close/>
                <a:moveTo>
                  <a:pt x="3232537" y="543860"/>
                </a:moveTo>
                <a:cubicBezTo>
                  <a:pt x="3228893" y="547504"/>
                  <a:pt x="3227071" y="556616"/>
                  <a:pt x="3232537" y="558437"/>
                </a:cubicBezTo>
                <a:cubicBezTo>
                  <a:pt x="3238003" y="554792"/>
                  <a:pt x="3239826" y="547504"/>
                  <a:pt x="3243470" y="543860"/>
                </a:cubicBezTo>
                <a:cubicBezTo>
                  <a:pt x="3241648" y="542037"/>
                  <a:pt x="3236181" y="543860"/>
                  <a:pt x="3232537" y="543860"/>
                </a:cubicBezTo>
                <a:close/>
                <a:moveTo>
                  <a:pt x="3201560" y="543860"/>
                </a:moveTo>
                <a:cubicBezTo>
                  <a:pt x="3199738" y="543860"/>
                  <a:pt x="3196093" y="549326"/>
                  <a:pt x="3201560" y="549326"/>
                </a:cubicBezTo>
                <a:cubicBezTo>
                  <a:pt x="3203382" y="545681"/>
                  <a:pt x="3201560" y="547504"/>
                  <a:pt x="3201560" y="543860"/>
                </a:cubicBezTo>
                <a:close/>
                <a:moveTo>
                  <a:pt x="2864458" y="543860"/>
                </a:moveTo>
                <a:cubicBezTo>
                  <a:pt x="2862636" y="545682"/>
                  <a:pt x="2863091" y="550693"/>
                  <a:pt x="2864230" y="554337"/>
                </a:cubicBezTo>
                <a:lnTo>
                  <a:pt x="2866764" y="555828"/>
                </a:lnTo>
                <a:lnTo>
                  <a:pt x="2866508" y="557070"/>
                </a:lnTo>
                <a:lnTo>
                  <a:pt x="2866311" y="561415"/>
                </a:lnTo>
                <a:lnTo>
                  <a:pt x="2862864" y="557526"/>
                </a:lnTo>
                <a:cubicBezTo>
                  <a:pt x="2860814" y="552970"/>
                  <a:pt x="2858992" y="549326"/>
                  <a:pt x="2855347" y="552970"/>
                </a:cubicBezTo>
                <a:cubicBezTo>
                  <a:pt x="2853525" y="545681"/>
                  <a:pt x="2860813" y="545681"/>
                  <a:pt x="2864458" y="543860"/>
                </a:cubicBezTo>
                <a:close/>
                <a:moveTo>
                  <a:pt x="2642153" y="543860"/>
                </a:moveTo>
                <a:cubicBezTo>
                  <a:pt x="2642153" y="545681"/>
                  <a:pt x="2642153" y="547504"/>
                  <a:pt x="2640330" y="547504"/>
                </a:cubicBezTo>
                <a:cubicBezTo>
                  <a:pt x="2643975" y="549326"/>
                  <a:pt x="2643975" y="547504"/>
                  <a:pt x="2645797" y="547504"/>
                </a:cubicBezTo>
                <a:cubicBezTo>
                  <a:pt x="2645797" y="545681"/>
                  <a:pt x="2643975" y="543860"/>
                  <a:pt x="2642153" y="543860"/>
                </a:cubicBezTo>
                <a:close/>
                <a:moveTo>
                  <a:pt x="2494556" y="543860"/>
                </a:moveTo>
                <a:cubicBezTo>
                  <a:pt x="2494556" y="552970"/>
                  <a:pt x="2489090" y="542037"/>
                  <a:pt x="2483624" y="549326"/>
                </a:cubicBezTo>
                <a:cubicBezTo>
                  <a:pt x="2490912" y="552970"/>
                  <a:pt x="2483624" y="562081"/>
                  <a:pt x="2490912" y="563904"/>
                </a:cubicBezTo>
                <a:cubicBezTo>
                  <a:pt x="2494556" y="563904"/>
                  <a:pt x="2494556" y="558437"/>
                  <a:pt x="2492734" y="556616"/>
                </a:cubicBezTo>
                <a:cubicBezTo>
                  <a:pt x="2496379" y="562081"/>
                  <a:pt x="2503667" y="562081"/>
                  <a:pt x="2505490" y="554792"/>
                </a:cubicBezTo>
                <a:cubicBezTo>
                  <a:pt x="2505490" y="552970"/>
                  <a:pt x="2505490" y="551148"/>
                  <a:pt x="2505490" y="547504"/>
                </a:cubicBezTo>
                <a:cubicBezTo>
                  <a:pt x="2501845" y="545681"/>
                  <a:pt x="2500023" y="543860"/>
                  <a:pt x="2494556" y="543860"/>
                </a:cubicBezTo>
                <a:close/>
                <a:moveTo>
                  <a:pt x="1142897" y="542875"/>
                </a:moveTo>
                <a:lnTo>
                  <a:pt x="1144326" y="545910"/>
                </a:lnTo>
                <a:lnTo>
                  <a:pt x="1142503" y="548530"/>
                </a:lnTo>
                <a:lnTo>
                  <a:pt x="1142503" y="543860"/>
                </a:lnTo>
                <a:cubicBezTo>
                  <a:pt x="1142503" y="545681"/>
                  <a:pt x="1140681" y="545681"/>
                  <a:pt x="1140681" y="545681"/>
                </a:cubicBezTo>
                <a:close/>
                <a:moveTo>
                  <a:pt x="2891790" y="542037"/>
                </a:moveTo>
                <a:cubicBezTo>
                  <a:pt x="2880857" y="549326"/>
                  <a:pt x="2889968" y="558437"/>
                  <a:pt x="2888146" y="567548"/>
                </a:cubicBezTo>
                <a:cubicBezTo>
                  <a:pt x="2893613" y="571192"/>
                  <a:pt x="2889968" y="560260"/>
                  <a:pt x="2895435" y="562081"/>
                </a:cubicBezTo>
                <a:cubicBezTo>
                  <a:pt x="2895435" y="554792"/>
                  <a:pt x="2882680" y="551148"/>
                  <a:pt x="2891790" y="542037"/>
                </a:cubicBezTo>
                <a:close/>
                <a:moveTo>
                  <a:pt x="2583843" y="542037"/>
                </a:moveTo>
                <a:cubicBezTo>
                  <a:pt x="2580199" y="543860"/>
                  <a:pt x="2582021" y="551148"/>
                  <a:pt x="2580199" y="554792"/>
                </a:cubicBezTo>
                <a:cubicBezTo>
                  <a:pt x="2583843" y="554792"/>
                  <a:pt x="2580199" y="547504"/>
                  <a:pt x="2583843" y="549326"/>
                </a:cubicBezTo>
                <a:cubicBezTo>
                  <a:pt x="2585665" y="545681"/>
                  <a:pt x="2582021" y="545681"/>
                  <a:pt x="2583843" y="542037"/>
                </a:cubicBezTo>
                <a:close/>
                <a:moveTo>
                  <a:pt x="1229969" y="542037"/>
                </a:moveTo>
                <a:cubicBezTo>
                  <a:pt x="1226323" y="542037"/>
                  <a:pt x="1220858" y="549326"/>
                  <a:pt x="1222679" y="552970"/>
                </a:cubicBezTo>
                <a:cubicBezTo>
                  <a:pt x="1224501" y="549326"/>
                  <a:pt x="1229969" y="545681"/>
                  <a:pt x="1229969" y="542037"/>
                </a:cubicBezTo>
                <a:close/>
                <a:moveTo>
                  <a:pt x="1124282" y="542037"/>
                </a:moveTo>
                <a:cubicBezTo>
                  <a:pt x="1116993" y="543860"/>
                  <a:pt x="1120637" y="549326"/>
                  <a:pt x="1122459" y="552970"/>
                </a:cubicBezTo>
                <a:cubicBezTo>
                  <a:pt x="1124282" y="551148"/>
                  <a:pt x="1126104" y="549326"/>
                  <a:pt x="1127926" y="547504"/>
                </a:cubicBezTo>
                <a:cubicBezTo>
                  <a:pt x="1126104" y="545681"/>
                  <a:pt x="1127926" y="542037"/>
                  <a:pt x="1124282" y="542037"/>
                </a:cubicBezTo>
                <a:close/>
                <a:moveTo>
                  <a:pt x="987619" y="542037"/>
                </a:moveTo>
                <a:lnTo>
                  <a:pt x="988854" y="544505"/>
                </a:lnTo>
                <a:lnTo>
                  <a:pt x="987143" y="549239"/>
                </a:lnTo>
                <a:lnTo>
                  <a:pt x="987619" y="547504"/>
                </a:lnTo>
                <a:lnTo>
                  <a:pt x="972050" y="561344"/>
                </a:lnTo>
                <a:close/>
                <a:moveTo>
                  <a:pt x="909265" y="542037"/>
                </a:moveTo>
                <a:lnTo>
                  <a:pt x="910635" y="543065"/>
                </a:lnTo>
                <a:lnTo>
                  <a:pt x="909845" y="546676"/>
                </a:lnTo>
                <a:close/>
                <a:moveTo>
                  <a:pt x="871000" y="542037"/>
                </a:moveTo>
                <a:cubicBezTo>
                  <a:pt x="863711" y="554792"/>
                  <a:pt x="863711" y="571192"/>
                  <a:pt x="869177" y="583947"/>
                </a:cubicBezTo>
                <a:cubicBezTo>
                  <a:pt x="871000" y="583947"/>
                  <a:pt x="871000" y="583947"/>
                  <a:pt x="872822" y="582125"/>
                </a:cubicBezTo>
                <a:cubicBezTo>
                  <a:pt x="872822" y="583947"/>
                  <a:pt x="872822" y="583947"/>
                  <a:pt x="872822" y="587591"/>
                </a:cubicBezTo>
                <a:cubicBezTo>
                  <a:pt x="878288" y="578481"/>
                  <a:pt x="880111" y="567548"/>
                  <a:pt x="885577" y="556616"/>
                </a:cubicBezTo>
                <a:cubicBezTo>
                  <a:pt x="880111" y="551148"/>
                  <a:pt x="881933" y="542037"/>
                  <a:pt x="871000" y="542037"/>
                </a:cubicBezTo>
                <a:close/>
                <a:moveTo>
                  <a:pt x="548475" y="542037"/>
                </a:moveTo>
                <a:cubicBezTo>
                  <a:pt x="543008" y="545681"/>
                  <a:pt x="550297" y="558437"/>
                  <a:pt x="553941" y="563904"/>
                </a:cubicBezTo>
                <a:cubicBezTo>
                  <a:pt x="555763" y="558437"/>
                  <a:pt x="548475" y="551148"/>
                  <a:pt x="555763" y="547504"/>
                </a:cubicBezTo>
                <a:cubicBezTo>
                  <a:pt x="553941" y="545681"/>
                  <a:pt x="548475" y="543860"/>
                  <a:pt x="548475" y="542037"/>
                </a:cubicBezTo>
                <a:close/>
                <a:moveTo>
                  <a:pt x="3383777" y="540215"/>
                </a:moveTo>
                <a:cubicBezTo>
                  <a:pt x="3380133" y="543860"/>
                  <a:pt x="3380133" y="552970"/>
                  <a:pt x="3383777" y="558437"/>
                </a:cubicBezTo>
                <a:cubicBezTo>
                  <a:pt x="3389244" y="554792"/>
                  <a:pt x="3385600" y="543860"/>
                  <a:pt x="3383777" y="540215"/>
                </a:cubicBezTo>
                <a:close/>
                <a:moveTo>
                  <a:pt x="2988366" y="540215"/>
                </a:moveTo>
                <a:cubicBezTo>
                  <a:pt x="2984721" y="542037"/>
                  <a:pt x="2988366" y="547504"/>
                  <a:pt x="2992010" y="549326"/>
                </a:cubicBezTo>
                <a:cubicBezTo>
                  <a:pt x="2986543" y="552970"/>
                  <a:pt x="2984721" y="552970"/>
                  <a:pt x="2984721" y="560260"/>
                </a:cubicBezTo>
                <a:cubicBezTo>
                  <a:pt x="2981077" y="556616"/>
                  <a:pt x="2979255" y="551148"/>
                  <a:pt x="2975610" y="552970"/>
                </a:cubicBezTo>
                <a:cubicBezTo>
                  <a:pt x="2968322" y="558437"/>
                  <a:pt x="2981077" y="558437"/>
                  <a:pt x="2982899" y="562081"/>
                </a:cubicBezTo>
                <a:cubicBezTo>
                  <a:pt x="2984721" y="565725"/>
                  <a:pt x="2982899" y="567548"/>
                  <a:pt x="2984721" y="569370"/>
                </a:cubicBezTo>
                <a:cubicBezTo>
                  <a:pt x="2981077" y="571192"/>
                  <a:pt x="2981077" y="565725"/>
                  <a:pt x="2979255" y="563904"/>
                </a:cubicBezTo>
                <a:cubicBezTo>
                  <a:pt x="2973788" y="574836"/>
                  <a:pt x="2971966" y="569370"/>
                  <a:pt x="2961033" y="562081"/>
                </a:cubicBezTo>
                <a:cubicBezTo>
                  <a:pt x="2964677" y="576658"/>
                  <a:pt x="2979255" y="578481"/>
                  <a:pt x="2990188" y="571192"/>
                </a:cubicBezTo>
                <a:cubicBezTo>
                  <a:pt x="2992010" y="569370"/>
                  <a:pt x="2990188" y="567548"/>
                  <a:pt x="2988366" y="563904"/>
                </a:cubicBezTo>
                <a:cubicBezTo>
                  <a:pt x="2992010" y="569370"/>
                  <a:pt x="2999299" y="567548"/>
                  <a:pt x="3004765" y="567548"/>
                </a:cubicBezTo>
                <a:cubicBezTo>
                  <a:pt x="3004765" y="560260"/>
                  <a:pt x="2999299" y="562081"/>
                  <a:pt x="3004765" y="554792"/>
                </a:cubicBezTo>
                <a:cubicBezTo>
                  <a:pt x="3004765" y="552970"/>
                  <a:pt x="3002943" y="545681"/>
                  <a:pt x="2999299" y="549326"/>
                </a:cubicBezTo>
                <a:cubicBezTo>
                  <a:pt x="3001121" y="551148"/>
                  <a:pt x="3002943" y="552970"/>
                  <a:pt x="3001121" y="554792"/>
                </a:cubicBezTo>
                <a:cubicBezTo>
                  <a:pt x="3001121" y="554792"/>
                  <a:pt x="2997477" y="554792"/>
                  <a:pt x="2995654" y="556616"/>
                </a:cubicBezTo>
                <a:cubicBezTo>
                  <a:pt x="2992010" y="551148"/>
                  <a:pt x="2992010" y="543860"/>
                  <a:pt x="2988366" y="540215"/>
                </a:cubicBezTo>
                <a:close/>
                <a:moveTo>
                  <a:pt x="2671307" y="540215"/>
                </a:moveTo>
                <a:cubicBezTo>
                  <a:pt x="2667663" y="540215"/>
                  <a:pt x="2669485" y="547504"/>
                  <a:pt x="2669485" y="551148"/>
                </a:cubicBezTo>
                <a:cubicBezTo>
                  <a:pt x="2676774" y="549326"/>
                  <a:pt x="2676774" y="549326"/>
                  <a:pt x="2684063" y="554792"/>
                </a:cubicBezTo>
                <a:cubicBezTo>
                  <a:pt x="2685885" y="547504"/>
                  <a:pt x="2678596" y="549326"/>
                  <a:pt x="2680418" y="543860"/>
                </a:cubicBezTo>
                <a:cubicBezTo>
                  <a:pt x="2676774" y="545681"/>
                  <a:pt x="2671307" y="545681"/>
                  <a:pt x="2671307" y="540215"/>
                </a:cubicBezTo>
                <a:close/>
                <a:moveTo>
                  <a:pt x="2540111" y="540215"/>
                </a:moveTo>
                <a:cubicBezTo>
                  <a:pt x="2534644" y="540215"/>
                  <a:pt x="2538289" y="545681"/>
                  <a:pt x="2540111" y="549326"/>
                </a:cubicBezTo>
                <a:cubicBezTo>
                  <a:pt x="2543755" y="547504"/>
                  <a:pt x="2540111" y="542037"/>
                  <a:pt x="2540111" y="540215"/>
                </a:cubicBezTo>
                <a:close/>
                <a:moveTo>
                  <a:pt x="2312339" y="540215"/>
                </a:moveTo>
                <a:lnTo>
                  <a:pt x="2312881" y="540937"/>
                </a:lnTo>
                <a:lnTo>
                  <a:pt x="2312629" y="541662"/>
                </a:lnTo>
                <a:close/>
                <a:moveTo>
                  <a:pt x="1102416" y="540215"/>
                </a:moveTo>
                <a:cubicBezTo>
                  <a:pt x="1100593" y="545681"/>
                  <a:pt x="1104238" y="545681"/>
                  <a:pt x="1107882" y="547504"/>
                </a:cubicBezTo>
                <a:cubicBezTo>
                  <a:pt x="1109704" y="545681"/>
                  <a:pt x="1109704" y="543860"/>
                  <a:pt x="1111526" y="542037"/>
                </a:cubicBezTo>
                <a:cubicBezTo>
                  <a:pt x="1107882" y="542037"/>
                  <a:pt x="1106060" y="540215"/>
                  <a:pt x="1102416" y="540215"/>
                </a:cubicBezTo>
                <a:close/>
                <a:moveTo>
                  <a:pt x="940242" y="540215"/>
                </a:moveTo>
                <a:lnTo>
                  <a:pt x="939513" y="542766"/>
                </a:lnTo>
                <a:lnTo>
                  <a:pt x="938420" y="543860"/>
                </a:lnTo>
                <a:lnTo>
                  <a:pt x="938875" y="544998"/>
                </a:lnTo>
                <a:lnTo>
                  <a:pt x="938420" y="546593"/>
                </a:lnTo>
                <a:cubicBezTo>
                  <a:pt x="938875" y="548415"/>
                  <a:pt x="940242" y="550237"/>
                  <a:pt x="942064" y="552970"/>
                </a:cubicBezTo>
                <a:lnTo>
                  <a:pt x="938875" y="544998"/>
                </a:lnTo>
                <a:lnTo>
                  <a:pt x="939513" y="542766"/>
                </a:lnTo>
                <a:lnTo>
                  <a:pt x="940242" y="542037"/>
                </a:lnTo>
                <a:cubicBezTo>
                  <a:pt x="940242" y="543860"/>
                  <a:pt x="940242" y="540215"/>
                  <a:pt x="940242" y="540215"/>
                </a:cubicBezTo>
                <a:close/>
                <a:moveTo>
                  <a:pt x="575808" y="540215"/>
                </a:moveTo>
                <a:cubicBezTo>
                  <a:pt x="572163" y="543860"/>
                  <a:pt x="572163" y="547504"/>
                  <a:pt x="568519" y="551148"/>
                </a:cubicBezTo>
                <a:cubicBezTo>
                  <a:pt x="572163" y="556616"/>
                  <a:pt x="570341" y="562081"/>
                  <a:pt x="575808" y="569370"/>
                </a:cubicBezTo>
                <a:cubicBezTo>
                  <a:pt x="579452" y="562081"/>
                  <a:pt x="577630" y="552970"/>
                  <a:pt x="575808" y="540215"/>
                </a:cubicBezTo>
                <a:close/>
                <a:moveTo>
                  <a:pt x="2532822" y="538393"/>
                </a:moveTo>
                <a:cubicBezTo>
                  <a:pt x="2525534" y="540215"/>
                  <a:pt x="2529178" y="543860"/>
                  <a:pt x="2531000" y="549326"/>
                </a:cubicBezTo>
                <a:cubicBezTo>
                  <a:pt x="2534644" y="549326"/>
                  <a:pt x="2536466" y="549326"/>
                  <a:pt x="2536466" y="549326"/>
                </a:cubicBezTo>
                <a:cubicBezTo>
                  <a:pt x="2534644" y="545681"/>
                  <a:pt x="2532822" y="543860"/>
                  <a:pt x="2532822" y="538393"/>
                </a:cubicBezTo>
                <a:close/>
                <a:moveTo>
                  <a:pt x="2215764" y="538393"/>
                </a:moveTo>
                <a:cubicBezTo>
                  <a:pt x="2217586" y="543860"/>
                  <a:pt x="2223053" y="542037"/>
                  <a:pt x="2226697" y="542037"/>
                </a:cubicBezTo>
                <a:cubicBezTo>
                  <a:pt x="2226697" y="538393"/>
                  <a:pt x="2221230" y="538393"/>
                  <a:pt x="2215764" y="538393"/>
                </a:cubicBezTo>
                <a:close/>
                <a:moveTo>
                  <a:pt x="2168387" y="538393"/>
                </a:moveTo>
                <a:cubicBezTo>
                  <a:pt x="2161099" y="540215"/>
                  <a:pt x="2159277" y="545681"/>
                  <a:pt x="2164743" y="551148"/>
                </a:cubicBezTo>
                <a:cubicBezTo>
                  <a:pt x="2164743" y="545681"/>
                  <a:pt x="2170210" y="545681"/>
                  <a:pt x="2168387" y="538393"/>
                </a:cubicBezTo>
                <a:close/>
                <a:moveTo>
                  <a:pt x="865533" y="538393"/>
                </a:moveTo>
                <a:lnTo>
                  <a:pt x="865533" y="547504"/>
                </a:lnTo>
                <a:cubicBezTo>
                  <a:pt x="871000" y="547504"/>
                  <a:pt x="871000" y="540215"/>
                  <a:pt x="865533" y="538393"/>
                </a:cubicBezTo>
                <a:close/>
                <a:moveTo>
                  <a:pt x="860066" y="538393"/>
                </a:moveTo>
                <a:cubicBezTo>
                  <a:pt x="860066" y="542037"/>
                  <a:pt x="858244" y="551148"/>
                  <a:pt x="860066" y="554792"/>
                </a:cubicBezTo>
                <a:cubicBezTo>
                  <a:pt x="860066" y="549326"/>
                  <a:pt x="863711" y="542037"/>
                  <a:pt x="860066" y="538393"/>
                </a:cubicBezTo>
                <a:close/>
                <a:moveTo>
                  <a:pt x="727048" y="538393"/>
                </a:moveTo>
                <a:lnTo>
                  <a:pt x="730328" y="540580"/>
                </a:lnTo>
                <a:lnTo>
                  <a:pt x="730692" y="542037"/>
                </a:lnTo>
                <a:lnTo>
                  <a:pt x="730335" y="540585"/>
                </a:lnTo>
                <a:lnTo>
                  <a:pt x="732515" y="542037"/>
                </a:lnTo>
                <a:lnTo>
                  <a:pt x="732679" y="540133"/>
                </a:lnTo>
                <a:lnTo>
                  <a:pt x="736159" y="538393"/>
                </a:lnTo>
                <a:cubicBezTo>
                  <a:pt x="736159" y="542037"/>
                  <a:pt x="734336" y="543860"/>
                  <a:pt x="734336" y="545681"/>
                </a:cubicBezTo>
                <a:cubicBezTo>
                  <a:pt x="734336" y="545681"/>
                  <a:pt x="734336" y="543860"/>
                  <a:pt x="734336" y="543860"/>
                </a:cubicBezTo>
                <a:lnTo>
                  <a:pt x="731950" y="545812"/>
                </a:lnTo>
                <a:close/>
                <a:moveTo>
                  <a:pt x="639583" y="538393"/>
                </a:moveTo>
                <a:cubicBezTo>
                  <a:pt x="634117" y="540215"/>
                  <a:pt x="635939" y="547504"/>
                  <a:pt x="639583" y="551148"/>
                </a:cubicBezTo>
                <a:cubicBezTo>
                  <a:pt x="641407" y="547504"/>
                  <a:pt x="637761" y="542037"/>
                  <a:pt x="639583" y="538393"/>
                </a:cubicBezTo>
                <a:close/>
                <a:moveTo>
                  <a:pt x="528431" y="538393"/>
                </a:moveTo>
                <a:cubicBezTo>
                  <a:pt x="528431" y="543860"/>
                  <a:pt x="530253" y="551148"/>
                  <a:pt x="533897" y="558437"/>
                </a:cubicBezTo>
                <a:cubicBezTo>
                  <a:pt x="537542" y="552970"/>
                  <a:pt x="528431" y="542037"/>
                  <a:pt x="528431" y="538393"/>
                </a:cubicBezTo>
                <a:close/>
                <a:moveTo>
                  <a:pt x="524786" y="538393"/>
                </a:moveTo>
                <a:cubicBezTo>
                  <a:pt x="524786" y="547504"/>
                  <a:pt x="528431" y="556616"/>
                  <a:pt x="530253" y="567548"/>
                </a:cubicBezTo>
                <a:cubicBezTo>
                  <a:pt x="533897" y="565725"/>
                  <a:pt x="532075" y="560260"/>
                  <a:pt x="530253" y="554792"/>
                </a:cubicBezTo>
                <a:cubicBezTo>
                  <a:pt x="528431" y="549326"/>
                  <a:pt x="528431" y="543860"/>
                  <a:pt x="524786" y="538393"/>
                </a:cubicBezTo>
                <a:close/>
                <a:moveTo>
                  <a:pt x="3427510" y="536571"/>
                </a:moveTo>
                <a:cubicBezTo>
                  <a:pt x="3423865" y="542037"/>
                  <a:pt x="3429332" y="545681"/>
                  <a:pt x="3429332" y="547504"/>
                </a:cubicBezTo>
                <a:cubicBezTo>
                  <a:pt x="3432976" y="545681"/>
                  <a:pt x="3427510" y="540215"/>
                  <a:pt x="3427510" y="536571"/>
                </a:cubicBezTo>
                <a:close/>
                <a:moveTo>
                  <a:pt x="3332756" y="536571"/>
                </a:moveTo>
                <a:cubicBezTo>
                  <a:pt x="3332756" y="540215"/>
                  <a:pt x="3338223" y="538393"/>
                  <a:pt x="3340045" y="536571"/>
                </a:cubicBezTo>
                <a:cubicBezTo>
                  <a:pt x="3340045" y="534749"/>
                  <a:pt x="3336401" y="534749"/>
                  <a:pt x="3332756" y="536571"/>
                </a:cubicBezTo>
                <a:close/>
                <a:moveTo>
                  <a:pt x="3032098" y="536571"/>
                </a:moveTo>
                <a:lnTo>
                  <a:pt x="3032638" y="537921"/>
                </a:lnTo>
                <a:lnTo>
                  <a:pt x="3030237" y="537037"/>
                </a:lnTo>
                <a:close/>
                <a:moveTo>
                  <a:pt x="2656730" y="536571"/>
                </a:moveTo>
                <a:cubicBezTo>
                  <a:pt x="2654908" y="536571"/>
                  <a:pt x="2656730" y="543860"/>
                  <a:pt x="2656730" y="545681"/>
                </a:cubicBezTo>
                <a:cubicBezTo>
                  <a:pt x="2660374" y="545681"/>
                  <a:pt x="2658552" y="538393"/>
                  <a:pt x="2656730" y="536571"/>
                </a:cubicBezTo>
                <a:close/>
                <a:moveTo>
                  <a:pt x="2594776" y="536571"/>
                </a:moveTo>
                <a:cubicBezTo>
                  <a:pt x="2587487" y="540215"/>
                  <a:pt x="2600243" y="551148"/>
                  <a:pt x="2589310" y="552970"/>
                </a:cubicBezTo>
                <a:cubicBezTo>
                  <a:pt x="2591132" y="556616"/>
                  <a:pt x="2592954" y="560260"/>
                  <a:pt x="2594776" y="558437"/>
                </a:cubicBezTo>
                <a:cubicBezTo>
                  <a:pt x="2602065" y="554792"/>
                  <a:pt x="2594776" y="547504"/>
                  <a:pt x="2594776" y="540215"/>
                </a:cubicBezTo>
                <a:cubicBezTo>
                  <a:pt x="2596598" y="542037"/>
                  <a:pt x="2598421" y="542037"/>
                  <a:pt x="2600243" y="542037"/>
                </a:cubicBezTo>
                <a:cubicBezTo>
                  <a:pt x="2602065" y="536571"/>
                  <a:pt x="2592954" y="542037"/>
                  <a:pt x="2594776" y="536571"/>
                </a:cubicBezTo>
                <a:close/>
                <a:moveTo>
                  <a:pt x="2503667" y="536571"/>
                </a:moveTo>
                <a:cubicBezTo>
                  <a:pt x="2500023" y="536571"/>
                  <a:pt x="2500023" y="538393"/>
                  <a:pt x="2498201" y="538393"/>
                </a:cubicBezTo>
                <a:cubicBezTo>
                  <a:pt x="2498201" y="540215"/>
                  <a:pt x="2500023" y="543860"/>
                  <a:pt x="2503667" y="542037"/>
                </a:cubicBezTo>
                <a:cubicBezTo>
                  <a:pt x="2505490" y="538393"/>
                  <a:pt x="2503667" y="536571"/>
                  <a:pt x="2503667" y="536571"/>
                </a:cubicBezTo>
                <a:close/>
                <a:moveTo>
                  <a:pt x="1240901" y="536571"/>
                </a:moveTo>
                <a:cubicBezTo>
                  <a:pt x="1239080" y="536571"/>
                  <a:pt x="1235434" y="542037"/>
                  <a:pt x="1239080" y="545681"/>
                </a:cubicBezTo>
                <a:cubicBezTo>
                  <a:pt x="1240901" y="542037"/>
                  <a:pt x="1239080" y="538393"/>
                  <a:pt x="1240901" y="536571"/>
                </a:cubicBezTo>
                <a:close/>
                <a:moveTo>
                  <a:pt x="858244" y="536571"/>
                </a:moveTo>
                <a:cubicBezTo>
                  <a:pt x="856422" y="538393"/>
                  <a:pt x="854600" y="540215"/>
                  <a:pt x="852778" y="542037"/>
                </a:cubicBezTo>
                <a:cubicBezTo>
                  <a:pt x="852778" y="540215"/>
                  <a:pt x="854600" y="538393"/>
                  <a:pt x="856422" y="540215"/>
                </a:cubicBezTo>
                <a:cubicBezTo>
                  <a:pt x="852778" y="543860"/>
                  <a:pt x="847311" y="547504"/>
                  <a:pt x="850956" y="556616"/>
                </a:cubicBezTo>
                <a:cubicBezTo>
                  <a:pt x="852778" y="556616"/>
                  <a:pt x="858244" y="560260"/>
                  <a:pt x="858244" y="554792"/>
                </a:cubicBezTo>
                <a:cubicBezTo>
                  <a:pt x="858244" y="549326"/>
                  <a:pt x="858244" y="542037"/>
                  <a:pt x="858244" y="536571"/>
                </a:cubicBezTo>
                <a:close/>
                <a:moveTo>
                  <a:pt x="719759" y="536571"/>
                </a:moveTo>
                <a:cubicBezTo>
                  <a:pt x="717937" y="538393"/>
                  <a:pt x="717937" y="540215"/>
                  <a:pt x="717937" y="542037"/>
                </a:cubicBezTo>
                <a:lnTo>
                  <a:pt x="720852" y="542037"/>
                </a:lnTo>
                <a:lnTo>
                  <a:pt x="721389" y="544723"/>
                </a:lnTo>
                <a:lnTo>
                  <a:pt x="721126" y="548415"/>
                </a:lnTo>
                <a:cubicBezTo>
                  <a:pt x="722492" y="550693"/>
                  <a:pt x="724314" y="552971"/>
                  <a:pt x="723404" y="554792"/>
                </a:cubicBezTo>
                <a:lnTo>
                  <a:pt x="721389" y="544723"/>
                </a:lnTo>
                <a:lnTo>
                  <a:pt x="721581" y="542037"/>
                </a:lnTo>
                <a:lnTo>
                  <a:pt x="720852" y="542037"/>
                </a:lnTo>
                <a:close/>
                <a:moveTo>
                  <a:pt x="485579" y="536245"/>
                </a:moveTo>
                <a:lnTo>
                  <a:pt x="487887" y="537937"/>
                </a:lnTo>
                <a:lnTo>
                  <a:pt x="488204" y="538536"/>
                </a:lnTo>
                <a:lnTo>
                  <a:pt x="491071" y="544988"/>
                </a:lnTo>
                <a:lnTo>
                  <a:pt x="487418" y="542220"/>
                </a:lnTo>
                <a:close/>
                <a:moveTo>
                  <a:pt x="729057" y="535380"/>
                </a:moveTo>
                <a:lnTo>
                  <a:pt x="730335" y="540585"/>
                </a:lnTo>
                <a:lnTo>
                  <a:pt x="730328" y="540580"/>
                </a:lnTo>
                <a:lnTo>
                  <a:pt x="729035" y="535412"/>
                </a:lnTo>
                <a:close/>
                <a:moveTo>
                  <a:pt x="3460309" y="534749"/>
                </a:moveTo>
                <a:cubicBezTo>
                  <a:pt x="3454842" y="534749"/>
                  <a:pt x="3458487" y="540215"/>
                  <a:pt x="3454842" y="542037"/>
                </a:cubicBezTo>
                <a:cubicBezTo>
                  <a:pt x="3456664" y="543860"/>
                  <a:pt x="3460309" y="543860"/>
                  <a:pt x="3463953" y="543860"/>
                </a:cubicBezTo>
                <a:cubicBezTo>
                  <a:pt x="3465775" y="538393"/>
                  <a:pt x="3460309" y="540215"/>
                  <a:pt x="3460309" y="534749"/>
                </a:cubicBezTo>
                <a:close/>
                <a:moveTo>
                  <a:pt x="2336027" y="534749"/>
                </a:moveTo>
                <a:cubicBezTo>
                  <a:pt x="2334205" y="534749"/>
                  <a:pt x="2334205" y="536571"/>
                  <a:pt x="2332383" y="536571"/>
                </a:cubicBezTo>
                <a:cubicBezTo>
                  <a:pt x="2332383" y="540215"/>
                  <a:pt x="2334205" y="540215"/>
                  <a:pt x="2337850" y="540215"/>
                </a:cubicBezTo>
                <a:cubicBezTo>
                  <a:pt x="2337850" y="536571"/>
                  <a:pt x="2336027" y="536571"/>
                  <a:pt x="2336027" y="534749"/>
                </a:cubicBezTo>
                <a:close/>
                <a:moveTo>
                  <a:pt x="2144699" y="534749"/>
                </a:moveTo>
                <a:cubicBezTo>
                  <a:pt x="2146521" y="538393"/>
                  <a:pt x="2144699" y="542037"/>
                  <a:pt x="2144699" y="545681"/>
                </a:cubicBezTo>
                <a:cubicBezTo>
                  <a:pt x="2142877" y="542037"/>
                  <a:pt x="2139233" y="542037"/>
                  <a:pt x="2135588" y="543860"/>
                </a:cubicBezTo>
                <a:cubicBezTo>
                  <a:pt x="2131944" y="545681"/>
                  <a:pt x="2137410" y="552970"/>
                  <a:pt x="2130122" y="554792"/>
                </a:cubicBezTo>
                <a:cubicBezTo>
                  <a:pt x="2133766" y="552970"/>
                  <a:pt x="2128300" y="560260"/>
                  <a:pt x="2131944" y="558437"/>
                </a:cubicBezTo>
                <a:cubicBezTo>
                  <a:pt x="2139233" y="552970"/>
                  <a:pt x="2144699" y="549326"/>
                  <a:pt x="2148344" y="542037"/>
                </a:cubicBezTo>
                <a:cubicBezTo>
                  <a:pt x="2151988" y="538393"/>
                  <a:pt x="2146521" y="536571"/>
                  <a:pt x="2144699" y="534749"/>
                </a:cubicBezTo>
                <a:close/>
                <a:moveTo>
                  <a:pt x="1122459" y="534749"/>
                </a:moveTo>
                <a:cubicBezTo>
                  <a:pt x="1118815" y="534749"/>
                  <a:pt x="1118815" y="542037"/>
                  <a:pt x="1116993" y="545681"/>
                </a:cubicBezTo>
                <a:cubicBezTo>
                  <a:pt x="1120637" y="545681"/>
                  <a:pt x="1122459" y="536571"/>
                  <a:pt x="1122459" y="534749"/>
                </a:cubicBezTo>
                <a:close/>
                <a:moveTo>
                  <a:pt x="1113349" y="534749"/>
                </a:moveTo>
                <a:lnTo>
                  <a:pt x="1113515" y="535660"/>
                </a:lnTo>
                <a:lnTo>
                  <a:pt x="1113450" y="537431"/>
                </a:lnTo>
                <a:lnTo>
                  <a:pt x="1111774" y="538270"/>
                </a:lnTo>
                <a:lnTo>
                  <a:pt x="1111659" y="538128"/>
                </a:lnTo>
                <a:close/>
                <a:moveTo>
                  <a:pt x="573985" y="534749"/>
                </a:moveTo>
                <a:cubicBezTo>
                  <a:pt x="569429" y="532927"/>
                  <a:pt x="568519" y="535204"/>
                  <a:pt x="568519" y="538393"/>
                </a:cubicBezTo>
                <a:lnTo>
                  <a:pt x="568519" y="546523"/>
                </a:lnTo>
                <a:lnTo>
                  <a:pt x="568218" y="546904"/>
                </a:lnTo>
                <a:lnTo>
                  <a:pt x="566697" y="543860"/>
                </a:lnTo>
                <a:cubicBezTo>
                  <a:pt x="568519" y="547504"/>
                  <a:pt x="566697" y="547504"/>
                  <a:pt x="564874" y="551148"/>
                </a:cubicBezTo>
                <a:lnTo>
                  <a:pt x="568218" y="546904"/>
                </a:lnTo>
                <a:lnTo>
                  <a:pt x="568519" y="547504"/>
                </a:lnTo>
                <a:lnTo>
                  <a:pt x="568519" y="546523"/>
                </a:lnTo>
                <a:lnTo>
                  <a:pt x="570796" y="543632"/>
                </a:lnTo>
                <a:cubicBezTo>
                  <a:pt x="571707" y="540671"/>
                  <a:pt x="572163" y="537482"/>
                  <a:pt x="573985" y="534749"/>
                </a:cubicBezTo>
                <a:close/>
                <a:moveTo>
                  <a:pt x="457367" y="534749"/>
                </a:moveTo>
                <a:cubicBezTo>
                  <a:pt x="457367" y="540215"/>
                  <a:pt x="457367" y="552970"/>
                  <a:pt x="464655" y="554792"/>
                </a:cubicBezTo>
                <a:cubicBezTo>
                  <a:pt x="461010" y="547504"/>
                  <a:pt x="461010" y="542037"/>
                  <a:pt x="457367" y="534749"/>
                </a:cubicBezTo>
                <a:close/>
                <a:moveTo>
                  <a:pt x="1147677" y="533577"/>
                </a:moveTo>
                <a:lnTo>
                  <a:pt x="1147714" y="533638"/>
                </a:lnTo>
                <a:lnTo>
                  <a:pt x="1147697" y="533659"/>
                </a:lnTo>
                <a:close/>
                <a:moveTo>
                  <a:pt x="1147899" y="533412"/>
                </a:moveTo>
                <a:lnTo>
                  <a:pt x="1147930" y="533986"/>
                </a:lnTo>
                <a:lnTo>
                  <a:pt x="1147714" y="533638"/>
                </a:lnTo>
                <a:close/>
                <a:moveTo>
                  <a:pt x="3252581" y="532926"/>
                </a:moveTo>
                <a:cubicBezTo>
                  <a:pt x="3250759" y="540215"/>
                  <a:pt x="3245292" y="534749"/>
                  <a:pt x="3241648" y="536571"/>
                </a:cubicBezTo>
                <a:cubicBezTo>
                  <a:pt x="3243470" y="542037"/>
                  <a:pt x="3248937" y="538393"/>
                  <a:pt x="3252581" y="540215"/>
                </a:cubicBezTo>
                <a:cubicBezTo>
                  <a:pt x="3252581" y="536571"/>
                  <a:pt x="3248937" y="536571"/>
                  <a:pt x="3252581" y="532926"/>
                </a:cubicBezTo>
                <a:close/>
                <a:moveTo>
                  <a:pt x="3219782" y="532926"/>
                </a:moveTo>
                <a:cubicBezTo>
                  <a:pt x="3214315" y="536571"/>
                  <a:pt x="3207027" y="538393"/>
                  <a:pt x="3208849" y="545681"/>
                </a:cubicBezTo>
                <a:cubicBezTo>
                  <a:pt x="3214315" y="540215"/>
                  <a:pt x="3217960" y="543860"/>
                  <a:pt x="3223426" y="538393"/>
                </a:cubicBezTo>
                <a:cubicBezTo>
                  <a:pt x="3225248" y="534749"/>
                  <a:pt x="3216137" y="540215"/>
                  <a:pt x="3219782" y="532926"/>
                </a:cubicBezTo>
                <a:close/>
                <a:moveTo>
                  <a:pt x="3205204" y="532926"/>
                </a:moveTo>
                <a:cubicBezTo>
                  <a:pt x="3201560" y="531105"/>
                  <a:pt x="3199738" y="542037"/>
                  <a:pt x="3205204" y="540215"/>
                </a:cubicBezTo>
                <a:cubicBezTo>
                  <a:pt x="3205204" y="538393"/>
                  <a:pt x="3205204" y="534749"/>
                  <a:pt x="3205204" y="532926"/>
                </a:cubicBezTo>
                <a:close/>
                <a:moveTo>
                  <a:pt x="2565621" y="532926"/>
                </a:moveTo>
                <a:cubicBezTo>
                  <a:pt x="2565621" y="543860"/>
                  <a:pt x="2572910" y="549326"/>
                  <a:pt x="2578377" y="554792"/>
                </a:cubicBezTo>
                <a:cubicBezTo>
                  <a:pt x="2578377" y="552970"/>
                  <a:pt x="2578377" y="549326"/>
                  <a:pt x="2578377" y="547504"/>
                </a:cubicBezTo>
                <a:cubicBezTo>
                  <a:pt x="2572910" y="545681"/>
                  <a:pt x="2569266" y="540215"/>
                  <a:pt x="2565621" y="532926"/>
                </a:cubicBezTo>
                <a:close/>
                <a:moveTo>
                  <a:pt x="2372471" y="532926"/>
                </a:moveTo>
                <a:cubicBezTo>
                  <a:pt x="2368827" y="534749"/>
                  <a:pt x="2370649" y="545681"/>
                  <a:pt x="2374293" y="540215"/>
                </a:cubicBezTo>
                <a:cubicBezTo>
                  <a:pt x="2372471" y="538393"/>
                  <a:pt x="2372471" y="536571"/>
                  <a:pt x="2372471" y="532926"/>
                </a:cubicBezTo>
                <a:close/>
                <a:moveTo>
                  <a:pt x="1140681" y="532926"/>
                </a:moveTo>
                <a:cubicBezTo>
                  <a:pt x="1142503" y="534749"/>
                  <a:pt x="1144326" y="536571"/>
                  <a:pt x="1140681" y="538393"/>
                </a:cubicBezTo>
                <a:cubicBezTo>
                  <a:pt x="1138859" y="536571"/>
                  <a:pt x="1138859" y="538393"/>
                  <a:pt x="1137037" y="536571"/>
                </a:cubicBezTo>
                <a:cubicBezTo>
                  <a:pt x="1140681" y="536571"/>
                  <a:pt x="1140681" y="534749"/>
                  <a:pt x="1140681" y="532926"/>
                </a:cubicBezTo>
                <a:close/>
                <a:moveTo>
                  <a:pt x="945709" y="532926"/>
                </a:moveTo>
                <a:cubicBezTo>
                  <a:pt x="936598" y="538393"/>
                  <a:pt x="945709" y="542037"/>
                  <a:pt x="945709" y="545681"/>
                </a:cubicBezTo>
                <a:cubicBezTo>
                  <a:pt x="949353" y="543860"/>
                  <a:pt x="947531" y="536571"/>
                  <a:pt x="945709" y="532926"/>
                </a:cubicBezTo>
                <a:close/>
                <a:moveTo>
                  <a:pt x="730692" y="532926"/>
                </a:moveTo>
                <a:cubicBezTo>
                  <a:pt x="732515" y="533837"/>
                  <a:pt x="732969" y="535204"/>
                  <a:pt x="732969" y="536799"/>
                </a:cubicBezTo>
                <a:lnTo>
                  <a:pt x="732679" y="540133"/>
                </a:lnTo>
                <a:lnTo>
                  <a:pt x="732515" y="540215"/>
                </a:lnTo>
                <a:lnTo>
                  <a:pt x="730340" y="533454"/>
                </a:lnTo>
                <a:close/>
                <a:moveTo>
                  <a:pt x="3029282" y="531934"/>
                </a:moveTo>
                <a:lnTo>
                  <a:pt x="3029592" y="532927"/>
                </a:lnTo>
                <a:lnTo>
                  <a:pt x="3028840" y="532464"/>
                </a:lnTo>
                <a:close/>
                <a:moveTo>
                  <a:pt x="2948762" y="531247"/>
                </a:moveTo>
                <a:cubicBezTo>
                  <a:pt x="2946456" y="531674"/>
                  <a:pt x="2950556" y="537482"/>
                  <a:pt x="2946456" y="540215"/>
                </a:cubicBezTo>
                <a:cubicBezTo>
                  <a:pt x="2944634" y="542037"/>
                  <a:pt x="2940989" y="534749"/>
                  <a:pt x="2939167" y="538393"/>
                </a:cubicBezTo>
                <a:cubicBezTo>
                  <a:pt x="2935523" y="545681"/>
                  <a:pt x="2942811" y="543860"/>
                  <a:pt x="2946456" y="549326"/>
                </a:cubicBezTo>
                <a:cubicBezTo>
                  <a:pt x="2946456" y="542037"/>
                  <a:pt x="2955566" y="543860"/>
                  <a:pt x="2953744" y="532926"/>
                </a:cubicBezTo>
                <a:cubicBezTo>
                  <a:pt x="2951011" y="531560"/>
                  <a:pt x="2949530" y="531105"/>
                  <a:pt x="2948762" y="531247"/>
                </a:cubicBezTo>
                <a:close/>
                <a:moveTo>
                  <a:pt x="3352800" y="531105"/>
                </a:moveTo>
                <a:cubicBezTo>
                  <a:pt x="3349156" y="540215"/>
                  <a:pt x="3340045" y="531105"/>
                  <a:pt x="3341867" y="540215"/>
                </a:cubicBezTo>
                <a:cubicBezTo>
                  <a:pt x="3336401" y="540215"/>
                  <a:pt x="3334579" y="538393"/>
                  <a:pt x="3329112" y="540215"/>
                </a:cubicBezTo>
                <a:cubicBezTo>
                  <a:pt x="3336401" y="545681"/>
                  <a:pt x="3345512" y="543860"/>
                  <a:pt x="3352800" y="551148"/>
                </a:cubicBezTo>
                <a:cubicBezTo>
                  <a:pt x="3356445" y="547504"/>
                  <a:pt x="3352800" y="538393"/>
                  <a:pt x="3345512" y="540215"/>
                </a:cubicBezTo>
                <a:cubicBezTo>
                  <a:pt x="3350978" y="538393"/>
                  <a:pt x="3354623" y="536571"/>
                  <a:pt x="3352800" y="531105"/>
                </a:cubicBezTo>
                <a:close/>
                <a:moveTo>
                  <a:pt x="3026631" y="531105"/>
                </a:moveTo>
                <a:lnTo>
                  <a:pt x="3028840" y="532464"/>
                </a:lnTo>
                <a:lnTo>
                  <a:pt x="3028453" y="532926"/>
                </a:lnTo>
                <a:lnTo>
                  <a:pt x="3027448" y="532675"/>
                </a:lnTo>
                <a:close/>
                <a:moveTo>
                  <a:pt x="2685885" y="531105"/>
                </a:moveTo>
                <a:cubicBezTo>
                  <a:pt x="2682240" y="538393"/>
                  <a:pt x="2678596" y="547504"/>
                  <a:pt x="2689529" y="549326"/>
                </a:cubicBezTo>
                <a:cubicBezTo>
                  <a:pt x="2689529" y="545681"/>
                  <a:pt x="2689529" y="540215"/>
                  <a:pt x="2691351" y="536571"/>
                </a:cubicBezTo>
                <a:cubicBezTo>
                  <a:pt x="2687707" y="540215"/>
                  <a:pt x="2685885" y="536571"/>
                  <a:pt x="2685885" y="531105"/>
                </a:cubicBezTo>
                <a:close/>
                <a:moveTo>
                  <a:pt x="2153810" y="531105"/>
                </a:moveTo>
                <a:cubicBezTo>
                  <a:pt x="2155632" y="534749"/>
                  <a:pt x="2155632" y="536571"/>
                  <a:pt x="2157454" y="540215"/>
                </a:cubicBezTo>
                <a:cubicBezTo>
                  <a:pt x="2161099" y="542037"/>
                  <a:pt x="2161099" y="538393"/>
                  <a:pt x="2161099" y="532926"/>
                </a:cubicBezTo>
                <a:cubicBezTo>
                  <a:pt x="2157454" y="536571"/>
                  <a:pt x="2159277" y="531105"/>
                  <a:pt x="2153810" y="531105"/>
                </a:cubicBezTo>
                <a:close/>
                <a:moveTo>
                  <a:pt x="2113722" y="531105"/>
                </a:moveTo>
                <a:cubicBezTo>
                  <a:pt x="2115544" y="536571"/>
                  <a:pt x="2117366" y="536571"/>
                  <a:pt x="2119189" y="540215"/>
                </a:cubicBezTo>
                <a:cubicBezTo>
                  <a:pt x="2121011" y="536571"/>
                  <a:pt x="2121011" y="534749"/>
                  <a:pt x="2119189" y="531105"/>
                </a:cubicBezTo>
                <a:cubicBezTo>
                  <a:pt x="2117366" y="531105"/>
                  <a:pt x="2115544" y="531105"/>
                  <a:pt x="2113722" y="531105"/>
                </a:cubicBezTo>
                <a:close/>
                <a:moveTo>
                  <a:pt x="2104611" y="531105"/>
                </a:moveTo>
                <a:cubicBezTo>
                  <a:pt x="2100967" y="538393"/>
                  <a:pt x="2110078" y="540215"/>
                  <a:pt x="2108256" y="543860"/>
                </a:cubicBezTo>
                <a:cubicBezTo>
                  <a:pt x="2117366" y="542037"/>
                  <a:pt x="2104611" y="536571"/>
                  <a:pt x="2104611" y="531105"/>
                </a:cubicBezTo>
                <a:close/>
                <a:moveTo>
                  <a:pt x="1443162" y="531105"/>
                </a:moveTo>
                <a:lnTo>
                  <a:pt x="1442001" y="541554"/>
                </a:lnTo>
                <a:lnTo>
                  <a:pt x="1441112" y="538393"/>
                </a:lnTo>
                <a:cubicBezTo>
                  <a:pt x="1441796" y="535660"/>
                  <a:pt x="1443162" y="532927"/>
                  <a:pt x="1443162" y="531105"/>
                </a:cubicBezTo>
                <a:close/>
                <a:moveTo>
                  <a:pt x="1428585" y="531105"/>
                </a:moveTo>
                <a:cubicBezTo>
                  <a:pt x="1428585" y="535660"/>
                  <a:pt x="1429041" y="541582"/>
                  <a:pt x="1428130" y="547048"/>
                </a:cubicBezTo>
                <a:lnTo>
                  <a:pt x="1426886" y="548947"/>
                </a:lnTo>
                <a:close/>
                <a:moveTo>
                  <a:pt x="1237256" y="531105"/>
                </a:moveTo>
                <a:cubicBezTo>
                  <a:pt x="1233612" y="532926"/>
                  <a:pt x="1228146" y="538393"/>
                  <a:pt x="1231790" y="543860"/>
                </a:cubicBezTo>
                <a:cubicBezTo>
                  <a:pt x="1233612" y="538393"/>
                  <a:pt x="1237256" y="534749"/>
                  <a:pt x="1237256" y="531105"/>
                </a:cubicBezTo>
                <a:close/>
                <a:moveTo>
                  <a:pt x="1146637" y="529416"/>
                </a:moveTo>
                <a:lnTo>
                  <a:pt x="1147677" y="533577"/>
                </a:lnTo>
                <a:lnTo>
                  <a:pt x="1146148" y="531105"/>
                </a:lnTo>
                <a:close/>
                <a:moveTo>
                  <a:pt x="3028453" y="529282"/>
                </a:moveTo>
                <a:lnTo>
                  <a:pt x="3030408" y="530586"/>
                </a:lnTo>
                <a:lnTo>
                  <a:pt x="3029282" y="531934"/>
                </a:lnTo>
                <a:close/>
                <a:moveTo>
                  <a:pt x="2676774" y="529282"/>
                </a:moveTo>
                <a:cubicBezTo>
                  <a:pt x="2671307" y="527461"/>
                  <a:pt x="2669485" y="529282"/>
                  <a:pt x="2667663" y="531105"/>
                </a:cubicBezTo>
                <a:cubicBezTo>
                  <a:pt x="2669485" y="538393"/>
                  <a:pt x="2673130" y="536571"/>
                  <a:pt x="2678596" y="538393"/>
                </a:cubicBezTo>
                <a:cubicBezTo>
                  <a:pt x="2678596" y="534749"/>
                  <a:pt x="2676774" y="532926"/>
                  <a:pt x="2676774" y="529282"/>
                </a:cubicBezTo>
                <a:close/>
                <a:moveTo>
                  <a:pt x="2458113" y="529282"/>
                </a:moveTo>
                <a:cubicBezTo>
                  <a:pt x="2458113" y="532926"/>
                  <a:pt x="2458113" y="536571"/>
                  <a:pt x="2456291" y="540215"/>
                </a:cubicBezTo>
                <a:cubicBezTo>
                  <a:pt x="2458113" y="538393"/>
                  <a:pt x="2459935" y="538393"/>
                  <a:pt x="2461757" y="536571"/>
                </a:cubicBezTo>
                <a:cubicBezTo>
                  <a:pt x="2461757" y="534749"/>
                  <a:pt x="2459935" y="532926"/>
                  <a:pt x="2459935" y="531105"/>
                </a:cubicBezTo>
                <a:cubicBezTo>
                  <a:pt x="2467224" y="534749"/>
                  <a:pt x="2463580" y="543860"/>
                  <a:pt x="2467224" y="545681"/>
                </a:cubicBezTo>
                <a:cubicBezTo>
                  <a:pt x="2469046" y="547504"/>
                  <a:pt x="2474513" y="545681"/>
                  <a:pt x="2474513" y="540215"/>
                </a:cubicBezTo>
                <a:cubicBezTo>
                  <a:pt x="2467224" y="540215"/>
                  <a:pt x="2467224" y="534749"/>
                  <a:pt x="2465402" y="531105"/>
                </a:cubicBezTo>
                <a:cubicBezTo>
                  <a:pt x="2463580" y="531105"/>
                  <a:pt x="2461757" y="527461"/>
                  <a:pt x="2458113" y="529282"/>
                </a:cubicBezTo>
                <a:close/>
                <a:moveTo>
                  <a:pt x="2441713" y="529282"/>
                </a:moveTo>
                <a:cubicBezTo>
                  <a:pt x="2441713" y="540215"/>
                  <a:pt x="2438069" y="551148"/>
                  <a:pt x="2449002" y="556616"/>
                </a:cubicBezTo>
                <a:cubicBezTo>
                  <a:pt x="2445358" y="560260"/>
                  <a:pt x="2439891" y="556616"/>
                  <a:pt x="2443536" y="563904"/>
                </a:cubicBezTo>
                <a:cubicBezTo>
                  <a:pt x="2443536" y="563904"/>
                  <a:pt x="2443536" y="563904"/>
                  <a:pt x="2441713" y="562081"/>
                </a:cubicBezTo>
                <a:cubicBezTo>
                  <a:pt x="2443536" y="565725"/>
                  <a:pt x="2438069" y="578481"/>
                  <a:pt x="2445358" y="574836"/>
                </a:cubicBezTo>
                <a:cubicBezTo>
                  <a:pt x="2445358" y="573014"/>
                  <a:pt x="2445358" y="571192"/>
                  <a:pt x="2445358" y="569370"/>
                </a:cubicBezTo>
                <a:cubicBezTo>
                  <a:pt x="2454469" y="560260"/>
                  <a:pt x="2463580" y="552970"/>
                  <a:pt x="2461757" y="540215"/>
                </a:cubicBezTo>
                <a:cubicBezTo>
                  <a:pt x="2456291" y="542037"/>
                  <a:pt x="2458113" y="547504"/>
                  <a:pt x="2456291" y="549326"/>
                </a:cubicBezTo>
                <a:cubicBezTo>
                  <a:pt x="2454469" y="543860"/>
                  <a:pt x="2447180" y="540215"/>
                  <a:pt x="2452647" y="534749"/>
                </a:cubicBezTo>
                <a:cubicBezTo>
                  <a:pt x="2449002" y="534749"/>
                  <a:pt x="2447180" y="534749"/>
                  <a:pt x="2445358" y="534749"/>
                </a:cubicBezTo>
                <a:cubicBezTo>
                  <a:pt x="2445358" y="532926"/>
                  <a:pt x="2447180" y="532926"/>
                  <a:pt x="2447180" y="532926"/>
                </a:cubicBezTo>
                <a:cubicBezTo>
                  <a:pt x="2445358" y="531105"/>
                  <a:pt x="2441713" y="527461"/>
                  <a:pt x="2441713" y="529282"/>
                </a:cubicBezTo>
                <a:close/>
                <a:moveTo>
                  <a:pt x="2091856" y="529282"/>
                </a:moveTo>
                <a:cubicBezTo>
                  <a:pt x="2091856" y="534749"/>
                  <a:pt x="2095500" y="532926"/>
                  <a:pt x="2097323" y="536571"/>
                </a:cubicBezTo>
                <a:cubicBezTo>
                  <a:pt x="2100967" y="534749"/>
                  <a:pt x="2095500" y="529282"/>
                  <a:pt x="2091856" y="529282"/>
                </a:cubicBezTo>
                <a:close/>
                <a:moveTo>
                  <a:pt x="1100593" y="529282"/>
                </a:moveTo>
                <a:cubicBezTo>
                  <a:pt x="1098771" y="534749"/>
                  <a:pt x="1102416" y="542037"/>
                  <a:pt x="1107882" y="536571"/>
                </a:cubicBezTo>
                <a:cubicBezTo>
                  <a:pt x="1106060" y="534749"/>
                  <a:pt x="1104238" y="531105"/>
                  <a:pt x="1100593" y="529282"/>
                </a:cubicBezTo>
                <a:close/>
                <a:moveTo>
                  <a:pt x="863711" y="529282"/>
                </a:moveTo>
                <a:cubicBezTo>
                  <a:pt x="861889" y="529282"/>
                  <a:pt x="858244" y="536571"/>
                  <a:pt x="861889" y="536571"/>
                </a:cubicBezTo>
                <a:cubicBezTo>
                  <a:pt x="863711" y="532926"/>
                  <a:pt x="861889" y="531105"/>
                  <a:pt x="863711" y="529282"/>
                </a:cubicBezTo>
                <a:close/>
                <a:moveTo>
                  <a:pt x="847311" y="529282"/>
                </a:moveTo>
                <a:cubicBezTo>
                  <a:pt x="849133" y="531105"/>
                  <a:pt x="845489" y="534749"/>
                  <a:pt x="845489" y="536571"/>
                </a:cubicBezTo>
                <a:cubicBezTo>
                  <a:pt x="841845" y="532926"/>
                  <a:pt x="847311" y="531105"/>
                  <a:pt x="847311" y="529282"/>
                </a:cubicBezTo>
                <a:close/>
                <a:moveTo>
                  <a:pt x="484373" y="528632"/>
                </a:moveTo>
                <a:lnTo>
                  <a:pt x="488115" y="531560"/>
                </a:lnTo>
                <a:cubicBezTo>
                  <a:pt x="490165" y="533382"/>
                  <a:pt x="491987" y="535660"/>
                  <a:pt x="491987" y="538393"/>
                </a:cubicBezTo>
                <a:cubicBezTo>
                  <a:pt x="487431" y="538393"/>
                  <a:pt x="486520" y="535205"/>
                  <a:pt x="486065" y="532016"/>
                </a:cubicBezTo>
                <a:close/>
                <a:moveTo>
                  <a:pt x="2578377" y="527461"/>
                </a:moveTo>
                <a:cubicBezTo>
                  <a:pt x="2571088" y="529282"/>
                  <a:pt x="2578377" y="536571"/>
                  <a:pt x="2578377" y="540215"/>
                </a:cubicBezTo>
                <a:cubicBezTo>
                  <a:pt x="2585665" y="536571"/>
                  <a:pt x="2574732" y="534749"/>
                  <a:pt x="2578377" y="527461"/>
                </a:cubicBezTo>
                <a:close/>
                <a:moveTo>
                  <a:pt x="2520067" y="527461"/>
                </a:moveTo>
                <a:cubicBezTo>
                  <a:pt x="2514600" y="532926"/>
                  <a:pt x="2516423" y="538393"/>
                  <a:pt x="2512778" y="545681"/>
                </a:cubicBezTo>
                <a:cubicBezTo>
                  <a:pt x="2521889" y="547504"/>
                  <a:pt x="2529178" y="543860"/>
                  <a:pt x="2527356" y="532926"/>
                </a:cubicBezTo>
                <a:cubicBezTo>
                  <a:pt x="2525534" y="531105"/>
                  <a:pt x="2521889" y="529282"/>
                  <a:pt x="2520067" y="527461"/>
                </a:cubicBezTo>
                <a:close/>
                <a:moveTo>
                  <a:pt x="2006214" y="527461"/>
                </a:moveTo>
                <a:cubicBezTo>
                  <a:pt x="2006214" y="532926"/>
                  <a:pt x="1998925" y="540215"/>
                  <a:pt x="2002570" y="542037"/>
                </a:cubicBezTo>
                <a:cubicBezTo>
                  <a:pt x="2002570" y="536571"/>
                  <a:pt x="2009858" y="538393"/>
                  <a:pt x="2006214" y="527461"/>
                </a:cubicBezTo>
                <a:close/>
                <a:moveTo>
                  <a:pt x="1146148" y="527461"/>
                </a:moveTo>
                <a:lnTo>
                  <a:pt x="1146834" y="528735"/>
                </a:lnTo>
                <a:lnTo>
                  <a:pt x="1146637" y="529416"/>
                </a:lnTo>
                <a:close/>
                <a:moveTo>
                  <a:pt x="952997" y="527461"/>
                </a:moveTo>
                <a:cubicBezTo>
                  <a:pt x="952997" y="525638"/>
                  <a:pt x="947531" y="531105"/>
                  <a:pt x="947531" y="529282"/>
                </a:cubicBezTo>
                <a:cubicBezTo>
                  <a:pt x="949353" y="531105"/>
                  <a:pt x="947531" y="534749"/>
                  <a:pt x="949353" y="536571"/>
                </a:cubicBezTo>
                <a:cubicBezTo>
                  <a:pt x="951175" y="532926"/>
                  <a:pt x="949353" y="531105"/>
                  <a:pt x="952997" y="527461"/>
                </a:cubicBezTo>
                <a:close/>
                <a:moveTo>
                  <a:pt x="1147484" y="526488"/>
                </a:moveTo>
                <a:lnTo>
                  <a:pt x="1149792" y="531105"/>
                </a:lnTo>
                <a:lnTo>
                  <a:pt x="1147899" y="533412"/>
                </a:lnTo>
                <a:lnTo>
                  <a:pt x="1147742" y="530421"/>
                </a:lnTo>
                <a:lnTo>
                  <a:pt x="1146834" y="528735"/>
                </a:lnTo>
                <a:close/>
                <a:moveTo>
                  <a:pt x="932624" y="526204"/>
                </a:moveTo>
                <a:lnTo>
                  <a:pt x="934549" y="529282"/>
                </a:lnTo>
                <a:cubicBezTo>
                  <a:pt x="936143" y="531105"/>
                  <a:pt x="937509" y="532927"/>
                  <a:pt x="936598" y="534749"/>
                </a:cubicBezTo>
                <a:lnTo>
                  <a:pt x="937371" y="534749"/>
                </a:lnTo>
                <a:lnTo>
                  <a:pt x="936598" y="538393"/>
                </a:lnTo>
                <a:cubicBezTo>
                  <a:pt x="932042" y="538393"/>
                  <a:pt x="929765" y="535660"/>
                  <a:pt x="929537" y="532244"/>
                </a:cubicBezTo>
                <a:close/>
                <a:moveTo>
                  <a:pt x="2308695" y="525638"/>
                </a:moveTo>
                <a:lnTo>
                  <a:pt x="2311633" y="531882"/>
                </a:lnTo>
                <a:lnTo>
                  <a:pt x="2307120" y="527213"/>
                </a:lnTo>
                <a:close/>
                <a:moveTo>
                  <a:pt x="996729" y="525638"/>
                </a:moveTo>
                <a:cubicBezTo>
                  <a:pt x="994907" y="532926"/>
                  <a:pt x="996729" y="538393"/>
                  <a:pt x="989441" y="545681"/>
                </a:cubicBezTo>
                <a:lnTo>
                  <a:pt x="988854" y="544505"/>
                </a:lnTo>
                <a:lnTo>
                  <a:pt x="995004" y="527471"/>
                </a:lnTo>
                <a:close/>
                <a:moveTo>
                  <a:pt x="971219" y="525638"/>
                </a:moveTo>
                <a:lnTo>
                  <a:pt x="971015" y="526659"/>
                </a:lnTo>
                <a:lnTo>
                  <a:pt x="970694" y="527081"/>
                </a:lnTo>
                <a:close/>
                <a:moveTo>
                  <a:pt x="482876" y="525638"/>
                </a:moveTo>
                <a:lnTo>
                  <a:pt x="484373" y="528632"/>
                </a:lnTo>
                <a:lnTo>
                  <a:pt x="482876" y="527461"/>
                </a:lnTo>
                <a:close/>
                <a:moveTo>
                  <a:pt x="2332383" y="523815"/>
                </a:moveTo>
                <a:cubicBezTo>
                  <a:pt x="2326916" y="525638"/>
                  <a:pt x="2330561" y="532926"/>
                  <a:pt x="2332383" y="532926"/>
                </a:cubicBezTo>
                <a:cubicBezTo>
                  <a:pt x="2336027" y="531105"/>
                  <a:pt x="2332383" y="527461"/>
                  <a:pt x="2332383" y="523815"/>
                </a:cubicBezTo>
                <a:close/>
                <a:moveTo>
                  <a:pt x="1215390" y="523815"/>
                </a:moveTo>
                <a:cubicBezTo>
                  <a:pt x="1209925" y="532926"/>
                  <a:pt x="1217213" y="545681"/>
                  <a:pt x="1215390" y="554792"/>
                </a:cubicBezTo>
                <a:cubicBezTo>
                  <a:pt x="1226323" y="549326"/>
                  <a:pt x="1217213" y="534749"/>
                  <a:pt x="1215390" y="523815"/>
                </a:cubicBezTo>
                <a:close/>
                <a:moveTo>
                  <a:pt x="1146148" y="523815"/>
                </a:moveTo>
                <a:lnTo>
                  <a:pt x="1147916" y="524995"/>
                </a:lnTo>
                <a:lnTo>
                  <a:pt x="1147484" y="526488"/>
                </a:lnTo>
                <a:close/>
                <a:moveTo>
                  <a:pt x="1016774" y="523815"/>
                </a:moveTo>
                <a:cubicBezTo>
                  <a:pt x="1013129" y="525638"/>
                  <a:pt x="1013129" y="527461"/>
                  <a:pt x="1011307" y="531105"/>
                </a:cubicBezTo>
                <a:cubicBezTo>
                  <a:pt x="1013129" y="531105"/>
                  <a:pt x="1018596" y="525638"/>
                  <a:pt x="1016774" y="523815"/>
                </a:cubicBezTo>
                <a:close/>
                <a:moveTo>
                  <a:pt x="867355" y="523815"/>
                </a:moveTo>
                <a:cubicBezTo>
                  <a:pt x="863711" y="529282"/>
                  <a:pt x="860066" y="540215"/>
                  <a:pt x="871000" y="540215"/>
                </a:cubicBezTo>
                <a:cubicBezTo>
                  <a:pt x="872822" y="534749"/>
                  <a:pt x="872822" y="529282"/>
                  <a:pt x="867355" y="523815"/>
                </a:cubicBezTo>
                <a:close/>
                <a:moveTo>
                  <a:pt x="256927" y="523815"/>
                </a:moveTo>
                <a:cubicBezTo>
                  <a:pt x="258749" y="526549"/>
                  <a:pt x="260571" y="529738"/>
                  <a:pt x="261482" y="532927"/>
                </a:cubicBezTo>
                <a:lnTo>
                  <a:pt x="261420" y="533544"/>
                </a:lnTo>
                <a:lnTo>
                  <a:pt x="258033" y="529346"/>
                </a:lnTo>
                <a:close/>
                <a:moveTo>
                  <a:pt x="1116993" y="522803"/>
                </a:moveTo>
                <a:lnTo>
                  <a:pt x="1117221" y="523132"/>
                </a:lnTo>
                <a:lnTo>
                  <a:pt x="1116993" y="523613"/>
                </a:lnTo>
                <a:close/>
                <a:moveTo>
                  <a:pt x="468804" y="522708"/>
                </a:moveTo>
                <a:lnTo>
                  <a:pt x="482876" y="532926"/>
                </a:lnTo>
                <a:cubicBezTo>
                  <a:pt x="483788" y="532016"/>
                  <a:pt x="483332" y="530649"/>
                  <a:pt x="482876" y="529282"/>
                </a:cubicBezTo>
                <a:lnTo>
                  <a:pt x="482876" y="527461"/>
                </a:lnTo>
                <a:lnTo>
                  <a:pt x="485579" y="536245"/>
                </a:lnTo>
                <a:lnTo>
                  <a:pt x="481054" y="532926"/>
                </a:lnTo>
                <a:cubicBezTo>
                  <a:pt x="480143" y="534749"/>
                  <a:pt x="481965" y="537482"/>
                  <a:pt x="484472" y="539988"/>
                </a:cubicBezTo>
                <a:lnTo>
                  <a:pt x="487418" y="542220"/>
                </a:lnTo>
                <a:lnTo>
                  <a:pt x="489254" y="548187"/>
                </a:lnTo>
                <a:lnTo>
                  <a:pt x="491039" y="551105"/>
                </a:lnTo>
                <a:lnTo>
                  <a:pt x="478093" y="536116"/>
                </a:lnTo>
                <a:close/>
                <a:moveTo>
                  <a:pt x="2192076" y="521993"/>
                </a:moveTo>
                <a:cubicBezTo>
                  <a:pt x="2188431" y="520171"/>
                  <a:pt x="2190253" y="523815"/>
                  <a:pt x="2186609" y="523815"/>
                </a:cubicBezTo>
                <a:cubicBezTo>
                  <a:pt x="2186609" y="527461"/>
                  <a:pt x="2188431" y="527461"/>
                  <a:pt x="2192076" y="527461"/>
                </a:cubicBezTo>
                <a:cubicBezTo>
                  <a:pt x="2192076" y="525638"/>
                  <a:pt x="2192076" y="523815"/>
                  <a:pt x="2192076" y="521993"/>
                </a:cubicBezTo>
                <a:close/>
                <a:moveTo>
                  <a:pt x="962108" y="521993"/>
                </a:moveTo>
                <a:cubicBezTo>
                  <a:pt x="956642" y="529282"/>
                  <a:pt x="952997" y="538393"/>
                  <a:pt x="952997" y="547504"/>
                </a:cubicBezTo>
                <a:cubicBezTo>
                  <a:pt x="951175" y="549326"/>
                  <a:pt x="951175" y="543860"/>
                  <a:pt x="949353" y="545681"/>
                </a:cubicBezTo>
                <a:cubicBezTo>
                  <a:pt x="947531" y="545681"/>
                  <a:pt x="947531" y="549326"/>
                  <a:pt x="947531" y="551148"/>
                </a:cubicBezTo>
                <a:cubicBezTo>
                  <a:pt x="949353" y="552970"/>
                  <a:pt x="951175" y="549326"/>
                  <a:pt x="952997" y="547504"/>
                </a:cubicBezTo>
                <a:cubicBezTo>
                  <a:pt x="954819" y="545681"/>
                  <a:pt x="956642" y="543860"/>
                  <a:pt x="958464" y="542037"/>
                </a:cubicBezTo>
                <a:cubicBezTo>
                  <a:pt x="960286" y="538393"/>
                  <a:pt x="962108" y="532926"/>
                  <a:pt x="960286" y="529282"/>
                </a:cubicBezTo>
                <a:lnTo>
                  <a:pt x="962108" y="531105"/>
                </a:lnTo>
                <a:cubicBezTo>
                  <a:pt x="962108" y="527461"/>
                  <a:pt x="962108" y="525638"/>
                  <a:pt x="962108" y="521993"/>
                </a:cubicBezTo>
                <a:close/>
                <a:moveTo>
                  <a:pt x="925666" y="521993"/>
                </a:moveTo>
                <a:cubicBezTo>
                  <a:pt x="923843" y="523815"/>
                  <a:pt x="927487" y="525638"/>
                  <a:pt x="925666" y="525638"/>
                </a:cubicBezTo>
                <a:cubicBezTo>
                  <a:pt x="927487" y="527461"/>
                  <a:pt x="927487" y="521993"/>
                  <a:pt x="925666" y="521993"/>
                </a:cubicBezTo>
                <a:close/>
                <a:moveTo>
                  <a:pt x="621362" y="521993"/>
                </a:moveTo>
                <a:lnTo>
                  <a:pt x="621590" y="522358"/>
                </a:lnTo>
                <a:lnTo>
                  <a:pt x="620922" y="523634"/>
                </a:lnTo>
                <a:close/>
                <a:moveTo>
                  <a:pt x="3442087" y="520171"/>
                </a:moveTo>
                <a:cubicBezTo>
                  <a:pt x="3440265" y="521993"/>
                  <a:pt x="3449376" y="527461"/>
                  <a:pt x="3442087" y="532926"/>
                </a:cubicBezTo>
                <a:cubicBezTo>
                  <a:pt x="3440265" y="532926"/>
                  <a:pt x="3438443" y="531105"/>
                  <a:pt x="3438443" y="529282"/>
                </a:cubicBezTo>
                <a:cubicBezTo>
                  <a:pt x="3434798" y="538393"/>
                  <a:pt x="3440265" y="549326"/>
                  <a:pt x="3445731" y="558437"/>
                </a:cubicBezTo>
                <a:cubicBezTo>
                  <a:pt x="3445731" y="558437"/>
                  <a:pt x="3447553" y="545681"/>
                  <a:pt x="3453020" y="554792"/>
                </a:cubicBezTo>
                <a:cubicBezTo>
                  <a:pt x="3453020" y="543860"/>
                  <a:pt x="3458487" y="520171"/>
                  <a:pt x="3442087" y="520171"/>
                </a:cubicBezTo>
                <a:close/>
                <a:moveTo>
                  <a:pt x="3239826" y="520171"/>
                </a:moveTo>
                <a:cubicBezTo>
                  <a:pt x="3230715" y="518349"/>
                  <a:pt x="3238003" y="527461"/>
                  <a:pt x="3234359" y="532926"/>
                </a:cubicBezTo>
                <a:cubicBezTo>
                  <a:pt x="3236181" y="534749"/>
                  <a:pt x="3239826" y="529282"/>
                  <a:pt x="3241648" y="531105"/>
                </a:cubicBezTo>
                <a:cubicBezTo>
                  <a:pt x="3241648" y="527461"/>
                  <a:pt x="3238003" y="525638"/>
                  <a:pt x="3239826" y="520171"/>
                </a:cubicBezTo>
                <a:close/>
                <a:moveTo>
                  <a:pt x="2993832" y="520171"/>
                </a:moveTo>
                <a:cubicBezTo>
                  <a:pt x="2990188" y="521993"/>
                  <a:pt x="2986543" y="527461"/>
                  <a:pt x="2992010" y="529282"/>
                </a:cubicBezTo>
                <a:cubicBezTo>
                  <a:pt x="2993832" y="525638"/>
                  <a:pt x="2993832" y="523815"/>
                  <a:pt x="2993832" y="520171"/>
                </a:cubicBezTo>
                <a:close/>
                <a:moveTo>
                  <a:pt x="2986543" y="520171"/>
                </a:moveTo>
                <a:cubicBezTo>
                  <a:pt x="2977432" y="523815"/>
                  <a:pt x="2977432" y="531105"/>
                  <a:pt x="2981077" y="540215"/>
                </a:cubicBezTo>
                <a:cubicBezTo>
                  <a:pt x="2982899" y="536571"/>
                  <a:pt x="2984721" y="536571"/>
                  <a:pt x="2988366" y="534749"/>
                </a:cubicBezTo>
                <a:cubicBezTo>
                  <a:pt x="2982899" y="527461"/>
                  <a:pt x="2986543" y="527461"/>
                  <a:pt x="2986543" y="520171"/>
                </a:cubicBezTo>
                <a:close/>
                <a:moveTo>
                  <a:pt x="2879035" y="520171"/>
                </a:moveTo>
                <a:cubicBezTo>
                  <a:pt x="2880857" y="521993"/>
                  <a:pt x="2880857" y="525638"/>
                  <a:pt x="2884502" y="527461"/>
                </a:cubicBezTo>
                <a:cubicBezTo>
                  <a:pt x="2884502" y="525638"/>
                  <a:pt x="2886324" y="521993"/>
                  <a:pt x="2884502" y="520171"/>
                </a:cubicBezTo>
                <a:cubicBezTo>
                  <a:pt x="2882680" y="520171"/>
                  <a:pt x="2880857" y="520171"/>
                  <a:pt x="2879035" y="520171"/>
                </a:cubicBezTo>
                <a:close/>
                <a:moveTo>
                  <a:pt x="2671307" y="520171"/>
                </a:moveTo>
                <a:cubicBezTo>
                  <a:pt x="2667663" y="518349"/>
                  <a:pt x="2667663" y="527461"/>
                  <a:pt x="2671307" y="525638"/>
                </a:cubicBezTo>
                <a:cubicBezTo>
                  <a:pt x="2673130" y="523815"/>
                  <a:pt x="2671307" y="523815"/>
                  <a:pt x="2671307" y="520171"/>
                </a:cubicBezTo>
                <a:close/>
                <a:moveTo>
                  <a:pt x="2501845" y="520171"/>
                </a:moveTo>
                <a:cubicBezTo>
                  <a:pt x="2500023" y="523815"/>
                  <a:pt x="2500023" y="527461"/>
                  <a:pt x="2496379" y="527461"/>
                </a:cubicBezTo>
                <a:cubicBezTo>
                  <a:pt x="2500023" y="532926"/>
                  <a:pt x="2505490" y="534749"/>
                  <a:pt x="2509134" y="540215"/>
                </a:cubicBezTo>
                <a:cubicBezTo>
                  <a:pt x="2514600" y="531105"/>
                  <a:pt x="2509134" y="521993"/>
                  <a:pt x="2501845" y="520171"/>
                </a:cubicBezTo>
                <a:close/>
                <a:moveTo>
                  <a:pt x="2489090" y="520171"/>
                </a:moveTo>
                <a:cubicBezTo>
                  <a:pt x="2487268" y="521993"/>
                  <a:pt x="2487268" y="521993"/>
                  <a:pt x="2485446" y="521993"/>
                </a:cubicBezTo>
                <a:cubicBezTo>
                  <a:pt x="2483624" y="523815"/>
                  <a:pt x="2487268" y="525638"/>
                  <a:pt x="2487268" y="527461"/>
                </a:cubicBezTo>
                <a:cubicBezTo>
                  <a:pt x="2489090" y="525638"/>
                  <a:pt x="2489090" y="521993"/>
                  <a:pt x="2489090" y="520171"/>
                </a:cubicBezTo>
                <a:close/>
                <a:moveTo>
                  <a:pt x="1248189" y="520171"/>
                </a:moveTo>
                <a:cubicBezTo>
                  <a:pt x="1240901" y="527461"/>
                  <a:pt x="1239080" y="536571"/>
                  <a:pt x="1246367" y="545681"/>
                </a:cubicBezTo>
                <a:cubicBezTo>
                  <a:pt x="1248189" y="545681"/>
                  <a:pt x="1248189" y="543860"/>
                  <a:pt x="1250012" y="543860"/>
                </a:cubicBezTo>
                <a:cubicBezTo>
                  <a:pt x="1240901" y="551148"/>
                  <a:pt x="1228146" y="560260"/>
                  <a:pt x="1217213" y="569370"/>
                </a:cubicBezTo>
                <a:cubicBezTo>
                  <a:pt x="1220858" y="571192"/>
                  <a:pt x="1224501" y="567548"/>
                  <a:pt x="1229969" y="563904"/>
                </a:cubicBezTo>
                <a:cubicBezTo>
                  <a:pt x="1231790" y="565725"/>
                  <a:pt x="1228146" y="567548"/>
                  <a:pt x="1226323" y="569370"/>
                </a:cubicBezTo>
                <a:cubicBezTo>
                  <a:pt x="1228146" y="569370"/>
                  <a:pt x="1229969" y="569370"/>
                  <a:pt x="1229969" y="569370"/>
                </a:cubicBezTo>
                <a:cubicBezTo>
                  <a:pt x="1226323" y="574836"/>
                  <a:pt x="1222679" y="569370"/>
                  <a:pt x="1219036" y="573014"/>
                </a:cubicBezTo>
                <a:cubicBezTo>
                  <a:pt x="1220858" y="574836"/>
                  <a:pt x="1220858" y="576658"/>
                  <a:pt x="1222679" y="578481"/>
                </a:cubicBezTo>
                <a:cubicBezTo>
                  <a:pt x="1219036" y="578481"/>
                  <a:pt x="1219036" y="574836"/>
                  <a:pt x="1217213" y="573014"/>
                </a:cubicBezTo>
                <a:lnTo>
                  <a:pt x="1208170" y="582057"/>
                </a:lnTo>
                <a:lnTo>
                  <a:pt x="1204457" y="578481"/>
                </a:lnTo>
                <a:cubicBezTo>
                  <a:pt x="1197169" y="583947"/>
                  <a:pt x="1197169" y="591236"/>
                  <a:pt x="1197169" y="598524"/>
                </a:cubicBezTo>
                <a:cubicBezTo>
                  <a:pt x="1197169" y="596702"/>
                  <a:pt x="1197169" y="594880"/>
                  <a:pt x="1195346" y="591236"/>
                </a:cubicBezTo>
                <a:cubicBezTo>
                  <a:pt x="1191703" y="591236"/>
                  <a:pt x="1195346" y="585769"/>
                  <a:pt x="1191703" y="583947"/>
                </a:cubicBezTo>
                <a:cubicBezTo>
                  <a:pt x="1189880" y="585769"/>
                  <a:pt x="1189880" y="589414"/>
                  <a:pt x="1189880" y="593058"/>
                </a:cubicBezTo>
                <a:cubicBezTo>
                  <a:pt x="1191703" y="593058"/>
                  <a:pt x="1193525" y="591236"/>
                  <a:pt x="1195346" y="591236"/>
                </a:cubicBezTo>
                <a:lnTo>
                  <a:pt x="1191342" y="604724"/>
                </a:lnTo>
                <a:lnTo>
                  <a:pt x="1191703" y="602169"/>
                </a:lnTo>
                <a:cubicBezTo>
                  <a:pt x="1184414" y="607635"/>
                  <a:pt x="1175303" y="614924"/>
                  <a:pt x="1178947" y="622213"/>
                </a:cubicBezTo>
                <a:cubicBezTo>
                  <a:pt x="1178947" y="620391"/>
                  <a:pt x="1180769" y="620391"/>
                  <a:pt x="1180769" y="618568"/>
                </a:cubicBezTo>
                <a:cubicBezTo>
                  <a:pt x="1182592" y="622213"/>
                  <a:pt x="1177125" y="624035"/>
                  <a:pt x="1178947" y="627679"/>
                </a:cubicBezTo>
                <a:lnTo>
                  <a:pt x="1188264" y="619375"/>
                </a:lnTo>
                <a:lnTo>
                  <a:pt x="1188058" y="620391"/>
                </a:lnTo>
                <a:cubicBezTo>
                  <a:pt x="1188969" y="621302"/>
                  <a:pt x="1188969" y="620391"/>
                  <a:pt x="1188969" y="619252"/>
                </a:cubicBezTo>
                <a:lnTo>
                  <a:pt x="1189241" y="618505"/>
                </a:lnTo>
                <a:lnTo>
                  <a:pt x="1189424" y="618341"/>
                </a:lnTo>
                <a:lnTo>
                  <a:pt x="1189504" y="617784"/>
                </a:lnTo>
                <a:lnTo>
                  <a:pt x="1189880" y="616746"/>
                </a:lnTo>
                <a:cubicBezTo>
                  <a:pt x="1191703" y="618568"/>
                  <a:pt x="1189880" y="620391"/>
                  <a:pt x="1189880" y="622213"/>
                </a:cubicBezTo>
                <a:cubicBezTo>
                  <a:pt x="1195346" y="620391"/>
                  <a:pt x="1191703" y="611280"/>
                  <a:pt x="1195346" y="607635"/>
                </a:cubicBezTo>
                <a:cubicBezTo>
                  <a:pt x="1193525" y="605813"/>
                  <a:pt x="1193525" y="605813"/>
                  <a:pt x="1191703" y="603991"/>
                </a:cubicBezTo>
                <a:cubicBezTo>
                  <a:pt x="1195346" y="605813"/>
                  <a:pt x="1195346" y="602169"/>
                  <a:pt x="1197169" y="603991"/>
                </a:cubicBezTo>
                <a:cubicBezTo>
                  <a:pt x="1200814" y="600347"/>
                  <a:pt x="1200814" y="598524"/>
                  <a:pt x="1200814" y="596702"/>
                </a:cubicBezTo>
                <a:cubicBezTo>
                  <a:pt x="1200814" y="602169"/>
                  <a:pt x="1195346" y="613103"/>
                  <a:pt x="1193525" y="620391"/>
                </a:cubicBezTo>
                <a:cubicBezTo>
                  <a:pt x="1197169" y="620391"/>
                  <a:pt x="1195346" y="614924"/>
                  <a:pt x="1198991" y="613103"/>
                </a:cubicBezTo>
                <a:cubicBezTo>
                  <a:pt x="1200814" y="618568"/>
                  <a:pt x="1197169" y="622213"/>
                  <a:pt x="1193525" y="625857"/>
                </a:cubicBezTo>
                <a:cubicBezTo>
                  <a:pt x="1198991" y="629501"/>
                  <a:pt x="1200814" y="620391"/>
                  <a:pt x="1204457" y="620391"/>
                </a:cubicBezTo>
                <a:cubicBezTo>
                  <a:pt x="1204457" y="622213"/>
                  <a:pt x="1204457" y="625857"/>
                  <a:pt x="1204457" y="627679"/>
                </a:cubicBezTo>
                <a:cubicBezTo>
                  <a:pt x="1206279" y="627679"/>
                  <a:pt x="1209925" y="625857"/>
                  <a:pt x="1209925" y="624035"/>
                </a:cubicBezTo>
                <a:cubicBezTo>
                  <a:pt x="1208102" y="622213"/>
                  <a:pt x="1208102" y="622213"/>
                  <a:pt x="1206279" y="620391"/>
                </a:cubicBezTo>
                <a:cubicBezTo>
                  <a:pt x="1208102" y="618568"/>
                  <a:pt x="1211747" y="622213"/>
                  <a:pt x="1211747" y="624035"/>
                </a:cubicBezTo>
                <a:cubicBezTo>
                  <a:pt x="1215390" y="622213"/>
                  <a:pt x="1213568" y="616746"/>
                  <a:pt x="1217213" y="613103"/>
                </a:cubicBezTo>
                <a:cubicBezTo>
                  <a:pt x="1215390" y="614924"/>
                  <a:pt x="1219036" y="616746"/>
                  <a:pt x="1220858" y="618568"/>
                </a:cubicBezTo>
                <a:cubicBezTo>
                  <a:pt x="1222679" y="618568"/>
                  <a:pt x="1220858" y="616746"/>
                  <a:pt x="1222679" y="618568"/>
                </a:cubicBezTo>
                <a:cubicBezTo>
                  <a:pt x="1224501" y="616746"/>
                  <a:pt x="1222679" y="614924"/>
                  <a:pt x="1226323" y="613103"/>
                </a:cubicBezTo>
                <a:cubicBezTo>
                  <a:pt x="1224501" y="609459"/>
                  <a:pt x="1224501" y="607635"/>
                  <a:pt x="1226323" y="602169"/>
                </a:cubicBezTo>
                <a:lnTo>
                  <a:pt x="1218533" y="592525"/>
                </a:lnTo>
                <a:lnTo>
                  <a:pt x="1226323" y="594880"/>
                </a:lnTo>
                <a:cubicBezTo>
                  <a:pt x="1226323" y="600347"/>
                  <a:pt x="1231790" y="605813"/>
                  <a:pt x="1233612" y="611280"/>
                </a:cubicBezTo>
                <a:lnTo>
                  <a:pt x="1234028" y="610221"/>
                </a:lnTo>
                <a:lnTo>
                  <a:pt x="1244545" y="629501"/>
                </a:lnTo>
                <a:cubicBezTo>
                  <a:pt x="1244545" y="629501"/>
                  <a:pt x="1246367" y="629501"/>
                  <a:pt x="1248189" y="627679"/>
                </a:cubicBezTo>
                <a:cubicBezTo>
                  <a:pt x="1248189" y="625857"/>
                  <a:pt x="1246367" y="627679"/>
                  <a:pt x="1244545" y="625857"/>
                </a:cubicBezTo>
                <a:cubicBezTo>
                  <a:pt x="1246367" y="624035"/>
                  <a:pt x="1246367" y="627679"/>
                  <a:pt x="1248189" y="625857"/>
                </a:cubicBezTo>
                <a:cubicBezTo>
                  <a:pt x="1248189" y="622213"/>
                  <a:pt x="1242723" y="620391"/>
                  <a:pt x="1240901" y="618568"/>
                </a:cubicBezTo>
                <a:cubicBezTo>
                  <a:pt x="1242723" y="616746"/>
                  <a:pt x="1242723" y="620391"/>
                  <a:pt x="1244545" y="620391"/>
                </a:cubicBezTo>
                <a:cubicBezTo>
                  <a:pt x="1244545" y="620391"/>
                  <a:pt x="1244545" y="618568"/>
                  <a:pt x="1242723" y="616746"/>
                </a:cubicBezTo>
                <a:cubicBezTo>
                  <a:pt x="1248189" y="616746"/>
                  <a:pt x="1246367" y="620391"/>
                  <a:pt x="1250012" y="620391"/>
                </a:cubicBezTo>
                <a:cubicBezTo>
                  <a:pt x="1250012" y="620391"/>
                  <a:pt x="1248189" y="622213"/>
                  <a:pt x="1248189" y="622213"/>
                </a:cubicBezTo>
                <a:cubicBezTo>
                  <a:pt x="1248189" y="624035"/>
                  <a:pt x="1250012" y="624035"/>
                  <a:pt x="1251834" y="625857"/>
                </a:cubicBezTo>
                <a:cubicBezTo>
                  <a:pt x="1253656" y="624035"/>
                  <a:pt x="1253656" y="622213"/>
                  <a:pt x="1251834" y="618568"/>
                </a:cubicBezTo>
                <a:cubicBezTo>
                  <a:pt x="1251834" y="616746"/>
                  <a:pt x="1255478" y="616746"/>
                  <a:pt x="1255478" y="614924"/>
                </a:cubicBezTo>
                <a:cubicBezTo>
                  <a:pt x="1251834" y="611280"/>
                  <a:pt x="1255478" y="609459"/>
                  <a:pt x="1255478" y="605813"/>
                </a:cubicBezTo>
                <a:cubicBezTo>
                  <a:pt x="1257300" y="611280"/>
                  <a:pt x="1257300" y="616746"/>
                  <a:pt x="1260945" y="620391"/>
                </a:cubicBezTo>
                <a:cubicBezTo>
                  <a:pt x="1262767" y="613103"/>
                  <a:pt x="1259123" y="607635"/>
                  <a:pt x="1259123" y="600347"/>
                </a:cubicBezTo>
                <a:cubicBezTo>
                  <a:pt x="1260945" y="603991"/>
                  <a:pt x="1260945" y="611280"/>
                  <a:pt x="1262767" y="616746"/>
                </a:cubicBezTo>
                <a:cubicBezTo>
                  <a:pt x="1267322" y="616746"/>
                  <a:pt x="1267322" y="612191"/>
                  <a:pt x="1265273" y="607180"/>
                </a:cubicBezTo>
                <a:lnTo>
                  <a:pt x="1255604" y="595039"/>
                </a:lnTo>
                <a:lnTo>
                  <a:pt x="1256247" y="586538"/>
                </a:lnTo>
                <a:cubicBezTo>
                  <a:pt x="1254111" y="575862"/>
                  <a:pt x="1244545" y="563904"/>
                  <a:pt x="1239080" y="552970"/>
                </a:cubicBezTo>
                <a:cubicBezTo>
                  <a:pt x="1240901" y="551148"/>
                  <a:pt x="1240901" y="554792"/>
                  <a:pt x="1242723" y="552970"/>
                </a:cubicBezTo>
                <a:cubicBezTo>
                  <a:pt x="1244545" y="554792"/>
                  <a:pt x="1242723" y="554792"/>
                  <a:pt x="1242723" y="556616"/>
                </a:cubicBezTo>
                <a:cubicBezTo>
                  <a:pt x="1253656" y="574836"/>
                  <a:pt x="1257300" y="591236"/>
                  <a:pt x="1271878" y="609459"/>
                </a:cubicBezTo>
                <a:cubicBezTo>
                  <a:pt x="1275522" y="598524"/>
                  <a:pt x="1271878" y="587591"/>
                  <a:pt x="1270056" y="574836"/>
                </a:cubicBezTo>
                <a:cubicBezTo>
                  <a:pt x="1266411" y="558437"/>
                  <a:pt x="1266411" y="542037"/>
                  <a:pt x="1250012" y="527461"/>
                </a:cubicBezTo>
                <a:cubicBezTo>
                  <a:pt x="1250012" y="523815"/>
                  <a:pt x="1251834" y="523815"/>
                  <a:pt x="1248189" y="520171"/>
                </a:cubicBezTo>
                <a:close/>
                <a:moveTo>
                  <a:pt x="1115171" y="520171"/>
                </a:moveTo>
                <a:lnTo>
                  <a:pt x="1115724" y="520969"/>
                </a:lnTo>
                <a:lnTo>
                  <a:pt x="1115171" y="522904"/>
                </a:lnTo>
                <a:close/>
                <a:moveTo>
                  <a:pt x="641407" y="520171"/>
                </a:moveTo>
                <a:cubicBezTo>
                  <a:pt x="635939" y="518349"/>
                  <a:pt x="637761" y="523815"/>
                  <a:pt x="637761" y="525638"/>
                </a:cubicBezTo>
                <a:cubicBezTo>
                  <a:pt x="641407" y="527461"/>
                  <a:pt x="639583" y="521993"/>
                  <a:pt x="641407" y="520171"/>
                </a:cubicBezTo>
                <a:close/>
                <a:moveTo>
                  <a:pt x="660350" y="518504"/>
                </a:moveTo>
                <a:lnTo>
                  <a:pt x="660994" y="521766"/>
                </a:lnTo>
                <a:cubicBezTo>
                  <a:pt x="660994" y="527005"/>
                  <a:pt x="659627" y="532016"/>
                  <a:pt x="655983" y="536571"/>
                </a:cubicBezTo>
                <a:lnTo>
                  <a:pt x="655830" y="536263"/>
                </a:lnTo>
                <a:lnTo>
                  <a:pt x="658033" y="523816"/>
                </a:lnTo>
                <a:close/>
                <a:moveTo>
                  <a:pt x="3216137" y="518349"/>
                </a:moveTo>
                <a:cubicBezTo>
                  <a:pt x="3208849" y="521993"/>
                  <a:pt x="3205204" y="531105"/>
                  <a:pt x="3208849" y="534749"/>
                </a:cubicBezTo>
                <a:cubicBezTo>
                  <a:pt x="3210671" y="529282"/>
                  <a:pt x="3216137" y="525638"/>
                  <a:pt x="3216137" y="518349"/>
                </a:cubicBezTo>
                <a:close/>
                <a:moveTo>
                  <a:pt x="1000374" y="518349"/>
                </a:moveTo>
                <a:cubicBezTo>
                  <a:pt x="1000374" y="521993"/>
                  <a:pt x="998552" y="529282"/>
                  <a:pt x="996729" y="531105"/>
                </a:cubicBezTo>
                <a:cubicBezTo>
                  <a:pt x="998552" y="527461"/>
                  <a:pt x="994907" y="523815"/>
                  <a:pt x="1000374" y="518349"/>
                </a:cubicBezTo>
                <a:close/>
                <a:moveTo>
                  <a:pt x="632296" y="518349"/>
                </a:moveTo>
                <a:cubicBezTo>
                  <a:pt x="632296" y="521993"/>
                  <a:pt x="635939" y="527461"/>
                  <a:pt x="635939" y="531105"/>
                </a:cubicBezTo>
                <a:cubicBezTo>
                  <a:pt x="637761" y="527461"/>
                  <a:pt x="637761" y="520171"/>
                  <a:pt x="632296" y="518349"/>
                </a:cubicBezTo>
                <a:close/>
                <a:moveTo>
                  <a:pt x="2968384" y="517738"/>
                </a:moveTo>
                <a:lnTo>
                  <a:pt x="2968322" y="520171"/>
                </a:lnTo>
                <a:lnTo>
                  <a:pt x="2966851" y="519719"/>
                </a:lnTo>
                <a:close/>
                <a:moveTo>
                  <a:pt x="3261692" y="516527"/>
                </a:moveTo>
                <a:cubicBezTo>
                  <a:pt x="3254403" y="520171"/>
                  <a:pt x="3258047" y="525638"/>
                  <a:pt x="3261692" y="527461"/>
                </a:cubicBezTo>
                <a:cubicBezTo>
                  <a:pt x="3265336" y="523815"/>
                  <a:pt x="3256225" y="521993"/>
                  <a:pt x="3261692" y="516527"/>
                </a:cubicBezTo>
                <a:close/>
                <a:moveTo>
                  <a:pt x="2585665" y="516527"/>
                </a:moveTo>
                <a:cubicBezTo>
                  <a:pt x="2583843" y="518349"/>
                  <a:pt x="2585665" y="525638"/>
                  <a:pt x="2589310" y="523815"/>
                </a:cubicBezTo>
                <a:cubicBezTo>
                  <a:pt x="2587487" y="520171"/>
                  <a:pt x="2585665" y="518349"/>
                  <a:pt x="2585665" y="516527"/>
                </a:cubicBezTo>
                <a:close/>
                <a:moveTo>
                  <a:pt x="2115544" y="516527"/>
                </a:moveTo>
                <a:cubicBezTo>
                  <a:pt x="2115544" y="517438"/>
                  <a:pt x="2117367" y="518805"/>
                  <a:pt x="2118733" y="520399"/>
                </a:cubicBezTo>
                <a:lnTo>
                  <a:pt x="2118788" y="521032"/>
                </a:lnTo>
                <a:close/>
                <a:moveTo>
                  <a:pt x="1155259" y="516527"/>
                </a:moveTo>
                <a:lnTo>
                  <a:pt x="1155935" y="519901"/>
                </a:lnTo>
                <a:lnTo>
                  <a:pt x="1151614" y="527461"/>
                </a:lnTo>
                <a:lnTo>
                  <a:pt x="1147916" y="524995"/>
                </a:lnTo>
                <a:lnTo>
                  <a:pt x="1148653" y="522449"/>
                </a:lnTo>
                <a:cubicBezTo>
                  <a:pt x="1150703" y="520171"/>
                  <a:pt x="1153436" y="518349"/>
                  <a:pt x="1155259" y="516527"/>
                </a:cubicBezTo>
                <a:close/>
                <a:moveTo>
                  <a:pt x="1116993" y="516527"/>
                </a:moveTo>
                <a:lnTo>
                  <a:pt x="1116993" y="522803"/>
                </a:lnTo>
                <a:lnTo>
                  <a:pt x="1115724" y="520969"/>
                </a:lnTo>
                <a:close/>
                <a:moveTo>
                  <a:pt x="2678369" y="514933"/>
                </a:moveTo>
                <a:cubicBezTo>
                  <a:pt x="2676774" y="515160"/>
                  <a:pt x="2675863" y="516527"/>
                  <a:pt x="2676774" y="520171"/>
                </a:cubicBezTo>
                <a:cubicBezTo>
                  <a:pt x="2678596" y="520171"/>
                  <a:pt x="2680418" y="520171"/>
                  <a:pt x="2680418" y="521993"/>
                </a:cubicBezTo>
                <a:cubicBezTo>
                  <a:pt x="2682240" y="521993"/>
                  <a:pt x="2680418" y="520171"/>
                  <a:pt x="2680418" y="520171"/>
                </a:cubicBezTo>
                <a:cubicBezTo>
                  <a:pt x="2680418" y="516527"/>
                  <a:pt x="2685885" y="521993"/>
                  <a:pt x="2684063" y="516527"/>
                </a:cubicBezTo>
                <a:cubicBezTo>
                  <a:pt x="2682241" y="515616"/>
                  <a:pt x="2679963" y="514705"/>
                  <a:pt x="2678369" y="514933"/>
                </a:cubicBezTo>
                <a:close/>
                <a:moveTo>
                  <a:pt x="1177125" y="514706"/>
                </a:moveTo>
                <a:lnTo>
                  <a:pt x="1177125" y="514933"/>
                </a:lnTo>
                <a:lnTo>
                  <a:pt x="1176977" y="514927"/>
                </a:lnTo>
                <a:close/>
                <a:moveTo>
                  <a:pt x="3352800" y="514705"/>
                </a:moveTo>
                <a:cubicBezTo>
                  <a:pt x="3349156" y="512882"/>
                  <a:pt x="3350978" y="516527"/>
                  <a:pt x="3345512" y="516527"/>
                </a:cubicBezTo>
                <a:cubicBezTo>
                  <a:pt x="3350978" y="521993"/>
                  <a:pt x="3350978" y="518349"/>
                  <a:pt x="3352800" y="514705"/>
                </a:cubicBezTo>
                <a:close/>
                <a:moveTo>
                  <a:pt x="2982899" y="514705"/>
                </a:moveTo>
                <a:cubicBezTo>
                  <a:pt x="2977432" y="514705"/>
                  <a:pt x="2979255" y="520171"/>
                  <a:pt x="2982899" y="520171"/>
                </a:cubicBezTo>
                <a:cubicBezTo>
                  <a:pt x="2984721" y="518349"/>
                  <a:pt x="2984721" y="518349"/>
                  <a:pt x="2982899" y="514705"/>
                </a:cubicBezTo>
                <a:close/>
                <a:moveTo>
                  <a:pt x="2203009" y="514705"/>
                </a:moveTo>
                <a:cubicBezTo>
                  <a:pt x="2199364" y="516527"/>
                  <a:pt x="2195720" y="518349"/>
                  <a:pt x="2192076" y="520171"/>
                </a:cubicBezTo>
                <a:cubicBezTo>
                  <a:pt x="2192076" y="525638"/>
                  <a:pt x="2193898" y="527461"/>
                  <a:pt x="2195720" y="531105"/>
                </a:cubicBezTo>
                <a:cubicBezTo>
                  <a:pt x="2208475" y="540215"/>
                  <a:pt x="2213942" y="521993"/>
                  <a:pt x="2208475" y="516527"/>
                </a:cubicBezTo>
                <a:cubicBezTo>
                  <a:pt x="2206653" y="516527"/>
                  <a:pt x="2204831" y="523815"/>
                  <a:pt x="2203009" y="514705"/>
                </a:cubicBezTo>
                <a:close/>
                <a:moveTo>
                  <a:pt x="2108256" y="514705"/>
                </a:moveTo>
                <a:cubicBezTo>
                  <a:pt x="2102790" y="520171"/>
                  <a:pt x="2108256" y="521993"/>
                  <a:pt x="2111900" y="525638"/>
                </a:cubicBezTo>
                <a:cubicBezTo>
                  <a:pt x="2115544" y="520171"/>
                  <a:pt x="2108256" y="518349"/>
                  <a:pt x="2108256" y="514705"/>
                </a:cubicBezTo>
                <a:close/>
                <a:moveTo>
                  <a:pt x="1202636" y="514705"/>
                </a:moveTo>
                <a:cubicBezTo>
                  <a:pt x="1198991" y="516527"/>
                  <a:pt x="1204457" y="518349"/>
                  <a:pt x="1204457" y="520171"/>
                </a:cubicBezTo>
                <a:cubicBezTo>
                  <a:pt x="1204457" y="518349"/>
                  <a:pt x="1204457" y="516527"/>
                  <a:pt x="1202636" y="514705"/>
                </a:cubicBezTo>
                <a:close/>
                <a:moveTo>
                  <a:pt x="843667" y="514705"/>
                </a:moveTo>
                <a:cubicBezTo>
                  <a:pt x="842757" y="516528"/>
                  <a:pt x="843667" y="519261"/>
                  <a:pt x="844123" y="521766"/>
                </a:cubicBezTo>
                <a:lnTo>
                  <a:pt x="843170" y="524148"/>
                </a:lnTo>
                <a:close/>
                <a:moveTo>
                  <a:pt x="727048" y="514705"/>
                </a:moveTo>
                <a:cubicBezTo>
                  <a:pt x="725225" y="519260"/>
                  <a:pt x="726592" y="523360"/>
                  <a:pt x="728414" y="527460"/>
                </a:cubicBezTo>
                <a:lnTo>
                  <a:pt x="730340" y="533454"/>
                </a:lnTo>
                <a:lnTo>
                  <a:pt x="729057" y="535380"/>
                </a:lnTo>
                <a:lnTo>
                  <a:pt x="727503" y="529055"/>
                </a:lnTo>
                <a:lnTo>
                  <a:pt x="727322" y="528553"/>
                </a:lnTo>
                <a:lnTo>
                  <a:pt x="727048" y="527461"/>
                </a:lnTo>
                <a:lnTo>
                  <a:pt x="726953" y="527539"/>
                </a:lnTo>
                <a:lnTo>
                  <a:pt x="725055" y="522307"/>
                </a:lnTo>
                <a:cubicBezTo>
                  <a:pt x="724770" y="519944"/>
                  <a:pt x="725226" y="517439"/>
                  <a:pt x="727048" y="514705"/>
                </a:cubicBezTo>
                <a:close/>
                <a:moveTo>
                  <a:pt x="625006" y="514705"/>
                </a:moveTo>
                <a:cubicBezTo>
                  <a:pt x="619539" y="518349"/>
                  <a:pt x="625006" y="520171"/>
                  <a:pt x="626828" y="523815"/>
                </a:cubicBezTo>
                <a:cubicBezTo>
                  <a:pt x="628650" y="520171"/>
                  <a:pt x="626828" y="518349"/>
                  <a:pt x="625006" y="514705"/>
                </a:cubicBezTo>
                <a:close/>
                <a:moveTo>
                  <a:pt x="599496" y="514705"/>
                </a:moveTo>
                <a:cubicBezTo>
                  <a:pt x="599496" y="521993"/>
                  <a:pt x="601318" y="529282"/>
                  <a:pt x="606784" y="536571"/>
                </a:cubicBezTo>
                <a:cubicBezTo>
                  <a:pt x="604963" y="529282"/>
                  <a:pt x="608606" y="518349"/>
                  <a:pt x="599496" y="514705"/>
                </a:cubicBezTo>
                <a:close/>
                <a:moveTo>
                  <a:pt x="528431" y="514705"/>
                </a:moveTo>
                <a:cubicBezTo>
                  <a:pt x="528431" y="518349"/>
                  <a:pt x="533897" y="523815"/>
                  <a:pt x="535719" y="529282"/>
                </a:cubicBezTo>
                <a:cubicBezTo>
                  <a:pt x="539364" y="523815"/>
                  <a:pt x="535719" y="516527"/>
                  <a:pt x="528431" y="514705"/>
                </a:cubicBezTo>
                <a:close/>
                <a:moveTo>
                  <a:pt x="2095291" y="513654"/>
                </a:moveTo>
                <a:lnTo>
                  <a:pt x="2096640" y="515388"/>
                </a:lnTo>
                <a:lnTo>
                  <a:pt x="2096959" y="517621"/>
                </a:lnTo>
                <a:lnTo>
                  <a:pt x="2095956" y="516983"/>
                </a:lnTo>
                <a:close/>
                <a:moveTo>
                  <a:pt x="2020791" y="512882"/>
                </a:moveTo>
                <a:cubicBezTo>
                  <a:pt x="2013503" y="518349"/>
                  <a:pt x="2015325" y="518349"/>
                  <a:pt x="2015325" y="527461"/>
                </a:cubicBezTo>
                <a:cubicBezTo>
                  <a:pt x="2020791" y="525638"/>
                  <a:pt x="2020791" y="520171"/>
                  <a:pt x="2020791" y="512882"/>
                </a:cubicBezTo>
                <a:close/>
                <a:moveTo>
                  <a:pt x="461671" y="512410"/>
                </a:moveTo>
                <a:lnTo>
                  <a:pt x="468804" y="522708"/>
                </a:lnTo>
                <a:lnTo>
                  <a:pt x="463743" y="519032"/>
                </a:lnTo>
                <a:close/>
                <a:moveTo>
                  <a:pt x="217427" y="511706"/>
                </a:moveTo>
                <a:lnTo>
                  <a:pt x="227690" y="528667"/>
                </a:lnTo>
                <a:lnTo>
                  <a:pt x="223416" y="524186"/>
                </a:lnTo>
                <a:close/>
                <a:moveTo>
                  <a:pt x="3378311" y="511061"/>
                </a:moveTo>
                <a:cubicBezTo>
                  <a:pt x="3374666" y="509238"/>
                  <a:pt x="3374666" y="514705"/>
                  <a:pt x="3369200" y="514705"/>
                </a:cubicBezTo>
                <a:cubicBezTo>
                  <a:pt x="3372844" y="516527"/>
                  <a:pt x="3380133" y="516527"/>
                  <a:pt x="3378311" y="511061"/>
                </a:cubicBezTo>
                <a:close/>
                <a:moveTo>
                  <a:pt x="2172032" y="511061"/>
                </a:moveTo>
                <a:cubicBezTo>
                  <a:pt x="2170210" y="514705"/>
                  <a:pt x="2166565" y="512882"/>
                  <a:pt x="2166565" y="514705"/>
                </a:cubicBezTo>
                <a:cubicBezTo>
                  <a:pt x="2166565" y="518349"/>
                  <a:pt x="2170210" y="516527"/>
                  <a:pt x="2172032" y="514705"/>
                </a:cubicBezTo>
                <a:cubicBezTo>
                  <a:pt x="2172032" y="514705"/>
                  <a:pt x="2172032" y="512882"/>
                  <a:pt x="2172032" y="511061"/>
                </a:cubicBezTo>
                <a:close/>
                <a:moveTo>
                  <a:pt x="931131" y="511061"/>
                </a:moveTo>
                <a:cubicBezTo>
                  <a:pt x="929309" y="512882"/>
                  <a:pt x="932953" y="514705"/>
                  <a:pt x="929309" y="518349"/>
                </a:cubicBezTo>
                <a:cubicBezTo>
                  <a:pt x="929309" y="516527"/>
                  <a:pt x="927487" y="511061"/>
                  <a:pt x="931131" y="511061"/>
                </a:cubicBezTo>
                <a:close/>
                <a:moveTo>
                  <a:pt x="2866608" y="509479"/>
                </a:moveTo>
                <a:lnTo>
                  <a:pt x="2866280" y="511061"/>
                </a:lnTo>
                <a:lnTo>
                  <a:pt x="2865715" y="510244"/>
                </a:lnTo>
                <a:close/>
                <a:moveTo>
                  <a:pt x="3629771" y="509238"/>
                </a:moveTo>
                <a:cubicBezTo>
                  <a:pt x="3632504" y="509238"/>
                  <a:pt x="3634326" y="511516"/>
                  <a:pt x="3634782" y="514022"/>
                </a:cubicBezTo>
                <a:lnTo>
                  <a:pt x="3633735" y="516042"/>
                </a:lnTo>
                <a:lnTo>
                  <a:pt x="3631246" y="514926"/>
                </a:lnTo>
                <a:close/>
                <a:moveTo>
                  <a:pt x="3287202" y="509238"/>
                </a:moveTo>
                <a:cubicBezTo>
                  <a:pt x="3283558" y="511061"/>
                  <a:pt x="3281736" y="512882"/>
                  <a:pt x="3281736" y="516527"/>
                </a:cubicBezTo>
                <a:cubicBezTo>
                  <a:pt x="3283558" y="516527"/>
                  <a:pt x="3285380" y="516527"/>
                  <a:pt x="3287202" y="516527"/>
                </a:cubicBezTo>
                <a:cubicBezTo>
                  <a:pt x="3285380" y="512882"/>
                  <a:pt x="3289024" y="511061"/>
                  <a:pt x="3287202" y="509238"/>
                </a:cubicBezTo>
                <a:close/>
                <a:moveTo>
                  <a:pt x="1193525" y="509238"/>
                </a:moveTo>
                <a:lnTo>
                  <a:pt x="1193815" y="516527"/>
                </a:lnTo>
                <a:lnTo>
                  <a:pt x="1191703" y="516527"/>
                </a:lnTo>
                <a:cubicBezTo>
                  <a:pt x="1193525" y="518349"/>
                  <a:pt x="1191703" y="520171"/>
                  <a:pt x="1193525" y="521993"/>
                </a:cubicBezTo>
                <a:cubicBezTo>
                  <a:pt x="1194435" y="521082"/>
                  <a:pt x="1193979" y="520171"/>
                  <a:pt x="1193752" y="519488"/>
                </a:cubicBezTo>
                <a:lnTo>
                  <a:pt x="1193929" y="519362"/>
                </a:lnTo>
                <a:lnTo>
                  <a:pt x="1195346" y="554792"/>
                </a:lnTo>
                <a:cubicBezTo>
                  <a:pt x="1197169" y="545681"/>
                  <a:pt x="1198991" y="538393"/>
                  <a:pt x="1198991" y="529282"/>
                </a:cubicBezTo>
                <a:cubicBezTo>
                  <a:pt x="1197169" y="531105"/>
                  <a:pt x="1198991" y="531105"/>
                  <a:pt x="1197169" y="531105"/>
                </a:cubicBezTo>
                <a:cubicBezTo>
                  <a:pt x="1195346" y="527461"/>
                  <a:pt x="1198991" y="525638"/>
                  <a:pt x="1195346" y="521993"/>
                </a:cubicBezTo>
                <a:cubicBezTo>
                  <a:pt x="1198079" y="521993"/>
                  <a:pt x="1198535" y="524727"/>
                  <a:pt x="1198991" y="526777"/>
                </a:cubicBezTo>
                <a:lnTo>
                  <a:pt x="1202511" y="527437"/>
                </a:lnTo>
                <a:lnTo>
                  <a:pt x="1202590" y="527640"/>
                </a:lnTo>
                <a:lnTo>
                  <a:pt x="1195346" y="556616"/>
                </a:lnTo>
                <a:cubicBezTo>
                  <a:pt x="1197169" y="556616"/>
                  <a:pt x="1197169" y="552970"/>
                  <a:pt x="1198991" y="551148"/>
                </a:cubicBezTo>
                <a:cubicBezTo>
                  <a:pt x="1200814" y="551148"/>
                  <a:pt x="1202636" y="562081"/>
                  <a:pt x="1204457" y="556616"/>
                </a:cubicBezTo>
                <a:cubicBezTo>
                  <a:pt x="1204457" y="560260"/>
                  <a:pt x="1200814" y="563904"/>
                  <a:pt x="1206279" y="567548"/>
                </a:cubicBezTo>
                <a:cubicBezTo>
                  <a:pt x="1208101" y="559348"/>
                  <a:pt x="1209468" y="551604"/>
                  <a:pt x="1208785" y="543632"/>
                </a:cubicBezTo>
                <a:lnTo>
                  <a:pt x="1202590" y="527640"/>
                </a:lnTo>
                <a:lnTo>
                  <a:pt x="1202636" y="527461"/>
                </a:lnTo>
                <a:lnTo>
                  <a:pt x="1202511" y="527437"/>
                </a:lnTo>
                <a:lnTo>
                  <a:pt x="1198991" y="518349"/>
                </a:lnTo>
                <a:cubicBezTo>
                  <a:pt x="1197169" y="518349"/>
                  <a:pt x="1197169" y="518349"/>
                  <a:pt x="1195346" y="518349"/>
                </a:cubicBezTo>
                <a:lnTo>
                  <a:pt x="1193929" y="519362"/>
                </a:lnTo>
                <a:lnTo>
                  <a:pt x="1193815" y="516527"/>
                </a:lnTo>
                <a:lnTo>
                  <a:pt x="1197169" y="516527"/>
                </a:lnTo>
                <a:cubicBezTo>
                  <a:pt x="1197169" y="512882"/>
                  <a:pt x="1193525" y="514705"/>
                  <a:pt x="1193525" y="509238"/>
                </a:cubicBezTo>
                <a:close/>
                <a:moveTo>
                  <a:pt x="521142" y="509238"/>
                </a:moveTo>
                <a:cubicBezTo>
                  <a:pt x="519320" y="511061"/>
                  <a:pt x="519320" y="511061"/>
                  <a:pt x="517498" y="511061"/>
                </a:cubicBezTo>
                <a:cubicBezTo>
                  <a:pt x="519320" y="520171"/>
                  <a:pt x="519320" y="527461"/>
                  <a:pt x="522964" y="536571"/>
                </a:cubicBezTo>
                <a:cubicBezTo>
                  <a:pt x="524786" y="527461"/>
                  <a:pt x="521142" y="518349"/>
                  <a:pt x="521142" y="509238"/>
                </a:cubicBezTo>
                <a:close/>
                <a:moveTo>
                  <a:pt x="1002082" y="507872"/>
                </a:moveTo>
                <a:lnTo>
                  <a:pt x="1000374" y="514705"/>
                </a:lnTo>
                <a:lnTo>
                  <a:pt x="999986" y="513676"/>
                </a:lnTo>
                <a:close/>
                <a:moveTo>
                  <a:pt x="1184414" y="507417"/>
                </a:moveTo>
                <a:cubicBezTo>
                  <a:pt x="1180769" y="512882"/>
                  <a:pt x="1177125" y="516527"/>
                  <a:pt x="1178947" y="518349"/>
                </a:cubicBezTo>
                <a:cubicBezTo>
                  <a:pt x="1175303" y="520171"/>
                  <a:pt x="1178947" y="516527"/>
                  <a:pt x="1177125" y="514705"/>
                </a:cubicBezTo>
                <a:lnTo>
                  <a:pt x="1177125" y="511061"/>
                </a:lnTo>
                <a:cubicBezTo>
                  <a:pt x="1175303" y="511061"/>
                  <a:pt x="1173481" y="512882"/>
                  <a:pt x="1171658" y="514705"/>
                </a:cubicBezTo>
                <a:lnTo>
                  <a:pt x="1176977" y="514927"/>
                </a:lnTo>
                <a:lnTo>
                  <a:pt x="1173481" y="520171"/>
                </a:lnTo>
                <a:cubicBezTo>
                  <a:pt x="1171658" y="518349"/>
                  <a:pt x="1171658" y="516527"/>
                  <a:pt x="1168014" y="516527"/>
                </a:cubicBezTo>
                <a:cubicBezTo>
                  <a:pt x="1168014" y="520171"/>
                  <a:pt x="1171658" y="525638"/>
                  <a:pt x="1173481" y="529282"/>
                </a:cubicBezTo>
                <a:cubicBezTo>
                  <a:pt x="1175303" y="527461"/>
                  <a:pt x="1175303" y="525638"/>
                  <a:pt x="1175303" y="523815"/>
                </a:cubicBezTo>
                <a:cubicBezTo>
                  <a:pt x="1175303" y="534749"/>
                  <a:pt x="1178947" y="549326"/>
                  <a:pt x="1189880" y="556616"/>
                </a:cubicBezTo>
                <a:cubicBezTo>
                  <a:pt x="1186236" y="540215"/>
                  <a:pt x="1191703" y="523815"/>
                  <a:pt x="1184414" y="507417"/>
                </a:cubicBezTo>
                <a:close/>
                <a:moveTo>
                  <a:pt x="1002196" y="507417"/>
                </a:moveTo>
                <a:lnTo>
                  <a:pt x="1002196" y="507557"/>
                </a:lnTo>
                <a:lnTo>
                  <a:pt x="1002082" y="507872"/>
                </a:lnTo>
                <a:close/>
                <a:moveTo>
                  <a:pt x="956642" y="507417"/>
                </a:moveTo>
                <a:cubicBezTo>
                  <a:pt x="951175" y="512882"/>
                  <a:pt x="949353" y="520171"/>
                  <a:pt x="949353" y="527461"/>
                </a:cubicBezTo>
                <a:cubicBezTo>
                  <a:pt x="951175" y="523815"/>
                  <a:pt x="960286" y="518349"/>
                  <a:pt x="962108" y="514705"/>
                </a:cubicBezTo>
                <a:cubicBezTo>
                  <a:pt x="958464" y="511061"/>
                  <a:pt x="956642" y="511061"/>
                  <a:pt x="956642" y="507417"/>
                </a:cubicBezTo>
                <a:close/>
                <a:moveTo>
                  <a:pt x="641407" y="507417"/>
                </a:moveTo>
                <a:cubicBezTo>
                  <a:pt x="637761" y="509238"/>
                  <a:pt x="637761" y="514705"/>
                  <a:pt x="639583" y="518349"/>
                </a:cubicBezTo>
                <a:cubicBezTo>
                  <a:pt x="641407" y="516527"/>
                  <a:pt x="641407" y="512882"/>
                  <a:pt x="645050" y="512882"/>
                </a:cubicBezTo>
                <a:cubicBezTo>
                  <a:pt x="643228" y="511061"/>
                  <a:pt x="643228" y="509238"/>
                  <a:pt x="641407" y="507417"/>
                </a:cubicBezTo>
                <a:close/>
                <a:moveTo>
                  <a:pt x="900154" y="506080"/>
                </a:moveTo>
                <a:lnTo>
                  <a:pt x="900154" y="507417"/>
                </a:lnTo>
                <a:lnTo>
                  <a:pt x="899904" y="506896"/>
                </a:lnTo>
                <a:close/>
                <a:moveTo>
                  <a:pt x="3394710" y="505594"/>
                </a:moveTo>
                <a:cubicBezTo>
                  <a:pt x="3396532" y="511061"/>
                  <a:pt x="3391066" y="512882"/>
                  <a:pt x="3389244" y="516527"/>
                </a:cubicBezTo>
                <a:cubicBezTo>
                  <a:pt x="3392888" y="518349"/>
                  <a:pt x="3396532" y="516527"/>
                  <a:pt x="3400177" y="516527"/>
                </a:cubicBezTo>
                <a:cubicBezTo>
                  <a:pt x="3400177" y="518349"/>
                  <a:pt x="3396532" y="520171"/>
                  <a:pt x="3394710" y="520171"/>
                </a:cubicBezTo>
                <a:cubicBezTo>
                  <a:pt x="3394710" y="525638"/>
                  <a:pt x="3407466" y="518349"/>
                  <a:pt x="3401999" y="516527"/>
                </a:cubicBezTo>
                <a:cubicBezTo>
                  <a:pt x="3403821" y="516527"/>
                  <a:pt x="3407466" y="514705"/>
                  <a:pt x="3411110" y="514705"/>
                </a:cubicBezTo>
                <a:cubicBezTo>
                  <a:pt x="3407466" y="509238"/>
                  <a:pt x="3405643" y="501949"/>
                  <a:pt x="3394710" y="505594"/>
                </a:cubicBezTo>
                <a:close/>
                <a:moveTo>
                  <a:pt x="1969528" y="504738"/>
                </a:moveTo>
                <a:lnTo>
                  <a:pt x="1967037" y="514705"/>
                </a:lnTo>
                <a:lnTo>
                  <a:pt x="1961372" y="518482"/>
                </a:lnTo>
                <a:lnTo>
                  <a:pt x="1964759" y="510377"/>
                </a:lnTo>
                <a:close/>
                <a:moveTo>
                  <a:pt x="1226115" y="504119"/>
                </a:moveTo>
                <a:lnTo>
                  <a:pt x="1226096" y="504227"/>
                </a:lnTo>
                <a:lnTo>
                  <a:pt x="1225986" y="504334"/>
                </a:lnTo>
                <a:close/>
                <a:moveTo>
                  <a:pt x="2662197" y="503771"/>
                </a:moveTo>
                <a:cubicBezTo>
                  <a:pt x="2662197" y="507417"/>
                  <a:pt x="2664019" y="507417"/>
                  <a:pt x="2664019" y="511061"/>
                </a:cubicBezTo>
                <a:cubicBezTo>
                  <a:pt x="2667663" y="511061"/>
                  <a:pt x="2665841" y="501949"/>
                  <a:pt x="2662197" y="503771"/>
                </a:cubicBezTo>
                <a:close/>
                <a:moveTo>
                  <a:pt x="2474513" y="503771"/>
                </a:moveTo>
                <a:cubicBezTo>
                  <a:pt x="2470868" y="507417"/>
                  <a:pt x="2465402" y="503771"/>
                  <a:pt x="2459935" y="507417"/>
                </a:cubicBezTo>
                <a:cubicBezTo>
                  <a:pt x="2465402" y="512882"/>
                  <a:pt x="2470868" y="518349"/>
                  <a:pt x="2476335" y="523815"/>
                </a:cubicBezTo>
                <a:cubicBezTo>
                  <a:pt x="2470868" y="525638"/>
                  <a:pt x="2467224" y="523815"/>
                  <a:pt x="2465402" y="521993"/>
                </a:cubicBezTo>
                <a:cubicBezTo>
                  <a:pt x="2469046" y="527461"/>
                  <a:pt x="2472690" y="531105"/>
                  <a:pt x="2478157" y="532926"/>
                </a:cubicBezTo>
                <a:cubicBezTo>
                  <a:pt x="2479979" y="523815"/>
                  <a:pt x="2481801" y="516527"/>
                  <a:pt x="2479979" y="507417"/>
                </a:cubicBezTo>
                <a:cubicBezTo>
                  <a:pt x="2476335" y="505594"/>
                  <a:pt x="2472690" y="511061"/>
                  <a:pt x="2474513" y="503771"/>
                </a:cubicBezTo>
                <a:close/>
                <a:moveTo>
                  <a:pt x="994907" y="503771"/>
                </a:moveTo>
                <a:cubicBezTo>
                  <a:pt x="987619" y="520171"/>
                  <a:pt x="973041" y="529282"/>
                  <a:pt x="973041" y="547504"/>
                </a:cubicBezTo>
                <a:cubicBezTo>
                  <a:pt x="982152" y="540215"/>
                  <a:pt x="989441" y="529282"/>
                  <a:pt x="987619" y="521993"/>
                </a:cubicBezTo>
                <a:cubicBezTo>
                  <a:pt x="989441" y="523815"/>
                  <a:pt x="987619" y="527461"/>
                  <a:pt x="987619" y="531105"/>
                </a:cubicBezTo>
                <a:cubicBezTo>
                  <a:pt x="993085" y="523815"/>
                  <a:pt x="998552" y="514705"/>
                  <a:pt x="994907" y="503771"/>
                </a:cubicBezTo>
                <a:close/>
                <a:moveTo>
                  <a:pt x="987619" y="503771"/>
                </a:moveTo>
                <a:cubicBezTo>
                  <a:pt x="983974" y="511061"/>
                  <a:pt x="973041" y="514705"/>
                  <a:pt x="974863" y="523815"/>
                </a:cubicBezTo>
                <a:cubicBezTo>
                  <a:pt x="978508" y="520171"/>
                  <a:pt x="974863" y="525638"/>
                  <a:pt x="976686" y="527461"/>
                </a:cubicBezTo>
                <a:cubicBezTo>
                  <a:pt x="983974" y="521993"/>
                  <a:pt x="987619" y="512882"/>
                  <a:pt x="987619" y="503771"/>
                </a:cubicBezTo>
                <a:close/>
                <a:moveTo>
                  <a:pt x="548475" y="503771"/>
                </a:moveTo>
                <a:cubicBezTo>
                  <a:pt x="550297" y="511971"/>
                  <a:pt x="553941" y="519716"/>
                  <a:pt x="556902" y="527688"/>
                </a:cubicBezTo>
                <a:lnTo>
                  <a:pt x="559303" y="541706"/>
                </a:lnTo>
                <a:lnTo>
                  <a:pt x="547948" y="506228"/>
                </a:lnTo>
                <a:close/>
                <a:moveTo>
                  <a:pt x="3507685" y="501949"/>
                </a:moveTo>
                <a:cubicBezTo>
                  <a:pt x="3504041" y="501949"/>
                  <a:pt x="3504041" y="505594"/>
                  <a:pt x="3504041" y="509238"/>
                </a:cubicBezTo>
                <a:cubicBezTo>
                  <a:pt x="3509507" y="511061"/>
                  <a:pt x="3507685" y="505594"/>
                  <a:pt x="3507685" y="501949"/>
                </a:cubicBezTo>
                <a:close/>
                <a:moveTo>
                  <a:pt x="3434798" y="501949"/>
                </a:moveTo>
                <a:cubicBezTo>
                  <a:pt x="3431154" y="503771"/>
                  <a:pt x="3432976" y="512882"/>
                  <a:pt x="3434798" y="512882"/>
                </a:cubicBezTo>
                <a:cubicBezTo>
                  <a:pt x="3442087" y="511061"/>
                  <a:pt x="3434798" y="505594"/>
                  <a:pt x="3434798" y="501949"/>
                </a:cubicBezTo>
                <a:close/>
                <a:moveTo>
                  <a:pt x="3414754" y="501949"/>
                </a:moveTo>
                <a:cubicBezTo>
                  <a:pt x="3412932" y="503771"/>
                  <a:pt x="3411110" y="503771"/>
                  <a:pt x="3409288" y="503771"/>
                </a:cubicBezTo>
                <a:cubicBezTo>
                  <a:pt x="3407466" y="512882"/>
                  <a:pt x="3412932" y="509238"/>
                  <a:pt x="3418399" y="507417"/>
                </a:cubicBezTo>
                <a:cubicBezTo>
                  <a:pt x="3416577" y="505594"/>
                  <a:pt x="3412932" y="507417"/>
                  <a:pt x="3414754" y="501949"/>
                </a:cubicBezTo>
                <a:close/>
                <a:moveTo>
                  <a:pt x="2731439" y="501949"/>
                </a:moveTo>
                <a:cubicBezTo>
                  <a:pt x="2731439" y="505594"/>
                  <a:pt x="2731439" y="512882"/>
                  <a:pt x="2731439" y="516527"/>
                </a:cubicBezTo>
                <a:cubicBezTo>
                  <a:pt x="2735084" y="514705"/>
                  <a:pt x="2735084" y="507417"/>
                  <a:pt x="2736906" y="505594"/>
                </a:cubicBezTo>
                <a:cubicBezTo>
                  <a:pt x="2735084" y="500127"/>
                  <a:pt x="2731439" y="509238"/>
                  <a:pt x="2731439" y="501949"/>
                </a:cubicBezTo>
                <a:close/>
                <a:moveTo>
                  <a:pt x="1198991" y="501949"/>
                </a:moveTo>
                <a:cubicBezTo>
                  <a:pt x="1197169" y="509238"/>
                  <a:pt x="1208102" y="520171"/>
                  <a:pt x="1209925" y="529282"/>
                </a:cubicBezTo>
                <a:cubicBezTo>
                  <a:pt x="1213568" y="525638"/>
                  <a:pt x="1211747" y="520171"/>
                  <a:pt x="1211747" y="516527"/>
                </a:cubicBezTo>
                <a:cubicBezTo>
                  <a:pt x="1208102" y="512882"/>
                  <a:pt x="1206279" y="509238"/>
                  <a:pt x="1202636" y="505594"/>
                </a:cubicBezTo>
                <a:cubicBezTo>
                  <a:pt x="1200814" y="505594"/>
                  <a:pt x="1200814" y="507417"/>
                  <a:pt x="1200814" y="507417"/>
                </a:cubicBezTo>
                <a:cubicBezTo>
                  <a:pt x="1200814" y="503771"/>
                  <a:pt x="1198991" y="503771"/>
                  <a:pt x="1198991" y="501949"/>
                </a:cubicBezTo>
                <a:close/>
                <a:moveTo>
                  <a:pt x="389946" y="501949"/>
                </a:moveTo>
                <a:cubicBezTo>
                  <a:pt x="384479" y="512882"/>
                  <a:pt x="404523" y="536571"/>
                  <a:pt x="413634" y="549326"/>
                </a:cubicBezTo>
                <a:cubicBezTo>
                  <a:pt x="415456" y="549326"/>
                  <a:pt x="413634" y="547504"/>
                  <a:pt x="413634" y="547504"/>
                </a:cubicBezTo>
                <a:cubicBezTo>
                  <a:pt x="417278" y="551148"/>
                  <a:pt x="419100" y="554792"/>
                  <a:pt x="424567" y="556616"/>
                </a:cubicBezTo>
                <a:cubicBezTo>
                  <a:pt x="413634" y="538393"/>
                  <a:pt x="402701" y="520171"/>
                  <a:pt x="389946" y="501949"/>
                </a:cubicBezTo>
                <a:close/>
                <a:moveTo>
                  <a:pt x="711840" y="500992"/>
                </a:moveTo>
                <a:lnTo>
                  <a:pt x="717937" y="524044"/>
                </a:lnTo>
                <a:lnTo>
                  <a:pt x="715139" y="532928"/>
                </a:lnTo>
                <a:lnTo>
                  <a:pt x="713076" y="525230"/>
                </a:lnTo>
                <a:lnTo>
                  <a:pt x="713153" y="524727"/>
                </a:lnTo>
                <a:lnTo>
                  <a:pt x="711739" y="508768"/>
                </a:lnTo>
                <a:lnTo>
                  <a:pt x="711787" y="502861"/>
                </a:lnTo>
                <a:close/>
                <a:moveTo>
                  <a:pt x="1162746" y="500916"/>
                </a:moveTo>
                <a:lnTo>
                  <a:pt x="1166192" y="501949"/>
                </a:lnTo>
                <a:lnTo>
                  <a:pt x="1164066" y="505670"/>
                </a:lnTo>
                <a:lnTo>
                  <a:pt x="1162547" y="503771"/>
                </a:lnTo>
                <a:lnTo>
                  <a:pt x="1163969" y="505840"/>
                </a:lnTo>
                <a:lnTo>
                  <a:pt x="1157288" y="517531"/>
                </a:lnTo>
                <a:lnTo>
                  <a:pt x="1157992" y="508555"/>
                </a:lnTo>
                <a:close/>
                <a:moveTo>
                  <a:pt x="3657103" y="500127"/>
                </a:moveTo>
                <a:cubicBezTo>
                  <a:pt x="3657103" y="503771"/>
                  <a:pt x="3662570" y="509238"/>
                  <a:pt x="3657103" y="511061"/>
                </a:cubicBezTo>
                <a:lnTo>
                  <a:pt x="3652336" y="507246"/>
                </a:lnTo>
                <a:lnTo>
                  <a:pt x="3652940" y="500477"/>
                </a:lnTo>
                <a:lnTo>
                  <a:pt x="3653004" y="500583"/>
                </a:lnTo>
                <a:cubicBezTo>
                  <a:pt x="3654370" y="500583"/>
                  <a:pt x="3656192" y="500127"/>
                  <a:pt x="3657103" y="500127"/>
                </a:cubicBezTo>
                <a:close/>
                <a:moveTo>
                  <a:pt x="2487268" y="500127"/>
                </a:moveTo>
                <a:cubicBezTo>
                  <a:pt x="2481801" y="503771"/>
                  <a:pt x="2489090" y="511061"/>
                  <a:pt x="2489090" y="516527"/>
                </a:cubicBezTo>
                <a:cubicBezTo>
                  <a:pt x="2494556" y="511061"/>
                  <a:pt x="2489090" y="505594"/>
                  <a:pt x="2487268" y="500127"/>
                </a:cubicBezTo>
                <a:close/>
                <a:moveTo>
                  <a:pt x="1195346" y="500127"/>
                </a:moveTo>
                <a:cubicBezTo>
                  <a:pt x="1195346" y="501949"/>
                  <a:pt x="1193525" y="503771"/>
                  <a:pt x="1193525" y="505594"/>
                </a:cubicBezTo>
                <a:cubicBezTo>
                  <a:pt x="1195346" y="507417"/>
                  <a:pt x="1197169" y="509238"/>
                  <a:pt x="1198991" y="505594"/>
                </a:cubicBezTo>
                <a:cubicBezTo>
                  <a:pt x="1197169" y="503771"/>
                  <a:pt x="1197169" y="500127"/>
                  <a:pt x="1195346" y="500127"/>
                </a:cubicBezTo>
                <a:close/>
                <a:moveTo>
                  <a:pt x="901976" y="500127"/>
                </a:moveTo>
                <a:lnTo>
                  <a:pt x="900154" y="506080"/>
                </a:lnTo>
                <a:lnTo>
                  <a:pt x="900154" y="503772"/>
                </a:lnTo>
                <a:close/>
                <a:moveTo>
                  <a:pt x="863711" y="500127"/>
                </a:moveTo>
                <a:cubicBezTo>
                  <a:pt x="867355" y="507417"/>
                  <a:pt x="860066" y="520171"/>
                  <a:pt x="871000" y="525638"/>
                </a:cubicBezTo>
                <a:cubicBezTo>
                  <a:pt x="872822" y="523815"/>
                  <a:pt x="871000" y="521993"/>
                  <a:pt x="872822" y="518349"/>
                </a:cubicBezTo>
                <a:cubicBezTo>
                  <a:pt x="867355" y="518349"/>
                  <a:pt x="871000" y="516527"/>
                  <a:pt x="872822" y="512882"/>
                </a:cubicBezTo>
                <a:cubicBezTo>
                  <a:pt x="878288" y="523815"/>
                  <a:pt x="867355" y="534749"/>
                  <a:pt x="876466" y="543860"/>
                </a:cubicBezTo>
                <a:cubicBezTo>
                  <a:pt x="876466" y="538393"/>
                  <a:pt x="878288" y="534749"/>
                  <a:pt x="876466" y="529282"/>
                </a:cubicBezTo>
                <a:cubicBezTo>
                  <a:pt x="883755" y="534749"/>
                  <a:pt x="874644" y="545681"/>
                  <a:pt x="881933" y="545681"/>
                </a:cubicBezTo>
                <a:cubicBezTo>
                  <a:pt x="889222" y="545681"/>
                  <a:pt x="887399" y="536571"/>
                  <a:pt x="885577" y="531105"/>
                </a:cubicBezTo>
                <a:cubicBezTo>
                  <a:pt x="887399" y="532926"/>
                  <a:pt x="889222" y="534749"/>
                  <a:pt x="889222" y="538393"/>
                </a:cubicBezTo>
                <a:cubicBezTo>
                  <a:pt x="892866" y="523815"/>
                  <a:pt x="880111" y="518349"/>
                  <a:pt x="876466" y="507417"/>
                </a:cubicBezTo>
                <a:cubicBezTo>
                  <a:pt x="883755" y="512882"/>
                  <a:pt x="889222" y="516527"/>
                  <a:pt x="891043" y="527461"/>
                </a:cubicBezTo>
                <a:cubicBezTo>
                  <a:pt x="896510" y="507417"/>
                  <a:pt x="876466" y="503771"/>
                  <a:pt x="863711" y="500127"/>
                </a:cubicBezTo>
                <a:close/>
                <a:moveTo>
                  <a:pt x="2950100" y="498306"/>
                </a:moveTo>
                <a:lnTo>
                  <a:pt x="2950853" y="498306"/>
                </a:lnTo>
                <a:lnTo>
                  <a:pt x="2961067" y="505534"/>
                </a:lnTo>
                <a:lnTo>
                  <a:pt x="2961033" y="505594"/>
                </a:lnTo>
                <a:cubicBezTo>
                  <a:pt x="2955566" y="503771"/>
                  <a:pt x="2950100" y="505594"/>
                  <a:pt x="2950100" y="498306"/>
                </a:cubicBezTo>
                <a:close/>
                <a:moveTo>
                  <a:pt x="2232163" y="498306"/>
                </a:moveTo>
                <a:cubicBezTo>
                  <a:pt x="2223053" y="500127"/>
                  <a:pt x="2219408" y="507417"/>
                  <a:pt x="2212120" y="507417"/>
                </a:cubicBezTo>
                <a:cubicBezTo>
                  <a:pt x="2213942" y="511061"/>
                  <a:pt x="2213942" y="514705"/>
                  <a:pt x="2212120" y="520171"/>
                </a:cubicBezTo>
                <a:cubicBezTo>
                  <a:pt x="2217586" y="514705"/>
                  <a:pt x="2219408" y="527461"/>
                  <a:pt x="2221230" y="520171"/>
                </a:cubicBezTo>
                <a:cubicBezTo>
                  <a:pt x="2224875" y="520171"/>
                  <a:pt x="2221230" y="534749"/>
                  <a:pt x="2228519" y="531105"/>
                </a:cubicBezTo>
                <a:cubicBezTo>
                  <a:pt x="2228519" y="527461"/>
                  <a:pt x="2224875" y="525638"/>
                  <a:pt x="2224875" y="523815"/>
                </a:cubicBezTo>
                <a:cubicBezTo>
                  <a:pt x="2230341" y="523815"/>
                  <a:pt x="2230341" y="534749"/>
                  <a:pt x="2237630" y="531105"/>
                </a:cubicBezTo>
                <a:cubicBezTo>
                  <a:pt x="2237630" y="527461"/>
                  <a:pt x="2233986" y="523815"/>
                  <a:pt x="2237630" y="523815"/>
                </a:cubicBezTo>
                <a:cubicBezTo>
                  <a:pt x="2232163" y="518349"/>
                  <a:pt x="2232163" y="511061"/>
                  <a:pt x="2232163" y="498306"/>
                </a:cubicBezTo>
                <a:close/>
                <a:moveTo>
                  <a:pt x="1005577" y="498193"/>
                </a:moveTo>
                <a:lnTo>
                  <a:pt x="1005612" y="498305"/>
                </a:lnTo>
                <a:cubicBezTo>
                  <a:pt x="1005384" y="502405"/>
                  <a:pt x="1004018" y="506505"/>
                  <a:pt x="1002196" y="509238"/>
                </a:cubicBezTo>
                <a:lnTo>
                  <a:pt x="1002196" y="507557"/>
                </a:lnTo>
                <a:close/>
                <a:moveTo>
                  <a:pt x="887058" y="497964"/>
                </a:moveTo>
                <a:lnTo>
                  <a:pt x="888538" y="499444"/>
                </a:lnTo>
                <a:lnTo>
                  <a:pt x="888712" y="501012"/>
                </a:lnTo>
                <a:close/>
                <a:moveTo>
                  <a:pt x="608008" y="497784"/>
                </a:moveTo>
                <a:lnTo>
                  <a:pt x="611340" y="504911"/>
                </a:lnTo>
                <a:lnTo>
                  <a:pt x="609584" y="513543"/>
                </a:lnTo>
                <a:close/>
                <a:moveTo>
                  <a:pt x="1147970" y="496483"/>
                </a:moveTo>
                <a:lnTo>
                  <a:pt x="1158903" y="499763"/>
                </a:lnTo>
                <a:lnTo>
                  <a:pt x="1157992" y="499672"/>
                </a:lnTo>
                <a:cubicBezTo>
                  <a:pt x="1155259" y="498306"/>
                  <a:pt x="1151614" y="496483"/>
                  <a:pt x="1147970" y="496483"/>
                </a:cubicBezTo>
                <a:close/>
                <a:moveTo>
                  <a:pt x="980330" y="496483"/>
                </a:moveTo>
                <a:cubicBezTo>
                  <a:pt x="978508" y="498306"/>
                  <a:pt x="978508" y="501949"/>
                  <a:pt x="982152" y="503771"/>
                </a:cubicBezTo>
                <a:cubicBezTo>
                  <a:pt x="983974" y="501949"/>
                  <a:pt x="982152" y="500127"/>
                  <a:pt x="983974" y="498306"/>
                </a:cubicBezTo>
                <a:cubicBezTo>
                  <a:pt x="982152" y="498306"/>
                  <a:pt x="982152" y="498306"/>
                  <a:pt x="980330" y="496483"/>
                </a:cubicBezTo>
                <a:close/>
                <a:moveTo>
                  <a:pt x="945709" y="496483"/>
                </a:moveTo>
                <a:cubicBezTo>
                  <a:pt x="942064" y="500127"/>
                  <a:pt x="945709" y="501949"/>
                  <a:pt x="945709" y="503771"/>
                </a:cubicBezTo>
                <a:cubicBezTo>
                  <a:pt x="949353" y="505594"/>
                  <a:pt x="947531" y="500127"/>
                  <a:pt x="949353" y="503771"/>
                </a:cubicBezTo>
                <a:cubicBezTo>
                  <a:pt x="951175" y="500127"/>
                  <a:pt x="947531" y="498306"/>
                  <a:pt x="945709" y="496483"/>
                </a:cubicBezTo>
                <a:close/>
                <a:moveTo>
                  <a:pt x="2193901" y="494663"/>
                </a:moveTo>
                <a:lnTo>
                  <a:pt x="2195948" y="496028"/>
                </a:lnTo>
                <a:cubicBezTo>
                  <a:pt x="2196631" y="497394"/>
                  <a:pt x="2197542" y="499216"/>
                  <a:pt x="2199364" y="500127"/>
                </a:cubicBezTo>
                <a:close/>
                <a:moveTo>
                  <a:pt x="3181516" y="494662"/>
                </a:moveTo>
                <a:cubicBezTo>
                  <a:pt x="3185160" y="500127"/>
                  <a:pt x="3192449" y="503771"/>
                  <a:pt x="3196093" y="511061"/>
                </a:cubicBezTo>
                <a:cubicBezTo>
                  <a:pt x="3203382" y="505594"/>
                  <a:pt x="3197916" y="501949"/>
                  <a:pt x="3194271" y="494662"/>
                </a:cubicBezTo>
                <a:cubicBezTo>
                  <a:pt x="3190627" y="494662"/>
                  <a:pt x="3185160" y="494662"/>
                  <a:pt x="3181516" y="494662"/>
                </a:cubicBezTo>
                <a:close/>
                <a:moveTo>
                  <a:pt x="900154" y="494662"/>
                </a:moveTo>
                <a:lnTo>
                  <a:pt x="900154" y="503772"/>
                </a:lnTo>
                <a:lnTo>
                  <a:pt x="899261" y="505557"/>
                </a:lnTo>
                <a:lnTo>
                  <a:pt x="897560" y="502011"/>
                </a:lnTo>
                <a:lnTo>
                  <a:pt x="897492" y="501538"/>
                </a:lnTo>
                <a:close/>
                <a:moveTo>
                  <a:pt x="513853" y="494662"/>
                </a:moveTo>
                <a:cubicBezTo>
                  <a:pt x="515676" y="500127"/>
                  <a:pt x="517498" y="503771"/>
                  <a:pt x="517498" y="509238"/>
                </a:cubicBezTo>
                <a:cubicBezTo>
                  <a:pt x="521142" y="503771"/>
                  <a:pt x="517498" y="501949"/>
                  <a:pt x="513853" y="494662"/>
                </a:cubicBezTo>
                <a:close/>
                <a:moveTo>
                  <a:pt x="3350978" y="493750"/>
                </a:moveTo>
                <a:cubicBezTo>
                  <a:pt x="3342323" y="492383"/>
                  <a:pt x="3333668" y="492839"/>
                  <a:pt x="3325468" y="494662"/>
                </a:cubicBezTo>
                <a:cubicBezTo>
                  <a:pt x="3327290" y="496483"/>
                  <a:pt x="3327290" y="498306"/>
                  <a:pt x="3330934" y="498306"/>
                </a:cubicBezTo>
                <a:cubicBezTo>
                  <a:pt x="3325468" y="498306"/>
                  <a:pt x="3316357" y="496483"/>
                  <a:pt x="3312713" y="501949"/>
                </a:cubicBezTo>
                <a:cubicBezTo>
                  <a:pt x="3318179" y="505594"/>
                  <a:pt x="3323646" y="505594"/>
                  <a:pt x="3327290" y="507417"/>
                </a:cubicBezTo>
                <a:cubicBezTo>
                  <a:pt x="3323646" y="512882"/>
                  <a:pt x="3320001" y="516527"/>
                  <a:pt x="3312713" y="514705"/>
                </a:cubicBezTo>
                <a:cubicBezTo>
                  <a:pt x="3321824" y="521993"/>
                  <a:pt x="3334579" y="521993"/>
                  <a:pt x="3343690" y="516527"/>
                </a:cubicBezTo>
                <a:cubicBezTo>
                  <a:pt x="3343690" y="516527"/>
                  <a:pt x="3338223" y="516527"/>
                  <a:pt x="3338223" y="514705"/>
                </a:cubicBezTo>
                <a:cubicBezTo>
                  <a:pt x="3336401" y="507417"/>
                  <a:pt x="3343690" y="514705"/>
                  <a:pt x="3345512" y="512882"/>
                </a:cubicBezTo>
                <a:cubicBezTo>
                  <a:pt x="3345512" y="511061"/>
                  <a:pt x="3343690" y="509238"/>
                  <a:pt x="3341867" y="511061"/>
                </a:cubicBezTo>
                <a:cubicBezTo>
                  <a:pt x="3345512" y="507417"/>
                  <a:pt x="3350978" y="507417"/>
                  <a:pt x="3352800" y="501949"/>
                </a:cubicBezTo>
                <a:cubicBezTo>
                  <a:pt x="3352800" y="512882"/>
                  <a:pt x="3367378" y="511061"/>
                  <a:pt x="3374666" y="511061"/>
                </a:cubicBezTo>
                <a:cubicBezTo>
                  <a:pt x="3371022" y="503771"/>
                  <a:pt x="3360089" y="512882"/>
                  <a:pt x="3361911" y="501949"/>
                </a:cubicBezTo>
                <a:cubicBezTo>
                  <a:pt x="3361911" y="500127"/>
                  <a:pt x="3358267" y="500127"/>
                  <a:pt x="3356445" y="500127"/>
                </a:cubicBezTo>
                <a:cubicBezTo>
                  <a:pt x="3367378" y="496483"/>
                  <a:pt x="3374666" y="507417"/>
                  <a:pt x="3383777" y="511061"/>
                </a:cubicBezTo>
                <a:cubicBezTo>
                  <a:pt x="3380133" y="507417"/>
                  <a:pt x="3387422" y="503771"/>
                  <a:pt x="3381955" y="501949"/>
                </a:cubicBezTo>
                <a:cubicBezTo>
                  <a:pt x="3380133" y="498306"/>
                  <a:pt x="3376489" y="500127"/>
                  <a:pt x="3376489" y="503771"/>
                </a:cubicBezTo>
                <a:cubicBezTo>
                  <a:pt x="3368289" y="498305"/>
                  <a:pt x="3359634" y="495116"/>
                  <a:pt x="3350978" y="493750"/>
                </a:cubicBezTo>
                <a:close/>
                <a:moveTo>
                  <a:pt x="3225248" y="492838"/>
                </a:moveTo>
                <a:cubicBezTo>
                  <a:pt x="3228893" y="494662"/>
                  <a:pt x="3228893" y="500127"/>
                  <a:pt x="3234359" y="500127"/>
                </a:cubicBezTo>
                <a:cubicBezTo>
                  <a:pt x="3234359" y="498306"/>
                  <a:pt x="3236181" y="494662"/>
                  <a:pt x="3234359" y="492838"/>
                </a:cubicBezTo>
                <a:cubicBezTo>
                  <a:pt x="3232537" y="491017"/>
                  <a:pt x="3228893" y="491017"/>
                  <a:pt x="3225248" y="492838"/>
                </a:cubicBezTo>
                <a:close/>
                <a:moveTo>
                  <a:pt x="2479979" y="492838"/>
                </a:moveTo>
                <a:cubicBezTo>
                  <a:pt x="2469046" y="496483"/>
                  <a:pt x="2481801" y="505594"/>
                  <a:pt x="2485446" y="511061"/>
                </a:cubicBezTo>
                <a:cubicBezTo>
                  <a:pt x="2483624" y="503771"/>
                  <a:pt x="2479979" y="500127"/>
                  <a:pt x="2479979" y="492838"/>
                </a:cubicBezTo>
                <a:close/>
                <a:moveTo>
                  <a:pt x="865533" y="492838"/>
                </a:moveTo>
                <a:lnTo>
                  <a:pt x="868635" y="495054"/>
                </a:lnTo>
                <a:lnTo>
                  <a:pt x="869177" y="498306"/>
                </a:lnTo>
                <a:lnTo>
                  <a:pt x="867611" y="497384"/>
                </a:lnTo>
                <a:close/>
                <a:moveTo>
                  <a:pt x="3646171" y="491017"/>
                </a:moveTo>
                <a:cubicBezTo>
                  <a:pt x="3649815" y="489194"/>
                  <a:pt x="3649815" y="494662"/>
                  <a:pt x="3653459" y="494662"/>
                </a:cubicBezTo>
                <a:lnTo>
                  <a:pt x="3652940" y="500477"/>
                </a:lnTo>
                <a:lnTo>
                  <a:pt x="3651637" y="498306"/>
                </a:lnTo>
                <a:cubicBezTo>
                  <a:pt x="3651637" y="500127"/>
                  <a:pt x="3649815" y="500127"/>
                  <a:pt x="3647993" y="500127"/>
                </a:cubicBezTo>
                <a:lnTo>
                  <a:pt x="3647993" y="501949"/>
                </a:lnTo>
                <a:cubicBezTo>
                  <a:pt x="3646171" y="500127"/>
                  <a:pt x="3646171" y="496483"/>
                  <a:pt x="3646171" y="491017"/>
                </a:cubicBezTo>
                <a:close/>
                <a:moveTo>
                  <a:pt x="2254030" y="491017"/>
                </a:moveTo>
                <a:cubicBezTo>
                  <a:pt x="2250385" y="507417"/>
                  <a:pt x="2252207" y="532926"/>
                  <a:pt x="2261318" y="540215"/>
                </a:cubicBezTo>
                <a:cubicBezTo>
                  <a:pt x="2263140" y="529282"/>
                  <a:pt x="2263140" y="516527"/>
                  <a:pt x="2264963" y="503771"/>
                </a:cubicBezTo>
                <a:cubicBezTo>
                  <a:pt x="2261318" y="501949"/>
                  <a:pt x="2255852" y="498306"/>
                  <a:pt x="2254030" y="491017"/>
                </a:cubicBezTo>
                <a:close/>
                <a:moveTo>
                  <a:pt x="519320" y="491017"/>
                </a:moveTo>
                <a:lnTo>
                  <a:pt x="523571" y="495268"/>
                </a:lnTo>
                <a:lnTo>
                  <a:pt x="524786" y="501949"/>
                </a:lnTo>
                <a:lnTo>
                  <a:pt x="520811" y="496484"/>
                </a:lnTo>
                <a:close/>
                <a:moveTo>
                  <a:pt x="2576554" y="489194"/>
                </a:moveTo>
                <a:cubicBezTo>
                  <a:pt x="2576554" y="492838"/>
                  <a:pt x="2576554" y="494662"/>
                  <a:pt x="2580199" y="494662"/>
                </a:cubicBezTo>
                <a:cubicBezTo>
                  <a:pt x="2580199" y="492838"/>
                  <a:pt x="2580199" y="491017"/>
                  <a:pt x="2580199" y="489194"/>
                </a:cubicBezTo>
                <a:cubicBezTo>
                  <a:pt x="2578377" y="489194"/>
                  <a:pt x="2578377" y="489194"/>
                  <a:pt x="2576554" y="489194"/>
                </a:cubicBezTo>
                <a:close/>
                <a:moveTo>
                  <a:pt x="2100967" y="489194"/>
                </a:moveTo>
                <a:cubicBezTo>
                  <a:pt x="2100967" y="496483"/>
                  <a:pt x="2104611" y="501949"/>
                  <a:pt x="2106433" y="507417"/>
                </a:cubicBezTo>
                <a:cubicBezTo>
                  <a:pt x="2115544" y="507417"/>
                  <a:pt x="2113722" y="521993"/>
                  <a:pt x="2119189" y="525638"/>
                </a:cubicBezTo>
                <a:lnTo>
                  <a:pt x="2118788" y="521032"/>
                </a:lnTo>
                <a:lnTo>
                  <a:pt x="2119645" y="522222"/>
                </a:lnTo>
                <a:cubicBezTo>
                  <a:pt x="2121011" y="523816"/>
                  <a:pt x="2122833" y="524727"/>
                  <a:pt x="2126477" y="523815"/>
                </a:cubicBezTo>
                <a:cubicBezTo>
                  <a:pt x="2119189" y="511061"/>
                  <a:pt x="2106433" y="501949"/>
                  <a:pt x="2100967" y="489194"/>
                </a:cubicBezTo>
                <a:close/>
                <a:moveTo>
                  <a:pt x="878288" y="489194"/>
                </a:moveTo>
                <a:lnTo>
                  <a:pt x="880040" y="490947"/>
                </a:lnTo>
                <a:lnTo>
                  <a:pt x="879883" y="491244"/>
                </a:lnTo>
                <a:lnTo>
                  <a:pt x="881132" y="494438"/>
                </a:lnTo>
                <a:lnTo>
                  <a:pt x="880460" y="495782"/>
                </a:lnTo>
                <a:lnTo>
                  <a:pt x="879863" y="495498"/>
                </a:lnTo>
                <a:close/>
                <a:moveTo>
                  <a:pt x="650516" y="489194"/>
                </a:moveTo>
                <a:cubicBezTo>
                  <a:pt x="650516" y="491017"/>
                  <a:pt x="650516" y="491017"/>
                  <a:pt x="652339" y="492838"/>
                </a:cubicBezTo>
                <a:lnTo>
                  <a:pt x="652339" y="503771"/>
                </a:lnTo>
                <a:cubicBezTo>
                  <a:pt x="650516" y="498306"/>
                  <a:pt x="652339" y="492838"/>
                  <a:pt x="650516" y="489194"/>
                </a:cubicBezTo>
                <a:close/>
                <a:moveTo>
                  <a:pt x="663854" y="488313"/>
                </a:moveTo>
                <a:lnTo>
                  <a:pt x="665094" y="494433"/>
                </a:lnTo>
                <a:lnTo>
                  <a:pt x="664720" y="497841"/>
                </a:lnTo>
                <a:close/>
                <a:moveTo>
                  <a:pt x="2931878" y="487392"/>
                </a:moveTo>
                <a:cubicBezTo>
                  <a:pt x="2931878" y="489214"/>
                  <a:pt x="2931878" y="489214"/>
                  <a:pt x="2931878" y="491037"/>
                </a:cubicBezTo>
                <a:cubicBezTo>
                  <a:pt x="2931878" y="491037"/>
                  <a:pt x="2930056" y="491037"/>
                  <a:pt x="2928233" y="489214"/>
                </a:cubicBezTo>
                <a:cubicBezTo>
                  <a:pt x="2928233" y="489214"/>
                  <a:pt x="2930056" y="487392"/>
                  <a:pt x="2931878" y="487392"/>
                </a:cubicBezTo>
                <a:close/>
                <a:moveTo>
                  <a:pt x="2685885" y="487373"/>
                </a:moveTo>
                <a:cubicBezTo>
                  <a:pt x="2680418" y="485550"/>
                  <a:pt x="2680418" y="492838"/>
                  <a:pt x="2678596" y="496483"/>
                </a:cubicBezTo>
                <a:cubicBezTo>
                  <a:pt x="2684063" y="498306"/>
                  <a:pt x="2684063" y="492838"/>
                  <a:pt x="2685885" y="491017"/>
                </a:cubicBezTo>
                <a:cubicBezTo>
                  <a:pt x="2687707" y="496483"/>
                  <a:pt x="2693174" y="496483"/>
                  <a:pt x="2694996" y="491017"/>
                </a:cubicBezTo>
                <a:cubicBezTo>
                  <a:pt x="2693174" y="485550"/>
                  <a:pt x="2687707" y="494662"/>
                  <a:pt x="2685885" y="487373"/>
                </a:cubicBezTo>
                <a:close/>
                <a:moveTo>
                  <a:pt x="371724" y="487373"/>
                </a:moveTo>
                <a:cubicBezTo>
                  <a:pt x="373546" y="514705"/>
                  <a:pt x="389946" y="540215"/>
                  <a:pt x="384479" y="571192"/>
                </a:cubicBezTo>
                <a:cubicBezTo>
                  <a:pt x="386301" y="571192"/>
                  <a:pt x="386301" y="571192"/>
                  <a:pt x="388123" y="569370"/>
                </a:cubicBezTo>
                <a:cubicBezTo>
                  <a:pt x="387212" y="574837"/>
                  <a:pt x="387668" y="578481"/>
                  <a:pt x="389034" y="580076"/>
                </a:cubicBezTo>
                <a:lnTo>
                  <a:pt x="389507" y="579957"/>
                </a:lnTo>
                <a:lnTo>
                  <a:pt x="389490" y="580303"/>
                </a:lnTo>
                <a:lnTo>
                  <a:pt x="391185" y="587082"/>
                </a:lnTo>
                <a:lnTo>
                  <a:pt x="388807" y="591919"/>
                </a:lnTo>
                <a:lnTo>
                  <a:pt x="389300" y="593929"/>
                </a:lnTo>
                <a:lnTo>
                  <a:pt x="389262" y="593969"/>
                </a:lnTo>
                <a:cubicBezTo>
                  <a:pt x="389034" y="595336"/>
                  <a:pt x="389034" y="596702"/>
                  <a:pt x="388123" y="596702"/>
                </a:cubicBezTo>
                <a:lnTo>
                  <a:pt x="389670" y="595437"/>
                </a:lnTo>
                <a:lnTo>
                  <a:pt x="391768" y="603991"/>
                </a:lnTo>
                <a:cubicBezTo>
                  <a:pt x="399056" y="607635"/>
                  <a:pt x="393590" y="596702"/>
                  <a:pt x="393590" y="591236"/>
                </a:cubicBezTo>
                <a:cubicBezTo>
                  <a:pt x="395412" y="594880"/>
                  <a:pt x="395867" y="598980"/>
                  <a:pt x="396095" y="603308"/>
                </a:cubicBezTo>
                <a:lnTo>
                  <a:pt x="396647" y="609826"/>
                </a:lnTo>
                <a:lnTo>
                  <a:pt x="396095" y="610825"/>
                </a:lnTo>
                <a:lnTo>
                  <a:pt x="396893" y="612724"/>
                </a:lnTo>
                <a:lnTo>
                  <a:pt x="397234" y="616746"/>
                </a:lnTo>
                <a:lnTo>
                  <a:pt x="398061" y="615506"/>
                </a:lnTo>
                <a:lnTo>
                  <a:pt x="400879" y="622213"/>
                </a:lnTo>
                <a:lnTo>
                  <a:pt x="401052" y="620391"/>
                </a:lnTo>
                <a:lnTo>
                  <a:pt x="402701" y="620391"/>
                </a:lnTo>
                <a:cubicBezTo>
                  <a:pt x="400878" y="624035"/>
                  <a:pt x="402245" y="626769"/>
                  <a:pt x="404750" y="629730"/>
                </a:cubicBezTo>
                <a:lnTo>
                  <a:pt x="406752" y="632141"/>
                </a:lnTo>
                <a:lnTo>
                  <a:pt x="406800" y="632463"/>
                </a:lnTo>
                <a:cubicBezTo>
                  <a:pt x="407711" y="633602"/>
                  <a:pt x="409078" y="634968"/>
                  <a:pt x="409989" y="636790"/>
                </a:cubicBezTo>
                <a:lnTo>
                  <a:pt x="409050" y="634910"/>
                </a:lnTo>
                <a:lnTo>
                  <a:pt x="413634" y="640435"/>
                </a:lnTo>
                <a:cubicBezTo>
                  <a:pt x="413634" y="640435"/>
                  <a:pt x="408167" y="640435"/>
                  <a:pt x="409989" y="644079"/>
                </a:cubicBezTo>
                <a:lnTo>
                  <a:pt x="410799" y="645092"/>
                </a:lnTo>
                <a:lnTo>
                  <a:pt x="409989" y="645901"/>
                </a:lnTo>
                <a:lnTo>
                  <a:pt x="413633" y="648635"/>
                </a:lnTo>
                <a:lnTo>
                  <a:pt x="417278" y="653190"/>
                </a:lnTo>
                <a:lnTo>
                  <a:pt x="417191" y="651303"/>
                </a:lnTo>
                <a:lnTo>
                  <a:pt x="417278" y="651368"/>
                </a:lnTo>
                <a:lnTo>
                  <a:pt x="417188" y="651249"/>
                </a:lnTo>
                <a:lnTo>
                  <a:pt x="415911" y="623580"/>
                </a:lnTo>
                <a:cubicBezTo>
                  <a:pt x="413634" y="614469"/>
                  <a:pt x="409078" y="606725"/>
                  <a:pt x="400879" y="602169"/>
                </a:cubicBezTo>
                <a:cubicBezTo>
                  <a:pt x="408167" y="603991"/>
                  <a:pt x="409989" y="613103"/>
                  <a:pt x="417278" y="614924"/>
                </a:cubicBezTo>
                <a:cubicBezTo>
                  <a:pt x="420923" y="605813"/>
                  <a:pt x="411812" y="602169"/>
                  <a:pt x="409989" y="596702"/>
                </a:cubicBezTo>
                <a:cubicBezTo>
                  <a:pt x="415456" y="603991"/>
                  <a:pt x="422745" y="609459"/>
                  <a:pt x="426389" y="616746"/>
                </a:cubicBezTo>
                <a:cubicBezTo>
                  <a:pt x="426389" y="614924"/>
                  <a:pt x="430034" y="616746"/>
                  <a:pt x="430034" y="613103"/>
                </a:cubicBezTo>
                <a:cubicBezTo>
                  <a:pt x="431855" y="614014"/>
                  <a:pt x="432767" y="616747"/>
                  <a:pt x="433905" y="619252"/>
                </a:cubicBezTo>
                <a:lnTo>
                  <a:pt x="435500" y="620708"/>
                </a:lnTo>
                <a:lnTo>
                  <a:pt x="435500" y="624035"/>
                </a:lnTo>
                <a:lnTo>
                  <a:pt x="436981" y="622061"/>
                </a:lnTo>
                <a:lnTo>
                  <a:pt x="439145" y="624035"/>
                </a:lnTo>
                <a:cubicBezTo>
                  <a:pt x="440966" y="607635"/>
                  <a:pt x="426389" y="596702"/>
                  <a:pt x="419100" y="582125"/>
                </a:cubicBezTo>
                <a:cubicBezTo>
                  <a:pt x="428211" y="585769"/>
                  <a:pt x="430034" y="594880"/>
                  <a:pt x="435500" y="603991"/>
                </a:cubicBezTo>
                <a:cubicBezTo>
                  <a:pt x="439145" y="589414"/>
                  <a:pt x="422745" y="582125"/>
                  <a:pt x="413634" y="576658"/>
                </a:cubicBezTo>
                <a:cubicBezTo>
                  <a:pt x="417278" y="573014"/>
                  <a:pt x="419100" y="578481"/>
                  <a:pt x="422745" y="576658"/>
                </a:cubicBezTo>
                <a:cubicBezTo>
                  <a:pt x="424567" y="573014"/>
                  <a:pt x="417278" y="574836"/>
                  <a:pt x="420923" y="573014"/>
                </a:cubicBezTo>
                <a:cubicBezTo>
                  <a:pt x="422745" y="571192"/>
                  <a:pt x="426389" y="574836"/>
                  <a:pt x="428211" y="578481"/>
                </a:cubicBezTo>
                <a:cubicBezTo>
                  <a:pt x="428211" y="573014"/>
                  <a:pt x="422745" y="569370"/>
                  <a:pt x="419100" y="565725"/>
                </a:cubicBezTo>
                <a:cubicBezTo>
                  <a:pt x="428211" y="567548"/>
                  <a:pt x="431856" y="578481"/>
                  <a:pt x="439145" y="580303"/>
                </a:cubicBezTo>
                <a:cubicBezTo>
                  <a:pt x="437322" y="574836"/>
                  <a:pt x="426389" y="563904"/>
                  <a:pt x="422745" y="560260"/>
                </a:cubicBezTo>
                <a:cubicBezTo>
                  <a:pt x="399056" y="542037"/>
                  <a:pt x="388123" y="512882"/>
                  <a:pt x="371724" y="487373"/>
                </a:cubicBezTo>
                <a:close/>
                <a:moveTo>
                  <a:pt x="3057316" y="487238"/>
                </a:moveTo>
                <a:lnTo>
                  <a:pt x="3058114" y="487775"/>
                </a:lnTo>
                <a:lnTo>
                  <a:pt x="3059430" y="498306"/>
                </a:lnTo>
                <a:cubicBezTo>
                  <a:pt x="3052142" y="509238"/>
                  <a:pt x="3050319" y="520171"/>
                  <a:pt x="3048497" y="531105"/>
                </a:cubicBezTo>
                <a:cubicBezTo>
                  <a:pt x="3053964" y="531105"/>
                  <a:pt x="3053964" y="525638"/>
                  <a:pt x="3055786" y="523815"/>
                </a:cubicBezTo>
                <a:cubicBezTo>
                  <a:pt x="3063075" y="536571"/>
                  <a:pt x="3048497" y="542037"/>
                  <a:pt x="3039387" y="547504"/>
                </a:cubicBezTo>
                <a:cubicBezTo>
                  <a:pt x="3037564" y="547504"/>
                  <a:pt x="3037564" y="552970"/>
                  <a:pt x="3035742" y="556616"/>
                </a:cubicBezTo>
                <a:cubicBezTo>
                  <a:pt x="3044853" y="556616"/>
                  <a:pt x="3053964" y="538393"/>
                  <a:pt x="3061253" y="549326"/>
                </a:cubicBezTo>
                <a:cubicBezTo>
                  <a:pt x="3063075" y="551148"/>
                  <a:pt x="3057608" y="558437"/>
                  <a:pt x="3053964" y="563904"/>
                </a:cubicBezTo>
                <a:cubicBezTo>
                  <a:pt x="3050319" y="558437"/>
                  <a:pt x="3041209" y="562081"/>
                  <a:pt x="3035742" y="560260"/>
                </a:cubicBezTo>
                <a:cubicBezTo>
                  <a:pt x="3032098" y="560260"/>
                  <a:pt x="3035742" y="554792"/>
                  <a:pt x="3035742" y="552970"/>
                </a:cubicBezTo>
                <a:cubicBezTo>
                  <a:pt x="3033920" y="552970"/>
                  <a:pt x="3033920" y="552970"/>
                  <a:pt x="3032098" y="552970"/>
                </a:cubicBezTo>
                <a:cubicBezTo>
                  <a:pt x="3032098" y="554792"/>
                  <a:pt x="3032098" y="556616"/>
                  <a:pt x="3032098" y="558437"/>
                </a:cubicBezTo>
                <a:cubicBezTo>
                  <a:pt x="3032098" y="554792"/>
                  <a:pt x="3028453" y="551148"/>
                  <a:pt x="3030276" y="551148"/>
                </a:cubicBezTo>
                <a:cubicBezTo>
                  <a:pt x="3033009" y="549327"/>
                  <a:pt x="3034831" y="547049"/>
                  <a:pt x="3035287" y="544543"/>
                </a:cubicBezTo>
                <a:lnTo>
                  <a:pt x="3032638" y="537921"/>
                </a:lnTo>
                <a:lnTo>
                  <a:pt x="3033920" y="538393"/>
                </a:lnTo>
                <a:cubicBezTo>
                  <a:pt x="3034831" y="536571"/>
                  <a:pt x="3034376" y="534293"/>
                  <a:pt x="3033237" y="532471"/>
                </a:cubicBezTo>
                <a:lnTo>
                  <a:pt x="3030408" y="530586"/>
                </a:lnTo>
                <a:lnTo>
                  <a:pt x="3034660" y="525495"/>
                </a:lnTo>
                <a:cubicBezTo>
                  <a:pt x="3036881" y="517552"/>
                  <a:pt x="3029365" y="508327"/>
                  <a:pt x="3032098" y="500127"/>
                </a:cubicBezTo>
                <a:cubicBezTo>
                  <a:pt x="3033920" y="500127"/>
                  <a:pt x="3035742" y="500127"/>
                  <a:pt x="3035742" y="501949"/>
                </a:cubicBezTo>
                <a:cubicBezTo>
                  <a:pt x="3035742" y="503771"/>
                  <a:pt x="3032098" y="507417"/>
                  <a:pt x="3033920" y="509238"/>
                </a:cubicBezTo>
                <a:cubicBezTo>
                  <a:pt x="3035742" y="518349"/>
                  <a:pt x="3041209" y="512882"/>
                  <a:pt x="3046675" y="511061"/>
                </a:cubicBezTo>
                <a:cubicBezTo>
                  <a:pt x="3048497" y="509238"/>
                  <a:pt x="3050319" y="505594"/>
                  <a:pt x="3048497" y="503771"/>
                </a:cubicBezTo>
                <a:cubicBezTo>
                  <a:pt x="3048497" y="501949"/>
                  <a:pt x="3043031" y="501949"/>
                  <a:pt x="3041209" y="501949"/>
                </a:cubicBezTo>
                <a:cubicBezTo>
                  <a:pt x="3043031" y="500127"/>
                  <a:pt x="3046675" y="498306"/>
                  <a:pt x="3048497" y="496483"/>
                </a:cubicBezTo>
                <a:cubicBezTo>
                  <a:pt x="3048497" y="498306"/>
                  <a:pt x="3048497" y="500127"/>
                  <a:pt x="3050319" y="500127"/>
                </a:cubicBezTo>
                <a:cubicBezTo>
                  <a:pt x="3053964" y="500127"/>
                  <a:pt x="3055786" y="497850"/>
                  <a:pt x="3056697" y="494661"/>
                </a:cubicBezTo>
                <a:close/>
                <a:moveTo>
                  <a:pt x="3352800" y="485550"/>
                </a:moveTo>
                <a:cubicBezTo>
                  <a:pt x="3350978" y="485550"/>
                  <a:pt x="3350978" y="487373"/>
                  <a:pt x="3350978" y="489194"/>
                </a:cubicBezTo>
                <a:cubicBezTo>
                  <a:pt x="3354623" y="487373"/>
                  <a:pt x="3356445" y="489194"/>
                  <a:pt x="3360089" y="489194"/>
                </a:cubicBezTo>
                <a:cubicBezTo>
                  <a:pt x="3360089" y="483728"/>
                  <a:pt x="3352800" y="491017"/>
                  <a:pt x="3352800" y="485550"/>
                </a:cubicBezTo>
                <a:close/>
                <a:moveTo>
                  <a:pt x="2020791" y="485550"/>
                </a:moveTo>
                <a:cubicBezTo>
                  <a:pt x="2018969" y="491017"/>
                  <a:pt x="2024436" y="492838"/>
                  <a:pt x="2022613" y="498306"/>
                </a:cubicBezTo>
                <a:cubicBezTo>
                  <a:pt x="2020791" y="494662"/>
                  <a:pt x="2017147" y="492838"/>
                  <a:pt x="2017147" y="489194"/>
                </a:cubicBezTo>
                <a:cubicBezTo>
                  <a:pt x="2011680" y="494662"/>
                  <a:pt x="2015325" y="501949"/>
                  <a:pt x="2018969" y="509238"/>
                </a:cubicBezTo>
                <a:cubicBezTo>
                  <a:pt x="2020791" y="507417"/>
                  <a:pt x="2020791" y="503771"/>
                  <a:pt x="2020791" y="501949"/>
                </a:cubicBezTo>
                <a:cubicBezTo>
                  <a:pt x="2026258" y="503771"/>
                  <a:pt x="2029902" y="507417"/>
                  <a:pt x="2029902" y="514705"/>
                </a:cubicBezTo>
                <a:cubicBezTo>
                  <a:pt x="2029902" y="516527"/>
                  <a:pt x="2028080" y="521993"/>
                  <a:pt x="2022613" y="518349"/>
                </a:cubicBezTo>
                <a:cubicBezTo>
                  <a:pt x="2022613" y="521993"/>
                  <a:pt x="2022613" y="523815"/>
                  <a:pt x="2024436" y="525638"/>
                </a:cubicBezTo>
                <a:cubicBezTo>
                  <a:pt x="2022613" y="525638"/>
                  <a:pt x="2022613" y="525638"/>
                  <a:pt x="2020791" y="523815"/>
                </a:cubicBezTo>
                <a:cubicBezTo>
                  <a:pt x="2017147" y="529282"/>
                  <a:pt x="2026258" y="532926"/>
                  <a:pt x="2024436" y="538393"/>
                </a:cubicBezTo>
                <a:cubicBezTo>
                  <a:pt x="2024436" y="538393"/>
                  <a:pt x="2020791" y="534749"/>
                  <a:pt x="2018969" y="536571"/>
                </a:cubicBezTo>
                <a:cubicBezTo>
                  <a:pt x="2018969" y="536571"/>
                  <a:pt x="2018969" y="538393"/>
                  <a:pt x="2018969" y="540215"/>
                </a:cubicBezTo>
                <a:cubicBezTo>
                  <a:pt x="2015325" y="536571"/>
                  <a:pt x="2008036" y="532926"/>
                  <a:pt x="2006214" y="536571"/>
                </a:cubicBezTo>
                <a:cubicBezTo>
                  <a:pt x="2004392" y="543860"/>
                  <a:pt x="2000747" y="560260"/>
                  <a:pt x="2011680" y="558437"/>
                </a:cubicBezTo>
                <a:cubicBezTo>
                  <a:pt x="2009858" y="558437"/>
                  <a:pt x="2013503" y="552970"/>
                  <a:pt x="2008036" y="551148"/>
                </a:cubicBezTo>
                <a:cubicBezTo>
                  <a:pt x="2011680" y="549326"/>
                  <a:pt x="2015325" y="552970"/>
                  <a:pt x="2017147" y="551148"/>
                </a:cubicBezTo>
                <a:cubicBezTo>
                  <a:pt x="2017147" y="552970"/>
                  <a:pt x="2013503" y="554792"/>
                  <a:pt x="2015325" y="556616"/>
                </a:cubicBezTo>
                <a:cubicBezTo>
                  <a:pt x="2020791" y="554792"/>
                  <a:pt x="2022613" y="552970"/>
                  <a:pt x="2028080" y="554792"/>
                </a:cubicBezTo>
                <a:cubicBezTo>
                  <a:pt x="2028080" y="554792"/>
                  <a:pt x="2028080" y="552970"/>
                  <a:pt x="2028080" y="551148"/>
                </a:cubicBezTo>
                <a:cubicBezTo>
                  <a:pt x="2037191" y="554792"/>
                  <a:pt x="2048124" y="551148"/>
                  <a:pt x="2057235" y="547504"/>
                </a:cubicBezTo>
                <a:cubicBezTo>
                  <a:pt x="2053590" y="545681"/>
                  <a:pt x="2055413" y="542037"/>
                  <a:pt x="2055413" y="540215"/>
                </a:cubicBezTo>
                <a:cubicBezTo>
                  <a:pt x="2057235" y="542037"/>
                  <a:pt x="2059057" y="545681"/>
                  <a:pt x="2059057" y="543860"/>
                </a:cubicBezTo>
                <a:cubicBezTo>
                  <a:pt x="2060879" y="538393"/>
                  <a:pt x="2060879" y="534749"/>
                  <a:pt x="2062701" y="536571"/>
                </a:cubicBezTo>
                <a:cubicBezTo>
                  <a:pt x="2064524" y="538393"/>
                  <a:pt x="2069990" y="536571"/>
                  <a:pt x="2071812" y="540215"/>
                </a:cubicBezTo>
                <a:cubicBezTo>
                  <a:pt x="2073634" y="543860"/>
                  <a:pt x="2073634" y="549326"/>
                  <a:pt x="2075457" y="551148"/>
                </a:cubicBezTo>
                <a:cubicBezTo>
                  <a:pt x="2080923" y="547504"/>
                  <a:pt x="2075457" y="542037"/>
                  <a:pt x="2077279" y="538393"/>
                </a:cubicBezTo>
                <a:cubicBezTo>
                  <a:pt x="2080923" y="547504"/>
                  <a:pt x="2088212" y="549326"/>
                  <a:pt x="2093679" y="549326"/>
                </a:cubicBezTo>
                <a:cubicBezTo>
                  <a:pt x="2100967" y="547504"/>
                  <a:pt x="2095500" y="536571"/>
                  <a:pt x="2086390" y="529282"/>
                </a:cubicBezTo>
                <a:cubicBezTo>
                  <a:pt x="2084568" y="527461"/>
                  <a:pt x="2079101" y="529282"/>
                  <a:pt x="2073634" y="531105"/>
                </a:cubicBezTo>
                <a:cubicBezTo>
                  <a:pt x="2073634" y="523815"/>
                  <a:pt x="2077279" y="523815"/>
                  <a:pt x="2079101" y="523815"/>
                </a:cubicBezTo>
                <a:cubicBezTo>
                  <a:pt x="2071812" y="507417"/>
                  <a:pt x="2057235" y="500127"/>
                  <a:pt x="2046302" y="487373"/>
                </a:cubicBezTo>
                <a:cubicBezTo>
                  <a:pt x="2046302" y="492838"/>
                  <a:pt x="2046302" y="500127"/>
                  <a:pt x="2048124" y="507417"/>
                </a:cubicBezTo>
                <a:cubicBezTo>
                  <a:pt x="2040835" y="503771"/>
                  <a:pt x="2035369" y="494662"/>
                  <a:pt x="2031724" y="487373"/>
                </a:cubicBezTo>
                <a:cubicBezTo>
                  <a:pt x="2031724" y="489194"/>
                  <a:pt x="2031724" y="491017"/>
                  <a:pt x="2029902" y="492838"/>
                </a:cubicBezTo>
                <a:cubicBezTo>
                  <a:pt x="2028080" y="492838"/>
                  <a:pt x="2028080" y="491017"/>
                  <a:pt x="2026258" y="491017"/>
                </a:cubicBezTo>
                <a:cubicBezTo>
                  <a:pt x="2028080" y="496483"/>
                  <a:pt x="2029902" y="501949"/>
                  <a:pt x="2031724" y="507417"/>
                </a:cubicBezTo>
                <a:cubicBezTo>
                  <a:pt x="2026258" y="507417"/>
                  <a:pt x="2022613" y="487373"/>
                  <a:pt x="2026258" y="489194"/>
                </a:cubicBezTo>
                <a:cubicBezTo>
                  <a:pt x="2026258" y="485550"/>
                  <a:pt x="2022613" y="487373"/>
                  <a:pt x="2020791" y="485550"/>
                </a:cubicBezTo>
                <a:close/>
                <a:moveTo>
                  <a:pt x="2731439" y="484184"/>
                </a:moveTo>
                <a:cubicBezTo>
                  <a:pt x="2727795" y="484184"/>
                  <a:pt x="2725062" y="485550"/>
                  <a:pt x="2725973" y="491017"/>
                </a:cubicBezTo>
                <a:cubicBezTo>
                  <a:pt x="2731439" y="487373"/>
                  <a:pt x="2733261" y="492838"/>
                  <a:pt x="2735084" y="496483"/>
                </a:cubicBezTo>
                <a:cubicBezTo>
                  <a:pt x="2742372" y="496483"/>
                  <a:pt x="2742372" y="492838"/>
                  <a:pt x="2742372" y="485550"/>
                </a:cubicBezTo>
                <a:cubicBezTo>
                  <a:pt x="2739639" y="485550"/>
                  <a:pt x="2735084" y="484184"/>
                  <a:pt x="2731439" y="484184"/>
                </a:cubicBezTo>
                <a:close/>
                <a:moveTo>
                  <a:pt x="3272625" y="483728"/>
                </a:moveTo>
                <a:cubicBezTo>
                  <a:pt x="3276269" y="485550"/>
                  <a:pt x="3278091" y="489194"/>
                  <a:pt x="3283558" y="489194"/>
                </a:cubicBezTo>
                <a:cubicBezTo>
                  <a:pt x="3279913" y="487373"/>
                  <a:pt x="3278091" y="481906"/>
                  <a:pt x="3272625" y="483728"/>
                </a:cubicBezTo>
                <a:close/>
                <a:moveTo>
                  <a:pt x="3268980" y="483728"/>
                </a:moveTo>
                <a:cubicBezTo>
                  <a:pt x="3263514" y="483728"/>
                  <a:pt x="3259869" y="487373"/>
                  <a:pt x="3261692" y="492838"/>
                </a:cubicBezTo>
                <a:cubicBezTo>
                  <a:pt x="3263514" y="492838"/>
                  <a:pt x="3267158" y="492838"/>
                  <a:pt x="3270803" y="492838"/>
                </a:cubicBezTo>
                <a:cubicBezTo>
                  <a:pt x="3270803" y="489194"/>
                  <a:pt x="3268980" y="487373"/>
                  <a:pt x="3268980" y="483728"/>
                </a:cubicBezTo>
                <a:close/>
                <a:moveTo>
                  <a:pt x="2955566" y="483728"/>
                </a:moveTo>
                <a:cubicBezTo>
                  <a:pt x="2958300" y="483728"/>
                  <a:pt x="2958755" y="485095"/>
                  <a:pt x="2959211" y="486461"/>
                </a:cubicBezTo>
                <a:lnTo>
                  <a:pt x="2961814" y="488414"/>
                </a:lnTo>
                <a:lnTo>
                  <a:pt x="2962280" y="489578"/>
                </a:lnTo>
                <a:lnTo>
                  <a:pt x="2961293" y="490236"/>
                </a:lnTo>
                <a:lnTo>
                  <a:pt x="2957113" y="488146"/>
                </a:lnTo>
                <a:close/>
                <a:moveTo>
                  <a:pt x="2055413" y="483728"/>
                </a:moveTo>
                <a:cubicBezTo>
                  <a:pt x="2053590" y="483728"/>
                  <a:pt x="2057235" y="492838"/>
                  <a:pt x="2059057" y="492838"/>
                </a:cubicBezTo>
                <a:cubicBezTo>
                  <a:pt x="2064524" y="492838"/>
                  <a:pt x="2055413" y="487373"/>
                  <a:pt x="2055413" y="483728"/>
                </a:cubicBezTo>
                <a:close/>
                <a:moveTo>
                  <a:pt x="1253656" y="483728"/>
                </a:moveTo>
                <a:cubicBezTo>
                  <a:pt x="1246367" y="489194"/>
                  <a:pt x="1237256" y="501949"/>
                  <a:pt x="1244545" y="512882"/>
                </a:cubicBezTo>
                <a:cubicBezTo>
                  <a:pt x="1251834" y="503771"/>
                  <a:pt x="1253656" y="492838"/>
                  <a:pt x="1253656" y="483728"/>
                </a:cubicBezTo>
                <a:close/>
                <a:moveTo>
                  <a:pt x="1202636" y="483728"/>
                </a:moveTo>
                <a:cubicBezTo>
                  <a:pt x="1200814" y="485550"/>
                  <a:pt x="1202636" y="489194"/>
                  <a:pt x="1198991" y="491017"/>
                </a:cubicBezTo>
                <a:cubicBezTo>
                  <a:pt x="1202636" y="494662"/>
                  <a:pt x="1204457" y="500127"/>
                  <a:pt x="1208102" y="503771"/>
                </a:cubicBezTo>
                <a:cubicBezTo>
                  <a:pt x="1208102" y="496483"/>
                  <a:pt x="1206279" y="491017"/>
                  <a:pt x="1202636" y="483728"/>
                </a:cubicBezTo>
                <a:close/>
                <a:moveTo>
                  <a:pt x="1189880" y="483728"/>
                </a:moveTo>
                <a:cubicBezTo>
                  <a:pt x="1188058" y="483728"/>
                  <a:pt x="1186236" y="489194"/>
                  <a:pt x="1188058" y="491017"/>
                </a:cubicBezTo>
                <a:cubicBezTo>
                  <a:pt x="1191703" y="487373"/>
                  <a:pt x="1189880" y="485550"/>
                  <a:pt x="1189880" y="483728"/>
                </a:cubicBezTo>
                <a:close/>
                <a:moveTo>
                  <a:pt x="2122833" y="481906"/>
                </a:moveTo>
                <a:cubicBezTo>
                  <a:pt x="2124655" y="500127"/>
                  <a:pt x="2135588" y="520171"/>
                  <a:pt x="2157454" y="511061"/>
                </a:cubicBezTo>
                <a:cubicBezTo>
                  <a:pt x="2148344" y="500127"/>
                  <a:pt x="2142877" y="485550"/>
                  <a:pt x="2130122" y="481906"/>
                </a:cubicBezTo>
                <a:cubicBezTo>
                  <a:pt x="2130122" y="481906"/>
                  <a:pt x="2126477" y="483728"/>
                  <a:pt x="2126477" y="485550"/>
                </a:cubicBezTo>
                <a:cubicBezTo>
                  <a:pt x="2124655" y="487373"/>
                  <a:pt x="2122833" y="485550"/>
                  <a:pt x="2122833" y="481906"/>
                </a:cubicBezTo>
                <a:close/>
                <a:moveTo>
                  <a:pt x="1962482" y="481906"/>
                </a:moveTo>
                <a:lnTo>
                  <a:pt x="1965215" y="481906"/>
                </a:lnTo>
                <a:lnTo>
                  <a:pt x="1964305" y="489194"/>
                </a:lnTo>
                <a:cubicBezTo>
                  <a:pt x="1962482" y="487373"/>
                  <a:pt x="1960659" y="485550"/>
                  <a:pt x="1962482" y="481906"/>
                </a:cubicBezTo>
                <a:close/>
                <a:moveTo>
                  <a:pt x="1965303" y="481204"/>
                </a:moveTo>
                <a:lnTo>
                  <a:pt x="1966126" y="481906"/>
                </a:lnTo>
                <a:lnTo>
                  <a:pt x="1965215" y="481906"/>
                </a:lnTo>
                <a:close/>
                <a:moveTo>
                  <a:pt x="1939462" y="481191"/>
                </a:moveTo>
                <a:lnTo>
                  <a:pt x="1945399" y="491017"/>
                </a:lnTo>
                <a:cubicBezTo>
                  <a:pt x="1946993" y="495117"/>
                  <a:pt x="1948815" y="499216"/>
                  <a:pt x="1953371" y="501949"/>
                </a:cubicBezTo>
                <a:cubicBezTo>
                  <a:pt x="1947904" y="501038"/>
                  <a:pt x="1943804" y="495572"/>
                  <a:pt x="1941071" y="488967"/>
                </a:cubicBezTo>
                <a:close/>
                <a:moveTo>
                  <a:pt x="3044853" y="480083"/>
                </a:moveTo>
                <a:lnTo>
                  <a:pt x="3046675" y="480083"/>
                </a:lnTo>
                <a:cubicBezTo>
                  <a:pt x="3046675" y="483728"/>
                  <a:pt x="3043031" y="487373"/>
                  <a:pt x="3044853" y="491017"/>
                </a:cubicBezTo>
                <a:cubicBezTo>
                  <a:pt x="3039387" y="489194"/>
                  <a:pt x="3043031" y="481906"/>
                  <a:pt x="3044853" y="480083"/>
                </a:cubicBezTo>
                <a:close/>
                <a:moveTo>
                  <a:pt x="2075457" y="480083"/>
                </a:moveTo>
                <a:cubicBezTo>
                  <a:pt x="2071812" y="480083"/>
                  <a:pt x="2071812" y="481906"/>
                  <a:pt x="2069990" y="481906"/>
                </a:cubicBezTo>
                <a:cubicBezTo>
                  <a:pt x="2068168" y="489194"/>
                  <a:pt x="2077279" y="496483"/>
                  <a:pt x="2075457" y="505594"/>
                </a:cubicBezTo>
                <a:cubicBezTo>
                  <a:pt x="2073634" y="509238"/>
                  <a:pt x="2079101" y="512882"/>
                  <a:pt x="2080923" y="516527"/>
                </a:cubicBezTo>
                <a:cubicBezTo>
                  <a:pt x="2086390" y="523815"/>
                  <a:pt x="2091856" y="527461"/>
                  <a:pt x="2097323" y="520171"/>
                </a:cubicBezTo>
                <a:lnTo>
                  <a:pt x="2096959" y="517621"/>
                </a:lnTo>
                <a:lnTo>
                  <a:pt x="2100967" y="520171"/>
                </a:lnTo>
                <a:cubicBezTo>
                  <a:pt x="2104611" y="518349"/>
                  <a:pt x="2100967" y="511061"/>
                  <a:pt x="2099145" y="507417"/>
                </a:cubicBezTo>
                <a:lnTo>
                  <a:pt x="2094363" y="509011"/>
                </a:lnTo>
                <a:lnTo>
                  <a:pt x="2093679" y="505594"/>
                </a:lnTo>
                <a:cubicBezTo>
                  <a:pt x="2093679" y="507417"/>
                  <a:pt x="2093679" y="509238"/>
                  <a:pt x="2093679" y="509238"/>
                </a:cubicBezTo>
                <a:lnTo>
                  <a:pt x="2094363" y="509011"/>
                </a:lnTo>
                <a:lnTo>
                  <a:pt x="2095291" y="513654"/>
                </a:lnTo>
                <a:lnTo>
                  <a:pt x="2091856" y="509238"/>
                </a:lnTo>
                <a:cubicBezTo>
                  <a:pt x="2090034" y="509238"/>
                  <a:pt x="2088212" y="509238"/>
                  <a:pt x="2086390" y="511061"/>
                </a:cubicBezTo>
                <a:cubicBezTo>
                  <a:pt x="2088212" y="512882"/>
                  <a:pt x="2086390" y="518349"/>
                  <a:pt x="2088212" y="520171"/>
                </a:cubicBezTo>
                <a:cubicBezTo>
                  <a:pt x="2079101" y="516527"/>
                  <a:pt x="2079101" y="509238"/>
                  <a:pt x="2080923" y="501949"/>
                </a:cubicBezTo>
                <a:cubicBezTo>
                  <a:pt x="2082745" y="498306"/>
                  <a:pt x="2084568" y="507417"/>
                  <a:pt x="2084568" y="503771"/>
                </a:cubicBezTo>
                <a:cubicBezTo>
                  <a:pt x="2084568" y="500127"/>
                  <a:pt x="2082745" y="496483"/>
                  <a:pt x="2082745" y="492838"/>
                </a:cubicBezTo>
                <a:cubicBezTo>
                  <a:pt x="2077279" y="494662"/>
                  <a:pt x="2071812" y="485550"/>
                  <a:pt x="2073634" y="481906"/>
                </a:cubicBezTo>
                <a:cubicBezTo>
                  <a:pt x="2075457" y="481906"/>
                  <a:pt x="2077279" y="483728"/>
                  <a:pt x="2077279" y="485550"/>
                </a:cubicBezTo>
                <a:cubicBezTo>
                  <a:pt x="2080923" y="485550"/>
                  <a:pt x="2075457" y="481906"/>
                  <a:pt x="2075457" y="480083"/>
                </a:cubicBezTo>
                <a:close/>
                <a:moveTo>
                  <a:pt x="951073" y="479880"/>
                </a:moveTo>
                <a:lnTo>
                  <a:pt x="951175" y="480083"/>
                </a:lnTo>
                <a:lnTo>
                  <a:pt x="951133" y="480059"/>
                </a:lnTo>
                <a:close/>
                <a:moveTo>
                  <a:pt x="1939186" y="479857"/>
                </a:moveTo>
                <a:lnTo>
                  <a:pt x="1939462" y="481191"/>
                </a:lnTo>
                <a:lnTo>
                  <a:pt x="1938793" y="480083"/>
                </a:lnTo>
                <a:close/>
                <a:moveTo>
                  <a:pt x="3250759" y="478262"/>
                </a:moveTo>
                <a:cubicBezTo>
                  <a:pt x="3248937" y="481906"/>
                  <a:pt x="3241648" y="480083"/>
                  <a:pt x="3245292" y="485550"/>
                </a:cubicBezTo>
                <a:cubicBezTo>
                  <a:pt x="3247114" y="487373"/>
                  <a:pt x="3247114" y="483728"/>
                  <a:pt x="3247114" y="483728"/>
                </a:cubicBezTo>
                <a:cubicBezTo>
                  <a:pt x="3250759" y="485550"/>
                  <a:pt x="3252581" y="485550"/>
                  <a:pt x="3250759" y="478262"/>
                </a:cubicBezTo>
                <a:close/>
                <a:moveTo>
                  <a:pt x="2263140" y="476439"/>
                </a:moveTo>
                <a:cubicBezTo>
                  <a:pt x="2259496" y="480083"/>
                  <a:pt x="2255852" y="487373"/>
                  <a:pt x="2259496" y="492838"/>
                </a:cubicBezTo>
                <a:cubicBezTo>
                  <a:pt x="2263140" y="491017"/>
                  <a:pt x="2263140" y="481906"/>
                  <a:pt x="2263140" y="476439"/>
                </a:cubicBezTo>
                <a:close/>
                <a:moveTo>
                  <a:pt x="980330" y="476439"/>
                </a:moveTo>
                <a:cubicBezTo>
                  <a:pt x="981242" y="479173"/>
                  <a:pt x="983519" y="481450"/>
                  <a:pt x="984885" y="484184"/>
                </a:cubicBezTo>
                <a:lnTo>
                  <a:pt x="984637" y="487035"/>
                </a:lnTo>
                <a:lnTo>
                  <a:pt x="980330" y="481830"/>
                </a:lnTo>
                <a:close/>
                <a:moveTo>
                  <a:pt x="2414355" y="475330"/>
                </a:moveTo>
                <a:lnTo>
                  <a:pt x="2414381" y="475528"/>
                </a:lnTo>
                <a:lnTo>
                  <a:pt x="2412877" y="481168"/>
                </a:lnTo>
                <a:lnTo>
                  <a:pt x="2413015" y="478489"/>
                </a:lnTo>
                <a:close/>
                <a:moveTo>
                  <a:pt x="534199" y="475260"/>
                </a:moveTo>
                <a:lnTo>
                  <a:pt x="536785" y="478259"/>
                </a:lnTo>
                <a:lnTo>
                  <a:pt x="535719" y="483728"/>
                </a:lnTo>
                <a:close/>
                <a:moveTo>
                  <a:pt x="2915478" y="474637"/>
                </a:moveTo>
                <a:cubicBezTo>
                  <a:pt x="2911834" y="487392"/>
                  <a:pt x="2917300" y="489215"/>
                  <a:pt x="2930056" y="491037"/>
                </a:cubicBezTo>
                <a:cubicBezTo>
                  <a:pt x="2920945" y="496503"/>
                  <a:pt x="2911834" y="498326"/>
                  <a:pt x="2911834" y="481926"/>
                </a:cubicBezTo>
                <a:cubicBezTo>
                  <a:pt x="2910012" y="480104"/>
                  <a:pt x="2913656" y="476459"/>
                  <a:pt x="2915478" y="474637"/>
                </a:cubicBezTo>
                <a:close/>
                <a:moveTo>
                  <a:pt x="2055413" y="474618"/>
                </a:moveTo>
                <a:cubicBezTo>
                  <a:pt x="2057235" y="483728"/>
                  <a:pt x="2060879" y="489194"/>
                  <a:pt x="2064524" y="494662"/>
                </a:cubicBezTo>
                <a:cubicBezTo>
                  <a:pt x="2068168" y="494662"/>
                  <a:pt x="2060879" y="487373"/>
                  <a:pt x="2064524" y="485550"/>
                </a:cubicBezTo>
                <a:lnTo>
                  <a:pt x="2066263" y="485985"/>
                </a:lnTo>
                <a:lnTo>
                  <a:pt x="2068168" y="489194"/>
                </a:lnTo>
                <a:cubicBezTo>
                  <a:pt x="2067257" y="488284"/>
                  <a:pt x="2066802" y="486917"/>
                  <a:pt x="2066346" y="486006"/>
                </a:cubicBezTo>
                <a:lnTo>
                  <a:pt x="2066263" y="485985"/>
                </a:lnTo>
                <a:lnTo>
                  <a:pt x="2063841" y="481906"/>
                </a:lnTo>
                <a:cubicBezTo>
                  <a:pt x="2060880" y="479628"/>
                  <a:pt x="2057235" y="477351"/>
                  <a:pt x="2055413" y="474618"/>
                </a:cubicBezTo>
                <a:close/>
                <a:moveTo>
                  <a:pt x="1171658" y="474618"/>
                </a:moveTo>
                <a:cubicBezTo>
                  <a:pt x="1173481" y="476439"/>
                  <a:pt x="1168014" y="480083"/>
                  <a:pt x="1171658" y="485550"/>
                </a:cubicBezTo>
                <a:cubicBezTo>
                  <a:pt x="1157081" y="500127"/>
                  <a:pt x="1175303" y="503771"/>
                  <a:pt x="1182592" y="505594"/>
                </a:cubicBezTo>
                <a:cubicBezTo>
                  <a:pt x="1180769" y="501949"/>
                  <a:pt x="1177125" y="501949"/>
                  <a:pt x="1175303" y="500127"/>
                </a:cubicBezTo>
                <a:cubicBezTo>
                  <a:pt x="1173481" y="498306"/>
                  <a:pt x="1173481" y="498306"/>
                  <a:pt x="1175303" y="496483"/>
                </a:cubicBezTo>
                <a:cubicBezTo>
                  <a:pt x="1178947" y="496483"/>
                  <a:pt x="1178947" y="496483"/>
                  <a:pt x="1180769" y="500127"/>
                </a:cubicBezTo>
                <a:cubicBezTo>
                  <a:pt x="1180769" y="491017"/>
                  <a:pt x="1175303" y="481906"/>
                  <a:pt x="1171658" y="474618"/>
                </a:cubicBezTo>
                <a:close/>
                <a:moveTo>
                  <a:pt x="949353" y="474618"/>
                </a:moveTo>
                <a:lnTo>
                  <a:pt x="951073" y="479880"/>
                </a:lnTo>
                <a:lnTo>
                  <a:pt x="949353" y="476439"/>
                </a:lnTo>
                <a:lnTo>
                  <a:pt x="948779" y="478736"/>
                </a:lnTo>
                <a:lnTo>
                  <a:pt x="947531" y="478034"/>
                </a:lnTo>
                <a:cubicBezTo>
                  <a:pt x="947075" y="476895"/>
                  <a:pt x="947531" y="475529"/>
                  <a:pt x="949353" y="474618"/>
                </a:cubicBezTo>
                <a:close/>
                <a:moveTo>
                  <a:pt x="2120100" y="474389"/>
                </a:moveTo>
                <a:cubicBezTo>
                  <a:pt x="2119189" y="475984"/>
                  <a:pt x="2119189" y="479173"/>
                  <a:pt x="2121011" y="481906"/>
                </a:cubicBezTo>
                <a:cubicBezTo>
                  <a:pt x="2122833" y="481906"/>
                  <a:pt x="2121011" y="474618"/>
                  <a:pt x="2124655" y="476439"/>
                </a:cubicBezTo>
                <a:cubicBezTo>
                  <a:pt x="2122833" y="472795"/>
                  <a:pt x="2121011" y="472795"/>
                  <a:pt x="2120100" y="474389"/>
                </a:cubicBezTo>
                <a:close/>
                <a:moveTo>
                  <a:pt x="3124574" y="473706"/>
                </a:moveTo>
                <a:cubicBezTo>
                  <a:pt x="3115007" y="471428"/>
                  <a:pt x="3106807" y="471884"/>
                  <a:pt x="3103163" y="476439"/>
                </a:cubicBezTo>
                <a:cubicBezTo>
                  <a:pt x="3086763" y="492838"/>
                  <a:pt x="3097696" y="531105"/>
                  <a:pt x="3115918" y="552970"/>
                </a:cubicBezTo>
                <a:cubicBezTo>
                  <a:pt x="3115918" y="552970"/>
                  <a:pt x="3115918" y="552970"/>
                  <a:pt x="3119562" y="551148"/>
                </a:cubicBezTo>
                <a:cubicBezTo>
                  <a:pt x="3115918" y="571192"/>
                  <a:pt x="3134140" y="585769"/>
                  <a:pt x="3148717" y="587591"/>
                </a:cubicBezTo>
                <a:cubicBezTo>
                  <a:pt x="3161472" y="589414"/>
                  <a:pt x="3168761" y="569370"/>
                  <a:pt x="3177872" y="562081"/>
                </a:cubicBezTo>
                <a:cubicBezTo>
                  <a:pt x="3183338" y="554792"/>
                  <a:pt x="3188805" y="538393"/>
                  <a:pt x="3181516" y="531105"/>
                </a:cubicBezTo>
                <a:cubicBezTo>
                  <a:pt x="3176050" y="523815"/>
                  <a:pt x="3170583" y="514705"/>
                  <a:pt x="3166939" y="505594"/>
                </a:cubicBezTo>
                <a:cubicBezTo>
                  <a:pt x="3163294" y="507417"/>
                  <a:pt x="3159650" y="507417"/>
                  <a:pt x="3156006" y="511061"/>
                </a:cubicBezTo>
                <a:cubicBezTo>
                  <a:pt x="3154184" y="509238"/>
                  <a:pt x="3150539" y="496483"/>
                  <a:pt x="3146895" y="503771"/>
                </a:cubicBezTo>
                <a:cubicBezTo>
                  <a:pt x="3145073" y="501949"/>
                  <a:pt x="3143250" y="498306"/>
                  <a:pt x="3145073" y="496483"/>
                </a:cubicBezTo>
                <a:cubicBezTo>
                  <a:pt x="3148717" y="498306"/>
                  <a:pt x="3150539" y="498306"/>
                  <a:pt x="3152361" y="501949"/>
                </a:cubicBezTo>
                <a:cubicBezTo>
                  <a:pt x="3152361" y="496483"/>
                  <a:pt x="3159650" y="498306"/>
                  <a:pt x="3159650" y="494662"/>
                </a:cubicBezTo>
                <a:cubicBezTo>
                  <a:pt x="3157828" y="491017"/>
                  <a:pt x="3156006" y="489194"/>
                  <a:pt x="3154184" y="487373"/>
                </a:cubicBezTo>
                <a:cubicBezTo>
                  <a:pt x="3145073" y="480995"/>
                  <a:pt x="3134140" y="475984"/>
                  <a:pt x="3124574" y="473706"/>
                </a:cubicBezTo>
                <a:close/>
                <a:moveTo>
                  <a:pt x="3378311" y="472795"/>
                </a:moveTo>
                <a:cubicBezTo>
                  <a:pt x="3372844" y="472795"/>
                  <a:pt x="3376489" y="481906"/>
                  <a:pt x="3380133" y="478262"/>
                </a:cubicBezTo>
                <a:cubicBezTo>
                  <a:pt x="3378311" y="476439"/>
                  <a:pt x="3378311" y="474618"/>
                  <a:pt x="3378311" y="472795"/>
                </a:cubicBezTo>
                <a:close/>
                <a:moveTo>
                  <a:pt x="2091856" y="472795"/>
                </a:moveTo>
                <a:cubicBezTo>
                  <a:pt x="2093679" y="478262"/>
                  <a:pt x="2095500" y="481906"/>
                  <a:pt x="2099145" y="483728"/>
                </a:cubicBezTo>
                <a:cubicBezTo>
                  <a:pt x="2097323" y="478262"/>
                  <a:pt x="2100967" y="476439"/>
                  <a:pt x="2100967" y="481906"/>
                </a:cubicBezTo>
                <a:cubicBezTo>
                  <a:pt x="2104611" y="476439"/>
                  <a:pt x="2097323" y="470972"/>
                  <a:pt x="2091856" y="472795"/>
                </a:cubicBezTo>
                <a:close/>
                <a:moveTo>
                  <a:pt x="2028080" y="472795"/>
                </a:moveTo>
                <a:cubicBezTo>
                  <a:pt x="2029902" y="480083"/>
                  <a:pt x="2035369" y="472795"/>
                  <a:pt x="2035369" y="481906"/>
                </a:cubicBezTo>
                <a:cubicBezTo>
                  <a:pt x="2037191" y="480083"/>
                  <a:pt x="2039013" y="478262"/>
                  <a:pt x="2040835" y="483728"/>
                </a:cubicBezTo>
                <a:cubicBezTo>
                  <a:pt x="2042657" y="483728"/>
                  <a:pt x="2044479" y="481906"/>
                  <a:pt x="2042657" y="478262"/>
                </a:cubicBezTo>
                <a:cubicBezTo>
                  <a:pt x="2037191" y="478262"/>
                  <a:pt x="2035369" y="472795"/>
                  <a:pt x="2028080" y="472795"/>
                </a:cubicBezTo>
                <a:close/>
                <a:moveTo>
                  <a:pt x="2022613" y="472795"/>
                </a:moveTo>
                <a:cubicBezTo>
                  <a:pt x="2022613" y="476439"/>
                  <a:pt x="2026258" y="478262"/>
                  <a:pt x="2028080" y="481906"/>
                </a:cubicBezTo>
                <a:cubicBezTo>
                  <a:pt x="2031724" y="480083"/>
                  <a:pt x="2026258" y="470972"/>
                  <a:pt x="2022613" y="472795"/>
                </a:cubicBezTo>
                <a:close/>
                <a:moveTo>
                  <a:pt x="1198991" y="472795"/>
                </a:moveTo>
                <a:cubicBezTo>
                  <a:pt x="1195346" y="476439"/>
                  <a:pt x="1195346" y="478262"/>
                  <a:pt x="1193525" y="481906"/>
                </a:cubicBezTo>
                <a:cubicBezTo>
                  <a:pt x="1195346" y="481906"/>
                  <a:pt x="1193525" y="483728"/>
                  <a:pt x="1195346" y="485550"/>
                </a:cubicBezTo>
                <a:cubicBezTo>
                  <a:pt x="1198991" y="481906"/>
                  <a:pt x="1202636" y="478262"/>
                  <a:pt x="1198991" y="472795"/>
                </a:cubicBezTo>
                <a:close/>
                <a:moveTo>
                  <a:pt x="974863" y="472795"/>
                </a:moveTo>
                <a:cubicBezTo>
                  <a:pt x="963930" y="481906"/>
                  <a:pt x="956642" y="496483"/>
                  <a:pt x="965753" y="509238"/>
                </a:cubicBezTo>
                <a:cubicBezTo>
                  <a:pt x="967575" y="509238"/>
                  <a:pt x="967575" y="509238"/>
                  <a:pt x="969397" y="507417"/>
                </a:cubicBezTo>
                <a:cubicBezTo>
                  <a:pt x="969397" y="509238"/>
                  <a:pt x="969397" y="511061"/>
                  <a:pt x="971219" y="512882"/>
                </a:cubicBezTo>
                <a:cubicBezTo>
                  <a:pt x="969397" y="512882"/>
                  <a:pt x="967575" y="511061"/>
                  <a:pt x="965753" y="512882"/>
                </a:cubicBezTo>
                <a:cubicBezTo>
                  <a:pt x="963930" y="515616"/>
                  <a:pt x="962564" y="519716"/>
                  <a:pt x="962792" y="523133"/>
                </a:cubicBezTo>
                <a:lnTo>
                  <a:pt x="969178" y="529079"/>
                </a:lnTo>
                <a:lnTo>
                  <a:pt x="969024" y="529282"/>
                </a:lnTo>
                <a:lnTo>
                  <a:pt x="963930" y="529282"/>
                </a:lnTo>
                <a:cubicBezTo>
                  <a:pt x="963930" y="532926"/>
                  <a:pt x="963930" y="536571"/>
                  <a:pt x="962108" y="538393"/>
                </a:cubicBezTo>
                <a:lnTo>
                  <a:pt x="969024" y="529282"/>
                </a:lnTo>
                <a:lnTo>
                  <a:pt x="969397" y="529282"/>
                </a:lnTo>
                <a:lnTo>
                  <a:pt x="969178" y="529079"/>
                </a:lnTo>
                <a:lnTo>
                  <a:pt x="970694" y="527081"/>
                </a:lnTo>
                <a:lnTo>
                  <a:pt x="963930" y="545681"/>
                </a:lnTo>
                <a:cubicBezTo>
                  <a:pt x="969397" y="543860"/>
                  <a:pt x="969397" y="538393"/>
                  <a:pt x="969397" y="534749"/>
                </a:cubicBezTo>
                <a:lnTo>
                  <a:pt x="971015" y="526659"/>
                </a:lnTo>
                <a:lnTo>
                  <a:pt x="976457" y="519488"/>
                </a:lnTo>
                <a:cubicBezTo>
                  <a:pt x="979874" y="512427"/>
                  <a:pt x="981242" y="504683"/>
                  <a:pt x="978508" y="496483"/>
                </a:cubicBezTo>
                <a:cubicBezTo>
                  <a:pt x="976686" y="494662"/>
                  <a:pt x="971219" y="494662"/>
                  <a:pt x="969397" y="491017"/>
                </a:cubicBezTo>
                <a:cubicBezTo>
                  <a:pt x="971219" y="491017"/>
                  <a:pt x="973041" y="494662"/>
                  <a:pt x="976686" y="494662"/>
                </a:cubicBezTo>
                <a:cubicBezTo>
                  <a:pt x="982152" y="489194"/>
                  <a:pt x="973041" y="483728"/>
                  <a:pt x="973041" y="478262"/>
                </a:cubicBezTo>
                <a:cubicBezTo>
                  <a:pt x="974863" y="478262"/>
                  <a:pt x="976686" y="478262"/>
                  <a:pt x="976686" y="480083"/>
                </a:cubicBezTo>
                <a:cubicBezTo>
                  <a:pt x="978508" y="476439"/>
                  <a:pt x="973041" y="474618"/>
                  <a:pt x="974863" y="472795"/>
                </a:cubicBezTo>
                <a:close/>
                <a:moveTo>
                  <a:pt x="972542" y="471298"/>
                </a:moveTo>
                <a:lnTo>
                  <a:pt x="972642" y="471599"/>
                </a:lnTo>
                <a:lnTo>
                  <a:pt x="972004" y="472601"/>
                </a:lnTo>
                <a:lnTo>
                  <a:pt x="970872" y="472389"/>
                </a:lnTo>
                <a:close/>
                <a:moveTo>
                  <a:pt x="3323099" y="471155"/>
                </a:moveTo>
                <a:lnTo>
                  <a:pt x="3323646" y="472795"/>
                </a:lnTo>
                <a:lnTo>
                  <a:pt x="3319905" y="471767"/>
                </a:lnTo>
                <a:close/>
                <a:moveTo>
                  <a:pt x="3259869" y="470972"/>
                </a:moveTo>
                <a:cubicBezTo>
                  <a:pt x="3258047" y="470972"/>
                  <a:pt x="3258047" y="472795"/>
                  <a:pt x="3256225" y="472795"/>
                </a:cubicBezTo>
                <a:cubicBezTo>
                  <a:pt x="3258047" y="480083"/>
                  <a:pt x="3265336" y="478262"/>
                  <a:pt x="3270803" y="478262"/>
                </a:cubicBezTo>
                <a:cubicBezTo>
                  <a:pt x="3270803" y="476439"/>
                  <a:pt x="3268980" y="472795"/>
                  <a:pt x="3268980" y="470972"/>
                </a:cubicBezTo>
                <a:cubicBezTo>
                  <a:pt x="3267158" y="474618"/>
                  <a:pt x="3263514" y="476439"/>
                  <a:pt x="3259869" y="470972"/>
                </a:cubicBezTo>
                <a:close/>
                <a:moveTo>
                  <a:pt x="1186236" y="470972"/>
                </a:moveTo>
                <a:cubicBezTo>
                  <a:pt x="1184414" y="472795"/>
                  <a:pt x="1189880" y="476439"/>
                  <a:pt x="1186236" y="476439"/>
                </a:cubicBezTo>
                <a:cubicBezTo>
                  <a:pt x="1186236" y="478262"/>
                  <a:pt x="1188058" y="478262"/>
                  <a:pt x="1188058" y="480083"/>
                </a:cubicBezTo>
                <a:cubicBezTo>
                  <a:pt x="1188058" y="476439"/>
                  <a:pt x="1189880" y="472795"/>
                  <a:pt x="1186236" y="470972"/>
                </a:cubicBezTo>
                <a:close/>
                <a:moveTo>
                  <a:pt x="1002196" y="470972"/>
                </a:moveTo>
                <a:cubicBezTo>
                  <a:pt x="1000374" y="474618"/>
                  <a:pt x="1000374" y="478262"/>
                  <a:pt x="1000374" y="481906"/>
                </a:cubicBezTo>
                <a:cubicBezTo>
                  <a:pt x="1007663" y="480083"/>
                  <a:pt x="1004018" y="474618"/>
                  <a:pt x="1002196" y="470972"/>
                </a:cubicBezTo>
                <a:close/>
                <a:moveTo>
                  <a:pt x="3197916" y="469150"/>
                </a:moveTo>
                <a:cubicBezTo>
                  <a:pt x="3194271" y="469150"/>
                  <a:pt x="3196093" y="480083"/>
                  <a:pt x="3201560" y="478262"/>
                </a:cubicBezTo>
                <a:cubicBezTo>
                  <a:pt x="3203382" y="474618"/>
                  <a:pt x="3199738" y="472795"/>
                  <a:pt x="3197916" y="469150"/>
                </a:cubicBezTo>
                <a:close/>
                <a:moveTo>
                  <a:pt x="3186982" y="469150"/>
                </a:moveTo>
                <a:cubicBezTo>
                  <a:pt x="3188805" y="470972"/>
                  <a:pt x="3188805" y="472795"/>
                  <a:pt x="3190627" y="474618"/>
                </a:cubicBezTo>
                <a:lnTo>
                  <a:pt x="3188836" y="476409"/>
                </a:lnTo>
                <a:close/>
                <a:moveTo>
                  <a:pt x="2959211" y="469150"/>
                </a:moveTo>
                <a:cubicBezTo>
                  <a:pt x="2964677" y="474618"/>
                  <a:pt x="2962855" y="481906"/>
                  <a:pt x="2962855" y="489194"/>
                </a:cubicBezTo>
                <a:lnTo>
                  <a:pt x="2961814" y="488414"/>
                </a:lnTo>
                <a:lnTo>
                  <a:pt x="2960122" y="484183"/>
                </a:lnTo>
                <a:cubicBezTo>
                  <a:pt x="2959667" y="481906"/>
                  <a:pt x="2959211" y="480083"/>
                  <a:pt x="2957389" y="480083"/>
                </a:cubicBezTo>
                <a:cubicBezTo>
                  <a:pt x="2951922" y="480083"/>
                  <a:pt x="2946456" y="483728"/>
                  <a:pt x="2940989" y="487373"/>
                </a:cubicBezTo>
                <a:cubicBezTo>
                  <a:pt x="2940989" y="487373"/>
                  <a:pt x="2942811" y="485550"/>
                  <a:pt x="2942811" y="485550"/>
                </a:cubicBezTo>
                <a:cubicBezTo>
                  <a:pt x="2937345" y="483728"/>
                  <a:pt x="2933700" y="483728"/>
                  <a:pt x="2928234" y="483728"/>
                </a:cubicBezTo>
                <a:cubicBezTo>
                  <a:pt x="2934612" y="483728"/>
                  <a:pt x="2942356" y="481451"/>
                  <a:pt x="2947595" y="477351"/>
                </a:cubicBezTo>
                <a:lnTo>
                  <a:pt x="2951568" y="471957"/>
                </a:lnTo>
                <a:lnTo>
                  <a:pt x="2950100" y="478262"/>
                </a:lnTo>
                <a:cubicBezTo>
                  <a:pt x="2951922" y="480083"/>
                  <a:pt x="2951922" y="481906"/>
                  <a:pt x="2951922" y="481906"/>
                </a:cubicBezTo>
                <a:cubicBezTo>
                  <a:pt x="2951922" y="476439"/>
                  <a:pt x="2951922" y="467328"/>
                  <a:pt x="2959211" y="469150"/>
                </a:cubicBezTo>
                <a:close/>
                <a:moveTo>
                  <a:pt x="2645797" y="469150"/>
                </a:moveTo>
                <a:cubicBezTo>
                  <a:pt x="2642153" y="469150"/>
                  <a:pt x="2643975" y="478262"/>
                  <a:pt x="2642153" y="485550"/>
                </a:cubicBezTo>
                <a:cubicBezTo>
                  <a:pt x="2645797" y="487373"/>
                  <a:pt x="2647619" y="483728"/>
                  <a:pt x="2649441" y="483728"/>
                </a:cubicBezTo>
                <a:cubicBezTo>
                  <a:pt x="2651263" y="476439"/>
                  <a:pt x="2645797" y="474618"/>
                  <a:pt x="2645797" y="469150"/>
                </a:cubicBezTo>
                <a:close/>
                <a:moveTo>
                  <a:pt x="998552" y="469150"/>
                </a:moveTo>
                <a:cubicBezTo>
                  <a:pt x="996729" y="472795"/>
                  <a:pt x="991263" y="487373"/>
                  <a:pt x="991263" y="487373"/>
                </a:cubicBezTo>
                <a:cubicBezTo>
                  <a:pt x="994907" y="481906"/>
                  <a:pt x="994907" y="478262"/>
                  <a:pt x="998552" y="472795"/>
                </a:cubicBezTo>
                <a:cubicBezTo>
                  <a:pt x="998552" y="470972"/>
                  <a:pt x="996729" y="470972"/>
                  <a:pt x="998552" y="469150"/>
                </a:cubicBezTo>
                <a:close/>
                <a:moveTo>
                  <a:pt x="1283118" y="468186"/>
                </a:moveTo>
                <a:lnTo>
                  <a:pt x="1282583" y="469378"/>
                </a:lnTo>
                <a:lnTo>
                  <a:pt x="1281232" y="470729"/>
                </a:lnTo>
                <a:close/>
                <a:moveTo>
                  <a:pt x="3371022" y="467328"/>
                </a:moveTo>
                <a:lnTo>
                  <a:pt x="3372275" y="470112"/>
                </a:lnTo>
                <a:lnTo>
                  <a:pt x="3371022" y="470972"/>
                </a:lnTo>
                <a:lnTo>
                  <a:pt x="3369585" y="467667"/>
                </a:lnTo>
                <a:close/>
                <a:moveTo>
                  <a:pt x="3055786" y="467328"/>
                </a:moveTo>
                <a:cubicBezTo>
                  <a:pt x="3061253" y="483728"/>
                  <a:pt x="3068541" y="500127"/>
                  <a:pt x="3081297" y="509238"/>
                </a:cubicBezTo>
                <a:cubicBezTo>
                  <a:pt x="3079474" y="498306"/>
                  <a:pt x="3079474" y="485550"/>
                  <a:pt x="3074008" y="472795"/>
                </a:cubicBezTo>
                <a:cubicBezTo>
                  <a:pt x="3064897" y="472795"/>
                  <a:pt x="3059430" y="469150"/>
                  <a:pt x="3055786" y="467328"/>
                </a:cubicBezTo>
                <a:close/>
                <a:moveTo>
                  <a:pt x="2592954" y="467328"/>
                </a:moveTo>
                <a:cubicBezTo>
                  <a:pt x="2589310" y="470972"/>
                  <a:pt x="2580199" y="472795"/>
                  <a:pt x="2583843" y="478262"/>
                </a:cubicBezTo>
                <a:cubicBezTo>
                  <a:pt x="2587487" y="481906"/>
                  <a:pt x="2592954" y="474618"/>
                  <a:pt x="2594776" y="476439"/>
                </a:cubicBezTo>
                <a:cubicBezTo>
                  <a:pt x="2596598" y="470972"/>
                  <a:pt x="2592954" y="470972"/>
                  <a:pt x="2592954" y="467328"/>
                </a:cubicBezTo>
                <a:close/>
                <a:moveTo>
                  <a:pt x="2576554" y="467328"/>
                </a:moveTo>
                <a:cubicBezTo>
                  <a:pt x="2567443" y="469150"/>
                  <a:pt x="2567443" y="476439"/>
                  <a:pt x="2572910" y="481906"/>
                </a:cubicBezTo>
                <a:cubicBezTo>
                  <a:pt x="2572910" y="478262"/>
                  <a:pt x="2576554" y="478262"/>
                  <a:pt x="2578377" y="474618"/>
                </a:cubicBezTo>
                <a:cubicBezTo>
                  <a:pt x="2580199" y="470972"/>
                  <a:pt x="2576554" y="470972"/>
                  <a:pt x="2576554" y="467328"/>
                </a:cubicBezTo>
                <a:close/>
                <a:moveTo>
                  <a:pt x="2084568" y="467328"/>
                </a:moveTo>
                <a:cubicBezTo>
                  <a:pt x="2086390" y="470972"/>
                  <a:pt x="2088212" y="476439"/>
                  <a:pt x="2088212" y="480083"/>
                </a:cubicBezTo>
                <a:cubicBezTo>
                  <a:pt x="2088212" y="478262"/>
                  <a:pt x="2088212" y="472795"/>
                  <a:pt x="2088212" y="469150"/>
                </a:cubicBezTo>
                <a:cubicBezTo>
                  <a:pt x="2086390" y="469150"/>
                  <a:pt x="2084568" y="467328"/>
                  <a:pt x="2084568" y="467328"/>
                </a:cubicBezTo>
                <a:close/>
                <a:moveTo>
                  <a:pt x="1260945" y="467328"/>
                </a:moveTo>
                <a:lnTo>
                  <a:pt x="1261085" y="467750"/>
                </a:lnTo>
                <a:lnTo>
                  <a:pt x="1260945" y="468208"/>
                </a:lnTo>
                <a:close/>
                <a:moveTo>
                  <a:pt x="1164370" y="467328"/>
                </a:moveTo>
                <a:cubicBezTo>
                  <a:pt x="1164370" y="470972"/>
                  <a:pt x="1166192" y="472795"/>
                  <a:pt x="1164370" y="474618"/>
                </a:cubicBezTo>
                <a:cubicBezTo>
                  <a:pt x="1168014" y="474618"/>
                  <a:pt x="1166192" y="469150"/>
                  <a:pt x="1164370" y="467328"/>
                </a:cubicBezTo>
                <a:close/>
                <a:moveTo>
                  <a:pt x="2952739" y="466928"/>
                </a:moveTo>
                <a:lnTo>
                  <a:pt x="2953090" y="469891"/>
                </a:lnTo>
                <a:lnTo>
                  <a:pt x="2951568" y="471957"/>
                </a:lnTo>
                <a:close/>
                <a:moveTo>
                  <a:pt x="406345" y="465530"/>
                </a:moveTo>
                <a:cubicBezTo>
                  <a:pt x="411812" y="476463"/>
                  <a:pt x="420923" y="485574"/>
                  <a:pt x="428211" y="494685"/>
                </a:cubicBezTo>
                <a:cubicBezTo>
                  <a:pt x="430034" y="496507"/>
                  <a:pt x="430034" y="498329"/>
                  <a:pt x="430034" y="500152"/>
                </a:cubicBezTo>
                <a:cubicBezTo>
                  <a:pt x="420923" y="489219"/>
                  <a:pt x="409990" y="480108"/>
                  <a:pt x="406345" y="465530"/>
                </a:cubicBezTo>
                <a:close/>
                <a:moveTo>
                  <a:pt x="901976" y="465506"/>
                </a:moveTo>
                <a:cubicBezTo>
                  <a:pt x="903799" y="469150"/>
                  <a:pt x="905621" y="472795"/>
                  <a:pt x="901976" y="476439"/>
                </a:cubicBezTo>
                <a:cubicBezTo>
                  <a:pt x="901976" y="474618"/>
                  <a:pt x="898333" y="467328"/>
                  <a:pt x="901976" y="465506"/>
                </a:cubicBezTo>
                <a:close/>
                <a:moveTo>
                  <a:pt x="194973" y="465506"/>
                </a:moveTo>
                <a:cubicBezTo>
                  <a:pt x="201123" y="474389"/>
                  <a:pt x="205223" y="484554"/>
                  <a:pt x="209290" y="494750"/>
                </a:cubicBezTo>
                <a:lnTo>
                  <a:pt x="217427" y="511706"/>
                </a:lnTo>
                <a:lnTo>
                  <a:pt x="215245" y="508100"/>
                </a:lnTo>
                <a:cubicBezTo>
                  <a:pt x="208184" y="494205"/>
                  <a:pt x="201350" y="479173"/>
                  <a:pt x="194973" y="465506"/>
                </a:cubicBezTo>
                <a:close/>
                <a:moveTo>
                  <a:pt x="2163224" y="464393"/>
                </a:moveTo>
                <a:lnTo>
                  <a:pt x="2166565" y="465506"/>
                </a:lnTo>
                <a:cubicBezTo>
                  <a:pt x="2167476" y="468239"/>
                  <a:pt x="2169754" y="473250"/>
                  <a:pt x="2170437" y="477578"/>
                </a:cubicBezTo>
                <a:lnTo>
                  <a:pt x="2168083" y="480874"/>
                </a:lnTo>
                <a:close/>
                <a:moveTo>
                  <a:pt x="3163067" y="463912"/>
                </a:moveTo>
                <a:cubicBezTo>
                  <a:pt x="3156461" y="463228"/>
                  <a:pt x="3150539" y="463684"/>
                  <a:pt x="3148717" y="467328"/>
                </a:cubicBezTo>
                <a:cubicBezTo>
                  <a:pt x="3159650" y="478262"/>
                  <a:pt x="3170583" y="489194"/>
                  <a:pt x="3185160" y="491017"/>
                </a:cubicBezTo>
                <a:cubicBezTo>
                  <a:pt x="3183338" y="483728"/>
                  <a:pt x="3181516" y="474618"/>
                  <a:pt x="3181516" y="467328"/>
                </a:cubicBezTo>
                <a:cubicBezTo>
                  <a:pt x="3176961" y="466417"/>
                  <a:pt x="3169672" y="464595"/>
                  <a:pt x="3163067" y="463912"/>
                </a:cubicBezTo>
                <a:close/>
                <a:moveTo>
                  <a:pt x="3186982" y="463684"/>
                </a:moveTo>
                <a:lnTo>
                  <a:pt x="3186982" y="469150"/>
                </a:lnTo>
                <a:lnTo>
                  <a:pt x="3186982" y="478262"/>
                </a:lnTo>
                <a:cubicBezTo>
                  <a:pt x="3189716" y="479173"/>
                  <a:pt x="3189260" y="477806"/>
                  <a:pt x="3188805" y="476439"/>
                </a:cubicBezTo>
                <a:lnTo>
                  <a:pt x="3188836" y="476409"/>
                </a:lnTo>
                <a:lnTo>
                  <a:pt x="3189716" y="479856"/>
                </a:lnTo>
                <a:lnTo>
                  <a:pt x="3190941" y="484042"/>
                </a:lnTo>
                <a:lnTo>
                  <a:pt x="3190627" y="483728"/>
                </a:lnTo>
                <a:cubicBezTo>
                  <a:pt x="3190627" y="485550"/>
                  <a:pt x="3190627" y="487373"/>
                  <a:pt x="3192449" y="489194"/>
                </a:cubicBezTo>
                <a:lnTo>
                  <a:pt x="3190941" y="484042"/>
                </a:lnTo>
                <a:lnTo>
                  <a:pt x="3196093" y="489194"/>
                </a:lnTo>
                <a:cubicBezTo>
                  <a:pt x="3199738" y="485550"/>
                  <a:pt x="3192449" y="476439"/>
                  <a:pt x="3192449" y="463684"/>
                </a:cubicBezTo>
                <a:cubicBezTo>
                  <a:pt x="3190627" y="463684"/>
                  <a:pt x="3188805" y="463684"/>
                  <a:pt x="3186982" y="463684"/>
                </a:cubicBezTo>
                <a:close/>
                <a:moveTo>
                  <a:pt x="1211747" y="463684"/>
                </a:moveTo>
                <a:cubicBezTo>
                  <a:pt x="1211747" y="463684"/>
                  <a:pt x="1212202" y="464595"/>
                  <a:pt x="1212202" y="465278"/>
                </a:cubicBezTo>
                <a:lnTo>
                  <a:pt x="1212146" y="465284"/>
                </a:lnTo>
                <a:close/>
                <a:moveTo>
                  <a:pt x="1160725" y="463684"/>
                </a:moveTo>
                <a:cubicBezTo>
                  <a:pt x="1160725" y="465506"/>
                  <a:pt x="1164370" y="467328"/>
                  <a:pt x="1162547" y="469150"/>
                </a:cubicBezTo>
                <a:cubicBezTo>
                  <a:pt x="1164370" y="469150"/>
                  <a:pt x="1164370" y="463684"/>
                  <a:pt x="1160725" y="463684"/>
                </a:cubicBezTo>
                <a:close/>
                <a:moveTo>
                  <a:pt x="3509507" y="461862"/>
                </a:moveTo>
                <a:cubicBezTo>
                  <a:pt x="3504041" y="461862"/>
                  <a:pt x="3507685" y="470972"/>
                  <a:pt x="3511330" y="467328"/>
                </a:cubicBezTo>
                <a:cubicBezTo>
                  <a:pt x="3511330" y="465506"/>
                  <a:pt x="3511330" y="463684"/>
                  <a:pt x="3509507" y="461862"/>
                </a:cubicBezTo>
                <a:close/>
                <a:moveTo>
                  <a:pt x="2374293" y="461862"/>
                </a:moveTo>
                <a:cubicBezTo>
                  <a:pt x="2372471" y="465506"/>
                  <a:pt x="2374293" y="467328"/>
                  <a:pt x="2372471" y="474618"/>
                </a:cubicBezTo>
                <a:cubicBezTo>
                  <a:pt x="2377937" y="472795"/>
                  <a:pt x="2374293" y="467328"/>
                  <a:pt x="2374293" y="461862"/>
                </a:cubicBezTo>
                <a:close/>
                <a:moveTo>
                  <a:pt x="1186236" y="460039"/>
                </a:moveTo>
                <a:cubicBezTo>
                  <a:pt x="1184414" y="463684"/>
                  <a:pt x="1188058" y="467328"/>
                  <a:pt x="1188058" y="469150"/>
                </a:cubicBezTo>
                <a:cubicBezTo>
                  <a:pt x="1191703" y="469150"/>
                  <a:pt x="1186236" y="461862"/>
                  <a:pt x="1186236" y="460039"/>
                </a:cubicBezTo>
                <a:close/>
                <a:moveTo>
                  <a:pt x="1263453" y="460036"/>
                </a:moveTo>
                <a:lnTo>
                  <a:pt x="1263451" y="460043"/>
                </a:lnTo>
                <a:lnTo>
                  <a:pt x="1263450" y="460040"/>
                </a:lnTo>
                <a:close/>
                <a:moveTo>
                  <a:pt x="2099145" y="458218"/>
                </a:moveTo>
                <a:lnTo>
                  <a:pt x="2095500" y="461862"/>
                </a:lnTo>
                <a:cubicBezTo>
                  <a:pt x="2097323" y="465506"/>
                  <a:pt x="2100967" y="467328"/>
                  <a:pt x="2104611" y="469150"/>
                </a:cubicBezTo>
                <a:cubicBezTo>
                  <a:pt x="2104611" y="465506"/>
                  <a:pt x="2102790" y="461862"/>
                  <a:pt x="2099145" y="458218"/>
                </a:cubicBezTo>
                <a:close/>
                <a:moveTo>
                  <a:pt x="2560155" y="456395"/>
                </a:moveTo>
                <a:cubicBezTo>
                  <a:pt x="2563799" y="460039"/>
                  <a:pt x="2561977" y="467328"/>
                  <a:pt x="2558332" y="472795"/>
                </a:cubicBezTo>
                <a:cubicBezTo>
                  <a:pt x="2560155" y="476439"/>
                  <a:pt x="2561977" y="469150"/>
                  <a:pt x="2565621" y="470972"/>
                </a:cubicBezTo>
                <a:cubicBezTo>
                  <a:pt x="2567443" y="461862"/>
                  <a:pt x="2565621" y="458218"/>
                  <a:pt x="2560155" y="456395"/>
                </a:cubicBezTo>
                <a:close/>
                <a:moveTo>
                  <a:pt x="3239826" y="454574"/>
                </a:moveTo>
                <a:cubicBezTo>
                  <a:pt x="3234359" y="456395"/>
                  <a:pt x="3241648" y="463684"/>
                  <a:pt x="3241648" y="469150"/>
                </a:cubicBezTo>
                <a:cubicBezTo>
                  <a:pt x="3245292" y="467328"/>
                  <a:pt x="3247114" y="463684"/>
                  <a:pt x="3245292" y="458218"/>
                </a:cubicBezTo>
                <a:cubicBezTo>
                  <a:pt x="3243470" y="456395"/>
                  <a:pt x="3239826" y="458218"/>
                  <a:pt x="3239826" y="454574"/>
                </a:cubicBezTo>
                <a:close/>
                <a:moveTo>
                  <a:pt x="2383404" y="454574"/>
                </a:moveTo>
                <a:cubicBezTo>
                  <a:pt x="2383404" y="458218"/>
                  <a:pt x="2377937" y="460039"/>
                  <a:pt x="2379760" y="463684"/>
                </a:cubicBezTo>
                <a:cubicBezTo>
                  <a:pt x="2379760" y="463684"/>
                  <a:pt x="2383404" y="463684"/>
                  <a:pt x="2383404" y="463684"/>
                </a:cubicBezTo>
                <a:cubicBezTo>
                  <a:pt x="2383404" y="458218"/>
                  <a:pt x="2383404" y="460039"/>
                  <a:pt x="2383404" y="454574"/>
                </a:cubicBezTo>
                <a:close/>
                <a:moveTo>
                  <a:pt x="2121011" y="454574"/>
                </a:moveTo>
                <a:cubicBezTo>
                  <a:pt x="2122833" y="460039"/>
                  <a:pt x="2126477" y="463684"/>
                  <a:pt x="2126477" y="470972"/>
                </a:cubicBezTo>
                <a:cubicBezTo>
                  <a:pt x="2130122" y="465506"/>
                  <a:pt x="2124655" y="456395"/>
                  <a:pt x="2121011" y="454574"/>
                </a:cubicBezTo>
                <a:close/>
                <a:moveTo>
                  <a:pt x="2040835" y="454574"/>
                </a:moveTo>
                <a:cubicBezTo>
                  <a:pt x="2037191" y="465506"/>
                  <a:pt x="2037191" y="474618"/>
                  <a:pt x="2048124" y="480083"/>
                </a:cubicBezTo>
                <a:cubicBezTo>
                  <a:pt x="2046302" y="474618"/>
                  <a:pt x="2046302" y="460039"/>
                  <a:pt x="2040835" y="454574"/>
                </a:cubicBezTo>
                <a:close/>
                <a:moveTo>
                  <a:pt x="2203009" y="452751"/>
                </a:moveTo>
                <a:cubicBezTo>
                  <a:pt x="2195720" y="456395"/>
                  <a:pt x="2193898" y="461862"/>
                  <a:pt x="2188431" y="467328"/>
                </a:cubicBezTo>
                <a:cubicBezTo>
                  <a:pt x="2184787" y="471884"/>
                  <a:pt x="2181598" y="478261"/>
                  <a:pt x="2181143" y="483955"/>
                </a:cubicBezTo>
                <a:lnTo>
                  <a:pt x="2183451" y="487130"/>
                </a:lnTo>
                <a:lnTo>
                  <a:pt x="2182965" y="487373"/>
                </a:lnTo>
                <a:lnTo>
                  <a:pt x="2183867" y="487701"/>
                </a:lnTo>
                <a:lnTo>
                  <a:pt x="2190253" y="496483"/>
                </a:lnTo>
                <a:cubicBezTo>
                  <a:pt x="2191165" y="491017"/>
                  <a:pt x="2189798" y="489650"/>
                  <a:pt x="2187976" y="489195"/>
                </a:cubicBezTo>
                <a:lnTo>
                  <a:pt x="2183867" y="487701"/>
                </a:lnTo>
                <a:lnTo>
                  <a:pt x="2183451" y="487130"/>
                </a:lnTo>
                <a:lnTo>
                  <a:pt x="2186609" y="485550"/>
                </a:lnTo>
                <a:cubicBezTo>
                  <a:pt x="2188431" y="481906"/>
                  <a:pt x="2186609" y="481906"/>
                  <a:pt x="2184787" y="480083"/>
                </a:cubicBezTo>
                <a:cubicBezTo>
                  <a:pt x="2190253" y="481906"/>
                  <a:pt x="2192076" y="483728"/>
                  <a:pt x="2197542" y="485550"/>
                </a:cubicBezTo>
                <a:cubicBezTo>
                  <a:pt x="2193898" y="487373"/>
                  <a:pt x="2192076" y="489194"/>
                  <a:pt x="2192076" y="492838"/>
                </a:cubicBezTo>
                <a:lnTo>
                  <a:pt x="2193901" y="494663"/>
                </a:lnTo>
                <a:lnTo>
                  <a:pt x="2193898" y="494662"/>
                </a:lnTo>
                <a:cubicBezTo>
                  <a:pt x="2188431" y="496483"/>
                  <a:pt x="2192076" y="501949"/>
                  <a:pt x="2195720" y="505594"/>
                </a:cubicBezTo>
                <a:cubicBezTo>
                  <a:pt x="2193898" y="505594"/>
                  <a:pt x="2192532" y="503772"/>
                  <a:pt x="2190937" y="502178"/>
                </a:cubicBezTo>
                <a:lnTo>
                  <a:pt x="2188957" y="501518"/>
                </a:lnTo>
                <a:lnTo>
                  <a:pt x="2188431" y="500127"/>
                </a:lnTo>
                <a:lnTo>
                  <a:pt x="2188151" y="501249"/>
                </a:lnTo>
                <a:lnTo>
                  <a:pt x="2184787" y="500127"/>
                </a:lnTo>
                <a:cubicBezTo>
                  <a:pt x="2182965" y="500127"/>
                  <a:pt x="2181143" y="505594"/>
                  <a:pt x="2186609" y="507417"/>
                </a:cubicBezTo>
                <a:lnTo>
                  <a:pt x="2188151" y="501249"/>
                </a:lnTo>
                <a:lnTo>
                  <a:pt x="2188957" y="501518"/>
                </a:lnTo>
                <a:lnTo>
                  <a:pt x="2191620" y="508555"/>
                </a:lnTo>
                <a:cubicBezTo>
                  <a:pt x="2192531" y="511060"/>
                  <a:pt x="2193898" y="512882"/>
                  <a:pt x="2197542" y="512882"/>
                </a:cubicBezTo>
                <a:cubicBezTo>
                  <a:pt x="2195720" y="511061"/>
                  <a:pt x="2195720" y="507417"/>
                  <a:pt x="2195720" y="505594"/>
                </a:cubicBezTo>
                <a:cubicBezTo>
                  <a:pt x="2197542" y="507417"/>
                  <a:pt x="2199364" y="507417"/>
                  <a:pt x="2199364" y="507417"/>
                </a:cubicBezTo>
                <a:cubicBezTo>
                  <a:pt x="2210297" y="501949"/>
                  <a:pt x="2221230" y="500127"/>
                  <a:pt x="2233986" y="492838"/>
                </a:cubicBezTo>
                <a:cubicBezTo>
                  <a:pt x="2235808" y="492838"/>
                  <a:pt x="2228519" y="487373"/>
                  <a:pt x="2232163" y="485550"/>
                </a:cubicBezTo>
                <a:cubicBezTo>
                  <a:pt x="2237630" y="483728"/>
                  <a:pt x="2235808" y="491017"/>
                  <a:pt x="2239452" y="491017"/>
                </a:cubicBezTo>
                <a:cubicBezTo>
                  <a:pt x="2237630" y="483728"/>
                  <a:pt x="2239452" y="476439"/>
                  <a:pt x="2235808" y="470972"/>
                </a:cubicBezTo>
                <a:cubicBezTo>
                  <a:pt x="2233986" y="469150"/>
                  <a:pt x="2232163" y="476439"/>
                  <a:pt x="2232163" y="474618"/>
                </a:cubicBezTo>
                <a:cubicBezTo>
                  <a:pt x="2226697" y="467328"/>
                  <a:pt x="2237630" y="460039"/>
                  <a:pt x="2224875" y="460039"/>
                </a:cubicBezTo>
                <a:cubicBezTo>
                  <a:pt x="2226697" y="461862"/>
                  <a:pt x="2228519" y="465506"/>
                  <a:pt x="2226697" y="467328"/>
                </a:cubicBezTo>
                <a:cubicBezTo>
                  <a:pt x="2223053" y="458218"/>
                  <a:pt x="2215764" y="447284"/>
                  <a:pt x="2206653" y="452751"/>
                </a:cubicBezTo>
                <a:cubicBezTo>
                  <a:pt x="2206653" y="452751"/>
                  <a:pt x="2206653" y="456395"/>
                  <a:pt x="2204831" y="458218"/>
                </a:cubicBezTo>
                <a:cubicBezTo>
                  <a:pt x="2201187" y="460039"/>
                  <a:pt x="2203009" y="454574"/>
                  <a:pt x="2203009" y="452751"/>
                </a:cubicBezTo>
                <a:close/>
                <a:moveTo>
                  <a:pt x="495632" y="452751"/>
                </a:moveTo>
                <a:cubicBezTo>
                  <a:pt x="499276" y="460039"/>
                  <a:pt x="502920" y="463684"/>
                  <a:pt x="506565" y="472795"/>
                </a:cubicBezTo>
                <a:cubicBezTo>
                  <a:pt x="502920" y="474618"/>
                  <a:pt x="504743" y="467328"/>
                  <a:pt x="501098" y="469150"/>
                </a:cubicBezTo>
                <a:lnTo>
                  <a:pt x="501520" y="469958"/>
                </a:lnTo>
                <a:lnTo>
                  <a:pt x="500985" y="469222"/>
                </a:lnTo>
                <a:close/>
                <a:moveTo>
                  <a:pt x="3606747" y="451012"/>
                </a:moveTo>
                <a:lnTo>
                  <a:pt x="3607905" y="458218"/>
                </a:lnTo>
                <a:lnTo>
                  <a:pt x="3606315" y="459755"/>
                </a:lnTo>
                <a:lnTo>
                  <a:pt x="3605400" y="454345"/>
                </a:lnTo>
                <a:close/>
                <a:moveTo>
                  <a:pt x="3010033" y="450616"/>
                </a:moveTo>
                <a:cubicBezTo>
                  <a:pt x="3007613" y="450702"/>
                  <a:pt x="3005221" y="451841"/>
                  <a:pt x="3002943" y="454574"/>
                </a:cubicBezTo>
                <a:cubicBezTo>
                  <a:pt x="2993832" y="465506"/>
                  <a:pt x="2990188" y="480083"/>
                  <a:pt x="3010232" y="489194"/>
                </a:cubicBezTo>
                <a:cubicBezTo>
                  <a:pt x="3006587" y="483728"/>
                  <a:pt x="3015698" y="481906"/>
                  <a:pt x="3013876" y="474618"/>
                </a:cubicBezTo>
                <a:cubicBezTo>
                  <a:pt x="3019343" y="472795"/>
                  <a:pt x="3022987" y="481906"/>
                  <a:pt x="3028453" y="480083"/>
                </a:cubicBezTo>
                <a:cubicBezTo>
                  <a:pt x="3030276" y="478262"/>
                  <a:pt x="3024809" y="474618"/>
                  <a:pt x="3028453" y="474618"/>
                </a:cubicBezTo>
                <a:cubicBezTo>
                  <a:pt x="3030276" y="474618"/>
                  <a:pt x="3032098" y="480083"/>
                  <a:pt x="3030276" y="481906"/>
                </a:cubicBezTo>
                <a:cubicBezTo>
                  <a:pt x="3021165" y="487373"/>
                  <a:pt x="3017521" y="498306"/>
                  <a:pt x="3028453" y="501949"/>
                </a:cubicBezTo>
                <a:cubicBezTo>
                  <a:pt x="3022987" y="500127"/>
                  <a:pt x="3017521" y="500127"/>
                  <a:pt x="3012054" y="500127"/>
                </a:cubicBezTo>
                <a:cubicBezTo>
                  <a:pt x="3015698" y="516527"/>
                  <a:pt x="3006587" y="527461"/>
                  <a:pt x="2995654" y="536571"/>
                </a:cubicBezTo>
                <a:cubicBezTo>
                  <a:pt x="3002943" y="542037"/>
                  <a:pt x="3013876" y="542037"/>
                  <a:pt x="3021165" y="538393"/>
                </a:cubicBezTo>
                <a:cubicBezTo>
                  <a:pt x="3022987" y="536571"/>
                  <a:pt x="3022987" y="532926"/>
                  <a:pt x="3021165" y="531105"/>
                </a:cubicBezTo>
                <a:lnTo>
                  <a:pt x="3027448" y="532675"/>
                </a:lnTo>
                <a:lnTo>
                  <a:pt x="3029593" y="536799"/>
                </a:lnTo>
                <a:lnTo>
                  <a:pt x="3030237" y="537037"/>
                </a:lnTo>
                <a:lnTo>
                  <a:pt x="3024809" y="538393"/>
                </a:lnTo>
                <a:cubicBezTo>
                  <a:pt x="3021165" y="542037"/>
                  <a:pt x="3017521" y="543860"/>
                  <a:pt x="3017521" y="549326"/>
                </a:cubicBezTo>
                <a:cubicBezTo>
                  <a:pt x="3017521" y="554792"/>
                  <a:pt x="3017521" y="563904"/>
                  <a:pt x="3019343" y="565725"/>
                </a:cubicBezTo>
                <a:cubicBezTo>
                  <a:pt x="3032098" y="578481"/>
                  <a:pt x="3053964" y="587591"/>
                  <a:pt x="3064897" y="567548"/>
                </a:cubicBezTo>
                <a:cubicBezTo>
                  <a:pt x="3068541" y="569370"/>
                  <a:pt x="3072186" y="573014"/>
                  <a:pt x="3066719" y="578481"/>
                </a:cubicBezTo>
                <a:cubicBezTo>
                  <a:pt x="3070363" y="578481"/>
                  <a:pt x="3072186" y="576658"/>
                  <a:pt x="3074008" y="573014"/>
                </a:cubicBezTo>
                <a:cubicBezTo>
                  <a:pt x="3075830" y="574836"/>
                  <a:pt x="3075830" y="578481"/>
                  <a:pt x="3077652" y="580303"/>
                </a:cubicBezTo>
                <a:cubicBezTo>
                  <a:pt x="3079474" y="582125"/>
                  <a:pt x="3079474" y="576658"/>
                  <a:pt x="3081297" y="576658"/>
                </a:cubicBezTo>
                <a:cubicBezTo>
                  <a:pt x="3084941" y="576658"/>
                  <a:pt x="3081297" y="582125"/>
                  <a:pt x="3083119" y="583947"/>
                </a:cubicBezTo>
                <a:cubicBezTo>
                  <a:pt x="3084941" y="580303"/>
                  <a:pt x="3090407" y="578481"/>
                  <a:pt x="3092230" y="582125"/>
                </a:cubicBezTo>
                <a:cubicBezTo>
                  <a:pt x="3094052" y="585769"/>
                  <a:pt x="3095874" y="589414"/>
                  <a:pt x="3097696" y="591236"/>
                </a:cubicBezTo>
                <a:cubicBezTo>
                  <a:pt x="3099518" y="591236"/>
                  <a:pt x="3099518" y="591236"/>
                  <a:pt x="3101340" y="591236"/>
                </a:cubicBezTo>
                <a:cubicBezTo>
                  <a:pt x="3099518" y="587591"/>
                  <a:pt x="3099518" y="582125"/>
                  <a:pt x="3094052" y="580303"/>
                </a:cubicBezTo>
                <a:cubicBezTo>
                  <a:pt x="3104985" y="582125"/>
                  <a:pt x="3108629" y="593058"/>
                  <a:pt x="3106807" y="600347"/>
                </a:cubicBezTo>
                <a:cubicBezTo>
                  <a:pt x="3106807" y="600347"/>
                  <a:pt x="3099518" y="596702"/>
                  <a:pt x="3099518" y="598524"/>
                </a:cubicBezTo>
                <a:cubicBezTo>
                  <a:pt x="3097696" y="603991"/>
                  <a:pt x="3108629" y="602169"/>
                  <a:pt x="3108629" y="609459"/>
                </a:cubicBezTo>
                <a:cubicBezTo>
                  <a:pt x="3106807" y="609459"/>
                  <a:pt x="3106807" y="607635"/>
                  <a:pt x="3106807" y="607635"/>
                </a:cubicBezTo>
                <a:cubicBezTo>
                  <a:pt x="3101340" y="613103"/>
                  <a:pt x="3090407" y="613103"/>
                  <a:pt x="3088585" y="622213"/>
                </a:cubicBezTo>
                <a:cubicBezTo>
                  <a:pt x="3086763" y="618568"/>
                  <a:pt x="3088585" y="613103"/>
                  <a:pt x="3090407" y="609459"/>
                </a:cubicBezTo>
                <a:cubicBezTo>
                  <a:pt x="3092230" y="609459"/>
                  <a:pt x="3092230" y="611280"/>
                  <a:pt x="3094052" y="611280"/>
                </a:cubicBezTo>
                <a:cubicBezTo>
                  <a:pt x="3095874" y="607635"/>
                  <a:pt x="3090407" y="605813"/>
                  <a:pt x="3092230" y="603991"/>
                </a:cubicBezTo>
                <a:cubicBezTo>
                  <a:pt x="3086763" y="603991"/>
                  <a:pt x="3081297" y="605813"/>
                  <a:pt x="3079474" y="609459"/>
                </a:cubicBezTo>
                <a:cubicBezTo>
                  <a:pt x="3077652" y="613103"/>
                  <a:pt x="3077652" y="616746"/>
                  <a:pt x="3079474" y="620391"/>
                </a:cubicBezTo>
                <a:cubicBezTo>
                  <a:pt x="3084941" y="629501"/>
                  <a:pt x="3099518" y="636790"/>
                  <a:pt x="3106807" y="627679"/>
                </a:cubicBezTo>
                <a:cubicBezTo>
                  <a:pt x="3106807" y="627679"/>
                  <a:pt x="3103163" y="620391"/>
                  <a:pt x="3104985" y="616746"/>
                </a:cubicBezTo>
                <a:cubicBezTo>
                  <a:pt x="3106807" y="614924"/>
                  <a:pt x="3106807" y="622213"/>
                  <a:pt x="3108629" y="622213"/>
                </a:cubicBezTo>
                <a:cubicBezTo>
                  <a:pt x="3110451" y="622213"/>
                  <a:pt x="3110451" y="620391"/>
                  <a:pt x="3110451" y="618568"/>
                </a:cubicBezTo>
                <a:cubicBezTo>
                  <a:pt x="3115918" y="613103"/>
                  <a:pt x="3115918" y="624035"/>
                  <a:pt x="3117740" y="622213"/>
                </a:cubicBezTo>
                <a:cubicBezTo>
                  <a:pt x="3117740" y="620391"/>
                  <a:pt x="3112274" y="613103"/>
                  <a:pt x="3119562" y="613103"/>
                </a:cubicBezTo>
                <a:cubicBezTo>
                  <a:pt x="3121384" y="613103"/>
                  <a:pt x="3121384" y="618568"/>
                  <a:pt x="3121384" y="620391"/>
                </a:cubicBezTo>
                <a:cubicBezTo>
                  <a:pt x="3132317" y="620391"/>
                  <a:pt x="3125029" y="609459"/>
                  <a:pt x="3123206" y="605813"/>
                </a:cubicBezTo>
                <a:cubicBezTo>
                  <a:pt x="3121384" y="605813"/>
                  <a:pt x="3119562" y="607635"/>
                  <a:pt x="3119562" y="609459"/>
                </a:cubicBezTo>
                <a:cubicBezTo>
                  <a:pt x="3117740" y="582125"/>
                  <a:pt x="3090407" y="567548"/>
                  <a:pt x="3079474" y="543860"/>
                </a:cubicBezTo>
                <a:cubicBezTo>
                  <a:pt x="3081297" y="543860"/>
                  <a:pt x="3081297" y="543860"/>
                  <a:pt x="3083119" y="545681"/>
                </a:cubicBezTo>
                <a:cubicBezTo>
                  <a:pt x="3088585" y="529282"/>
                  <a:pt x="3083119" y="509238"/>
                  <a:pt x="3066719" y="501949"/>
                </a:cubicBezTo>
                <a:cubicBezTo>
                  <a:pt x="3064897" y="501949"/>
                  <a:pt x="3064897" y="505594"/>
                  <a:pt x="3064897" y="507417"/>
                </a:cubicBezTo>
                <a:cubicBezTo>
                  <a:pt x="3063075" y="501950"/>
                  <a:pt x="3062164" y="494661"/>
                  <a:pt x="3059886" y="488967"/>
                </a:cubicBezTo>
                <a:lnTo>
                  <a:pt x="3058114" y="487775"/>
                </a:lnTo>
                <a:lnTo>
                  <a:pt x="3057608" y="483728"/>
                </a:lnTo>
                <a:lnTo>
                  <a:pt x="3057316" y="487238"/>
                </a:lnTo>
                <a:lnTo>
                  <a:pt x="3046675" y="480083"/>
                </a:lnTo>
                <a:lnTo>
                  <a:pt x="3052142" y="480083"/>
                </a:lnTo>
                <a:cubicBezTo>
                  <a:pt x="3057608" y="469150"/>
                  <a:pt x="3044853" y="469150"/>
                  <a:pt x="3037564" y="467328"/>
                </a:cubicBezTo>
                <a:cubicBezTo>
                  <a:pt x="3039387" y="474618"/>
                  <a:pt x="3028453" y="469150"/>
                  <a:pt x="3030276" y="476439"/>
                </a:cubicBezTo>
                <a:cubicBezTo>
                  <a:pt x="3026631" y="470972"/>
                  <a:pt x="3032098" y="467328"/>
                  <a:pt x="3030276" y="463684"/>
                </a:cubicBezTo>
                <a:cubicBezTo>
                  <a:pt x="3026632" y="460951"/>
                  <a:pt x="3022076" y="455940"/>
                  <a:pt x="3017293" y="452979"/>
                </a:cubicBezTo>
                <a:cubicBezTo>
                  <a:pt x="3014902" y="451499"/>
                  <a:pt x="3012453" y="450531"/>
                  <a:pt x="3010033" y="450616"/>
                </a:cubicBezTo>
                <a:close/>
                <a:moveTo>
                  <a:pt x="2283184" y="449107"/>
                </a:moveTo>
                <a:cubicBezTo>
                  <a:pt x="2277718" y="450928"/>
                  <a:pt x="2283184" y="461862"/>
                  <a:pt x="2286829" y="458218"/>
                </a:cubicBezTo>
                <a:cubicBezTo>
                  <a:pt x="2285007" y="452751"/>
                  <a:pt x="2286829" y="458218"/>
                  <a:pt x="2288651" y="452751"/>
                </a:cubicBezTo>
                <a:cubicBezTo>
                  <a:pt x="2290473" y="447284"/>
                  <a:pt x="2283184" y="452751"/>
                  <a:pt x="2283184" y="449107"/>
                </a:cubicBezTo>
                <a:close/>
                <a:moveTo>
                  <a:pt x="3256225" y="447284"/>
                </a:moveTo>
                <a:cubicBezTo>
                  <a:pt x="3254403" y="452751"/>
                  <a:pt x="3250759" y="456395"/>
                  <a:pt x="3254403" y="467328"/>
                </a:cubicBezTo>
                <a:cubicBezTo>
                  <a:pt x="3256225" y="460039"/>
                  <a:pt x="3258047" y="458218"/>
                  <a:pt x="3256225" y="447284"/>
                </a:cubicBezTo>
                <a:close/>
                <a:moveTo>
                  <a:pt x="3232537" y="447284"/>
                </a:moveTo>
                <a:cubicBezTo>
                  <a:pt x="3230715" y="449107"/>
                  <a:pt x="3232537" y="456395"/>
                  <a:pt x="3236181" y="452751"/>
                </a:cubicBezTo>
                <a:cubicBezTo>
                  <a:pt x="3236181" y="449107"/>
                  <a:pt x="3234359" y="449107"/>
                  <a:pt x="3232537" y="447284"/>
                </a:cubicBezTo>
                <a:close/>
                <a:moveTo>
                  <a:pt x="3079474" y="447284"/>
                </a:moveTo>
                <a:cubicBezTo>
                  <a:pt x="3075830" y="447284"/>
                  <a:pt x="3077652" y="456395"/>
                  <a:pt x="3081297" y="456395"/>
                </a:cubicBezTo>
                <a:cubicBezTo>
                  <a:pt x="3081297" y="452751"/>
                  <a:pt x="3081297" y="449107"/>
                  <a:pt x="3079474" y="447284"/>
                </a:cubicBezTo>
                <a:close/>
                <a:moveTo>
                  <a:pt x="3053964" y="447284"/>
                </a:moveTo>
                <a:cubicBezTo>
                  <a:pt x="3055786" y="452751"/>
                  <a:pt x="3052142" y="450928"/>
                  <a:pt x="3052142" y="456395"/>
                </a:cubicBezTo>
                <a:cubicBezTo>
                  <a:pt x="3055786" y="452751"/>
                  <a:pt x="3055786" y="454574"/>
                  <a:pt x="3063075" y="456395"/>
                </a:cubicBezTo>
                <a:cubicBezTo>
                  <a:pt x="3061253" y="452751"/>
                  <a:pt x="3059430" y="449107"/>
                  <a:pt x="3053964" y="447284"/>
                </a:cubicBezTo>
                <a:close/>
                <a:moveTo>
                  <a:pt x="1075083" y="446744"/>
                </a:moveTo>
                <a:lnTo>
                  <a:pt x="1075083" y="450928"/>
                </a:lnTo>
                <a:lnTo>
                  <a:pt x="1074368" y="449498"/>
                </a:lnTo>
                <a:close/>
                <a:moveTo>
                  <a:pt x="3415723" y="446601"/>
                </a:moveTo>
                <a:cubicBezTo>
                  <a:pt x="3414413" y="446260"/>
                  <a:pt x="3412933" y="446829"/>
                  <a:pt x="3411110" y="449107"/>
                </a:cubicBezTo>
                <a:cubicBezTo>
                  <a:pt x="3411110" y="452751"/>
                  <a:pt x="3411110" y="456395"/>
                  <a:pt x="3412932" y="460039"/>
                </a:cubicBezTo>
                <a:cubicBezTo>
                  <a:pt x="3414754" y="452751"/>
                  <a:pt x="3422043" y="458218"/>
                  <a:pt x="3425687" y="458218"/>
                </a:cubicBezTo>
                <a:cubicBezTo>
                  <a:pt x="3420221" y="461862"/>
                  <a:pt x="3416577" y="476439"/>
                  <a:pt x="3409288" y="469150"/>
                </a:cubicBezTo>
                <a:cubicBezTo>
                  <a:pt x="3409288" y="467328"/>
                  <a:pt x="3401999" y="463684"/>
                  <a:pt x="3407466" y="461862"/>
                </a:cubicBezTo>
                <a:cubicBezTo>
                  <a:pt x="3409288" y="461862"/>
                  <a:pt x="3409288" y="463684"/>
                  <a:pt x="3411110" y="465506"/>
                </a:cubicBezTo>
                <a:cubicBezTo>
                  <a:pt x="3412932" y="458218"/>
                  <a:pt x="3403821" y="456395"/>
                  <a:pt x="3400177" y="454574"/>
                </a:cubicBezTo>
                <a:cubicBezTo>
                  <a:pt x="3400177" y="460039"/>
                  <a:pt x="3405643" y="463684"/>
                  <a:pt x="3407466" y="470972"/>
                </a:cubicBezTo>
                <a:cubicBezTo>
                  <a:pt x="3398355" y="470972"/>
                  <a:pt x="3389244" y="454574"/>
                  <a:pt x="3383777" y="463684"/>
                </a:cubicBezTo>
                <a:cubicBezTo>
                  <a:pt x="3380133" y="470972"/>
                  <a:pt x="3392888" y="478262"/>
                  <a:pt x="3383777" y="481906"/>
                </a:cubicBezTo>
                <a:cubicBezTo>
                  <a:pt x="3378311" y="483728"/>
                  <a:pt x="3369200" y="481906"/>
                  <a:pt x="3367378" y="485550"/>
                </a:cubicBezTo>
                <a:cubicBezTo>
                  <a:pt x="3361911" y="491017"/>
                  <a:pt x="3372844" y="496483"/>
                  <a:pt x="3378311" y="496483"/>
                </a:cubicBezTo>
                <a:cubicBezTo>
                  <a:pt x="3381955" y="496483"/>
                  <a:pt x="3385600" y="494662"/>
                  <a:pt x="3389244" y="492838"/>
                </a:cubicBezTo>
                <a:cubicBezTo>
                  <a:pt x="3391066" y="492838"/>
                  <a:pt x="3391066" y="496483"/>
                  <a:pt x="3389244" y="498306"/>
                </a:cubicBezTo>
                <a:cubicBezTo>
                  <a:pt x="3409288" y="496483"/>
                  <a:pt x="3422043" y="481906"/>
                  <a:pt x="3436621" y="470972"/>
                </a:cubicBezTo>
                <a:cubicBezTo>
                  <a:pt x="3429332" y="480083"/>
                  <a:pt x="3422043" y="491017"/>
                  <a:pt x="3411110" y="492838"/>
                </a:cubicBezTo>
                <a:cubicBezTo>
                  <a:pt x="3411110" y="494662"/>
                  <a:pt x="3409288" y="496483"/>
                  <a:pt x="3409288" y="498306"/>
                </a:cubicBezTo>
                <a:cubicBezTo>
                  <a:pt x="3409288" y="500127"/>
                  <a:pt x="3414754" y="501949"/>
                  <a:pt x="3416577" y="501949"/>
                </a:cubicBezTo>
                <a:cubicBezTo>
                  <a:pt x="3429332" y="501949"/>
                  <a:pt x="3429332" y="487373"/>
                  <a:pt x="3436621" y="500127"/>
                </a:cubicBezTo>
                <a:cubicBezTo>
                  <a:pt x="3438443" y="500127"/>
                  <a:pt x="3440265" y="498306"/>
                  <a:pt x="3442087" y="498306"/>
                </a:cubicBezTo>
                <a:cubicBezTo>
                  <a:pt x="3438443" y="514705"/>
                  <a:pt x="3451198" y="514705"/>
                  <a:pt x="3462131" y="512882"/>
                </a:cubicBezTo>
                <a:cubicBezTo>
                  <a:pt x="3465775" y="511061"/>
                  <a:pt x="3469419" y="511061"/>
                  <a:pt x="3473064" y="509238"/>
                </a:cubicBezTo>
                <a:cubicBezTo>
                  <a:pt x="3471242" y="512882"/>
                  <a:pt x="3471242" y="514705"/>
                  <a:pt x="3471242" y="516527"/>
                </a:cubicBezTo>
                <a:cubicBezTo>
                  <a:pt x="3465775" y="520171"/>
                  <a:pt x="3462131" y="520171"/>
                  <a:pt x="3463953" y="527461"/>
                </a:cubicBezTo>
                <a:cubicBezTo>
                  <a:pt x="3462131" y="523815"/>
                  <a:pt x="3458487" y="514705"/>
                  <a:pt x="3451198" y="516527"/>
                </a:cubicBezTo>
                <a:cubicBezTo>
                  <a:pt x="3456664" y="521993"/>
                  <a:pt x="3453020" y="534749"/>
                  <a:pt x="3463953" y="536571"/>
                </a:cubicBezTo>
                <a:cubicBezTo>
                  <a:pt x="3463953" y="536571"/>
                  <a:pt x="3465775" y="534749"/>
                  <a:pt x="3465775" y="532926"/>
                </a:cubicBezTo>
                <a:cubicBezTo>
                  <a:pt x="3473064" y="538393"/>
                  <a:pt x="3465775" y="542037"/>
                  <a:pt x="3467597" y="549326"/>
                </a:cubicBezTo>
                <a:cubicBezTo>
                  <a:pt x="3467597" y="551148"/>
                  <a:pt x="3471242" y="551148"/>
                  <a:pt x="3469419" y="554792"/>
                </a:cubicBezTo>
                <a:cubicBezTo>
                  <a:pt x="3480353" y="542037"/>
                  <a:pt x="3502219" y="529282"/>
                  <a:pt x="3496752" y="512882"/>
                </a:cubicBezTo>
                <a:cubicBezTo>
                  <a:pt x="3507685" y="503771"/>
                  <a:pt x="3514974" y="472795"/>
                  <a:pt x="3487641" y="480083"/>
                </a:cubicBezTo>
                <a:cubicBezTo>
                  <a:pt x="3491286" y="467328"/>
                  <a:pt x="3476708" y="463684"/>
                  <a:pt x="3463953" y="461862"/>
                </a:cubicBezTo>
                <a:cubicBezTo>
                  <a:pt x="3463953" y="461862"/>
                  <a:pt x="3462131" y="463684"/>
                  <a:pt x="3458487" y="463684"/>
                </a:cubicBezTo>
                <a:cubicBezTo>
                  <a:pt x="3460309" y="458218"/>
                  <a:pt x="3451198" y="452751"/>
                  <a:pt x="3447553" y="456395"/>
                </a:cubicBezTo>
                <a:cubicBezTo>
                  <a:pt x="3445731" y="456395"/>
                  <a:pt x="3447553" y="460039"/>
                  <a:pt x="3449376" y="461862"/>
                </a:cubicBezTo>
                <a:cubicBezTo>
                  <a:pt x="3442087" y="458218"/>
                  <a:pt x="3438443" y="450928"/>
                  <a:pt x="3440265" y="447284"/>
                </a:cubicBezTo>
                <a:cubicBezTo>
                  <a:pt x="3427510" y="449107"/>
                  <a:pt x="3431154" y="447284"/>
                  <a:pt x="3438443" y="450928"/>
                </a:cubicBezTo>
                <a:cubicBezTo>
                  <a:pt x="3434798" y="456395"/>
                  <a:pt x="3440265" y="461862"/>
                  <a:pt x="3438443" y="463684"/>
                </a:cubicBezTo>
                <a:cubicBezTo>
                  <a:pt x="3434798" y="467328"/>
                  <a:pt x="3429332" y="460039"/>
                  <a:pt x="3427510" y="452751"/>
                </a:cubicBezTo>
                <a:cubicBezTo>
                  <a:pt x="3422044" y="456851"/>
                  <a:pt x="3419652" y="447626"/>
                  <a:pt x="3415723" y="446601"/>
                </a:cubicBezTo>
                <a:close/>
                <a:moveTo>
                  <a:pt x="3039387" y="445463"/>
                </a:moveTo>
                <a:cubicBezTo>
                  <a:pt x="3033920" y="445463"/>
                  <a:pt x="3030276" y="447284"/>
                  <a:pt x="3030276" y="450928"/>
                </a:cubicBezTo>
                <a:cubicBezTo>
                  <a:pt x="3033920" y="450928"/>
                  <a:pt x="3035742" y="452751"/>
                  <a:pt x="3039387" y="452751"/>
                </a:cubicBezTo>
                <a:cubicBezTo>
                  <a:pt x="3039387" y="449107"/>
                  <a:pt x="3039387" y="447284"/>
                  <a:pt x="3039387" y="445463"/>
                </a:cubicBezTo>
                <a:close/>
                <a:moveTo>
                  <a:pt x="2658552" y="445463"/>
                </a:moveTo>
                <a:cubicBezTo>
                  <a:pt x="2653086" y="447284"/>
                  <a:pt x="2654908" y="461862"/>
                  <a:pt x="2662197" y="461862"/>
                </a:cubicBezTo>
                <a:cubicBezTo>
                  <a:pt x="2662197" y="456395"/>
                  <a:pt x="2662197" y="452751"/>
                  <a:pt x="2662197" y="449107"/>
                </a:cubicBezTo>
                <a:cubicBezTo>
                  <a:pt x="2660374" y="449107"/>
                  <a:pt x="2658552" y="447284"/>
                  <a:pt x="2658552" y="445463"/>
                </a:cubicBezTo>
                <a:close/>
                <a:moveTo>
                  <a:pt x="2354249" y="445463"/>
                </a:moveTo>
                <a:cubicBezTo>
                  <a:pt x="2350605" y="449107"/>
                  <a:pt x="2343316" y="452751"/>
                  <a:pt x="2345138" y="460039"/>
                </a:cubicBezTo>
                <a:cubicBezTo>
                  <a:pt x="2343316" y="460039"/>
                  <a:pt x="2343316" y="458218"/>
                  <a:pt x="2341494" y="458218"/>
                </a:cubicBezTo>
                <a:cubicBezTo>
                  <a:pt x="2343316" y="461862"/>
                  <a:pt x="2343316" y="467328"/>
                  <a:pt x="2345138" y="469150"/>
                </a:cubicBezTo>
                <a:cubicBezTo>
                  <a:pt x="2345138" y="469150"/>
                  <a:pt x="2346960" y="469150"/>
                  <a:pt x="2346960" y="467328"/>
                </a:cubicBezTo>
                <a:cubicBezTo>
                  <a:pt x="2346960" y="469150"/>
                  <a:pt x="2346960" y="472795"/>
                  <a:pt x="2346960" y="474618"/>
                </a:cubicBezTo>
                <a:cubicBezTo>
                  <a:pt x="2337850" y="472795"/>
                  <a:pt x="2334205" y="481906"/>
                  <a:pt x="2332383" y="489194"/>
                </a:cubicBezTo>
                <a:cubicBezTo>
                  <a:pt x="2330561" y="481906"/>
                  <a:pt x="2330561" y="476439"/>
                  <a:pt x="2330561" y="469150"/>
                </a:cubicBezTo>
                <a:cubicBezTo>
                  <a:pt x="2330561" y="476439"/>
                  <a:pt x="2330561" y="483728"/>
                  <a:pt x="2326916" y="491017"/>
                </a:cubicBezTo>
                <a:cubicBezTo>
                  <a:pt x="2321450" y="489194"/>
                  <a:pt x="2325094" y="467328"/>
                  <a:pt x="2317806" y="465506"/>
                </a:cubicBezTo>
                <a:cubicBezTo>
                  <a:pt x="2317806" y="467328"/>
                  <a:pt x="2319628" y="470972"/>
                  <a:pt x="2319628" y="474618"/>
                </a:cubicBezTo>
                <a:cubicBezTo>
                  <a:pt x="2312339" y="469150"/>
                  <a:pt x="2317806" y="461862"/>
                  <a:pt x="2315983" y="454574"/>
                </a:cubicBezTo>
                <a:cubicBezTo>
                  <a:pt x="2310517" y="461862"/>
                  <a:pt x="2301406" y="469150"/>
                  <a:pt x="2306873" y="480083"/>
                </a:cubicBezTo>
                <a:cubicBezTo>
                  <a:pt x="2303228" y="478262"/>
                  <a:pt x="2303228" y="474618"/>
                  <a:pt x="2303228" y="472795"/>
                </a:cubicBezTo>
                <a:cubicBezTo>
                  <a:pt x="2301406" y="474618"/>
                  <a:pt x="2297762" y="478262"/>
                  <a:pt x="2295940" y="481906"/>
                </a:cubicBezTo>
                <a:cubicBezTo>
                  <a:pt x="2285918" y="495572"/>
                  <a:pt x="2288196" y="505594"/>
                  <a:pt x="2295029" y="514705"/>
                </a:cubicBezTo>
                <a:lnTo>
                  <a:pt x="2307120" y="527213"/>
                </a:lnTo>
                <a:lnTo>
                  <a:pt x="2303228" y="531105"/>
                </a:lnTo>
                <a:cubicBezTo>
                  <a:pt x="2303228" y="521993"/>
                  <a:pt x="2295940" y="516527"/>
                  <a:pt x="2286829" y="518349"/>
                </a:cubicBezTo>
                <a:cubicBezTo>
                  <a:pt x="2283184" y="538393"/>
                  <a:pt x="2283184" y="560260"/>
                  <a:pt x="2292295" y="569370"/>
                </a:cubicBezTo>
                <a:cubicBezTo>
                  <a:pt x="2299584" y="573014"/>
                  <a:pt x="2292295" y="580303"/>
                  <a:pt x="2297762" y="574836"/>
                </a:cubicBezTo>
                <a:lnTo>
                  <a:pt x="2302909" y="567116"/>
                </a:lnTo>
                <a:lnTo>
                  <a:pt x="2303228" y="567548"/>
                </a:lnTo>
                <a:cubicBezTo>
                  <a:pt x="2305050" y="567548"/>
                  <a:pt x="2305050" y="563904"/>
                  <a:pt x="2305050" y="563904"/>
                </a:cubicBezTo>
                <a:lnTo>
                  <a:pt x="2302909" y="567116"/>
                </a:lnTo>
                <a:lnTo>
                  <a:pt x="2299356" y="562309"/>
                </a:lnTo>
                <a:cubicBezTo>
                  <a:pt x="2298217" y="560259"/>
                  <a:pt x="2296851" y="558437"/>
                  <a:pt x="2294117" y="558437"/>
                </a:cubicBezTo>
                <a:cubicBezTo>
                  <a:pt x="2295940" y="556616"/>
                  <a:pt x="2297762" y="551148"/>
                  <a:pt x="2299584" y="552970"/>
                </a:cubicBezTo>
                <a:cubicBezTo>
                  <a:pt x="2303228" y="558437"/>
                  <a:pt x="2303228" y="556616"/>
                  <a:pt x="2305050" y="562081"/>
                </a:cubicBezTo>
                <a:cubicBezTo>
                  <a:pt x="2308695" y="556616"/>
                  <a:pt x="2303228" y="552970"/>
                  <a:pt x="2306873" y="549326"/>
                </a:cubicBezTo>
                <a:cubicBezTo>
                  <a:pt x="2308695" y="551148"/>
                  <a:pt x="2306873" y="556616"/>
                  <a:pt x="2308695" y="552970"/>
                </a:cubicBezTo>
                <a:lnTo>
                  <a:pt x="2312629" y="541662"/>
                </a:lnTo>
                <a:lnTo>
                  <a:pt x="2313250" y="544771"/>
                </a:lnTo>
                <a:cubicBezTo>
                  <a:pt x="2313706" y="545682"/>
                  <a:pt x="2314161" y="546593"/>
                  <a:pt x="2314161" y="549326"/>
                </a:cubicBezTo>
                <a:cubicBezTo>
                  <a:pt x="2315983" y="549326"/>
                  <a:pt x="2315983" y="547504"/>
                  <a:pt x="2317806" y="547504"/>
                </a:cubicBezTo>
                <a:lnTo>
                  <a:pt x="2312881" y="540937"/>
                </a:lnTo>
                <a:lnTo>
                  <a:pt x="2314162" y="537254"/>
                </a:lnTo>
                <a:lnTo>
                  <a:pt x="2311633" y="531882"/>
                </a:lnTo>
                <a:lnTo>
                  <a:pt x="2321450" y="542037"/>
                </a:lnTo>
                <a:cubicBezTo>
                  <a:pt x="2321450" y="534749"/>
                  <a:pt x="2315983" y="536571"/>
                  <a:pt x="2319628" y="531105"/>
                </a:cubicBezTo>
                <a:cubicBezTo>
                  <a:pt x="2319628" y="531105"/>
                  <a:pt x="2319628" y="531105"/>
                  <a:pt x="2317806" y="529282"/>
                </a:cubicBezTo>
                <a:cubicBezTo>
                  <a:pt x="2317806" y="531105"/>
                  <a:pt x="2317806" y="531105"/>
                  <a:pt x="2315983" y="532926"/>
                </a:cubicBezTo>
                <a:cubicBezTo>
                  <a:pt x="2310517" y="523815"/>
                  <a:pt x="2319628" y="516527"/>
                  <a:pt x="2315983" y="509238"/>
                </a:cubicBezTo>
                <a:cubicBezTo>
                  <a:pt x="2317806" y="514705"/>
                  <a:pt x="2319628" y="520171"/>
                  <a:pt x="2325094" y="523815"/>
                </a:cubicBezTo>
                <a:cubicBezTo>
                  <a:pt x="2325094" y="520171"/>
                  <a:pt x="2325094" y="518349"/>
                  <a:pt x="2326916" y="516527"/>
                </a:cubicBezTo>
                <a:cubicBezTo>
                  <a:pt x="2330561" y="520171"/>
                  <a:pt x="2328739" y="523815"/>
                  <a:pt x="2328739" y="527461"/>
                </a:cubicBezTo>
                <a:cubicBezTo>
                  <a:pt x="2328739" y="525638"/>
                  <a:pt x="2330561" y="525638"/>
                  <a:pt x="2330561" y="523815"/>
                </a:cubicBezTo>
                <a:cubicBezTo>
                  <a:pt x="2339672" y="527461"/>
                  <a:pt x="2339672" y="520171"/>
                  <a:pt x="2341494" y="512882"/>
                </a:cubicBezTo>
                <a:cubicBezTo>
                  <a:pt x="2343316" y="516527"/>
                  <a:pt x="2346960" y="518349"/>
                  <a:pt x="2348782" y="520171"/>
                </a:cubicBezTo>
                <a:cubicBezTo>
                  <a:pt x="2350605" y="511061"/>
                  <a:pt x="2350605" y="503771"/>
                  <a:pt x="2352427" y="496483"/>
                </a:cubicBezTo>
                <a:cubicBezTo>
                  <a:pt x="2352427" y="500127"/>
                  <a:pt x="2352427" y="505594"/>
                  <a:pt x="2354249" y="507417"/>
                </a:cubicBezTo>
                <a:cubicBezTo>
                  <a:pt x="2359716" y="496483"/>
                  <a:pt x="2377937" y="474618"/>
                  <a:pt x="2361538" y="472795"/>
                </a:cubicBezTo>
                <a:cubicBezTo>
                  <a:pt x="2357893" y="470972"/>
                  <a:pt x="2361538" y="481906"/>
                  <a:pt x="2363360" y="487373"/>
                </a:cubicBezTo>
                <a:cubicBezTo>
                  <a:pt x="2354249" y="483728"/>
                  <a:pt x="2352427" y="470972"/>
                  <a:pt x="2352427" y="461862"/>
                </a:cubicBezTo>
                <a:cubicBezTo>
                  <a:pt x="2352427" y="461862"/>
                  <a:pt x="2352427" y="461862"/>
                  <a:pt x="2354249" y="463684"/>
                </a:cubicBezTo>
                <a:cubicBezTo>
                  <a:pt x="2350605" y="456395"/>
                  <a:pt x="2356071" y="452751"/>
                  <a:pt x="2354249" y="445463"/>
                </a:cubicBezTo>
                <a:close/>
                <a:moveTo>
                  <a:pt x="2294117" y="445463"/>
                </a:moveTo>
                <a:cubicBezTo>
                  <a:pt x="2290473" y="445463"/>
                  <a:pt x="2292295" y="452751"/>
                  <a:pt x="2292295" y="456395"/>
                </a:cubicBezTo>
                <a:cubicBezTo>
                  <a:pt x="2294117" y="454574"/>
                  <a:pt x="2294117" y="449107"/>
                  <a:pt x="2294117" y="445463"/>
                </a:cubicBezTo>
                <a:close/>
                <a:moveTo>
                  <a:pt x="1290100" y="445463"/>
                </a:moveTo>
                <a:cubicBezTo>
                  <a:pt x="1291922" y="450928"/>
                  <a:pt x="1284633" y="454574"/>
                  <a:pt x="1290100" y="460039"/>
                </a:cubicBezTo>
                <a:cubicBezTo>
                  <a:pt x="1291922" y="461862"/>
                  <a:pt x="1295566" y="456395"/>
                  <a:pt x="1299210" y="456395"/>
                </a:cubicBezTo>
                <a:cubicBezTo>
                  <a:pt x="1297388" y="461862"/>
                  <a:pt x="1290100" y="461862"/>
                  <a:pt x="1286455" y="463684"/>
                </a:cubicBezTo>
                <a:lnTo>
                  <a:pt x="1283118" y="468186"/>
                </a:lnTo>
                <a:lnTo>
                  <a:pt x="1287167" y="459157"/>
                </a:lnTo>
                <a:cubicBezTo>
                  <a:pt x="1287936" y="455712"/>
                  <a:pt x="1287822" y="452295"/>
                  <a:pt x="1286455" y="449107"/>
                </a:cubicBezTo>
                <a:cubicBezTo>
                  <a:pt x="1288277" y="449107"/>
                  <a:pt x="1290100" y="447284"/>
                  <a:pt x="1290100" y="445463"/>
                </a:cubicBezTo>
                <a:close/>
                <a:moveTo>
                  <a:pt x="2325003" y="444583"/>
                </a:moveTo>
                <a:lnTo>
                  <a:pt x="2326916" y="447284"/>
                </a:lnTo>
                <a:lnTo>
                  <a:pt x="2323914" y="448576"/>
                </a:lnTo>
                <a:close/>
                <a:moveTo>
                  <a:pt x="3349156" y="443640"/>
                </a:moveTo>
                <a:cubicBezTo>
                  <a:pt x="3336401" y="445463"/>
                  <a:pt x="3314535" y="445463"/>
                  <a:pt x="3329112" y="467328"/>
                </a:cubicBezTo>
                <a:cubicBezTo>
                  <a:pt x="3330934" y="469150"/>
                  <a:pt x="3328656" y="470061"/>
                  <a:pt x="3325240" y="470745"/>
                </a:cubicBezTo>
                <a:lnTo>
                  <a:pt x="3323099" y="471155"/>
                </a:lnTo>
                <a:lnTo>
                  <a:pt x="3321824" y="467329"/>
                </a:lnTo>
                <a:cubicBezTo>
                  <a:pt x="3321824" y="465506"/>
                  <a:pt x="3321824" y="463684"/>
                  <a:pt x="3320001" y="461862"/>
                </a:cubicBezTo>
                <a:cubicBezTo>
                  <a:pt x="3318179" y="461862"/>
                  <a:pt x="3316357" y="460039"/>
                  <a:pt x="3310890" y="463684"/>
                </a:cubicBezTo>
                <a:cubicBezTo>
                  <a:pt x="3310890" y="466417"/>
                  <a:pt x="3312257" y="468695"/>
                  <a:pt x="3314535" y="470290"/>
                </a:cubicBezTo>
                <a:lnTo>
                  <a:pt x="3319905" y="471767"/>
                </a:lnTo>
                <a:lnTo>
                  <a:pt x="3314535" y="472795"/>
                </a:lnTo>
                <a:cubicBezTo>
                  <a:pt x="3320001" y="476439"/>
                  <a:pt x="3321824" y="480083"/>
                  <a:pt x="3323646" y="483728"/>
                </a:cubicBezTo>
                <a:cubicBezTo>
                  <a:pt x="3323646" y="483728"/>
                  <a:pt x="3325468" y="481906"/>
                  <a:pt x="3327290" y="481906"/>
                </a:cubicBezTo>
                <a:cubicBezTo>
                  <a:pt x="3329112" y="483728"/>
                  <a:pt x="3330934" y="485550"/>
                  <a:pt x="3329112" y="487373"/>
                </a:cubicBezTo>
                <a:cubicBezTo>
                  <a:pt x="3332756" y="481906"/>
                  <a:pt x="3330934" y="465506"/>
                  <a:pt x="3343690" y="476439"/>
                </a:cubicBezTo>
                <a:cubicBezTo>
                  <a:pt x="3345512" y="476439"/>
                  <a:pt x="3336401" y="480083"/>
                  <a:pt x="3341867" y="487373"/>
                </a:cubicBezTo>
                <a:cubicBezTo>
                  <a:pt x="3350978" y="487373"/>
                  <a:pt x="3347334" y="480083"/>
                  <a:pt x="3356445" y="480083"/>
                </a:cubicBezTo>
                <a:cubicBezTo>
                  <a:pt x="3356445" y="478262"/>
                  <a:pt x="3356445" y="476439"/>
                  <a:pt x="3354623" y="474618"/>
                </a:cubicBezTo>
                <a:cubicBezTo>
                  <a:pt x="3360089" y="478262"/>
                  <a:pt x="3356445" y="487373"/>
                  <a:pt x="3363734" y="483728"/>
                </a:cubicBezTo>
                <a:cubicBezTo>
                  <a:pt x="3365556" y="483728"/>
                  <a:pt x="3365556" y="480083"/>
                  <a:pt x="3369200" y="474618"/>
                </a:cubicBezTo>
                <a:lnTo>
                  <a:pt x="3371022" y="476439"/>
                </a:lnTo>
                <a:cubicBezTo>
                  <a:pt x="3371933" y="474617"/>
                  <a:pt x="3372844" y="473251"/>
                  <a:pt x="3373072" y="471884"/>
                </a:cubicBezTo>
                <a:lnTo>
                  <a:pt x="3372275" y="470112"/>
                </a:lnTo>
                <a:lnTo>
                  <a:pt x="3374667" y="468467"/>
                </a:lnTo>
                <a:cubicBezTo>
                  <a:pt x="3375122" y="467784"/>
                  <a:pt x="3375578" y="467328"/>
                  <a:pt x="3378311" y="467328"/>
                </a:cubicBezTo>
                <a:cubicBezTo>
                  <a:pt x="3376489" y="463684"/>
                  <a:pt x="3372844" y="463684"/>
                  <a:pt x="3369200" y="461862"/>
                </a:cubicBezTo>
                <a:cubicBezTo>
                  <a:pt x="3367378" y="462773"/>
                  <a:pt x="3367834" y="464140"/>
                  <a:pt x="3368745" y="465734"/>
                </a:cubicBezTo>
                <a:lnTo>
                  <a:pt x="3369585" y="467667"/>
                </a:lnTo>
                <a:lnTo>
                  <a:pt x="3367150" y="468239"/>
                </a:lnTo>
                <a:cubicBezTo>
                  <a:pt x="3365101" y="467784"/>
                  <a:pt x="3362823" y="467329"/>
                  <a:pt x="3361911" y="469150"/>
                </a:cubicBezTo>
                <a:cubicBezTo>
                  <a:pt x="3361911" y="460039"/>
                  <a:pt x="3356445" y="443640"/>
                  <a:pt x="3349156" y="443640"/>
                </a:cubicBezTo>
                <a:close/>
                <a:moveTo>
                  <a:pt x="3196093" y="443640"/>
                </a:moveTo>
                <a:cubicBezTo>
                  <a:pt x="3197916" y="447284"/>
                  <a:pt x="3199738" y="447284"/>
                  <a:pt x="3199738" y="450928"/>
                </a:cubicBezTo>
                <a:cubicBezTo>
                  <a:pt x="3205204" y="450928"/>
                  <a:pt x="3199738" y="443640"/>
                  <a:pt x="3196093" y="443640"/>
                </a:cubicBezTo>
                <a:close/>
                <a:moveTo>
                  <a:pt x="2527356" y="443640"/>
                </a:moveTo>
                <a:cubicBezTo>
                  <a:pt x="2527356" y="447284"/>
                  <a:pt x="2525534" y="449107"/>
                  <a:pt x="2523711" y="450928"/>
                </a:cubicBezTo>
                <a:cubicBezTo>
                  <a:pt x="2523711" y="454574"/>
                  <a:pt x="2529178" y="454574"/>
                  <a:pt x="2529178" y="460039"/>
                </a:cubicBezTo>
                <a:cubicBezTo>
                  <a:pt x="2531000" y="456395"/>
                  <a:pt x="2531000" y="450928"/>
                  <a:pt x="2532822" y="445463"/>
                </a:cubicBezTo>
                <a:cubicBezTo>
                  <a:pt x="2534644" y="447284"/>
                  <a:pt x="2532822" y="452751"/>
                  <a:pt x="2534644" y="454574"/>
                </a:cubicBezTo>
                <a:cubicBezTo>
                  <a:pt x="2540111" y="452751"/>
                  <a:pt x="2536466" y="445463"/>
                  <a:pt x="2538289" y="443640"/>
                </a:cubicBezTo>
                <a:cubicBezTo>
                  <a:pt x="2531000" y="443640"/>
                  <a:pt x="2534644" y="443640"/>
                  <a:pt x="2527356" y="443640"/>
                </a:cubicBezTo>
                <a:close/>
                <a:moveTo>
                  <a:pt x="1075895" y="443618"/>
                </a:moveTo>
                <a:lnTo>
                  <a:pt x="1075083" y="446744"/>
                </a:lnTo>
                <a:lnTo>
                  <a:pt x="1075083" y="445463"/>
                </a:lnTo>
                <a:close/>
                <a:moveTo>
                  <a:pt x="3360089" y="441819"/>
                </a:moveTo>
                <a:cubicBezTo>
                  <a:pt x="3358267" y="445463"/>
                  <a:pt x="3361911" y="449107"/>
                  <a:pt x="3363734" y="450928"/>
                </a:cubicBezTo>
                <a:cubicBezTo>
                  <a:pt x="3365556" y="447284"/>
                  <a:pt x="3374666" y="449107"/>
                  <a:pt x="3367378" y="441819"/>
                </a:cubicBezTo>
                <a:cubicBezTo>
                  <a:pt x="3363734" y="443640"/>
                  <a:pt x="3361911" y="445463"/>
                  <a:pt x="3360089" y="441819"/>
                </a:cubicBezTo>
                <a:close/>
                <a:moveTo>
                  <a:pt x="2518245" y="441819"/>
                </a:moveTo>
                <a:cubicBezTo>
                  <a:pt x="2518245" y="447284"/>
                  <a:pt x="2516423" y="449107"/>
                  <a:pt x="2516423" y="454574"/>
                </a:cubicBezTo>
                <a:cubicBezTo>
                  <a:pt x="2521889" y="452751"/>
                  <a:pt x="2525534" y="441819"/>
                  <a:pt x="2518245" y="441819"/>
                </a:cubicBezTo>
                <a:close/>
                <a:moveTo>
                  <a:pt x="2470868" y="441819"/>
                </a:moveTo>
                <a:cubicBezTo>
                  <a:pt x="2469046" y="449107"/>
                  <a:pt x="2470868" y="467328"/>
                  <a:pt x="2472690" y="474618"/>
                </a:cubicBezTo>
                <a:cubicBezTo>
                  <a:pt x="2478157" y="460039"/>
                  <a:pt x="2472690" y="452751"/>
                  <a:pt x="2470868" y="441819"/>
                </a:cubicBezTo>
                <a:close/>
                <a:moveTo>
                  <a:pt x="2139233" y="441819"/>
                </a:moveTo>
                <a:cubicBezTo>
                  <a:pt x="2121011" y="436351"/>
                  <a:pt x="2133766" y="467328"/>
                  <a:pt x="2137410" y="478262"/>
                </a:cubicBezTo>
                <a:cubicBezTo>
                  <a:pt x="2139233" y="476439"/>
                  <a:pt x="2137410" y="474618"/>
                  <a:pt x="2139233" y="472795"/>
                </a:cubicBezTo>
                <a:cubicBezTo>
                  <a:pt x="2139233" y="474618"/>
                  <a:pt x="2142877" y="478262"/>
                  <a:pt x="2139233" y="480083"/>
                </a:cubicBezTo>
                <a:cubicBezTo>
                  <a:pt x="2139233" y="485550"/>
                  <a:pt x="2142877" y="487373"/>
                  <a:pt x="2142877" y="491017"/>
                </a:cubicBezTo>
                <a:cubicBezTo>
                  <a:pt x="2144699" y="492838"/>
                  <a:pt x="2148344" y="492838"/>
                  <a:pt x="2150166" y="494662"/>
                </a:cubicBezTo>
                <a:cubicBezTo>
                  <a:pt x="2153810" y="491017"/>
                  <a:pt x="2146521" y="487373"/>
                  <a:pt x="2148344" y="483728"/>
                </a:cubicBezTo>
                <a:cubicBezTo>
                  <a:pt x="2153810" y="489194"/>
                  <a:pt x="2157454" y="501949"/>
                  <a:pt x="2166565" y="500127"/>
                </a:cubicBezTo>
                <a:cubicBezTo>
                  <a:pt x="2175676" y="494662"/>
                  <a:pt x="2162921" y="483728"/>
                  <a:pt x="2151988" y="485550"/>
                </a:cubicBezTo>
                <a:cubicBezTo>
                  <a:pt x="2155632" y="478262"/>
                  <a:pt x="2161099" y="485550"/>
                  <a:pt x="2164743" y="485550"/>
                </a:cubicBezTo>
                <a:lnTo>
                  <a:pt x="2168083" y="480874"/>
                </a:lnTo>
                <a:lnTo>
                  <a:pt x="2168387" y="481906"/>
                </a:lnTo>
                <a:cubicBezTo>
                  <a:pt x="2181143" y="472795"/>
                  <a:pt x="2193898" y="461862"/>
                  <a:pt x="2186609" y="447284"/>
                </a:cubicBezTo>
                <a:cubicBezTo>
                  <a:pt x="2184787" y="449107"/>
                  <a:pt x="2181143" y="447284"/>
                  <a:pt x="2182965" y="452751"/>
                </a:cubicBezTo>
                <a:cubicBezTo>
                  <a:pt x="2179320" y="449107"/>
                  <a:pt x="2186609" y="443640"/>
                  <a:pt x="2179320" y="441819"/>
                </a:cubicBezTo>
                <a:cubicBezTo>
                  <a:pt x="2173854" y="439995"/>
                  <a:pt x="2179320" y="450928"/>
                  <a:pt x="2172032" y="450928"/>
                </a:cubicBezTo>
                <a:cubicBezTo>
                  <a:pt x="2172032" y="449107"/>
                  <a:pt x="2173854" y="445463"/>
                  <a:pt x="2170210" y="445463"/>
                </a:cubicBezTo>
                <a:cubicBezTo>
                  <a:pt x="2173854" y="452751"/>
                  <a:pt x="2172032" y="456395"/>
                  <a:pt x="2172032" y="463684"/>
                </a:cubicBezTo>
                <a:cubicBezTo>
                  <a:pt x="2164743" y="461862"/>
                  <a:pt x="2168387" y="454574"/>
                  <a:pt x="2164743" y="449107"/>
                </a:cubicBezTo>
                <a:cubicBezTo>
                  <a:pt x="2159277" y="453662"/>
                  <a:pt x="2160644" y="458673"/>
                  <a:pt x="2163149" y="464139"/>
                </a:cubicBezTo>
                <a:lnTo>
                  <a:pt x="2163224" y="464393"/>
                </a:lnTo>
                <a:lnTo>
                  <a:pt x="2161099" y="463684"/>
                </a:lnTo>
                <a:cubicBezTo>
                  <a:pt x="2157454" y="454574"/>
                  <a:pt x="2164743" y="439995"/>
                  <a:pt x="2153810" y="443640"/>
                </a:cubicBezTo>
                <a:cubicBezTo>
                  <a:pt x="2150166" y="443640"/>
                  <a:pt x="2155632" y="456395"/>
                  <a:pt x="2151988" y="458218"/>
                </a:cubicBezTo>
                <a:cubicBezTo>
                  <a:pt x="2144699" y="461862"/>
                  <a:pt x="2142877" y="441819"/>
                  <a:pt x="2139233" y="441819"/>
                </a:cubicBezTo>
                <a:close/>
                <a:moveTo>
                  <a:pt x="3604712" y="441197"/>
                </a:moveTo>
                <a:lnTo>
                  <a:pt x="3609727" y="443640"/>
                </a:lnTo>
                <a:lnTo>
                  <a:pt x="3606747" y="451012"/>
                </a:lnTo>
                <a:lnTo>
                  <a:pt x="3605855" y="445463"/>
                </a:lnTo>
                <a:close/>
                <a:moveTo>
                  <a:pt x="3400177" y="439995"/>
                </a:moveTo>
                <a:cubicBezTo>
                  <a:pt x="3392888" y="443640"/>
                  <a:pt x="3387422" y="450928"/>
                  <a:pt x="3394710" y="458218"/>
                </a:cubicBezTo>
                <a:cubicBezTo>
                  <a:pt x="3394710" y="454574"/>
                  <a:pt x="3398355" y="449107"/>
                  <a:pt x="3401999" y="447284"/>
                </a:cubicBezTo>
                <a:cubicBezTo>
                  <a:pt x="3403821" y="447284"/>
                  <a:pt x="3401999" y="452751"/>
                  <a:pt x="3407466" y="450928"/>
                </a:cubicBezTo>
                <a:cubicBezTo>
                  <a:pt x="3405643" y="445463"/>
                  <a:pt x="3401999" y="445463"/>
                  <a:pt x="3400177" y="439995"/>
                </a:cubicBezTo>
                <a:close/>
                <a:moveTo>
                  <a:pt x="2465402" y="439995"/>
                </a:moveTo>
                <a:cubicBezTo>
                  <a:pt x="2459935" y="439995"/>
                  <a:pt x="2465402" y="447284"/>
                  <a:pt x="2465402" y="449107"/>
                </a:cubicBezTo>
                <a:cubicBezTo>
                  <a:pt x="2469046" y="447284"/>
                  <a:pt x="2463580" y="443640"/>
                  <a:pt x="2465402" y="439995"/>
                </a:cubicBezTo>
                <a:close/>
                <a:moveTo>
                  <a:pt x="1017766" y="439484"/>
                </a:moveTo>
                <a:lnTo>
                  <a:pt x="1021556" y="442046"/>
                </a:lnTo>
                <a:lnTo>
                  <a:pt x="1024625" y="447053"/>
                </a:lnTo>
                <a:lnTo>
                  <a:pt x="1018140" y="442729"/>
                </a:lnTo>
                <a:close/>
                <a:moveTo>
                  <a:pt x="3248937" y="438174"/>
                </a:moveTo>
                <a:cubicBezTo>
                  <a:pt x="3243470" y="438174"/>
                  <a:pt x="3243470" y="439995"/>
                  <a:pt x="3243470" y="443640"/>
                </a:cubicBezTo>
                <a:cubicBezTo>
                  <a:pt x="3247114" y="443640"/>
                  <a:pt x="3248937" y="443640"/>
                  <a:pt x="3250759" y="443640"/>
                </a:cubicBezTo>
                <a:cubicBezTo>
                  <a:pt x="3248937" y="441819"/>
                  <a:pt x="3248937" y="439995"/>
                  <a:pt x="3248937" y="438174"/>
                </a:cubicBezTo>
                <a:close/>
                <a:moveTo>
                  <a:pt x="2199364" y="438174"/>
                </a:moveTo>
                <a:cubicBezTo>
                  <a:pt x="2199364" y="443640"/>
                  <a:pt x="2204831" y="445463"/>
                  <a:pt x="2206653" y="443640"/>
                </a:cubicBezTo>
                <a:cubicBezTo>
                  <a:pt x="2206653" y="441819"/>
                  <a:pt x="2206653" y="441819"/>
                  <a:pt x="2206653" y="439995"/>
                </a:cubicBezTo>
                <a:cubicBezTo>
                  <a:pt x="2203009" y="441819"/>
                  <a:pt x="2203009" y="438174"/>
                  <a:pt x="2199364" y="438174"/>
                </a:cubicBezTo>
                <a:close/>
                <a:moveTo>
                  <a:pt x="1051894" y="436873"/>
                </a:moveTo>
                <a:lnTo>
                  <a:pt x="1054098" y="439173"/>
                </a:lnTo>
                <a:lnTo>
                  <a:pt x="1051395" y="447284"/>
                </a:lnTo>
                <a:cubicBezTo>
                  <a:pt x="1051395" y="443640"/>
                  <a:pt x="1049573" y="441819"/>
                  <a:pt x="1047750" y="438174"/>
                </a:cubicBezTo>
                <a:lnTo>
                  <a:pt x="1049937" y="439267"/>
                </a:lnTo>
                <a:lnTo>
                  <a:pt x="1051395" y="439995"/>
                </a:lnTo>
                <a:close/>
                <a:moveTo>
                  <a:pt x="3165116" y="436351"/>
                </a:moveTo>
                <a:cubicBezTo>
                  <a:pt x="3161472" y="439995"/>
                  <a:pt x="3170583" y="445463"/>
                  <a:pt x="3166939" y="449107"/>
                </a:cubicBezTo>
                <a:cubicBezTo>
                  <a:pt x="3165116" y="449107"/>
                  <a:pt x="3165116" y="445463"/>
                  <a:pt x="3165116" y="443640"/>
                </a:cubicBezTo>
                <a:cubicBezTo>
                  <a:pt x="3159650" y="447284"/>
                  <a:pt x="3154184" y="450928"/>
                  <a:pt x="3156006" y="460039"/>
                </a:cubicBezTo>
                <a:cubicBezTo>
                  <a:pt x="3165116" y="460039"/>
                  <a:pt x="3172405" y="463684"/>
                  <a:pt x="3179694" y="460039"/>
                </a:cubicBezTo>
                <a:cubicBezTo>
                  <a:pt x="3177872" y="449107"/>
                  <a:pt x="3170583" y="445463"/>
                  <a:pt x="3165116" y="436351"/>
                </a:cubicBezTo>
                <a:close/>
                <a:moveTo>
                  <a:pt x="2512778" y="436351"/>
                </a:moveTo>
                <a:cubicBezTo>
                  <a:pt x="2509134" y="447284"/>
                  <a:pt x="2505490" y="445463"/>
                  <a:pt x="2492734" y="441819"/>
                </a:cubicBezTo>
                <a:cubicBezTo>
                  <a:pt x="2494556" y="445463"/>
                  <a:pt x="2489090" y="450928"/>
                  <a:pt x="2490912" y="454574"/>
                </a:cubicBezTo>
                <a:cubicBezTo>
                  <a:pt x="2489090" y="450928"/>
                  <a:pt x="2492734" y="445463"/>
                  <a:pt x="2490912" y="441819"/>
                </a:cubicBezTo>
                <a:cubicBezTo>
                  <a:pt x="2485446" y="443640"/>
                  <a:pt x="2479979" y="447284"/>
                  <a:pt x="2479979" y="454574"/>
                </a:cubicBezTo>
                <a:cubicBezTo>
                  <a:pt x="2476335" y="452751"/>
                  <a:pt x="2479979" y="447284"/>
                  <a:pt x="2474513" y="447284"/>
                </a:cubicBezTo>
                <a:cubicBezTo>
                  <a:pt x="2478157" y="458218"/>
                  <a:pt x="2472690" y="478262"/>
                  <a:pt x="2481801" y="480083"/>
                </a:cubicBezTo>
                <a:cubicBezTo>
                  <a:pt x="2481801" y="472795"/>
                  <a:pt x="2476335" y="465506"/>
                  <a:pt x="2485446" y="458218"/>
                </a:cubicBezTo>
                <a:cubicBezTo>
                  <a:pt x="2487268" y="458218"/>
                  <a:pt x="2490912" y="460039"/>
                  <a:pt x="2490912" y="461862"/>
                </a:cubicBezTo>
                <a:cubicBezTo>
                  <a:pt x="2483624" y="469150"/>
                  <a:pt x="2485446" y="480083"/>
                  <a:pt x="2485446" y="489194"/>
                </a:cubicBezTo>
                <a:cubicBezTo>
                  <a:pt x="2490912" y="489194"/>
                  <a:pt x="2492734" y="485550"/>
                  <a:pt x="2494556" y="492838"/>
                </a:cubicBezTo>
                <a:cubicBezTo>
                  <a:pt x="2498201" y="481906"/>
                  <a:pt x="2479979" y="470972"/>
                  <a:pt x="2496379" y="467328"/>
                </a:cubicBezTo>
                <a:cubicBezTo>
                  <a:pt x="2496379" y="465506"/>
                  <a:pt x="2496379" y="470972"/>
                  <a:pt x="2496379" y="472795"/>
                </a:cubicBezTo>
                <a:cubicBezTo>
                  <a:pt x="2501845" y="465506"/>
                  <a:pt x="2503667" y="456395"/>
                  <a:pt x="2501845" y="449107"/>
                </a:cubicBezTo>
                <a:cubicBezTo>
                  <a:pt x="2509134" y="452751"/>
                  <a:pt x="2507312" y="460039"/>
                  <a:pt x="2510956" y="467328"/>
                </a:cubicBezTo>
                <a:cubicBezTo>
                  <a:pt x="2514600" y="461862"/>
                  <a:pt x="2512778" y="456395"/>
                  <a:pt x="2509134" y="454574"/>
                </a:cubicBezTo>
                <a:cubicBezTo>
                  <a:pt x="2518245" y="450928"/>
                  <a:pt x="2516423" y="443640"/>
                  <a:pt x="2516423" y="438174"/>
                </a:cubicBezTo>
                <a:cubicBezTo>
                  <a:pt x="2514600" y="438174"/>
                  <a:pt x="2514600" y="438174"/>
                  <a:pt x="2512778" y="436351"/>
                </a:cubicBezTo>
                <a:close/>
                <a:moveTo>
                  <a:pt x="2381582" y="436351"/>
                </a:moveTo>
                <a:cubicBezTo>
                  <a:pt x="2374293" y="438174"/>
                  <a:pt x="2381582" y="452751"/>
                  <a:pt x="2383404" y="445463"/>
                </a:cubicBezTo>
                <a:cubicBezTo>
                  <a:pt x="2383404" y="441819"/>
                  <a:pt x="2381582" y="441819"/>
                  <a:pt x="2381582" y="436351"/>
                </a:cubicBezTo>
                <a:close/>
                <a:moveTo>
                  <a:pt x="1122459" y="436351"/>
                </a:moveTo>
                <a:cubicBezTo>
                  <a:pt x="1127926" y="441819"/>
                  <a:pt x="1137037" y="441819"/>
                  <a:pt x="1142503" y="447284"/>
                </a:cubicBezTo>
                <a:lnTo>
                  <a:pt x="1140759" y="446897"/>
                </a:lnTo>
                <a:close/>
                <a:moveTo>
                  <a:pt x="1055040" y="436351"/>
                </a:moveTo>
                <a:lnTo>
                  <a:pt x="1055561" y="440699"/>
                </a:lnTo>
                <a:lnTo>
                  <a:pt x="1054098" y="439173"/>
                </a:lnTo>
                <a:close/>
                <a:moveTo>
                  <a:pt x="431856" y="436351"/>
                </a:moveTo>
                <a:cubicBezTo>
                  <a:pt x="433678" y="458218"/>
                  <a:pt x="444611" y="476439"/>
                  <a:pt x="451899" y="494662"/>
                </a:cubicBezTo>
                <a:cubicBezTo>
                  <a:pt x="451899" y="492838"/>
                  <a:pt x="455544" y="489194"/>
                  <a:pt x="455544" y="492838"/>
                </a:cubicBezTo>
                <a:lnTo>
                  <a:pt x="461671" y="512410"/>
                </a:lnTo>
                <a:lnTo>
                  <a:pt x="451899" y="498306"/>
                </a:lnTo>
                <a:cubicBezTo>
                  <a:pt x="448256" y="492838"/>
                  <a:pt x="437322" y="491017"/>
                  <a:pt x="437322" y="481906"/>
                </a:cubicBezTo>
                <a:cubicBezTo>
                  <a:pt x="440966" y="487373"/>
                  <a:pt x="442789" y="489194"/>
                  <a:pt x="448256" y="492838"/>
                </a:cubicBezTo>
                <a:cubicBezTo>
                  <a:pt x="446433" y="483728"/>
                  <a:pt x="437322" y="478262"/>
                  <a:pt x="437322" y="469150"/>
                </a:cubicBezTo>
                <a:cubicBezTo>
                  <a:pt x="437322" y="474618"/>
                  <a:pt x="440966" y="476439"/>
                  <a:pt x="442789" y="480083"/>
                </a:cubicBezTo>
                <a:cubicBezTo>
                  <a:pt x="439145" y="465506"/>
                  <a:pt x="431856" y="450928"/>
                  <a:pt x="431856" y="436351"/>
                </a:cubicBezTo>
                <a:close/>
                <a:moveTo>
                  <a:pt x="544553" y="435318"/>
                </a:moveTo>
                <a:lnTo>
                  <a:pt x="544830" y="438174"/>
                </a:lnTo>
                <a:lnTo>
                  <a:pt x="544319" y="437663"/>
                </a:lnTo>
                <a:close/>
                <a:moveTo>
                  <a:pt x="3341867" y="434530"/>
                </a:moveTo>
                <a:cubicBezTo>
                  <a:pt x="3341867" y="436351"/>
                  <a:pt x="3343690" y="436351"/>
                  <a:pt x="3343690" y="439995"/>
                </a:cubicBezTo>
                <a:cubicBezTo>
                  <a:pt x="3349156" y="438174"/>
                  <a:pt x="3347334" y="432707"/>
                  <a:pt x="3341867" y="434530"/>
                </a:cubicBezTo>
                <a:close/>
                <a:moveTo>
                  <a:pt x="3019343" y="434530"/>
                </a:moveTo>
                <a:cubicBezTo>
                  <a:pt x="3013876" y="432707"/>
                  <a:pt x="3013876" y="439995"/>
                  <a:pt x="3013876" y="445463"/>
                </a:cubicBezTo>
                <a:cubicBezTo>
                  <a:pt x="3021165" y="447284"/>
                  <a:pt x="3021165" y="438174"/>
                  <a:pt x="3019343" y="434530"/>
                </a:cubicBezTo>
                <a:close/>
                <a:moveTo>
                  <a:pt x="2190253" y="434530"/>
                </a:moveTo>
                <a:cubicBezTo>
                  <a:pt x="2190253" y="438174"/>
                  <a:pt x="2192076" y="441819"/>
                  <a:pt x="2195720" y="441819"/>
                </a:cubicBezTo>
                <a:cubicBezTo>
                  <a:pt x="2195720" y="438174"/>
                  <a:pt x="2193898" y="438174"/>
                  <a:pt x="2193898" y="434530"/>
                </a:cubicBezTo>
                <a:cubicBezTo>
                  <a:pt x="2192076" y="434530"/>
                  <a:pt x="2190253" y="434530"/>
                  <a:pt x="2190253" y="434530"/>
                </a:cubicBezTo>
                <a:close/>
                <a:moveTo>
                  <a:pt x="2186609" y="434530"/>
                </a:moveTo>
                <a:cubicBezTo>
                  <a:pt x="2182965" y="434530"/>
                  <a:pt x="2181143" y="443640"/>
                  <a:pt x="2186609" y="441819"/>
                </a:cubicBezTo>
                <a:cubicBezTo>
                  <a:pt x="2186609" y="438174"/>
                  <a:pt x="2186609" y="436351"/>
                  <a:pt x="2186609" y="434530"/>
                </a:cubicBezTo>
                <a:close/>
                <a:moveTo>
                  <a:pt x="2179320" y="434530"/>
                </a:moveTo>
                <a:cubicBezTo>
                  <a:pt x="2175676" y="434530"/>
                  <a:pt x="2175676" y="441819"/>
                  <a:pt x="2177498" y="441819"/>
                </a:cubicBezTo>
                <a:cubicBezTo>
                  <a:pt x="2179320" y="441819"/>
                  <a:pt x="2179320" y="438174"/>
                  <a:pt x="2179320" y="434530"/>
                </a:cubicBezTo>
                <a:close/>
                <a:moveTo>
                  <a:pt x="692426" y="434530"/>
                </a:moveTo>
                <a:cubicBezTo>
                  <a:pt x="697893" y="447284"/>
                  <a:pt x="703359" y="460039"/>
                  <a:pt x="708826" y="472795"/>
                </a:cubicBezTo>
                <a:lnTo>
                  <a:pt x="708826" y="469150"/>
                </a:lnTo>
                <a:cubicBezTo>
                  <a:pt x="711104" y="474617"/>
                  <a:pt x="712015" y="480197"/>
                  <a:pt x="712271" y="485835"/>
                </a:cubicBezTo>
                <a:lnTo>
                  <a:pt x="711840" y="500992"/>
                </a:lnTo>
                <a:lnTo>
                  <a:pt x="710648" y="496483"/>
                </a:lnTo>
                <a:cubicBezTo>
                  <a:pt x="708826" y="485550"/>
                  <a:pt x="710648" y="474618"/>
                  <a:pt x="701537" y="467328"/>
                </a:cubicBezTo>
                <a:lnTo>
                  <a:pt x="705182" y="467328"/>
                </a:lnTo>
                <a:cubicBezTo>
                  <a:pt x="697893" y="458218"/>
                  <a:pt x="696071" y="445463"/>
                  <a:pt x="692426" y="434530"/>
                </a:cubicBezTo>
                <a:close/>
                <a:moveTo>
                  <a:pt x="1050501" y="433670"/>
                </a:moveTo>
                <a:lnTo>
                  <a:pt x="1052306" y="434302"/>
                </a:lnTo>
                <a:lnTo>
                  <a:pt x="1051894" y="436873"/>
                </a:lnTo>
                <a:lnTo>
                  <a:pt x="1051395" y="436351"/>
                </a:lnTo>
                <a:close/>
                <a:moveTo>
                  <a:pt x="2447807" y="433590"/>
                </a:moveTo>
                <a:cubicBezTo>
                  <a:pt x="2445700" y="432594"/>
                  <a:pt x="2443080" y="432708"/>
                  <a:pt x="2439891" y="434530"/>
                </a:cubicBezTo>
                <a:cubicBezTo>
                  <a:pt x="2438069" y="436351"/>
                  <a:pt x="2443536" y="439995"/>
                  <a:pt x="2439891" y="441819"/>
                </a:cubicBezTo>
                <a:cubicBezTo>
                  <a:pt x="2438069" y="441819"/>
                  <a:pt x="2436247" y="441819"/>
                  <a:pt x="2434425" y="441819"/>
                </a:cubicBezTo>
                <a:cubicBezTo>
                  <a:pt x="2434425" y="443640"/>
                  <a:pt x="2434425" y="445463"/>
                  <a:pt x="2434425" y="447284"/>
                </a:cubicBezTo>
                <a:cubicBezTo>
                  <a:pt x="2434425" y="445463"/>
                  <a:pt x="2434425" y="445463"/>
                  <a:pt x="2432603" y="443640"/>
                </a:cubicBezTo>
                <a:cubicBezTo>
                  <a:pt x="2430780" y="449107"/>
                  <a:pt x="2434425" y="456395"/>
                  <a:pt x="2432603" y="458218"/>
                </a:cubicBezTo>
                <a:cubicBezTo>
                  <a:pt x="2428958" y="460039"/>
                  <a:pt x="2428958" y="447284"/>
                  <a:pt x="2421669" y="449107"/>
                </a:cubicBezTo>
                <a:cubicBezTo>
                  <a:pt x="2418025" y="450928"/>
                  <a:pt x="2418025" y="458218"/>
                  <a:pt x="2419847" y="461862"/>
                </a:cubicBezTo>
                <a:cubicBezTo>
                  <a:pt x="2421669" y="460039"/>
                  <a:pt x="2421669" y="460039"/>
                  <a:pt x="2423492" y="458218"/>
                </a:cubicBezTo>
                <a:cubicBezTo>
                  <a:pt x="2428958" y="465506"/>
                  <a:pt x="2428958" y="474618"/>
                  <a:pt x="2430780" y="481906"/>
                </a:cubicBezTo>
                <a:cubicBezTo>
                  <a:pt x="2430780" y="480083"/>
                  <a:pt x="2432603" y="480083"/>
                  <a:pt x="2432603" y="478262"/>
                </a:cubicBezTo>
                <a:cubicBezTo>
                  <a:pt x="2436247" y="481906"/>
                  <a:pt x="2436247" y="492838"/>
                  <a:pt x="2428958" y="489194"/>
                </a:cubicBezTo>
                <a:cubicBezTo>
                  <a:pt x="2428958" y="487373"/>
                  <a:pt x="2428958" y="487373"/>
                  <a:pt x="2428958" y="485550"/>
                </a:cubicBezTo>
                <a:cubicBezTo>
                  <a:pt x="2427136" y="487373"/>
                  <a:pt x="2425314" y="491017"/>
                  <a:pt x="2427136" y="492838"/>
                </a:cubicBezTo>
                <a:cubicBezTo>
                  <a:pt x="2429870" y="496483"/>
                  <a:pt x="2431236" y="500127"/>
                  <a:pt x="2431009" y="503544"/>
                </a:cubicBezTo>
                <a:lnTo>
                  <a:pt x="2430805" y="503878"/>
                </a:lnTo>
                <a:lnTo>
                  <a:pt x="2430780" y="503771"/>
                </a:lnTo>
                <a:lnTo>
                  <a:pt x="2430746" y="503974"/>
                </a:lnTo>
                <a:lnTo>
                  <a:pt x="2425314" y="512882"/>
                </a:lnTo>
                <a:cubicBezTo>
                  <a:pt x="2425314" y="509238"/>
                  <a:pt x="2425314" y="507417"/>
                  <a:pt x="2423492" y="505594"/>
                </a:cubicBezTo>
                <a:cubicBezTo>
                  <a:pt x="2418025" y="503771"/>
                  <a:pt x="2412559" y="509238"/>
                  <a:pt x="2407092" y="511061"/>
                </a:cubicBezTo>
                <a:cubicBezTo>
                  <a:pt x="2410737" y="507417"/>
                  <a:pt x="2401626" y="500127"/>
                  <a:pt x="2408914" y="496483"/>
                </a:cubicBezTo>
                <a:cubicBezTo>
                  <a:pt x="2408914" y="498306"/>
                  <a:pt x="2408914" y="500127"/>
                  <a:pt x="2408914" y="501949"/>
                </a:cubicBezTo>
                <a:cubicBezTo>
                  <a:pt x="2412559" y="498306"/>
                  <a:pt x="2410737" y="494662"/>
                  <a:pt x="2410737" y="491017"/>
                </a:cubicBezTo>
                <a:cubicBezTo>
                  <a:pt x="2405270" y="498306"/>
                  <a:pt x="2403448" y="511061"/>
                  <a:pt x="2408914" y="521993"/>
                </a:cubicBezTo>
                <a:cubicBezTo>
                  <a:pt x="2410737" y="520171"/>
                  <a:pt x="2412559" y="518349"/>
                  <a:pt x="2414381" y="518349"/>
                </a:cubicBezTo>
                <a:cubicBezTo>
                  <a:pt x="2421669" y="521993"/>
                  <a:pt x="2419847" y="529282"/>
                  <a:pt x="2419847" y="536571"/>
                </a:cubicBezTo>
                <a:cubicBezTo>
                  <a:pt x="2421669" y="532926"/>
                  <a:pt x="2421669" y="527461"/>
                  <a:pt x="2421669" y="523815"/>
                </a:cubicBezTo>
                <a:cubicBezTo>
                  <a:pt x="2425314" y="531105"/>
                  <a:pt x="2423492" y="536571"/>
                  <a:pt x="2425314" y="543860"/>
                </a:cubicBezTo>
                <a:cubicBezTo>
                  <a:pt x="2423492" y="542037"/>
                  <a:pt x="2414381" y="536571"/>
                  <a:pt x="2416203" y="543860"/>
                </a:cubicBezTo>
                <a:lnTo>
                  <a:pt x="2418352" y="550613"/>
                </a:lnTo>
                <a:lnTo>
                  <a:pt x="2414381" y="554792"/>
                </a:lnTo>
                <a:lnTo>
                  <a:pt x="2415616" y="555742"/>
                </a:lnTo>
                <a:lnTo>
                  <a:pt x="2413222" y="556118"/>
                </a:lnTo>
                <a:lnTo>
                  <a:pt x="2410737" y="551148"/>
                </a:lnTo>
                <a:cubicBezTo>
                  <a:pt x="2410737" y="542037"/>
                  <a:pt x="2416203" y="532926"/>
                  <a:pt x="2408914" y="525638"/>
                </a:cubicBezTo>
                <a:cubicBezTo>
                  <a:pt x="2407092" y="527461"/>
                  <a:pt x="2403448" y="531105"/>
                  <a:pt x="2401626" y="534749"/>
                </a:cubicBezTo>
                <a:cubicBezTo>
                  <a:pt x="2403448" y="525638"/>
                  <a:pt x="2401626" y="514705"/>
                  <a:pt x="2397981" y="507417"/>
                </a:cubicBezTo>
                <a:lnTo>
                  <a:pt x="2401420" y="510091"/>
                </a:lnTo>
                <a:lnTo>
                  <a:pt x="2403448" y="516527"/>
                </a:lnTo>
                <a:cubicBezTo>
                  <a:pt x="2402537" y="514705"/>
                  <a:pt x="2402537" y="512427"/>
                  <a:pt x="2402082" y="510605"/>
                </a:cubicBezTo>
                <a:lnTo>
                  <a:pt x="2401420" y="510091"/>
                </a:lnTo>
                <a:lnTo>
                  <a:pt x="2398209" y="499900"/>
                </a:lnTo>
                <a:cubicBezTo>
                  <a:pt x="2396160" y="494206"/>
                  <a:pt x="2395248" y="488284"/>
                  <a:pt x="2399803" y="481906"/>
                </a:cubicBezTo>
                <a:cubicBezTo>
                  <a:pt x="2401626" y="481906"/>
                  <a:pt x="2403448" y="485550"/>
                  <a:pt x="2403448" y="487373"/>
                </a:cubicBezTo>
                <a:cubicBezTo>
                  <a:pt x="2410737" y="485550"/>
                  <a:pt x="2405270" y="474618"/>
                  <a:pt x="2408914" y="474618"/>
                </a:cubicBezTo>
                <a:cubicBezTo>
                  <a:pt x="2416203" y="474618"/>
                  <a:pt x="2408914" y="483728"/>
                  <a:pt x="2410737" y="489194"/>
                </a:cubicBezTo>
                <a:lnTo>
                  <a:pt x="2412877" y="481168"/>
                </a:lnTo>
                <a:lnTo>
                  <a:pt x="2412559" y="487373"/>
                </a:lnTo>
                <a:cubicBezTo>
                  <a:pt x="2414381" y="483728"/>
                  <a:pt x="2419847" y="481906"/>
                  <a:pt x="2418025" y="489194"/>
                </a:cubicBezTo>
                <a:cubicBezTo>
                  <a:pt x="2421669" y="487373"/>
                  <a:pt x="2419847" y="480083"/>
                  <a:pt x="2419847" y="476439"/>
                </a:cubicBezTo>
                <a:cubicBezTo>
                  <a:pt x="2419847" y="474618"/>
                  <a:pt x="2416203" y="476439"/>
                  <a:pt x="2416203" y="470972"/>
                </a:cubicBezTo>
                <a:lnTo>
                  <a:pt x="2414355" y="475330"/>
                </a:lnTo>
                <a:lnTo>
                  <a:pt x="2412559" y="461862"/>
                </a:lnTo>
                <a:cubicBezTo>
                  <a:pt x="2408914" y="463684"/>
                  <a:pt x="2403448" y="465506"/>
                  <a:pt x="2405270" y="470972"/>
                </a:cubicBezTo>
                <a:cubicBezTo>
                  <a:pt x="2403448" y="469150"/>
                  <a:pt x="2401626" y="465506"/>
                  <a:pt x="2399803" y="467328"/>
                </a:cubicBezTo>
                <a:cubicBezTo>
                  <a:pt x="2390693" y="476439"/>
                  <a:pt x="2394337" y="483728"/>
                  <a:pt x="2392515" y="494662"/>
                </a:cubicBezTo>
                <a:cubicBezTo>
                  <a:pt x="2388871" y="492838"/>
                  <a:pt x="2383404" y="492838"/>
                  <a:pt x="2385226" y="485550"/>
                </a:cubicBezTo>
                <a:cubicBezTo>
                  <a:pt x="2381582" y="494662"/>
                  <a:pt x="2367004" y="509238"/>
                  <a:pt x="2372471" y="518349"/>
                </a:cubicBezTo>
                <a:cubicBezTo>
                  <a:pt x="2374293" y="516527"/>
                  <a:pt x="2374293" y="514705"/>
                  <a:pt x="2374293" y="512882"/>
                </a:cubicBezTo>
                <a:cubicBezTo>
                  <a:pt x="2377937" y="516527"/>
                  <a:pt x="2376115" y="520171"/>
                  <a:pt x="2374293" y="523815"/>
                </a:cubicBezTo>
                <a:cubicBezTo>
                  <a:pt x="2374293" y="523815"/>
                  <a:pt x="2374293" y="521993"/>
                  <a:pt x="2370649" y="521993"/>
                </a:cubicBezTo>
                <a:cubicBezTo>
                  <a:pt x="2374293" y="521993"/>
                  <a:pt x="2374293" y="531105"/>
                  <a:pt x="2377937" y="531105"/>
                </a:cubicBezTo>
                <a:cubicBezTo>
                  <a:pt x="2377937" y="529282"/>
                  <a:pt x="2377937" y="523815"/>
                  <a:pt x="2377937" y="521993"/>
                </a:cubicBezTo>
                <a:cubicBezTo>
                  <a:pt x="2374293" y="532926"/>
                  <a:pt x="2383404" y="536571"/>
                  <a:pt x="2387048" y="545681"/>
                </a:cubicBezTo>
                <a:cubicBezTo>
                  <a:pt x="2388871" y="542037"/>
                  <a:pt x="2387048" y="538393"/>
                  <a:pt x="2385226" y="536571"/>
                </a:cubicBezTo>
                <a:cubicBezTo>
                  <a:pt x="2390693" y="538393"/>
                  <a:pt x="2387048" y="547504"/>
                  <a:pt x="2388871" y="547504"/>
                </a:cubicBezTo>
                <a:cubicBezTo>
                  <a:pt x="2392515" y="545681"/>
                  <a:pt x="2394337" y="543860"/>
                  <a:pt x="2396159" y="540215"/>
                </a:cubicBezTo>
                <a:cubicBezTo>
                  <a:pt x="2396159" y="545681"/>
                  <a:pt x="2394337" y="549326"/>
                  <a:pt x="2396159" y="554792"/>
                </a:cubicBezTo>
                <a:cubicBezTo>
                  <a:pt x="2388871" y="558437"/>
                  <a:pt x="2396159" y="562081"/>
                  <a:pt x="2396159" y="565725"/>
                </a:cubicBezTo>
                <a:cubicBezTo>
                  <a:pt x="2399803" y="562081"/>
                  <a:pt x="2397981" y="562081"/>
                  <a:pt x="2396159" y="554792"/>
                </a:cubicBezTo>
                <a:cubicBezTo>
                  <a:pt x="2397981" y="554792"/>
                  <a:pt x="2399803" y="554792"/>
                  <a:pt x="2401626" y="556616"/>
                </a:cubicBezTo>
                <a:cubicBezTo>
                  <a:pt x="2399803" y="554792"/>
                  <a:pt x="2399803" y="549326"/>
                  <a:pt x="2399803" y="547504"/>
                </a:cubicBezTo>
                <a:cubicBezTo>
                  <a:pt x="2402537" y="550237"/>
                  <a:pt x="2406181" y="554337"/>
                  <a:pt x="2410053" y="556615"/>
                </a:cubicBezTo>
                <a:lnTo>
                  <a:pt x="2413222" y="556118"/>
                </a:lnTo>
                <a:lnTo>
                  <a:pt x="2414381" y="558437"/>
                </a:lnTo>
                <a:cubicBezTo>
                  <a:pt x="2417115" y="558893"/>
                  <a:pt x="2418595" y="558551"/>
                  <a:pt x="2419278" y="557697"/>
                </a:cubicBezTo>
                <a:lnTo>
                  <a:pt x="2419303" y="556864"/>
                </a:lnTo>
                <a:lnTo>
                  <a:pt x="2421669" y="556616"/>
                </a:lnTo>
                <a:cubicBezTo>
                  <a:pt x="2421669" y="554793"/>
                  <a:pt x="2422125" y="553882"/>
                  <a:pt x="2422353" y="552515"/>
                </a:cubicBezTo>
                <a:lnTo>
                  <a:pt x="2422305" y="552037"/>
                </a:lnTo>
                <a:lnTo>
                  <a:pt x="2422353" y="551831"/>
                </a:lnTo>
                <a:lnTo>
                  <a:pt x="2422167" y="550658"/>
                </a:lnTo>
                <a:lnTo>
                  <a:pt x="2421846" y="547446"/>
                </a:lnTo>
                <a:lnTo>
                  <a:pt x="2427136" y="545681"/>
                </a:lnTo>
                <a:cubicBezTo>
                  <a:pt x="2427136" y="534749"/>
                  <a:pt x="2427136" y="523815"/>
                  <a:pt x="2427136" y="512882"/>
                </a:cubicBezTo>
                <a:cubicBezTo>
                  <a:pt x="2427136" y="512882"/>
                  <a:pt x="2427136" y="512882"/>
                  <a:pt x="2428958" y="514705"/>
                </a:cubicBezTo>
                <a:lnTo>
                  <a:pt x="2430746" y="503974"/>
                </a:lnTo>
                <a:lnTo>
                  <a:pt x="2430805" y="503878"/>
                </a:lnTo>
                <a:lnTo>
                  <a:pt x="2436247" y="527461"/>
                </a:lnTo>
                <a:lnTo>
                  <a:pt x="2432603" y="527461"/>
                </a:lnTo>
                <a:cubicBezTo>
                  <a:pt x="2432603" y="532926"/>
                  <a:pt x="2441713" y="534749"/>
                  <a:pt x="2439891" y="527461"/>
                </a:cubicBezTo>
                <a:lnTo>
                  <a:pt x="2436247" y="527461"/>
                </a:lnTo>
                <a:cubicBezTo>
                  <a:pt x="2438069" y="523815"/>
                  <a:pt x="2436247" y="518349"/>
                  <a:pt x="2438069" y="514705"/>
                </a:cubicBezTo>
                <a:cubicBezTo>
                  <a:pt x="2443536" y="518349"/>
                  <a:pt x="2439891" y="527461"/>
                  <a:pt x="2447180" y="529282"/>
                </a:cubicBezTo>
                <a:cubicBezTo>
                  <a:pt x="2449002" y="529282"/>
                  <a:pt x="2449002" y="523815"/>
                  <a:pt x="2450824" y="523815"/>
                </a:cubicBezTo>
                <a:cubicBezTo>
                  <a:pt x="2452647" y="525638"/>
                  <a:pt x="2449002" y="527461"/>
                  <a:pt x="2450824" y="529282"/>
                </a:cubicBezTo>
                <a:cubicBezTo>
                  <a:pt x="2452647" y="527461"/>
                  <a:pt x="2454469" y="523815"/>
                  <a:pt x="2452647" y="521993"/>
                </a:cubicBezTo>
                <a:cubicBezTo>
                  <a:pt x="2449002" y="514705"/>
                  <a:pt x="2450824" y="507417"/>
                  <a:pt x="2452647" y="500127"/>
                </a:cubicBezTo>
                <a:cubicBezTo>
                  <a:pt x="2456291" y="500127"/>
                  <a:pt x="2456291" y="496483"/>
                  <a:pt x="2458113" y="494662"/>
                </a:cubicBezTo>
                <a:cubicBezTo>
                  <a:pt x="2456291" y="498306"/>
                  <a:pt x="2458113" y="503771"/>
                  <a:pt x="2463580" y="505594"/>
                </a:cubicBezTo>
                <a:cubicBezTo>
                  <a:pt x="2465402" y="505594"/>
                  <a:pt x="2467224" y="505594"/>
                  <a:pt x="2469046" y="503771"/>
                </a:cubicBezTo>
                <a:cubicBezTo>
                  <a:pt x="2469046" y="500127"/>
                  <a:pt x="2469046" y="498306"/>
                  <a:pt x="2467224" y="496483"/>
                </a:cubicBezTo>
                <a:cubicBezTo>
                  <a:pt x="2465402" y="496483"/>
                  <a:pt x="2465402" y="496483"/>
                  <a:pt x="2463580" y="496483"/>
                </a:cubicBezTo>
                <a:cubicBezTo>
                  <a:pt x="2465402" y="492838"/>
                  <a:pt x="2469046" y="491017"/>
                  <a:pt x="2467224" y="485550"/>
                </a:cubicBezTo>
                <a:cubicBezTo>
                  <a:pt x="2465402" y="478262"/>
                  <a:pt x="2461757" y="489194"/>
                  <a:pt x="2459935" y="485550"/>
                </a:cubicBezTo>
                <a:cubicBezTo>
                  <a:pt x="2456291" y="481906"/>
                  <a:pt x="2461757" y="478262"/>
                  <a:pt x="2461757" y="474618"/>
                </a:cubicBezTo>
                <a:cubicBezTo>
                  <a:pt x="2463580" y="474618"/>
                  <a:pt x="2467224" y="474618"/>
                  <a:pt x="2469046" y="476439"/>
                </a:cubicBezTo>
                <a:cubicBezTo>
                  <a:pt x="2463580" y="472795"/>
                  <a:pt x="2467224" y="467328"/>
                  <a:pt x="2469046" y="465506"/>
                </a:cubicBezTo>
                <a:cubicBezTo>
                  <a:pt x="2467224" y="465506"/>
                  <a:pt x="2465402" y="469150"/>
                  <a:pt x="2465402" y="470972"/>
                </a:cubicBezTo>
                <a:cubicBezTo>
                  <a:pt x="2463580" y="467328"/>
                  <a:pt x="2463580" y="465506"/>
                  <a:pt x="2463580" y="463684"/>
                </a:cubicBezTo>
                <a:cubicBezTo>
                  <a:pt x="2458113" y="461862"/>
                  <a:pt x="2450824" y="467328"/>
                  <a:pt x="2452647" y="456395"/>
                </a:cubicBezTo>
                <a:lnTo>
                  <a:pt x="2454377" y="455531"/>
                </a:lnTo>
                <a:lnTo>
                  <a:pt x="2454469" y="456395"/>
                </a:lnTo>
                <a:lnTo>
                  <a:pt x="2454730" y="455354"/>
                </a:lnTo>
                <a:lnTo>
                  <a:pt x="2456291" y="454574"/>
                </a:lnTo>
                <a:cubicBezTo>
                  <a:pt x="2459935" y="456395"/>
                  <a:pt x="2461757" y="461862"/>
                  <a:pt x="2465402" y="461862"/>
                </a:cubicBezTo>
                <a:cubicBezTo>
                  <a:pt x="2467224" y="452751"/>
                  <a:pt x="2459935" y="449107"/>
                  <a:pt x="2456291" y="443640"/>
                </a:cubicBezTo>
                <a:cubicBezTo>
                  <a:pt x="2457202" y="444551"/>
                  <a:pt x="2457202" y="445463"/>
                  <a:pt x="2456747" y="447285"/>
                </a:cubicBezTo>
                <a:lnTo>
                  <a:pt x="2454730" y="455354"/>
                </a:lnTo>
                <a:lnTo>
                  <a:pt x="2454377" y="455531"/>
                </a:lnTo>
                <a:lnTo>
                  <a:pt x="2452647" y="439313"/>
                </a:lnTo>
                <a:cubicBezTo>
                  <a:pt x="2451508" y="436694"/>
                  <a:pt x="2449914" y="434587"/>
                  <a:pt x="2447807" y="433590"/>
                </a:cubicBezTo>
                <a:close/>
                <a:moveTo>
                  <a:pt x="3602438" y="432707"/>
                </a:moveTo>
                <a:lnTo>
                  <a:pt x="3604712" y="441197"/>
                </a:lnTo>
                <a:lnTo>
                  <a:pt x="3600844" y="439312"/>
                </a:lnTo>
                <a:lnTo>
                  <a:pt x="3599421" y="433462"/>
                </a:lnTo>
                <a:close/>
                <a:moveTo>
                  <a:pt x="3578750" y="432707"/>
                </a:moveTo>
                <a:cubicBezTo>
                  <a:pt x="3573284" y="432707"/>
                  <a:pt x="3576928" y="438174"/>
                  <a:pt x="3576928" y="439995"/>
                </a:cubicBezTo>
                <a:cubicBezTo>
                  <a:pt x="3582394" y="438174"/>
                  <a:pt x="3580572" y="434530"/>
                  <a:pt x="3578750" y="432707"/>
                </a:cubicBezTo>
                <a:close/>
                <a:moveTo>
                  <a:pt x="3092230" y="432707"/>
                </a:moveTo>
                <a:cubicBezTo>
                  <a:pt x="3094052" y="438174"/>
                  <a:pt x="3094052" y="443640"/>
                  <a:pt x="3097696" y="447284"/>
                </a:cubicBezTo>
                <a:cubicBezTo>
                  <a:pt x="3097696" y="447284"/>
                  <a:pt x="3095874" y="447284"/>
                  <a:pt x="3094052" y="447284"/>
                </a:cubicBezTo>
                <a:cubicBezTo>
                  <a:pt x="3095874" y="449107"/>
                  <a:pt x="3097696" y="454574"/>
                  <a:pt x="3099518" y="454574"/>
                </a:cubicBezTo>
                <a:cubicBezTo>
                  <a:pt x="3108629" y="456395"/>
                  <a:pt x="3112274" y="441819"/>
                  <a:pt x="3103163" y="434530"/>
                </a:cubicBezTo>
                <a:cubicBezTo>
                  <a:pt x="3101340" y="430886"/>
                  <a:pt x="3095874" y="430886"/>
                  <a:pt x="3092230" y="432707"/>
                </a:cubicBezTo>
                <a:close/>
                <a:moveTo>
                  <a:pt x="2106433" y="432707"/>
                </a:moveTo>
                <a:cubicBezTo>
                  <a:pt x="2100967" y="430886"/>
                  <a:pt x="2106433" y="438174"/>
                  <a:pt x="2100967" y="436351"/>
                </a:cubicBezTo>
                <a:cubicBezTo>
                  <a:pt x="2100967" y="439995"/>
                  <a:pt x="2106433" y="434530"/>
                  <a:pt x="2104611" y="439995"/>
                </a:cubicBezTo>
                <a:cubicBezTo>
                  <a:pt x="2108256" y="438174"/>
                  <a:pt x="2104611" y="436351"/>
                  <a:pt x="2106433" y="432707"/>
                </a:cubicBezTo>
                <a:close/>
                <a:moveTo>
                  <a:pt x="1078727" y="432707"/>
                </a:moveTo>
                <a:cubicBezTo>
                  <a:pt x="1076905" y="434529"/>
                  <a:pt x="1077361" y="437262"/>
                  <a:pt x="1077589" y="439768"/>
                </a:cubicBezTo>
                <a:lnTo>
                  <a:pt x="1075895" y="443618"/>
                </a:lnTo>
                <a:close/>
                <a:moveTo>
                  <a:pt x="1047750" y="432707"/>
                </a:moveTo>
                <a:lnTo>
                  <a:pt x="1048243" y="432880"/>
                </a:lnTo>
                <a:lnTo>
                  <a:pt x="1045929" y="436351"/>
                </a:lnTo>
                <a:lnTo>
                  <a:pt x="1046811" y="433333"/>
                </a:lnTo>
                <a:close/>
                <a:moveTo>
                  <a:pt x="2276807" y="432480"/>
                </a:moveTo>
                <a:cubicBezTo>
                  <a:pt x="2276352" y="431797"/>
                  <a:pt x="2274985" y="431797"/>
                  <a:pt x="2272251" y="432707"/>
                </a:cubicBezTo>
                <a:cubicBezTo>
                  <a:pt x="2272251" y="436351"/>
                  <a:pt x="2272251" y="438174"/>
                  <a:pt x="2275896" y="436351"/>
                </a:cubicBezTo>
                <a:cubicBezTo>
                  <a:pt x="2276807" y="434530"/>
                  <a:pt x="2277263" y="433163"/>
                  <a:pt x="2276807" y="432480"/>
                </a:cubicBezTo>
                <a:close/>
                <a:moveTo>
                  <a:pt x="2124655" y="430886"/>
                </a:moveTo>
                <a:cubicBezTo>
                  <a:pt x="2122833" y="436351"/>
                  <a:pt x="2124655" y="438174"/>
                  <a:pt x="2126477" y="441819"/>
                </a:cubicBezTo>
                <a:cubicBezTo>
                  <a:pt x="2128300" y="438174"/>
                  <a:pt x="2128300" y="434530"/>
                  <a:pt x="2128300" y="430886"/>
                </a:cubicBezTo>
                <a:cubicBezTo>
                  <a:pt x="2126477" y="430886"/>
                  <a:pt x="2124655" y="430886"/>
                  <a:pt x="2124655" y="430886"/>
                </a:cubicBezTo>
                <a:close/>
                <a:moveTo>
                  <a:pt x="1049573" y="430886"/>
                </a:moveTo>
                <a:lnTo>
                  <a:pt x="1050501" y="433670"/>
                </a:lnTo>
                <a:lnTo>
                  <a:pt x="1048243" y="432880"/>
                </a:lnTo>
                <a:close/>
                <a:moveTo>
                  <a:pt x="3498574" y="429063"/>
                </a:moveTo>
                <a:cubicBezTo>
                  <a:pt x="3491286" y="432707"/>
                  <a:pt x="3493108" y="441819"/>
                  <a:pt x="3493108" y="449107"/>
                </a:cubicBezTo>
                <a:cubicBezTo>
                  <a:pt x="3504041" y="449107"/>
                  <a:pt x="3509507" y="454574"/>
                  <a:pt x="3511330" y="463684"/>
                </a:cubicBezTo>
                <a:cubicBezTo>
                  <a:pt x="3513152" y="463684"/>
                  <a:pt x="3516796" y="465506"/>
                  <a:pt x="3518618" y="465506"/>
                </a:cubicBezTo>
                <a:cubicBezTo>
                  <a:pt x="3509507" y="474618"/>
                  <a:pt x="3518618" y="489194"/>
                  <a:pt x="3520440" y="500127"/>
                </a:cubicBezTo>
                <a:cubicBezTo>
                  <a:pt x="3547773" y="487373"/>
                  <a:pt x="3516796" y="452751"/>
                  <a:pt x="3514974" y="432707"/>
                </a:cubicBezTo>
                <a:cubicBezTo>
                  <a:pt x="3509507" y="436351"/>
                  <a:pt x="3511330" y="441819"/>
                  <a:pt x="3509507" y="445463"/>
                </a:cubicBezTo>
                <a:cubicBezTo>
                  <a:pt x="3505863" y="438174"/>
                  <a:pt x="3504041" y="436351"/>
                  <a:pt x="3498574" y="429063"/>
                </a:cubicBezTo>
                <a:close/>
                <a:moveTo>
                  <a:pt x="3391066" y="429063"/>
                </a:moveTo>
                <a:cubicBezTo>
                  <a:pt x="3385600" y="432707"/>
                  <a:pt x="3396532" y="436351"/>
                  <a:pt x="3400177" y="434530"/>
                </a:cubicBezTo>
                <a:cubicBezTo>
                  <a:pt x="3398355" y="425419"/>
                  <a:pt x="3392888" y="436351"/>
                  <a:pt x="3391066" y="429063"/>
                </a:cubicBezTo>
                <a:close/>
                <a:moveTo>
                  <a:pt x="3112274" y="429063"/>
                </a:moveTo>
                <a:cubicBezTo>
                  <a:pt x="3110451" y="429063"/>
                  <a:pt x="3106807" y="429063"/>
                  <a:pt x="3104985" y="430886"/>
                </a:cubicBezTo>
                <a:cubicBezTo>
                  <a:pt x="3104985" y="436351"/>
                  <a:pt x="3106807" y="439995"/>
                  <a:pt x="3112274" y="441819"/>
                </a:cubicBezTo>
                <a:cubicBezTo>
                  <a:pt x="3112274" y="438174"/>
                  <a:pt x="3114096" y="434530"/>
                  <a:pt x="3112274" y="429063"/>
                </a:cubicBezTo>
                <a:close/>
                <a:moveTo>
                  <a:pt x="3330934" y="427240"/>
                </a:moveTo>
                <a:cubicBezTo>
                  <a:pt x="3316357" y="427240"/>
                  <a:pt x="3323646" y="443640"/>
                  <a:pt x="3314535" y="443640"/>
                </a:cubicBezTo>
                <a:cubicBezTo>
                  <a:pt x="3320001" y="450928"/>
                  <a:pt x="3345512" y="443640"/>
                  <a:pt x="3336401" y="432707"/>
                </a:cubicBezTo>
                <a:cubicBezTo>
                  <a:pt x="3336401" y="432707"/>
                  <a:pt x="3329112" y="432707"/>
                  <a:pt x="3330934" y="427240"/>
                </a:cubicBezTo>
                <a:close/>
                <a:moveTo>
                  <a:pt x="3152361" y="427240"/>
                </a:moveTo>
                <a:cubicBezTo>
                  <a:pt x="3130495" y="434530"/>
                  <a:pt x="3119562" y="441819"/>
                  <a:pt x="3112274" y="463684"/>
                </a:cubicBezTo>
                <a:cubicBezTo>
                  <a:pt x="3139606" y="463684"/>
                  <a:pt x="3152361" y="452751"/>
                  <a:pt x="3152361" y="427240"/>
                </a:cubicBezTo>
                <a:close/>
                <a:moveTo>
                  <a:pt x="2177498" y="427240"/>
                </a:moveTo>
                <a:cubicBezTo>
                  <a:pt x="2177498" y="430886"/>
                  <a:pt x="2177498" y="434530"/>
                  <a:pt x="2181143" y="434530"/>
                </a:cubicBezTo>
                <a:cubicBezTo>
                  <a:pt x="2181143" y="432707"/>
                  <a:pt x="2181143" y="429063"/>
                  <a:pt x="2182965" y="429063"/>
                </a:cubicBezTo>
                <a:cubicBezTo>
                  <a:pt x="2181143" y="427240"/>
                  <a:pt x="2181143" y="429063"/>
                  <a:pt x="2177498" y="427240"/>
                </a:cubicBezTo>
                <a:close/>
                <a:moveTo>
                  <a:pt x="1488944" y="426885"/>
                </a:moveTo>
                <a:cubicBezTo>
                  <a:pt x="1489628" y="428707"/>
                  <a:pt x="1491450" y="432807"/>
                  <a:pt x="1506938" y="427341"/>
                </a:cubicBezTo>
                <a:lnTo>
                  <a:pt x="1521516" y="449207"/>
                </a:lnTo>
                <a:lnTo>
                  <a:pt x="1506938" y="449207"/>
                </a:lnTo>
                <a:lnTo>
                  <a:pt x="1477784" y="440096"/>
                </a:lnTo>
                <a:cubicBezTo>
                  <a:pt x="1488716" y="425518"/>
                  <a:pt x="1488261" y="425063"/>
                  <a:pt x="1488944" y="426885"/>
                </a:cubicBezTo>
                <a:close/>
                <a:moveTo>
                  <a:pt x="3332756" y="425419"/>
                </a:moveTo>
                <a:cubicBezTo>
                  <a:pt x="3336401" y="432707"/>
                  <a:pt x="3343690" y="430886"/>
                  <a:pt x="3349156" y="434530"/>
                </a:cubicBezTo>
                <a:cubicBezTo>
                  <a:pt x="3347334" y="432707"/>
                  <a:pt x="3341867" y="423596"/>
                  <a:pt x="3332756" y="425419"/>
                </a:cubicBezTo>
                <a:close/>
                <a:moveTo>
                  <a:pt x="2521889" y="425419"/>
                </a:moveTo>
                <a:cubicBezTo>
                  <a:pt x="2521889" y="427240"/>
                  <a:pt x="2518245" y="434530"/>
                  <a:pt x="2521889" y="438174"/>
                </a:cubicBezTo>
                <a:cubicBezTo>
                  <a:pt x="2525534" y="439995"/>
                  <a:pt x="2525534" y="434530"/>
                  <a:pt x="2525534" y="432707"/>
                </a:cubicBezTo>
                <a:cubicBezTo>
                  <a:pt x="2523711" y="439995"/>
                  <a:pt x="2531000" y="441819"/>
                  <a:pt x="2536466" y="438174"/>
                </a:cubicBezTo>
                <a:cubicBezTo>
                  <a:pt x="2540111" y="436351"/>
                  <a:pt x="2534644" y="430886"/>
                  <a:pt x="2536466" y="427240"/>
                </a:cubicBezTo>
                <a:cubicBezTo>
                  <a:pt x="2532822" y="429063"/>
                  <a:pt x="2527356" y="425419"/>
                  <a:pt x="2521889" y="425419"/>
                </a:cubicBezTo>
                <a:close/>
                <a:moveTo>
                  <a:pt x="2516423" y="425419"/>
                </a:moveTo>
                <a:cubicBezTo>
                  <a:pt x="2514600" y="425419"/>
                  <a:pt x="2512778" y="427240"/>
                  <a:pt x="2512778" y="432707"/>
                </a:cubicBezTo>
                <a:cubicBezTo>
                  <a:pt x="2516423" y="432707"/>
                  <a:pt x="2516423" y="434530"/>
                  <a:pt x="2518245" y="432707"/>
                </a:cubicBezTo>
                <a:cubicBezTo>
                  <a:pt x="2520067" y="427240"/>
                  <a:pt x="2516423" y="427240"/>
                  <a:pt x="2516423" y="425419"/>
                </a:cubicBezTo>
                <a:close/>
                <a:moveTo>
                  <a:pt x="2463580" y="425419"/>
                </a:moveTo>
                <a:cubicBezTo>
                  <a:pt x="2459935" y="425419"/>
                  <a:pt x="2459935" y="429063"/>
                  <a:pt x="2459935" y="432707"/>
                </a:cubicBezTo>
                <a:cubicBezTo>
                  <a:pt x="2467224" y="423596"/>
                  <a:pt x="2459935" y="438174"/>
                  <a:pt x="2467224" y="434530"/>
                </a:cubicBezTo>
                <a:cubicBezTo>
                  <a:pt x="2465402" y="432707"/>
                  <a:pt x="2465402" y="430886"/>
                  <a:pt x="2467224" y="427240"/>
                </a:cubicBezTo>
                <a:cubicBezTo>
                  <a:pt x="2465402" y="429063"/>
                  <a:pt x="2463580" y="427240"/>
                  <a:pt x="2463580" y="425419"/>
                </a:cubicBezTo>
                <a:close/>
                <a:moveTo>
                  <a:pt x="3595150" y="423596"/>
                </a:moveTo>
                <a:cubicBezTo>
                  <a:pt x="3595150" y="423596"/>
                  <a:pt x="3596972" y="423596"/>
                  <a:pt x="3598794" y="423596"/>
                </a:cubicBezTo>
                <a:cubicBezTo>
                  <a:pt x="3600616" y="425419"/>
                  <a:pt x="3600616" y="427240"/>
                  <a:pt x="3600616" y="429063"/>
                </a:cubicBezTo>
                <a:cubicBezTo>
                  <a:pt x="3596972" y="429063"/>
                  <a:pt x="3595150" y="427240"/>
                  <a:pt x="3595150" y="423596"/>
                </a:cubicBezTo>
                <a:close/>
                <a:moveTo>
                  <a:pt x="3170583" y="423596"/>
                </a:moveTo>
                <a:lnTo>
                  <a:pt x="3166939" y="430886"/>
                </a:lnTo>
                <a:cubicBezTo>
                  <a:pt x="3168761" y="434530"/>
                  <a:pt x="3172405" y="434530"/>
                  <a:pt x="3174227" y="434530"/>
                </a:cubicBezTo>
                <a:cubicBezTo>
                  <a:pt x="3170583" y="441819"/>
                  <a:pt x="3183338" y="452751"/>
                  <a:pt x="3185160" y="449107"/>
                </a:cubicBezTo>
                <a:cubicBezTo>
                  <a:pt x="3190627" y="443640"/>
                  <a:pt x="3190627" y="436351"/>
                  <a:pt x="3196093" y="430886"/>
                </a:cubicBezTo>
                <a:cubicBezTo>
                  <a:pt x="3185160" y="429063"/>
                  <a:pt x="3181516" y="423596"/>
                  <a:pt x="3170583" y="423596"/>
                </a:cubicBezTo>
                <a:close/>
                <a:moveTo>
                  <a:pt x="2157910" y="422457"/>
                </a:moveTo>
                <a:cubicBezTo>
                  <a:pt x="2155177" y="422685"/>
                  <a:pt x="2151988" y="423596"/>
                  <a:pt x="2148344" y="423596"/>
                </a:cubicBezTo>
                <a:cubicBezTo>
                  <a:pt x="2150166" y="429063"/>
                  <a:pt x="2161099" y="425419"/>
                  <a:pt x="2164743" y="425419"/>
                </a:cubicBezTo>
                <a:cubicBezTo>
                  <a:pt x="2162921" y="422685"/>
                  <a:pt x="2160644" y="422230"/>
                  <a:pt x="2157910" y="422457"/>
                </a:cubicBezTo>
                <a:close/>
                <a:moveTo>
                  <a:pt x="2240819" y="422002"/>
                </a:moveTo>
                <a:cubicBezTo>
                  <a:pt x="2239452" y="421319"/>
                  <a:pt x="2237630" y="421774"/>
                  <a:pt x="2235808" y="423596"/>
                </a:cubicBezTo>
                <a:cubicBezTo>
                  <a:pt x="2239452" y="425419"/>
                  <a:pt x="2237630" y="430886"/>
                  <a:pt x="2243096" y="427240"/>
                </a:cubicBezTo>
                <a:cubicBezTo>
                  <a:pt x="2243096" y="424508"/>
                  <a:pt x="2242185" y="422686"/>
                  <a:pt x="2240819" y="422002"/>
                </a:cubicBezTo>
                <a:close/>
                <a:moveTo>
                  <a:pt x="3591505" y="421775"/>
                </a:moveTo>
                <a:cubicBezTo>
                  <a:pt x="3591505" y="421775"/>
                  <a:pt x="3593327" y="423596"/>
                  <a:pt x="3593327" y="427240"/>
                </a:cubicBezTo>
                <a:lnTo>
                  <a:pt x="3589430" y="427240"/>
                </a:lnTo>
                <a:lnTo>
                  <a:pt x="3588889" y="423344"/>
                </a:lnTo>
                <a:close/>
                <a:moveTo>
                  <a:pt x="3571461" y="421775"/>
                </a:moveTo>
                <a:cubicBezTo>
                  <a:pt x="3571461" y="430886"/>
                  <a:pt x="3576928" y="425419"/>
                  <a:pt x="3576928" y="427240"/>
                </a:cubicBezTo>
                <a:cubicBezTo>
                  <a:pt x="3580572" y="427240"/>
                  <a:pt x="3580572" y="423596"/>
                  <a:pt x="3580572" y="421775"/>
                </a:cubicBezTo>
                <a:cubicBezTo>
                  <a:pt x="3578750" y="421775"/>
                  <a:pt x="3573284" y="421775"/>
                  <a:pt x="3571461" y="421775"/>
                </a:cubicBezTo>
                <a:close/>
                <a:moveTo>
                  <a:pt x="2383404" y="421775"/>
                </a:moveTo>
                <a:cubicBezTo>
                  <a:pt x="2381582" y="423596"/>
                  <a:pt x="2381582" y="432707"/>
                  <a:pt x="2387048" y="430886"/>
                </a:cubicBezTo>
                <a:cubicBezTo>
                  <a:pt x="2387048" y="425419"/>
                  <a:pt x="2383404" y="425419"/>
                  <a:pt x="2383404" y="421775"/>
                </a:cubicBezTo>
                <a:close/>
                <a:moveTo>
                  <a:pt x="3371022" y="419952"/>
                </a:moveTo>
                <a:cubicBezTo>
                  <a:pt x="3365556" y="421775"/>
                  <a:pt x="3369200" y="425419"/>
                  <a:pt x="3365556" y="427240"/>
                </a:cubicBezTo>
                <a:cubicBezTo>
                  <a:pt x="3369200" y="429063"/>
                  <a:pt x="3374666" y="427240"/>
                  <a:pt x="3376489" y="429063"/>
                </a:cubicBezTo>
                <a:cubicBezTo>
                  <a:pt x="3380133" y="423596"/>
                  <a:pt x="3371022" y="423596"/>
                  <a:pt x="3371022" y="419952"/>
                </a:cubicBezTo>
                <a:close/>
                <a:moveTo>
                  <a:pt x="2397981" y="419952"/>
                </a:moveTo>
                <a:cubicBezTo>
                  <a:pt x="2396159" y="427240"/>
                  <a:pt x="2401626" y="434530"/>
                  <a:pt x="2401626" y="439995"/>
                </a:cubicBezTo>
                <a:cubicBezTo>
                  <a:pt x="2407092" y="430886"/>
                  <a:pt x="2419847" y="430886"/>
                  <a:pt x="2418025" y="423596"/>
                </a:cubicBezTo>
                <a:cubicBezTo>
                  <a:pt x="2408914" y="425419"/>
                  <a:pt x="2407092" y="418129"/>
                  <a:pt x="2397981" y="419952"/>
                </a:cubicBezTo>
                <a:close/>
                <a:moveTo>
                  <a:pt x="2108256" y="419952"/>
                </a:moveTo>
                <a:cubicBezTo>
                  <a:pt x="2106433" y="419952"/>
                  <a:pt x="2104611" y="421775"/>
                  <a:pt x="2102790" y="421775"/>
                </a:cubicBezTo>
                <a:cubicBezTo>
                  <a:pt x="2100967" y="423596"/>
                  <a:pt x="2100967" y="423596"/>
                  <a:pt x="2100967" y="425419"/>
                </a:cubicBezTo>
                <a:cubicBezTo>
                  <a:pt x="2102790" y="425419"/>
                  <a:pt x="2102790" y="425419"/>
                  <a:pt x="2102790" y="425419"/>
                </a:cubicBezTo>
                <a:cubicBezTo>
                  <a:pt x="2106433" y="425419"/>
                  <a:pt x="2108256" y="423596"/>
                  <a:pt x="2108256" y="419952"/>
                </a:cubicBezTo>
                <a:close/>
                <a:moveTo>
                  <a:pt x="1271878" y="419952"/>
                </a:moveTo>
                <a:cubicBezTo>
                  <a:pt x="1273700" y="430886"/>
                  <a:pt x="1264589" y="441819"/>
                  <a:pt x="1266411" y="452751"/>
                </a:cubicBezTo>
                <a:cubicBezTo>
                  <a:pt x="1266411" y="452751"/>
                  <a:pt x="1268233" y="449107"/>
                  <a:pt x="1270056" y="450928"/>
                </a:cubicBezTo>
                <a:lnTo>
                  <a:pt x="1263453" y="460036"/>
                </a:lnTo>
                <a:lnTo>
                  <a:pt x="1264361" y="457079"/>
                </a:lnTo>
                <a:cubicBezTo>
                  <a:pt x="1265955" y="449107"/>
                  <a:pt x="1266411" y="440907"/>
                  <a:pt x="1264589" y="432707"/>
                </a:cubicBezTo>
                <a:cubicBezTo>
                  <a:pt x="1264589" y="434530"/>
                  <a:pt x="1266411" y="438174"/>
                  <a:pt x="1268233" y="436351"/>
                </a:cubicBezTo>
                <a:cubicBezTo>
                  <a:pt x="1271878" y="430886"/>
                  <a:pt x="1268233" y="423596"/>
                  <a:pt x="1271878" y="419952"/>
                </a:cubicBezTo>
                <a:close/>
                <a:moveTo>
                  <a:pt x="532075" y="419952"/>
                </a:moveTo>
                <a:cubicBezTo>
                  <a:pt x="532986" y="424508"/>
                  <a:pt x="534809" y="427696"/>
                  <a:pt x="537086" y="430430"/>
                </a:cubicBezTo>
                <a:lnTo>
                  <a:pt x="544319" y="437663"/>
                </a:lnTo>
                <a:lnTo>
                  <a:pt x="539364" y="487373"/>
                </a:lnTo>
                <a:cubicBezTo>
                  <a:pt x="540276" y="484639"/>
                  <a:pt x="539364" y="481906"/>
                  <a:pt x="537769" y="479400"/>
                </a:cubicBezTo>
                <a:lnTo>
                  <a:pt x="536785" y="478259"/>
                </a:lnTo>
                <a:lnTo>
                  <a:pt x="540958" y="456851"/>
                </a:lnTo>
                <a:cubicBezTo>
                  <a:pt x="542097" y="447740"/>
                  <a:pt x="541186" y="439085"/>
                  <a:pt x="533897" y="432707"/>
                </a:cubicBezTo>
                <a:cubicBezTo>
                  <a:pt x="533897" y="434530"/>
                  <a:pt x="533897" y="436351"/>
                  <a:pt x="533897" y="438174"/>
                </a:cubicBezTo>
                <a:cubicBezTo>
                  <a:pt x="533897" y="430886"/>
                  <a:pt x="530253" y="425419"/>
                  <a:pt x="532075" y="419952"/>
                </a:cubicBezTo>
                <a:close/>
                <a:moveTo>
                  <a:pt x="2797038" y="418221"/>
                </a:moveTo>
                <a:cubicBezTo>
                  <a:pt x="2795216" y="449198"/>
                  <a:pt x="2802505" y="441909"/>
                  <a:pt x="2775172" y="449198"/>
                </a:cubicBezTo>
                <a:cubicBezTo>
                  <a:pt x="2780639" y="423688"/>
                  <a:pt x="2778817" y="430976"/>
                  <a:pt x="2797038" y="418221"/>
                </a:cubicBezTo>
                <a:close/>
                <a:moveTo>
                  <a:pt x="3360089" y="418129"/>
                </a:moveTo>
                <a:cubicBezTo>
                  <a:pt x="3356445" y="418129"/>
                  <a:pt x="3352800" y="419952"/>
                  <a:pt x="3350978" y="421775"/>
                </a:cubicBezTo>
                <a:cubicBezTo>
                  <a:pt x="3350978" y="421775"/>
                  <a:pt x="3349156" y="419952"/>
                  <a:pt x="3347334" y="419952"/>
                </a:cubicBezTo>
                <a:cubicBezTo>
                  <a:pt x="3350978" y="423596"/>
                  <a:pt x="3349156" y="430886"/>
                  <a:pt x="3352800" y="430886"/>
                </a:cubicBezTo>
                <a:cubicBezTo>
                  <a:pt x="3356445" y="430886"/>
                  <a:pt x="3360089" y="423596"/>
                  <a:pt x="3360089" y="418129"/>
                </a:cubicBezTo>
                <a:close/>
                <a:moveTo>
                  <a:pt x="3279913" y="418129"/>
                </a:moveTo>
                <a:cubicBezTo>
                  <a:pt x="3279913" y="421775"/>
                  <a:pt x="3279913" y="425419"/>
                  <a:pt x="3276269" y="425419"/>
                </a:cubicBezTo>
                <a:cubicBezTo>
                  <a:pt x="3281736" y="430886"/>
                  <a:pt x="3290847" y="429063"/>
                  <a:pt x="3298135" y="432707"/>
                </a:cubicBezTo>
                <a:cubicBezTo>
                  <a:pt x="3298135" y="425419"/>
                  <a:pt x="3290847" y="416308"/>
                  <a:pt x="3279913" y="418129"/>
                </a:cubicBezTo>
                <a:close/>
                <a:moveTo>
                  <a:pt x="3232537" y="418129"/>
                </a:moveTo>
                <a:cubicBezTo>
                  <a:pt x="3230715" y="418129"/>
                  <a:pt x="3232537" y="421775"/>
                  <a:pt x="3232537" y="423596"/>
                </a:cubicBezTo>
                <a:cubicBezTo>
                  <a:pt x="3236181" y="423596"/>
                  <a:pt x="3238003" y="425419"/>
                  <a:pt x="3239826" y="423596"/>
                </a:cubicBezTo>
                <a:cubicBezTo>
                  <a:pt x="3239826" y="418129"/>
                  <a:pt x="3234359" y="419952"/>
                  <a:pt x="3232537" y="418129"/>
                </a:cubicBezTo>
                <a:close/>
                <a:moveTo>
                  <a:pt x="2385226" y="418129"/>
                </a:moveTo>
                <a:cubicBezTo>
                  <a:pt x="2385226" y="421775"/>
                  <a:pt x="2387048" y="423596"/>
                  <a:pt x="2387048" y="427240"/>
                </a:cubicBezTo>
                <a:cubicBezTo>
                  <a:pt x="2392515" y="419952"/>
                  <a:pt x="2392515" y="434530"/>
                  <a:pt x="2394337" y="438174"/>
                </a:cubicBezTo>
                <a:cubicBezTo>
                  <a:pt x="2397981" y="430886"/>
                  <a:pt x="2394337" y="414485"/>
                  <a:pt x="2385226" y="418129"/>
                </a:cubicBezTo>
                <a:close/>
                <a:moveTo>
                  <a:pt x="1971592" y="418129"/>
                </a:moveTo>
                <a:lnTo>
                  <a:pt x="1971447" y="418711"/>
                </a:lnTo>
                <a:lnTo>
                  <a:pt x="1975237" y="419974"/>
                </a:lnTo>
                <a:lnTo>
                  <a:pt x="1975638" y="419478"/>
                </a:lnTo>
                <a:close/>
                <a:moveTo>
                  <a:pt x="3587218" y="416522"/>
                </a:moveTo>
                <a:lnTo>
                  <a:pt x="3591505" y="419952"/>
                </a:lnTo>
                <a:lnTo>
                  <a:pt x="3588055" y="419262"/>
                </a:lnTo>
                <a:close/>
                <a:moveTo>
                  <a:pt x="3329112" y="416308"/>
                </a:moveTo>
                <a:cubicBezTo>
                  <a:pt x="3325468" y="418129"/>
                  <a:pt x="3329112" y="423596"/>
                  <a:pt x="3330934" y="423596"/>
                </a:cubicBezTo>
                <a:cubicBezTo>
                  <a:pt x="3332756" y="423596"/>
                  <a:pt x="3334579" y="423596"/>
                  <a:pt x="3336401" y="421775"/>
                </a:cubicBezTo>
                <a:cubicBezTo>
                  <a:pt x="3336401" y="416308"/>
                  <a:pt x="3329112" y="421775"/>
                  <a:pt x="3329112" y="416308"/>
                </a:cubicBezTo>
                <a:close/>
                <a:moveTo>
                  <a:pt x="3064897" y="416308"/>
                </a:moveTo>
                <a:cubicBezTo>
                  <a:pt x="3063075" y="418129"/>
                  <a:pt x="3063075" y="418129"/>
                  <a:pt x="3061253" y="418129"/>
                </a:cubicBezTo>
                <a:cubicBezTo>
                  <a:pt x="3057608" y="429063"/>
                  <a:pt x="3064897" y="425419"/>
                  <a:pt x="3070363" y="430886"/>
                </a:cubicBezTo>
                <a:cubicBezTo>
                  <a:pt x="3077652" y="423596"/>
                  <a:pt x="3061253" y="423596"/>
                  <a:pt x="3064897" y="416308"/>
                </a:cubicBezTo>
                <a:close/>
                <a:moveTo>
                  <a:pt x="2246741" y="416308"/>
                </a:moveTo>
                <a:cubicBezTo>
                  <a:pt x="2248563" y="421775"/>
                  <a:pt x="2250385" y="425419"/>
                  <a:pt x="2254030" y="427240"/>
                </a:cubicBezTo>
                <a:cubicBezTo>
                  <a:pt x="2252207" y="423596"/>
                  <a:pt x="2250385" y="423596"/>
                  <a:pt x="2252207" y="418129"/>
                </a:cubicBezTo>
                <a:cubicBezTo>
                  <a:pt x="2250385" y="418129"/>
                  <a:pt x="2250385" y="416308"/>
                  <a:pt x="2246741" y="416308"/>
                </a:cubicBezTo>
                <a:close/>
                <a:moveTo>
                  <a:pt x="3220921" y="415624"/>
                </a:moveTo>
                <a:cubicBezTo>
                  <a:pt x="3217960" y="414941"/>
                  <a:pt x="3215227" y="415396"/>
                  <a:pt x="3212493" y="418129"/>
                </a:cubicBezTo>
                <a:cubicBezTo>
                  <a:pt x="3212493" y="421775"/>
                  <a:pt x="3216137" y="421775"/>
                  <a:pt x="3216137" y="418129"/>
                </a:cubicBezTo>
                <a:cubicBezTo>
                  <a:pt x="3219782" y="419952"/>
                  <a:pt x="3219782" y="425419"/>
                  <a:pt x="3219782" y="429063"/>
                </a:cubicBezTo>
                <a:cubicBezTo>
                  <a:pt x="3216137" y="432707"/>
                  <a:pt x="3216137" y="421775"/>
                  <a:pt x="3214315" y="423596"/>
                </a:cubicBezTo>
                <a:cubicBezTo>
                  <a:pt x="3210671" y="423596"/>
                  <a:pt x="3208849" y="429063"/>
                  <a:pt x="3212493" y="432707"/>
                </a:cubicBezTo>
                <a:cubicBezTo>
                  <a:pt x="3214315" y="434530"/>
                  <a:pt x="3219782" y="434530"/>
                  <a:pt x="3223426" y="436351"/>
                </a:cubicBezTo>
                <a:cubicBezTo>
                  <a:pt x="3219782" y="438174"/>
                  <a:pt x="3214315" y="434530"/>
                  <a:pt x="3210671" y="436351"/>
                </a:cubicBezTo>
                <a:cubicBezTo>
                  <a:pt x="3225248" y="447284"/>
                  <a:pt x="3245292" y="452751"/>
                  <a:pt x="3239826" y="430886"/>
                </a:cubicBezTo>
                <a:cubicBezTo>
                  <a:pt x="3236181" y="430886"/>
                  <a:pt x="3234359" y="434530"/>
                  <a:pt x="3230715" y="436351"/>
                </a:cubicBezTo>
                <a:cubicBezTo>
                  <a:pt x="3234359" y="432707"/>
                  <a:pt x="3228893" y="425419"/>
                  <a:pt x="3230715" y="419952"/>
                </a:cubicBezTo>
                <a:cubicBezTo>
                  <a:pt x="3227071" y="418130"/>
                  <a:pt x="3223882" y="416308"/>
                  <a:pt x="3220921" y="415624"/>
                </a:cubicBezTo>
                <a:close/>
                <a:moveTo>
                  <a:pt x="2208020" y="413347"/>
                </a:moveTo>
                <a:cubicBezTo>
                  <a:pt x="2206198" y="412664"/>
                  <a:pt x="2203920" y="412664"/>
                  <a:pt x="2201187" y="414485"/>
                </a:cubicBezTo>
                <a:cubicBezTo>
                  <a:pt x="2204831" y="414485"/>
                  <a:pt x="2208475" y="419952"/>
                  <a:pt x="2212120" y="416308"/>
                </a:cubicBezTo>
                <a:cubicBezTo>
                  <a:pt x="2211209" y="415396"/>
                  <a:pt x="2209842" y="414030"/>
                  <a:pt x="2208020" y="413347"/>
                </a:cubicBezTo>
                <a:close/>
                <a:moveTo>
                  <a:pt x="3494930" y="412664"/>
                </a:moveTo>
                <a:cubicBezTo>
                  <a:pt x="3489463" y="414485"/>
                  <a:pt x="3487641" y="410841"/>
                  <a:pt x="3487641" y="418129"/>
                </a:cubicBezTo>
                <a:cubicBezTo>
                  <a:pt x="3487641" y="421775"/>
                  <a:pt x="3493108" y="418129"/>
                  <a:pt x="3494930" y="419952"/>
                </a:cubicBezTo>
                <a:cubicBezTo>
                  <a:pt x="3498574" y="419952"/>
                  <a:pt x="3494930" y="416308"/>
                  <a:pt x="3494930" y="412664"/>
                </a:cubicBezTo>
                <a:close/>
                <a:moveTo>
                  <a:pt x="2374293" y="412664"/>
                </a:moveTo>
                <a:cubicBezTo>
                  <a:pt x="2363360" y="410841"/>
                  <a:pt x="2359716" y="432707"/>
                  <a:pt x="2365182" y="441819"/>
                </a:cubicBezTo>
                <a:cubicBezTo>
                  <a:pt x="2365182" y="438174"/>
                  <a:pt x="2365182" y="436351"/>
                  <a:pt x="2365182" y="432707"/>
                </a:cubicBezTo>
                <a:cubicBezTo>
                  <a:pt x="2368827" y="434530"/>
                  <a:pt x="2370649" y="434530"/>
                  <a:pt x="2367004" y="429063"/>
                </a:cubicBezTo>
                <a:cubicBezTo>
                  <a:pt x="2377937" y="427240"/>
                  <a:pt x="2381582" y="414485"/>
                  <a:pt x="2374293" y="412664"/>
                </a:cubicBezTo>
                <a:close/>
                <a:moveTo>
                  <a:pt x="2361538" y="412664"/>
                </a:moveTo>
                <a:cubicBezTo>
                  <a:pt x="2357893" y="414485"/>
                  <a:pt x="2356071" y="414485"/>
                  <a:pt x="2356071" y="421775"/>
                </a:cubicBezTo>
                <a:cubicBezTo>
                  <a:pt x="2354249" y="419952"/>
                  <a:pt x="2354249" y="418129"/>
                  <a:pt x="2354249" y="416308"/>
                </a:cubicBezTo>
                <a:cubicBezTo>
                  <a:pt x="2343316" y="418129"/>
                  <a:pt x="2334205" y="429063"/>
                  <a:pt x="2323272" y="434530"/>
                </a:cubicBezTo>
                <a:cubicBezTo>
                  <a:pt x="2322361" y="438174"/>
                  <a:pt x="2324184" y="440907"/>
                  <a:pt x="2325322" y="443413"/>
                </a:cubicBezTo>
                <a:lnTo>
                  <a:pt x="2325003" y="444583"/>
                </a:lnTo>
                <a:lnTo>
                  <a:pt x="2323044" y="441818"/>
                </a:lnTo>
                <a:cubicBezTo>
                  <a:pt x="2321450" y="442274"/>
                  <a:pt x="2319628" y="444551"/>
                  <a:pt x="2317806" y="447284"/>
                </a:cubicBezTo>
                <a:cubicBezTo>
                  <a:pt x="2315983" y="452751"/>
                  <a:pt x="2319628" y="458218"/>
                  <a:pt x="2321450" y="461862"/>
                </a:cubicBezTo>
                <a:cubicBezTo>
                  <a:pt x="2325550" y="456395"/>
                  <a:pt x="2320425" y="451954"/>
                  <a:pt x="2322218" y="449306"/>
                </a:cubicBezTo>
                <a:lnTo>
                  <a:pt x="2323914" y="448576"/>
                </a:lnTo>
                <a:lnTo>
                  <a:pt x="2323272" y="450928"/>
                </a:lnTo>
                <a:cubicBezTo>
                  <a:pt x="2326916" y="454574"/>
                  <a:pt x="2325094" y="458218"/>
                  <a:pt x="2325094" y="461862"/>
                </a:cubicBezTo>
                <a:cubicBezTo>
                  <a:pt x="2326916" y="460039"/>
                  <a:pt x="2326916" y="458218"/>
                  <a:pt x="2328739" y="454574"/>
                </a:cubicBezTo>
                <a:cubicBezTo>
                  <a:pt x="2332383" y="458218"/>
                  <a:pt x="2337850" y="458218"/>
                  <a:pt x="2337850" y="465506"/>
                </a:cubicBezTo>
                <a:cubicBezTo>
                  <a:pt x="2346960" y="452751"/>
                  <a:pt x="2334205" y="450928"/>
                  <a:pt x="2328739" y="449107"/>
                </a:cubicBezTo>
                <a:cubicBezTo>
                  <a:pt x="2336027" y="445463"/>
                  <a:pt x="2339672" y="450928"/>
                  <a:pt x="2339672" y="438174"/>
                </a:cubicBezTo>
                <a:cubicBezTo>
                  <a:pt x="2343316" y="439995"/>
                  <a:pt x="2343316" y="443640"/>
                  <a:pt x="2345138" y="441819"/>
                </a:cubicBezTo>
                <a:cubicBezTo>
                  <a:pt x="2346960" y="438174"/>
                  <a:pt x="2343316" y="434530"/>
                  <a:pt x="2345138" y="429063"/>
                </a:cubicBezTo>
                <a:cubicBezTo>
                  <a:pt x="2348782" y="430886"/>
                  <a:pt x="2354249" y="429063"/>
                  <a:pt x="2357893" y="423596"/>
                </a:cubicBezTo>
                <a:cubicBezTo>
                  <a:pt x="2359716" y="423596"/>
                  <a:pt x="2359716" y="425419"/>
                  <a:pt x="2359716" y="427240"/>
                </a:cubicBezTo>
                <a:cubicBezTo>
                  <a:pt x="2363360" y="421775"/>
                  <a:pt x="2367004" y="410841"/>
                  <a:pt x="2361538" y="412664"/>
                </a:cubicBezTo>
                <a:close/>
                <a:moveTo>
                  <a:pt x="2259496" y="412664"/>
                </a:moveTo>
                <a:cubicBezTo>
                  <a:pt x="2255852" y="416308"/>
                  <a:pt x="2261318" y="421775"/>
                  <a:pt x="2266785" y="419952"/>
                </a:cubicBezTo>
                <a:cubicBezTo>
                  <a:pt x="2266785" y="414485"/>
                  <a:pt x="2259496" y="418129"/>
                  <a:pt x="2259496" y="412664"/>
                </a:cubicBezTo>
                <a:close/>
                <a:moveTo>
                  <a:pt x="2611176" y="410841"/>
                </a:moveTo>
                <a:cubicBezTo>
                  <a:pt x="2605709" y="412664"/>
                  <a:pt x="2607531" y="416308"/>
                  <a:pt x="2609353" y="418129"/>
                </a:cubicBezTo>
                <a:cubicBezTo>
                  <a:pt x="2611176" y="418129"/>
                  <a:pt x="2609353" y="410841"/>
                  <a:pt x="2611176" y="410841"/>
                </a:cubicBezTo>
                <a:close/>
                <a:moveTo>
                  <a:pt x="2162921" y="410841"/>
                </a:moveTo>
                <a:cubicBezTo>
                  <a:pt x="2161099" y="412664"/>
                  <a:pt x="2157454" y="409019"/>
                  <a:pt x="2157454" y="414485"/>
                </a:cubicBezTo>
                <a:cubicBezTo>
                  <a:pt x="2159277" y="414485"/>
                  <a:pt x="2162921" y="414485"/>
                  <a:pt x="2162921" y="412664"/>
                </a:cubicBezTo>
                <a:cubicBezTo>
                  <a:pt x="2162921" y="412664"/>
                  <a:pt x="2162921" y="410841"/>
                  <a:pt x="2162921" y="410841"/>
                </a:cubicBezTo>
                <a:close/>
                <a:moveTo>
                  <a:pt x="2119189" y="410841"/>
                </a:moveTo>
                <a:cubicBezTo>
                  <a:pt x="2111900" y="412664"/>
                  <a:pt x="2117366" y="421775"/>
                  <a:pt x="2122833" y="421775"/>
                </a:cubicBezTo>
                <a:cubicBezTo>
                  <a:pt x="2122833" y="418129"/>
                  <a:pt x="2126477" y="418129"/>
                  <a:pt x="2128300" y="414485"/>
                </a:cubicBezTo>
                <a:cubicBezTo>
                  <a:pt x="2126477" y="414485"/>
                  <a:pt x="2126477" y="414485"/>
                  <a:pt x="2126477" y="412664"/>
                </a:cubicBezTo>
                <a:cubicBezTo>
                  <a:pt x="2122833" y="414485"/>
                  <a:pt x="2121011" y="416308"/>
                  <a:pt x="2119189" y="410841"/>
                </a:cubicBezTo>
                <a:close/>
                <a:moveTo>
                  <a:pt x="475589" y="410841"/>
                </a:moveTo>
                <a:lnTo>
                  <a:pt x="487454" y="425455"/>
                </a:lnTo>
                <a:lnTo>
                  <a:pt x="485154" y="423368"/>
                </a:lnTo>
                <a:cubicBezTo>
                  <a:pt x="481965" y="419496"/>
                  <a:pt x="479232" y="415396"/>
                  <a:pt x="475589" y="410841"/>
                </a:cubicBezTo>
                <a:close/>
                <a:moveTo>
                  <a:pt x="2171577" y="410158"/>
                </a:moveTo>
                <a:cubicBezTo>
                  <a:pt x="2170210" y="409019"/>
                  <a:pt x="2168388" y="409019"/>
                  <a:pt x="2166565" y="410841"/>
                </a:cubicBezTo>
                <a:cubicBezTo>
                  <a:pt x="2168387" y="414485"/>
                  <a:pt x="2170210" y="416308"/>
                  <a:pt x="2173854" y="416308"/>
                </a:cubicBezTo>
                <a:cubicBezTo>
                  <a:pt x="2173854" y="413574"/>
                  <a:pt x="2172943" y="411297"/>
                  <a:pt x="2171577" y="410158"/>
                </a:cubicBezTo>
                <a:close/>
                <a:moveTo>
                  <a:pt x="1887772" y="409037"/>
                </a:moveTo>
                <a:cubicBezTo>
                  <a:pt x="1893239" y="410859"/>
                  <a:pt x="1889594" y="416325"/>
                  <a:pt x="1891417" y="416325"/>
                </a:cubicBezTo>
                <a:cubicBezTo>
                  <a:pt x="1885950" y="418147"/>
                  <a:pt x="1885950" y="410859"/>
                  <a:pt x="1887772" y="409037"/>
                </a:cubicBezTo>
                <a:close/>
                <a:moveTo>
                  <a:pt x="2139233" y="409019"/>
                </a:moveTo>
                <a:cubicBezTo>
                  <a:pt x="2135588" y="409019"/>
                  <a:pt x="2137410" y="419952"/>
                  <a:pt x="2141055" y="418129"/>
                </a:cubicBezTo>
                <a:cubicBezTo>
                  <a:pt x="2139233" y="414485"/>
                  <a:pt x="2139233" y="412664"/>
                  <a:pt x="2139233" y="409019"/>
                </a:cubicBezTo>
                <a:close/>
                <a:moveTo>
                  <a:pt x="3050319" y="407196"/>
                </a:moveTo>
                <a:cubicBezTo>
                  <a:pt x="3046675" y="407196"/>
                  <a:pt x="3044853" y="414485"/>
                  <a:pt x="3048497" y="418129"/>
                </a:cubicBezTo>
                <a:cubicBezTo>
                  <a:pt x="3048497" y="414485"/>
                  <a:pt x="3052142" y="412664"/>
                  <a:pt x="3050319" y="407196"/>
                </a:cubicBezTo>
                <a:close/>
                <a:moveTo>
                  <a:pt x="2097323" y="407196"/>
                </a:moveTo>
                <a:cubicBezTo>
                  <a:pt x="2099145" y="412664"/>
                  <a:pt x="2099145" y="416308"/>
                  <a:pt x="2099145" y="418129"/>
                </a:cubicBezTo>
                <a:lnTo>
                  <a:pt x="2102790" y="419952"/>
                </a:lnTo>
                <a:cubicBezTo>
                  <a:pt x="2102790" y="418129"/>
                  <a:pt x="2104611" y="416308"/>
                  <a:pt x="2104611" y="412664"/>
                </a:cubicBezTo>
                <a:cubicBezTo>
                  <a:pt x="2099145" y="412664"/>
                  <a:pt x="2099145" y="410841"/>
                  <a:pt x="2100967" y="407196"/>
                </a:cubicBezTo>
                <a:cubicBezTo>
                  <a:pt x="2099145" y="407196"/>
                  <a:pt x="2099145" y="407196"/>
                  <a:pt x="2097323" y="407196"/>
                </a:cubicBezTo>
                <a:close/>
                <a:moveTo>
                  <a:pt x="2080923" y="407196"/>
                </a:moveTo>
                <a:lnTo>
                  <a:pt x="2081290" y="407930"/>
                </a:lnTo>
                <a:lnTo>
                  <a:pt x="2081033" y="409128"/>
                </a:lnTo>
                <a:lnTo>
                  <a:pt x="2080923" y="409019"/>
                </a:lnTo>
                <a:lnTo>
                  <a:pt x="2079101" y="410841"/>
                </a:lnTo>
                <a:cubicBezTo>
                  <a:pt x="2079101" y="409019"/>
                  <a:pt x="2079101" y="407196"/>
                  <a:pt x="2080923" y="407196"/>
                </a:cubicBezTo>
                <a:close/>
                <a:moveTo>
                  <a:pt x="3349156" y="405375"/>
                </a:moveTo>
                <a:cubicBezTo>
                  <a:pt x="3341867" y="405375"/>
                  <a:pt x="3347334" y="414485"/>
                  <a:pt x="3350978" y="414485"/>
                </a:cubicBezTo>
                <a:cubicBezTo>
                  <a:pt x="3350978" y="410841"/>
                  <a:pt x="3349156" y="409019"/>
                  <a:pt x="3349156" y="405375"/>
                </a:cubicBezTo>
                <a:close/>
                <a:moveTo>
                  <a:pt x="2592954" y="405375"/>
                </a:moveTo>
                <a:cubicBezTo>
                  <a:pt x="2587487" y="405375"/>
                  <a:pt x="2592954" y="419952"/>
                  <a:pt x="2589310" y="410841"/>
                </a:cubicBezTo>
                <a:cubicBezTo>
                  <a:pt x="2583843" y="414485"/>
                  <a:pt x="2592954" y="418129"/>
                  <a:pt x="2589310" y="421775"/>
                </a:cubicBezTo>
                <a:cubicBezTo>
                  <a:pt x="2587487" y="421775"/>
                  <a:pt x="2589310" y="418129"/>
                  <a:pt x="2585665" y="418129"/>
                </a:cubicBezTo>
                <a:cubicBezTo>
                  <a:pt x="2583843" y="423596"/>
                  <a:pt x="2585665" y="427240"/>
                  <a:pt x="2585665" y="429063"/>
                </a:cubicBezTo>
                <a:cubicBezTo>
                  <a:pt x="2592954" y="432707"/>
                  <a:pt x="2589310" y="419952"/>
                  <a:pt x="2594776" y="419952"/>
                </a:cubicBezTo>
                <a:cubicBezTo>
                  <a:pt x="2592954" y="416308"/>
                  <a:pt x="2592954" y="410841"/>
                  <a:pt x="2592954" y="405375"/>
                </a:cubicBezTo>
                <a:close/>
                <a:moveTo>
                  <a:pt x="2582021" y="403552"/>
                </a:moveTo>
                <a:cubicBezTo>
                  <a:pt x="2582021" y="407196"/>
                  <a:pt x="2580199" y="412664"/>
                  <a:pt x="2583843" y="412664"/>
                </a:cubicBezTo>
                <a:cubicBezTo>
                  <a:pt x="2583843" y="409019"/>
                  <a:pt x="2583843" y="407196"/>
                  <a:pt x="2585665" y="403552"/>
                </a:cubicBezTo>
                <a:cubicBezTo>
                  <a:pt x="2583843" y="403552"/>
                  <a:pt x="2583843" y="403552"/>
                  <a:pt x="2582021" y="403552"/>
                </a:cubicBezTo>
                <a:close/>
                <a:moveTo>
                  <a:pt x="2104611" y="403552"/>
                </a:moveTo>
                <a:cubicBezTo>
                  <a:pt x="2102790" y="410841"/>
                  <a:pt x="2104611" y="416308"/>
                  <a:pt x="2108256" y="418129"/>
                </a:cubicBezTo>
                <a:cubicBezTo>
                  <a:pt x="2113722" y="418129"/>
                  <a:pt x="2106433" y="407196"/>
                  <a:pt x="2111900" y="407196"/>
                </a:cubicBezTo>
                <a:cubicBezTo>
                  <a:pt x="2111900" y="405375"/>
                  <a:pt x="2110078" y="403552"/>
                  <a:pt x="2104611" y="403552"/>
                </a:cubicBezTo>
                <a:close/>
                <a:moveTo>
                  <a:pt x="3035742" y="401731"/>
                </a:moveTo>
                <a:cubicBezTo>
                  <a:pt x="3033920" y="403552"/>
                  <a:pt x="3030276" y="403552"/>
                  <a:pt x="3032098" y="409019"/>
                </a:cubicBezTo>
                <a:cubicBezTo>
                  <a:pt x="3035742" y="409019"/>
                  <a:pt x="3037564" y="407196"/>
                  <a:pt x="3035742" y="401731"/>
                </a:cubicBezTo>
                <a:close/>
                <a:moveTo>
                  <a:pt x="2232163" y="401731"/>
                </a:moveTo>
                <a:cubicBezTo>
                  <a:pt x="2228519" y="403552"/>
                  <a:pt x="2230341" y="405375"/>
                  <a:pt x="2232163" y="409019"/>
                </a:cubicBezTo>
                <a:cubicBezTo>
                  <a:pt x="2230341" y="407196"/>
                  <a:pt x="2230341" y="407196"/>
                  <a:pt x="2230341" y="405375"/>
                </a:cubicBezTo>
                <a:cubicBezTo>
                  <a:pt x="2226697" y="405375"/>
                  <a:pt x="2226697" y="410841"/>
                  <a:pt x="2224875" y="409019"/>
                </a:cubicBezTo>
                <a:cubicBezTo>
                  <a:pt x="2217586" y="403552"/>
                  <a:pt x="2213942" y="409019"/>
                  <a:pt x="2208475" y="410841"/>
                </a:cubicBezTo>
                <a:cubicBezTo>
                  <a:pt x="2212120" y="416308"/>
                  <a:pt x="2224875" y="409019"/>
                  <a:pt x="2226697" y="418129"/>
                </a:cubicBezTo>
                <a:cubicBezTo>
                  <a:pt x="2226697" y="414485"/>
                  <a:pt x="2221230" y="409019"/>
                  <a:pt x="2228519" y="409019"/>
                </a:cubicBezTo>
                <a:cubicBezTo>
                  <a:pt x="2232163" y="409019"/>
                  <a:pt x="2230341" y="414485"/>
                  <a:pt x="2233986" y="412664"/>
                </a:cubicBezTo>
                <a:cubicBezTo>
                  <a:pt x="2233986" y="409019"/>
                  <a:pt x="2233986" y="405375"/>
                  <a:pt x="2232163" y="401731"/>
                </a:cubicBezTo>
                <a:close/>
                <a:moveTo>
                  <a:pt x="3290391" y="401275"/>
                </a:moveTo>
                <a:cubicBezTo>
                  <a:pt x="3288569" y="403552"/>
                  <a:pt x="3288114" y="407197"/>
                  <a:pt x="3290847" y="409019"/>
                </a:cubicBezTo>
                <a:cubicBezTo>
                  <a:pt x="3292669" y="405375"/>
                  <a:pt x="3298135" y="405375"/>
                  <a:pt x="3298135" y="401731"/>
                </a:cubicBezTo>
                <a:cubicBezTo>
                  <a:pt x="3295402" y="398086"/>
                  <a:pt x="3292214" y="398997"/>
                  <a:pt x="3290391" y="401275"/>
                </a:cubicBezTo>
                <a:close/>
                <a:moveTo>
                  <a:pt x="2561977" y="399908"/>
                </a:moveTo>
                <a:cubicBezTo>
                  <a:pt x="2560155" y="405375"/>
                  <a:pt x="2554688" y="409019"/>
                  <a:pt x="2554688" y="416308"/>
                </a:cubicBezTo>
                <a:cubicBezTo>
                  <a:pt x="2558332" y="418129"/>
                  <a:pt x="2556510" y="410841"/>
                  <a:pt x="2560155" y="410841"/>
                </a:cubicBezTo>
                <a:cubicBezTo>
                  <a:pt x="2565621" y="409019"/>
                  <a:pt x="2558332" y="418129"/>
                  <a:pt x="2563799" y="416308"/>
                </a:cubicBezTo>
                <a:cubicBezTo>
                  <a:pt x="2563799" y="412664"/>
                  <a:pt x="2563799" y="409019"/>
                  <a:pt x="2567443" y="410841"/>
                </a:cubicBezTo>
                <a:cubicBezTo>
                  <a:pt x="2567443" y="405375"/>
                  <a:pt x="2558332" y="407196"/>
                  <a:pt x="2561977" y="399908"/>
                </a:cubicBezTo>
                <a:close/>
                <a:moveTo>
                  <a:pt x="2128644" y="398241"/>
                </a:moveTo>
                <a:lnTo>
                  <a:pt x="2128374" y="405272"/>
                </a:lnTo>
                <a:lnTo>
                  <a:pt x="2128300" y="405375"/>
                </a:lnTo>
                <a:cubicBezTo>
                  <a:pt x="2129211" y="403552"/>
                  <a:pt x="2128756" y="400819"/>
                  <a:pt x="2128528" y="398541"/>
                </a:cubicBezTo>
                <a:close/>
                <a:moveTo>
                  <a:pt x="3279913" y="398085"/>
                </a:moveTo>
                <a:lnTo>
                  <a:pt x="3280856" y="398400"/>
                </a:lnTo>
                <a:lnTo>
                  <a:pt x="3281736" y="399908"/>
                </a:lnTo>
                <a:cubicBezTo>
                  <a:pt x="3281736" y="398085"/>
                  <a:pt x="3279913" y="398085"/>
                  <a:pt x="3279913" y="398085"/>
                </a:cubicBezTo>
                <a:close/>
                <a:moveTo>
                  <a:pt x="1968512" y="397522"/>
                </a:moveTo>
                <a:lnTo>
                  <a:pt x="1970909" y="402869"/>
                </a:lnTo>
                <a:cubicBezTo>
                  <a:pt x="1972048" y="405375"/>
                  <a:pt x="1972503" y="408108"/>
                  <a:pt x="1969770" y="410841"/>
                </a:cubicBezTo>
                <a:cubicBezTo>
                  <a:pt x="1968859" y="408108"/>
                  <a:pt x="1968859" y="405375"/>
                  <a:pt x="1968631" y="402869"/>
                </a:cubicBezTo>
                <a:lnTo>
                  <a:pt x="1967128" y="398906"/>
                </a:lnTo>
                <a:close/>
                <a:moveTo>
                  <a:pt x="3563945" y="397175"/>
                </a:moveTo>
                <a:cubicBezTo>
                  <a:pt x="3563262" y="397631"/>
                  <a:pt x="3563262" y="398998"/>
                  <a:pt x="3564173" y="401731"/>
                </a:cubicBezTo>
                <a:cubicBezTo>
                  <a:pt x="3565995" y="399908"/>
                  <a:pt x="3569639" y="403552"/>
                  <a:pt x="3567817" y="398085"/>
                </a:cubicBezTo>
                <a:cubicBezTo>
                  <a:pt x="3565995" y="397175"/>
                  <a:pt x="3564629" y="396719"/>
                  <a:pt x="3563945" y="397175"/>
                </a:cubicBezTo>
                <a:close/>
                <a:moveTo>
                  <a:pt x="1904171" y="396281"/>
                </a:moveTo>
                <a:cubicBezTo>
                  <a:pt x="1904171" y="396281"/>
                  <a:pt x="1905993" y="396281"/>
                  <a:pt x="1905993" y="398103"/>
                </a:cubicBezTo>
                <a:cubicBezTo>
                  <a:pt x="1905993" y="398103"/>
                  <a:pt x="1907816" y="396281"/>
                  <a:pt x="1907816" y="396281"/>
                </a:cubicBezTo>
                <a:cubicBezTo>
                  <a:pt x="1909639" y="403570"/>
                  <a:pt x="1915104" y="409036"/>
                  <a:pt x="1918750" y="410859"/>
                </a:cubicBezTo>
                <a:cubicBezTo>
                  <a:pt x="1927861" y="410859"/>
                  <a:pt x="1938793" y="405392"/>
                  <a:pt x="1946081" y="398103"/>
                </a:cubicBezTo>
                <a:cubicBezTo>
                  <a:pt x="1946081" y="399926"/>
                  <a:pt x="1946081" y="401748"/>
                  <a:pt x="1949726" y="401748"/>
                </a:cubicBezTo>
                <a:cubicBezTo>
                  <a:pt x="1942437" y="403570"/>
                  <a:pt x="1935148" y="407214"/>
                  <a:pt x="1940615" y="416325"/>
                </a:cubicBezTo>
                <a:cubicBezTo>
                  <a:pt x="1936970" y="418147"/>
                  <a:pt x="1938793" y="409036"/>
                  <a:pt x="1935148" y="410859"/>
                </a:cubicBezTo>
                <a:cubicBezTo>
                  <a:pt x="1922393" y="414503"/>
                  <a:pt x="1913282" y="425436"/>
                  <a:pt x="1915104" y="440013"/>
                </a:cubicBezTo>
                <a:cubicBezTo>
                  <a:pt x="1922393" y="436369"/>
                  <a:pt x="1927861" y="434547"/>
                  <a:pt x="1935148" y="432725"/>
                </a:cubicBezTo>
                <a:cubicBezTo>
                  <a:pt x="1931504" y="438191"/>
                  <a:pt x="1920571" y="438191"/>
                  <a:pt x="1924215" y="445480"/>
                </a:cubicBezTo>
                <a:cubicBezTo>
                  <a:pt x="1924215" y="441836"/>
                  <a:pt x="1920571" y="443658"/>
                  <a:pt x="1918750" y="441836"/>
                </a:cubicBezTo>
                <a:cubicBezTo>
                  <a:pt x="1915104" y="452769"/>
                  <a:pt x="1927861" y="456413"/>
                  <a:pt x="1926037" y="465524"/>
                </a:cubicBezTo>
                <a:cubicBezTo>
                  <a:pt x="1922393" y="458235"/>
                  <a:pt x="1918750" y="450946"/>
                  <a:pt x="1913282" y="445480"/>
                </a:cubicBezTo>
                <a:cubicBezTo>
                  <a:pt x="1909639" y="443658"/>
                  <a:pt x="1915104" y="454591"/>
                  <a:pt x="1909639" y="452769"/>
                </a:cubicBezTo>
                <a:cubicBezTo>
                  <a:pt x="1907816" y="452769"/>
                  <a:pt x="1905993" y="443658"/>
                  <a:pt x="1904171" y="449124"/>
                </a:cubicBezTo>
                <a:cubicBezTo>
                  <a:pt x="1902349" y="450946"/>
                  <a:pt x="1905993" y="458235"/>
                  <a:pt x="1902349" y="463702"/>
                </a:cubicBezTo>
                <a:cubicBezTo>
                  <a:pt x="1898705" y="452769"/>
                  <a:pt x="1893238" y="440013"/>
                  <a:pt x="1882306" y="438191"/>
                </a:cubicBezTo>
                <a:cubicBezTo>
                  <a:pt x="1885950" y="440013"/>
                  <a:pt x="1884127" y="430903"/>
                  <a:pt x="1885950" y="432725"/>
                </a:cubicBezTo>
                <a:cubicBezTo>
                  <a:pt x="1895060" y="438191"/>
                  <a:pt x="1902349" y="445480"/>
                  <a:pt x="1911460" y="443658"/>
                </a:cubicBezTo>
                <a:cubicBezTo>
                  <a:pt x="1909639" y="440013"/>
                  <a:pt x="1911460" y="440013"/>
                  <a:pt x="1911460" y="436369"/>
                </a:cubicBezTo>
                <a:cubicBezTo>
                  <a:pt x="1909639" y="438191"/>
                  <a:pt x="1907816" y="438191"/>
                  <a:pt x="1905993" y="440013"/>
                </a:cubicBezTo>
                <a:cubicBezTo>
                  <a:pt x="1905993" y="438191"/>
                  <a:pt x="1905993" y="436369"/>
                  <a:pt x="1904171" y="434547"/>
                </a:cubicBezTo>
                <a:cubicBezTo>
                  <a:pt x="1905993" y="434547"/>
                  <a:pt x="1907816" y="430903"/>
                  <a:pt x="1909639" y="434547"/>
                </a:cubicBezTo>
                <a:cubicBezTo>
                  <a:pt x="1911460" y="429080"/>
                  <a:pt x="1915104" y="423614"/>
                  <a:pt x="1913282" y="416325"/>
                </a:cubicBezTo>
                <a:cubicBezTo>
                  <a:pt x="1911460" y="416325"/>
                  <a:pt x="1911460" y="418147"/>
                  <a:pt x="1909639" y="418147"/>
                </a:cubicBezTo>
                <a:cubicBezTo>
                  <a:pt x="1909639" y="409036"/>
                  <a:pt x="1911460" y="403570"/>
                  <a:pt x="1904171" y="398103"/>
                </a:cubicBezTo>
                <a:cubicBezTo>
                  <a:pt x="1904171" y="399926"/>
                  <a:pt x="1904171" y="401748"/>
                  <a:pt x="1902349" y="403570"/>
                </a:cubicBezTo>
                <a:cubicBezTo>
                  <a:pt x="1902349" y="401748"/>
                  <a:pt x="1902349" y="398103"/>
                  <a:pt x="1904171" y="396281"/>
                </a:cubicBezTo>
                <a:close/>
                <a:moveTo>
                  <a:pt x="1967948" y="396264"/>
                </a:moveTo>
                <a:lnTo>
                  <a:pt x="1968859" y="397175"/>
                </a:lnTo>
                <a:lnTo>
                  <a:pt x="1968512" y="397522"/>
                </a:lnTo>
                <a:close/>
                <a:moveTo>
                  <a:pt x="1966126" y="396264"/>
                </a:moveTo>
                <a:lnTo>
                  <a:pt x="1967128" y="398906"/>
                </a:lnTo>
                <a:lnTo>
                  <a:pt x="1966126" y="399908"/>
                </a:lnTo>
                <a:lnTo>
                  <a:pt x="1965397" y="396992"/>
                </a:lnTo>
                <a:close/>
                <a:moveTo>
                  <a:pt x="3305424" y="394441"/>
                </a:moveTo>
                <a:lnTo>
                  <a:pt x="3306010" y="394637"/>
                </a:lnTo>
                <a:lnTo>
                  <a:pt x="3302918" y="395125"/>
                </a:lnTo>
                <a:lnTo>
                  <a:pt x="3301679" y="394839"/>
                </a:lnTo>
                <a:close/>
                <a:moveTo>
                  <a:pt x="3299957" y="394441"/>
                </a:moveTo>
                <a:lnTo>
                  <a:pt x="3301679" y="394839"/>
                </a:lnTo>
                <a:lnTo>
                  <a:pt x="3299828" y="395035"/>
                </a:lnTo>
                <a:close/>
                <a:moveTo>
                  <a:pt x="2572910" y="394441"/>
                </a:moveTo>
                <a:cubicBezTo>
                  <a:pt x="2569266" y="394441"/>
                  <a:pt x="2561977" y="394441"/>
                  <a:pt x="2565621" y="398085"/>
                </a:cubicBezTo>
                <a:cubicBezTo>
                  <a:pt x="2569266" y="399908"/>
                  <a:pt x="2571088" y="405375"/>
                  <a:pt x="2574732" y="405375"/>
                </a:cubicBezTo>
                <a:cubicBezTo>
                  <a:pt x="2576554" y="403552"/>
                  <a:pt x="2576554" y="401731"/>
                  <a:pt x="2576554" y="399908"/>
                </a:cubicBezTo>
                <a:cubicBezTo>
                  <a:pt x="2574732" y="399908"/>
                  <a:pt x="2572910" y="401731"/>
                  <a:pt x="2571088" y="401731"/>
                </a:cubicBezTo>
                <a:cubicBezTo>
                  <a:pt x="2576554" y="401731"/>
                  <a:pt x="2572910" y="396264"/>
                  <a:pt x="2572910" y="394441"/>
                </a:cubicBezTo>
                <a:close/>
                <a:moveTo>
                  <a:pt x="2541933" y="394441"/>
                </a:moveTo>
                <a:cubicBezTo>
                  <a:pt x="2532822" y="394441"/>
                  <a:pt x="2523711" y="398085"/>
                  <a:pt x="2523711" y="405375"/>
                </a:cubicBezTo>
                <a:cubicBezTo>
                  <a:pt x="2532822" y="396264"/>
                  <a:pt x="2534644" y="403552"/>
                  <a:pt x="2541933" y="409019"/>
                </a:cubicBezTo>
                <a:cubicBezTo>
                  <a:pt x="2545577" y="405375"/>
                  <a:pt x="2538289" y="401731"/>
                  <a:pt x="2541933" y="394441"/>
                </a:cubicBezTo>
                <a:close/>
                <a:moveTo>
                  <a:pt x="3520941" y="394262"/>
                </a:moveTo>
                <a:lnTo>
                  <a:pt x="3520440" y="396264"/>
                </a:lnTo>
                <a:lnTo>
                  <a:pt x="3520340" y="395005"/>
                </a:lnTo>
                <a:lnTo>
                  <a:pt x="3520440" y="394441"/>
                </a:lnTo>
                <a:close/>
                <a:moveTo>
                  <a:pt x="3338223" y="392620"/>
                </a:moveTo>
                <a:cubicBezTo>
                  <a:pt x="3332756" y="396264"/>
                  <a:pt x="3332756" y="403552"/>
                  <a:pt x="3325468" y="407196"/>
                </a:cubicBezTo>
                <a:cubicBezTo>
                  <a:pt x="3329112" y="412664"/>
                  <a:pt x="3336401" y="412664"/>
                  <a:pt x="3341867" y="414485"/>
                </a:cubicBezTo>
                <a:cubicBezTo>
                  <a:pt x="3338223" y="409019"/>
                  <a:pt x="3340045" y="403552"/>
                  <a:pt x="3338223" y="392620"/>
                </a:cubicBezTo>
                <a:close/>
                <a:moveTo>
                  <a:pt x="3203382" y="392620"/>
                </a:moveTo>
                <a:cubicBezTo>
                  <a:pt x="3197916" y="394441"/>
                  <a:pt x="3201560" y="396264"/>
                  <a:pt x="3201560" y="399908"/>
                </a:cubicBezTo>
                <a:cubicBezTo>
                  <a:pt x="3203382" y="398085"/>
                  <a:pt x="3205204" y="396264"/>
                  <a:pt x="3203382" y="392620"/>
                </a:cubicBezTo>
                <a:close/>
                <a:moveTo>
                  <a:pt x="2348782" y="392620"/>
                </a:moveTo>
                <a:cubicBezTo>
                  <a:pt x="2345138" y="394441"/>
                  <a:pt x="2343316" y="398085"/>
                  <a:pt x="2343316" y="403552"/>
                </a:cubicBezTo>
                <a:cubicBezTo>
                  <a:pt x="2345138" y="405375"/>
                  <a:pt x="2346960" y="405375"/>
                  <a:pt x="2350605" y="403552"/>
                </a:cubicBezTo>
                <a:cubicBezTo>
                  <a:pt x="2348782" y="401731"/>
                  <a:pt x="2348782" y="398085"/>
                  <a:pt x="2348782" y="392620"/>
                </a:cubicBezTo>
                <a:close/>
                <a:moveTo>
                  <a:pt x="1964305" y="392620"/>
                </a:moveTo>
                <a:lnTo>
                  <a:pt x="1965397" y="396992"/>
                </a:lnTo>
                <a:lnTo>
                  <a:pt x="1960659" y="401731"/>
                </a:lnTo>
                <a:cubicBezTo>
                  <a:pt x="1962482" y="399908"/>
                  <a:pt x="1960659" y="398085"/>
                  <a:pt x="1960659" y="396264"/>
                </a:cubicBezTo>
                <a:cubicBezTo>
                  <a:pt x="1962482" y="394441"/>
                  <a:pt x="1962482" y="394441"/>
                  <a:pt x="1962482" y="394441"/>
                </a:cubicBezTo>
                <a:cubicBezTo>
                  <a:pt x="1964305" y="394441"/>
                  <a:pt x="1964305" y="394441"/>
                  <a:pt x="1964305" y="392620"/>
                </a:cubicBezTo>
                <a:close/>
                <a:moveTo>
                  <a:pt x="2361994" y="392392"/>
                </a:moveTo>
                <a:cubicBezTo>
                  <a:pt x="2360172" y="392620"/>
                  <a:pt x="2357894" y="393530"/>
                  <a:pt x="2356071" y="392620"/>
                </a:cubicBezTo>
                <a:cubicBezTo>
                  <a:pt x="2356071" y="396264"/>
                  <a:pt x="2354249" y="398085"/>
                  <a:pt x="2354249" y="399908"/>
                </a:cubicBezTo>
                <a:cubicBezTo>
                  <a:pt x="2357893" y="398085"/>
                  <a:pt x="2361538" y="394441"/>
                  <a:pt x="2365182" y="396264"/>
                </a:cubicBezTo>
                <a:cubicBezTo>
                  <a:pt x="2365182" y="392620"/>
                  <a:pt x="2363816" y="392164"/>
                  <a:pt x="2361994" y="392392"/>
                </a:cubicBezTo>
                <a:close/>
                <a:moveTo>
                  <a:pt x="3522263" y="388976"/>
                </a:moveTo>
                <a:cubicBezTo>
                  <a:pt x="3519530" y="388064"/>
                  <a:pt x="3519530" y="388975"/>
                  <a:pt x="3519985" y="390569"/>
                </a:cubicBezTo>
                <a:lnTo>
                  <a:pt x="3520340" y="395005"/>
                </a:lnTo>
                <a:lnTo>
                  <a:pt x="3519302" y="400819"/>
                </a:lnTo>
                <a:cubicBezTo>
                  <a:pt x="3519074" y="403097"/>
                  <a:pt x="3519530" y="405374"/>
                  <a:pt x="3522263" y="407196"/>
                </a:cubicBezTo>
                <a:cubicBezTo>
                  <a:pt x="3525907" y="407196"/>
                  <a:pt x="3538662" y="410841"/>
                  <a:pt x="3531374" y="414485"/>
                </a:cubicBezTo>
                <a:cubicBezTo>
                  <a:pt x="3529551" y="412664"/>
                  <a:pt x="3525907" y="409019"/>
                  <a:pt x="3524085" y="410841"/>
                </a:cubicBezTo>
                <a:cubicBezTo>
                  <a:pt x="3520440" y="414485"/>
                  <a:pt x="3525907" y="421775"/>
                  <a:pt x="3531374" y="423596"/>
                </a:cubicBezTo>
                <a:cubicBezTo>
                  <a:pt x="3536840" y="423596"/>
                  <a:pt x="3544129" y="425419"/>
                  <a:pt x="3547773" y="421775"/>
                </a:cubicBezTo>
                <a:cubicBezTo>
                  <a:pt x="3556884" y="416308"/>
                  <a:pt x="3555062" y="412664"/>
                  <a:pt x="3564173" y="414485"/>
                </a:cubicBezTo>
                <a:cubicBezTo>
                  <a:pt x="3560528" y="399908"/>
                  <a:pt x="3547773" y="407196"/>
                  <a:pt x="3536840" y="407196"/>
                </a:cubicBezTo>
                <a:cubicBezTo>
                  <a:pt x="3544129" y="401731"/>
                  <a:pt x="3536840" y="396264"/>
                  <a:pt x="3536840" y="390797"/>
                </a:cubicBezTo>
                <a:cubicBezTo>
                  <a:pt x="3535018" y="393530"/>
                  <a:pt x="3532285" y="392164"/>
                  <a:pt x="3529324" y="391253"/>
                </a:cubicBezTo>
                <a:lnTo>
                  <a:pt x="3520941" y="394262"/>
                </a:lnTo>
                <a:close/>
                <a:moveTo>
                  <a:pt x="2556226" y="387922"/>
                </a:moveTo>
                <a:cubicBezTo>
                  <a:pt x="2555030" y="387381"/>
                  <a:pt x="2553322" y="388064"/>
                  <a:pt x="2551044" y="390797"/>
                </a:cubicBezTo>
                <a:cubicBezTo>
                  <a:pt x="2552866" y="394441"/>
                  <a:pt x="2554688" y="398085"/>
                  <a:pt x="2554688" y="403552"/>
                </a:cubicBezTo>
                <a:cubicBezTo>
                  <a:pt x="2558788" y="402186"/>
                  <a:pt x="2559814" y="389545"/>
                  <a:pt x="2556226" y="387922"/>
                </a:cubicBezTo>
                <a:close/>
                <a:moveTo>
                  <a:pt x="3196093" y="387152"/>
                </a:moveTo>
                <a:cubicBezTo>
                  <a:pt x="3190627" y="387152"/>
                  <a:pt x="3188805" y="392620"/>
                  <a:pt x="3192449" y="394441"/>
                </a:cubicBezTo>
                <a:cubicBezTo>
                  <a:pt x="3194271" y="394441"/>
                  <a:pt x="3196093" y="392620"/>
                  <a:pt x="3196093" y="387152"/>
                </a:cubicBezTo>
                <a:close/>
                <a:moveTo>
                  <a:pt x="3013876" y="387152"/>
                </a:moveTo>
                <a:cubicBezTo>
                  <a:pt x="3010232" y="394441"/>
                  <a:pt x="3021165" y="399908"/>
                  <a:pt x="3028453" y="401731"/>
                </a:cubicBezTo>
                <a:cubicBezTo>
                  <a:pt x="3028453" y="399908"/>
                  <a:pt x="3032098" y="399908"/>
                  <a:pt x="3032098" y="396264"/>
                </a:cubicBezTo>
                <a:cubicBezTo>
                  <a:pt x="3032098" y="392620"/>
                  <a:pt x="3026631" y="392620"/>
                  <a:pt x="3028453" y="387152"/>
                </a:cubicBezTo>
                <a:cubicBezTo>
                  <a:pt x="3022987" y="387152"/>
                  <a:pt x="3021165" y="390797"/>
                  <a:pt x="3013876" y="387152"/>
                </a:cubicBezTo>
                <a:close/>
                <a:moveTo>
                  <a:pt x="2627575" y="387152"/>
                </a:moveTo>
                <a:cubicBezTo>
                  <a:pt x="2622109" y="387152"/>
                  <a:pt x="2625753" y="394441"/>
                  <a:pt x="2618464" y="390797"/>
                </a:cubicBezTo>
                <a:cubicBezTo>
                  <a:pt x="2620287" y="392620"/>
                  <a:pt x="2618464" y="398085"/>
                  <a:pt x="2620287" y="399908"/>
                </a:cubicBezTo>
                <a:cubicBezTo>
                  <a:pt x="2622109" y="398085"/>
                  <a:pt x="2622109" y="390797"/>
                  <a:pt x="2627575" y="396264"/>
                </a:cubicBezTo>
                <a:cubicBezTo>
                  <a:pt x="2629397" y="392620"/>
                  <a:pt x="2627575" y="390797"/>
                  <a:pt x="2627575" y="387152"/>
                </a:cubicBezTo>
                <a:close/>
                <a:moveTo>
                  <a:pt x="2481801" y="387152"/>
                </a:moveTo>
                <a:cubicBezTo>
                  <a:pt x="2478157" y="390797"/>
                  <a:pt x="2474513" y="390797"/>
                  <a:pt x="2474513" y="398085"/>
                </a:cubicBezTo>
                <a:cubicBezTo>
                  <a:pt x="2479979" y="399908"/>
                  <a:pt x="2481801" y="394441"/>
                  <a:pt x="2485446" y="392620"/>
                </a:cubicBezTo>
                <a:cubicBezTo>
                  <a:pt x="2487268" y="387152"/>
                  <a:pt x="2481801" y="388976"/>
                  <a:pt x="2481801" y="387152"/>
                </a:cubicBezTo>
                <a:close/>
                <a:moveTo>
                  <a:pt x="2454469" y="387152"/>
                </a:moveTo>
                <a:cubicBezTo>
                  <a:pt x="2450824" y="388976"/>
                  <a:pt x="2449002" y="388976"/>
                  <a:pt x="2447180" y="388976"/>
                </a:cubicBezTo>
                <a:cubicBezTo>
                  <a:pt x="2443536" y="396264"/>
                  <a:pt x="2454469" y="388976"/>
                  <a:pt x="2452647" y="394441"/>
                </a:cubicBezTo>
                <a:cubicBezTo>
                  <a:pt x="2447180" y="407196"/>
                  <a:pt x="2458113" y="392620"/>
                  <a:pt x="2456291" y="399908"/>
                </a:cubicBezTo>
                <a:cubicBezTo>
                  <a:pt x="2459935" y="396264"/>
                  <a:pt x="2450824" y="394441"/>
                  <a:pt x="2454469" y="387152"/>
                </a:cubicBezTo>
                <a:close/>
                <a:moveTo>
                  <a:pt x="2536467" y="384875"/>
                </a:moveTo>
                <a:cubicBezTo>
                  <a:pt x="2533733" y="385331"/>
                  <a:pt x="2531000" y="388064"/>
                  <a:pt x="2531000" y="392620"/>
                </a:cubicBezTo>
                <a:cubicBezTo>
                  <a:pt x="2536466" y="392620"/>
                  <a:pt x="2536466" y="392620"/>
                  <a:pt x="2541933" y="390797"/>
                </a:cubicBezTo>
                <a:cubicBezTo>
                  <a:pt x="2541933" y="386242"/>
                  <a:pt x="2539200" y="384420"/>
                  <a:pt x="2536467" y="384875"/>
                </a:cubicBezTo>
                <a:close/>
                <a:moveTo>
                  <a:pt x="3317496" y="384192"/>
                </a:moveTo>
                <a:cubicBezTo>
                  <a:pt x="3314535" y="384420"/>
                  <a:pt x="3311802" y="386242"/>
                  <a:pt x="3310890" y="388976"/>
                </a:cubicBezTo>
                <a:cubicBezTo>
                  <a:pt x="3312713" y="396264"/>
                  <a:pt x="3314535" y="398085"/>
                  <a:pt x="3320001" y="401731"/>
                </a:cubicBezTo>
                <a:cubicBezTo>
                  <a:pt x="3330934" y="399908"/>
                  <a:pt x="3334579" y="398085"/>
                  <a:pt x="3329112" y="385331"/>
                </a:cubicBezTo>
                <a:cubicBezTo>
                  <a:pt x="3325468" y="385331"/>
                  <a:pt x="3325468" y="387152"/>
                  <a:pt x="3325468" y="388976"/>
                </a:cubicBezTo>
                <a:cubicBezTo>
                  <a:pt x="3323646" y="385331"/>
                  <a:pt x="3320458" y="383964"/>
                  <a:pt x="3317496" y="384192"/>
                </a:cubicBezTo>
                <a:close/>
                <a:moveTo>
                  <a:pt x="3050319" y="383509"/>
                </a:moveTo>
                <a:cubicBezTo>
                  <a:pt x="3050319" y="383509"/>
                  <a:pt x="3049864" y="386242"/>
                  <a:pt x="3050092" y="389203"/>
                </a:cubicBezTo>
                <a:lnTo>
                  <a:pt x="3051453" y="391684"/>
                </a:lnTo>
                <a:lnTo>
                  <a:pt x="3050319" y="390797"/>
                </a:lnTo>
                <a:cubicBezTo>
                  <a:pt x="3052142" y="390797"/>
                  <a:pt x="3052142" y="394441"/>
                  <a:pt x="3053964" y="396264"/>
                </a:cubicBezTo>
                <a:lnTo>
                  <a:pt x="3051453" y="391684"/>
                </a:lnTo>
                <a:lnTo>
                  <a:pt x="3055558" y="394897"/>
                </a:lnTo>
                <a:cubicBezTo>
                  <a:pt x="3056697" y="397175"/>
                  <a:pt x="3057608" y="399908"/>
                  <a:pt x="3059430" y="401731"/>
                </a:cubicBezTo>
                <a:cubicBezTo>
                  <a:pt x="3057608" y="392620"/>
                  <a:pt x="3059430" y="379865"/>
                  <a:pt x="3050319" y="383509"/>
                </a:cubicBezTo>
                <a:close/>
                <a:moveTo>
                  <a:pt x="3469419" y="379865"/>
                </a:moveTo>
                <a:cubicBezTo>
                  <a:pt x="3471242" y="383509"/>
                  <a:pt x="3476708" y="385331"/>
                  <a:pt x="3478530" y="388976"/>
                </a:cubicBezTo>
                <a:cubicBezTo>
                  <a:pt x="3473064" y="390797"/>
                  <a:pt x="3474886" y="398085"/>
                  <a:pt x="3463953" y="396264"/>
                </a:cubicBezTo>
                <a:cubicBezTo>
                  <a:pt x="3463953" y="390797"/>
                  <a:pt x="3456664" y="394441"/>
                  <a:pt x="3456664" y="390797"/>
                </a:cubicBezTo>
                <a:cubicBezTo>
                  <a:pt x="3454842" y="392620"/>
                  <a:pt x="3458487" y="399908"/>
                  <a:pt x="3463953" y="398085"/>
                </a:cubicBezTo>
                <a:cubicBezTo>
                  <a:pt x="3462131" y="398085"/>
                  <a:pt x="3462131" y="396264"/>
                  <a:pt x="3463953" y="396264"/>
                </a:cubicBezTo>
                <a:cubicBezTo>
                  <a:pt x="3463953" y="405375"/>
                  <a:pt x="3473064" y="405375"/>
                  <a:pt x="3480353" y="405375"/>
                </a:cubicBezTo>
                <a:cubicBezTo>
                  <a:pt x="3482175" y="405375"/>
                  <a:pt x="3482175" y="409019"/>
                  <a:pt x="3483997" y="409019"/>
                </a:cubicBezTo>
                <a:cubicBezTo>
                  <a:pt x="3489463" y="409019"/>
                  <a:pt x="3487641" y="403552"/>
                  <a:pt x="3485819" y="401731"/>
                </a:cubicBezTo>
                <a:cubicBezTo>
                  <a:pt x="3489463" y="403552"/>
                  <a:pt x="3491286" y="403552"/>
                  <a:pt x="3493108" y="407196"/>
                </a:cubicBezTo>
                <a:cubicBezTo>
                  <a:pt x="3494930" y="407196"/>
                  <a:pt x="3496752" y="405375"/>
                  <a:pt x="3494930" y="403552"/>
                </a:cubicBezTo>
                <a:cubicBezTo>
                  <a:pt x="3500397" y="407196"/>
                  <a:pt x="3500397" y="412664"/>
                  <a:pt x="3507685" y="410841"/>
                </a:cubicBezTo>
                <a:cubicBezTo>
                  <a:pt x="3502219" y="407196"/>
                  <a:pt x="3502219" y="396264"/>
                  <a:pt x="3493108" y="398085"/>
                </a:cubicBezTo>
                <a:cubicBezTo>
                  <a:pt x="3491286" y="399908"/>
                  <a:pt x="3493108" y="401731"/>
                  <a:pt x="3491286" y="403552"/>
                </a:cubicBezTo>
                <a:cubicBezTo>
                  <a:pt x="3489463" y="392620"/>
                  <a:pt x="3485819" y="376220"/>
                  <a:pt x="3469419" y="379865"/>
                </a:cubicBezTo>
                <a:close/>
                <a:moveTo>
                  <a:pt x="3358267" y="379865"/>
                </a:moveTo>
                <a:cubicBezTo>
                  <a:pt x="3354623" y="383509"/>
                  <a:pt x="3349156" y="390797"/>
                  <a:pt x="3361911" y="394441"/>
                </a:cubicBezTo>
                <a:cubicBezTo>
                  <a:pt x="3358267" y="388976"/>
                  <a:pt x="3363734" y="383509"/>
                  <a:pt x="3358267" y="379865"/>
                </a:cubicBezTo>
                <a:close/>
                <a:moveTo>
                  <a:pt x="3239826" y="379865"/>
                </a:moveTo>
                <a:cubicBezTo>
                  <a:pt x="3236181" y="381687"/>
                  <a:pt x="3241648" y="388976"/>
                  <a:pt x="3247114" y="387152"/>
                </a:cubicBezTo>
                <a:cubicBezTo>
                  <a:pt x="3247114" y="381687"/>
                  <a:pt x="3239826" y="385331"/>
                  <a:pt x="3239826" y="379865"/>
                </a:cubicBezTo>
                <a:close/>
                <a:moveTo>
                  <a:pt x="2438069" y="379865"/>
                </a:moveTo>
                <a:cubicBezTo>
                  <a:pt x="2428958" y="378041"/>
                  <a:pt x="2419847" y="390797"/>
                  <a:pt x="2425314" y="396264"/>
                </a:cubicBezTo>
                <a:cubicBezTo>
                  <a:pt x="2427136" y="398085"/>
                  <a:pt x="2427136" y="390797"/>
                  <a:pt x="2430780" y="390797"/>
                </a:cubicBezTo>
                <a:cubicBezTo>
                  <a:pt x="2428958" y="396264"/>
                  <a:pt x="2427136" y="399908"/>
                  <a:pt x="2428958" y="407196"/>
                </a:cubicBezTo>
                <a:cubicBezTo>
                  <a:pt x="2443536" y="409019"/>
                  <a:pt x="2441713" y="399908"/>
                  <a:pt x="2449002" y="403552"/>
                </a:cubicBezTo>
                <a:cubicBezTo>
                  <a:pt x="2449002" y="394441"/>
                  <a:pt x="2445358" y="387152"/>
                  <a:pt x="2434425" y="390797"/>
                </a:cubicBezTo>
                <a:cubicBezTo>
                  <a:pt x="2438069" y="385331"/>
                  <a:pt x="2441713" y="381687"/>
                  <a:pt x="2438069" y="379865"/>
                </a:cubicBezTo>
                <a:close/>
                <a:moveTo>
                  <a:pt x="2352427" y="379865"/>
                </a:moveTo>
                <a:cubicBezTo>
                  <a:pt x="2348782" y="381687"/>
                  <a:pt x="2350605" y="390797"/>
                  <a:pt x="2354249" y="388976"/>
                </a:cubicBezTo>
                <a:cubicBezTo>
                  <a:pt x="2356071" y="383509"/>
                  <a:pt x="2354249" y="381687"/>
                  <a:pt x="2352427" y="379865"/>
                </a:cubicBezTo>
                <a:close/>
                <a:moveTo>
                  <a:pt x="1009485" y="379865"/>
                </a:moveTo>
                <a:cubicBezTo>
                  <a:pt x="1008573" y="381686"/>
                  <a:pt x="1009940" y="383509"/>
                  <a:pt x="1010851" y="385103"/>
                </a:cubicBezTo>
                <a:lnTo>
                  <a:pt x="1010516" y="386052"/>
                </a:lnTo>
                <a:close/>
                <a:moveTo>
                  <a:pt x="3489463" y="378041"/>
                </a:moveTo>
                <a:cubicBezTo>
                  <a:pt x="3483997" y="376220"/>
                  <a:pt x="3485819" y="383509"/>
                  <a:pt x="3491286" y="381687"/>
                </a:cubicBezTo>
                <a:cubicBezTo>
                  <a:pt x="3489463" y="381687"/>
                  <a:pt x="3489463" y="379865"/>
                  <a:pt x="3489463" y="378041"/>
                </a:cubicBezTo>
                <a:close/>
                <a:moveTo>
                  <a:pt x="1940616" y="378041"/>
                </a:moveTo>
                <a:cubicBezTo>
                  <a:pt x="1942438" y="378041"/>
                  <a:pt x="1944260" y="379865"/>
                  <a:pt x="1944260" y="381687"/>
                </a:cubicBezTo>
                <a:cubicBezTo>
                  <a:pt x="1944260" y="383509"/>
                  <a:pt x="1942438" y="383509"/>
                  <a:pt x="1942438" y="383509"/>
                </a:cubicBezTo>
                <a:cubicBezTo>
                  <a:pt x="1942438" y="381687"/>
                  <a:pt x="1942438" y="379865"/>
                  <a:pt x="1940616" y="378041"/>
                </a:cubicBezTo>
                <a:close/>
                <a:moveTo>
                  <a:pt x="3518618" y="376220"/>
                </a:moveTo>
                <a:cubicBezTo>
                  <a:pt x="3516796" y="379865"/>
                  <a:pt x="3516796" y="383509"/>
                  <a:pt x="3509507" y="381687"/>
                </a:cubicBezTo>
                <a:cubicBezTo>
                  <a:pt x="3511330" y="388976"/>
                  <a:pt x="3518618" y="385331"/>
                  <a:pt x="3524085" y="385331"/>
                </a:cubicBezTo>
                <a:cubicBezTo>
                  <a:pt x="3522263" y="381687"/>
                  <a:pt x="3520440" y="378041"/>
                  <a:pt x="3518618" y="376220"/>
                </a:cubicBezTo>
                <a:close/>
                <a:moveTo>
                  <a:pt x="3449376" y="376220"/>
                </a:moveTo>
                <a:cubicBezTo>
                  <a:pt x="3449376" y="378041"/>
                  <a:pt x="3451198" y="379865"/>
                  <a:pt x="3453020" y="381687"/>
                </a:cubicBezTo>
                <a:cubicBezTo>
                  <a:pt x="3458487" y="381687"/>
                  <a:pt x="3465775" y="381687"/>
                  <a:pt x="3463953" y="376220"/>
                </a:cubicBezTo>
                <a:cubicBezTo>
                  <a:pt x="3460309" y="379865"/>
                  <a:pt x="3460309" y="374397"/>
                  <a:pt x="3449376" y="376220"/>
                </a:cubicBezTo>
                <a:close/>
                <a:moveTo>
                  <a:pt x="3212493" y="376220"/>
                </a:moveTo>
                <a:cubicBezTo>
                  <a:pt x="3216137" y="379865"/>
                  <a:pt x="3223426" y="387152"/>
                  <a:pt x="3227071" y="385331"/>
                </a:cubicBezTo>
                <a:cubicBezTo>
                  <a:pt x="3227071" y="378041"/>
                  <a:pt x="3217960" y="385331"/>
                  <a:pt x="3219782" y="376220"/>
                </a:cubicBezTo>
                <a:cubicBezTo>
                  <a:pt x="3216137" y="378041"/>
                  <a:pt x="3214315" y="376220"/>
                  <a:pt x="3212493" y="376220"/>
                </a:cubicBezTo>
                <a:close/>
                <a:moveTo>
                  <a:pt x="2583843" y="376220"/>
                </a:moveTo>
                <a:cubicBezTo>
                  <a:pt x="2580199" y="376220"/>
                  <a:pt x="2578377" y="376220"/>
                  <a:pt x="2578377" y="379865"/>
                </a:cubicBezTo>
                <a:cubicBezTo>
                  <a:pt x="2580199" y="381687"/>
                  <a:pt x="2582021" y="381687"/>
                  <a:pt x="2583843" y="381687"/>
                </a:cubicBezTo>
                <a:cubicBezTo>
                  <a:pt x="2583843" y="379865"/>
                  <a:pt x="2583843" y="378041"/>
                  <a:pt x="2583843" y="376220"/>
                </a:cubicBezTo>
                <a:close/>
                <a:moveTo>
                  <a:pt x="2337850" y="376220"/>
                </a:moveTo>
                <a:cubicBezTo>
                  <a:pt x="2332383" y="374397"/>
                  <a:pt x="2326916" y="379865"/>
                  <a:pt x="2325094" y="387152"/>
                </a:cubicBezTo>
                <a:cubicBezTo>
                  <a:pt x="2332383" y="392620"/>
                  <a:pt x="2337850" y="381687"/>
                  <a:pt x="2337850" y="376220"/>
                </a:cubicBezTo>
                <a:close/>
                <a:moveTo>
                  <a:pt x="2210297" y="376220"/>
                </a:moveTo>
                <a:cubicBezTo>
                  <a:pt x="2212120" y="387152"/>
                  <a:pt x="2206653" y="398085"/>
                  <a:pt x="2195720" y="399908"/>
                </a:cubicBezTo>
                <a:cubicBezTo>
                  <a:pt x="2197542" y="399908"/>
                  <a:pt x="2197542" y="399908"/>
                  <a:pt x="2199364" y="399908"/>
                </a:cubicBezTo>
                <a:cubicBezTo>
                  <a:pt x="2197542" y="405375"/>
                  <a:pt x="2190253" y="409019"/>
                  <a:pt x="2197542" y="410841"/>
                </a:cubicBezTo>
                <a:cubicBezTo>
                  <a:pt x="2204831" y="410841"/>
                  <a:pt x="2208475" y="403552"/>
                  <a:pt x="2215764" y="403552"/>
                </a:cubicBezTo>
                <a:cubicBezTo>
                  <a:pt x="2217586" y="396264"/>
                  <a:pt x="2213942" y="394441"/>
                  <a:pt x="2212120" y="388976"/>
                </a:cubicBezTo>
                <a:cubicBezTo>
                  <a:pt x="2213942" y="392620"/>
                  <a:pt x="2221230" y="390797"/>
                  <a:pt x="2217586" y="398085"/>
                </a:cubicBezTo>
                <a:cubicBezTo>
                  <a:pt x="2217586" y="399908"/>
                  <a:pt x="2219408" y="399908"/>
                  <a:pt x="2221230" y="399908"/>
                </a:cubicBezTo>
                <a:cubicBezTo>
                  <a:pt x="2219408" y="396264"/>
                  <a:pt x="2215764" y="392620"/>
                  <a:pt x="2221230" y="388976"/>
                </a:cubicBezTo>
                <a:cubicBezTo>
                  <a:pt x="2223053" y="394441"/>
                  <a:pt x="2228519" y="388976"/>
                  <a:pt x="2230341" y="390797"/>
                </a:cubicBezTo>
                <a:cubicBezTo>
                  <a:pt x="2228519" y="385331"/>
                  <a:pt x="2228519" y="381687"/>
                  <a:pt x="2230341" y="376220"/>
                </a:cubicBezTo>
                <a:cubicBezTo>
                  <a:pt x="2224875" y="376220"/>
                  <a:pt x="2217586" y="376220"/>
                  <a:pt x="2210297" y="376220"/>
                </a:cubicBezTo>
                <a:close/>
                <a:moveTo>
                  <a:pt x="3374666" y="374397"/>
                </a:moveTo>
                <a:cubicBezTo>
                  <a:pt x="3374666" y="376220"/>
                  <a:pt x="3372844" y="378041"/>
                  <a:pt x="3371022" y="381687"/>
                </a:cubicBezTo>
                <a:cubicBezTo>
                  <a:pt x="3369200" y="379865"/>
                  <a:pt x="3367378" y="378041"/>
                  <a:pt x="3367378" y="376220"/>
                </a:cubicBezTo>
                <a:cubicBezTo>
                  <a:pt x="3365556" y="376220"/>
                  <a:pt x="3363734" y="378041"/>
                  <a:pt x="3363734" y="376220"/>
                </a:cubicBezTo>
                <a:cubicBezTo>
                  <a:pt x="3361911" y="378041"/>
                  <a:pt x="3360089" y="378041"/>
                  <a:pt x="3361911" y="379865"/>
                </a:cubicBezTo>
                <a:cubicBezTo>
                  <a:pt x="3367378" y="385331"/>
                  <a:pt x="3374666" y="383509"/>
                  <a:pt x="3371022" y="387152"/>
                </a:cubicBezTo>
                <a:cubicBezTo>
                  <a:pt x="3370111" y="389886"/>
                  <a:pt x="3370567" y="393075"/>
                  <a:pt x="3370567" y="395808"/>
                </a:cubicBezTo>
                <a:lnTo>
                  <a:pt x="3367527" y="401455"/>
                </a:lnTo>
                <a:lnTo>
                  <a:pt x="3366996" y="401136"/>
                </a:lnTo>
                <a:lnTo>
                  <a:pt x="3365328" y="398542"/>
                </a:lnTo>
                <a:cubicBezTo>
                  <a:pt x="3364189" y="397630"/>
                  <a:pt x="3362823" y="397175"/>
                  <a:pt x="3361911" y="398085"/>
                </a:cubicBezTo>
                <a:lnTo>
                  <a:pt x="3366996" y="401136"/>
                </a:lnTo>
                <a:lnTo>
                  <a:pt x="3367378" y="401731"/>
                </a:lnTo>
                <a:lnTo>
                  <a:pt x="3367527" y="401455"/>
                </a:lnTo>
                <a:lnTo>
                  <a:pt x="3371022" y="403552"/>
                </a:lnTo>
                <a:cubicBezTo>
                  <a:pt x="3367378" y="403552"/>
                  <a:pt x="3361911" y="405375"/>
                  <a:pt x="3361911" y="407196"/>
                </a:cubicBezTo>
                <a:cubicBezTo>
                  <a:pt x="3361911" y="409019"/>
                  <a:pt x="3363734" y="409019"/>
                  <a:pt x="3363734" y="410841"/>
                </a:cubicBezTo>
                <a:cubicBezTo>
                  <a:pt x="3389244" y="409019"/>
                  <a:pt x="3380133" y="390797"/>
                  <a:pt x="3374666" y="374397"/>
                </a:cubicBezTo>
                <a:close/>
                <a:moveTo>
                  <a:pt x="3314535" y="374397"/>
                </a:moveTo>
                <a:cubicBezTo>
                  <a:pt x="3310890" y="376220"/>
                  <a:pt x="3314535" y="379865"/>
                  <a:pt x="3314535" y="381687"/>
                </a:cubicBezTo>
                <a:cubicBezTo>
                  <a:pt x="3321824" y="381687"/>
                  <a:pt x="3316357" y="376220"/>
                  <a:pt x="3314535" y="374397"/>
                </a:cubicBezTo>
                <a:close/>
                <a:moveTo>
                  <a:pt x="3139606" y="374397"/>
                </a:moveTo>
                <a:cubicBezTo>
                  <a:pt x="3135962" y="376220"/>
                  <a:pt x="3130495" y="378041"/>
                  <a:pt x="3135962" y="385331"/>
                </a:cubicBezTo>
                <a:cubicBezTo>
                  <a:pt x="3139606" y="381687"/>
                  <a:pt x="3139606" y="379865"/>
                  <a:pt x="3139606" y="374397"/>
                </a:cubicBezTo>
                <a:close/>
                <a:moveTo>
                  <a:pt x="3010232" y="374397"/>
                </a:moveTo>
                <a:cubicBezTo>
                  <a:pt x="3006587" y="372576"/>
                  <a:pt x="3006587" y="379865"/>
                  <a:pt x="3002943" y="378041"/>
                </a:cubicBezTo>
                <a:cubicBezTo>
                  <a:pt x="3004765" y="379865"/>
                  <a:pt x="3006587" y="381687"/>
                  <a:pt x="3008410" y="385331"/>
                </a:cubicBezTo>
                <a:cubicBezTo>
                  <a:pt x="3010232" y="383509"/>
                  <a:pt x="3008410" y="379865"/>
                  <a:pt x="3010232" y="381687"/>
                </a:cubicBezTo>
                <a:cubicBezTo>
                  <a:pt x="3010232" y="379865"/>
                  <a:pt x="3010232" y="376220"/>
                  <a:pt x="3010232" y="374397"/>
                </a:cubicBezTo>
                <a:close/>
                <a:moveTo>
                  <a:pt x="2199364" y="374397"/>
                </a:moveTo>
                <a:cubicBezTo>
                  <a:pt x="2197542" y="379865"/>
                  <a:pt x="2204831" y="385331"/>
                  <a:pt x="2201187" y="387152"/>
                </a:cubicBezTo>
                <a:cubicBezTo>
                  <a:pt x="2206653" y="383509"/>
                  <a:pt x="2203009" y="376220"/>
                  <a:pt x="2199364" y="374397"/>
                </a:cubicBezTo>
                <a:close/>
                <a:moveTo>
                  <a:pt x="2075574" y="374376"/>
                </a:moveTo>
                <a:lnTo>
                  <a:pt x="2079785" y="378725"/>
                </a:lnTo>
                <a:cubicBezTo>
                  <a:pt x="2082404" y="384306"/>
                  <a:pt x="2083600" y="390968"/>
                  <a:pt x="2083457" y="397829"/>
                </a:cubicBezTo>
                <a:lnTo>
                  <a:pt x="2083145" y="399285"/>
                </a:lnTo>
                <a:lnTo>
                  <a:pt x="2082745" y="398085"/>
                </a:lnTo>
                <a:close/>
                <a:moveTo>
                  <a:pt x="3289024" y="372576"/>
                </a:moveTo>
                <a:cubicBezTo>
                  <a:pt x="3281736" y="378041"/>
                  <a:pt x="3274447" y="376220"/>
                  <a:pt x="3265336" y="376220"/>
                </a:cubicBezTo>
                <a:cubicBezTo>
                  <a:pt x="3268980" y="381687"/>
                  <a:pt x="3278091" y="390797"/>
                  <a:pt x="3267158" y="392620"/>
                </a:cubicBezTo>
                <a:cubicBezTo>
                  <a:pt x="3265336" y="392620"/>
                  <a:pt x="3263514" y="387152"/>
                  <a:pt x="3259869" y="388976"/>
                </a:cubicBezTo>
                <a:cubicBezTo>
                  <a:pt x="3261692" y="403552"/>
                  <a:pt x="3272625" y="412664"/>
                  <a:pt x="3285380" y="399908"/>
                </a:cubicBezTo>
                <a:lnTo>
                  <a:pt x="3280856" y="398400"/>
                </a:lnTo>
                <a:lnTo>
                  <a:pt x="3280141" y="397175"/>
                </a:lnTo>
                <a:cubicBezTo>
                  <a:pt x="3279458" y="396264"/>
                  <a:pt x="3279002" y="395352"/>
                  <a:pt x="3279913" y="394441"/>
                </a:cubicBezTo>
                <a:cubicBezTo>
                  <a:pt x="3281736" y="394441"/>
                  <a:pt x="3281736" y="394441"/>
                  <a:pt x="3283558" y="394441"/>
                </a:cubicBezTo>
                <a:cubicBezTo>
                  <a:pt x="3283558" y="394441"/>
                  <a:pt x="3283558" y="392620"/>
                  <a:pt x="3283558" y="390797"/>
                </a:cubicBezTo>
                <a:cubicBezTo>
                  <a:pt x="3285380" y="394441"/>
                  <a:pt x="3287203" y="395808"/>
                  <a:pt x="3290391" y="396036"/>
                </a:cubicBezTo>
                <a:lnTo>
                  <a:pt x="3299828" y="395035"/>
                </a:lnTo>
                <a:lnTo>
                  <a:pt x="3298819" y="399680"/>
                </a:lnTo>
                <a:cubicBezTo>
                  <a:pt x="3299502" y="401730"/>
                  <a:pt x="3300869" y="403552"/>
                  <a:pt x="3301780" y="403552"/>
                </a:cubicBezTo>
                <a:cubicBezTo>
                  <a:pt x="3302691" y="402642"/>
                  <a:pt x="3304513" y="402186"/>
                  <a:pt x="3305880" y="401047"/>
                </a:cubicBezTo>
                <a:lnTo>
                  <a:pt x="3307129" y="395010"/>
                </a:lnTo>
                <a:lnTo>
                  <a:pt x="3310890" y="396264"/>
                </a:lnTo>
                <a:lnTo>
                  <a:pt x="3307246" y="394442"/>
                </a:lnTo>
                <a:lnTo>
                  <a:pt x="3307129" y="395010"/>
                </a:lnTo>
                <a:lnTo>
                  <a:pt x="3306010" y="394637"/>
                </a:lnTo>
                <a:lnTo>
                  <a:pt x="3307246" y="394441"/>
                </a:lnTo>
                <a:lnTo>
                  <a:pt x="3303602" y="392620"/>
                </a:lnTo>
                <a:cubicBezTo>
                  <a:pt x="3312713" y="387152"/>
                  <a:pt x="3307246" y="376220"/>
                  <a:pt x="3298135" y="374397"/>
                </a:cubicBezTo>
                <a:cubicBezTo>
                  <a:pt x="3298135" y="376220"/>
                  <a:pt x="3298135" y="378041"/>
                  <a:pt x="3298135" y="378041"/>
                </a:cubicBezTo>
                <a:cubicBezTo>
                  <a:pt x="3294491" y="378041"/>
                  <a:pt x="3290847" y="374397"/>
                  <a:pt x="3289024" y="372576"/>
                </a:cubicBezTo>
                <a:close/>
                <a:moveTo>
                  <a:pt x="3037564" y="372576"/>
                </a:moveTo>
                <a:cubicBezTo>
                  <a:pt x="3033920" y="374397"/>
                  <a:pt x="3039387" y="381687"/>
                  <a:pt x="3039387" y="383509"/>
                </a:cubicBezTo>
                <a:cubicBezTo>
                  <a:pt x="3044853" y="381687"/>
                  <a:pt x="3037564" y="376220"/>
                  <a:pt x="3037564" y="372576"/>
                </a:cubicBezTo>
                <a:close/>
                <a:moveTo>
                  <a:pt x="2600243" y="370754"/>
                </a:moveTo>
                <a:cubicBezTo>
                  <a:pt x="2594776" y="374397"/>
                  <a:pt x="2598421" y="387152"/>
                  <a:pt x="2591132" y="379865"/>
                </a:cubicBezTo>
                <a:cubicBezTo>
                  <a:pt x="2592954" y="387152"/>
                  <a:pt x="2598421" y="379865"/>
                  <a:pt x="2598421" y="381687"/>
                </a:cubicBezTo>
                <a:cubicBezTo>
                  <a:pt x="2598421" y="388976"/>
                  <a:pt x="2603887" y="388976"/>
                  <a:pt x="2609353" y="390797"/>
                </a:cubicBezTo>
                <a:cubicBezTo>
                  <a:pt x="2607531" y="387152"/>
                  <a:pt x="2603887" y="383509"/>
                  <a:pt x="2605709" y="378041"/>
                </a:cubicBezTo>
                <a:cubicBezTo>
                  <a:pt x="2603887" y="379865"/>
                  <a:pt x="2603887" y="379865"/>
                  <a:pt x="2602065" y="381687"/>
                </a:cubicBezTo>
                <a:cubicBezTo>
                  <a:pt x="2600243" y="379865"/>
                  <a:pt x="2598421" y="370754"/>
                  <a:pt x="2600243" y="370754"/>
                </a:cubicBezTo>
                <a:close/>
                <a:moveTo>
                  <a:pt x="3243470" y="368932"/>
                </a:moveTo>
                <a:cubicBezTo>
                  <a:pt x="3239826" y="370754"/>
                  <a:pt x="3243470" y="370754"/>
                  <a:pt x="3243470" y="376220"/>
                </a:cubicBezTo>
                <a:cubicBezTo>
                  <a:pt x="3247114" y="378041"/>
                  <a:pt x="3250759" y="376220"/>
                  <a:pt x="3248937" y="374397"/>
                </a:cubicBezTo>
                <a:cubicBezTo>
                  <a:pt x="3248937" y="372576"/>
                  <a:pt x="3245292" y="372576"/>
                  <a:pt x="3243470" y="368932"/>
                </a:cubicBezTo>
                <a:close/>
                <a:moveTo>
                  <a:pt x="2399803" y="368932"/>
                </a:moveTo>
                <a:lnTo>
                  <a:pt x="2399600" y="369898"/>
                </a:lnTo>
                <a:lnTo>
                  <a:pt x="2392970" y="370753"/>
                </a:lnTo>
                <a:cubicBezTo>
                  <a:pt x="2388871" y="373031"/>
                  <a:pt x="2386137" y="376219"/>
                  <a:pt x="2387048" y="378041"/>
                </a:cubicBezTo>
                <a:cubicBezTo>
                  <a:pt x="2381582" y="374397"/>
                  <a:pt x="2376115" y="378041"/>
                  <a:pt x="2374293" y="381687"/>
                </a:cubicBezTo>
                <a:cubicBezTo>
                  <a:pt x="2374293" y="383509"/>
                  <a:pt x="2376115" y="387152"/>
                  <a:pt x="2377937" y="387152"/>
                </a:cubicBezTo>
                <a:cubicBezTo>
                  <a:pt x="2379760" y="387152"/>
                  <a:pt x="2376115" y="381687"/>
                  <a:pt x="2379760" y="379865"/>
                </a:cubicBezTo>
                <a:cubicBezTo>
                  <a:pt x="2385226" y="381687"/>
                  <a:pt x="2379760" y="392620"/>
                  <a:pt x="2387048" y="390797"/>
                </a:cubicBezTo>
                <a:cubicBezTo>
                  <a:pt x="2392515" y="388976"/>
                  <a:pt x="2388871" y="381687"/>
                  <a:pt x="2388871" y="376220"/>
                </a:cubicBezTo>
                <a:cubicBezTo>
                  <a:pt x="2390693" y="376220"/>
                  <a:pt x="2390693" y="376220"/>
                  <a:pt x="2392515" y="376220"/>
                </a:cubicBezTo>
                <a:cubicBezTo>
                  <a:pt x="2392515" y="378041"/>
                  <a:pt x="2392515" y="381687"/>
                  <a:pt x="2390693" y="383509"/>
                </a:cubicBezTo>
                <a:cubicBezTo>
                  <a:pt x="2393426" y="381686"/>
                  <a:pt x="2396160" y="379864"/>
                  <a:pt x="2397982" y="377587"/>
                </a:cubicBezTo>
                <a:lnTo>
                  <a:pt x="2399600" y="369898"/>
                </a:lnTo>
                <a:lnTo>
                  <a:pt x="2402284" y="369552"/>
                </a:lnTo>
                <a:lnTo>
                  <a:pt x="2407092" y="370754"/>
                </a:lnTo>
                <a:cubicBezTo>
                  <a:pt x="2403448" y="379865"/>
                  <a:pt x="2390693" y="392620"/>
                  <a:pt x="2397981" y="399908"/>
                </a:cubicBezTo>
                <a:cubicBezTo>
                  <a:pt x="2401626" y="403552"/>
                  <a:pt x="2403448" y="396264"/>
                  <a:pt x="2408914" y="390797"/>
                </a:cubicBezTo>
                <a:cubicBezTo>
                  <a:pt x="2410737" y="394441"/>
                  <a:pt x="2410737" y="403552"/>
                  <a:pt x="2418025" y="405375"/>
                </a:cubicBezTo>
                <a:cubicBezTo>
                  <a:pt x="2421669" y="405375"/>
                  <a:pt x="2423492" y="405375"/>
                  <a:pt x="2425314" y="403552"/>
                </a:cubicBezTo>
                <a:cubicBezTo>
                  <a:pt x="2427136" y="401731"/>
                  <a:pt x="2421669" y="396264"/>
                  <a:pt x="2423492" y="394441"/>
                </a:cubicBezTo>
                <a:cubicBezTo>
                  <a:pt x="2418025" y="396264"/>
                  <a:pt x="2419847" y="399908"/>
                  <a:pt x="2421669" y="401731"/>
                </a:cubicBezTo>
                <a:cubicBezTo>
                  <a:pt x="2419847" y="399908"/>
                  <a:pt x="2418025" y="398085"/>
                  <a:pt x="2418025" y="396264"/>
                </a:cubicBezTo>
                <a:cubicBezTo>
                  <a:pt x="2419847" y="390797"/>
                  <a:pt x="2428958" y="379865"/>
                  <a:pt x="2418025" y="376220"/>
                </a:cubicBezTo>
                <a:cubicBezTo>
                  <a:pt x="2418025" y="378041"/>
                  <a:pt x="2418025" y="383509"/>
                  <a:pt x="2418025" y="385331"/>
                </a:cubicBezTo>
                <a:cubicBezTo>
                  <a:pt x="2414381" y="385331"/>
                  <a:pt x="2412559" y="381687"/>
                  <a:pt x="2410737" y="383509"/>
                </a:cubicBezTo>
                <a:cubicBezTo>
                  <a:pt x="2410737" y="379865"/>
                  <a:pt x="2412559" y="370754"/>
                  <a:pt x="2407092" y="368932"/>
                </a:cubicBezTo>
                <a:lnTo>
                  <a:pt x="2402284" y="369552"/>
                </a:lnTo>
                <a:close/>
                <a:moveTo>
                  <a:pt x="2257674" y="368932"/>
                </a:moveTo>
                <a:cubicBezTo>
                  <a:pt x="2248563" y="374397"/>
                  <a:pt x="2248563" y="378041"/>
                  <a:pt x="2248563" y="385331"/>
                </a:cubicBezTo>
                <a:cubicBezTo>
                  <a:pt x="2243096" y="383509"/>
                  <a:pt x="2246741" y="376220"/>
                  <a:pt x="2244919" y="378041"/>
                </a:cubicBezTo>
                <a:cubicBezTo>
                  <a:pt x="2239452" y="379865"/>
                  <a:pt x="2232163" y="385331"/>
                  <a:pt x="2237630" y="390797"/>
                </a:cubicBezTo>
                <a:cubicBezTo>
                  <a:pt x="2239452" y="394441"/>
                  <a:pt x="2244919" y="392620"/>
                  <a:pt x="2246741" y="394441"/>
                </a:cubicBezTo>
                <a:cubicBezTo>
                  <a:pt x="2248563" y="399908"/>
                  <a:pt x="2248563" y="398085"/>
                  <a:pt x="2254030" y="399908"/>
                </a:cubicBezTo>
                <a:cubicBezTo>
                  <a:pt x="2254030" y="399908"/>
                  <a:pt x="2252207" y="399908"/>
                  <a:pt x="2252207" y="401731"/>
                </a:cubicBezTo>
                <a:cubicBezTo>
                  <a:pt x="2254030" y="401731"/>
                  <a:pt x="2254030" y="401731"/>
                  <a:pt x="2254030" y="401731"/>
                </a:cubicBezTo>
                <a:cubicBezTo>
                  <a:pt x="2261318" y="383509"/>
                  <a:pt x="2263140" y="399908"/>
                  <a:pt x="2254030" y="379865"/>
                </a:cubicBezTo>
                <a:cubicBezTo>
                  <a:pt x="2255852" y="379865"/>
                  <a:pt x="2257674" y="378041"/>
                  <a:pt x="2259496" y="376220"/>
                </a:cubicBezTo>
                <a:cubicBezTo>
                  <a:pt x="2257674" y="374397"/>
                  <a:pt x="2255852" y="372576"/>
                  <a:pt x="2257674" y="368932"/>
                </a:cubicBezTo>
                <a:close/>
                <a:moveTo>
                  <a:pt x="3469419" y="367109"/>
                </a:moveTo>
                <a:cubicBezTo>
                  <a:pt x="3469419" y="370754"/>
                  <a:pt x="3473064" y="372576"/>
                  <a:pt x="3476708" y="372576"/>
                </a:cubicBezTo>
                <a:cubicBezTo>
                  <a:pt x="3476708" y="370754"/>
                  <a:pt x="3473064" y="370754"/>
                  <a:pt x="3473064" y="367109"/>
                </a:cubicBezTo>
                <a:cubicBezTo>
                  <a:pt x="3471242" y="367109"/>
                  <a:pt x="3471242" y="367109"/>
                  <a:pt x="3469419" y="367109"/>
                </a:cubicBezTo>
                <a:close/>
                <a:moveTo>
                  <a:pt x="3423865" y="367109"/>
                </a:moveTo>
                <a:cubicBezTo>
                  <a:pt x="3418399" y="368932"/>
                  <a:pt x="3416577" y="374397"/>
                  <a:pt x="3414754" y="381687"/>
                </a:cubicBezTo>
                <a:cubicBezTo>
                  <a:pt x="3412932" y="379865"/>
                  <a:pt x="3411110" y="378041"/>
                  <a:pt x="3411110" y="376220"/>
                </a:cubicBezTo>
                <a:cubicBezTo>
                  <a:pt x="3409288" y="383509"/>
                  <a:pt x="3400177" y="385331"/>
                  <a:pt x="3391066" y="385331"/>
                </a:cubicBezTo>
                <a:cubicBezTo>
                  <a:pt x="3385600" y="385331"/>
                  <a:pt x="3381955" y="383509"/>
                  <a:pt x="3380133" y="378041"/>
                </a:cubicBezTo>
                <a:cubicBezTo>
                  <a:pt x="3380133" y="383509"/>
                  <a:pt x="3378311" y="392620"/>
                  <a:pt x="3385600" y="396264"/>
                </a:cubicBezTo>
                <a:cubicBezTo>
                  <a:pt x="3391066" y="396264"/>
                  <a:pt x="3394710" y="394441"/>
                  <a:pt x="3396532" y="392620"/>
                </a:cubicBezTo>
                <a:cubicBezTo>
                  <a:pt x="3396532" y="390797"/>
                  <a:pt x="3394710" y="388976"/>
                  <a:pt x="3396532" y="387152"/>
                </a:cubicBezTo>
                <a:cubicBezTo>
                  <a:pt x="3405643" y="383509"/>
                  <a:pt x="3418399" y="392620"/>
                  <a:pt x="3412932" y="399908"/>
                </a:cubicBezTo>
                <a:cubicBezTo>
                  <a:pt x="3416577" y="399908"/>
                  <a:pt x="3422043" y="396264"/>
                  <a:pt x="3416577" y="392620"/>
                </a:cubicBezTo>
                <a:cubicBezTo>
                  <a:pt x="3425687" y="396264"/>
                  <a:pt x="3434798" y="388976"/>
                  <a:pt x="3438443" y="390797"/>
                </a:cubicBezTo>
                <a:cubicBezTo>
                  <a:pt x="3434798" y="394441"/>
                  <a:pt x="3431154" y="399908"/>
                  <a:pt x="3438443" y="403552"/>
                </a:cubicBezTo>
                <a:cubicBezTo>
                  <a:pt x="3443909" y="403552"/>
                  <a:pt x="3447553" y="403552"/>
                  <a:pt x="3449376" y="399908"/>
                </a:cubicBezTo>
                <a:cubicBezTo>
                  <a:pt x="3453020" y="407196"/>
                  <a:pt x="3442087" y="407196"/>
                  <a:pt x="3442087" y="412664"/>
                </a:cubicBezTo>
                <a:cubicBezTo>
                  <a:pt x="3438443" y="412664"/>
                  <a:pt x="3440265" y="409019"/>
                  <a:pt x="3438443" y="407196"/>
                </a:cubicBezTo>
                <a:cubicBezTo>
                  <a:pt x="3432976" y="405375"/>
                  <a:pt x="3438443" y="410841"/>
                  <a:pt x="3434798" y="410841"/>
                </a:cubicBezTo>
                <a:cubicBezTo>
                  <a:pt x="3425687" y="409019"/>
                  <a:pt x="3432976" y="403552"/>
                  <a:pt x="3431154" y="401731"/>
                </a:cubicBezTo>
                <a:cubicBezTo>
                  <a:pt x="3423865" y="396264"/>
                  <a:pt x="3416577" y="399908"/>
                  <a:pt x="3412932" y="403552"/>
                </a:cubicBezTo>
                <a:cubicBezTo>
                  <a:pt x="3411110" y="405375"/>
                  <a:pt x="3412932" y="409019"/>
                  <a:pt x="3416577" y="410841"/>
                </a:cubicBezTo>
                <a:cubicBezTo>
                  <a:pt x="3420221" y="410841"/>
                  <a:pt x="3423865" y="409019"/>
                  <a:pt x="3425687" y="407196"/>
                </a:cubicBezTo>
                <a:cubicBezTo>
                  <a:pt x="3414754" y="416308"/>
                  <a:pt x="3412932" y="425419"/>
                  <a:pt x="3432976" y="434530"/>
                </a:cubicBezTo>
                <a:cubicBezTo>
                  <a:pt x="3427510" y="432707"/>
                  <a:pt x="3422043" y="432707"/>
                  <a:pt x="3423865" y="439995"/>
                </a:cubicBezTo>
                <a:cubicBezTo>
                  <a:pt x="3431154" y="438174"/>
                  <a:pt x="3445731" y="436351"/>
                  <a:pt x="3434798" y="427240"/>
                </a:cubicBezTo>
                <a:cubicBezTo>
                  <a:pt x="3443909" y="427240"/>
                  <a:pt x="3460309" y="427240"/>
                  <a:pt x="3460309" y="438174"/>
                </a:cubicBezTo>
                <a:cubicBezTo>
                  <a:pt x="3462131" y="441819"/>
                  <a:pt x="3460309" y="441819"/>
                  <a:pt x="3458487" y="443640"/>
                </a:cubicBezTo>
                <a:cubicBezTo>
                  <a:pt x="3456664" y="443640"/>
                  <a:pt x="3451198" y="439995"/>
                  <a:pt x="3449376" y="441819"/>
                </a:cubicBezTo>
                <a:cubicBezTo>
                  <a:pt x="3453020" y="445463"/>
                  <a:pt x="3454842" y="447284"/>
                  <a:pt x="3462131" y="449107"/>
                </a:cubicBezTo>
                <a:cubicBezTo>
                  <a:pt x="3456664" y="449107"/>
                  <a:pt x="3454842" y="452751"/>
                  <a:pt x="3460309" y="454574"/>
                </a:cubicBezTo>
                <a:cubicBezTo>
                  <a:pt x="3465775" y="458218"/>
                  <a:pt x="3474886" y="458218"/>
                  <a:pt x="3480353" y="460039"/>
                </a:cubicBezTo>
                <a:cubicBezTo>
                  <a:pt x="3480353" y="456395"/>
                  <a:pt x="3480353" y="454574"/>
                  <a:pt x="3485819" y="456395"/>
                </a:cubicBezTo>
                <a:cubicBezTo>
                  <a:pt x="3474886" y="439995"/>
                  <a:pt x="3483997" y="438174"/>
                  <a:pt x="3480353" y="423596"/>
                </a:cubicBezTo>
                <a:cubicBezTo>
                  <a:pt x="3478530" y="423596"/>
                  <a:pt x="3467597" y="419952"/>
                  <a:pt x="3471242" y="425419"/>
                </a:cubicBezTo>
                <a:cubicBezTo>
                  <a:pt x="3465775" y="423596"/>
                  <a:pt x="3469419" y="418129"/>
                  <a:pt x="3471242" y="418129"/>
                </a:cubicBezTo>
                <a:cubicBezTo>
                  <a:pt x="3462131" y="409019"/>
                  <a:pt x="3451198" y="399908"/>
                  <a:pt x="3440265" y="390797"/>
                </a:cubicBezTo>
                <a:cubicBezTo>
                  <a:pt x="3440265" y="388976"/>
                  <a:pt x="3442087" y="385331"/>
                  <a:pt x="3442087" y="383509"/>
                </a:cubicBezTo>
                <a:cubicBezTo>
                  <a:pt x="3442087" y="374397"/>
                  <a:pt x="3434798" y="365287"/>
                  <a:pt x="3423865" y="367109"/>
                </a:cubicBezTo>
                <a:close/>
                <a:moveTo>
                  <a:pt x="3232537" y="367109"/>
                </a:moveTo>
                <a:cubicBezTo>
                  <a:pt x="3238003" y="372576"/>
                  <a:pt x="3236181" y="379865"/>
                  <a:pt x="3245292" y="379865"/>
                </a:cubicBezTo>
                <a:cubicBezTo>
                  <a:pt x="3245292" y="374397"/>
                  <a:pt x="3236181" y="374397"/>
                  <a:pt x="3239826" y="367109"/>
                </a:cubicBezTo>
                <a:cubicBezTo>
                  <a:pt x="3238003" y="367109"/>
                  <a:pt x="3234359" y="367109"/>
                  <a:pt x="3232537" y="367109"/>
                </a:cubicBezTo>
                <a:close/>
                <a:moveTo>
                  <a:pt x="2321222" y="366882"/>
                </a:moveTo>
                <a:cubicBezTo>
                  <a:pt x="2320084" y="366654"/>
                  <a:pt x="2318717" y="367110"/>
                  <a:pt x="2317806" y="368932"/>
                </a:cubicBezTo>
                <a:cubicBezTo>
                  <a:pt x="2317806" y="368932"/>
                  <a:pt x="2317806" y="370754"/>
                  <a:pt x="2317806" y="370754"/>
                </a:cubicBezTo>
                <a:cubicBezTo>
                  <a:pt x="2319628" y="368932"/>
                  <a:pt x="2321450" y="368932"/>
                  <a:pt x="2323272" y="368932"/>
                </a:cubicBezTo>
                <a:cubicBezTo>
                  <a:pt x="2323272" y="368021"/>
                  <a:pt x="2322361" y="367109"/>
                  <a:pt x="2321222" y="366882"/>
                </a:cubicBezTo>
                <a:close/>
                <a:moveTo>
                  <a:pt x="2441031" y="366653"/>
                </a:moveTo>
                <a:cubicBezTo>
                  <a:pt x="2438981" y="366198"/>
                  <a:pt x="2436247" y="367109"/>
                  <a:pt x="2434425" y="368932"/>
                </a:cubicBezTo>
                <a:cubicBezTo>
                  <a:pt x="2436247" y="372576"/>
                  <a:pt x="2439891" y="374397"/>
                  <a:pt x="2443536" y="372576"/>
                </a:cubicBezTo>
                <a:cubicBezTo>
                  <a:pt x="2444447" y="368931"/>
                  <a:pt x="2443081" y="367109"/>
                  <a:pt x="2441031" y="366653"/>
                </a:cubicBezTo>
                <a:close/>
                <a:moveTo>
                  <a:pt x="3176050" y="365287"/>
                </a:moveTo>
                <a:cubicBezTo>
                  <a:pt x="3174227" y="367109"/>
                  <a:pt x="3177872" y="372576"/>
                  <a:pt x="3181516" y="372576"/>
                </a:cubicBezTo>
                <a:cubicBezTo>
                  <a:pt x="3183338" y="367109"/>
                  <a:pt x="3176050" y="368932"/>
                  <a:pt x="3176050" y="365287"/>
                </a:cubicBezTo>
                <a:close/>
                <a:moveTo>
                  <a:pt x="2977432" y="365287"/>
                </a:moveTo>
                <a:cubicBezTo>
                  <a:pt x="2977432" y="367109"/>
                  <a:pt x="2971966" y="365287"/>
                  <a:pt x="2973788" y="370754"/>
                </a:cubicBezTo>
                <a:cubicBezTo>
                  <a:pt x="2975610" y="368932"/>
                  <a:pt x="2975610" y="372576"/>
                  <a:pt x="2979255" y="370754"/>
                </a:cubicBezTo>
                <a:cubicBezTo>
                  <a:pt x="2979255" y="368932"/>
                  <a:pt x="2977432" y="367109"/>
                  <a:pt x="2977432" y="365287"/>
                </a:cubicBezTo>
                <a:close/>
                <a:moveTo>
                  <a:pt x="3387422" y="363465"/>
                </a:moveTo>
                <a:cubicBezTo>
                  <a:pt x="3385600" y="368932"/>
                  <a:pt x="3372844" y="365287"/>
                  <a:pt x="3376489" y="372576"/>
                </a:cubicBezTo>
                <a:cubicBezTo>
                  <a:pt x="3380133" y="378041"/>
                  <a:pt x="3383777" y="370754"/>
                  <a:pt x="3387422" y="374397"/>
                </a:cubicBezTo>
                <a:cubicBezTo>
                  <a:pt x="3391066" y="370754"/>
                  <a:pt x="3391066" y="367109"/>
                  <a:pt x="3387422" y="363465"/>
                </a:cubicBezTo>
                <a:close/>
                <a:moveTo>
                  <a:pt x="2509134" y="363465"/>
                </a:moveTo>
                <a:cubicBezTo>
                  <a:pt x="2496379" y="367109"/>
                  <a:pt x="2507312" y="368932"/>
                  <a:pt x="2507312" y="372576"/>
                </a:cubicBezTo>
                <a:cubicBezTo>
                  <a:pt x="2510956" y="372576"/>
                  <a:pt x="2510956" y="365287"/>
                  <a:pt x="2509134" y="363465"/>
                </a:cubicBezTo>
                <a:close/>
                <a:moveTo>
                  <a:pt x="2385226" y="363465"/>
                </a:moveTo>
                <a:cubicBezTo>
                  <a:pt x="2383404" y="370754"/>
                  <a:pt x="2392515" y="372576"/>
                  <a:pt x="2394337" y="363465"/>
                </a:cubicBezTo>
                <a:cubicBezTo>
                  <a:pt x="2388871" y="367109"/>
                  <a:pt x="2390693" y="361642"/>
                  <a:pt x="2385226" y="363465"/>
                </a:cubicBezTo>
                <a:close/>
                <a:moveTo>
                  <a:pt x="2161099" y="363465"/>
                </a:moveTo>
                <a:cubicBezTo>
                  <a:pt x="2155632" y="365287"/>
                  <a:pt x="2162921" y="372576"/>
                  <a:pt x="2159277" y="374397"/>
                </a:cubicBezTo>
                <a:cubicBezTo>
                  <a:pt x="2162921" y="376220"/>
                  <a:pt x="2164743" y="379865"/>
                  <a:pt x="2170210" y="381687"/>
                </a:cubicBezTo>
                <a:cubicBezTo>
                  <a:pt x="2168387" y="378041"/>
                  <a:pt x="2170210" y="376220"/>
                  <a:pt x="2172032" y="376220"/>
                </a:cubicBezTo>
                <a:cubicBezTo>
                  <a:pt x="2172032" y="376220"/>
                  <a:pt x="2172032" y="378041"/>
                  <a:pt x="2173854" y="378041"/>
                </a:cubicBezTo>
                <a:cubicBezTo>
                  <a:pt x="2170210" y="383509"/>
                  <a:pt x="2166565" y="387152"/>
                  <a:pt x="2170210" y="396264"/>
                </a:cubicBezTo>
                <a:cubicBezTo>
                  <a:pt x="2168387" y="398085"/>
                  <a:pt x="2168387" y="396264"/>
                  <a:pt x="2168387" y="394441"/>
                </a:cubicBezTo>
                <a:cubicBezTo>
                  <a:pt x="2166565" y="394441"/>
                  <a:pt x="2166565" y="398085"/>
                  <a:pt x="2166565" y="399908"/>
                </a:cubicBezTo>
                <a:cubicBezTo>
                  <a:pt x="2168387" y="396264"/>
                  <a:pt x="2168387" y="401731"/>
                  <a:pt x="2168387" y="405375"/>
                </a:cubicBezTo>
                <a:cubicBezTo>
                  <a:pt x="2168387" y="405375"/>
                  <a:pt x="2170210" y="403552"/>
                  <a:pt x="2170210" y="405375"/>
                </a:cubicBezTo>
                <a:cubicBezTo>
                  <a:pt x="2168387" y="399908"/>
                  <a:pt x="2173854" y="401731"/>
                  <a:pt x="2173854" y="394441"/>
                </a:cubicBezTo>
                <a:cubicBezTo>
                  <a:pt x="2175676" y="396264"/>
                  <a:pt x="2177498" y="396264"/>
                  <a:pt x="2179320" y="396264"/>
                </a:cubicBezTo>
                <a:cubicBezTo>
                  <a:pt x="2182965" y="388976"/>
                  <a:pt x="2182965" y="374397"/>
                  <a:pt x="2179320" y="367109"/>
                </a:cubicBezTo>
                <a:cubicBezTo>
                  <a:pt x="2177498" y="370754"/>
                  <a:pt x="2175676" y="370754"/>
                  <a:pt x="2175676" y="365287"/>
                </a:cubicBezTo>
                <a:cubicBezTo>
                  <a:pt x="2172032" y="367109"/>
                  <a:pt x="2177498" y="372576"/>
                  <a:pt x="2177498" y="374397"/>
                </a:cubicBezTo>
                <a:cubicBezTo>
                  <a:pt x="2172032" y="374397"/>
                  <a:pt x="2172032" y="368932"/>
                  <a:pt x="2170210" y="365287"/>
                </a:cubicBezTo>
                <a:cubicBezTo>
                  <a:pt x="2166565" y="365287"/>
                  <a:pt x="2170210" y="370754"/>
                  <a:pt x="2168387" y="370754"/>
                </a:cubicBezTo>
                <a:cubicBezTo>
                  <a:pt x="2162921" y="370754"/>
                  <a:pt x="2164743" y="365287"/>
                  <a:pt x="2161099" y="363465"/>
                </a:cubicBezTo>
                <a:close/>
                <a:moveTo>
                  <a:pt x="2379760" y="361642"/>
                </a:moveTo>
                <a:cubicBezTo>
                  <a:pt x="2367004" y="359821"/>
                  <a:pt x="2361538" y="374397"/>
                  <a:pt x="2368827" y="383509"/>
                </a:cubicBezTo>
                <a:cubicBezTo>
                  <a:pt x="2372471" y="381687"/>
                  <a:pt x="2374293" y="379865"/>
                  <a:pt x="2374293" y="376220"/>
                </a:cubicBezTo>
                <a:cubicBezTo>
                  <a:pt x="2376115" y="378041"/>
                  <a:pt x="2372471" y="383509"/>
                  <a:pt x="2376115" y="379865"/>
                </a:cubicBezTo>
                <a:cubicBezTo>
                  <a:pt x="2383404" y="374397"/>
                  <a:pt x="2388871" y="363465"/>
                  <a:pt x="2379760" y="361642"/>
                </a:cubicBezTo>
                <a:close/>
                <a:moveTo>
                  <a:pt x="3436621" y="359821"/>
                </a:moveTo>
                <a:cubicBezTo>
                  <a:pt x="3429332" y="363465"/>
                  <a:pt x="3436621" y="370754"/>
                  <a:pt x="3440265" y="370754"/>
                </a:cubicBezTo>
                <a:cubicBezTo>
                  <a:pt x="3445731" y="368932"/>
                  <a:pt x="3436621" y="363465"/>
                  <a:pt x="3436621" y="359821"/>
                </a:cubicBezTo>
                <a:close/>
                <a:moveTo>
                  <a:pt x="3405643" y="359821"/>
                </a:moveTo>
                <a:cubicBezTo>
                  <a:pt x="3398355" y="363465"/>
                  <a:pt x="3394710" y="372576"/>
                  <a:pt x="3405643" y="378041"/>
                </a:cubicBezTo>
                <a:cubicBezTo>
                  <a:pt x="3398355" y="370754"/>
                  <a:pt x="3407466" y="367109"/>
                  <a:pt x="3405643" y="359821"/>
                </a:cubicBezTo>
                <a:close/>
                <a:moveTo>
                  <a:pt x="3139606" y="359821"/>
                </a:moveTo>
                <a:cubicBezTo>
                  <a:pt x="3135962" y="359821"/>
                  <a:pt x="3135962" y="361642"/>
                  <a:pt x="3134140" y="361642"/>
                </a:cubicBezTo>
                <a:cubicBezTo>
                  <a:pt x="3134140" y="367109"/>
                  <a:pt x="3139606" y="365287"/>
                  <a:pt x="3139606" y="368932"/>
                </a:cubicBezTo>
                <a:cubicBezTo>
                  <a:pt x="3141428" y="368932"/>
                  <a:pt x="3137784" y="363465"/>
                  <a:pt x="3139606" y="359821"/>
                </a:cubicBezTo>
                <a:close/>
                <a:moveTo>
                  <a:pt x="2443536" y="359821"/>
                </a:moveTo>
                <a:cubicBezTo>
                  <a:pt x="2443536" y="365287"/>
                  <a:pt x="2449002" y="368932"/>
                  <a:pt x="2450824" y="367109"/>
                </a:cubicBezTo>
                <a:cubicBezTo>
                  <a:pt x="2450824" y="361642"/>
                  <a:pt x="2447180" y="359821"/>
                  <a:pt x="2443536" y="359821"/>
                </a:cubicBezTo>
                <a:close/>
                <a:moveTo>
                  <a:pt x="2157454" y="357998"/>
                </a:moveTo>
                <a:cubicBezTo>
                  <a:pt x="2155632" y="363465"/>
                  <a:pt x="2164743" y="363465"/>
                  <a:pt x="2162921" y="357998"/>
                </a:cubicBezTo>
                <a:cubicBezTo>
                  <a:pt x="2161099" y="357998"/>
                  <a:pt x="2159277" y="357998"/>
                  <a:pt x="2157454" y="357998"/>
                </a:cubicBezTo>
                <a:close/>
                <a:moveTo>
                  <a:pt x="3050319" y="356176"/>
                </a:moveTo>
                <a:cubicBezTo>
                  <a:pt x="3048497" y="361642"/>
                  <a:pt x="3052142" y="363465"/>
                  <a:pt x="3055786" y="365287"/>
                </a:cubicBezTo>
                <a:cubicBezTo>
                  <a:pt x="3053964" y="361642"/>
                  <a:pt x="3055786" y="356176"/>
                  <a:pt x="3050319" y="356176"/>
                </a:cubicBezTo>
                <a:close/>
                <a:moveTo>
                  <a:pt x="2458683" y="355891"/>
                </a:moveTo>
                <a:lnTo>
                  <a:pt x="2460136" y="355976"/>
                </a:lnTo>
                <a:lnTo>
                  <a:pt x="2458113" y="357998"/>
                </a:lnTo>
                <a:lnTo>
                  <a:pt x="2458023" y="356864"/>
                </a:lnTo>
                <a:close/>
                <a:moveTo>
                  <a:pt x="3008097" y="355465"/>
                </a:moveTo>
                <a:cubicBezTo>
                  <a:pt x="3008523" y="357429"/>
                  <a:pt x="3010232" y="365287"/>
                  <a:pt x="3004765" y="359821"/>
                </a:cubicBezTo>
                <a:cubicBezTo>
                  <a:pt x="3002943" y="363465"/>
                  <a:pt x="3008410" y="361642"/>
                  <a:pt x="3010232" y="363465"/>
                </a:cubicBezTo>
                <a:cubicBezTo>
                  <a:pt x="3012054" y="359821"/>
                  <a:pt x="3008410" y="359821"/>
                  <a:pt x="3008410" y="356176"/>
                </a:cubicBezTo>
                <a:cubicBezTo>
                  <a:pt x="3007955" y="354810"/>
                  <a:pt x="3007954" y="354810"/>
                  <a:pt x="3008097" y="355465"/>
                </a:cubicBezTo>
                <a:close/>
                <a:moveTo>
                  <a:pt x="1069616" y="354379"/>
                </a:moveTo>
                <a:cubicBezTo>
                  <a:pt x="1071439" y="358023"/>
                  <a:pt x="1069616" y="363490"/>
                  <a:pt x="1069616" y="367134"/>
                </a:cubicBezTo>
                <a:cubicBezTo>
                  <a:pt x="1069616" y="368956"/>
                  <a:pt x="1069616" y="372601"/>
                  <a:pt x="1067794" y="374422"/>
                </a:cubicBezTo>
                <a:cubicBezTo>
                  <a:pt x="1069616" y="368956"/>
                  <a:pt x="1069616" y="359846"/>
                  <a:pt x="1069616" y="354379"/>
                </a:cubicBezTo>
                <a:close/>
                <a:moveTo>
                  <a:pt x="2611176" y="354354"/>
                </a:moveTo>
                <a:cubicBezTo>
                  <a:pt x="2611176" y="361642"/>
                  <a:pt x="2605709" y="361642"/>
                  <a:pt x="2609353" y="367109"/>
                </a:cubicBezTo>
                <a:cubicBezTo>
                  <a:pt x="2609353" y="367109"/>
                  <a:pt x="2605709" y="363465"/>
                  <a:pt x="2603887" y="367109"/>
                </a:cubicBezTo>
                <a:cubicBezTo>
                  <a:pt x="2603887" y="372576"/>
                  <a:pt x="2612998" y="372576"/>
                  <a:pt x="2618464" y="370754"/>
                </a:cubicBezTo>
                <a:cubicBezTo>
                  <a:pt x="2616642" y="365287"/>
                  <a:pt x="2614820" y="357998"/>
                  <a:pt x="2611176" y="354354"/>
                </a:cubicBezTo>
                <a:close/>
                <a:moveTo>
                  <a:pt x="2274074" y="354354"/>
                </a:moveTo>
                <a:cubicBezTo>
                  <a:pt x="2272251" y="356176"/>
                  <a:pt x="2272251" y="357998"/>
                  <a:pt x="2268607" y="359821"/>
                </a:cubicBezTo>
                <a:cubicBezTo>
                  <a:pt x="2268607" y="363465"/>
                  <a:pt x="2270429" y="365287"/>
                  <a:pt x="2272251" y="365287"/>
                </a:cubicBezTo>
                <a:cubicBezTo>
                  <a:pt x="2272251" y="363465"/>
                  <a:pt x="2274074" y="363465"/>
                  <a:pt x="2274074" y="363465"/>
                </a:cubicBezTo>
                <a:cubicBezTo>
                  <a:pt x="2275896" y="359821"/>
                  <a:pt x="2274074" y="357998"/>
                  <a:pt x="2274074" y="354354"/>
                </a:cubicBezTo>
                <a:close/>
                <a:moveTo>
                  <a:pt x="3183338" y="352532"/>
                </a:moveTo>
                <a:cubicBezTo>
                  <a:pt x="3181516" y="356176"/>
                  <a:pt x="3185160" y="363465"/>
                  <a:pt x="3188805" y="363465"/>
                </a:cubicBezTo>
                <a:cubicBezTo>
                  <a:pt x="3185160" y="359821"/>
                  <a:pt x="3185160" y="356176"/>
                  <a:pt x="3183338" y="352532"/>
                </a:cubicBezTo>
                <a:close/>
                <a:moveTo>
                  <a:pt x="1909639" y="350728"/>
                </a:moveTo>
                <a:lnTo>
                  <a:pt x="1914378" y="360204"/>
                </a:lnTo>
                <a:lnTo>
                  <a:pt x="1918750" y="354374"/>
                </a:lnTo>
                <a:cubicBezTo>
                  <a:pt x="1918750" y="354374"/>
                  <a:pt x="1918750" y="356196"/>
                  <a:pt x="1920571" y="356196"/>
                </a:cubicBezTo>
                <a:lnTo>
                  <a:pt x="1915716" y="359837"/>
                </a:lnTo>
                <a:lnTo>
                  <a:pt x="1914610" y="360668"/>
                </a:lnTo>
                <a:lnTo>
                  <a:pt x="1915105" y="361661"/>
                </a:lnTo>
                <a:cubicBezTo>
                  <a:pt x="1919660" y="362572"/>
                  <a:pt x="1922849" y="364849"/>
                  <a:pt x="1925127" y="367811"/>
                </a:cubicBezTo>
                <a:lnTo>
                  <a:pt x="1929682" y="378060"/>
                </a:lnTo>
                <a:lnTo>
                  <a:pt x="1929682" y="378059"/>
                </a:lnTo>
                <a:cubicBezTo>
                  <a:pt x="1931504" y="378059"/>
                  <a:pt x="1933327" y="378059"/>
                  <a:pt x="1935149" y="376237"/>
                </a:cubicBezTo>
                <a:cubicBezTo>
                  <a:pt x="1935149" y="376237"/>
                  <a:pt x="1935149" y="378059"/>
                  <a:pt x="1935149" y="378059"/>
                </a:cubicBezTo>
                <a:cubicBezTo>
                  <a:pt x="1933327" y="378059"/>
                  <a:pt x="1931504" y="378059"/>
                  <a:pt x="1929682" y="379882"/>
                </a:cubicBezTo>
                <a:lnTo>
                  <a:pt x="1929682" y="378061"/>
                </a:lnTo>
                <a:lnTo>
                  <a:pt x="1916927" y="370772"/>
                </a:lnTo>
                <a:cubicBezTo>
                  <a:pt x="1916927" y="363483"/>
                  <a:pt x="1904172" y="359839"/>
                  <a:pt x="1909639" y="350728"/>
                </a:cubicBezTo>
                <a:close/>
                <a:moveTo>
                  <a:pt x="2550890" y="348651"/>
                </a:moveTo>
                <a:lnTo>
                  <a:pt x="2551011" y="348678"/>
                </a:lnTo>
                <a:lnTo>
                  <a:pt x="2551044" y="348888"/>
                </a:lnTo>
                <a:close/>
                <a:moveTo>
                  <a:pt x="1918750" y="347085"/>
                </a:moveTo>
                <a:cubicBezTo>
                  <a:pt x="1920571" y="348907"/>
                  <a:pt x="1920571" y="348907"/>
                  <a:pt x="1920571" y="348907"/>
                </a:cubicBezTo>
                <a:cubicBezTo>
                  <a:pt x="1918750" y="354374"/>
                  <a:pt x="1911460" y="352552"/>
                  <a:pt x="1909639" y="348907"/>
                </a:cubicBezTo>
                <a:cubicBezTo>
                  <a:pt x="1913283" y="347085"/>
                  <a:pt x="1915105" y="348907"/>
                  <a:pt x="1918750" y="347085"/>
                </a:cubicBezTo>
                <a:close/>
                <a:moveTo>
                  <a:pt x="530253" y="347066"/>
                </a:moveTo>
                <a:cubicBezTo>
                  <a:pt x="538453" y="369843"/>
                  <a:pt x="544375" y="393075"/>
                  <a:pt x="546425" y="416536"/>
                </a:cubicBezTo>
                <a:lnTo>
                  <a:pt x="544553" y="435318"/>
                </a:lnTo>
                <a:lnTo>
                  <a:pt x="540275" y="391253"/>
                </a:lnTo>
                <a:cubicBezTo>
                  <a:pt x="536631" y="376220"/>
                  <a:pt x="532075" y="361643"/>
                  <a:pt x="530253" y="347066"/>
                </a:cubicBezTo>
                <a:close/>
                <a:moveTo>
                  <a:pt x="3197916" y="345242"/>
                </a:moveTo>
                <a:cubicBezTo>
                  <a:pt x="3196093" y="345242"/>
                  <a:pt x="3197916" y="350710"/>
                  <a:pt x="3197916" y="352532"/>
                </a:cubicBezTo>
                <a:cubicBezTo>
                  <a:pt x="3199738" y="352532"/>
                  <a:pt x="3201560" y="352532"/>
                  <a:pt x="3201560" y="354354"/>
                </a:cubicBezTo>
                <a:cubicBezTo>
                  <a:pt x="3205204" y="352532"/>
                  <a:pt x="3199738" y="348888"/>
                  <a:pt x="3197916" y="345242"/>
                </a:cubicBezTo>
                <a:close/>
                <a:moveTo>
                  <a:pt x="2405270" y="345242"/>
                </a:moveTo>
                <a:cubicBezTo>
                  <a:pt x="2401626" y="347066"/>
                  <a:pt x="2397981" y="348888"/>
                  <a:pt x="2397981" y="354354"/>
                </a:cubicBezTo>
                <a:cubicBezTo>
                  <a:pt x="2401626" y="352532"/>
                  <a:pt x="2399803" y="361642"/>
                  <a:pt x="2403448" y="361642"/>
                </a:cubicBezTo>
                <a:cubicBezTo>
                  <a:pt x="2405270" y="356176"/>
                  <a:pt x="2405270" y="350710"/>
                  <a:pt x="2405270" y="345242"/>
                </a:cubicBezTo>
                <a:close/>
                <a:moveTo>
                  <a:pt x="2996793" y="344787"/>
                </a:moveTo>
                <a:cubicBezTo>
                  <a:pt x="2995654" y="345699"/>
                  <a:pt x="2994743" y="347066"/>
                  <a:pt x="2993832" y="347066"/>
                </a:cubicBezTo>
                <a:cubicBezTo>
                  <a:pt x="2995654" y="350710"/>
                  <a:pt x="3002943" y="352532"/>
                  <a:pt x="3001121" y="345242"/>
                </a:cubicBezTo>
                <a:cubicBezTo>
                  <a:pt x="2999299" y="343421"/>
                  <a:pt x="2997932" y="343876"/>
                  <a:pt x="2996793" y="344787"/>
                </a:cubicBezTo>
                <a:close/>
                <a:moveTo>
                  <a:pt x="3389244" y="343421"/>
                </a:moveTo>
                <a:cubicBezTo>
                  <a:pt x="3391066" y="350710"/>
                  <a:pt x="3378311" y="350710"/>
                  <a:pt x="3381955" y="359821"/>
                </a:cubicBezTo>
                <a:cubicBezTo>
                  <a:pt x="3385600" y="357998"/>
                  <a:pt x="3391066" y="352532"/>
                  <a:pt x="3392888" y="359821"/>
                </a:cubicBezTo>
                <a:cubicBezTo>
                  <a:pt x="3394710" y="356176"/>
                  <a:pt x="3398355" y="350710"/>
                  <a:pt x="3398355" y="345242"/>
                </a:cubicBezTo>
                <a:cubicBezTo>
                  <a:pt x="3394710" y="343421"/>
                  <a:pt x="3391066" y="347066"/>
                  <a:pt x="3389244" y="343421"/>
                </a:cubicBezTo>
                <a:close/>
                <a:moveTo>
                  <a:pt x="3097696" y="343421"/>
                </a:moveTo>
                <a:cubicBezTo>
                  <a:pt x="3097696" y="347066"/>
                  <a:pt x="3097696" y="347066"/>
                  <a:pt x="3097696" y="348888"/>
                </a:cubicBezTo>
                <a:cubicBezTo>
                  <a:pt x="3101340" y="345242"/>
                  <a:pt x="3099518" y="347066"/>
                  <a:pt x="3103163" y="348888"/>
                </a:cubicBezTo>
                <a:cubicBezTo>
                  <a:pt x="3104985" y="343421"/>
                  <a:pt x="3099518" y="345242"/>
                  <a:pt x="3097696" y="343421"/>
                </a:cubicBezTo>
                <a:close/>
                <a:moveTo>
                  <a:pt x="2425314" y="343421"/>
                </a:moveTo>
                <a:cubicBezTo>
                  <a:pt x="2425314" y="350710"/>
                  <a:pt x="2421669" y="361642"/>
                  <a:pt x="2425314" y="365287"/>
                </a:cubicBezTo>
                <a:cubicBezTo>
                  <a:pt x="2430780" y="363465"/>
                  <a:pt x="2425314" y="359821"/>
                  <a:pt x="2427136" y="356176"/>
                </a:cubicBezTo>
                <a:cubicBezTo>
                  <a:pt x="2432603" y="354354"/>
                  <a:pt x="2428958" y="359821"/>
                  <a:pt x="2432603" y="357998"/>
                </a:cubicBezTo>
                <a:cubicBezTo>
                  <a:pt x="2432603" y="352532"/>
                  <a:pt x="2434425" y="348888"/>
                  <a:pt x="2434425" y="345242"/>
                </a:cubicBezTo>
                <a:cubicBezTo>
                  <a:pt x="2430780" y="345242"/>
                  <a:pt x="2430780" y="341598"/>
                  <a:pt x="2425314" y="343421"/>
                </a:cubicBezTo>
                <a:close/>
                <a:moveTo>
                  <a:pt x="2008036" y="343421"/>
                </a:moveTo>
                <a:lnTo>
                  <a:pt x="2020680" y="356064"/>
                </a:lnTo>
                <a:lnTo>
                  <a:pt x="2018969" y="356176"/>
                </a:lnTo>
                <a:lnTo>
                  <a:pt x="2007445" y="345932"/>
                </a:lnTo>
                <a:close/>
                <a:moveTo>
                  <a:pt x="3068541" y="341598"/>
                </a:moveTo>
                <a:cubicBezTo>
                  <a:pt x="3066719" y="343421"/>
                  <a:pt x="3068541" y="352532"/>
                  <a:pt x="3074008" y="352532"/>
                </a:cubicBezTo>
                <a:cubicBezTo>
                  <a:pt x="3072186" y="348888"/>
                  <a:pt x="3075830" y="348888"/>
                  <a:pt x="3074008" y="345242"/>
                </a:cubicBezTo>
                <a:cubicBezTo>
                  <a:pt x="3070363" y="345242"/>
                  <a:pt x="3068541" y="343421"/>
                  <a:pt x="3068541" y="341598"/>
                </a:cubicBezTo>
                <a:close/>
                <a:moveTo>
                  <a:pt x="1745643" y="341598"/>
                </a:moveTo>
                <a:lnTo>
                  <a:pt x="1762043" y="356176"/>
                </a:lnTo>
                <a:lnTo>
                  <a:pt x="1783909" y="361642"/>
                </a:lnTo>
                <a:lnTo>
                  <a:pt x="1798487" y="357998"/>
                </a:lnTo>
                <a:cubicBezTo>
                  <a:pt x="1813063" y="379865"/>
                  <a:pt x="1827642" y="388976"/>
                  <a:pt x="1845864" y="409019"/>
                </a:cubicBezTo>
                <a:cubicBezTo>
                  <a:pt x="1860440" y="425419"/>
                  <a:pt x="1856796" y="427240"/>
                  <a:pt x="1865906" y="441819"/>
                </a:cubicBezTo>
                <a:cubicBezTo>
                  <a:pt x="1867729" y="445463"/>
                  <a:pt x="1882306" y="458218"/>
                  <a:pt x="1887773" y="463684"/>
                </a:cubicBezTo>
                <a:lnTo>
                  <a:pt x="1884128" y="547504"/>
                </a:lnTo>
                <a:cubicBezTo>
                  <a:pt x="1885950" y="549326"/>
                  <a:pt x="1885950" y="547504"/>
                  <a:pt x="1887773" y="545681"/>
                </a:cubicBezTo>
                <a:cubicBezTo>
                  <a:pt x="1891417" y="545681"/>
                  <a:pt x="1893239" y="549326"/>
                  <a:pt x="1895061" y="551148"/>
                </a:cubicBezTo>
                <a:cubicBezTo>
                  <a:pt x="1902350" y="552970"/>
                  <a:pt x="1920572" y="554792"/>
                  <a:pt x="1922394" y="543860"/>
                </a:cubicBezTo>
                <a:cubicBezTo>
                  <a:pt x="1940616" y="549326"/>
                  <a:pt x="1955194" y="529282"/>
                  <a:pt x="1957015" y="514705"/>
                </a:cubicBezTo>
                <a:cubicBezTo>
                  <a:pt x="1957015" y="516527"/>
                  <a:pt x="1957015" y="520171"/>
                  <a:pt x="1958837" y="520171"/>
                </a:cubicBezTo>
                <a:lnTo>
                  <a:pt x="1961372" y="518482"/>
                </a:lnTo>
                <a:lnTo>
                  <a:pt x="1956559" y="529994"/>
                </a:lnTo>
                <a:cubicBezTo>
                  <a:pt x="1955535" y="536799"/>
                  <a:pt x="1956559" y="543860"/>
                  <a:pt x="1960659" y="551148"/>
                </a:cubicBezTo>
                <a:cubicBezTo>
                  <a:pt x="1951549" y="551148"/>
                  <a:pt x="1955194" y="540215"/>
                  <a:pt x="1947904" y="536571"/>
                </a:cubicBezTo>
                <a:cubicBezTo>
                  <a:pt x="1944260" y="545681"/>
                  <a:pt x="1942438" y="552970"/>
                  <a:pt x="1949726" y="560260"/>
                </a:cubicBezTo>
                <a:cubicBezTo>
                  <a:pt x="1951549" y="556616"/>
                  <a:pt x="1951549" y="554792"/>
                  <a:pt x="1951549" y="552970"/>
                </a:cubicBezTo>
                <a:cubicBezTo>
                  <a:pt x="1964305" y="556616"/>
                  <a:pt x="1953371" y="567548"/>
                  <a:pt x="1949726" y="574836"/>
                </a:cubicBezTo>
                <a:cubicBezTo>
                  <a:pt x="1949726" y="571192"/>
                  <a:pt x="1947904" y="567548"/>
                  <a:pt x="1942438" y="567548"/>
                </a:cubicBezTo>
                <a:cubicBezTo>
                  <a:pt x="1947904" y="560260"/>
                  <a:pt x="1942438" y="552970"/>
                  <a:pt x="1940616" y="545681"/>
                </a:cubicBezTo>
                <a:cubicBezTo>
                  <a:pt x="1938793" y="551148"/>
                  <a:pt x="1942438" y="556616"/>
                  <a:pt x="1940616" y="558437"/>
                </a:cubicBezTo>
                <a:cubicBezTo>
                  <a:pt x="1935149" y="562081"/>
                  <a:pt x="1936972" y="551148"/>
                  <a:pt x="1933327" y="552970"/>
                </a:cubicBezTo>
                <a:cubicBezTo>
                  <a:pt x="1918750" y="558437"/>
                  <a:pt x="1893239" y="560260"/>
                  <a:pt x="1895061" y="582125"/>
                </a:cubicBezTo>
                <a:cubicBezTo>
                  <a:pt x="1891417" y="578481"/>
                  <a:pt x="1885950" y="578481"/>
                  <a:pt x="1882306" y="576658"/>
                </a:cubicBezTo>
                <a:cubicBezTo>
                  <a:pt x="1882306" y="578481"/>
                  <a:pt x="1882306" y="582125"/>
                  <a:pt x="1884128" y="583947"/>
                </a:cubicBezTo>
                <a:cubicBezTo>
                  <a:pt x="1880484" y="583947"/>
                  <a:pt x="1876839" y="576658"/>
                  <a:pt x="1875017" y="582125"/>
                </a:cubicBezTo>
                <a:cubicBezTo>
                  <a:pt x="1875017" y="585769"/>
                  <a:pt x="1878662" y="594880"/>
                  <a:pt x="1873195" y="593058"/>
                </a:cubicBezTo>
                <a:cubicBezTo>
                  <a:pt x="1864084" y="589414"/>
                  <a:pt x="1871373" y="576658"/>
                  <a:pt x="1880484" y="569370"/>
                </a:cubicBezTo>
                <a:cubicBezTo>
                  <a:pt x="1884128" y="569370"/>
                  <a:pt x="1885950" y="569370"/>
                  <a:pt x="1887773" y="571192"/>
                </a:cubicBezTo>
                <a:cubicBezTo>
                  <a:pt x="1887773" y="569370"/>
                  <a:pt x="1887773" y="563904"/>
                  <a:pt x="1885950" y="563904"/>
                </a:cubicBezTo>
                <a:cubicBezTo>
                  <a:pt x="1882306" y="563904"/>
                  <a:pt x="1876839" y="562081"/>
                  <a:pt x="1871373" y="563904"/>
                </a:cubicBezTo>
                <a:lnTo>
                  <a:pt x="1871373" y="565725"/>
                </a:lnTo>
                <a:lnTo>
                  <a:pt x="1862262" y="573014"/>
                </a:lnTo>
                <a:cubicBezTo>
                  <a:pt x="1862262" y="574836"/>
                  <a:pt x="1862262" y="574836"/>
                  <a:pt x="1862262" y="576658"/>
                </a:cubicBezTo>
                <a:cubicBezTo>
                  <a:pt x="1862262" y="576658"/>
                  <a:pt x="1860440" y="574836"/>
                  <a:pt x="1860440" y="574836"/>
                </a:cubicBezTo>
                <a:lnTo>
                  <a:pt x="1860440" y="596702"/>
                </a:lnTo>
                <a:lnTo>
                  <a:pt x="1838574" y="613103"/>
                </a:lnTo>
                <a:lnTo>
                  <a:pt x="1845864" y="625857"/>
                </a:lnTo>
                <a:lnTo>
                  <a:pt x="1822174" y="625857"/>
                </a:lnTo>
                <a:lnTo>
                  <a:pt x="1829463" y="640435"/>
                </a:lnTo>
                <a:lnTo>
                  <a:pt x="1796664" y="669589"/>
                </a:lnTo>
                <a:lnTo>
                  <a:pt x="1783909" y="662301"/>
                </a:lnTo>
                <a:lnTo>
                  <a:pt x="1774798" y="676878"/>
                </a:lnTo>
                <a:cubicBezTo>
                  <a:pt x="1756576" y="669589"/>
                  <a:pt x="1772976" y="667767"/>
                  <a:pt x="1752932" y="676878"/>
                </a:cubicBezTo>
                <a:cubicBezTo>
                  <a:pt x="1741999" y="667767"/>
                  <a:pt x="1769331" y="669589"/>
                  <a:pt x="1738354" y="669589"/>
                </a:cubicBezTo>
                <a:lnTo>
                  <a:pt x="1723777" y="669589"/>
                </a:lnTo>
                <a:lnTo>
                  <a:pt x="1709200" y="676878"/>
                </a:lnTo>
                <a:lnTo>
                  <a:pt x="1694622" y="667767"/>
                </a:lnTo>
                <a:lnTo>
                  <a:pt x="1680046" y="667767"/>
                </a:lnTo>
                <a:lnTo>
                  <a:pt x="1658179" y="667767"/>
                </a:lnTo>
                <a:cubicBezTo>
                  <a:pt x="1632669" y="667767"/>
                  <a:pt x="1588936" y="607635"/>
                  <a:pt x="1567070" y="593058"/>
                </a:cubicBezTo>
                <a:lnTo>
                  <a:pt x="1574359" y="576658"/>
                </a:lnTo>
                <a:lnTo>
                  <a:pt x="1554315" y="529282"/>
                </a:lnTo>
                <a:cubicBezTo>
                  <a:pt x="1557959" y="511061"/>
                  <a:pt x="1559781" y="527461"/>
                  <a:pt x="1550670" y="507417"/>
                </a:cubicBezTo>
                <a:cubicBezTo>
                  <a:pt x="1559781" y="496483"/>
                  <a:pt x="1557959" y="523815"/>
                  <a:pt x="1557959" y="492838"/>
                </a:cubicBezTo>
                <a:lnTo>
                  <a:pt x="1557959" y="485550"/>
                </a:lnTo>
                <a:cubicBezTo>
                  <a:pt x="1557959" y="467328"/>
                  <a:pt x="1552492" y="467328"/>
                  <a:pt x="1543382" y="454574"/>
                </a:cubicBezTo>
                <a:lnTo>
                  <a:pt x="1521516" y="447284"/>
                </a:lnTo>
                <a:cubicBezTo>
                  <a:pt x="1548848" y="447284"/>
                  <a:pt x="1567070" y="452751"/>
                  <a:pt x="1567070" y="425419"/>
                </a:cubicBezTo>
                <a:lnTo>
                  <a:pt x="1567070" y="418129"/>
                </a:lnTo>
                <a:lnTo>
                  <a:pt x="1567070" y="403552"/>
                </a:lnTo>
                <a:lnTo>
                  <a:pt x="1585292" y="390797"/>
                </a:lnTo>
                <a:lnTo>
                  <a:pt x="1605336" y="405375"/>
                </a:lnTo>
                <a:lnTo>
                  <a:pt x="1645423" y="359821"/>
                </a:lnTo>
                <a:lnTo>
                  <a:pt x="1658179" y="367109"/>
                </a:lnTo>
                <a:lnTo>
                  <a:pt x="1705555" y="345242"/>
                </a:lnTo>
                <a:lnTo>
                  <a:pt x="1718310" y="350710"/>
                </a:lnTo>
                <a:close/>
                <a:moveTo>
                  <a:pt x="3043031" y="339777"/>
                </a:moveTo>
                <a:cubicBezTo>
                  <a:pt x="3039387" y="339777"/>
                  <a:pt x="3039387" y="345242"/>
                  <a:pt x="3039387" y="348888"/>
                </a:cubicBezTo>
                <a:cubicBezTo>
                  <a:pt x="3043031" y="350710"/>
                  <a:pt x="3043031" y="345242"/>
                  <a:pt x="3043031" y="339777"/>
                </a:cubicBezTo>
                <a:close/>
                <a:moveTo>
                  <a:pt x="3084941" y="337954"/>
                </a:moveTo>
                <a:cubicBezTo>
                  <a:pt x="3079474" y="345242"/>
                  <a:pt x="3088585" y="337954"/>
                  <a:pt x="3088585" y="343421"/>
                </a:cubicBezTo>
                <a:cubicBezTo>
                  <a:pt x="3090407" y="343421"/>
                  <a:pt x="3086763" y="337954"/>
                  <a:pt x="3084941" y="337954"/>
                </a:cubicBezTo>
                <a:close/>
                <a:moveTo>
                  <a:pt x="2979255" y="337954"/>
                </a:moveTo>
                <a:cubicBezTo>
                  <a:pt x="2975610" y="339777"/>
                  <a:pt x="2979255" y="347066"/>
                  <a:pt x="2982899" y="347066"/>
                </a:cubicBezTo>
                <a:cubicBezTo>
                  <a:pt x="2982899" y="343421"/>
                  <a:pt x="2979255" y="343421"/>
                  <a:pt x="2979255" y="337954"/>
                </a:cubicBezTo>
                <a:close/>
                <a:moveTo>
                  <a:pt x="3435659" y="337070"/>
                </a:moveTo>
                <a:lnTo>
                  <a:pt x="3435938" y="337271"/>
                </a:lnTo>
                <a:lnTo>
                  <a:pt x="3436621" y="338949"/>
                </a:lnTo>
                <a:lnTo>
                  <a:pt x="3436621" y="339777"/>
                </a:lnTo>
                <a:close/>
                <a:moveTo>
                  <a:pt x="3383777" y="336133"/>
                </a:moveTo>
                <a:cubicBezTo>
                  <a:pt x="3380133" y="337954"/>
                  <a:pt x="3380133" y="339777"/>
                  <a:pt x="3381955" y="343421"/>
                </a:cubicBezTo>
                <a:cubicBezTo>
                  <a:pt x="3383777" y="341598"/>
                  <a:pt x="3383777" y="341598"/>
                  <a:pt x="3385600" y="341598"/>
                </a:cubicBezTo>
                <a:cubicBezTo>
                  <a:pt x="3383777" y="339777"/>
                  <a:pt x="3383777" y="337954"/>
                  <a:pt x="3383777" y="336133"/>
                </a:cubicBezTo>
                <a:close/>
                <a:moveTo>
                  <a:pt x="3168761" y="336133"/>
                </a:moveTo>
                <a:cubicBezTo>
                  <a:pt x="3166939" y="343421"/>
                  <a:pt x="3176050" y="341598"/>
                  <a:pt x="3177872" y="339777"/>
                </a:cubicBezTo>
                <a:cubicBezTo>
                  <a:pt x="3176050" y="336133"/>
                  <a:pt x="3172405" y="336133"/>
                  <a:pt x="3168761" y="336133"/>
                </a:cubicBezTo>
                <a:close/>
                <a:moveTo>
                  <a:pt x="2361538" y="334310"/>
                </a:moveTo>
                <a:cubicBezTo>
                  <a:pt x="2359716" y="336133"/>
                  <a:pt x="2354249" y="336133"/>
                  <a:pt x="2356071" y="339777"/>
                </a:cubicBezTo>
                <a:cubicBezTo>
                  <a:pt x="2357893" y="339777"/>
                  <a:pt x="2357893" y="337954"/>
                  <a:pt x="2359716" y="337954"/>
                </a:cubicBezTo>
                <a:cubicBezTo>
                  <a:pt x="2359716" y="343421"/>
                  <a:pt x="2359716" y="341598"/>
                  <a:pt x="2359716" y="345242"/>
                </a:cubicBezTo>
                <a:cubicBezTo>
                  <a:pt x="2361538" y="343421"/>
                  <a:pt x="2359716" y="337954"/>
                  <a:pt x="2361538" y="334310"/>
                </a:cubicBezTo>
                <a:close/>
                <a:moveTo>
                  <a:pt x="3330934" y="332488"/>
                </a:moveTo>
                <a:cubicBezTo>
                  <a:pt x="3329112" y="341598"/>
                  <a:pt x="3321824" y="350710"/>
                  <a:pt x="3332756" y="352532"/>
                </a:cubicBezTo>
                <a:cubicBezTo>
                  <a:pt x="3338223" y="352532"/>
                  <a:pt x="3334579" y="347066"/>
                  <a:pt x="3336401" y="343421"/>
                </a:cubicBezTo>
                <a:cubicBezTo>
                  <a:pt x="3332756" y="341598"/>
                  <a:pt x="3330934" y="337954"/>
                  <a:pt x="3330934" y="332488"/>
                </a:cubicBezTo>
                <a:close/>
                <a:moveTo>
                  <a:pt x="2544122" y="330784"/>
                </a:moveTo>
                <a:lnTo>
                  <a:pt x="2544666" y="339093"/>
                </a:lnTo>
                <a:lnTo>
                  <a:pt x="2550890" y="348651"/>
                </a:lnTo>
                <a:lnTo>
                  <a:pt x="2543755" y="347066"/>
                </a:lnTo>
                <a:close/>
                <a:moveTo>
                  <a:pt x="3349156" y="330666"/>
                </a:moveTo>
                <a:cubicBezTo>
                  <a:pt x="3341867" y="337954"/>
                  <a:pt x="3338223" y="347066"/>
                  <a:pt x="3338223" y="356176"/>
                </a:cubicBezTo>
                <a:cubicBezTo>
                  <a:pt x="3343690" y="352532"/>
                  <a:pt x="3343690" y="365287"/>
                  <a:pt x="3347334" y="361642"/>
                </a:cubicBezTo>
                <a:cubicBezTo>
                  <a:pt x="3347334" y="359821"/>
                  <a:pt x="3345512" y="357998"/>
                  <a:pt x="3347334" y="356176"/>
                </a:cubicBezTo>
                <a:cubicBezTo>
                  <a:pt x="3350978" y="363465"/>
                  <a:pt x="3361911" y="363465"/>
                  <a:pt x="3365556" y="370754"/>
                </a:cubicBezTo>
                <a:cubicBezTo>
                  <a:pt x="3374666" y="361642"/>
                  <a:pt x="3371022" y="339777"/>
                  <a:pt x="3360089" y="332488"/>
                </a:cubicBezTo>
                <a:cubicBezTo>
                  <a:pt x="3358267" y="337954"/>
                  <a:pt x="3363734" y="345242"/>
                  <a:pt x="3365556" y="352532"/>
                </a:cubicBezTo>
                <a:cubicBezTo>
                  <a:pt x="3360089" y="350710"/>
                  <a:pt x="3358267" y="348888"/>
                  <a:pt x="3356445" y="343421"/>
                </a:cubicBezTo>
                <a:cubicBezTo>
                  <a:pt x="3354623" y="347066"/>
                  <a:pt x="3349156" y="345242"/>
                  <a:pt x="3347334" y="347066"/>
                </a:cubicBezTo>
                <a:cubicBezTo>
                  <a:pt x="3347334" y="339777"/>
                  <a:pt x="3354623" y="337954"/>
                  <a:pt x="3349156" y="330666"/>
                </a:cubicBezTo>
                <a:close/>
                <a:moveTo>
                  <a:pt x="1987992" y="330666"/>
                </a:moveTo>
                <a:cubicBezTo>
                  <a:pt x="1993459" y="330666"/>
                  <a:pt x="1991638" y="336133"/>
                  <a:pt x="1997103" y="336133"/>
                </a:cubicBezTo>
                <a:cubicBezTo>
                  <a:pt x="1997103" y="336133"/>
                  <a:pt x="1997103" y="332488"/>
                  <a:pt x="1995281" y="332488"/>
                </a:cubicBezTo>
                <a:cubicBezTo>
                  <a:pt x="1997103" y="330666"/>
                  <a:pt x="2000747" y="330666"/>
                  <a:pt x="2002570" y="332488"/>
                </a:cubicBezTo>
                <a:cubicBezTo>
                  <a:pt x="2002570" y="337954"/>
                  <a:pt x="2002570" y="336133"/>
                  <a:pt x="2002570" y="341598"/>
                </a:cubicBezTo>
                <a:lnTo>
                  <a:pt x="2007445" y="345932"/>
                </a:lnTo>
                <a:lnTo>
                  <a:pt x="2007125" y="347293"/>
                </a:lnTo>
                <a:cubicBezTo>
                  <a:pt x="2006214" y="347976"/>
                  <a:pt x="2005303" y="348887"/>
                  <a:pt x="2006214" y="352532"/>
                </a:cubicBezTo>
                <a:cubicBezTo>
                  <a:pt x="2004392" y="347066"/>
                  <a:pt x="1998925" y="343421"/>
                  <a:pt x="1998925" y="337954"/>
                </a:cubicBezTo>
                <a:cubicBezTo>
                  <a:pt x="1993459" y="337954"/>
                  <a:pt x="1991638" y="334310"/>
                  <a:pt x="1989814" y="332488"/>
                </a:cubicBezTo>
                <a:cubicBezTo>
                  <a:pt x="1987992" y="332488"/>
                  <a:pt x="1993459" y="339777"/>
                  <a:pt x="1989814" y="343421"/>
                </a:cubicBezTo>
                <a:cubicBezTo>
                  <a:pt x="1986170" y="341598"/>
                  <a:pt x="1986170" y="336133"/>
                  <a:pt x="1987992" y="330666"/>
                </a:cubicBezTo>
                <a:close/>
                <a:moveTo>
                  <a:pt x="3301780" y="328844"/>
                </a:moveTo>
                <a:cubicBezTo>
                  <a:pt x="3299957" y="332488"/>
                  <a:pt x="3299957" y="339777"/>
                  <a:pt x="3305424" y="336133"/>
                </a:cubicBezTo>
                <a:cubicBezTo>
                  <a:pt x="3305424" y="330666"/>
                  <a:pt x="3303602" y="330666"/>
                  <a:pt x="3301780" y="328844"/>
                </a:cubicBezTo>
                <a:close/>
                <a:moveTo>
                  <a:pt x="2365182" y="328844"/>
                </a:moveTo>
                <a:lnTo>
                  <a:pt x="2366631" y="333190"/>
                </a:lnTo>
                <a:lnTo>
                  <a:pt x="2363198" y="333630"/>
                </a:lnTo>
                <a:close/>
                <a:moveTo>
                  <a:pt x="3265336" y="327022"/>
                </a:moveTo>
                <a:cubicBezTo>
                  <a:pt x="3258047" y="327022"/>
                  <a:pt x="3263514" y="336133"/>
                  <a:pt x="3261692" y="343421"/>
                </a:cubicBezTo>
                <a:cubicBezTo>
                  <a:pt x="3268980" y="345242"/>
                  <a:pt x="3263514" y="332488"/>
                  <a:pt x="3270803" y="330666"/>
                </a:cubicBezTo>
                <a:cubicBezTo>
                  <a:pt x="3270803" y="327022"/>
                  <a:pt x="3265336" y="328844"/>
                  <a:pt x="3265336" y="327022"/>
                </a:cubicBezTo>
                <a:close/>
                <a:moveTo>
                  <a:pt x="3106807" y="327022"/>
                </a:moveTo>
                <a:cubicBezTo>
                  <a:pt x="3104985" y="327022"/>
                  <a:pt x="3104985" y="330666"/>
                  <a:pt x="3104985" y="332488"/>
                </a:cubicBezTo>
                <a:cubicBezTo>
                  <a:pt x="3106807" y="334310"/>
                  <a:pt x="3108629" y="334310"/>
                  <a:pt x="3110451" y="334310"/>
                </a:cubicBezTo>
                <a:cubicBezTo>
                  <a:pt x="3112274" y="328844"/>
                  <a:pt x="3108629" y="328844"/>
                  <a:pt x="3106807" y="327022"/>
                </a:cubicBezTo>
                <a:close/>
                <a:moveTo>
                  <a:pt x="2321450" y="327022"/>
                </a:moveTo>
                <a:cubicBezTo>
                  <a:pt x="2312339" y="330666"/>
                  <a:pt x="2303228" y="336133"/>
                  <a:pt x="2301406" y="347066"/>
                </a:cubicBezTo>
                <a:cubicBezTo>
                  <a:pt x="2299584" y="343421"/>
                  <a:pt x="2299584" y="341598"/>
                  <a:pt x="2301406" y="339777"/>
                </a:cubicBezTo>
                <a:cubicBezTo>
                  <a:pt x="2295940" y="339777"/>
                  <a:pt x="2297762" y="347066"/>
                  <a:pt x="2292295" y="347066"/>
                </a:cubicBezTo>
                <a:cubicBezTo>
                  <a:pt x="2288651" y="348888"/>
                  <a:pt x="2290473" y="341598"/>
                  <a:pt x="2290473" y="339777"/>
                </a:cubicBezTo>
                <a:cubicBezTo>
                  <a:pt x="2283184" y="345242"/>
                  <a:pt x="2285007" y="354354"/>
                  <a:pt x="2283184" y="359821"/>
                </a:cubicBezTo>
                <a:cubicBezTo>
                  <a:pt x="2285007" y="359821"/>
                  <a:pt x="2288651" y="359821"/>
                  <a:pt x="2290473" y="359821"/>
                </a:cubicBezTo>
                <a:lnTo>
                  <a:pt x="2297762" y="359821"/>
                </a:lnTo>
                <a:cubicBezTo>
                  <a:pt x="2301406" y="356176"/>
                  <a:pt x="2303228" y="350710"/>
                  <a:pt x="2303228" y="345242"/>
                </a:cubicBezTo>
                <a:cubicBezTo>
                  <a:pt x="2306873" y="345242"/>
                  <a:pt x="2305050" y="352532"/>
                  <a:pt x="2306873" y="352532"/>
                </a:cubicBezTo>
                <a:cubicBezTo>
                  <a:pt x="2314161" y="350710"/>
                  <a:pt x="2305050" y="345242"/>
                  <a:pt x="2306873" y="343421"/>
                </a:cubicBezTo>
                <a:cubicBezTo>
                  <a:pt x="2308695" y="343421"/>
                  <a:pt x="2312339" y="341598"/>
                  <a:pt x="2312339" y="345242"/>
                </a:cubicBezTo>
                <a:cubicBezTo>
                  <a:pt x="2310517" y="350710"/>
                  <a:pt x="2306873" y="354354"/>
                  <a:pt x="2305050" y="359821"/>
                </a:cubicBezTo>
                <a:lnTo>
                  <a:pt x="2310517" y="359821"/>
                </a:lnTo>
                <a:cubicBezTo>
                  <a:pt x="2310517" y="356176"/>
                  <a:pt x="2312339" y="352532"/>
                  <a:pt x="2315983" y="352532"/>
                </a:cubicBezTo>
                <a:cubicBezTo>
                  <a:pt x="2319628" y="350710"/>
                  <a:pt x="2317806" y="361642"/>
                  <a:pt x="2323272" y="357998"/>
                </a:cubicBezTo>
                <a:cubicBezTo>
                  <a:pt x="2323272" y="356176"/>
                  <a:pt x="2323272" y="356176"/>
                  <a:pt x="2325094" y="354354"/>
                </a:cubicBezTo>
                <a:cubicBezTo>
                  <a:pt x="2328739" y="356176"/>
                  <a:pt x="2325094" y="361642"/>
                  <a:pt x="2326916" y="363465"/>
                </a:cubicBezTo>
                <a:cubicBezTo>
                  <a:pt x="2332383" y="359821"/>
                  <a:pt x="2330561" y="354354"/>
                  <a:pt x="2330561" y="348888"/>
                </a:cubicBezTo>
                <a:cubicBezTo>
                  <a:pt x="2328739" y="350710"/>
                  <a:pt x="2330561" y="352532"/>
                  <a:pt x="2328739" y="354354"/>
                </a:cubicBezTo>
                <a:cubicBezTo>
                  <a:pt x="2325094" y="350710"/>
                  <a:pt x="2319628" y="347066"/>
                  <a:pt x="2314161" y="343421"/>
                </a:cubicBezTo>
                <a:cubicBezTo>
                  <a:pt x="2315983" y="339777"/>
                  <a:pt x="2323272" y="341598"/>
                  <a:pt x="2323272" y="334310"/>
                </a:cubicBezTo>
                <a:cubicBezTo>
                  <a:pt x="2323272" y="343421"/>
                  <a:pt x="2337850" y="339777"/>
                  <a:pt x="2343316" y="336133"/>
                </a:cubicBezTo>
                <a:cubicBezTo>
                  <a:pt x="2343316" y="334310"/>
                  <a:pt x="2341494" y="332488"/>
                  <a:pt x="2341494" y="330666"/>
                </a:cubicBezTo>
                <a:cubicBezTo>
                  <a:pt x="2339672" y="332488"/>
                  <a:pt x="2339672" y="332488"/>
                  <a:pt x="2337850" y="334310"/>
                </a:cubicBezTo>
                <a:cubicBezTo>
                  <a:pt x="2336027" y="330666"/>
                  <a:pt x="2336027" y="328844"/>
                  <a:pt x="2336027" y="327022"/>
                </a:cubicBezTo>
                <a:cubicBezTo>
                  <a:pt x="2330561" y="332488"/>
                  <a:pt x="2326916" y="325199"/>
                  <a:pt x="2321450" y="327022"/>
                </a:cubicBezTo>
                <a:close/>
                <a:moveTo>
                  <a:pt x="3363734" y="325199"/>
                </a:moveTo>
                <a:cubicBezTo>
                  <a:pt x="3363734" y="325199"/>
                  <a:pt x="3360089" y="330666"/>
                  <a:pt x="3363734" y="330666"/>
                </a:cubicBezTo>
                <a:cubicBezTo>
                  <a:pt x="3363734" y="330666"/>
                  <a:pt x="3365556" y="330666"/>
                  <a:pt x="3365556" y="330666"/>
                </a:cubicBezTo>
                <a:cubicBezTo>
                  <a:pt x="3367378" y="327022"/>
                  <a:pt x="3363734" y="328844"/>
                  <a:pt x="3363734" y="325199"/>
                </a:cubicBezTo>
                <a:close/>
                <a:moveTo>
                  <a:pt x="3238003" y="325199"/>
                </a:moveTo>
                <a:cubicBezTo>
                  <a:pt x="3230715" y="323377"/>
                  <a:pt x="3227071" y="332488"/>
                  <a:pt x="3232537" y="339777"/>
                </a:cubicBezTo>
                <a:cubicBezTo>
                  <a:pt x="3234359" y="336133"/>
                  <a:pt x="3239826" y="334310"/>
                  <a:pt x="3238003" y="325199"/>
                </a:cubicBezTo>
                <a:close/>
                <a:moveTo>
                  <a:pt x="2543755" y="325199"/>
                </a:moveTo>
                <a:lnTo>
                  <a:pt x="2544392" y="325570"/>
                </a:lnTo>
                <a:lnTo>
                  <a:pt x="2544211" y="326793"/>
                </a:lnTo>
                <a:lnTo>
                  <a:pt x="2544122" y="330784"/>
                </a:lnTo>
                <a:close/>
                <a:moveTo>
                  <a:pt x="3356771" y="323606"/>
                </a:moveTo>
                <a:lnTo>
                  <a:pt x="3357513" y="324131"/>
                </a:lnTo>
                <a:lnTo>
                  <a:pt x="3356445" y="325199"/>
                </a:lnTo>
                <a:close/>
                <a:moveTo>
                  <a:pt x="3414754" y="323377"/>
                </a:moveTo>
                <a:cubicBezTo>
                  <a:pt x="3409288" y="330666"/>
                  <a:pt x="3391066" y="328844"/>
                  <a:pt x="3398355" y="337954"/>
                </a:cubicBezTo>
                <a:cubicBezTo>
                  <a:pt x="3400177" y="339777"/>
                  <a:pt x="3418399" y="343421"/>
                  <a:pt x="3412932" y="334310"/>
                </a:cubicBezTo>
                <a:cubicBezTo>
                  <a:pt x="3411110" y="332488"/>
                  <a:pt x="3409288" y="332488"/>
                  <a:pt x="3409288" y="330666"/>
                </a:cubicBezTo>
                <a:cubicBezTo>
                  <a:pt x="3412932" y="330666"/>
                  <a:pt x="3414754" y="330666"/>
                  <a:pt x="3416577" y="332488"/>
                </a:cubicBezTo>
                <a:close/>
                <a:moveTo>
                  <a:pt x="3325468" y="323377"/>
                </a:moveTo>
                <a:cubicBezTo>
                  <a:pt x="3321824" y="323377"/>
                  <a:pt x="3318179" y="330666"/>
                  <a:pt x="3321824" y="332488"/>
                </a:cubicBezTo>
                <a:cubicBezTo>
                  <a:pt x="3321824" y="332488"/>
                  <a:pt x="3323646" y="330666"/>
                  <a:pt x="3325468" y="330666"/>
                </a:cubicBezTo>
                <a:cubicBezTo>
                  <a:pt x="3323646" y="327022"/>
                  <a:pt x="3325468" y="327022"/>
                  <a:pt x="3325468" y="323377"/>
                </a:cubicBezTo>
                <a:close/>
                <a:moveTo>
                  <a:pt x="3450637" y="322536"/>
                </a:moveTo>
                <a:lnTo>
                  <a:pt x="3453476" y="326793"/>
                </a:lnTo>
                <a:lnTo>
                  <a:pt x="3456671" y="329568"/>
                </a:lnTo>
                <a:lnTo>
                  <a:pt x="3454842" y="330666"/>
                </a:lnTo>
                <a:cubicBezTo>
                  <a:pt x="3453020" y="328844"/>
                  <a:pt x="3453020" y="325199"/>
                  <a:pt x="3449376" y="323377"/>
                </a:cubicBezTo>
                <a:close/>
                <a:moveTo>
                  <a:pt x="3010232" y="321555"/>
                </a:moveTo>
                <a:cubicBezTo>
                  <a:pt x="3001121" y="323377"/>
                  <a:pt x="3008410" y="336133"/>
                  <a:pt x="3012054" y="341598"/>
                </a:cubicBezTo>
                <a:cubicBezTo>
                  <a:pt x="3013876" y="336133"/>
                  <a:pt x="3012054" y="327022"/>
                  <a:pt x="3010232" y="321555"/>
                </a:cubicBezTo>
                <a:close/>
                <a:moveTo>
                  <a:pt x="2314161" y="321555"/>
                </a:moveTo>
                <a:cubicBezTo>
                  <a:pt x="2312339" y="319733"/>
                  <a:pt x="2305050" y="325199"/>
                  <a:pt x="2305050" y="323377"/>
                </a:cubicBezTo>
                <a:cubicBezTo>
                  <a:pt x="2303228" y="323377"/>
                  <a:pt x="2306873" y="327022"/>
                  <a:pt x="2306873" y="328844"/>
                </a:cubicBezTo>
                <a:cubicBezTo>
                  <a:pt x="2310517" y="327022"/>
                  <a:pt x="2314161" y="325199"/>
                  <a:pt x="2314161" y="321555"/>
                </a:cubicBezTo>
                <a:close/>
                <a:moveTo>
                  <a:pt x="2521889" y="319733"/>
                </a:moveTo>
                <a:cubicBezTo>
                  <a:pt x="2518245" y="319733"/>
                  <a:pt x="2510956" y="319733"/>
                  <a:pt x="2512778" y="325199"/>
                </a:cubicBezTo>
                <a:cubicBezTo>
                  <a:pt x="2516423" y="323377"/>
                  <a:pt x="2518245" y="327022"/>
                  <a:pt x="2521889" y="327022"/>
                </a:cubicBezTo>
                <a:cubicBezTo>
                  <a:pt x="2521889" y="325199"/>
                  <a:pt x="2521889" y="323377"/>
                  <a:pt x="2521889" y="319733"/>
                </a:cubicBezTo>
                <a:close/>
                <a:moveTo>
                  <a:pt x="1973416" y="319733"/>
                </a:moveTo>
                <a:cubicBezTo>
                  <a:pt x="1975237" y="323377"/>
                  <a:pt x="1975237" y="327022"/>
                  <a:pt x="1982527" y="327022"/>
                </a:cubicBezTo>
                <a:cubicBezTo>
                  <a:pt x="1984348" y="321555"/>
                  <a:pt x="1977059" y="317911"/>
                  <a:pt x="1973416" y="319733"/>
                </a:cubicBezTo>
                <a:close/>
                <a:moveTo>
                  <a:pt x="1929682" y="317928"/>
                </a:moveTo>
                <a:cubicBezTo>
                  <a:pt x="1931505" y="317928"/>
                  <a:pt x="1931505" y="319750"/>
                  <a:pt x="1933327" y="319750"/>
                </a:cubicBezTo>
                <a:cubicBezTo>
                  <a:pt x="1931505" y="323395"/>
                  <a:pt x="1933327" y="327039"/>
                  <a:pt x="1935149" y="330683"/>
                </a:cubicBezTo>
                <a:cubicBezTo>
                  <a:pt x="1938793" y="336150"/>
                  <a:pt x="1931505" y="337972"/>
                  <a:pt x="1927861" y="334328"/>
                </a:cubicBezTo>
                <a:cubicBezTo>
                  <a:pt x="1927861" y="328861"/>
                  <a:pt x="1929682" y="323395"/>
                  <a:pt x="1929682" y="317928"/>
                </a:cubicBezTo>
                <a:close/>
                <a:moveTo>
                  <a:pt x="2664019" y="316089"/>
                </a:moveTo>
                <a:cubicBezTo>
                  <a:pt x="2665841" y="316089"/>
                  <a:pt x="2667663" y="314266"/>
                  <a:pt x="2669485" y="316089"/>
                </a:cubicBezTo>
                <a:cubicBezTo>
                  <a:pt x="2669485" y="316089"/>
                  <a:pt x="2669485" y="317911"/>
                  <a:pt x="2669485" y="321555"/>
                </a:cubicBezTo>
                <a:cubicBezTo>
                  <a:pt x="2664019" y="321555"/>
                  <a:pt x="2664019" y="319733"/>
                  <a:pt x="2664019" y="316089"/>
                </a:cubicBezTo>
                <a:close/>
                <a:moveTo>
                  <a:pt x="2108256" y="316089"/>
                </a:moveTo>
                <a:cubicBezTo>
                  <a:pt x="2102790" y="317911"/>
                  <a:pt x="2097323" y="323377"/>
                  <a:pt x="2099145" y="327022"/>
                </a:cubicBezTo>
                <a:cubicBezTo>
                  <a:pt x="2100967" y="327022"/>
                  <a:pt x="2102790" y="323377"/>
                  <a:pt x="2106433" y="325199"/>
                </a:cubicBezTo>
                <a:cubicBezTo>
                  <a:pt x="2102790" y="328844"/>
                  <a:pt x="2099145" y="330666"/>
                  <a:pt x="2097323" y="336133"/>
                </a:cubicBezTo>
                <a:cubicBezTo>
                  <a:pt x="2099145" y="337954"/>
                  <a:pt x="2100967" y="334310"/>
                  <a:pt x="2100967" y="341598"/>
                </a:cubicBezTo>
                <a:cubicBezTo>
                  <a:pt x="2126477" y="341598"/>
                  <a:pt x="2146521" y="343421"/>
                  <a:pt x="2168387" y="350710"/>
                </a:cubicBezTo>
                <a:cubicBezTo>
                  <a:pt x="2162921" y="337954"/>
                  <a:pt x="2148344" y="334310"/>
                  <a:pt x="2142877" y="321555"/>
                </a:cubicBezTo>
                <a:cubicBezTo>
                  <a:pt x="2135588" y="325199"/>
                  <a:pt x="2131944" y="319733"/>
                  <a:pt x="2128300" y="317911"/>
                </a:cubicBezTo>
                <a:cubicBezTo>
                  <a:pt x="2122833" y="317911"/>
                  <a:pt x="2124655" y="323377"/>
                  <a:pt x="2121011" y="323377"/>
                </a:cubicBezTo>
                <a:cubicBezTo>
                  <a:pt x="2119189" y="327022"/>
                  <a:pt x="2122833" y="327022"/>
                  <a:pt x="2122833" y="330666"/>
                </a:cubicBezTo>
                <a:cubicBezTo>
                  <a:pt x="2117366" y="328844"/>
                  <a:pt x="2117366" y="323377"/>
                  <a:pt x="2115544" y="319733"/>
                </a:cubicBezTo>
                <a:cubicBezTo>
                  <a:pt x="2111900" y="319733"/>
                  <a:pt x="2110078" y="321555"/>
                  <a:pt x="2108256" y="323377"/>
                </a:cubicBezTo>
                <a:cubicBezTo>
                  <a:pt x="2108256" y="319733"/>
                  <a:pt x="2110078" y="317911"/>
                  <a:pt x="2108256" y="316089"/>
                </a:cubicBezTo>
                <a:close/>
                <a:moveTo>
                  <a:pt x="3245292" y="312444"/>
                </a:moveTo>
                <a:cubicBezTo>
                  <a:pt x="3239826" y="312444"/>
                  <a:pt x="3243470" y="327022"/>
                  <a:pt x="3250759" y="325199"/>
                </a:cubicBezTo>
                <a:cubicBezTo>
                  <a:pt x="3247114" y="319733"/>
                  <a:pt x="3250759" y="325199"/>
                  <a:pt x="3254403" y="325199"/>
                </a:cubicBezTo>
                <a:cubicBezTo>
                  <a:pt x="3258047" y="319733"/>
                  <a:pt x="3252581" y="310622"/>
                  <a:pt x="3245292" y="312444"/>
                </a:cubicBezTo>
                <a:close/>
                <a:moveTo>
                  <a:pt x="2674952" y="312444"/>
                </a:moveTo>
                <a:cubicBezTo>
                  <a:pt x="2673130" y="316089"/>
                  <a:pt x="2680418" y="319733"/>
                  <a:pt x="2680418" y="314266"/>
                </a:cubicBezTo>
                <a:cubicBezTo>
                  <a:pt x="2678596" y="312444"/>
                  <a:pt x="2676774" y="312444"/>
                  <a:pt x="2674952" y="312444"/>
                </a:cubicBezTo>
                <a:close/>
                <a:moveTo>
                  <a:pt x="2150166" y="312444"/>
                </a:moveTo>
                <a:cubicBezTo>
                  <a:pt x="2146521" y="310622"/>
                  <a:pt x="2144699" y="312444"/>
                  <a:pt x="2144699" y="314266"/>
                </a:cubicBezTo>
                <a:cubicBezTo>
                  <a:pt x="2146521" y="317911"/>
                  <a:pt x="2146521" y="319733"/>
                  <a:pt x="2151988" y="319733"/>
                </a:cubicBezTo>
                <a:cubicBezTo>
                  <a:pt x="2150166" y="317911"/>
                  <a:pt x="2150166" y="316089"/>
                  <a:pt x="2150166" y="312444"/>
                </a:cubicBezTo>
                <a:close/>
                <a:moveTo>
                  <a:pt x="2294573" y="310394"/>
                </a:moveTo>
                <a:cubicBezTo>
                  <a:pt x="2292296" y="310622"/>
                  <a:pt x="2289562" y="311533"/>
                  <a:pt x="2288651" y="312444"/>
                </a:cubicBezTo>
                <a:cubicBezTo>
                  <a:pt x="2288651" y="314266"/>
                  <a:pt x="2288651" y="314266"/>
                  <a:pt x="2288651" y="316089"/>
                </a:cubicBezTo>
                <a:cubicBezTo>
                  <a:pt x="2283184" y="317911"/>
                  <a:pt x="2283184" y="314266"/>
                  <a:pt x="2281362" y="312444"/>
                </a:cubicBezTo>
                <a:cubicBezTo>
                  <a:pt x="2279540" y="314266"/>
                  <a:pt x="2277718" y="314266"/>
                  <a:pt x="2275896" y="316089"/>
                </a:cubicBezTo>
                <a:cubicBezTo>
                  <a:pt x="2270429" y="321555"/>
                  <a:pt x="2275896" y="330666"/>
                  <a:pt x="2285007" y="327022"/>
                </a:cubicBezTo>
                <a:cubicBezTo>
                  <a:pt x="2288651" y="325199"/>
                  <a:pt x="2292295" y="325199"/>
                  <a:pt x="2295940" y="323377"/>
                </a:cubicBezTo>
                <a:cubicBezTo>
                  <a:pt x="2297762" y="321555"/>
                  <a:pt x="2297762" y="317911"/>
                  <a:pt x="2297762" y="316089"/>
                </a:cubicBezTo>
                <a:cubicBezTo>
                  <a:pt x="2294117" y="316089"/>
                  <a:pt x="2297762" y="321555"/>
                  <a:pt x="2294117" y="321555"/>
                </a:cubicBezTo>
                <a:cubicBezTo>
                  <a:pt x="2290473" y="316089"/>
                  <a:pt x="2295940" y="314266"/>
                  <a:pt x="2297762" y="312444"/>
                </a:cubicBezTo>
                <a:cubicBezTo>
                  <a:pt x="2298673" y="310622"/>
                  <a:pt x="2296851" y="310166"/>
                  <a:pt x="2294573" y="310394"/>
                </a:cubicBezTo>
                <a:close/>
                <a:moveTo>
                  <a:pt x="3453020" y="308800"/>
                </a:moveTo>
                <a:cubicBezTo>
                  <a:pt x="3456664" y="306978"/>
                  <a:pt x="3458487" y="314266"/>
                  <a:pt x="3460309" y="316089"/>
                </a:cubicBezTo>
                <a:lnTo>
                  <a:pt x="3450637" y="322536"/>
                </a:lnTo>
                <a:lnTo>
                  <a:pt x="3447553" y="317911"/>
                </a:lnTo>
                <a:cubicBezTo>
                  <a:pt x="3449376" y="317911"/>
                  <a:pt x="3449376" y="319733"/>
                  <a:pt x="3451198" y="319733"/>
                </a:cubicBezTo>
                <a:cubicBezTo>
                  <a:pt x="3451198" y="316089"/>
                  <a:pt x="3447553" y="308800"/>
                  <a:pt x="3453020" y="308800"/>
                </a:cubicBezTo>
                <a:close/>
                <a:moveTo>
                  <a:pt x="2964677" y="308800"/>
                </a:moveTo>
                <a:cubicBezTo>
                  <a:pt x="2959211" y="305155"/>
                  <a:pt x="2961033" y="317911"/>
                  <a:pt x="2962855" y="319733"/>
                </a:cubicBezTo>
                <a:cubicBezTo>
                  <a:pt x="2966500" y="319733"/>
                  <a:pt x="2962855" y="312444"/>
                  <a:pt x="2964677" y="308800"/>
                </a:cubicBezTo>
                <a:close/>
                <a:moveTo>
                  <a:pt x="3336401" y="306978"/>
                </a:moveTo>
                <a:cubicBezTo>
                  <a:pt x="3327290" y="308800"/>
                  <a:pt x="3325468" y="316089"/>
                  <a:pt x="3329112" y="323377"/>
                </a:cubicBezTo>
                <a:cubicBezTo>
                  <a:pt x="3332756" y="319733"/>
                  <a:pt x="3332756" y="316089"/>
                  <a:pt x="3332756" y="310622"/>
                </a:cubicBezTo>
                <a:cubicBezTo>
                  <a:pt x="3338223" y="312444"/>
                  <a:pt x="3332756" y="321555"/>
                  <a:pt x="3340045" y="319733"/>
                </a:cubicBezTo>
                <a:cubicBezTo>
                  <a:pt x="3340045" y="314266"/>
                  <a:pt x="3336401" y="312444"/>
                  <a:pt x="3336401" y="306978"/>
                </a:cubicBezTo>
                <a:close/>
                <a:moveTo>
                  <a:pt x="2968322" y="306978"/>
                </a:moveTo>
                <a:cubicBezTo>
                  <a:pt x="2962855" y="312444"/>
                  <a:pt x="2968322" y="314266"/>
                  <a:pt x="2970144" y="323377"/>
                </a:cubicBezTo>
                <a:cubicBezTo>
                  <a:pt x="2971966" y="323377"/>
                  <a:pt x="2973788" y="323377"/>
                  <a:pt x="2975610" y="323377"/>
                </a:cubicBezTo>
                <a:cubicBezTo>
                  <a:pt x="2973788" y="316089"/>
                  <a:pt x="2970144" y="314266"/>
                  <a:pt x="2968322" y="306978"/>
                </a:cubicBezTo>
                <a:close/>
                <a:moveTo>
                  <a:pt x="2951922" y="306978"/>
                </a:moveTo>
                <a:cubicBezTo>
                  <a:pt x="2946456" y="305155"/>
                  <a:pt x="2948278" y="319733"/>
                  <a:pt x="2950100" y="323377"/>
                </a:cubicBezTo>
                <a:cubicBezTo>
                  <a:pt x="2950100" y="319733"/>
                  <a:pt x="2950100" y="314266"/>
                  <a:pt x="2951922" y="306978"/>
                </a:cubicBezTo>
                <a:close/>
                <a:moveTo>
                  <a:pt x="3361911" y="305155"/>
                </a:moveTo>
                <a:lnTo>
                  <a:pt x="3363594" y="310201"/>
                </a:lnTo>
                <a:lnTo>
                  <a:pt x="3362376" y="310066"/>
                </a:lnTo>
                <a:lnTo>
                  <a:pt x="3358723" y="308571"/>
                </a:lnTo>
                <a:cubicBezTo>
                  <a:pt x="3358267" y="306522"/>
                  <a:pt x="3359178" y="304244"/>
                  <a:pt x="3361911" y="305155"/>
                </a:cubicBezTo>
                <a:close/>
                <a:moveTo>
                  <a:pt x="3185160" y="305155"/>
                </a:moveTo>
                <a:cubicBezTo>
                  <a:pt x="3181516" y="308800"/>
                  <a:pt x="3177872" y="310622"/>
                  <a:pt x="3177872" y="317911"/>
                </a:cubicBezTo>
                <a:cubicBezTo>
                  <a:pt x="3183338" y="316089"/>
                  <a:pt x="3186982" y="310622"/>
                  <a:pt x="3185160" y="305155"/>
                </a:cubicBezTo>
                <a:close/>
                <a:moveTo>
                  <a:pt x="2328511" y="304472"/>
                </a:moveTo>
                <a:lnTo>
                  <a:pt x="2321874" y="305799"/>
                </a:lnTo>
                <a:lnTo>
                  <a:pt x="2321450" y="305155"/>
                </a:lnTo>
                <a:lnTo>
                  <a:pt x="2321259" y="305922"/>
                </a:lnTo>
                <a:lnTo>
                  <a:pt x="2315983" y="306978"/>
                </a:lnTo>
                <a:cubicBezTo>
                  <a:pt x="2314161" y="312444"/>
                  <a:pt x="2314161" y="321555"/>
                  <a:pt x="2323272" y="321555"/>
                </a:cubicBezTo>
                <a:cubicBezTo>
                  <a:pt x="2321450" y="319733"/>
                  <a:pt x="2323272" y="314266"/>
                  <a:pt x="2319628" y="312444"/>
                </a:cubicBezTo>
                <a:lnTo>
                  <a:pt x="2321259" y="305922"/>
                </a:lnTo>
                <a:lnTo>
                  <a:pt x="2321874" y="305799"/>
                </a:lnTo>
                <a:lnTo>
                  <a:pt x="2327144" y="313810"/>
                </a:lnTo>
                <a:cubicBezTo>
                  <a:pt x="2328738" y="316544"/>
                  <a:pt x="2330561" y="317910"/>
                  <a:pt x="2334205" y="314266"/>
                </a:cubicBezTo>
                <a:cubicBezTo>
                  <a:pt x="2336028" y="311533"/>
                  <a:pt x="2332839" y="306977"/>
                  <a:pt x="2328511" y="304472"/>
                </a:cubicBezTo>
                <a:close/>
                <a:moveTo>
                  <a:pt x="1911641" y="304433"/>
                </a:moveTo>
                <a:lnTo>
                  <a:pt x="1911786" y="304614"/>
                </a:lnTo>
                <a:lnTo>
                  <a:pt x="1911461" y="305155"/>
                </a:lnTo>
                <a:close/>
                <a:moveTo>
                  <a:pt x="2503668" y="304244"/>
                </a:moveTo>
                <a:cubicBezTo>
                  <a:pt x="2500479" y="304700"/>
                  <a:pt x="2497290" y="306067"/>
                  <a:pt x="2494556" y="306978"/>
                </a:cubicBezTo>
                <a:lnTo>
                  <a:pt x="2492714" y="309346"/>
                </a:lnTo>
                <a:lnTo>
                  <a:pt x="2490912" y="308800"/>
                </a:lnTo>
                <a:lnTo>
                  <a:pt x="2490511" y="312178"/>
                </a:lnTo>
                <a:lnTo>
                  <a:pt x="2481801" y="323377"/>
                </a:lnTo>
                <a:lnTo>
                  <a:pt x="2472690" y="316089"/>
                </a:lnTo>
                <a:cubicBezTo>
                  <a:pt x="2456291" y="325199"/>
                  <a:pt x="2443536" y="341598"/>
                  <a:pt x="2436247" y="357998"/>
                </a:cubicBezTo>
                <a:cubicBezTo>
                  <a:pt x="2439891" y="357998"/>
                  <a:pt x="2439891" y="350710"/>
                  <a:pt x="2443536" y="350710"/>
                </a:cubicBezTo>
                <a:cubicBezTo>
                  <a:pt x="2449002" y="350710"/>
                  <a:pt x="2445358" y="361642"/>
                  <a:pt x="2450824" y="361642"/>
                </a:cubicBezTo>
                <a:cubicBezTo>
                  <a:pt x="2456291" y="361642"/>
                  <a:pt x="2450824" y="350710"/>
                  <a:pt x="2454469" y="350710"/>
                </a:cubicBezTo>
                <a:cubicBezTo>
                  <a:pt x="2455380" y="349798"/>
                  <a:pt x="2456747" y="350710"/>
                  <a:pt x="2457658" y="352304"/>
                </a:cubicBezTo>
                <a:lnTo>
                  <a:pt x="2458023" y="356864"/>
                </a:lnTo>
                <a:lnTo>
                  <a:pt x="2454469" y="362098"/>
                </a:lnTo>
                <a:cubicBezTo>
                  <a:pt x="2451736" y="367109"/>
                  <a:pt x="2449003" y="372575"/>
                  <a:pt x="2445358" y="370754"/>
                </a:cubicBezTo>
                <a:cubicBezTo>
                  <a:pt x="2445358" y="376220"/>
                  <a:pt x="2447180" y="379865"/>
                  <a:pt x="2452647" y="379865"/>
                </a:cubicBezTo>
                <a:cubicBezTo>
                  <a:pt x="2452647" y="378041"/>
                  <a:pt x="2454469" y="374397"/>
                  <a:pt x="2452647" y="374397"/>
                </a:cubicBezTo>
                <a:cubicBezTo>
                  <a:pt x="2454469" y="370754"/>
                  <a:pt x="2458113" y="379865"/>
                  <a:pt x="2458113" y="370754"/>
                </a:cubicBezTo>
                <a:cubicBezTo>
                  <a:pt x="2459935" y="370754"/>
                  <a:pt x="2459935" y="374397"/>
                  <a:pt x="2463580" y="372576"/>
                </a:cubicBezTo>
                <a:cubicBezTo>
                  <a:pt x="2463580" y="370754"/>
                  <a:pt x="2463580" y="368932"/>
                  <a:pt x="2463580" y="367109"/>
                </a:cubicBezTo>
                <a:cubicBezTo>
                  <a:pt x="2467224" y="367109"/>
                  <a:pt x="2469046" y="367109"/>
                  <a:pt x="2469046" y="368932"/>
                </a:cubicBezTo>
                <a:cubicBezTo>
                  <a:pt x="2472690" y="365287"/>
                  <a:pt x="2465402" y="363465"/>
                  <a:pt x="2467224" y="357998"/>
                </a:cubicBezTo>
                <a:cubicBezTo>
                  <a:pt x="2474513" y="357998"/>
                  <a:pt x="2478157" y="367109"/>
                  <a:pt x="2474513" y="374397"/>
                </a:cubicBezTo>
                <a:cubicBezTo>
                  <a:pt x="2476335" y="374397"/>
                  <a:pt x="2478157" y="374397"/>
                  <a:pt x="2478157" y="376220"/>
                </a:cubicBezTo>
                <a:cubicBezTo>
                  <a:pt x="2481801" y="374397"/>
                  <a:pt x="2485446" y="363465"/>
                  <a:pt x="2487268" y="370754"/>
                </a:cubicBezTo>
                <a:cubicBezTo>
                  <a:pt x="2490912" y="368932"/>
                  <a:pt x="2489090" y="363465"/>
                  <a:pt x="2492734" y="361642"/>
                </a:cubicBezTo>
                <a:cubicBezTo>
                  <a:pt x="2492734" y="356176"/>
                  <a:pt x="2485446" y="359821"/>
                  <a:pt x="2487268" y="352532"/>
                </a:cubicBezTo>
                <a:cubicBezTo>
                  <a:pt x="2485446" y="352532"/>
                  <a:pt x="2485446" y="356176"/>
                  <a:pt x="2483624" y="356176"/>
                </a:cubicBezTo>
                <a:cubicBezTo>
                  <a:pt x="2481801" y="354354"/>
                  <a:pt x="2481801" y="348888"/>
                  <a:pt x="2479979" y="354354"/>
                </a:cubicBezTo>
                <a:cubicBezTo>
                  <a:pt x="2478157" y="354354"/>
                  <a:pt x="2485446" y="347066"/>
                  <a:pt x="2481801" y="345242"/>
                </a:cubicBezTo>
                <a:cubicBezTo>
                  <a:pt x="2476335" y="348888"/>
                  <a:pt x="2476335" y="348888"/>
                  <a:pt x="2472690" y="345242"/>
                </a:cubicBezTo>
                <a:cubicBezTo>
                  <a:pt x="2470868" y="347066"/>
                  <a:pt x="2474513" y="348888"/>
                  <a:pt x="2463580" y="356176"/>
                </a:cubicBezTo>
                <a:lnTo>
                  <a:pt x="2460136" y="355976"/>
                </a:lnTo>
                <a:lnTo>
                  <a:pt x="2461985" y="354126"/>
                </a:lnTo>
                <a:cubicBezTo>
                  <a:pt x="2463124" y="352532"/>
                  <a:pt x="2463580" y="350710"/>
                  <a:pt x="2461757" y="348888"/>
                </a:cubicBezTo>
                <a:cubicBezTo>
                  <a:pt x="2467224" y="350710"/>
                  <a:pt x="2469046" y="341598"/>
                  <a:pt x="2472690" y="339777"/>
                </a:cubicBezTo>
                <a:cubicBezTo>
                  <a:pt x="2472690" y="341598"/>
                  <a:pt x="2472690" y="341598"/>
                  <a:pt x="2472690" y="343421"/>
                </a:cubicBezTo>
                <a:cubicBezTo>
                  <a:pt x="2478157" y="339777"/>
                  <a:pt x="2485446" y="341598"/>
                  <a:pt x="2489090" y="336133"/>
                </a:cubicBezTo>
                <a:cubicBezTo>
                  <a:pt x="2489090" y="337954"/>
                  <a:pt x="2490912" y="339777"/>
                  <a:pt x="2490912" y="339777"/>
                </a:cubicBezTo>
                <a:cubicBezTo>
                  <a:pt x="2500023" y="341598"/>
                  <a:pt x="2496379" y="330666"/>
                  <a:pt x="2498201" y="327022"/>
                </a:cubicBezTo>
                <a:cubicBezTo>
                  <a:pt x="2494556" y="327022"/>
                  <a:pt x="2494556" y="332488"/>
                  <a:pt x="2494556" y="334310"/>
                </a:cubicBezTo>
                <a:cubicBezTo>
                  <a:pt x="2492734" y="330666"/>
                  <a:pt x="2490457" y="326566"/>
                  <a:pt x="2489318" y="322238"/>
                </a:cubicBezTo>
                <a:lnTo>
                  <a:pt x="2490511" y="312178"/>
                </a:lnTo>
                <a:lnTo>
                  <a:pt x="2492714" y="309346"/>
                </a:lnTo>
                <a:lnTo>
                  <a:pt x="2498429" y="311077"/>
                </a:lnTo>
                <a:lnTo>
                  <a:pt x="2507124" y="305281"/>
                </a:lnTo>
                <a:lnTo>
                  <a:pt x="2507312" y="305338"/>
                </a:lnTo>
                <a:lnTo>
                  <a:pt x="2507312" y="310622"/>
                </a:lnTo>
                <a:cubicBezTo>
                  <a:pt x="2510956" y="312444"/>
                  <a:pt x="2512778" y="306978"/>
                  <a:pt x="2512778" y="306978"/>
                </a:cubicBezTo>
                <a:lnTo>
                  <a:pt x="2507312" y="305338"/>
                </a:lnTo>
                <a:lnTo>
                  <a:pt x="2507312" y="305155"/>
                </a:lnTo>
                <a:lnTo>
                  <a:pt x="2507124" y="305281"/>
                </a:lnTo>
                <a:close/>
                <a:moveTo>
                  <a:pt x="1919163" y="303996"/>
                </a:moveTo>
                <a:lnTo>
                  <a:pt x="1920364" y="305329"/>
                </a:lnTo>
                <a:lnTo>
                  <a:pt x="1920344" y="305383"/>
                </a:lnTo>
                <a:cubicBezTo>
                  <a:pt x="1919206" y="306977"/>
                  <a:pt x="1917838" y="307889"/>
                  <a:pt x="1916927" y="306978"/>
                </a:cubicBezTo>
                <a:close/>
                <a:moveTo>
                  <a:pt x="2264963" y="301511"/>
                </a:moveTo>
                <a:cubicBezTo>
                  <a:pt x="2263140" y="301511"/>
                  <a:pt x="2263140" y="312444"/>
                  <a:pt x="2266785" y="308800"/>
                </a:cubicBezTo>
                <a:cubicBezTo>
                  <a:pt x="2266785" y="305155"/>
                  <a:pt x="2266785" y="301511"/>
                  <a:pt x="2264963" y="301511"/>
                </a:cubicBezTo>
                <a:close/>
                <a:moveTo>
                  <a:pt x="3163294" y="299689"/>
                </a:moveTo>
                <a:cubicBezTo>
                  <a:pt x="3159650" y="297867"/>
                  <a:pt x="3163294" y="303333"/>
                  <a:pt x="3159650" y="303333"/>
                </a:cubicBezTo>
                <a:cubicBezTo>
                  <a:pt x="3159650" y="306978"/>
                  <a:pt x="3165116" y="305155"/>
                  <a:pt x="3165116" y="308800"/>
                </a:cubicBezTo>
                <a:cubicBezTo>
                  <a:pt x="3170583" y="305155"/>
                  <a:pt x="3163294" y="301511"/>
                  <a:pt x="3163294" y="299689"/>
                </a:cubicBezTo>
                <a:close/>
                <a:moveTo>
                  <a:pt x="3006587" y="299689"/>
                </a:moveTo>
                <a:cubicBezTo>
                  <a:pt x="3006587" y="306978"/>
                  <a:pt x="3013876" y="310622"/>
                  <a:pt x="3013876" y="316089"/>
                </a:cubicBezTo>
                <a:cubicBezTo>
                  <a:pt x="3017521" y="310622"/>
                  <a:pt x="3010232" y="303333"/>
                  <a:pt x="3006587" y="299689"/>
                </a:cubicBezTo>
                <a:close/>
                <a:moveTo>
                  <a:pt x="2997477" y="299689"/>
                </a:moveTo>
                <a:cubicBezTo>
                  <a:pt x="2997477" y="306978"/>
                  <a:pt x="2993832" y="310622"/>
                  <a:pt x="2993832" y="316089"/>
                </a:cubicBezTo>
                <a:cubicBezTo>
                  <a:pt x="2997477" y="316089"/>
                  <a:pt x="3002943" y="321555"/>
                  <a:pt x="3004765" y="312444"/>
                </a:cubicBezTo>
                <a:cubicBezTo>
                  <a:pt x="2995654" y="314266"/>
                  <a:pt x="3002943" y="301511"/>
                  <a:pt x="2997477" y="299689"/>
                </a:cubicBezTo>
                <a:close/>
                <a:moveTo>
                  <a:pt x="3146895" y="297867"/>
                </a:moveTo>
                <a:cubicBezTo>
                  <a:pt x="3143250" y="297867"/>
                  <a:pt x="3143250" y="306978"/>
                  <a:pt x="3148717" y="305155"/>
                </a:cubicBezTo>
                <a:cubicBezTo>
                  <a:pt x="3148717" y="301511"/>
                  <a:pt x="3148717" y="299689"/>
                  <a:pt x="3146895" y="297867"/>
                </a:cubicBezTo>
                <a:close/>
                <a:moveTo>
                  <a:pt x="3121384" y="297867"/>
                </a:moveTo>
                <a:cubicBezTo>
                  <a:pt x="3126851" y="308800"/>
                  <a:pt x="3112274" y="310622"/>
                  <a:pt x="3110451" y="317911"/>
                </a:cubicBezTo>
                <a:cubicBezTo>
                  <a:pt x="3110451" y="319733"/>
                  <a:pt x="3112274" y="321555"/>
                  <a:pt x="3114096" y="323377"/>
                </a:cubicBezTo>
                <a:cubicBezTo>
                  <a:pt x="3110451" y="319733"/>
                  <a:pt x="3117740" y="317911"/>
                  <a:pt x="3115918" y="314266"/>
                </a:cubicBezTo>
                <a:cubicBezTo>
                  <a:pt x="3115918" y="316089"/>
                  <a:pt x="3119562" y="319733"/>
                  <a:pt x="3117740" y="321555"/>
                </a:cubicBezTo>
                <a:cubicBezTo>
                  <a:pt x="3103163" y="334310"/>
                  <a:pt x="3125029" y="337954"/>
                  <a:pt x="3126851" y="350710"/>
                </a:cubicBezTo>
                <a:cubicBezTo>
                  <a:pt x="3134140" y="343421"/>
                  <a:pt x="3126851" y="334310"/>
                  <a:pt x="3128673" y="327022"/>
                </a:cubicBezTo>
                <a:cubicBezTo>
                  <a:pt x="3126851" y="327022"/>
                  <a:pt x="3125029" y="328844"/>
                  <a:pt x="3125029" y="330666"/>
                </a:cubicBezTo>
                <a:cubicBezTo>
                  <a:pt x="3119562" y="325199"/>
                  <a:pt x="3128673" y="323377"/>
                  <a:pt x="3126851" y="317911"/>
                </a:cubicBezTo>
                <a:cubicBezTo>
                  <a:pt x="3130495" y="321555"/>
                  <a:pt x="3134140" y="327022"/>
                  <a:pt x="3137784" y="332488"/>
                </a:cubicBezTo>
                <a:cubicBezTo>
                  <a:pt x="3137784" y="323377"/>
                  <a:pt x="3143250" y="316089"/>
                  <a:pt x="3141428" y="308800"/>
                </a:cubicBezTo>
                <a:cubicBezTo>
                  <a:pt x="3141428" y="305155"/>
                  <a:pt x="3137784" y="312444"/>
                  <a:pt x="3134140" y="312444"/>
                </a:cubicBezTo>
                <a:cubicBezTo>
                  <a:pt x="3134140" y="312444"/>
                  <a:pt x="3132317" y="310622"/>
                  <a:pt x="3132317" y="308800"/>
                </a:cubicBezTo>
                <a:cubicBezTo>
                  <a:pt x="3132317" y="310622"/>
                  <a:pt x="3130495" y="310622"/>
                  <a:pt x="3130495" y="312444"/>
                </a:cubicBezTo>
                <a:cubicBezTo>
                  <a:pt x="3126851" y="306978"/>
                  <a:pt x="3132317" y="297867"/>
                  <a:pt x="3121384" y="297867"/>
                </a:cubicBezTo>
                <a:close/>
                <a:moveTo>
                  <a:pt x="1960659" y="297867"/>
                </a:moveTo>
                <a:cubicBezTo>
                  <a:pt x="1960659" y="299689"/>
                  <a:pt x="1960659" y="301511"/>
                  <a:pt x="1960659" y="303333"/>
                </a:cubicBezTo>
                <a:cubicBezTo>
                  <a:pt x="1964305" y="305155"/>
                  <a:pt x="1967948" y="303333"/>
                  <a:pt x="1967948" y="299689"/>
                </a:cubicBezTo>
                <a:cubicBezTo>
                  <a:pt x="1966126" y="297867"/>
                  <a:pt x="1964305" y="297867"/>
                  <a:pt x="1960659" y="297867"/>
                </a:cubicBezTo>
                <a:close/>
                <a:moveTo>
                  <a:pt x="2421669" y="296045"/>
                </a:moveTo>
                <a:cubicBezTo>
                  <a:pt x="2425314" y="294223"/>
                  <a:pt x="2428958" y="297867"/>
                  <a:pt x="2430780" y="299689"/>
                </a:cubicBezTo>
                <a:lnTo>
                  <a:pt x="2430643" y="300376"/>
                </a:lnTo>
                <a:lnTo>
                  <a:pt x="2423349" y="299261"/>
                </a:lnTo>
                <a:cubicBezTo>
                  <a:pt x="2418538" y="300201"/>
                  <a:pt x="2413811" y="302536"/>
                  <a:pt x="2409142" y="305383"/>
                </a:cubicBezTo>
                <a:lnTo>
                  <a:pt x="2391848" y="315531"/>
                </a:lnTo>
                <a:lnTo>
                  <a:pt x="2399120" y="307205"/>
                </a:lnTo>
                <a:cubicBezTo>
                  <a:pt x="2406637" y="302422"/>
                  <a:pt x="2415292" y="298778"/>
                  <a:pt x="2421669" y="296045"/>
                </a:cubicBezTo>
                <a:close/>
                <a:moveTo>
                  <a:pt x="2281362" y="296045"/>
                </a:moveTo>
                <a:cubicBezTo>
                  <a:pt x="2272251" y="297867"/>
                  <a:pt x="2272251" y="303333"/>
                  <a:pt x="2275896" y="310622"/>
                </a:cubicBezTo>
                <a:cubicBezTo>
                  <a:pt x="2277718" y="305155"/>
                  <a:pt x="2285007" y="301511"/>
                  <a:pt x="2281362" y="296045"/>
                </a:cubicBezTo>
                <a:close/>
                <a:moveTo>
                  <a:pt x="1977059" y="296045"/>
                </a:moveTo>
                <a:cubicBezTo>
                  <a:pt x="1977059" y="297867"/>
                  <a:pt x="1977059" y="297867"/>
                  <a:pt x="1977059" y="297867"/>
                </a:cubicBezTo>
                <a:cubicBezTo>
                  <a:pt x="1977059" y="299689"/>
                  <a:pt x="1975237" y="299689"/>
                  <a:pt x="1973416" y="299689"/>
                </a:cubicBezTo>
                <a:cubicBezTo>
                  <a:pt x="1973416" y="303333"/>
                  <a:pt x="1975237" y="305155"/>
                  <a:pt x="1978881" y="305155"/>
                </a:cubicBezTo>
                <a:cubicBezTo>
                  <a:pt x="1975237" y="301511"/>
                  <a:pt x="1980703" y="299689"/>
                  <a:pt x="1980703" y="296045"/>
                </a:cubicBezTo>
                <a:cubicBezTo>
                  <a:pt x="1978881" y="296045"/>
                  <a:pt x="1978881" y="296045"/>
                  <a:pt x="1977059" y="296045"/>
                </a:cubicBezTo>
                <a:close/>
                <a:moveTo>
                  <a:pt x="2659552" y="295888"/>
                </a:moveTo>
                <a:lnTo>
                  <a:pt x="2660795" y="297960"/>
                </a:lnTo>
                <a:lnTo>
                  <a:pt x="2658552" y="301511"/>
                </a:lnTo>
                <a:close/>
                <a:moveTo>
                  <a:pt x="2951922" y="295640"/>
                </a:moveTo>
                <a:lnTo>
                  <a:pt x="2953744" y="296045"/>
                </a:lnTo>
                <a:lnTo>
                  <a:pt x="2951922" y="299992"/>
                </a:lnTo>
                <a:close/>
                <a:moveTo>
                  <a:pt x="3346962" y="293256"/>
                </a:moveTo>
                <a:lnTo>
                  <a:pt x="3345512" y="296045"/>
                </a:lnTo>
                <a:lnTo>
                  <a:pt x="3345301" y="295563"/>
                </a:lnTo>
                <a:lnTo>
                  <a:pt x="3345512" y="294223"/>
                </a:lnTo>
                <a:close/>
                <a:moveTo>
                  <a:pt x="1997103" y="292400"/>
                </a:moveTo>
                <a:cubicBezTo>
                  <a:pt x="1995281" y="294223"/>
                  <a:pt x="2000747" y="301511"/>
                  <a:pt x="1993459" y="299689"/>
                </a:cubicBezTo>
                <a:cubicBezTo>
                  <a:pt x="1993459" y="303333"/>
                  <a:pt x="1995281" y="303333"/>
                  <a:pt x="1997103" y="305155"/>
                </a:cubicBezTo>
                <a:cubicBezTo>
                  <a:pt x="2002570" y="305155"/>
                  <a:pt x="2002570" y="299689"/>
                  <a:pt x="2002570" y="294223"/>
                </a:cubicBezTo>
                <a:cubicBezTo>
                  <a:pt x="2000747" y="292400"/>
                  <a:pt x="1997103" y="294223"/>
                  <a:pt x="1997103" y="292400"/>
                </a:cubicBezTo>
                <a:close/>
                <a:moveTo>
                  <a:pt x="973041" y="290688"/>
                </a:moveTo>
                <a:cubicBezTo>
                  <a:pt x="991263" y="297977"/>
                  <a:pt x="974863" y="299799"/>
                  <a:pt x="994907" y="290688"/>
                </a:cubicBezTo>
                <a:lnTo>
                  <a:pt x="1009485" y="299799"/>
                </a:lnTo>
                <a:cubicBezTo>
                  <a:pt x="1009485" y="316199"/>
                  <a:pt x="1004018" y="336243"/>
                  <a:pt x="987618" y="336243"/>
                </a:cubicBezTo>
                <a:cubicBezTo>
                  <a:pt x="976685" y="336243"/>
                  <a:pt x="971219" y="325310"/>
                  <a:pt x="973041" y="312554"/>
                </a:cubicBezTo>
                <a:close/>
                <a:moveTo>
                  <a:pt x="2676774" y="290578"/>
                </a:moveTo>
                <a:cubicBezTo>
                  <a:pt x="2676774" y="296045"/>
                  <a:pt x="2674952" y="303333"/>
                  <a:pt x="2682240" y="303333"/>
                </a:cubicBezTo>
                <a:cubicBezTo>
                  <a:pt x="2684063" y="299689"/>
                  <a:pt x="2682240" y="294223"/>
                  <a:pt x="2680418" y="290578"/>
                </a:cubicBezTo>
                <a:cubicBezTo>
                  <a:pt x="2678596" y="288756"/>
                  <a:pt x="2678596" y="290578"/>
                  <a:pt x="2676774" y="290578"/>
                </a:cubicBezTo>
                <a:close/>
                <a:moveTo>
                  <a:pt x="1909639" y="288773"/>
                </a:moveTo>
                <a:lnTo>
                  <a:pt x="1913273" y="292409"/>
                </a:lnTo>
                <a:lnTo>
                  <a:pt x="1913283" y="292400"/>
                </a:lnTo>
                <a:lnTo>
                  <a:pt x="1913283" y="292418"/>
                </a:lnTo>
                <a:cubicBezTo>
                  <a:pt x="1913283" y="292418"/>
                  <a:pt x="1913283" y="294240"/>
                  <a:pt x="1913283" y="294240"/>
                </a:cubicBezTo>
                <a:lnTo>
                  <a:pt x="1913283" y="297867"/>
                </a:lnTo>
                <a:lnTo>
                  <a:pt x="1911641" y="304433"/>
                </a:lnTo>
                <a:lnTo>
                  <a:pt x="1909867" y="302194"/>
                </a:lnTo>
                <a:cubicBezTo>
                  <a:pt x="1907816" y="300144"/>
                  <a:pt x="1905994" y="297867"/>
                  <a:pt x="1905994" y="294223"/>
                </a:cubicBezTo>
                <a:lnTo>
                  <a:pt x="1909639" y="295181"/>
                </a:lnTo>
                <a:close/>
                <a:moveTo>
                  <a:pt x="3228893" y="288756"/>
                </a:moveTo>
                <a:lnTo>
                  <a:pt x="3228893" y="290578"/>
                </a:lnTo>
                <a:lnTo>
                  <a:pt x="3228268" y="289416"/>
                </a:lnTo>
                <a:close/>
                <a:moveTo>
                  <a:pt x="3348035" y="287634"/>
                </a:moveTo>
                <a:lnTo>
                  <a:pt x="3350978" y="290578"/>
                </a:lnTo>
                <a:lnTo>
                  <a:pt x="3346962" y="293256"/>
                </a:lnTo>
                <a:lnTo>
                  <a:pt x="3348473" y="290350"/>
                </a:lnTo>
                <a:close/>
                <a:moveTo>
                  <a:pt x="2319628" y="286934"/>
                </a:moveTo>
                <a:lnTo>
                  <a:pt x="2320381" y="287626"/>
                </a:lnTo>
                <a:lnTo>
                  <a:pt x="2319628" y="288756"/>
                </a:lnTo>
                <a:lnTo>
                  <a:pt x="2319535" y="286996"/>
                </a:lnTo>
                <a:close/>
                <a:moveTo>
                  <a:pt x="3347855" y="286517"/>
                </a:moveTo>
                <a:lnTo>
                  <a:pt x="3348035" y="287634"/>
                </a:lnTo>
                <a:lnTo>
                  <a:pt x="3347334" y="286934"/>
                </a:lnTo>
                <a:close/>
                <a:moveTo>
                  <a:pt x="3083119" y="285112"/>
                </a:moveTo>
                <a:cubicBezTo>
                  <a:pt x="3077652" y="283289"/>
                  <a:pt x="3079474" y="292400"/>
                  <a:pt x="3081297" y="294223"/>
                </a:cubicBezTo>
                <a:cubicBezTo>
                  <a:pt x="3086763" y="294223"/>
                  <a:pt x="3083119" y="288756"/>
                  <a:pt x="3083119" y="285112"/>
                </a:cubicBezTo>
                <a:close/>
                <a:moveTo>
                  <a:pt x="3043031" y="285112"/>
                </a:moveTo>
                <a:cubicBezTo>
                  <a:pt x="3043031" y="288756"/>
                  <a:pt x="3044853" y="294223"/>
                  <a:pt x="3041209" y="292400"/>
                </a:cubicBezTo>
                <a:cubicBezTo>
                  <a:pt x="3044853" y="297867"/>
                  <a:pt x="3043031" y="288756"/>
                  <a:pt x="3046675" y="286934"/>
                </a:cubicBezTo>
                <a:cubicBezTo>
                  <a:pt x="3046675" y="286934"/>
                  <a:pt x="3044853" y="285112"/>
                  <a:pt x="3043031" y="285112"/>
                </a:cubicBezTo>
                <a:close/>
                <a:moveTo>
                  <a:pt x="2977432" y="285112"/>
                </a:moveTo>
                <a:cubicBezTo>
                  <a:pt x="2975610" y="292400"/>
                  <a:pt x="2971966" y="281467"/>
                  <a:pt x="2971966" y="286934"/>
                </a:cubicBezTo>
                <a:cubicBezTo>
                  <a:pt x="2971966" y="290578"/>
                  <a:pt x="2973788" y="292400"/>
                  <a:pt x="2977432" y="292400"/>
                </a:cubicBezTo>
                <a:cubicBezTo>
                  <a:pt x="2977432" y="288756"/>
                  <a:pt x="2979255" y="288756"/>
                  <a:pt x="2977432" y="285112"/>
                </a:cubicBezTo>
                <a:close/>
                <a:moveTo>
                  <a:pt x="2946456" y="285112"/>
                </a:moveTo>
                <a:cubicBezTo>
                  <a:pt x="2946456" y="290578"/>
                  <a:pt x="2951922" y="290578"/>
                  <a:pt x="2955566" y="290578"/>
                </a:cubicBezTo>
                <a:cubicBezTo>
                  <a:pt x="2953744" y="281467"/>
                  <a:pt x="2950100" y="288756"/>
                  <a:pt x="2946456" y="285112"/>
                </a:cubicBezTo>
                <a:close/>
                <a:moveTo>
                  <a:pt x="3055786" y="283289"/>
                </a:moveTo>
                <a:cubicBezTo>
                  <a:pt x="3053964" y="283289"/>
                  <a:pt x="3050319" y="288756"/>
                  <a:pt x="3052142" y="292400"/>
                </a:cubicBezTo>
                <a:cubicBezTo>
                  <a:pt x="3057608" y="294223"/>
                  <a:pt x="3057608" y="288756"/>
                  <a:pt x="3055786" y="283289"/>
                </a:cubicBezTo>
                <a:close/>
                <a:moveTo>
                  <a:pt x="3032098" y="283289"/>
                </a:moveTo>
                <a:cubicBezTo>
                  <a:pt x="3032098" y="290578"/>
                  <a:pt x="3030276" y="288756"/>
                  <a:pt x="3028453" y="299689"/>
                </a:cubicBezTo>
                <a:cubicBezTo>
                  <a:pt x="3033920" y="299689"/>
                  <a:pt x="3033920" y="288756"/>
                  <a:pt x="3032098" y="283289"/>
                </a:cubicBezTo>
                <a:close/>
                <a:moveTo>
                  <a:pt x="2986543" y="283289"/>
                </a:moveTo>
                <a:cubicBezTo>
                  <a:pt x="2977432" y="283289"/>
                  <a:pt x="2981077" y="290578"/>
                  <a:pt x="2981077" y="296045"/>
                </a:cubicBezTo>
                <a:cubicBezTo>
                  <a:pt x="2982899" y="296045"/>
                  <a:pt x="2984721" y="296045"/>
                  <a:pt x="2986543" y="294223"/>
                </a:cubicBezTo>
                <a:cubicBezTo>
                  <a:pt x="2986543" y="288756"/>
                  <a:pt x="2984721" y="286934"/>
                  <a:pt x="2986543" y="283289"/>
                </a:cubicBezTo>
                <a:close/>
                <a:moveTo>
                  <a:pt x="2552866" y="283289"/>
                </a:moveTo>
                <a:cubicBezTo>
                  <a:pt x="2545577" y="286934"/>
                  <a:pt x="2536466" y="286934"/>
                  <a:pt x="2531000" y="294223"/>
                </a:cubicBezTo>
                <a:cubicBezTo>
                  <a:pt x="2540111" y="296045"/>
                  <a:pt x="2549222" y="297867"/>
                  <a:pt x="2561977" y="297867"/>
                </a:cubicBezTo>
                <a:cubicBezTo>
                  <a:pt x="2563799" y="290578"/>
                  <a:pt x="2560155" y="288756"/>
                  <a:pt x="2558332" y="285112"/>
                </a:cubicBezTo>
                <a:cubicBezTo>
                  <a:pt x="2558332" y="288756"/>
                  <a:pt x="2558332" y="292400"/>
                  <a:pt x="2554688" y="294223"/>
                </a:cubicBezTo>
                <a:cubicBezTo>
                  <a:pt x="2552866" y="290578"/>
                  <a:pt x="2552866" y="286934"/>
                  <a:pt x="2552866" y="283289"/>
                </a:cubicBezTo>
                <a:close/>
                <a:moveTo>
                  <a:pt x="1926038" y="283289"/>
                </a:moveTo>
                <a:cubicBezTo>
                  <a:pt x="1924216" y="286934"/>
                  <a:pt x="1922394" y="290578"/>
                  <a:pt x="1922394" y="296045"/>
                </a:cubicBezTo>
                <a:cubicBezTo>
                  <a:pt x="1927861" y="297867"/>
                  <a:pt x="1924216" y="286934"/>
                  <a:pt x="1929683" y="286934"/>
                </a:cubicBezTo>
                <a:cubicBezTo>
                  <a:pt x="1929683" y="290578"/>
                  <a:pt x="1929683" y="292400"/>
                  <a:pt x="1929683" y="294223"/>
                </a:cubicBezTo>
                <a:cubicBezTo>
                  <a:pt x="1931505" y="292400"/>
                  <a:pt x="1933327" y="294223"/>
                  <a:pt x="1936972" y="294223"/>
                </a:cubicBezTo>
                <a:cubicBezTo>
                  <a:pt x="1936972" y="288756"/>
                  <a:pt x="1933327" y="288756"/>
                  <a:pt x="1929683" y="286934"/>
                </a:cubicBezTo>
                <a:cubicBezTo>
                  <a:pt x="1929683" y="286934"/>
                  <a:pt x="1927861" y="286934"/>
                  <a:pt x="1927861" y="285112"/>
                </a:cubicBezTo>
                <a:cubicBezTo>
                  <a:pt x="1926038" y="285112"/>
                  <a:pt x="1926038" y="283289"/>
                  <a:pt x="1926038" y="283289"/>
                </a:cubicBezTo>
                <a:close/>
                <a:moveTo>
                  <a:pt x="3329112" y="281467"/>
                </a:moveTo>
                <a:cubicBezTo>
                  <a:pt x="3325468" y="281467"/>
                  <a:pt x="3323646" y="283289"/>
                  <a:pt x="3323646" y="285112"/>
                </a:cubicBezTo>
                <a:cubicBezTo>
                  <a:pt x="3323646" y="292400"/>
                  <a:pt x="3329112" y="301511"/>
                  <a:pt x="3332756" y="303333"/>
                </a:cubicBezTo>
                <a:cubicBezTo>
                  <a:pt x="3343690" y="305155"/>
                  <a:pt x="3343690" y="292400"/>
                  <a:pt x="3338223" y="281467"/>
                </a:cubicBezTo>
                <a:cubicBezTo>
                  <a:pt x="3336401" y="279645"/>
                  <a:pt x="3336401" y="286934"/>
                  <a:pt x="3332756" y="286934"/>
                </a:cubicBezTo>
                <a:cubicBezTo>
                  <a:pt x="3329112" y="286934"/>
                  <a:pt x="3329112" y="285112"/>
                  <a:pt x="3329112" y="281467"/>
                </a:cubicBezTo>
                <a:close/>
                <a:moveTo>
                  <a:pt x="1980703" y="281467"/>
                </a:moveTo>
                <a:cubicBezTo>
                  <a:pt x="1982527" y="285112"/>
                  <a:pt x="1986170" y="288756"/>
                  <a:pt x="1987992" y="292400"/>
                </a:cubicBezTo>
                <a:cubicBezTo>
                  <a:pt x="1989814" y="286934"/>
                  <a:pt x="1986170" y="285112"/>
                  <a:pt x="1986170" y="281467"/>
                </a:cubicBezTo>
                <a:cubicBezTo>
                  <a:pt x="1984348" y="281467"/>
                  <a:pt x="1982527" y="281467"/>
                  <a:pt x="1980703" y="281467"/>
                </a:cubicBezTo>
                <a:close/>
                <a:moveTo>
                  <a:pt x="1960659" y="281467"/>
                </a:moveTo>
                <a:cubicBezTo>
                  <a:pt x="1955194" y="281467"/>
                  <a:pt x="1960659" y="286934"/>
                  <a:pt x="1962482" y="288756"/>
                </a:cubicBezTo>
                <a:cubicBezTo>
                  <a:pt x="1966126" y="286934"/>
                  <a:pt x="1960659" y="283289"/>
                  <a:pt x="1960659" y="281467"/>
                </a:cubicBezTo>
                <a:close/>
                <a:moveTo>
                  <a:pt x="2626721" y="279474"/>
                </a:moveTo>
                <a:lnTo>
                  <a:pt x="2628320" y="280350"/>
                </a:lnTo>
                <a:lnTo>
                  <a:pt x="2627575" y="281467"/>
                </a:lnTo>
                <a:lnTo>
                  <a:pt x="2622898" y="280114"/>
                </a:lnTo>
                <a:close/>
                <a:moveTo>
                  <a:pt x="3125029" y="277823"/>
                </a:moveTo>
                <a:cubicBezTo>
                  <a:pt x="3123206" y="281467"/>
                  <a:pt x="3123206" y="290578"/>
                  <a:pt x="3125029" y="294223"/>
                </a:cubicBezTo>
                <a:cubicBezTo>
                  <a:pt x="3128673" y="292400"/>
                  <a:pt x="3132317" y="290578"/>
                  <a:pt x="3135962" y="288756"/>
                </a:cubicBezTo>
                <a:cubicBezTo>
                  <a:pt x="3132317" y="283289"/>
                  <a:pt x="3132317" y="279645"/>
                  <a:pt x="3125029" y="277823"/>
                </a:cubicBezTo>
                <a:close/>
                <a:moveTo>
                  <a:pt x="2694996" y="277823"/>
                </a:moveTo>
                <a:lnTo>
                  <a:pt x="2696500" y="278972"/>
                </a:lnTo>
                <a:lnTo>
                  <a:pt x="2695033" y="280073"/>
                </a:lnTo>
                <a:close/>
                <a:moveTo>
                  <a:pt x="1936972" y="277823"/>
                </a:moveTo>
                <a:cubicBezTo>
                  <a:pt x="1936972" y="279645"/>
                  <a:pt x="1938793" y="279645"/>
                  <a:pt x="1940616" y="279645"/>
                </a:cubicBezTo>
                <a:cubicBezTo>
                  <a:pt x="1940616" y="281467"/>
                  <a:pt x="1937884" y="281011"/>
                  <a:pt x="1935377" y="280783"/>
                </a:cubicBezTo>
                <a:lnTo>
                  <a:pt x="1933570" y="281953"/>
                </a:lnTo>
                <a:lnTo>
                  <a:pt x="1933327" y="281467"/>
                </a:lnTo>
                <a:cubicBezTo>
                  <a:pt x="1933327" y="283289"/>
                  <a:pt x="1931505" y="283289"/>
                  <a:pt x="1931505" y="283289"/>
                </a:cubicBezTo>
                <a:lnTo>
                  <a:pt x="1933570" y="281953"/>
                </a:lnTo>
                <a:lnTo>
                  <a:pt x="1935149" y="285112"/>
                </a:lnTo>
                <a:cubicBezTo>
                  <a:pt x="1936972" y="283289"/>
                  <a:pt x="1936972" y="279645"/>
                  <a:pt x="1944260" y="279645"/>
                </a:cubicBezTo>
                <a:cubicBezTo>
                  <a:pt x="1942438" y="277823"/>
                  <a:pt x="1940616" y="277823"/>
                  <a:pt x="1936972" y="277823"/>
                </a:cubicBezTo>
                <a:close/>
                <a:moveTo>
                  <a:pt x="3006587" y="276001"/>
                </a:moveTo>
                <a:cubicBezTo>
                  <a:pt x="3002943" y="274179"/>
                  <a:pt x="3002943" y="285112"/>
                  <a:pt x="3006587" y="283289"/>
                </a:cubicBezTo>
                <a:cubicBezTo>
                  <a:pt x="3006587" y="279645"/>
                  <a:pt x="3006587" y="281467"/>
                  <a:pt x="3006587" y="276001"/>
                </a:cubicBezTo>
                <a:close/>
                <a:moveTo>
                  <a:pt x="3015698" y="274179"/>
                </a:moveTo>
                <a:cubicBezTo>
                  <a:pt x="3012054" y="270534"/>
                  <a:pt x="3013876" y="283289"/>
                  <a:pt x="3017521" y="283289"/>
                </a:cubicBezTo>
                <a:cubicBezTo>
                  <a:pt x="3019343" y="277823"/>
                  <a:pt x="3013876" y="279645"/>
                  <a:pt x="3015698" y="274179"/>
                </a:cubicBezTo>
                <a:close/>
                <a:moveTo>
                  <a:pt x="3152361" y="272356"/>
                </a:moveTo>
                <a:cubicBezTo>
                  <a:pt x="3152361" y="276001"/>
                  <a:pt x="3152361" y="277823"/>
                  <a:pt x="3154184" y="281467"/>
                </a:cubicBezTo>
                <a:cubicBezTo>
                  <a:pt x="3157828" y="281467"/>
                  <a:pt x="3157828" y="274179"/>
                  <a:pt x="3156006" y="272356"/>
                </a:cubicBezTo>
                <a:cubicBezTo>
                  <a:pt x="3156006" y="272356"/>
                  <a:pt x="3154184" y="272356"/>
                  <a:pt x="3152361" y="272356"/>
                </a:cubicBezTo>
                <a:close/>
                <a:moveTo>
                  <a:pt x="3033920" y="272356"/>
                </a:moveTo>
                <a:cubicBezTo>
                  <a:pt x="3030276" y="272356"/>
                  <a:pt x="3033920" y="281467"/>
                  <a:pt x="3037564" y="283289"/>
                </a:cubicBezTo>
                <a:cubicBezTo>
                  <a:pt x="3039387" y="281467"/>
                  <a:pt x="3039387" y="279645"/>
                  <a:pt x="3039387" y="277823"/>
                </a:cubicBezTo>
                <a:cubicBezTo>
                  <a:pt x="3037564" y="277823"/>
                  <a:pt x="3037564" y="277823"/>
                  <a:pt x="3035742" y="277823"/>
                </a:cubicBezTo>
                <a:cubicBezTo>
                  <a:pt x="3033920" y="277823"/>
                  <a:pt x="3035742" y="274179"/>
                  <a:pt x="3033920" y="272356"/>
                </a:cubicBezTo>
                <a:close/>
                <a:moveTo>
                  <a:pt x="3057608" y="268712"/>
                </a:moveTo>
                <a:cubicBezTo>
                  <a:pt x="3053964" y="268712"/>
                  <a:pt x="3055786" y="279645"/>
                  <a:pt x="3061253" y="279645"/>
                </a:cubicBezTo>
                <a:cubicBezTo>
                  <a:pt x="3061253" y="274179"/>
                  <a:pt x="3057608" y="274179"/>
                  <a:pt x="3057608" y="268712"/>
                </a:cubicBezTo>
                <a:close/>
                <a:moveTo>
                  <a:pt x="2691253" y="268023"/>
                </a:moveTo>
                <a:lnTo>
                  <a:pt x="2691351" y="268712"/>
                </a:lnTo>
                <a:lnTo>
                  <a:pt x="2691013" y="268562"/>
                </a:lnTo>
                <a:close/>
                <a:moveTo>
                  <a:pt x="3021165" y="266890"/>
                </a:moveTo>
                <a:cubicBezTo>
                  <a:pt x="3017521" y="276001"/>
                  <a:pt x="3028453" y="277823"/>
                  <a:pt x="3032098" y="279645"/>
                </a:cubicBezTo>
                <a:cubicBezTo>
                  <a:pt x="3032098" y="274179"/>
                  <a:pt x="3026631" y="272356"/>
                  <a:pt x="3026631" y="266890"/>
                </a:cubicBezTo>
                <a:cubicBezTo>
                  <a:pt x="3024809" y="268712"/>
                  <a:pt x="3022987" y="274179"/>
                  <a:pt x="3021165" y="266890"/>
                </a:cubicBezTo>
                <a:close/>
                <a:moveTo>
                  <a:pt x="2751483" y="266890"/>
                </a:moveTo>
                <a:cubicBezTo>
                  <a:pt x="2751483" y="270534"/>
                  <a:pt x="2756950" y="270534"/>
                  <a:pt x="2753305" y="274179"/>
                </a:cubicBezTo>
                <a:cubicBezTo>
                  <a:pt x="2749661" y="276001"/>
                  <a:pt x="2749661" y="268712"/>
                  <a:pt x="2751483" y="266890"/>
                </a:cubicBezTo>
                <a:close/>
                <a:moveTo>
                  <a:pt x="2301406" y="266890"/>
                </a:moveTo>
                <a:cubicBezTo>
                  <a:pt x="2290473" y="276001"/>
                  <a:pt x="2305050" y="281467"/>
                  <a:pt x="2303228" y="290578"/>
                </a:cubicBezTo>
                <a:cubicBezTo>
                  <a:pt x="2308695" y="288756"/>
                  <a:pt x="2306873" y="281467"/>
                  <a:pt x="2306873" y="276001"/>
                </a:cubicBezTo>
                <a:cubicBezTo>
                  <a:pt x="2303228" y="277823"/>
                  <a:pt x="2303228" y="277823"/>
                  <a:pt x="2299584" y="279645"/>
                </a:cubicBezTo>
                <a:cubicBezTo>
                  <a:pt x="2303228" y="276001"/>
                  <a:pt x="2303228" y="270534"/>
                  <a:pt x="2301406" y="266890"/>
                </a:cubicBezTo>
                <a:close/>
                <a:moveTo>
                  <a:pt x="2658299" y="264185"/>
                </a:moveTo>
                <a:lnTo>
                  <a:pt x="2650928" y="276113"/>
                </a:lnTo>
                <a:lnTo>
                  <a:pt x="2650723" y="275744"/>
                </a:lnTo>
                <a:cubicBezTo>
                  <a:pt x="2650865" y="272755"/>
                  <a:pt x="2652289" y="269509"/>
                  <a:pt x="2654225" y="266662"/>
                </a:cubicBezTo>
                <a:close/>
                <a:moveTo>
                  <a:pt x="2334205" y="263246"/>
                </a:moveTo>
                <a:cubicBezTo>
                  <a:pt x="2328739" y="266890"/>
                  <a:pt x="2330561" y="272356"/>
                  <a:pt x="2332383" y="272356"/>
                </a:cubicBezTo>
                <a:lnTo>
                  <a:pt x="2335846" y="277625"/>
                </a:lnTo>
                <a:lnTo>
                  <a:pt x="2335800" y="278961"/>
                </a:lnTo>
                <a:lnTo>
                  <a:pt x="2337407" y="280001"/>
                </a:lnTo>
                <a:lnTo>
                  <a:pt x="2337622" y="280328"/>
                </a:lnTo>
                <a:cubicBezTo>
                  <a:pt x="2336483" y="282378"/>
                  <a:pt x="2333294" y="284200"/>
                  <a:pt x="2330561" y="286934"/>
                </a:cubicBezTo>
                <a:cubicBezTo>
                  <a:pt x="2330561" y="279645"/>
                  <a:pt x="2325094" y="277823"/>
                  <a:pt x="2319628" y="277823"/>
                </a:cubicBezTo>
                <a:cubicBezTo>
                  <a:pt x="2314161" y="276001"/>
                  <a:pt x="2319628" y="285112"/>
                  <a:pt x="2312339" y="281467"/>
                </a:cubicBezTo>
                <a:cubicBezTo>
                  <a:pt x="2314161" y="284200"/>
                  <a:pt x="2317350" y="284200"/>
                  <a:pt x="2319400" y="284428"/>
                </a:cubicBezTo>
                <a:lnTo>
                  <a:pt x="2319535" y="286996"/>
                </a:lnTo>
                <a:lnTo>
                  <a:pt x="2314161" y="290578"/>
                </a:lnTo>
                <a:cubicBezTo>
                  <a:pt x="2312795" y="291944"/>
                  <a:pt x="2311428" y="293311"/>
                  <a:pt x="2308695" y="294223"/>
                </a:cubicBezTo>
                <a:cubicBezTo>
                  <a:pt x="2308695" y="297867"/>
                  <a:pt x="2310517" y="297867"/>
                  <a:pt x="2312339" y="299689"/>
                </a:cubicBezTo>
                <a:cubicBezTo>
                  <a:pt x="2314161" y="288756"/>
                  <a:pt x="2317806" y="305155"/>
                  <a:pt x="2326916" y="301511"/>
                </a:cubicBezTo>
                <a:cubicBezTo>
                  <a:pt x="2328739" y="296044"/>
                  <a:pt x="2327372" y="293766"/>
                  <a:pt x="2325322" y="292172"/>
                </a:cubicBezTo>
                <a:lnTo>
                  <a:pt x="2320381" y="287626"/>
                </a:lnTo>
                <a:lnTo>
                  <a:pt x="2323272" y="283289"/>
                </a:lnTo>
                <a:cubicBezTo>
                  <a:pt x="2334205" y="286934"/>
                  <a:pt x="2334205" y="294223"/>
                  <a:pt x="2330561" y="305155"/>
                </a:cubicBezTo>
                <a:cubicBezTo>
                  <a:pt x="2332383" y="305155"/>
                  <a:pt x="2336027" y="308800"/>
                  <a:pt x="2337850" y="305155"/>
                </a:cubicBezTo>
                <a:cubicBezTo>
                  <a:pt x="2341494" y="297867"/>
                  <a:pt x="2339672" y="288756"/>
                  <a:pt x="2339672" y="281467"/>
                </a:cubicBezTo>
                <a:lnTo>
                  <a:pt x="2337407" y="280001"/>
                </a:lnTo>
                <a:lnTo>
                  <a:pt x="2335846" y="277625"/>
                </a:lnTo>
                <a:lnTo>
                  <a:pt x="2336027" y="272356"/>
                </a:lnTo>
                <a:cubicBezTo>
                  <a:pt x="2343316" y="274179"/>
                  <a:pt x="2336027" y="283289"/>
                  <a:pt x="2345138" y="277823"/>
                </a:cubicBezTo>
                <a:cubicBezTo>
                  <a:pt x="2346960" y="276001"/>
                  <a:pt x="2348782" y="274179"/>
                  <a:pt x="2348782" y="272356"/>
                </a:cubicBezTo>
                <a:cubicBezTo>
                  <a:pt x="2348782" y="270534"/>
                  <a:pt x="2348782" y="268712"/>
                  <a:pt x="2346960" y="266890"/>
                </a:cubicBezTo>
                <a:cubicBezTo>
                  <a:pt x="2343316" y="272356"/>
                  <a:pt x="2339672" y="270534"/>
                  <a:pt x="2332383" y="272356"/>
                </a:cubicBezTo>
                <a:cubicBezTo>
                  <a:pt x="2334205" y="270534"/>
                  <a:pt x="2334205" y="266890"/>
                  <a:pt x="2334205" y="263246"/>
                </a:cubicBezTo>
                <a:close/>
                <a:moveTo>
                  <a:pt x="2287541" y="262776"/>
                </a:moveTo>
                <a:lnTo>
                  <a:pt x="2285636" y="271351"/>
                </a:lnTo>
                <a:lnTo>
                  <a:pt x="2284551" y="270989"/>
                </a:lnTo>
                <a:cubicBezTo>
                  <a:pt x="2284096" y="269623"/>
                  <a:pt x="2284096" y="267801"/>
                  <a:pt x="2283184" y="266890"/>
                </a:cubicBezTo>
                <a:cubicBezTo>
                  <a:pt x="2285007" y="265979"/>
                  <a:pt x="2286374" y="264156"/>
                  <a:pt x="2287512" y="262790"/>
                </a:cubicBezTo>
                <a:close/>
                <a:moveTo>
                  <a:pt x="3044853" y="261423"/>
                </a:moveTo>
                <a:cubicBezTo>
                  <a:pt x="3041209" y="265068"/>
                  <a:pt x="3044853" y="272356"/>
                  <a:pt x="3048497" y="272356"/>
                </a:cubicBezTo>
                <a:cubicBezTo>
                  <a:pt x="3048497" y="266890"/>
                  <a:pt x="3044853" y="266890"/>
                  <a:pt x="3044853" y="261423"/>
                </a:cubicBezTo>
                <a:close/>
                <a:moveTo>
                  <a:pt x="2665182" y="260001"/>
                </a:moveTo>
                <a:lnTo>
                  <a:pt x="2658299" y="264185"/>
                </a:lnTo>
                <a:lnTo>
                  <a:pt x="2660147" y="261195"/>
                </a:lnTo>
                <a:close/>
                <a:moveTo>
                  <a:pt x="3028453" y="259601"/>
                </a:moveTo>
                <a:cubicBezTo>
                  <a:pt x="3028453" y="261423"/>
                  <a:pt x="3028453" y="263246"/>
                  <a:pt x="3028453" y="265068"/>
                </a:cubicBezTo>
                <a:cubicBezTo>
                  <a:pt x="3030276" y="265068"/>
                  <a:pt x="3033920" y="268712"/>
                  <a:pt x="3033920" y="265068"/>
                </a:cubicBezTo>
                <a:cubicBezTo>
                  <a:pt x="3035742" y="259601"/>
                  <a:pt x="3030276" y="259601"/>
                  <a:pt x="3028453" y="259601"/>
                </a:cubicBezTo>
                <a:close/>
                <a:moveTo>
                  <a:pt x="2665841" y="259601"/>
                </a:moveTo>
                <a:lnTo>
                  <a:pt x="2665725" y="259873"/>
                </a:lnTo>
                <a:lnTo>
                  <a:pt x="2665182" y="260001"/>
                </a:lnTo>
                <a:close/>
                <a:moveTo>
                  <a:pt x="2571088" y="259601"/>
                </a:moveTo>
                <a:cubicBezTo>
                  <a:pt x="2572910" y="261423"/>
                  <a:pt x="2571088" y="263246"/>
                  <a:pt x="2569266" y="265068"/>
                </a:cubicBezTo>
                <a:lnTo>
                  <a:pt x="2567760" y="264692"/>
                </a:lnTo>
                <a:close/>
                <a:moveTo>
                  <a:pt x="2350605" y="259601"/>
                </a:moveTo>
                <a:cubicBezTo>
                  <a:pt x="2350605" y="263246"/>
                  <a:pt x="2350605" y="266890"/>
                  <a:pt x="2350605" y="270534"/>
                </a:cubicBezTo>
                <a:cubicBezTo>
                  <a:pt x="2356071" y="268712"/>
                  <a:pt x="2356071" y="257779"/>
                  <a:pt x="2350605" y="259601"/>
                </a:cubicBezTo>
                <a:close/>
                <a:moveTo>
                  <a:pt x="2681529" y="256125"/>
                </a:moveTo>
                <a:lnTo>
                  <a:pt x="2681102" y="257323"/>
                </a:lnTo>
                <a:cubicBezTo>
                  <a:pt x="2680874" y="258234"/>
                  <a:pt x="2680418" y="258690"/>
                  <a:pt x="2678596" y="257779"/>
                </a:cubicBezTo>
                <a:cubicBezTo>
                  <a:pt x="2679507" y="263245"/>
                  <a:pt x="2681330" y="264612"/>
                  <a:pt x="2683607" y="265295"/>
                </a:cubicBezTo>
                <a:lnTo>
                  <a:pt x="2691013" y="268562"/>
                </a:lnTo>
                <a:lnTo>
                  <a:pt x="2687707" y="276001"/>
                </a:lnTo>
                <a:cubicBezTo>
                  <a:pt x="2693174" y="276001"/>
                  <a:pt x="2691351" y="274179"/>
                  <a:pt x="2693174" y="281467"/>
                </a:cubicBezTo>
                <a:lnTo>
                  <a:pt x="2695033" y="280073"/>
                </a:lnTo>
                <a:lnTo>
                  <a:pt x="2695224" y="291944"/>
                </a:lnTo>
                <a:cubicBezTo>
                  <a:pt x="2695451" y="296955"/>
                  <a:pt x="2696818" y="301511"/>
                  <a:pt x="2702284" y="303333"/>
                </a:cubicBezTo>
                <a:cubicBezTo>
                  <a:pt x="2698640" y="306978"/>
                  <a:pt x="2698640" y="314266"/>
                  <a:pt x="2691351" y="316089"/>
                </a:cubicBezTo>
                <a:cubicBezTo>
                  <a:pt x="2693174" y="316089"/>
                  <a:pt x="2694996" y="316089"/>
                  <a:pt x="2694996" y="317911"/>
                </a:cubicBezTo>
                <a:cubicBezTo>
                  <a:pt x="2694996" y="321555"/>
                  <a:pt x="2689529" y="325199"/>
                  <a:pt x="2687707" y="327022"/>
                </a:cubicBezTo>
                <a:cubicBezTo>
                  <a:pt x="2687707" y="323377"/>
                  <a:pt x="2687707" y="321555"/>
                  <a:pt x="2685885" y="319733"/>
                </a:cubicBezTo>
                <a:cubicBezTo>
                  <a:pt x="2685885" y="323377"/>
                  <a:pt x="2684063" y="323377"/>
                  <a:pt x="2682240" y="325199"/>
                </a:cubicBezTo>
                <a:cubicBezTo>
                  <a:pt x="2682240" y="323377"/>
                  <a:pt x="2682240" y="321555"/>
                  <a:pt x="2682240" y="319733"/>
                </a:cubicBezTo>
                <a:cubicBezTo>
                  <a:pt x="2678596" y="319733"/>
                  <a:pt x="2678596" y="325199"/>
                  <a:pt x="2676774" y="323377"/>
                </a:cubicBezTo>
                <a:cubicBezTo>
                  <a:pt x="2671307" y="321555"/>
                  <a:pt x="2673130" y="310622"/>
                  <a:pt x="2669485" y="308800"/>
                </a:cubicBezTo>
                <a:cubicBezTo>
                  <a:pt x="2665841" y="306066"/>
                  <a:pt x="2664475" y="304244"/>
                  <a:pt x="2663336" y="302194"/>
                </a:cubicBezTo>
                <a:lnTo>
                  <a:pt x="2660795" y="297960"/>
                </a:lnTo>
                <a:lnTo>
                  <a:pt x="2661286" y="297183"/>
                </a:lnTo>
                <a:cubicBezTo>
                  <a:pt x="2662197" y="296044"/>
                  <a:pt x="2663108" y="296044"/>
                  <a:pt x="2664019" y="299689"/>
                </a:cubicBezTo>
                <a:cubicBezTo>
                  <a:pt x="2669485" y="297867"/>
                  <a:pt x="2667663" y="290578"/>
                  <a:pt x="2667663" y="285112"/>
                </a:cubicBezTo>
                <a:cubicBezTo>
                  <a:pt x="2664930" y="286023"/>
                  <a:pt x="2662197" y="288300"/>
                  <a:pt x="2660375" y="291261"/>
                </a:cubicBezTo>
                <a:lnTo>
                  <a:pt x="2659552" y="295888"/>
                </a:lnTo>
                <a:lnTo>
                  <a:pt x="2658552" y="294223"/>
                </a:lnTo>
                <a:cubicBezTo>
                  <a:pt x="2656730" y="294223"/>
                  <a:pt x="2656730" y="299689"/>
                  <a:pt x="2653086" y="296045"/>
                </a:cubicBezTo>
                <a:cubicBezTo>
                  <a:pt x="2653086" y="294223"/>
                  <a:pt x="2654908" y="288756"/>
                  <a:pt x="2651263" y="286934"/>
                </a:cubicBezTo>
                <a:cubicBezTo>
                  <a:pt x="2651263" y="288756"/>
                  <a:pt x="2651263" y="292400"/>
                  <a:pt x="2649441" y="292400"/>
                </a:cubicBezTo>
                <a:cubicBezTo>
                  <a:pt x="2645797" y="292400"/>
                  <a:pt x="2645797" y="286934"/>
                  <a:pt x="2643975" y="285112"/>
                </a:cubicBezTo>
                <a:cubicBezTo>
                  <a:pt x="2642153" y="285112"/>
                  <a:pt x="2640330" y="286934"/>
                  <a:pt x="2640330" y="286934"/>
                </a:cubicBezTo>
                <a:lnTo>
                  <a:pt x="2628320" y="280350"/>
                </a:lnTo>
                <a:lnTo>
                  <a:pt x="2631219" y="276001"/>
                </a:lnTo>
                <a:cubicBezTo>
                  <a:pt x="2634864" y="283289"/>
                  <a:pt x="2643975" y="290578"/>
                  <a:pt x="2647619" y="281467"/>
                </a:cubicBezTo>
                <a:lnTo>
                  <a:pt x="2650928" y="276113"/>
                </a:lnTo>
                <a:lnTo>
                  <a:pt x="2654908" y="283289"/>
                </a:lnTo>
                <a:cubicBezTo>
                  <a:pt x="2658552" y="285112"/>
                  <a:pt x="2658552" y="281467"/>
                  <a:pt x="2662197" y="283289"/>
                </a:cubicBezTo>
                <a:cubicBezTo>
                  <a:pt x="2664019" y="279645"/>
                  <a:pt x="2664019" y="277823"/>
                  <a:pt x="2664019" y="276001"/>
                </a:cubicBezTo>
                <a:cubicBezTo>
                  <a:pt x="2667663" y="277823"/>
                  <a:pt x="2664019" y="281467"/>
                  <a:pt x="2669485" y="281467"/>
                </a:cubicBezTo>
                <a:cubicBezTo>
                  <a:pt x="2667663" y="285112"/>
                  <a:pt x="2669485" y="290578"/>
                  <a:pt x="2673130" y="290578"/>
                </a:cubicBezTo>
                <a:cubicBezTo>
                  <a:pt x="2674952" y="279645"/>
                  <a:pt x="2682240" y="281467"/>
                  <a:pt x="2678596" y="272356"/>
                </a:cubicBezTo>
                <a:cubicBezTo>
                  <a:pt x="2673130" y="266890"/>
                  <a:pt x="2671307" y="266890"/>
                  <a:pt x="2665841" y="263246"/>
                </a:cubicBezTo>
                <a:cubicBezTo>
                  <a:pt x="2664019" y="265068"/>
                  <a:pt x="2664019" y="270534"/>
                  <a:pt x="2660374" y="272356"/>
                </a:cubicBezTo>
                <a:lnTo>
                  <a:pt x="2665725" y="259873"/>
                </a:lnTo>
                <a:close/>
                <a:moveTo>
                  <a:pt x="2323272" y="255957"/>
                </a:moveTo>
                <a:cubicBezTo>
                  <a:pt x="2321450" y="255957"/>
                  <a:pt x="2321450" y="257779"/>
                  <a:pt x="2319628" y="257779"/>
                </a:cubicBezTo>
                <a:cubicBezTo>
                  <a:pt x="2321450" y="254135"/>
                  <a:pt x="2312339" y="257779"/>
                  <a:pt x="2314161" y="261423"/>
                </a:cubicBezTo>
                <a:cubicBezTo>
                  <a:pt x="2319628" y="261423"/>
                  <a:pt x="2319628" y="261423"/>
                  <a:pt x="2323272" y="263246"/>
                </a:cubicBezTo>
                <a:cubicBezTo>
                  <a:pt x="2323272" y="261423"/>
                  <a:pt x="2323272" y="259601"/>
                  <a:pt x="2323272" y="255957"/>
                </a:cubicBezTo>
                <a:close/>
                <a:moveTo>
                  <a:pt x="2681764" y="255469"/>
                </a:moveTo>
                <a:lnTo>
                  <a:pt x="2682240" y="255957"/>
                </a:lnTo>
                <a:lnTo>
                  <a:pt x="2681529" y="256125"/>
                </a:lnTo>
                <a:close/>
                <a:moveTo>
                  <a:pt x="1951549" y="254135"/>
                </a:moveTo>
                <a:lnTo>
                  <a:pt x="1954586" y="257171"/>
                </a:lnTo>
                <a:lnTo>
                  <a:pt x="1954972" y="259877"/>
                </a:lnTo>
                <a:lnTo>
                  <a:pt x="1949726" y="259601"/>
                </a:lnTo>
                <a:cubicBezTo>
                  <a:pt x="1947904" y="257779"/>
                  <a:pt x="1949726" y="255957"/>
                  <a:pt x="1951549" y="254135"/>
                </a:cubicBezTo>
                <a:close/>
                <a:moveTo>
                  <a:pt x="3239826" y="252313"/>
                </a:moveTo>
                <a:lnTo>
                  <a:pt x="3240964" y="255209"/>
                </a:lnTo>
                <a:lnTo>
                  <a:pt x="3238744" y="258698"/>
                </a:lnTo>
                <a:lnTo>
                  <a:pt x="3238232" y="258007"/>
                </a:lnTo>
                <a:cubicBezTo>
                  <a:pt x="3237093" y="255046"/>
                  <a:pt x="3237093" y="252313"/>
                  <a:pt x="3239826" y="252313"/>
                </a:cubicBezTo>
                <a:close/>
                <a:moveTo>
                  <a:pt x="3094052" y="252313"/>
                </a:moveTo>
                <a:cubicBezTo>
                  <a:pt x="3088585" y="261423"/>
                  <a:pt x="3094052" y="270534"/>
                  <a:pt x="3095874" y="279645"/>
                </a:cubicBezTo>
                <a:cubicBezTo>
                  <a:pt x="3097696" y="290578"/>
                  <a:pt x="3086763" y="297867"/>
                  <a:pt x="3090407" y="308800"/>
                </a:cubicBezTo>
                <a:cubicBezTo>
                  <a:pt x="3090407" y="308800"/>
                  <a:pt x="3092230" y="308800"/>
                  <a:pt x="3094052" y="310622"/>
                </a:cubicBezTo>
                <a:cubicBezTo>
                  <a:pt x="3095874" y="308800"/>
                  <a:pt x="3095874" y="306978"/>
                  <a:pt x="3094052" y="306978"/>
                </a:cubicBezTo>
                <a:cubicBezTo>
                  <a:pt x="3097696" y="310622"/>
                  <a:pt x="3101340" y="314266"/>
                  <a:pt x="3103163" y="319733"/>
                </a:cubicBezTo>
                <a:cubicBezTo>
                  <a:pt x="3115918" y="310622"/>
                  <a:pt x="3119562" y="292400"/>
                  <a:pt x="3115918" y="277823"/>
                </a:cubicBezTo>
                <a:cubicBezTo>
                  <a:pt x="3119562" y="281467"/>
                  <a:pt x="3117740" y="286934"/>
                  <a:pt x="3121384" y="288756"/>
                </a:cubicBezTo>
                <a:cubicBezTo>
                  <a:pt x="3119562" y="279645"/>
                  <a:pt x="3123206" y="272356"/>
                  <a:pt x="3123206" y="265068"/>
                </a:cubicBezTo>
                <a:cubicBezTo>
                  <a:pt x="3125029" y="257779"/>
                  <a:pt x="3114096" y="257779"/>
                  <a:pt x="3106807" y="263246"/>
                </a:cubicBezTo>
                <a:cubicBezTo>
                  <a:pt x="3108629" y="255957"/>
                  <a:pt x="3099518" y="257779"/>
                  <a:pt x="3095874" y="252313"/>
                </a:cubicBezTo>
                <a:cubicBezTo>
                  <a:pt x="3095874" y="255957"/>
                  <a:pt x="3095874" y="257779"/>
                  <a:pt x="3094052" y="259601"/>
                </a:cubicBezTo>
                <a:cubicBezTo>
                  <a:pt x="3094052" y="257779"/>
                  <a:pt x="3094052" y="254135"/>
                  <a:pt x="3094052" y="252313"/>
                </a:cubicBezTo>
                <a:close/>
                <a:moveTo>
                  <a:pt x="3068541" y="252313"/>
                </a:moveTo>
                <a:cubicBezTo>
                  <a:pt x="3061253" y="257779"/>
                  <a:pt x="3068541" y="270534"/>
                  <a:pt x="3068541" y="277823"/>
                </a:cubicBezTo>
                <a:cubicBezTo>
                  <a:pt x="3066719" y="276001"/>
                  <a:pt x="3066719" y="274179"/>
                  <a:pt x="3064897" y="274179"/>
                </a:cubicBezTo>
                <a:cubicBezTo>
                  <a:pt x="3064897" y="279645"/>
                  <a:pt x="3057608" y="285112"/>
                  <a:pt x="3063075" y="286934"/>
                </a:cubicBezTo>
                <a:cubicBezTo>
                  <a:pt x="3064897" y="288756"/>
                  <a:pt x="3070363" y="292400"/>
                  <a:pt x="3074008" y="288756"/>
                </a:cubicBezTo>
                <a:cubicBezTo>
                  <a:pt x="3079474" y="281467"/>
                  <a:pt x="3083119" y="270534"/>
                  <a:pt x="3077652" y="259601"/>
                </a:cubicBezTo>
                <a:cubicBezTo>
                  <a:pt x="3075830" y="266890"/>
                  <a:pt x="3070363" y="257779"/>
                  <a:pt x="3068541" y="259601"/>
                </a:cubicBezTo>
                <a:cubicBezTo>
                  <a:pt x="3070363" y="255957"/>
                  <a:pt x="3068541" y="254135"/>
                  <a:pt x="3068541" y="252313"/>
                </a:cubicBezTo>
                <a:close/>
                <a:moveTo>
                  <a:pt x="2288196" y="252084"/>
                </a:moveTo>
                <a:cubicBezTo>
                  <a:pt x="2286829" y="251857"/>
                  <a:pt x="2285007" y="252313"/>
                  <a:pt x="2283184" y="252313"/>
                </a:cubicBezTo>
                <a:cubicBezTo>
                  <a:pt x="2283184" y="255957"/>
                  <a:pt x="2286829" y="255957"/>
                  <a:pt x="2290473" y="255957"/>
                </a:cubicBezTo>
                <a:cubicBezTo>
                  <a:pt x="2290473" y="253223"/>
                  <a:pt x="2289562" y="252312"/>
                  <a:pt x="2288196" y="252084"/>
                </a:cubicBezTo>
                <a:close/>
                <a:moveTo>
                  <a:pt x="2282274" y="251857"/>
                </a:moveTo>
                <a:cubicBezTo>
                  <a:pt x="2279996" y="251857"/>
                  <a:pt x="2276807" y="253224"/>
                  <a:pt x="2274074" y="254135"/>
                </a:cubicBezTo>
                <a:cubicBezTo>
                  <a:pt x="2272251" y="254135"/>
                  <a:pt x="2275896" y="259601"/>
                  <a:pt x="2274074" y="261423"/>
                </a:cubicBezTo>
                <a:cubicBezTo>
                  <a:pt x="2275896" y="261423"/>
                  <a:pt x="2283184" y="259601"/>
                  <a:pt x="2281362" y="263246"/>
                </a:cubicBezTo>
                <a:cubicBezTo>
                  <a:pt x="2281362" y="266890"/>
                  <a:pt x="2275896" y="266890"/>
                  <a:pt x="2272251" y="268712"/>
                </a:cubicBezTo>
                <a:cubicBezTo>
                  <a:pt x="2270429" y="268712"/>
                  <a:pt x="2268607" y="265068"/>
                  <a:pt x="2270429" y="263246"/>
                </a:cubicBezTo>
                <a:cubicBezTo>
                  <a:pt x="2274074" y="259601"/>
                  <a:pt x="2270429" y="255957"/>
                  <a:pt x="2272251" y="252313"/>
                </a:cubicBezTo>
                <a:cubicBezTo>
                  <a:pt x="2261318" y="257779"/>
                  <a:pt x="2241274" y="248668"/>
                  <a:pt x="2237630" y="261423"/>
                </a:cubicBezTo>
                <a:cubicBezTo>
                  <a:pt x="2233986" y="254135"/>
                  <a:pt x="2223053" y="254135"/>
                  <a:pt x="2215764" y="257779"/>
                </a:cubicBezTo>
                <a:cubicBezTo>
                  <a:pt x="2215764" y="274179"/>
                  <a:pt x="2206653" y="290578"/>
                  <a:pt x="2210297" y="308800"/>
                </a:cubicBezTo>
                <a:cubicBezTo>
                  <a:pt x="2212120" y="306978"/>
                  <a:pt x="2213942" y="305155"/>
                  <a:pt x="2213942" y="301511"/>
                </a:cubicBezTo>
                <a:cubicBezTo>
                  <a:pt x="2221230" y="303333"/>
                  <a:pt x="2212120" y="308800"/>
                  <a:pt x="2215764" y="310622"/>
                </a:cubicBezTo>
                <a:cubicBezTo>
                  <a:pt x="2224875" y="297867"/>
                  <a:pt x="2223053" y="317911"/>
                  <a:pt x="2233986" y="316089"/>
                </a:cubicBezTo>
                <a:cubicBezTo>
                  <a:pt x="2235808" y="314266"/>
                  <a:pt x="2235808" y="312444"/>
                  <a:pt x="2235808" y="310622"/>
                </a:cubicBezTo>
                <a:cubicBezTo>
                  <a:pt x="2239452" y="312444"/>
                  <a:pt x="2246741" y="308800"/>
                  <a:pt x="2246741" y="314266"/>
                </a:cubicBezTo>
                <a:cubicBezTo>
                  <a:pt x="2241274" y="312444"/>
                  <a:pt x="2246741" y="317911"/>
                  <a:pt x="2248563" y="323377"/>
                </a:cubicBezTo>
                <a:cubicBezTo>
                  <a:pt x="2243096" y="317911"/>
                  <a:pt x="2237630" y="319733"/>
                  <a:pt x="2232163" y="319733"/>
                </a:cubicBezTo>
                <a:cubicBezTo>
                  <a:pt x="2233986" y="321555"/>
                  <a:pt x="2230341" y="325199"/>
                  <a:pt x="2232163" y="327022"/>
                </a:cubicBezTo>
                <a:cubicBezTo>
                  <a:pt x="2226697" y="321555"/>
                  <a:pt x="2223053" y="316089"/>
                  <a:pt x="2213942" y="314266"/>
                </a:cubicBezTo>
                <a:cubicBezTo>
                  <a:pt x="2215764" y="316089"/>
                  <a:pt x="2215764" y="316089"/>
                  <a:pt x="2215764" y="317911"/>
                </a:cubicBezTo>
                <a:cubicBezTo>
                  <a:pt x="2212120" y="316089"/>
                  <a:pt x="2210297" y="310622"/>
                  <a:pt x="2208475" y="312444"/>
                </a:cubicBezTo>
                <a:cubicBezTo>
                  <a:pt x="2203009" y="317911"/>
                  <a:pt x="2204831" y="327022"/>
                  <a:pt x="2210297" y="332488"/>
                </a:cubicBezTo>
                <a:cubicBezTo>
                  <a:pt x="2212120" y="327022"/>
                  <a:pt x="2215764" y="325199"/>
                  <a:pt x="2213942" y="319733"/>
                </a:cubicBezTo>
                <a:cubicBezTo>
                  <a:pt x="2221230" y="321555"/>
                  <a:pt x="2221230" y="325199"/>
                  <a:pt x="2221230" y="332488"/>
                </a:cubicBezTo>
                <a:cubicBezTo>
                  <a:pt x="2219408" y="332488"/>
                  <a:pt x="2213942" y="330666"/>
                  <a:pt x="2213942" y="332488"/>
                </a:cubicBezTo>
                <a:cubicBezTo>
                  <a:pt x="2210297" y="337954"/>
                  <a:pt x="2206653" y="334310"/>
                  <a:pt x="2203009" y="336133"/>
                </a:cubicBezTo>
                <a:cubicBezTo>
                  <a:pt x="2206653" y="332488"/>
                  <a:pt x="2204831" y="328844"/>
                  <a:pt x="2204831" y="325199"/>
                </a:cubicBezTo>
                <a:cubicBezTo>
                  <a:pt x="2201187" y="343421"/>
                  <a:pt x="2190253" y="359821"/>
                  <a:pt x="2208475" y="370754"/>
                </a:cubicBezTo>
                <a:cubicBezTo>
                  <a:pt x="2210297" y="370754"/>
                  <a:pt x="2210297" y="368932"/>
                  <a:pt x="2210297" y="367109"/>
                </a:cubicBezTo>
                <a:cubicBezTo>
                  <a:pt x="2219408" y="370754"/>
                  <a:pt x="2228519" y="372576"/>
                  <a:pt x="2230341" y="359821"/>
                </a:cubicBezTo>
                <a:cubicBezTo>
                  <a:pt x="2232163" y="363465"/>
                  <a:pt x="2228519" y="368932"/>
                  <a:pt x="2230341" y="368932"/>
                </a:cubicBezTo>
                <a:cubicBezTo>
                  <a:pt x="2239452" y="367109"/>
                  <a:pt x="2241274" y="359821"/>
                  <a:pt x="2243096" y="350710"/>
                </a:cubicBezTo>
                <a:cubicBezTo>
                  <a:pt x="2246741" y="352532"/>
                  <a:pt x="2243096" y="359821"/>
                  <a:pt x="2248563" y="359821"/>
                </a:cubicBezTo>
                <a:cubicBezTo>
                  <a:pt x="2252207" y="359821"/>
                  <a:pt x="2252207" y="354354"/>
                  <a:pt x="2254030" y="352532"/>
                </a:cubicBezTo>
                <a:cubicBezTo>
                  <a:pt x="2254030" y="356176"/>
                  <a:pt x="2255852" y="357998"/>
                  <a:pt x="2257674" y="359821"/>
                </a:cubicBezTo>
                <a:cubicBezTo>
                  <a:pt x="2263140" y="359821"/>
                  <a:pt x="2263140" y="356176"/>
                  <a:pt x="2264963" y="352532"/>
                </a:cubicBezTo>
                <a:cubicBezTo>
                  <a:pt x="2254030" y="359821"/>
                  <a:pt x="2259496" y="347066"/>
                  <a:pt x="2252207" y="348888"/>
                </a:cubicBezTo>
                <a:cubicBezTo>
                  <a:pt x="2252207" y="343421"/>
                  <a:pt x="2257674" y="339777"/>
                  <a:pt x="2259496" y="336133"/>
                </a:cubicBezTo>
                <a:cubicBezTo>
                  <a:pt x="2259496" y="336133"/>
                  <a:pt x="2259496" y="341598"/>
                  <a:pt x="2261318" y="341598"/>
                </a:cubicBezTo>
                <a:lnTo>
                  <a:pt x="2263140" y="339777"/>
                </a:lnTo>
                <a:cubicBezTo>
                  <a:pt x="2263140" y="341598"/>
                  <a:pt x="2261318" y="345242"/>
                  <a:pt x="2261318" y="347066"/>
                </a:cubicBezTo>
                <a:cubicBezTo>
                  <a:pt x="2261318" y="350710"/>
                  <a:pt x="2266785" y="348888"/>
                  <a:pt x="2268607" y="348888"/>
                </a:cubicBezTo>
                <a:cubicBezTo>
                  <a:pt x="2272251" y="348888"/>
                  <a:pt x="2274074" y="345242"/>
                  <a:pt x="2275896" y="341598"/>
                </a:cubicBezTo>
                <a:cubicBezTo>
                  <a:pt x="2277718" y="337954"/>
                  <a:pt x="2275896" y="334310"/>
                  <a:pt x="2274074" y="334310"/>
                </a:cubicBezTo>
                <a:cubicBezTo>
                  <a:pt x="2270429" y="334310"/>
                  <a:pt x="2268607" y="337954"/>
                  <a:pt x="2266785" y="341598"/>
                </a:cubicBezTo>
                <a:cubicBezTo>
                  <a:pt x="2264963" y="337954"/>
                  <a:pt x="2263140" y="336133"/>
                  <a:pt x="2264963" y="334310"/>
                </a:cubicBezTo>
                <a:cubicBezTo>
                  <a:pt x="2277718" y="328844"/>
                  <a:pt x="2274074" y="314266"/>
                  <a:pt x="2270429" y="305155"/>
                </a:cubicBezTo>
                <a:cubicBezTo>
                  <a:pt x="2268607" y="308800"/>
                  <a:pt x="2266785" y="310622"/>
                  <a:pt x="2264963" y="312444"/>
                </a:cubicBezTo>
                <a:cubicBezTo>
                  <a:pt x="2263140" y="319733"/>
                  <a:pt x="2274074" y="330666"/>
                  <a:pt x="2263140" y="332488"/>
                </a:cubicBezTo>
                <a:cubicBezTo>
                  <a:pt x="2257674" y="334310"/>
                  <a:pt x="2263140" y="325199"/>
                  <a:pt x="2261318" y="325199"/>
                </a:cubicBezTo>
                <a:cubicBezTo>
                  <a:pt x="2255852" y="325199"/>
                  <a:pt x="2259496" y="334310"/>
                  <a:pt x="2254030" y="332488"/>
                </a:cubicBezTo>
                <a:cubicBezTo>
                  <a:pt x="2250385" y="330666"/>
                  <a:pt x="2254030" y="323377"/>
                  <a:pt x="2255852" y="321555"/>
                </a:cubicBezTo>
                <a:cubicBezTo>
                  <a:pt x="2259496" y="319733"/>
                  <a:pt x="2263140" y="317911"/>
                  <a:pt x="2261318" y="314266"/>
                </a:cubicBezTo>
                <a:cubicBezTo>
                  <a:pt x="2259496" y="316089"/>
                  <a:pt x="2257674" y="314266"/>
                  <a:pt x="2257674" y="312444"/>
                </a:cubicBezTo>
                <a:cubicBezTo>
                  <a:pt x="2257674" y="314266"/>
                  <a:pt x="2257674" y="314266"/>
                  <a:pt x="2255852" y="316089"/>
                </a:cubicBezTo>
                <a:cubicBezTo>
                  <a:pt x="2255852" y="310622"/>
                  <a:pt x="2261318" y="306978"/>
                  <a:pt x="2255852" y="301511"/>
                </a:cubicBezTo>
                <a:cubicBezTo>
                  <a:pt x="2254030" y="301511"/>
                  <a:pt x="2250385" y="297867"/>
                  <a:pt x="2246741" y="299689"/>
                </a:cubicBezTo>
                <a:cubicBezTo>
                  <a:pt x="2248563" y="297867"/>
                  <a:pt x="2250385" y="294223"/>
                  <a:pt x="2250385" y="292400"/>
                </a:cubicBezTo>
                <a:cubicBezTo>
                  <a:pt x="2250385" y="285112"/>
                  <a:pt x="2250385" y="279645"/>
                  <a:pt x="2254030" y="274179"/>
                </a:cubicBezTo>
                <a:cubicBezTo>
                  <a:pt x="2259496" y="283289"/>
                  <a:pt x="2266785" y="281467"/>
                  <a:pt x="2266785" y="292400"/>
                </a:cubicBezTo>
                <a:cubicBezTo>
                  <a:pt x="2268607" y="288756"/>
                  <a:pt x="2270429" y="286934"/>
                  <a:pt x="2274074" y="286934"/>
                </a:cubicBezTo>
                <a:cubicBezTo>
                  <a:pt x="2279540" y="286934"/>
                  <a:pt x="2275896" y="292400"/>
                  <a:pt x="2277718" y="294223"/>
                </a:cubicBezTo>
                <a:cubicBezTo>
                  <a:pt x="2281362" y="286934"/>
                  <a:pt x="2285007" y="276001"/>
                  <a:pt x="2275896" y="272356"/>
                </a:cubicBezTo>
                <a:cubicBezTo>
                  <a:pt x="2277718" y="270534"/>
                  <a:pt x="2281362" y="272356"/>
                  <a:pt x="2283184" y="270534"/>
                </a:cubicBezTo>
                <a:cubicBezTo>
                  <a:pt x="2285007" y="270534"/>
                  <a:pt x="2285007" y="272356"/>
                  <a:pt x="2285007" y="274179"/>
                </a:cubicBezTo>
                <a:lnTo>
                  <a:pt x="2285636" y="271351"/>
                </a:lnTo>
                <a:lnTo>
                  <a:pt x="2288651" y="272356"/>
                </a:lnTo>
                <a:cubicBezTo>
                  <a:pt x="2288651" y="266890"/>
                  <a:pt x="2290473" y="265068"/>
                  <a:pt x="2290473" y="261423"/>
                </a:cubicBezTo>
                <a:lnTo>
                  <a:pt x="2287541" y="262776"/>
                </a:lnTo>
                <a:lnTo>
                  <a:pt x="2288651" y="257779"/>
                </a:lnTo>
                <a:cubicBezTo>
                  <a:pt x="2286829" y="257779"/>
                  <a:pt x="2286829" y="257779"/>
                  <a:pt x="2285007" y="257779"/>
                </a:cubicBezTo>
                <a:cubicBezTo>
                  <a:pt x="2285918" y="253223"/>
                  <a:pt x="2284552" y="251857"/>
                  <a:pt x="2282274" y="251857"/>
                </a:cubicBezTo>
                <a:close/>
                <a:moveTo>
                  <a:pt x="1953632" y="250494"/>
                </a:moveTo>
                <a:lnTo>
                  <a:pt x="1955194" y="257779"/>
                </a:lnTo>
                <a:lnTo>
                  <a:pt x="1954586" y="257171"/>
                </a:lnTo>
                <a:close/>
                <a:moveTo>
                  <a:pt x="3296313" y="250490"/>
                </a:moveTo>
                <a:cubicBezTo>
                  <a:pt x="3297224" y="252312"/>
                  <a:pt x="3298135" y="251857"/>
                  <a:pt x="3299046" y="251173"/>
                </a:cubicBezTo>
                <a:lnTo>
                  <a:pt x="3299958" y="250945"/>
                </a:lnTo>
                <a:lnTo>
                  <a:pt x="3299957" y="252312"/>
                </a:lnTo>
                <a:lnTo>
                  <a:pt x="3296886" y="255384"/>
                </a:lnTo>
                <a:lnTo>
                  <a:pt x="3295383" y="254212"/>
                </a:lnTo>
                <a:close/>
                <a:moveTo>
                  <a:pt x="3004765" y="246846"/>
                </a:moveTo>
                <a:cubicBezTo>
                  <a:pt x="3002943" y="245024"/>
                  <a:pt x="3004765" y="252313"/>
                  <a:pt x="3004765" y="255957"/>
                </a:cubicBezTo>
                <a:cubicBezTo>
                  <a:pt x="3002943" y="255957"/>
                  <a:pt x="3002943" y="255957"/>
                  <a:pt x="3002943" y="254135"/>
                </a:cubicBezTo>
                <a:cubicBezTo>
                  <a:pt x="2999299" y="254135"/>
                  <a:pt x="3004765" y="257779"/>
                  <a:pt x="3006587" y="257779"/>
                </a:cubicBezTo>
                <a:cubicBezTo>
                  <a:pt x="3006587" y="255957"/>
                  <a:pt x="3006587" y="252313"/>
                  <a:pt x="3008410" y="252313"/>
                </a:cubicBezTo>
                <a:cubicBezTo>
                  <a:pt x="3008410" y="248668"/>
                  <a:pt x="3004765" y="250490"/>
                  <a:pt x="3004765" y="246846"/>
                </a:cubicBezTo>
                <a:close/>
                <a:moveTo>
                  <a:pt x="2308695" y="246846"/>
                </a:moveTo>
                <a:cubicBezTo>
                  <a:pt x="2310517" y="250490"/>
                  <a:pt x="2308695" y="254135"/>
                  <a:pt x="2310517" y="255957"/>
                </a:cubicBezTo>
                <a:cubicBezTo>
                  <a:pt x="2314161" y="254135"/>
                  <a:pt x="2312339" y="248668"/>
                  <a:pt x="2314161" y="246846"/>
                </a:cubicBezTo>
                <a:cubicBezTo>
                  <a:pt x="2314161" y="245024"/>
                  <a:pt x="2312339" y="245024"/>
                  <a:pt x="2308695" y="246846"/>
                </a:cubicBezTo>
                <a:close/>
                <a:moveTo>
                  <a:pt x="3423562" y="246238"/>
                </a:moveTo>
                <a:lnTo>
                  <a:pt x="3423826" y="246767"/>
                </a:lnTo>
                <a:lnTo>
                  <a:pt x="3423638" y="255046"/>
                </a:lnTo>
                <a:cubicBezTo>
                  <a:pt x="3422499" y="257779"/>
                  <a:pt x="3421132" y="260512"/>
                  <a:pt x="3422043" y="265068"/>
                </a:cubicBezTo>
                <a:cubicBezTo>
                  <a:pt x="3419310" y="266890"/>
                  <a:pt x="3417488" y="266890"/>
                  <a:pt x="3415894" y="265978"/>
                </a:cubicBezTo>
                <a:lnTo>
                  <a:pt x="3412465" y="262713"/>
                </a:lnTo>
                <a:lnTo>
                  <a:pt x="3418695" y="250022"/>
                </a:lnTo>
                <a:lnTo>
                  <a:pt x="3422043" y="252313"/>
                </a:lnTo>
                <a:close/>
                <a:moveTo>
                  <a:pt x="3400177" y="243202"/>
                </a:moveTo>
                <a:cubicBezTo>
                  <a:pt x="3398355" y="245024"/>
                  <a:pt x="3400177" y="252313"/>
                  <a:pt x="3401999" y="252313"/>
                </a:cubicBezTo>
                <a:cubicBezTo>
                  <a:pt x="3405643" y="250490"/>
                  <a:pt x="3400177" y="246846"/>
                  <a:pt x="3400177" y="243202"/>
                </a:cubicBezTo>
                <a:close/>
                <a:moveTo>
                  <a:pt x="2006214" y="241379"/>
                </a:moveTo>
                <a:cubicBezTo>
                  <a:pt x="2002570" y="246846"/>
                  <a:pt x="2008036" y="257779"/>
                  <a:pt x="2004392" y="255957"/>
                </a:cubicBezTo>
                <a:cubicBezTo>
                  <a:pt x="1995281" y="250490"/>
                  <a:pt x="1998925" y="241379"/>
                  <a:pt x="1987992" y="246846"/>
                </a:cubicBezTo>
                <a:cubicBezTo>
                  <a:pt x="1987992" y="246846"/>
                  <a:pt x="1987992" y="248668"/>
                  <a:pt x="1987992" y="250490"/>
                </a:cubicBezTo>
                <a:cubicBezTo>
                  <a:pt x="1986170" y="250490"/>
                  <a:pt x="1986170" y="250490"/>
                  <a:pt x="1984348" y="250490"/>
                </a:cubicBezTo>
                <a:cubicBezTo>
                  <a:pt x="1984348" y="250490"/>
                  <a:pt x="1986170" y="254135"/>
                  <a:pt x="1987992" y="255957"/>
                </a:cubicBezTo>
                <a:cubicBezTo>
                  <a:pt x="1986170" y="257779"/>
                  <a:pt x="1982527" y="257779"/>
                  <a:pt x="1980703" y="255957"/>
                </a:cubicBezTo>
                <a:cubicBezTo>
                  <a:pt x="1980703" y="270534"/>
                  <a:pt x="2002570" y="257779"/>
                  <a:pt x="2013503" y="259601"/>
                </a:cubicBezTo>
                <a:cubicBezTo>
                  <a:pt x="2015325" y="254135"/>
                  <a:pt x="2008036" y="235913"/>
                  <a:pt x="2011680" y="254135"/>
                </a:cubicBezTo>
                <a:cubicBezTo>
                  <a:pt x="2004392" y="252313"/>
                  <a:pt x="2008036" y="245024"/>
                  <a:pt x="2006214" y="241379"/>
                </a:cubicBezTo>
                <a:close/>
                <a:moveTo>
                  <a:pt x="3141428" y="237735"/>
                </a:moveTo>
                <a:cubicBezTo>
                  <a:pt x="3132317" y="241379"/>
                  <a:pt x="3130495" y="259601"/>
                  <a:pt x="3137784" y="268712"/>
                </a:cubicBezTo>
                <a:cubicBezTo>
                  <a:pt x="3137784" y="259601"/>
                  <a:pt x="3137784" y="248668"/>
                  <a:pt x="3141428" y="237735"/>
                </a:cubicBezTo>
                <a:close/>
                <a:moveTo>
                  <a:pt x="3077652" y="237735"/>
                </a:moveTo>
                <a:lnTo>
                  <a:pt x="3078369" y="238212"/>
                </a:lnTo>
                <a:lnTo>
                  <a:pt x="3078305" y="238822"/>
                </a:lnTo>
                <a:close/>
                <a:moveTo>
                  <a:pt x="1951549" y="237735"/>
                </a:moveTo>
                <a:cubicBezTo>
                  <a:pt x="1957015" y="241379"/>
                  <a:pt x="1953371" y="245024"/>
                  <a:pt x="1953371" y="248668"/>
                </a:cubicBezTo>
                <a:lnTo>
                  <a:pt x="1953632" y="250494"/>
                </a:lnTo>
                <a:lnTo>
                  <a:pt x="1951153" y="238924"/>
                </a:lnTo>
                <a:close/>
                <a:moveTo>
                  <a:pt x="1950872" y="237616"/>
                </a:moveTo>
                <a:lnTo>
                  <a:pt x="1951153" y="238924"/>
                </a:lnTo>
                <a:lnTo>
                  <a:pt x="1949726" y="243202"/>
                </a:lnTo>
                <a:close/>
                <a:moveTo>
                  <a:pt x="1980703" y="234091"/>
                </a:moveTo>
                <a:cubicBezTo>
                  <a:pt x="1975237" y="235913"/>
                  <a:pt x="1973416" y="246846"/>
                  <a:pt x="1982527" y="246846"/>
                </a:cubicBezTo>
                <a:cubicBezTo>
                  <a:pt x="1980703" y="241379"/>
                  <a:pt x="1980703" y="239557"/>
                  <a:pt x="1980703" y="234091"/>
                </a:cubicBezTo>
                <a:close/>
                <a:moveTo>
                  <a:pt x="1964305" y="234091"/>
                </a:moveTo>
                <a:cubicBezTo>
                  <a:pt x="1955194" y="237735"/>
                  <a:pt x="1973416" y="248668"/>
                  <a:pt x="1977059" y="254135"/>
                </a:cubicBezTo>
                <a:cubicBezTo>
                  <a:pt x="1977059" y="250490"/>
                  <a:pt x="1973416" y="246846"/>
                  <a:pt x="1975237" y="243202"/>
                </a:cubicBezTo>
                <a:cubicBezTo>
                  <a:pt x="1967948" y="243202"/>
                  <a:pt x="1967948" y="239557"/>
                  <a:pt x="1964305" y="234091"/>
                </a:cubicBezTo>
                <a:close/>
                <a:moveTo>
                  <a:pt x="1949726" y="232269"/>
                </a:moveTo>
                <a:lnTo>
                  <a:pt x="1951435" y="234084"/>
                </a:lnTo>
                <a:lnTo>
                  <a:pt x="1951548" y="234318"/>
                </a:lnTo>
                <a:lnTo>
                  <a:pt x="1950872" y="237616"/>
                </a:lnTo>
                <a:close/>
                <a:moveTo>
                  <a:pt x="2971768" y="232085"/>
                </a:moveTo>
                <a:lnTo>
                  <a:pt x="2974853" y="236815"/>
                </a:lnTo>
                <a:lnTo>
                  <a:pt x="2973788" y="243202"/>
                </a:lnTo>
                <a:cubicBezTo>
                  <a:pt x="2973788" y="243202"/>
                  <a:pt x="2975610" y="241379"/>
                  <a:pt x="2973788" y="241379"/>
                </a:cubicBezTo>
                <a:cubicBezTo>
                  <a:pt x="2973788" y="245024"/>
                  <a:pt x="2973788" y="245024"/>
                  <a:pt x="2971966" y="245024"/>
                </a:cubicBezTo>
                <a:cubicBezTo>
                  <a:pt x="2970144" y="241379"/>
                  <a:pt x="2970144" y="237735"/>
                  <a:pt x="2970828" y="234546"/>
                </a:cubicBezTo>
                <a:close/>
                <a:moveTo>
                  <a:pt x="3445731" y="230446"/>
                </a:moveTo>
                <a:cubicBezTo>
                  <a:pt x="3442087" y="230446"/>
                  <a:pt x="3443909" y="241379"/>
                  <a:pt x="3449376" y="239557"/>
                </a:cubicBezTo>
                <a:cubicBezTo>
                  <a:pt x="3449376" y="235913"/>
                  <a:pt x="3445731" y="234091"/>
                  <a:pt x="3445731" y="230446"/>
                </a:cubicBezTo>
                <a:close/>
                <a:moveTo>
                  <a:pt x="3019343" y="228624"/>
                </a:moveTo>
                <a:cubicBezTo>
                  <a:pt x="3015698" y="226802"/>
                  <a:pt x="3017521" y="235913"/>
                  <a:pt x="3021165" y="235913"/>
                </a:cubicBezTo>
                <a:cubicBezTo>
                  <a:pt x="3021165" y="232269"/>
                  <a:pt x="3017521" y="232269"/>
                  <a:pt x="3019343" y="228624"/>
                </a:cubicBezTo>
                <a:close/>
                <a:moveTo>
                  <a:pt x="3143250" y="224980"/>
                </a:moveTo>
                <a:cubicBezTo>
                  <a:pt x="3143250" y="232269"/>
                  <a:pt x="3146895" y="234091"/>
                  <a:pt x="3150539" y="234091"/>
                </a:cubicBezTo>
                <a:cubicBezTo>
                  <a:pt x="3150539" y="232269"/>
                  <a:pt x="3150539" y="228624"/>
                  <a:pt x="3150539" y="226802"/>
                </a:cubicBezTo>
                <a:cubicBezTo>
                  <a:pt x="3146895" y="230446"/>
                  <a:pt x="3146895" y="223158"/>
                  <a:pt x="3143250" y="224980"/>
                </a:cubicBezTo>
                <a:close/>
                <a:moveTo>
                  <a:pt x="3114096" y="224980"/>
                </a:moveTo>
                <a:cubicBezTo>
                  <a:pt x="3112274" y="224980"/>
                  <a:pt x="3114096" y="232269"/>
                  <a:pt x="3112274" y="235913"/>
                </a:cubicBezTo>
                <a:cubicBezTo>
                  <a:pt x="3115918" y="234091"/>
                  <a:pt x="3114096" y="228624"/>
                  <a:pt x="3114096" y="224980"/>
                </a:cubicBezTo>
                <a:close/>
                <a:moveTo>
                  <a:pt x="3035742" y="224980"/>
                </a:moveTo>
                <a:cubicBezTo>
                  <a:pt x="3030276" y="224980"/>
                  <a:pt x="3035742" y="232269"/>
                  <a:pt x="3033920" y="235913"/>
                </a:cubicBezTo>
                <a:cubicBezTo>
                  <a:pt x="3037564" y="235913"/>
                  <a:pt x="3039387" y="234091"/>
                  <a:pt x="3039387" y="230446"/>
                </a:cubicBezTo>
                <a:cubicBezTo>
                  <a:pt x="3037564" y="226802"/>
                  <a:pt x="3033920" y="228624"/>
                  <a:pt x="3035742" y="224980"/>
                </a:cubicBezTo>
                <a:close/>
                <a:moveTo>
                  <a:pt x="2345821" y="224980"/>
                </a:moveTo>
                <a:cubicBezTo>
                  <a:pt x="2344227" y="224980"/>
                  <a:pt x="2342405" y="225891"/>
                  <a:pt x="2341494" y="226802"/>
                </a:cubicBezTo>
                <a:cubicBezTo>
                  <a:pt x="2339672" y="232269"/>
                  <a:pt x="2343316" y="230446"/>
                  <a:pt x="2348782" y="228624"/>
                </a:cubicBezTo>
                <a:cubicBezTo>
                  <a:pt x="2348782" y="225891"/>
                  <a:pt x="2347416" y="224980"/>
                  <a:pt x="2345821" y="224980"/>
                </a:cubicBezTo>
                <a:close/>
                <a:moveTo>
                  <a:pt x="3192256" y="223889"/>
                </a:moveTo>
                <a:lnTo>
                  <a:pt x="3194271" y="229307"/>
                </a:lnTo>
                <a:cubicBezTo>
                  <a:pt x="3194727" y="232724"/>
                  <a:pt x="3195183" y="235913"/>
                  <a:pt x="3197916" y="237735"/>
                </a:cubicBezTo>
                <a:lnTo>
                  <a:pt x="3197592" y="238221"/>
                </a:lnTo>
                <a:lnTo>
                  <a:pt x="3192449" y="235913"/>
                </a:lnTo>
                <a:cubicBezTo>
                  <a:pt x="3190627" y="237735"/>
                  <a:pt x="3190627" y="237735"/>
                  <a:pt x="3190627" y="239557"/>
                </a:cubicBezTo>
                <a:cubicBezTo>
                  <a:pt x="3190627" y="241379"/>
                  <a:pt x="3192449" y="241379"/>
                  <a:pt x="3194271" y="241379"/>
                </a:cubicBezTo>
                <a:cubicBezTo>
                  <a:pt x="3192449" y="245024"/>
                  <a:pt x="3196093" y="250490"/>
                  <a:pt x="3192449" y="254135"/>
                </a:cubicBezTo>
                <a:cubicBezTo>
                  <a:pt x="3189716" y="249579"/>
                  <a:pt x="3188349" y="244113"/>
                  <a:pt x="3188349" y="238646"/>
                </a:cubicBezTo>
                <a:close/>
                <a:moveTo>
                  <a:pt x="3191917" y="222980"/>
                </a:moveTo>
                <a:lnTo>
                  <a:pt x="3192449" y="223158"/>
                </a:lnTo>
                <a:lnTo>
                  <a:pt x="3192256" y="223889"/>
                </a:lnTo>
                <a:close/>
                <a:moveTo>
                  <a:pt x="3170583" y="221336"/>
                </a:moveTo>
                <a:cubicBezTo>
                  <a:pt x="3163294" y="223158"/>
                  <a:pt x="3166939" y="235913"/>
                  <a:pt x="3159650" y="232269"/>
                </a:cubicBezTo>
                <a:cubicBezTo>
                  <a:pt x="3152361" y="230446"/>
                  <a:pt x="3157828" y="243202"/>
                  <a:pt x="3159650" y="245024"/>
                </a:cubicBezTo>
                <a:cubicBezTo>
                  <a:pt x="3163294" y="243202"/>
                  <a:pt x="3163294" y="235913"/>
                  <a:pt x="3168761" y="235913"/>
                </a:cubicBezTo>
                <a:cubicBezTo>
                  <a:pt x="3168761" y="241379"/>
                  <a:pt x="3165116" y="245024"/>
                  <a:pt x="3168761" y="246846"/>
                </a:cubicBezTo>
                <a:cubicBezTo>
                  <a:pt x="3172405" y="250490"/>
                  <a:pt x="3168761" y="234091"/>
                  <a:pt x="3174227" y="239557"/>
                </a:cubicBezTo>
                <a:cubicBezTo>
                  <a:pt x="3177872" y="241379"/>
                  <a:pt x="3170583" y="248668"/>
                  <a:pt x="3176050" y="252313"/>
                </a:cubicBezTo>
                <a:cubicBezTo>
                  <a:pt x="3183338" y="245024"/>
                  <a:pt x="3172405" y="234091"/>
                  <a:pt x="3170583" y="221336"/>
                </a:cubicBezTo>
                <a:close/>
                <a:moveTo>
                  <a:pt x="2658552" y="221336"/>
                </a:moveTo>
                <a:cubicBezTo>
                  <a:pt x="2658552" y="224980"/>
                  <a:pt x="2658552" y="226802"/>
                  <a:pt x="2662197" y="226802"/>
                </a:cubicBezTo>
                <a:cubicBezTo>
                  <a:pt x="2664019" y="224980"/>
                  <a:pt x="2662197" y="224980"/>
                  <a:pt x="2662197" y="221336"/>
                </a:cubicBezTo>
                <a:cubicBezTo>
                  <a:pt x="2660374" y="221336"/>
                  <a:pt x="2660374" y="221336"/>
                  <a:pt x="2658552" y="221336"/>
                </a:cubicBezTo>
                <a:close/>
                <a:moveTo>
                  <a:pt x="3086864" y="221313"/>
                </a:moveTo>
                <a:lnTo>
                  <a:pt x="3086829" y="221477"/>
                </a:lnTo>
                <a:lnTo>
                  <a:pt x="3086763" y="221336"/>
                </a:lnTo>
                <a:close/>
                <a:moveTo>
                  <a:pt x="3125029" y="215869"/>
                </a:moveTo>
                <a:cubicBezTo>
                  <a:pt x="3123206" y="223158"/>
                  <a:pt x="3125029" y="235913"/>
                  <a:pt x="3117740" y="241379"/>
                </a:cubicBezTo>
                <a:cubicBezTo>
                  <a:pt x="3112274" y="246846"/>
                  <a:pt x="3125029" y="254135"/>
                  <a:pt x="3128673" y="248668"/>
                </a:cubicBezTo>
                <a:cubicBezTo>
                  <a:pt x="3128673" y="234091"/>
                  <a:pt x="3137784" y="235913"/>
                  <a:pt x="3137784" y="223158"/>
                </a:cubicBezTo>
                <a:cubicBezTo>
                  <a:pt x="3132317" y="228624"/>
                  <a:pt x="3130495" y="221336"/>
                  <a:pt x="3125029" y="215869"/>
                </a:cubicBezTo>
                <a:close/>
                <a:moveTo>
                  <a:pt x="2288651" y="215869"/>
                </a:moveTo>
                <a:lnTo>
                  <a:pt x="2291284" y="217623"/>
                </a:lnTo>
                <a:lnTo>
                  <a:pt x="2289488" y="219120"/>
                </a:lnTo>
                <a:close/>
                <a:moveTo>
                  <a:pt x="2979255" y="214047"/>
                </a:moveTo>
                <a:cubicBezTo>
                  <a:pt x="2975610" y="212225"/>
                  <a:pt x="2973788" y="214047"/>
                  <a:pt x="2973788" y="219513"/>
                </a:cubicBezTo>
                <a:cubicBezTo>
                  <a:pt x="2975610" y="219513"/>
                  <a:pt x="2977432" y="221336"/>
                  <a:pt x="2979255" y="221336"/>
                </a:cubicBezTo>
                <a:cubicBezTo>
                  <a:pt x="2979255" y="219513"/>
                  <a:pt x="2979255" y="215869"/>
                  <a:pt x="2979255" y="214047"/>
                </a:cubicBezTo>
                <a:close/>
                <a:moveTo>
                  <a:pt x="2966884" y="212971"/>
                </a:moveTo>
                <a:lnTo>
                  <a:pt x="2967717" y="213825"/>
                </a:lnTo>
                <a:lnTo>
                  <a:pt x="2966500" y="214047"/>
                </a:lnTo>
                <a:close/>
                <a:moveTo>
                  <a:pt x="2654908" y="212225"/>
                </a:moveTo>
                <a:cubicBezTo>
                  <a:pt x="2653086" y="215869"/>
                  <a:pt x="2656730" y="217691"/>
                  <a:pt x="2660374" y="217691"/>
                </a:cubicBezTo>
                <a:cubicBezTo>
                  <a:pt x="2662197" y="215869"/>
                  <a:pt x="2662197" y="214047"/>
                  <a:pt x="2662197" y="212225"/>
                </a:cubicBezTo>
                <a:cubicBezTo>
                  <a:pt x="2658552" y="210403"/>
                  <a:pt x="2656730" y="212225"/>
                  <a:pt x="2654908" y="212225"/>
                </a:cubicBezTo>
                <a:close/>
                <a:moveTo>
                  <a:pt x="2297762" y="212225"/>
                </a:moveTo>
                <a:cubicBezTo>
                  <a:pt x="2299584" y="212225"/>
                  <a:pt x="2301406" y="217691"/>
                  <a:pt x="2299584" y="219513"/>
                </a:cubicBezTo>
                <a:cubicBezTo>
                  <a:pt x="2297762" y="218602"/>
                  <a:pt x="2295485" y="219057"/>
                  <a:pt x="2293435" y="219057"/>
                </a:cubicBezTo>
                <a:lnTo>
                  <a:pt x="2291284" y="217623"/>
                </a:lnTo>
                <a:close/>
                <a:moveTo>
                  <a:pt x="2532822" y="210403"/>
                </a:moveTo>
                <a:cubicBezTo>
                  <a:pt x="2527356" y="214047"/>
                  <a:pt x="2536466" y="215869"/>
                  <a:pt x="2536466" y="217691"/>
                </a:cubicBezTo>
                <a:cubicBezTo>
                  <a:pt x="2540111" y="217691"/>
                  <a:pt x="2538289" y="214047"/>
                  <a:pt x="2538289" y="210403"/>
                </a:cubicBezTo>
                <a:cubicBezTo>
                  <a:pt x="2536466" y="208580"/>
                  <a:pt x="2532822" y="214047"/>
                  <a:pt x="2532822" y="210403"/>
                </a:cubicBezTo>
                <a:close/>
                <a:moveTo>
                  <a:pt x="2463580" y="210403"/>
                </a:moveTo>
                <a:cubicBezTo>
                  <a:pt x="2463580" y="214047"/>
                  <a:pt x="2467224" y="217691"/>
                  <a:pt x="2461757" y="217691"/>
                </a:cubicBezTo>
                <a:cubicBezTo>
                  <a:pt x="2461757" y="217691"/>
                  <a:pt x="2463580" y="212225"/>
                  <a:pt x="2459935" y="214047"/>
                </a:cubicBezTo>
                <a:cubicBezTo>
                  <a:pt x="2458113" y="219513"/>
                  <a:pt x="2456291" y="224980"/>
                  <a:pt x="2456291" y="232269"/>
                </a:cubicBezTo>
                <a:cubicBezTo>
                  <a:pt x="2461757" y="234091"/>
                  <a:pt x="2465402" y="226802"/>
                  <a:pt x="2469046" y="230446"/>
                </a:cubicBezTo>
                <a:cubicBezTo>
                  <a:pt x="2465402" y="224980"/>
                  <a:pt x="2474513" y="215869"/>
                  <a:pt x="2463580" y="210403"/>
                </a:cubicBezTo>
                <a:close/>
                <a:moveTo>
                  <a:pt x="3166939" y="208580"/>
                </a:moveTo>
                <a:cubicBezTo>
                  <a:pt x="3163294" y="210403"/>
                  <a:pt x="3161472" y="217691"/>
                  <a:pt x="3163294" y="223158"/>
                </a:cubicBezTo>
                <a:cubicBezTo>
                  <a:pt x="3168761" y="221336"/>
                  <a:pt x="3165116" y="212225"/>
                  <a:pt x="3166939" y="208580"/>
                </a:cubicBezTo>
                <a:close/>
                <a:moveTo>
                  <a:pt x="3695369" y="206869"/>
                </a:moveTo>
                <a:lnTo>
                  <a:pt x="3719058" y="228734"/>
                </a:lnTo>
                <a:lnTo>
                  <a:pt x="3702658" y="243312"/>
                </a:lnTo>
                <a:lnTo>
                  <a:pt x="3673503" y="252423"/>
                </a:lnTo>
                <a:cubicBezTo>
                  <a:pt x="3675325" y="217801"/>
                  <a:pt x="3678970" y="232379"/>
                  <a:pt x="3695369" y="206869"/>
                </a:cubicBezTo>
                <a:close/>
                <a:moveTo>
                  <a:pt x="3125029" y="206758"/>
                </a:moveTo>
                <a:cubicBezTo>
                  <a:pt x="3123206" y="210403"/>
                  <a:pt x="3119562" y="210403"/>
                  <a:pt x="3119562" y="214047"/>
                </a:cubicBezTo>
                <a:cubicBezTo>
                  <a:pt x="3123206" y="214047"/>
                  <a:pt x="3128673" y="212225"/>
                  <a:pt x="3125029" y="206758"/>
                </a:cubicBezTo>
                <a:close/>
                <a:moveTo>
                  <a:pt x="2973788" y="206758"/>
                </a:moveTo>
                <a:lnTo>
                  <a:pt x="2973685" y="207047"/>
                </a:lnTo>
                <a:lnTo>
                  <a:pt x="2973408" y="206827"/>
                </a:lnTo>
                <a:close/>
                <a:moveTo>
                  <a:pt x="2662197" y="206758"/>
                </a:moveTo>
                <a:cubicBezTo>
                  <a:pt x="2664019" y="210403"/>
                  <a:pt x="2662197" y="215869"/>
                  <a:pt x="2664019" y="219513"/>
                </a:cubicBezTo>
                <a:cubicBezTo>
                  <a:pt x="2669485" y="215869"/>
                  <a:pt x="2669485" y="223158"/>
                  <a:pt x="2671307" y="223158"/>
                </a:cubicBezTo>
                <a:cubicBezTo>
                  <a:pt x="2676774" y="215869"/>
                  <a:pt x="2671307" y="208580"/>
                  <a:pt x="2662197" y="206758"/>
                </a:cubicBezTo>
                <a:close/>
                <a:moveTo>
                  <a:pt x="3106807" y="204936"/>
                </a:moveTo>
                <a:cubicBezTo>
                  <a:pt x="3106807" y="206758"/>
                  <a:pt x="3106807" y="212225"/>
                  <a:pt x="3104985" y="212225"/>
                </a:cubicBezTo>
                <a:cubicBezTo>
                  <a:pt x="3104985" y="215869"/>
                  <a:pt x="3108629" y="212225"/>
                  <a:pt x="3110451" y="210403"/>
                </a:cubicBezTo>
                <a:cubicBezTo>
                  <a:pt x="3112274" y="206758"/>
                  <a:pt x="3108629" y="206758"/>
                  <a:pt x="3106807" y="204936"/>
                </a:cubicBezTo>
                <a:close/>
                <a:moveTo>
                  <a:pt x="3197916" y="203114"/>
                </a:moveTo>
                <a:cubicBezTo>
                  <a:pt x="3210671" y="201292"/>
                  <a:pt x="3199738" y="226802"/>
                  <a:pt x="3208849" y="219513"/>
                </a:cubicBezTo>
                <a:cubicBezTo>
                  <a:pt x="3207027" y="226802"/>
                  <a:pt x="3208849" y="235913"/>
                  <a:pt x="3205204" y="235913"/>
                </a:cubicBezTo>
                <a:cubicBezTo>
                  <a:pt x="3205204" y="224980"/>
                  <a:pt x="3199738" y="217691"/>
                  <a:pt x="3196093" y="210403"/>
                </a:cubicBezTo>
                <a:cubicBezTo>
                  <a:pt x="3194271" y="214047"/>
                  <a:pt x="3192449" y="215869"/>
                  <a:pt x="3190627" y="219513"/>
                </a:cubicBezTo>
                <a:lnTo>
                  <a:pt x="3191917" y="222980"/>
                </a:lnTo>
                <a:lnTo>
                  <a:pt x="3187520" y="221515"/>
                </a:lnTo>
                <a:lnTo>
                  <a:pt x="3187182" y="220675"/>
                </a:lnTo>
                <a:lnTo>
                  <a:pt x="3189944" y="211541"/>
                </a:lnTo>
                <a:cubicBezTo>
                  <a:pt x="3192449" y="209035"/>
                  <a:pt x="3196094" y="207669"/>
                  <a:pt x="3199738" y="208580"/>
                </a:cubicBezTo>
                <a:lnTo>
                  <a:pt x="3197916" y="206751"/>
                </a:lnTo>
                <a:close/>
                <a:moveTo>
                  <a:pt x="2520067" y="203114"/>
                </a:moveTo>
                <a:cubicBezTo>
                  <a:pt x="2518245" y="208580"/>
                  <a:pt x="2523711" y="206758"/>
                  <a:pt x="2527356" y="208580"/>
                </a:cubicBezTo>
                <a:cubicBezTo>
                  <a:pt x="2529178" y="204936"/>
                  <a:pt x="2523711" y="201292"/>
                  <a:pt x="2520067" y="203114"/>
                </a:cubicBezTo>
                <a:close/>
                <a:moveTo>
                  <a:pt x="2449002" y="203114"/>
                </a:moveTo>
                <a:lnTo>
                  <a:pt x="2449894" y="206680"/>
                </a:lnTo>
                <a:lnTo>
                  <a:pt x="2449458" y="206302"/>
                </a:lnTo>
                <a:lnTo>
                  <a:pt x="2444751" y="207423"/>
                </a:lnTo>
                <a:lnTo>
                  <a:pt x="2444675" y="207213"/>
                </a:lnTo>
                <a:cubicBezTo>
                  <a:pt x="2443991" y="205391"/>
                  <a:pt x="2444447" y="204025"/>
                  <a:pt x="2449002" y="203114"/>
                </a:cubicBezTo>
                <a:close/>
                <a:moveTo>
                  <a:pt x="2106434" y="201292"/>
                </a:moveTo>
                <a:lnTo>
                  <a:pt x="2109395" y="203341"/>
                </a:lnTo>
                <a:cubicBezTo>
                  <a:pt x="2108711" y="204480"/>
                  <a:pt x="2107345" y="205847"/>
                  <a:pt x="2108256" y="206758"/>
                </a:cubicBezTo>
                <a:close/>
                <a:moveTo>
                  <a:pt x="3301780" y="197732"/>
                </a:moveTo>
                <a:lnTo>
                  <a:pt x="3309069" y="208665"/>
                </a:lnTo>
                <a:lnTo>
                  <a:pt x="3301780" y="223243"/>
                </a:lnTo>
                <a:lnTo>
                  <a:pt x="3287202" y="214132"/>
                </a:lnTo>
                <a:close/>
                <a:moveTo>
                  <a:pt x="2540111" y="197647"/>
                </a:moveTo>
                <a:cubicBezTo>
                  <a:pt x="2536466" y="203114"/>
                  <a:pt x="2534644" y="204936"/>
                  <a:pt x="2540111" y="208580"/>
                </a:cubicBezTo>
                <a:cubicBezTo>
                  <a:pt x="2545577" y="206758"/>
                  <a:pt x="2541933" y="201292"/>
                  <a:pt x="2540111" y="197647"/>
                </a:cubicBezTo>
                <a:close/>
                <a:moveTo>
                  <a:pt x="2518245" y="194003"/>
                </a:moveTo>
                <a:cubicBezTo>
                  <a:pt x="2516423" y="195825"/>
                  <a:pt x="2514600" y="195825"/>
                  <a:pt x="2510956" y="195825"/>
                </a:cubicBezTo>
                <a:cubicBezTo>
                  <a:pt x="2510956" y="201292"/>
                  <a:pt x="2510956" y="204936"/>
                  <a:pt x="2516423" y="203114"/>
                </a:cubicBezTo>
                <a:cubicBezTo>
                  <a:pt x="2520067" y="201292"/>
                  <a:pt x="2518245" y="197647"/>
                  <a:pt x="2518245" y="194003"/>
                </a:cubicBezTo>
                <a:close/>
                <a:moveTo>
                  <a:pt x="2369952" y="193743"/>
                </a:moveTo>
                <a:lnTo>
                  <a:pt x="2374293" y="199469"/>
                </a:lnTo>
                <a:lnTo>
                  <a:pt x="2374320" y="199849"/>
                </a:lnTo>
                <a:lnTo>
                  <a:pt x="2370649" y="197647"/>
                </a:lnTo>
                <a:close/>
                <a:moveTo>
                  <a:pt x="2871748" y="190465"/>
                </a:moveTo>
                <a:lnTo>
                  <a:pt x="2889969" y="214153"/>
                </a:lnTo>
                <a:lnTo>
                  <a:pt x="2871748" y="228731"/>
                </a:lnTo>
                <a:lnTo>
                  <a:pt x="2848059" y="214153"/>
                </a:lnTo>
                <a:close/>
                <a:moveTo>
                  <a:pt x="2971966" y="190359"/>
                </a:moveTo>
                <a:lnTo>
                  <a:pt x="2975272" y="192011"/>
                </a:lnTo>
                <a:lnTo>
                  <a:pt x="2971966" y="199469"/>
                </a:lnTo>
                <a:cubicBezTo>
                  <a:pt x="2973788" y="195825"/>
                  <a:pt x="2971966" y="194003"/>
                  <a:pt x="2971966" y="190359"/>
                </a:cubicBezTo>
                <a:close/>
                <a:moveTo>
                  <a:pt x="3004253" y="187255"/>
                </a:moveTo>
                <a:cubicBezTo>
                  <a:pt x="3002374" y="187169"/>
                  <a:pt x="3000666" y="188536"/>
                  <a:pt x="2999299" y="192181"/>
                </a:cubicBezTo>
                <a:cubicBezTo>
                  <a:pt x="2997477" y="192181"/>
                  <a:pt x="2995654" y="192181"/>
                  <a:pt x="2995654" y="188536"/>
                </a:cubicBezTo>
                <a:cubicBezTo>
                  <a:pt x="2988366" y="194003"/>
                  <a:pt x="2986543" y="206758"/>
                  <a:pt x="2997477" y="210403"/>
                </a:cubicBezTo>
                <a:cubicBezTo>
                  <a:pt x="2995654" y="210403"/>
                  <a:pt x="2995654" y="208580"/>
                  <a:pt x="2997477" y="206758"/>
                </a:cubicBezTo>
                <a:cubicBezTo>
                  <a:pt x="2999299" y="208580"/>
                  <a:pt x="3001121" y="212225"/>
                  <a:pt x="3004765" y="214047"/>
                </a:cubicBezTo>
                <a:cubicBezTo>
                  <a:pt x="3002943" y="201292"/>
                  <a:pt x="3013876" y="201292"/>
                  <a:pt x="3021165" y="204936"/>
                </a:cubicBezTo>
                <a:cubicBezTo>
                  <a:pt x="3017065" y="200835"/>
                  <a:pt x="3009890" y="187511"/>
                  <a:pt x="3004253" y="187255"/>
                </a:cubicBezTo>
                <a:close/>
                <a:moveTo>
                  <a:pt x="2363841" y="185684"/>
                </a:moveTo>
                <a:lnTo>
                  <a:pt x="2365778" y="188238"/>
                </a:lnTo>
                <a:lnTo>
                  <a:pt x="2365182" y="188536"/>
                </a:lnTo>
                <a:close/>
                <a:moveTo>
                  <a:pt x="2372471" y="184892"/>
                </a:moveTo>
                <a:cubicBezTo>
                  <a:pt x="2371560" y="187625"/>
                  <a:pt x="2370194" y="189447"/>
                  <a:pt x="2369510" y="191269"/>
                </a:cubicBezTo>
                <a:lnTo>
                  <a:pt x="2369952" y="193743"/>
                </a:lnTo>
                <a:lnTo>
                  <a:pt x="2365778" y="188238"/>
                </a:lnTo>
                <a:close/>
                <a:moveTo>
                  <a:pt x="2745853" y="183723"/>
                </a:moveTo>
                <a:lnTo>
                  <a:pt x="2744194" y="190359"/>
                </a:lnTo>
                <a:lnTo>
                  <a:pt x="2743562" y="185211"/>
                </a:lnTo>
                <a:close/>
                <a:moveTo>
                  <a:pt x="2746016" y="183070"/>
                </a:moveTo>
                <a:lnTo>
                  <a:pt x="2746624" y="183222"/>
                </a:lnTo>
                <a:lnTo>
                  <a:pt x="2745853" y="183723"/>
                </a:lnTo>
                <a:close/>
                <a:moveTo>
                  <a:pt x="2099145" y="183070"/>
                </a:moveTo>
                <a:cubicBezTo>
                  <a:pt x="2099145" y="186714"/>
                  <a:pt x="2099145" y="190359"/>
                  <a:pt x="2102790" y="192181"/>
                </a:cubicBezTo>
                <a:cubicBezTo>
                  <a:pt x="2108256" y="190359"/>
                  <a:pt x="2106433" y="190359"/>
                  <a:pt x="2106433" y="194003"/>
                </a:cubicBezTo>
                <a:cubicBezTo>
                  <a:pt x="2111900" y="195825"/>
                  <a:pt x="2110078" y="190359"/>
                  <a:pt x="2111900" y="188536"/>
                </a:cubicBezTo>
                <a:cubicBezTo>
                  <a:pt x="2106433" y="188536"/>
                  <a:pt x="2104611" y="184892"/>
                  <a:pt x="2099145" y="183070"/>
                </a:cubicBezTo>
                <a:close/>
                <a:moveTo>
                  <a:pt x="2138550" y="181703"/>
                </a:moveTo>
                <a:cubicBezTo>
                  <a:pt x="2136955" y="181248"/>
                  <a:pt x="2135588" y="181248"/>
                  <a:pt x="2135588" y="183070"/>
                </a:cubicBezTo>
                <a:cubicBezTo>
                  <a:pt x="2133766" y="186714"/>
                  <a:pt x="2144699" y="186714"/>
                  <a:pt x="2142877" y="183070"/>
                </a:cubicBezTo>
                <a:cubicBezTo>
                  <a:pt x="2141966" y="183070"/>
                  <a:pt x="2140144" y="182159"/>
                  <a:pt x="2138550" y="181703"/>
                </a:cubicBezTo>
                <a:close/>
                <a:moveTo>
                  <a:pt x="2749661" y="181248"/>
                </a:moveTo>
                <a:lnTo>
                  <a:pt x="2749914" y="183082"/>
                </a:lnTo>
                <a:lnTo>
                  <a:pt x="2749433" y="183924"/>
                </a:lnTo>
                <a:lnTo>
                  <a:pt x="2746624" y="183222"/>
                </a:lnTo>
                <a:close/>
                <a:moveTo>
                  <a:pt x="2662197" y="179426"/>
                </a:moveTo>
                <a:lnTo>
                  <a:pt x="2666134" y="184347"/>
                </a:lnTo>
                <a:lnTo>
                  <a:pt x="2665841" y="184892"/>
                </a:lnTo>
                <a:lnTo>
                  <a:pt x="2664077" y="184040"/>
                </a:lnTo>
                <a:close/>
                <a:moveTo>
                  <a:pt x="2093679" y="179426"/>
                </a:moveTo>
                <a:cubicBezTo>
                  <a:pt x="2090034" y="179426"/>
                  <a:pt x="2091856" y="183070"/>
                  <a:pt x="2091856" y="184892"/>
                </a:cubicBezTo>
                <a:cubicBezTo>
                  <a:pt x="2093679" y="184892"/>
                  <a:pt x="2097323" y="184892"/>
                  <a:pt x="2097323" y="186714"/>
                </a:cubicBezTo>
                <a:cubicBezTo>
                  <a:pt x="2102790" y="184892"/>
                  <a:pt x="2093679" y="184892"/>
                  <a:pt x="2093679" y="179426"/>
                </a:cubicBezTo>
                <a:close/>
                <a:moveTo>
                  <a:pt x="3041209" y="177603"/>
                </a:moveTo>
                <a:cubicBezTo>
                  <a:pt x="3039387" y="186714"/>
                  <a:pt x="3030276" y="192181"/>
                  <a:pt x="3032098" y="199469"/>
                </a:cubicBezTo>
                <a:cubicBezTo>
                  <a:pt x="3033920" y="204936"/>
                  <a:pt x="3044853" y="206758"/>
                  <a:pt x="3044853" y="195825"/>
                </a:cubicBezTo>
                <a:cubicBezTo>
                  <a:pt x="3037564" y="197647"/>
                  <a:pt x="3043031" y="183070"/>
                  <a:pt x="3041209" y="177603"/>
                </a:cubicBezTo>
                <a:close/>
                <a:moveTo>
                  <a:pt x="2959211" y="177603"/>
                </a:moveTo>
                <a:cubicBezTo>
                  <a:pt x="2959211" y="183070"/>
                  <a:pt x="2951922" y="186714"/>
                  <a:pt x="2953744" y="194003"/>
                </a:cubicBezTo>
                <a:cubicBezTo>
                  <a:pt x="2955566" y="195825"/>
                  <a:pt x="2957389" y="197647"/>
                  <a:pt x="2959211" y="195825"/>
                </a:cubicBezTo>
                <a:cubicBezTo>
                  <a:pt x="2959211" y="194003"/>
                  <a:pt x="2959211" y="188536"/>
                  <a:pt x="2957389" y="186714"/>
                </a:cubicBezTo>
                <a:cubicBezTo>
                  <a:pt x="2961033" y="190358"/>
                  <a:pt x="2962400" y="195369"/>
                  <a:pt x="2964450" y="199697"/>
                </a:cubicBezTo>
                <a:lnTo>
                  <a:pt x="2973408" y="206827"/>
                </a:lnTo>
                <a:lnTo>
                  <a:pt x="2968778" y="207669"/>
                </a:lnTo>
                <a:lnTo>
                  <a:pt x="2966884" y="212971"/>
                </a:lnTo>
                <a:lnTo>
                  <a:pt x="2961716" y="207669"/>
                </a:lnTo>
                <a:cubicBezTo>
                  <a:pt x="2954655" y="203113"/>
                  <a:pt x="2944634" y="199469"/>
                  <a:pt x="2937345" y="194003"/>
                </a:cubicBezTo>
                <a:cubicBezTo>
                  <a:pt x="2933700" y="190359"/>
                  <a:pt x="2935523" y="184892"/>
                  <a:pt x="2933700" y="179426"/>
                </a:cubicBezTo>
                <a:cubicBezTo>
                  <a:pt x="2939167" y="183070"/>
                  <a:pt x="2942811" y="192181"/>
                  <a:pt x="2944634" y="195825"/>
                </a:cubicBezTo>
                <a:cubicBezTo>
                  <a:pt x="2951922" y="204936"/>
                  <a:pt x="2951922" y="183070"/>
                  <a:pt x="2959211" y="177603"/>
                </a:cubicBezTo>
                <a:close/>
                <a:moveTo>
                  <a:pt x="2438069" y="177603"/>
                </a:moveTo>
                <a:cubicBezTo>
                  <a:pt x="2427136" y="177603"/>
                  <a:pt x="2418025" y="183070"/>
                  <a:pt x="2408914" y="188536"/>
                </a:cubicBezTo>
                <a:cubicBezTo>
                  <a:pt x="2408914" y="192181"/>
                  <a:pt x="2410737" y="192181"/>
                  <a:pt x="2410737" y="194003"/>
                </a:cubicBezTo>
                <a:cubicBezTo>
                  <a:pt x="2408914" y="192181"/>
                  <a:pt x="2408914" y="190359"/>
                  <a:pt x="2407092" y="190359"/>
                </a:cubicBezTo>
                <a:cubicBezTo>
                  <a:pt x="2405270" y="192181"/>
                  <a:pt x="2399803" y="192181"/>
                  <a:pt x="2397981" y="194003"/>
                </a:cubicBezTo>
                <a:cubicBezTo>
                  <a:pt x="2377937" y="212225"/>
                  <a:pt x="2357893" y="241379"/>
                  <a:pt x="2376115" y="266890"/>
                </a:cubicBezTo>
                <a:cubicBezTo>
                  <a:pt x="2376115" y="268712"/>
                  <a:pt x="2376115" y="268712"/>
                  <a:pt x="2374293" y="270534"/>
                </a:cubicBezTo>
                <a:cubicBezTo>
                  <a:pt x="2372471" y="266890"/>
                  <a:pt x="2368827" y="261423"/>
                  <a:pt x="2367004" y="259601"/>
                </a:cubicBezTo>
                <a:cubicBezTo>
                  <a:pt x="2367004" y="263246"/>
                  <a:pt x="2374293" y="268712"/>
                  <a:pt x="2368827" y="274179"/>
                </a:cubicBezTo>
                <a:cubicBezTo>
                  <a:pt x="2367004" y="274179"/>
                  <a:pt x="2368827" y="266890"/>
                  <a:pt x="2363360" y="268712"/>
                </a:cubicBezTo>
                <a:cubicBezTo>
                  <a:pt x="2367004" y="270534"/>
                  <a:pt x="2365182" y="276001"/>
                  <a:pt x="2365182" y="277823"/>
                </a:cubicBezTo>
                <a:cubicBezTo>
                  <a:pt x="2363360" y="276001"/>
                  <a:pt x="2361538" y="274179"/>
                  <a:pt x="2365182" y="279645"/>
                </a:cubicBezTo>
                <a:cubicBezTo>
                  <a:pt x="2352427" y="297867"/>
                  <a:pt x="2356071" y="316089"/>
                  <a:pt x="2357893" y="334310"/>
                </a:cubicBezTo>
                <a:lnTo>
                  <a:pt x="2363198" y="333630"/>
                </a:lnTo>
                <a:lnTo>
                  <a:pt x="2361310" y="338182"/>
                </a:lnTo>
                <a:cubicBezTo>
                  <a:pt x="2360627" y="342054"/>
                  <a:pt x="2360627" y="346154"/>
                  <a:pt x="2361538" y="348888"/>
                </a:cubicBezTo>
                <a:cubicBezTo>
                  <a:pt x="2367004" y="348888"/>
                  <a:pt x="2365182" y="343421"/>
                  <a:pt x="2368827" y="339777"/>
                </a:cubicBezTo>
                <a:lnTo>
                  <a:pt x="2366631" y="333190"/>
                </a:lnTo>
                <a:lnTo>
                  <a:pt x="2366777" y="333171"/>
                </a:lnTo>
                <a:cubicBezTo>
                  <a:pt x="2369738" y="333399"/>
                  <a:pt x="2372471" y="333399"/>
                  <a:pt x="2374293" y="330666"/>
                </a:cubicBezTo>
                <a:cubicBezTo>
                  <a:pt x="2376115" y="327022"/>
                  <a:pt x="2376115" y="321555"/>
                  <a:pt x="2372471" y="319733"/>
                </a:cubicBezTo>
                <a:cubicBezTo>
                  <a:pt x="2377937" y="321555"/>
                  <a:pt x="2376115" y="327022"/>
                  <a:pt x="2379760" y="328844"/>
                </a:cubicBezTo>
                <a:cubicBezTo>
                  <a:pt x="2379760" y="325199"/>
                  <a:pt x="2379760" y="323377"/>
                  <a:pt x="2381582" y="321555"/>
                </a:cubicBezTo>
                <a:lnTo>
                  <a:pt x="2391848" y="315531"/>
                </a:lnTo>
                <a:lnTo>
                  <a:pt x="2383404" y="325199"/>
                </a:lnTo>
                <a:cubicBezTo>
                  <a:pt x="2381582" y="330666"/>
                  <a:pt x="2381582" y="336133"/>
                  <a:pt x="2385226" y="339777"/>
                </a:cubicBezTo>
                <a:cubicBezTo>
                  <a:pt x="2387048" y="334310"/>
                  <a:pt x="2390693" y="328844"/>
                  <a:pt x="2387048" y="325199"/>
                </a:cubicBezTo>
                <a:cubicBezTo>
                  <a:pt x="2394337" y="330666"/>
                  <a:pt x="2403448" y="332488"/>
                  <a:pt x="2410737" y="325199"/>
                </a:cubicBezTo>
                <a:cubicBezTo>
                  <a:pt x="2412559" y="321555"/>
                  <a:pt x="2408914" y="316089"/>
                  <a:pt x="2408914" y="312444"/>
                </a:cubicBezTo>
                <a:cubicBezTo>
                  <a:pt x="2410737" y="305155"/>
                  <a:pt x="2416203" y="316089"/>
                  <a:pt x="2416203" y="308800"/>
                </a:cubicBezTo>
                <a:cubicBezTo>
                  <a:pt x="2425314" y="316089"/>
                  <a:pt x="2408914" y="321555"/>
                  <a:pt x="2414381" y="323377"/>
                </a:cubicBezTo>
                <a:cubicBezTo>
                  <a:pt x="2425314" y="328844"/>
                  <a:pt x="2430780" y="314266"/>
                  <a:pt x="2423492" y="303333"/>
                </a:cubicBezTo>
                <a:cubicBezTo>
                  <a:pt x="2427136" y="303333"/>
                  <a:pt x="2427136" y="306978"/>
                  <a:pt x="2428958" y="308800"/>
                </a:cubicBezTo>
                <a:lnTo>
                  <a:pt x="2430643" y="300376"/>
                </a:lnTo>
                <a:lnTo>
                  <a:pt x="2438069" y="301511"/>
                </a:lnTo>
                <a:cubicBezTo>
                  <a:pt x="2438069" y="299689"/>
                  <a:pt x="2439891" y="299689"/>
                  <a:pt x="2439891" y="297867"/>
                </a:cubicBezTo>
                <a:cubicBezTo>
                  <a:pt x="2447180" y="303333"/>
                  <a:pt x="2459935" y="314266"/>
                  <a:pt x="2447180" y="321555"/>
                </a:cubicBezTo>
                <a:cubicBezTo>
                  <a:pt x="2452647" y="327022"/>
                  <a:pt x="2456291" y="321555"/>
                  <a:pt x="2459935" y="319733"/>
                </a:cubicBezTo>
                <a:cubicBezTo>
                  <a:pt x="2463580" y="317911"/>
                  <a:pt x="2465402" y="314266"/>
                  <a:pt x="2469046" y="312444"/>
                </a:cubicBezTo>
                <a:lnTo>
                  <a:pt x="2461757" y="305155"/>
                </a:lnTo>
                <a:lnTo>
                  <a:pt x="2470868" y="288756"/>
                </a:lnTo>
                <a:lnTo>
                  <a:pt x="2461757" y="274179"/>
                </a:lnTo>
                <a:lnTo>
                  <a:pt x="2487268" y="274179"/>
                </a:lnTo>
                <a:cubicBezTo>
                  <a:pt x="2487268" y="268712"/>
                  <a:pt x="2483624" y="263246"/>
                  <a:pt x="2479979" y="257779"/>
                </a:cubicBezTo>
                <a:cubicBezTo>
                  <a:pt x="2478157" y="257779"/>
                  <a:pt x="2476335" y="257779"/>
                  <a:pt x="2474513" y="255957"/>
                </a:cubicBezTo>
                <a:cubicBezTo>
                  <a:pt x="2470868" y="250490"/>
                  <a:pt x="2474513" y="243202"/>
                  <a:pt x="2469046" y="241379"/>
                </a:cubicBezTo>
                <a:cubicBezTo>
                  <a:pt x="2465402" y="239557"/>
                  <a:pt x="2461757" y="241379"/>
                  <a:pt x="2459935" y="243202"/>
                </a:cubicBezTo>
                <a:cubicBezTo>
                  <a:pt x="2459935" y="239557"/>
                  <a:pt x="2459935" y="237735"/>
                  <a:pt x="2459935" y="235913"/>
                </a:cubicBezTo>
                <a:cubicBezTo>
                  <a:pt x="2458113" y="235913"/>
                  <a:pt x="2456291" y="235913"/>
                  <a:pt x="2454469" y="235913"/>
                </a:cubicBezTo>
                <a:cubicBezTo>
                  <a:pt x="2458113" y="232269"/>
                  <a:pt x="2458113" y="226802"/>
                  <a:pt x="2458113" y="221336"/>
                </a:cubicBezTo>
                <a:cubicBezTo>
                  <a:pt x="2450824" y="223158"/>
                  <a:pt x="2439891" y="219513"/>
                  <a:pt x="2438069" y="228624"/>
                </a:cubicBezTo>
                <a:cubicBezTo>
                  <a:pt x="2438069" y="228624"/>
                  <a:pt x="2436247" y="226802"/>
                  <a:pt x="2436247" y="226802"/>
                </a:cubicBezTo>
                <a:cubicBezTo>
                  <a:pt x="2434425" y="226802"/>
                  <a:pt x="2434425" y="226802"/>
                  <a:pt x="2432603" y="228624"/>
                </a:cubicBezTo>
                <a:cubicBezTo>
                  <a:pt x="2432603" y="224980"/>
                  <a:pt x="2439891" y="224980"/>
                  <a:pt x="2438069" y="221336"/>
                </a:cubicBezTo>
                <a:cubicBezTo>
                  <a:pt x="2436247" y="215869"/>
                  <a:pt x="2428958" y="223158"/>
                  <a:pt x="2430780" y="228624"/>
                </a:cubicBezTo>
                <a:cubicBezTo>
                  <a:pt x="2427136" y="226802"/>
                  <a:pt x="2427136" y="223158"/>
                  <a:pt x="2428958" y="221336"/>
                </a:cubicBezTo>
                <a:cubicBezTo>
                  <a:pt x="2425314" y="214047"/>
                  <a:pt x="2423492" y="217691"/>
                  <a:pt x="2414381" y="215869"/>
                </a:cubicBezTo>
                <a:cubicBezTo>
                  <a:pt x="2414381" y="214047"/>
                  <a:pt x="2412559" y="212225"/>
                  <a:pt x="2412559" y="210403"/>
                </a:cubicBezTo>
                <a:cubicBezTo>
                  <a:pt x="2419847" y="203114"/>
                  <a:pt x="2428958" y="215869"/>
                  <a:pt x="2438069" y="210403"/>
                </a:cubicBezTo>
                <a:cubicBezTo>
                  <a:pt x="2434425" y="208580"/>
                  <a:pt x="2438069" y="204936"/>
                  <a:pt x="2436247" y="203114"/>
                </a:cubicBezTo>
                <a:cubicBezTo>
                  <a:pt x="2438069" y="204936"/>
                  <a:pt x="2438069" y="206758"/>
                  <a:pt x="2439891" y="208580"/>
                </a:cubicBezTo>
                <a:lnTo>
                  <a:pt x="2444751" y="207423"/>
                </a:lnTo>
                <a:lnTo>
                  <a:pt x="2447180" y="214047"/>
                </a:lnTo>
                <a:cubicBezTo>
                  <a:pt x="2449002" y="214047"/>
                  <a:pt x="2452647" y="212225"/>
                  <a:pt x="2452647" y="212225"/>
                </a:cubicBezTo>
                <a:cubicBezTo>
                  <a:pt x="2452647" y="209491"/>
                  <a:pt x="2451281" y="208580"/>
                  <a:pt x="2450142" y="207669"/>
                </a:cubicBezTo>
                <a:lnTo>
                  <a:pt x="2449894" y="206680"/>
                </a:lnTo>
                <a:lnTo>
                  <a:pt x="2456291" y="212225"/>
                </a:lnTo>
                <a:cubicBezTo>
                  <a:pt x="2456291" y="206758"/>
                  <a:pt x="2459935" y="203114"/>
                  <a:pt x="2458113" y="197647"/>
                </a:cubicBezTo>
                <a:cubicBezTo>
                  <a:pt x="2454469" y="188536"/>
                  <a:pt x="2447180" y="179426"/>
                  <a:pt x="2438069" y="177603"/>
                </a:cubicBezTo>
                <a:close/>
                <a:moveTo>
                  <a:pt x="2193898" y="177603"/>
                </a:moveTo>
                <a:cubicBezTo>
                  <a:pt x="2186609" y="175781"/>
                  <a:pt x="2184787" y="179426"/>
                  <a:pt x="2181143" y="181248"/>
                </a:cubicBezTo>
                <a:cubicBezTo>
                  <a:pt x="2182965" y="190359"/>
                  <a:pt x="2190253" y="194003"/>
                  <a:pt x="2199364" y="195825"/>
                </a:cubicBezTo>
                <a:cubicBezTo>
                  <a:pt x="2199364" y="192181"/>
                  <a:pt x="2203009" y="190359"/>
                  <a:pt x="2204831" y="184892"/>
                </a:cubicBezTo>
                <a:cubicBezTo>
                  <a:pt x="2197542" y="186714"/>
                  <a:pt x="2195720" y="183070"/>
                  <a:pt x="2193898" y="177603"/>
                </a:cubicBezTo>
                <a:close/>
                <a:moveTo>
                  <a:pt x="2292295" y="175781"/>
                </a:moveTo>
                <a:cubicBezTo>
                  <a:pt x="2294117" y="179426"/>
                  <a:pt x="2295940" y="181248"/>
                  <a:pt x="2301406" y="181248"/>
                </a:cubicBezTo>
                <a:cubicBezTo>
                  <a:pt x="2301406" y="175781"/>
                  <a:pt x="2294117" y="177603"/>
                  <a:pt x="2292295" y="175781"/>
                </a:cubicBezTo>
                <a:close/>
                <a:moveTo>
                  <a:pt x="2170210" y="175781"/>
                </a:moveTo>
                <a:cubicBezTo>
                  <a:pt x="2164743" y="177603"/>
                  <a:pt x="2155632" y="177603"/>
                  <a:pt x="2153810" y="183070"/>
                </a:cubicBezTo>
                <a:cubicBezTo>
                  <a:pt x="2157454" y="179426"/>
                  <a:pt x="2162921" y="183070"/>
                  <a:pt x="2168387" y="183070"/>
                </a:cubicBezTo>
                <a:cubicBezTo>
                  <a:pt x="2166565" y="177603"/>
                  <a:pt x="2173854" y="179426"/>
                  <a:pt x="2170210" y="175781"/>
                </a:cubicBezTo>
                <a:close/>
                <a:moveTo>
                  <a:pt x="2645342" y="175667"/>
                </a:moveTo>
                <a:cubicBezTo>
                  <a:pt x="2647278" y="176009"/>
                  <a:pt x="2649897" y="177147"/>
                  <a:pt x="2652631" y="178514"/>
                </a:cubicBezTo>
                <a:lnTo>
                  <a:pt x="2664077" y="184040"/>
                </a:lnTo>
                <a:lnTo>
                  <a:pt x="2664702" y="185575"/>
                </a:lnTo>
                <a:cubicBezTo>
                  <a:pt x="2664475" y="187625"/>
                  <a:pt x="2663108" y="189447"/>
                  <a:pt x="2660374" y="190359"/>
                </a:cubicBezTo>
                <a:cubicBezTo>
                  <a:pt x="2660374" y="188536"/>
                  <a:pt x="2660374" y="188536"/>
                  <a:pt x="2660374" y="186714"/>
                </a:cubicBezTo>
                <a:cubicBezTo>
                  <a:pt x="2658552" y="184892"/>
                  <a:pt x="2656730" y="186714"/>
                  <a:pt x="2658552" y="188536"/>
                </a:cubicBezTo>
                <a:cubicBezTo>
                  <a:pt x="2656730" y="188536"/>
                  <a:pt x="2656730" y="186714"/>
                  <a:pt x="2656730" y="184892"/>
                </a:cubicBezTo>
                <a:cubicBezTo>
                  <a:pt x="2651263" y="186714"/>
                  <a:pt x="2653086" y="192181"/>
                  <a:pt x="2653086" y="197647"/>
                </a:cubicBezTo>
                <a:cubicBezTo>
                  <a:pt x="2651263" y="197647"/>
                  <a:pt x="2651263" y="197647"/>
                  <a:pt x="2649441" y="197647"/>
                </a:cubicBezTo>
                <a:cubicBezTo>
                  <a:pt x="2651263" y="195825"/>
                  <a:pt x="2649441" y="192181"/>
                  <a:pt x="2651263" y="190359"/>
                </a:cubicBezTo>
                <a:cubicBezTo>
                  <a:pt x="2647619" y="188536"/>
                  <a:pt x="2645797" y="188536"/>
                  <a:pt x="2643975" y="190359"/>
                </a:cubicBezTo>
                <a:cubicBezTo>
                  <a:pt x="2642153" y="197647"/>
                  <a:pt x="2643975" y="204936"/>
                  <a:pt x="2638508" y="208580"/>
                </a:cubicBezTo>
                <a:cubicBezTo>
                  <a:pt x="2640330" y="201292"/>
                  <a:pt x="2640330" y="192181"/>
                  <a:pt x="2638508" y="183070"/>
                </a:cubicBezTo>
                <a:cubicBezTo>
                  <a:pt x="2643975" y="181248"/>
                  <a:pt x="2645797" y="183070"/>
                  <a:pt x="2647619" y="188536"/>
                </a:cubicBezTo>
                <a:cubicBezTo>
                  <a:pt x="2649441" y="183070"/>
                  <a:pt x="2640330" y="179426"/>
                  <a:pt x="2642153" y="177603"/>
                </a:cubicBezTo>
                <a:cubicBezTo>
                  <a:pt x="2642153" y="175781"/>
                  <a:pt x="2643406" y="175325"/>
                  <a:pt x="2645342" y="175667"/>
                </a:cubicBezTo>
                <a:close/>
                <a:moveTo>
                  <a:pt x="3129748" y="175624"/>
                </a:moveTo>
                <a:lnTo>
                  <a:pt x="3131635" y="176464"/>
                </a:lnTo>
                <a:lnTo>
                  <a:pt x="3133135" y="179328"/>
                </a:lnTo>
                <a:lnTo>
                  <a:pt x="3132510" y="179617"/>
                </a:lnTo>
                <a:lnTo>
                  <a:pt x="3130495" y="177603"/>
                </a:lnTo>
                <a:lnTo>
                  <a:pt x="3129663" y="180931"/>
                </a:lnTo>
                <a:lnTo>
                  <a:pt x="3127888" y="181750"/>
                </a:lnTo>
                <a:lnTo>
                  <a:pt x="3126951" y="178002"/>
                </a:lnTo>
                <a:lnTo>
                  <a:pt x="3127534" y="176464"/>
                </a:lnTo>
                <a:close/>
                <a:moveTo>
                  <a:pt x="3012054" y="173959"/>
                </a:moveTo>
                <a:cubicBezTo>
                  <a:pt x="3008410" y="172137"/>
                  <a:pt x="3008410" y="183070"/>
                  <a:pt x="3012054" y="181248"/>
                </a:cubicBezTo>
                <a:cubicBezTo>
                  <a:pt x="3013876" y="177603"/>
                  <a:pt x="3010232" y="177603"/>
                  <a:pt x="3012054" y="173959"/>
                </a:cubicBezTo>
                <a:close/>
                <a:moveTo>
                  <a:pt x="2305050" y="173959"/>
                </a:moveTo>
                <a:cubicBezTo>
                  <a:pt x="2301406" y="172137"/>
                  <a:pt x="2303228" y="183070"/>
                  <a:pt x="2306873" y="181248"/>
                </a:cubicBezTo>
                <a:cubicBezTo>
                  <a:pt x="2306873" y="179426"/>
                  <a:pt x="2305050" y="177603"/>
                  <a:pt x="2305050" y="173959"/>
                </a:cubicBezTo>
                <a:close/>
                <a:moveTo>
                  <a:pt x="2348412" y="173076"/>
                </a:moveTo>
                <a:lnTo>
                  <a:pt x="2355355" y="176946"/>
                </a:lnTo>
                <a:lnTo>
                  <a:pt x="2354249" y="177603"/>
                </a:lnTo>
                <a:cubicBezTo>
                  <a:pt x="2350605" y="176692"/>
                  <a:pt x="2349238" y="175781"/>
                  <a:pt x="2347644" y="175097"/>
                </a:cubicBezTo>
                <a:lnTo>
                  <a:pt x="2342512" y="174364"/>
                </a:lnTo>
                <a:close/>
                <a:moveTo>
                  <a:pt x="2733261" y="172137"/>
                </a:moveTo>
                <a:cubicBezTo>
                  <a:pt x="2731439" y="177603"/>
                  <a:pt x="2725973" y="177603"/>
                  <a:pt x="2725973" y="183070"/>
                </a:cubicBezTo>
                <a:cubicBezTo>
                  <a:pt x="2729617" y="184892"/>
                  <a:pt x="2733261" y="175781"/>
                  <a:pt x="2733261" y="172137"/>
                </a:cubicBezTo>
                <a:close/>
                <a:moveTo>
                  <a:pt x="3114096" y="170315"/>
                </a:moveTo>
                <a:cubicBezTo>
                  <a:pt x="3123206" y="164848"/>
                  <a:pt x="3126851" y="175781"/>
                  <a:pt x="3134140" y="173959"/>
                </a:cubicBezTo>
                <a:lnTo>
                  <a:pt x="3129748" y="175624"/>
                </a:lnTo>
                <a:lnTo>
                  <a:pt x="3125684" y="173816"/>
                </a:lnTo>
                <a:cubicBezTo>
                  <a:pt x="3122866" y="172820"/>
                  <a:pt x="3119107" y="171681"/>
                  <a:pt x="3114096" y="170315"/>
                </a:cubicBezTo>
                <a:close/>
                <a:moveTo>
                  <a:pt x="3041209" y="170315"/>
                </a:moveTo>
                <a:cubicBezTo>
                  <a:pt x="3037564" y="170315"/>
                  <a:pt x="3035742" y="173959"/>
                  <a:pt x="3035742" y="179426"/>
                </a:cubicBezTo>
                <a:cubicBezTo>
                  <a:pt x="3037564" y="179426"/>
                  <a:pt x="3041209" y="172137"/>
                  <a:pt x="3043031" y="177603"/>
                </a:cubicBezTo>
                <a:cubicBezTo>
                  <a:pt x="3046675" y="175781"/>
                  <a:pt x="3039387" y="173959"/>
                  <a:pt x="3041209" y="170315"/>
                </a:cubicBezTo>
                <a:close/>
                <a:moveTo>
                  <a:pt x="2154949" y="169859"/>
                </a:moveTo>
                <a:cubicBezTo>
                  <a:pt x="2151988" y="170770"/>
                  <a:pt x="2149255" y="172137"/>
                  <a:pt x="2144699" y="172137"/>
                </a:cubicBezTo>
                <a:cubicBezTo>
                  <a:pt x="2144699" y="175781"/>
                  <a:pt x="2144699" y="179426"/>
                  <a:pt x="2148344" y="179426"/>
                </a:cubicBezTo>
                <a:cubicBezTo>
                  <a:pt x="2153810" y="175781"/>
                  <a:pt x="2162921" y="175781"/>
                  <a:pt x="2166565" y="170315"/>
                </a:cubicBezTo>
                <a:cubicBezTo>
                  <a:pt x="2161099" y="168492"/>
                  <a:pt x="2157910" y="168948"/>
                  <a:pt x="2154949" y="169859"/>
                </a:cubicBezTo>
                <a:close/>
                <a:moveTo>
                  <a:pt x="2266557" y="168948"/>
                </a:moveTo>
                <a:lnTo>
                  <a:pt x="2268078" y="170060"/>
                </a:lnTo>
                <a:lnTo>
                  <a:pt x="2264963" y="170315"/>
                </a:lnTo>
                <a:lnTo>
                  <a:pt x="2265368" y="169100"/>
                </a:lnTo>
                <a:close/>
                <a:moveTo>
                  <a:pt x="2102023" y="167189"/>
                </a:moveTo>
                <a:lnTo>
                  <a:pt x="2102790" y="167416"/>
                </a:lnTo>
                <a:lnTo>
                  <a:pt x="2102790" y="168493"/>
                </a:lnTo>
                <a:close/>
                <a:moveTo>
                  <a:pt x="2392515" y="164848"/>
                </a:moveTo>
                <a:cubicBezTo>
                  <a:pt x="2391604" y="165759"/>
                  <a:pt x="2392060" y="167581"/>
                  <a:pt x="2392060" y="169176"/>
                </a:cubicBezTo>
                <a:lnTo>
                  <a:pt x="2390974" y="170184"/>
                </a:lnTo>
                <a:lnTo>
                  <a:pt x="2391435" y="165865"/>
                </a:lnTo>
                <a:close/>
                <a:moveTo>
                  <a:pt x="2729617" y="163026"/>
                </a:moveTo>
                <a:cubicBezTo>
                  <a:pt x="2724150" y="163026"/>
                  <a:pt x="2727795" y="168493"/>
                  <a:pt x="2724150" y="175781"/>
                </a:cubicBezTo>
                <a:cubicBezTo>
                  <a:pt x="2727795" y="173959"/>
                  <a:pt x="2729617" y="172137"/>
                  <a:pt x="2731439" y="172137"/>
                </a:cubicBezTo>
                <a:cubicBezTo>
                  <a:pt x="2731439" y="168493"/>
                  <a:pt x="2727795" y="168493"/>
                  <a:pt x="2729617" y="163026"/>
                </a:cubicBezTo>
                <a:close/>
                <a:moveTo>
                  <a:pt x="2582021" y="163026"/>
                </a:moveTo>
                <a:cubicBezTo>
                  <a:pt x="2576554" y="168493"/>
                  <a:pt x="2578377" y="177603"/>
                  <a:pt x="2587487" y="179426"/>
                </a:cubicBezTo>
                <a:cubicBezTo>
                  <a:pt x="2585665" y="175781"/>
                  <a:pt x="2582021" y="172137"/>
                  <a:pt x="2585665" y="168493"/>
                </a:cubicBezTo>
                <a:cubicBezTo>
                  <a:pt x="2582021" y="172137"/>
                  <a:pt x="2585665" y="163026"/>
                  <a:pt x="2582021" y="163026"/>
                </a:cubicBezTo>
                <a:close/>
                <a:moveTo>
                  <a:pt x="2102790" y="163026"/>
                </a:moveTo>
                <a:cubicBezTo>
                  <a:pt x="2104611" y="163026"/>
                  <a:pt x="2106433" y="164848"/>
                  <a:pt x="2106433" y="168493"/>
                </a:cubicBezTo>
                <a:lnTo>
                  <a:pt x="2102790" y="167416"/>
                </a:lnTo>
                <a:close/>
                <a:moveTo>
                  <a:pt x="2705929" y="161646"/>
                </a:moveTo>
                <a:lnTo>
                  <a:pt x="2705929" y="172137"/>
                </a:lnTo>
                <a:cubicBezTo>
                  <a:pt x="2704106" y="164848"/>
                  <a:pt x="2704106" y="170315"/>
                  <a:pt x="2698640" y="168493"/>
                </a:cubicBezTo>
                <a:cubicBezTo>
                  <a:pt x="2704106" y="177603"/>
                  <a:pt x="2694996" y="186714"/>
                  <a:pt x="2687707" y="190359"/>
                </a:cubicBezTo>
                <a:lnTo>
                  <a:pt x="2684776" y="185278"/>
                </a:lnTo>
                <a:lnTo>
                  <a:pt x="2693401" y="172820"/>
                </a:lnTo>
                <a:close/>
                <a:moveTo>
                  <a:pt x="3039387" y="161204"/>
                </a:moveTo>
                <a:cubicBezTo>
                  <a:pt x="3033920" y="164848"/>
                  <a:pt x="3028453" y="159382"/>
                  <a:pt x="3030276" y="172137"/>
                </a:cubicBezTo>
                <a:cubicBezTo>
                  <a:pt x="3033920" y="168493"/>
                  <a:pt x="3039387" y="168493"/>
                  <a:pt x="3039387" y="161204"/>
                </a:cubicBezTo>
                <a:close/>
                <a:moveTo>
                  <a:pt x="2186609" y="159382"/>
                </a:moveTo>
                <a:cubicBezTo>
                  <a:pt x="2190253" y="164848"/>
                  <a:pt x="2190253" y="166670"/>
                  <a:pt x="2190253" y="172137"/>
                </a:cubicBezTo>
                <a:cubicBezTo>
                  <a:pt x="2199364" y="172137"/>
                  <a:pt x="2204831" y="170315"/>
                  <a:pt x="2203009" y="163026"/>
                </a:cubicBezTo>
                <a:cubicBezTo>
                  <a:pt x="2197542" y="163026"/>
                  <a:pt x="2193898" y="161204"/>
                  <a:pt x="2186609" y="159382"/>
                </a:cubicBezTo>
                <a:close/>
                <a:moveTo>
                  <a:pt x="2962856" y="157559"/>
                </a:moveTo>
                <a:lnTo>
                  <a:pt x="2965816" y="163026"/>
                </a:lnTo>
                <a:cubicBezTo>
                  <a:pt x="2966500" y="164848"/>
                  <a:pt x="2966500" y="166670"/>
                  <a:pt x="2964677" y="168493"/>
                </a:cubicBezTo>
                <a:cubicBezTo>
                  <a:pt x="2961944" y="165759"/>
                  <a:pt x="2961033" y="162570"/>
                  <a:pt x="2961489" y="159609"/>
                </a:cubicBezTo>
                <a:close/>
                <a:moveTo>
                  <a:pt x="2705929" y="157559"/>
                </a:moveTo>
                <a:lnTo>
                  <a:pt x="2708090" y="159720"/>
                </a:lnTo>
                <a:lnTo>
                  <a:pt x="2705929" y="161646"/>
                </a:lnTo>
                <a:close/>
                <a:moveTo>
                  <a:pt x="2244919" y="157559"/>
                </a:moveTo>
                <a:cubicBezTo>
                  <a:pt x="2232163" y="159382"/>
                  <a:pt x="2246741" y="164848"/>
                  <a:pt x="2239452" y="164848"/>
                </a:cubicBezTo>
                <a:cubicBezTo>
                  <a:pt x="2241274" y="166670"/>
                  <a:pt x="2243096" y="166670"/>
                  <a:pt x="2244919" y="164848"/>
                </a:cubicBezTo>
                <a:cubicBezTo>
                  <a:pt x="2243096" y="161204"/>
                  <a:pt x="2246741" y="161204"/>
                  <a:pt x="2244919" y="157559"/>
                </a:cubicBezTo>
                <a:close/>
                <a:moveTo>
                  <a:pt x="2710961" y="157159"/>
                </a:moveTo>
                <a:lnTo>
                  <a:pt x="2711395" y="163026"/>
                </a:lnTo>
                <a:lnTo>
                  <a:pt x="2708090" y="159720"/>
                </a:lnTo>
                <a:close/>
                <a:moveTo>
                  <a:pt x="3024809" y="155737"/>
                </a:moveTo>
                <a:cubicBezTo>
                  <a:pt x="3022987" y="164848"/>
                  <a:pt x="3013876" y="177603"/>
                  <a:pt x="3019343" y="190359"/>
                </a:cubicBezTo>
                <a:cubicBezTo>
                  <a:pt x="3032098" y="188536"/>
                  <a:pt x="3028453" y="163026"/>
                  <a:pt x="3024809" y="155737"/>
                </a:cubicBezTo>
                <a:close/>
                <a:moveTo>
                  <a:pt x="3004765" y="155737"/>
                </a:moveTo>
                <a:cubicBezTo>
                  <a:pt x="3001121" y="157559"/>
                  <a:pt x="3001121" y="161204"/>
                  <a:pt x="3001121" y="168493"/>
                </a:cubicBezTo>
                <a:cubicBezTo>
                  <a:pt x="3004765" y="168493"/>
                  <a:pt x="3006587" y="166670"/>
                  <a:pt x="3008410" y="166670"/>
                </a:cubicBezTo>
                <a:cubicBezTo>
                  <a:pt x="3006587" y="161204"/>
                  <a:pt x="3002943" y="161204"/>
                  <a:pt x="3004765" y="155737"/>
                </a:cubicBezTo>
                <a:close/>
                <a:moveTo>
                  <a:pt x="2567443" y="153915"/>
                </a:moveTo>
                <a:cubicBezTo>
                  <a:pt x="2561977" y="157559"/>
                  <a:pt x="2565621" y="164848"/>
                  <a:pt x="2571088" y="164848"/>
                </a:cubicBezTo>
                <a:cubicBezTo>
                  <a:pt x="2572910" y="157559"/>
                  <a:pt x="2567443" y="157559"/>
                  <a:pt x="2567443" y="153915"/>
                </a:cubicBezTo>
                <a:close/>
                <a:moveTo>
                  <a:pt x="2552866" y="153915"/>
                </a:moveTo>
                <a:cubicBezTo>
                  <a:pt x="2552866" y="159382"/>
                  <a:pt x="2556510" y="161204"/>
                  <a:pt x="2561977" y="163026"/>
                </a:cubicBezTo>
                <a:cubicBezTo>
                  <a:pt x="2558332" y="161204"/>
                  <a:pt x="2561977" y="153915"/>
                  <a:pt x="2552866" y="153915"/>
                </a:cubicBezTo>
                <a:close/>
                <a:moveTo>
                  <a:pt x="2294117" y="153915"/>
                </a:moveTo>
                <a:cubicBezTo>
                  <a:pt x="2286829" y="155737"/>
                  <a:pt x="2288651" y="161204"/>
                  <a:pt x="2288651" y="166670"/>
                </a:cubicBezTo>
                <a:cubicBezTo>
                  <a:pt x="2294117" y="164848"/>
                  <a:pt x="2292295" y="157559"/>
                  <a:pt x="2294117" y="153915"/>
                </a:cubicBezTo>
                <a:close/>
                <a:moveTo>
                  <a:pt x="2175676" y="153915"/>
                </a:moveTo>
                <a:cubicBezTo>
                  <a:pt x="2168387" y="155737"/>
                  <a:pt x="2177498" y="161204"/>
                  <a:pt x="2177498" y="163026"/>
                </a:cubicBezTo>
                <a:cubicBezTo>
                  <a:pt x="2175676" y="166670"/>
                  <a:pt x="2173854" y="163026"/>
                  <a:pt x="2172032" y="164848"/>
                </a:cubicBezTo>
                <a:cubicBezTo>
                  <a:pt x="2177498" y="168493"/>
                  <a:pt x="2181143" y="170315"/>
                  <a:pt x="2188431" y="170315"/>
                </a:cubicBezTo>
                <a:cubicBezTo>
                  <a:pt x="2188431" y="163026"/>
                  <a:pt x="2182965" y="157559"/>
                  <a:pt x="2175676" y="153915"/>
                </a:cubicBezTo>
                <a:close/>
                <a:moveTo>
                  <a:pt x="2086390" y="153915"/>
                </a:moveTo>
                <a:cubicBezTo>
                  <a:pt x="2084568" y="153915"/>
                  <a:pt x="2084568" y="163026"/>
                  <a:pt x="2086390" y="164848"/>
                </a:cubicBezTo>
                <a:cubicBezTo>
                  <a:pt x="2090034" y="164848"/>
                  <a:pt x="2086390" y="159382"/>
                  <a:pt x="2090034" y="159382"/>
                </a:cubicBezTo>
                <a:cubicBezTo>
                  <a:pt x="2088212" y="157559"/>
                  <a:pt x="2086390" y="157559"/>
                  <a:pt x="2086390" y="153915"/>
                </a:cubicBezTo>
                <a:close/>
                <a:moveTo>
                  <a:pt x="3062415" y="152753"/>
                </a:moveTo>
                <a:lnTo>
                  <a:pt x="3061936" y="153345"/>
                </a:lnTo>
                <a:lnTo>
                  <a:pt x="3061816" y="153352"/>
                </a:lnTo>
                <a:close/>
                <a:moveTo>
                  <a:pt x="2308695" y="152548"/>
                </a:moveTo>
                <a:lnTo>
                  <a:pt x="2309689" y="152921"/>
                </a:lnTo>
                <a:lnTo>
                  <a:pt x="2302621" y="159989"/>
                </a:lnTo>
                <a:lnTo>
                  <a:pt x="2305050" y="153915"/>
                </a:lnTo>
                <a:cubicBezTo>
                  <a:pt x="2307784" y="152093"/>
                  <a:pt x="2308240" y="152093"/>
                  <a:pt x="2308695" y="152548"/>
                </a:cubicBezTo>
                <a:close/>
                <a:moveTo>
                  <a:pt x="2713217" y="152093"/>
                </a:moveTo>
                <a:lnTo>
                  <a:pt x="2715066" y="153498"/>
                </a:lnTo>
                <a:lnTo>
                  <a:pt x="2710961" y="157159"/>
                </a:lnTo>
                <a:lnTo>
                  <a:pt x="2710940" y="156876"/>
                </a:lnTo>
                <a:cubicBezTo>
                  <a:pt x="2710940" y="154826"/>
                  <a:pt x="2711395" y="153004"/>
                  <a:pt x="2713217" y="152093"/>
                </a:cubicBezTo>
                <a:close/>
                <a:moveTo>
                  <a:pt x="2277718" y="152093"/>
                </a:moveTo>
                <a:cubicBezTo>
                  <a:pt x="2272251" y="152093"/>
                  <a:pt x="2274074" y="163026"/>
                  <a:pt x="2279540" y="159382"/>
                </a:cubicBezTo>
                <a:cubicBezTo>
                  <a:pt x="2281362" y="155737"/>
                  <a:pt x="2277718" y="155737"/>
                  <a:pt x="2277718" y="152093"/>
                </a:cubicBezTo>
                <a:close/>
                <a:moveTo>
                  <a:pt x="2099145" y="152093"/>
                </a:moveTo>
                <a:cubicBezTo>
                  <a:pt x="2100967" y="155737"/>
                  <a:pt x="2102790" y="155737"/>
                  <a:pt x="2104611" y="157559"/>
                </a:cubicBezTo>
                <a:cubicBezTo>
                  <a:pt x="2108256" y="155737"/>
                  <a:pt x="2104611" y="150271"/>
                  <a:pt x="2099145" y="152093"/>
                </a:cubicBezTo>
                <a:close/>
                <a:moveTo>
                  <a:pt x="2718684" y="150271"/>
                </a:moveTo>
                <a:lnTo>
                  <a:pt x="2719531" y="156200"/>
                </a:lnTo>
                <a:lnTo>
                  <a:pt x="2718912" y="156420"/>
                </a:lnTo>
                <a:lnTo>
                  <a:pt x="2715066" y="153498"/>
                </a:lnTo>
                <a:close/>
                <a:moveTo>
                  <a:pt x="2463580" y="150271"/>
                </a:moveTo>
                <a:cubicBezTo>
                  <a:pt x="2454469" y="153915"/>
                  <a:pt x="2452647" y="164848"/>
                  <a:pt x="2445358" y="170315"/>
                </a:cubicBezTo>
                <a:cubicBezTo>
                  <a:pt x="2447180" y="175781"/>
                  <a:pt x="2449002" y="179426"/>
                  <a:pt x="2456291" y="179426"/>
                </a:cubicBezTo>
                <a:cubicBezTo>
                  <a:pt x="2459935" y="172137"/>
                  <a:pt x="2465402" y="159382"/>
                  <a:pt x="2463580" y="150271"/>
                </a:cubicBezTo>
                <a:close/>
                <a:moveTo>
                  <a:pt x="2084568" y="150271"/>
                </a:moveTo>
                <a:cubicBezTo>
                  <a:pt x="2090034" y="153915"/>
                  <a:pt x="2097323" y="164848"/>
                  <a:pt x="2086390" y="166670"/>
                </a:cubicBezTo>
                <a:cubicBezTo>
                  <a:pt x="2086390" y="173959"/>
                  <a:pt x="2095500" y="173959"/>
                  <a:pt x="2099145" y="177603"/>
                </a:cubicBezTo>
                <a:cubicBezTo>
                  <a:pt x="2102790" y="177603"/>
                  <a:pt x="2104611" y="177603"/>
                  <a:pt x="2104611" y="175781"/>
                </a:cubicBezTo>
                <a:cubicBezTo>
                  <a:pt x="2108256" y="181248"/>
                  <a:pt x="2115544" y="181248"/>
                  <a:pt x="2117366" y="184892"/>
                </a:cubicBezTo>
                <a:cubicBezTo>
                  <a:pt x="2122833" y="183070"/>
                  <a:pt x="2122833" y="183070"/>
                  <a:pt x="2131944" y="183070"/>
                </a:cubicBezTo>
                <a:cubicBezTo>
                  <a:pt x="2131944" y="179426"/>
                  <a:pt x="2133766" y="179426"/>
                  <a:pt x="2135588" y="179426"/>
                </a:cubicBezTo>
                <a:cubicBezTo>
                  <a:pt x="2131944" y="173959"/>
                  <a:pt x="2119189" y="177603"/>
                  <a:pt x="2115544" y="181248"/>
                </a:cubicBezTo>
                <a:cubicBezTo>
                  <a:pt x="2115544" y="179426"/>
                  <a:pt x="2113722" y="179426"/>
                  <a:pt x="2111900" y="179426"/>
                </a:cubicBezTo>
                <a:cubicBezTo>
                  <a:pt x="2111900" y="175781"/>
                  <a:pt x="2117366" y="177603"/>
                  <a:pt x="2117366" y="175781"/>
                </a:cubicBezTo>
                <a:cubicBezTo>
                  <a:pt x="2119189" y="170315"/>
                  <a:pt x="2113722" y="172137"/>
                  <a:pt x="2111900" y="170315"/>
                </a:cubicBezTo>
                <a:cubicBezTo>
                  <a:pt x="2113722" y="166670"/>
                  <a:pt x="2119189" y="170315"/>
                  <a:pt x="2117366" y="164848"/>
                </a:cubicBezTo>
                <a:cubicBezTo>
                  <a:pt x="2110078" y="163026"/>
                  <a:pt x="2108256" y="159382"/>
                  <a:pt x="2100967" y="159382"/>
                </a:cubicBezTo>
                <a:cubicBezTo>
                  <a:pt x="2100967" y="162115"/>
                  <a:pt x="2100512" y="163481"/>
                  <a:pt x="2100512" y="164620"/>
                </a:cubicBezTo>
                <a:lnTo>
                  <a:pt x="2102023" y="167189"/>
                </a:lnTo>
                <a:lnTo>
                  <a:pt x="2096412" y="165531"/>
                </a:lnTo>
                <a:cubicBezTo>
                  <a:pt x="2094135" y="161204"/>
                  <a:pt x="2092767" y="154826"/>
                  <a:pt x="2091856" y="150271"/>
                </a:cubicBezTo>
                <a:cubicBezTo>
                  <a:pt x="2088212" y="148449"/>
                  <a:pt x="2088212" y="150271"/>
                  <a:pt x="2084568" y="150271"/>
                </a:cubicBezTo>
                <a:close/>
                <a:moveTo>
                  <a:pt x="2747839" y="148449"/>
                </a:moveTo>
                <a:cubicBezTo>
                  <a:pt x="2749661" y="148449"/>
                  <a:pt x="2746016" y="157559"/>
                  <a:pt x="2749661" y="155737"/>
                </a:cubicBezTo>
                <a:cubicBezTo>
                  <a:pt x="2751483" y="152093"/>
                  <a:pt x="2751483" y="146626"/>
                  <a:pt x="2747839" y="148449"/>
                </a:cubicBezTo>
                <a:close/>
                <a:moveTo>
                  <a:pt x="2390693" y="148449"/>
                </a:moveTo>
                <a:cubicBezTo>
                  <a:pt x="2385226" y="152093"/>
                  <a:pt x="2377937" y="157559"/>
                  <a:pt x="2381582" y="164848"/>
                </a:cubicBezTo>
                <a:cubicBezTo>
                  <a:pt x="2385226" y="163026"/>
                  <a:pt x="2385226" y="157559"/>
                  <a:pt x="2387048" y="153915"/>
                </a:cubicBezTo>
                <a:cubicBezTo>
                  <a:pt x="2388871" y="155737"/>
                  <a:pt x="2390693" y="153915"/>
                  <a:pt x="2392515" y="155737"/>
                </a:cubicBezTo>
                <a:lnTo>
                  <a:pt x="2391435" y="165865"/>
                </a:lnTo>
                <a:lnTo>
                  <a:pt x="2388643" y="168493"/>
                </a:lnTo>
                <a:cubicBezTo>
                  <a:pt x="2387960" y="170315"/>
                  <a:pt x="2387960" y="172137"/>
                  <a:pt x="2388871" y="172137"/>
                </a:cubicBezTo>
                <a:lnTo>
                  <a:pt x="2390974" y="170184"/>
                </a:lnTo>
                <a:lnTo>
                  <a:pt x="2390693" y="172820"/>
                </a:lnTo>
                <a:cubicBezTo>
                  <a:pt x="2386593" y="177148"/>
                  <a:pt x="2379760" y="180337"/>
                  <a:pt x="2372471" y="183070"/>
                </a:cubicBezTo>
                <a:cubicBezTo>
                  <a:pt x="2374293" y="177603"/>
                  <a:pt x="2383404" y="173959"/>
                  <a:pt x="2379760" y="172137"/>
                </a:cubicBezTo>
                <a:cubicBezTo>
                  <a:pt x="2372927" y="169404"/>
                  <a:pt x="2361994" y="173845"/>
                  <a:pt x="2361566" y="180848"/>
                </a:cubicBezTo>
                <a:lnTo>
                  <a:pt x="2363841" y="185684"/>
                </a:lnTo>
                <a:lnTo>
                  <a:pt x="2358577" y="178742"/>
                </a:lnTo>
                <a:lnTo>
                  <a:pt x="2355355" y="176946"/>
                </a:lnTo>
                <a:lnTo>
                  <a:pt x="2361538" y="173276"/>
                </a:lnTo>
                <a:cubicBezTo>
                  <a:pt x="2363816" y="170315"/>
                  <a:pt x="2366094" y="166670"/>
                  <a:pt x="2368827" y="164848"/>
                </a:cubicBezTo>
                <a:cubicBezTo>
                  <a:pt x="2370649" y="168493"/>
                  <a:pt x="2374293" y="172137"/>
                  <a:pt x="2377937" y="170315"/>
                </a:cubicBezTo>
                <a:cubicBezTo>
                  <a:pt x="2379760" y="166670"/>
                  <a:pt x="2374293" y="163026"/>
                  <a:pt x="2376115" y="159382"/>
                </a:cubicBezTo>
                <a:cubicBezTo>
                  <a:pt x="2372471" y="159382"/>
                  <a:pt x="2372471" y="161204"/>
                  <a:pt x="2370649" y="163026"/>
                </a:cubicBezTo>
                <a:cubicBezTo>
                  <a:pt x="2370649" y="153915"/>
                  <a:pt x="2379760" y="148449"/>
                  <a:pt x="2390693" y="148449"/>
                </a:cubicBezTo>
                <a:close/>
                <a:moveTo>
                  <a:pt x="2722328" y="146626"/>
                </a:moveTo>
                <a:cubicBezTo>
                  <a:pt x="2724151" y="145715"/>
                  <a:pt x="2724606" y="146626"/>
                  <a:pt x="2724606" y="148448"/>
                </a:cubicBezTo>
                <a:lnTo>
                  <a:pt x="2724225" y="154535"/>
                </a:lnTo>
                <a:lnTo>
                  <a:pt x="2723481" y="154799"/>
                </a:lnTo>
                <a:lnTo>
                  <a:pt x="2721873" y="152548"/>
                </a:lnTo>
                <a:cubicBezTo>
                  <a:pt x="2721873" y="150726"/>
                  <a:pt x="2722328" y="148448"/>
                  <a:pt x="2722328" y="146626"/>
                </a:cubicBezTo>
                <a:close/>
                <a:moveTo>
                  <a:pt x="2541933" y="144804"/>
                </a:moveTo>
                <a:cubicBezTo>
                  <a:pt x="2540111" y="155737"/>
                  <a:pt x="2551044" y="144804"/>
                  <a:pt x="2549222" y="153915"/>
                </a:cubicBezTo>
                <a:cubicBezTo>
                  <a:pt x="2554688" y="150271"/>
                  <a:pt x="2554688" y="144804"/>
                  <a:pt x="2541933" y="144804"/>
                </a:cubicBezTo>
                <a:close/>
                <a:moveTo>
                  <a:pt x="2261318" y="144804"/>
                </a:moveTo>
                <a:cubicBezTo>
                  <a:pt x="2263140" y="146626"/>
                  <a:pt x="2264963" y="146626"/>
                  <a:pt x="2264963" y="150271"/>
                </a:cubicBezTo>
                <a:cubicBezTo>
                  <a:pt x="2270429" y="150271"/>
                  <a:pt x="2266785" y="144804"/>
                  <a:pt x="2270429" y="144804"/>
                </a:cubicBezTo>
                <a:cubicBezTo>
                  <a:pt x="2268607" y="142982"/>
                  <a:pt x="2264963" y="144804"/>
                  <a:pt x="2261318" y="144804"/>
                </a:cubicBezTo>
                <a:close/>
                <a:moveTo>
                  <a:pt x="2113722" y="144804"/>
                </a:moveTo>
                <a:cubicBezTo>
                  <a:pt x="2111900" y="150271"/>
                  <a:pt x="2117366" y="155737"/>
                  <a:pt x="2119189" y="159382"/>
                </a:cubicBezTo>
                <a:cubicBezTo>
                  <a:pt x="2117366" y="153915"/>
                  <a:pt x="2124655" y="146626"/>
                  <a:pt x="2113722" y="144804"/>
                </a:cubicBezTo>
                <a:close/>
                <a:moveTo>
                  <a:pt x="2146521" y="142982"/>
                </a:moveTo>
                <a:cubicBezTo>
                  <a:pt x="2146521" y="146626"/>
                  <a:pt x="2146521" y="148449"/>
                  <a:pt x="2148344" y="150271"/>
                </a:cubicBezTo>
                <a:cubicBezTo>
                  <a:pt x="2155632" y="146626"/>
                  <a:pt x="2159277" y="150271"/>
                  <a:pt x="2166565" y="153915"/>
                </a:cubicBezTo>
                <a:cubicBezTo>
                  <a:pt x="2162921" y="148449"/>
                  <a:pt x="2153810" y="146626"/>
                  <a:pt x="2146521" y="142982"/>
                </a:cubicBezTo>
                <a:close/>
                <a:moveTo>
                  <a:pt x="3008410" y="141160"/>
                </a:moveTo>
                <a:lnTo>
                  <a:pt x="3008858" y="143250"/>
                </a:lnTo>
                <a:lnTo>
                  <a:pt x="3008410" y="143818"/>
                </a:lnTo>
                <a:close/>
                <a:moveTo>
                  <a:pt x="2470868" y="139338"/>
                </a:moveTo>
                <a:cubicBezTo>
                  <a:pt x="2467224" y="141160"/>
                  <a:pt x="2469046" y="142982"/>
                  <a:pt x="2469046" y="146626"/>
                </a:cubicBezTo>
                <a:cubicBezTo>
                  <a:pt x="2472690" y="142982"/>
                  <a:pt x="2472690" y="148449"/>
                  <a:pt x="2476335" y="146626"/>
                </a:cubicBezTo>
                <a:cubicBezTo>
                  <a:pt x="2478157" y="142982"/>
                  <a:pt x="2474513" y="141160"/>
                  <a:pt x="2470868" y="139338"/>
                </a:cubicBezTo>
                <a:close/>
                <a:moveTo>
                  <a:pt x="2121011" y="139338"/>
                </a:moveTo>
                <a:cubicBezTo>
                  <a:pt x="2121011" y="150271"/>
                  <a:pt x="2121011" y="164848"/>
                  <a:pt x="2133766" y="163026"/>
                </a:cubicBezTo>
                <a:cubicBezTo>
                  <a:pt x="2131944" y="159382"/>
                  <a:pt x="2130122" y="153915"/>
                  <a:pt x="2124655" y="155737"/>
                </a:cubicBezTo>
                <a:cubicBezTo>
                  <a:pt x="2126477" y="148449"/>
                  <a:pt x="2124655" y="144804"/>
                  <a:pt x="2121011" y="139338"/>
                </a:cubicBezTo>
                <a:close/>
                <a:moveTo>
                  <a:pt x="2174764" y="137878"/>
                </a:moveTo>
                <a:lnTo>
                  <a:pt x="2177726" y="140248"/>
                </a:lnTo>
                <a:lnTo>
                  <a:pt x="2175990" y="142290"/>
                </a:lnTo>
                <a:lnTo>
                  <a:pt x="2173855" y="139338"/>
                </a:lnTo>
                <a:lnTo>
                  <a:pt x="2173854" y="139337"/>
                </a:lnTo>
                <a:close/>
                <a:moveTo>
                  <a:pt x="2170210" y="137516"/>
                </a:moveTo>
                <a:lnTo>
                  <a:pt x="2169352" y="140945"/>
                </a:lnTo>
                <a:lnTo>
                  <a:pt x="2162921" y="139338"/>
                </a:lnTo>
                <a:cubicBezTo>
                  <a:pt x="2161099" y="146626"/>
                  <a:pt x="2166565" y="146626"/>
                  <a:pt x="2173854" y="150271"/>
                </a:cubicBezTo>
                <a:cubicBezTo>
                  <a:pt x="2175676" y="144804"/>
                  <a:pt x="2172032" y="144804"/>
                  <a:pt x="2168387" y="144804"/>
                </a:cubicBezTo>
                <a:lnTo>
                  <a:pt x="2169352" y="140945"/>
                </a:lnTo>
                <a:lnTo>
                  <a:pt x="2170210" y="141160"/>
                </a:lnTo>
                <a:cubicBezTo>
                  <a:pt x="2168387" y="141160"/>
                  <a:pt x="2168387" y="139338"/>
                  <a:pt x="2170210" y="137516"/>
                </a:cubicBezTo>
                <a:close/>
                <a:moveTo>
                  <a:pt x="2133766" y="137516"/>
                </a:moveTo>
                <a:cubicBezTo>
                  <a:pt x="2133766" y="142982"/>
                  <a:pt x="2139233" y="142982"/>
                  <a:pt x="2141055" y="146626"/>
                </a:cubicBezTo>
                <a:cubicBezTo>
                  <a:pt x="2144699" y="142982"/>
                  <a:pt x="2141055" y="135693"/>
                  <a:pt x="2133766" y="137516"/>
                </a:cubicBezTo>
                <a:close/>
                <a:moveTo>
                  <a:pt x="2066346" y="137516"/>
                </a:moveTo>
                <a:cubicBezTo>
                  <a:pt x="2066346" y="144804"/>
                  <a:pt x="2075457" y="141160"/>
                  <a:pt x="2075457" y="146626"/>
                </a:cubicBezTo>
                <a:cubicBezTo>
                  <a:pt x="2075457" y="144804"/>
                  <a:pt x="2075457" y="144804"/>
                  <a:pt x="2073634" y="142982"/>
                </a:cubicBezTo>
                <a:cubicBezTo>
                  <a:pt x="2077279" y="141160"/>
                  <a:pt x="2077279" y="152093"/>
                  <a:pt x="2082745" y="146626"/>
                </a:cubicBezTo>
                <a:cubicBezTo>
                  <a:pt x="2080923" y="139338"/>
                  <a:pt x="2073634" y="135693"/>
                  <a:pt x="2066346" y="137516"/>
                </a:cubicBezTo>
                <a:close/>
                <a:moveTo>
                  <a:pt x="2520347" y="136917"/>
                </a:moveTo>
                <a:lnTo>
                  <a:pt x="2524395" y="137828"/>
                </a:lnTo>
                <a:lnTo>
                  <a:pt x="2525051" y="138513"/>
                </a:lnTo>
                <a:lnTo>
                  <a:pt x="2520067" y="137516"/>
                </a:lnTo>
                <a:close/>
                <a:moveTo>
                  <a:pt x="2310517" y="135693"/>
                </a:moveTo>
                <a:cubicBezTo>
                  <a:pt x="2310517" y="141160"/>
                  <a:pt x="2306873" y="139338"/>
                  <a:pt x="2299584" y="141160"/>
                </a:cubicBezTo>
                <a:cubicBezTo>
                  <a:pt x="2303228" y="142982"/>
                  <a:pt x="2306873" y="144804"/>
                  <a:pt x="2312339" y="141160"/>
                </a:cubicBezTo>
                <a:cubicBezTo>
                  <a:pt x="2314161" y="137516"/>
                  <a:pt x="2310517" y="139338"/>
                  <a:pt x="2310517" y="135693"/>
                </a:cubicBezTo>
                <a:close/>
                <a:moveTo>
                  <a:pt x="2128300" y="135693"/>
                </a:moveTo>
                <a:cubicBezTo>
                  <a:pt x="2131944" y="137516"/>
                  <a:pt x="2130122" y="139338"/>
                  <a:pt x="2126477" y="137516"/>
                </a:cubicBezTo>
                <a:cubicBezTo>
                  <a:pt x="2126477" y="142982"/>
                  <a:pt x="2128300" y="146626"/>
                  <a:pt x="2130122" y="150271"/>
                </a:cubicBezTo>
                <a:cubicBezTo>
                  <a:pt x="2141055" y="146626"/>
                  <a:pt x="2139233" y="161204"/>
                  <a:pt x="2141055" y="166670"/>
                </a:cubicBezTo>
                <a:cubicBezTo>
                  <a:pt x="2148344" y="164848"/>
                  <a:pt x="2159277" y="168493"/>
                  <a:pt x="2159277" y="161204"/>
                </a:cubicBezTo>
                <a:cubicBezTo>
                  <a:pt x="2155632" y="161204"/>
                  <a:pt x="2155632" y="163026"/>
                  <a:pt x="2151988" y="161204"/>
                </a:cubicBezTo>
                <a:cubicBezTo>
                  <a:pt x="2150166" y="157559"/>
                  <a:pt x="2159277" y="161204"/>
                  <a:pt x="2155632" y="157559"/>
                </a:cubicBezTo>
                <a:cubicBezTo>
                  <a:pt x="2161099" y="159382"/>
                  <a:pt x="2161099" y="164848"/>
                  <a:pt x="2166565" y="164848"/>
                </a:cubicBezTo>
                <a:cubicBezTo>
                  <a:pt x="2168387" y="161204"/>
                  <a:pt x="2164743" y="161204"/>
                  <a:pt x="2166565" y="155737"/>
                </a:cubicBezTo>
                <a:cubicBezTo>
                  <a:pt x="2162921" y="161204"/>
                  <a:pt x="2153810" y="148449"/>
                  <a:pt x="2150166" y="157559"/>
                </a:cubicBezTo>
                <a:cubicBezTo>
                  <a:pt x="2144699" y="155737"/>
                  <a:pt x="2151988" y="155737"/>
                  <a:pt x="2150166" y="152093"/>
                </a:cubicBezTo>
                <a:cubicBezTo>
                  <a:pt x="2137410" y="150271"/>
                  <a:pt x="2137410" y="141160"/>
                  <a:pt x="2128300" y="135693"/>
                </a:cubicBezTo>
                <a:close/>
                <a:moveTo>
                  <a:pt x="2793272" y="135086"/>
                </a:moveTo>
                <a:lnTo>
                  <a:pt x="2797949" y="138427"/>
                </a:lnTo>
                <a:cubicBezTo>
                  <a:pt x="2798860" y="141616"/>
                  <a:pt x="2798860" y="145716"/>
                  <a:pt x="2798860" y="148449"/>
                </a:cubicBezTo>
                <a:close/>
                <a:moveTo>
                  <a:pt x="2970752" y="135085"/>
                </a:moveTo>
                <a:lnTo>
                  <a:pt x="2970144" y="137516"/>
                </a:lnTo>
                <a:lnTo>
                  <a:pt x="2969476" y="136361"/>
                </a:lnTo>
                <a:close/>
                <a:moveTo>
                  <a:pt x="2302090" y="132732"/>
                </a:moveTo>
                <a:cubicBezTo>
                  <a:pt x="2300040" y="132049"/>
                  <a:pt x="2297762" y="132049"/>
                  <a:pt x="2295940" y="133871"/>
                </a:cubicBezTo>
                <a:cubicBezTo>
                  <a:pt x="2299584" y="141160"/>
                  <a:pt x="2301406" y="132049"/>
                  <a:pt x="2306873" y="135693"/>
                </a:cubicBezTo>
                <a:cubicBezTo>
                  <a:pt x="2305962" y="134782"/>
                  <a:pt x="2304140" y="133415"/>
                  <a:pt x="2302090" y="132732"/>
                </a:cubicBezTo>
                <a:close/>
                <a:moveTo>
                  <a:pt x="2792143" y="132385"/>
                </a:moveTo>
                <a:lnTo>
                  <a:pt x="2793272" y="135086"/>
                </a:lnTo>
                <a:lnTo>
                  <a:pt x="2791571" y="133871"/>
                </a:lnTo>
                <a:close/>
                <a:moveTo>
                  <a:pt x="3081297" y="132049"/>
                </a:moveTo>
                <a:cubicBezTo>
                  <a:pt x="3084941" y="135693"/>
                  <a:pt x="3081297" y="144804"/>
                  <a:pt x="3088585" y="146626"/>
                </a:cubicBezTo>
                <a:cubicBezTo>
                  <a:pt x="3088585" y="142982"/>
                  <a:pt x="3088585" y="141160"/>
                  <a:pt x="3086763" y="139338"/>
                </a:cubicBezTo>
                <a:cubicBezTo>
                  <a:pt x="3088585" y="139338"/>
                  <a:pt x="3090407" y="139338"/>
                  <a:pt x="3090407" y="141160"/>
                </a:cubicBezTo>
                <a:cubicBezTo>
                  <a:pt x="3092230" y="152093"/>
                  <a:pt x="3084941" y="159382"/>
                  <a:pt x="3083119" y="168493"/>
                </a:cubicBezTo>
                <a:cubicBezTo>
                  <a:pt x="3079474" y="159382"/>
                  <a:pt x="3074008" y="144804"/>
                  <a:pt x="3063075" y="152093"/>
                </a:cubicBezTo>
                <a:lnTo>
                  <a:pt x="3062415" y="152753"/>
                </a:lnTo>
                <a:lnTo>
                  <a:pt x="3066264" y="147992"/>
                </a:lnTo>
                <a:cubicBezTo>
                  <a:pt x="3068086" y="143437"/>
                  <a:pt x="3068542" y="137515"/>
                  <a:pt x="3072186" y="133871"/>
                </a:cubicBezTo>
                <a:cubicBezTo>
                  <a:pt x="3075830" y="130227"/>
                  <a:pt x="3081297" y="133871"/>
                  <a:pt x="3081297" y="139338"/>
                </a:cubicBezTo>
                <a:cubicBezTo>
                  <a:pt x="3081297" y="135693"/>
                  <a:pt x="3081297" y="133871"/>
                  <a:pt x="3081297" y="132049"/>
                </a:cubicBezTo>
                <a:close/>
                <a:moveTo>
                  <a:pt x="2549222" y="132049"/>
                </a:moveTo>
                <a:cubicBezTo>
                  <a:pt x="2545577" y="132049"/>
                  <a:pt x="2543755" y="137516"/>
                  <a:pt x="2541933" y="141160"/>
                </a:cubicBezTo>
                <a:cubicBezTo>
                  <a:pt x="2545577" y="141160"/>
                  <a:pt x="2547400" y="141160"/>
                  <a:pt x="2551044" y="139338"/>
                </a:cubicBezTo>
                <a:cubicBezTo>
                  <a:pt x="2552866" y="133871"/>
                  <a:pt x="2549222" y="135693"/>
                  <a:pt x="2549222" y="132049"/>
                </a:cubicBezTo>
                <a:close/>
                <a:moveTo>
                  <a:pt x="2315983" y="132049"/>
                </a:moveTo>
                <a:cubicBezTo>
                  <a:pt x="2315983" y="132049"/>
                  <a:pt x="2315983" y="135693"/>
                  <a:pt x="2315983" y="139338"/>
                </a:cubicBezTo>
                <a:cubicBezTo>
                  <a:pt x="2321450" y="135693"/>
                  <a:pt x="2317806" y="132049"/>
                  <a:pt x="2315983" y="132049"/>
                </a:cubicBezTo>
                <a:close/>
                <a:moveTo>
                  <a:pt x="2971966" y="130227"/>
                </a:moveTo>
                <a:lnTo>
                  <a:pt x="2971530" y="131971"/>
                </a:lnTo>
                <a:lnTo>
                  <a:pt x="2969852" y="131673"/>
                </a:lnTo>
                <a:close/>
                <a:moveTo>
                  <a:pt x="2961717" y="130226"/>
                </a:moveTo>
                <a:lnTo>
                  <a:pt x="2969852" y="131673"/>
                </a:lnTo>
                <a:lnTo>
                  <a:pt x="2967639" y="133187"/>
                </a:lnTo>
                <a:lnTo>
                  <a:pt x="2969476" y="136361"/>
                </a:lnTo>
                <a:lnTo>
                  <a:pt x="2966727" y="139110"/>
                </a:lnTo>
                <a:cubicBezTo>
                  <a:pt x="2963311" y="139793"/>
                  <a:pt x="2959211" y="139338"/>
                  <a:pt x="2955566" y="139338"/>
                </a:cubicBezTo>
                <a:cubicBezTo>
                  <a:pt x="2956478" y="137515"/>
                  <a:pt x="2958756" y="132960"/>
                  <a:pt x="2961717" y="130226"/>
                </a:cubicBezTo>
                <a:close/>
                <a:moveTo>
                  <a:pt x="2536466" y="126583"/>
                </a:moveTo>
                <a:cubicBezTo>
                  <a:pt x="2531911" y="124761"/>
                  <a:pt x="2527811" y="125216"/>
                  <a:pt x="2524850" y="127266"/>
                </a:cubicBezTo>
                <a:lnTo>
                  <a:pt x="2520347" y="136917"/>
                </a:lnTo>
                <a:lnTo>
                  <a:pt x="2511868" y="135010"/>
                </a:lnTo>
                <a:cubicBezTo>
                  <a:pt x="2502757" y="134782"/>
                  <a:pt x="2492735" y="137515"/>
                  <a:pt x="2485446" y="141160"/>
                </a:cubicBezTo>
                <a:cubicBezTo>
                  <a:pt x="2485446" y="139338"/>
                  <a:pt x="2485446" y="139338"/>
                  <a:pt x="2485446" y="137516"/>
                </a:cubicBezTo>
                <a:cubicBezTo>
                  <a:pt x="2478157" y="139338"/>
                  <a:pt x="2487268" y="144804"/>
                  <a:pt x="2485446" y="146626"/>
                </a:cubicBezTo>
                <a:cubicBezTo>
                  <a:pt x="2481801" y="148449"/>
                  <a:pt x="2481801" y="152093"/>
                  <a:pt x="2479979" y="153915"/>
                </a:cubicBezTo>
                <a:cubicBezTo>
                  <a:pt x="2478157" y="152093"/>
                  <a:pt x="2478157" y="150271"/>
                  <a:pt x="2478157" y="148449"/>
                </a:cubicBezTo>
                <a:cubicBezTo>
                  <a:pt x="2463580" y="155737"/>
                  <a:pt x="2452647" y="179426"/>
                  <a:pt x="2469046" y="190359"/>
                </a:cubicBezTo>
                <a:cubicBezTo>
                  <a:pt x="2469046" y="188536"/>
                  <a:pt x="2469046" y="184892"/>
                  <a:pt x="2470868" y="183070"/>
                </a:cubicBezTo>
                <a:cubicBezTo>
                  <a:pt x="2479979" y="179426"/>
                  <a:pt x="2479979" y="192181"/>
                  <a:pt x="2487268" y="190359"/>
                </a:cubicBezTo>
                <a:cubicBezTo>
                  <a:pt x="2485446" y="183070"/>
                  <a:pt x="2478157" y="175781"/>
                  <a:pt x="2485446" y="168493"/>
                </a:cubicBezTo>
                <a:cubicBezTo>
                  <a:pt x="2490912" y="175781"/>
                  <a:pt x="2500023" y="175781"/>
                  <a:pt x="2501845" y="183070"/>
                </a:cubicBezTo>
                <a:cubicBezTo>
                  <a:pt x="2503667" y="188536"/>
                  <a:pt x="2507312" y="194003"/>
                  <a:pt x="2510956" y="192181"/>
                </a:cubicBezTo>
                <a:cubicBezTo>
                  <a:pt x="2514600" y="190359"/>
                  <a:pt x="2509134" y="179426"/>
                  <a:pt x="2510956" y="173959"/>
                </a:cubicBezTo>
                <a:cubicBezTo>
                  <a:pt x="2492734" y="168493"/>
                  <a:pt x="2512778" y="172137"/>
                  <a:pt x="2501845" y="146626"/>
                </a:cubicBezTo>
                <a:lnTo>
                  <a:pt x="2523711" y="146626"/>
                </a:lnTo>
                <a:lnTo>
                  <a:pt x="2523711" y="164848"/>
                </a:lnTo>
                <a:cubicBezTo>
                  <a:pt x="2529178" y="170315"/>
                  <a:pt x="2534644" y="175781"/>
                  <a:pt x="2538289" y="183070"/>
                </a:cubicBezTo>
                <a:cubicBezTo>
                  <a:pt x="2540111" y="184892"/>
                  <a:pt x="2543755" y="184892"/>
                  <a:pt x="2545577" y="184892"/>
                </a:cubicBezTo>
                <a:cubicBezTo>
                  <a:pt x="2536466" y="177603"/>
                  <a:pt x="2541933" y="170315"/>
                  <a:pt x="2543755" y="163026"/>
                </a:cubicBezTo>
                <a:lnTo>
                  <a:pt x="2552945" y="167060"/>
                </a:lnTo>
                <a:lnTo>
                  <a:pt x="2553112" y="167148"/>
                </a:lnTo>
                <a:lnTo>
                  <a:pt x="2558332" y="173959"/>
                </a:lnTo>
                <a:cubicBezTo>
                  <a:pt x="2556510" y="177603"/>
                  <a:pt x="2552866" y="177603"/>
                  <a:pt x="2551044" y="179426"/>
                </a:cubicBezTo>
                <a:cubicBezTo>
                  <a:pt x="2551044" y="177603"/>
                  <a:pt x="2551044" y="175781"/>
                  <a:pt x="2549222" y="173959"/>
                </a:cubicBezTo>
                <a:cubicBezTo>
                  <a:pt x="2545577" y="184892"/>
                  <a:pt x="2558332" y="197647"/>
                  <a:pt x="2547400" y="208580"/>
                </a:cubicBezTo>
                <a:cubicBezTo>
                  <a:pt x="2545577" y="210403"/>
                  <a:pt x="2547400" y="203114"/>
                  <a:pt x="2545577" y="204936"/>
                </a:cubicBezTo>
                <a:cubicBezTo>
                  <a:pt x="2543755" y="206758"/>
                  <a:pt x="2543755" y="212225"/>
                  <a:pt x="2541933" y="214047"/>
                </a:cubicBezTo>
                <a:cubicBezTo>
                  <a:pt x="2543755" y="215869"/>
                  <a:pt x="2547400" y="214047"/>
                  <a:pt x="2549222" y="215869"/>
                </a:cubicBezTo>
                <a:cubicBezTo>
                  <a:pt x="2549222" y="219513"/>
                  <a:pt x="2543755" y="217691"/>
                  <a:pt x="2540111" y="219513"/>
                </a:cubicBezTo>
                <a:lnTo>
                  <a:pt x="2545577" y="221336"/>
                </a:lnTo>
                <a:lnTo>
                  <a:pt x="2536466" y="241379"/>
                </a:lnTo>
                <a:lnTo>
                  <a:pt x="2507312" y="234091"/>
                </a:lnTo>
                <a:lnTo>
                  <a:pt x="2523711" y="214047"/>
                </a:lnTo>
                <a:lnTo>
                  <a:pt x="2532822" y="217691"/>
                </a:lnTo>
                <a:cubicBezTo>
                  <a:pt x="2529178" y="212225"/>
                  <a:pt x="2520067" y="208580"/>
                  <a:pt x="2512778" y="210403"/>
                </a:cubicBezTo>
                <a:cubicBezTo>
                  <a:pt x="2509134" y="212225"/>
                  <a:pt x="2512778" y="217691"/>
                  <a:pt x="2507312" y="219513"/>
                </a:cubicBezTo>
                <a:cubicBezTo>
                  <a:pt x="2509134" y="217691"/>
                  <a:pt x="2509134" y="215869"/>
                  <a:pt x="2509134" y="212225"/>
                </a:cubicBezTo>
                <a:cubicBezTo>
                  <a:pt x="2507312" y="208580"/>
                  <a:pt x="2503667" y="214047"/>
                  <a:pt x="2503667" y="210403"/>
                </a:cubicBezTo>
                <a:lnTo>
                  <a:pt x="2500023" y="214046"/>
                </a:lnTo>
                <a:lnTo>
                  <a:pt x="2503667" y="206758"/>
                </a:lnTo>
                <a:cubicBezTo>
                  <a:pt x="2500934" y="205847"/>
                  <a:pt x="2500479" y="207213"/>
                  <a:pt x="2500479" y="209036"/>
                </a:cubicBezTo>
                <a:lnTo>
                  <a:pt x="2500023" y="214046"/>
                </a:lnTo>
                <a:lnTo>
                  <a:pt x="2500023" y="214047"/>
                </a:lnTo>
                <a:lnTo>
                  <a:pt x="2492507" y="221563"/>
                </a:lnTo>
                <a:cubicBezTo>
                  <a:pt x="2491368" y="227257"/>
                  <a:pt x="2491823" y="234090"/>
                  <a:pt x="2490912" y="239557"/>
                </a:cubicBezTo>
                <a:cubicBezTo>
                  <a:pt x="2489090" y="239557"/>
                  <a:pt x="2487268" y="235913"/>
                  <a:pt x="2485446" y="237735"/>
                </a:cubicBezTo>
                <a:cubicBezTo>
                  <a:pt x="2490912" y="232269"/>
                  <a:pt x="2479979" y="228624"/>
                  <a:pt x="2478157" y="226802"/>
                </a:cubicBezTo>
                <a:cubicBezTo>
                  <a:pt x="2478157" y="228624"/>
                  <a:pt x="2474513" y="232269"/>
                  <a:pt x="2476335" y="234091"/>
                </a:cubicBezTo>
                <a:cubicBezTo>
                  <a:pt x="2478157" y="237735"/>
                  <a:pt x="2481801" y="239557"/>
                  <a:pt x="2485446" y="239557"/>
                </a:cubicBezTo>
                <a:cubicBezTo>
                  <a:pt x="2481801" y="243202"/>
                  <a:pt x="2483624" y="248668"/>
                  <a:pt x="2483624" y="254135"/>
                </a:cubicBezTo>
                <a:cubicBezTo>
                  <a:pt x="2483624" y="259601"/>
                  <a:pt x="2487268" y="263246"/>
                  <a:pt x="2489090" y="268712"/>
                </a:cubicBezTo>
                <a:lnTo>
                  <a:pt x="2494556" y="268712"/>
                </a:lnTo>
                <a:lnTo>
                  <a:pt x="2494556" y="290578"/>
                </a:lnTo>
                <a:cubicBezTo>
                  <a:pt x="2520067" y="296045"/>
                  <a:pt x="2547400" y="286934"/>
                  <a:pt x="2561977" y="263246"/>
                </a:cubicBezTo>
                <a:lnTo>
                  <a:pt x="2567760" y="264692"/>
                </a:lnTo>
                <a:lnTo>
                  <a:pt x="2563344" y="271445"/>
                </a:lnTo>
                <a:cubicBezTo>
                  <a:pt x="2558788" y="274178"/>
                  <a:pt x="2554688" y="276912"/>
                  <a:pt x="2558332" y="283289"/>
                </a:cubicBezTo>
                <a:cubicBezTo>
                  <a:pt x="2560155" y="285112"/>
                  <a:pt x="2565621" y="281467"/>
                  <a:pt x="2569266" y="283289"/>
                </a:cubicBezTo>
                <a:cubicBezTo>
                  <a:pt x="2571088" y="285112"/>
                  <a:pt x="2571088" y="285112"/>
                  <a:pt x="2571088" y="286934"/>
                </a:cubicBezTo>
                <a:cubicBezTo>
                  <a:pt x="2569266" y="286934"/>
                  <a:pt x="2569266" y="283289"/>
                  <a:pt x="2567443" y="285112"/>
                </a:cubicBezTo>
                <a:cubicBezTo>
                  <a:pt x="2565621" y="288756"/>
                  <a:pt x="2567443" y="292400"/>
                  <a:pt x="2565621" y="296045"/>
                </a:cubicBezTo>
                <a:cubicBezTo>
                  <a:pt x="2583843" y="290578"/>
                  <a:pt x="2603887" y="279645"/>
                  <a:pt x="2607531" y="259601"/>
                </a:cubicBezTo>
                <a:cubicBezTo>
                  <a:pt x="2605709" y="259601"/>
                  <a:pt x="2605709" y="259601"/>
                  <a:pt x="2603887" y="259601"/>
                </a:cubicBezTo>
                <a:cubicBezTo>
                  <a:pt x="2607531" y="255957"/>
                  <a:pt x="2611176" y="250490"/>
                  <a:pt x="2611176" y="245024"/>
                </a:cubicBezTo>
                <a:cubicBezTo>
                  <a:pt x="2605709" y="243202"/>
                  <a:pt x="2600243" y="243202"/>
                  <a:pt x="2596598" y="239557"/>
                </a:cubicBezTo>
                <a:cubicBezTo>
                  <a:pt x="2589310" y="239557"/>
                  <a:pt x="2582021" y="239557"/>
                  <a:pt x="2578377" y="245024"/>
                </a:cubicBezTo>
                <a:cubicBezTo>
                  <a:pt x="2574732" y="239557"/>
                  <a:pt x="2574732" y="232269"/>
                  <a:pt x="2582021" y="232269"/>
                </a:cubicBezTo>
                <a:cubicBezTo>
                  <a:pt x="2582021" y="232269"/>
                  <a:pt x="2582021" y="234091"/>
                  <a:pt x="2580199" y="234091"/>
                </a:cubicBezTo>
                <a:cubicBezTo>
                  <a:pt x="2585665" y="234091"/>
                  <a:pt x="2589310" y="232269"/>
                  <a:pt x="2594776" y="232269"/>
                </a:cubicBezTo>
                <a:cubicBezTo>
                  <a:pt x="2592954" y="232269"/>
                  <a:pt x="2591132" y="234091"/>
                  <a:pt x="2591132" y="235913"/>
                </a:cubicBezTo>
                <a:cubicBezTo>
                  <a:pt x="2592954" y="234091"/>
                  <a:pt x="2594776" y="234091"/>
                  <a:pt x="2594776" y="234091"/>
                </a:cubicBezTo>
                <a:cubicBezTo>
                  <a:pt x="2594776" y="234091"/>
                  <a:pt x="2594776" y="234091"/>
                  <a:pt x="2594776" y="232269"/>
                </a:cubicBezTo>
                <a:cubicBezTo>
                  <a:pt x="2594776" y="230446"/>
                  <a:pt x="2594776" y="230446"/>
                  <a:pt x="2594776" y="230446"/>
                </a:cubicBezTo>
                <a:cubicBezTo>
                  <a:pt x="2594776" y="223158"/>
                  <a:pt x="2600243" y="217691"/>
                  <a:pt x="2605709" y="214047"/>
                </a:cubicBezTo>
                <a:cubicBezTo>
                  <a:pt x="2600243" y="202203"/>
                  <a:pt x="2592043" y="191270"/>
                  <a:pt x="2581338" y="182159"/>
                </a:cubicBezTo>
                <a:lnTo>
                  <a:pt x="2553112" y="167148"/>
                </a:lnTo>
                <a:lnTo>
                  <a:pt x="2553094" y="167125"/>
                </a:lnTo>
                <a:lnTo>
                  <a:pt x="2552945" y="167060"/>
                </a:lnTo>
                <a:lnTo>
                  <a:pt x="2541933" y="161204"/>
                </a:lnTo>
                <a:cubicBezTo>
                  <a:pt x="2541933" y="161204"/>
                  <a:pt x="2541933" y="155737"/>
                  <a:pt x="2540111" y="153915"/>
                </a:cubicBezTo>
                <a:cubicBezTo>
                  <a:pt x="2529178" y="148449"/>
                  <a:pt x="2534644" y="163026"/>
                  <a:pt x="2527356" y="164848"/>
                </a:cubicBezTo>
                <a:cubicBezTo>
                  <a:pt x="2525534" y="157559"/>
                  <a:pt x="2534644" y="152093"/>
                  <a:pt x="2532822" y="146626"/>
                </a:cubicBezTo>
                <a:lnTo>
                  <a:pt x="2525051" y="138513"/>
                </a:lnTo>
                <a:lnTo>
                  <a:pt x="2538289" y="141160"/>
                </a:lnTo>
                <a:cubicBezTo>
                  <a:pt x="2538289" y="133871"/>
                  <a:pt x="2545577" y="133871"/>
                  <a:pt x="2541933" y="128405"/>
                </a:cubicBezTo>
                <a:cubicBezTo>
                  <a:pt x="2538289" y="128405"/>
                  <a:pt x="2540111" y="133871"/>
                  <a:pt x="2536466" y="133871"/>
                </a:cubicBezTo>
                <a:cubicBezTo>
                  <a:pt x="2532822" y="132049"/>
                  <a:pt x="2538289" y="130227"/>
                  <a:pt x="2536466" y="126583"/>
                </a:cubicBezTo>
                <a:close/>
                <a:moveTo>
                  <a:pt x="2334205" y="126583"/>
                </a:moveTo>
                <a:cubicBezTo>
                  <a:pt x="2337850" y="137516"/>
                  <a:pt x="2328739" y="133871"/>
                  <a:pt x="2321450" y="141160"/>
                </a:cubicBezTo>
                <a:cubicBezTo>
                  <a:pt x="2328739" y="139338"/>
                  <a:pt x="2336027" y="142982"/>
                  <a:pt x="2343316" y="141160"/>
                </a:cubicBezTo>
                <a:cubicBezTo>
                  <a:pt x="2346960" y="133871"/>
                  <a:pt x="2334205" y="133871"/>
                  <a:pt x="2334205" y="126583"/>
                </a:cubicBezTo>
                <a:close/>
                <a:moveTo>
                  <a:pt x="2277718" y="126583"/>
                </a:moveTo>
                <a:cubicBezTo>
                  <a:pt x="2270429" y="126583"/>
                  <a:pt x="2275896" y="132049"/>
                  <a:pt x="2277718" y="135693"/>
                </a:cubicBezTo>
                <a:cubicBezTo>
                  <a:pt x="2279540" y="133871"/>
                  <a:pt x="2281362" y="128405"/>
                  <a:pt x="2277718" y="126583"/>
                </a:cubicBezTo>
                <a:close/>
                <a:moveTo>
                  <a:pt x="2753860" y="125315"/>
                </a:moveTo>
                <a:lnTo>
                  <a:pt x="2756950" y="128405"/>
                </a:lnTo>
                <a:cubicBezTo>
                  <a:pt x="2755128" y="126582"/>
                  <a:pt x="2754217" y="127493"/>
                  <a:pt x="2753078" y="128632"/>
                </a:cubicBezTo>
                <a:lnTo>
                  <a:pt x="2752250" y="128884"/>
                </a:lnTo>
                <a:lnTo>
                  <a:pt x="2751483" y="126583"/>
                </a:lnTo>
                <a:close/>
                <a:moveTo>
                  <a:pt x="2356071" y="124760"/>
                </a:moveTo>
                <a:cubicBezTo>
                  <a:pt x="2356071" y="130227"/>
                  <a:pt x="2357893" y="132049"/>
                  <a:pt x="2359716" y="133871"/>
                </a:cubicBezTo>
                <a:cubicBezTo>
                  <a:pt x="2363360" y="132049"/>
                  <a:pt x="2363360" y="130227"/>
                  <a:pt x="2368827" y="130227"/>
                </a:cubicBezTo>
                <a:cubicBezTo>
                  <a:pt x="2368827" y="124760"/>
                  <a:pt x="2365182" y="122938"/>
                  <a:pt x="2356071" y="124760"/>
                </a:cubicBezTo>
                <a:close/>
                <a:moveTo>
                  <a:pt x="2285007" y="124760"/>
                </a:moveTo>
                <a:cubicBezTo>
                  <a:pt x="2279540" y="128405"/>
                  <a:pt x="2285007" y="133871"/>
                  <a:pt x="2286829" y="135693"/>
                </a:cubicBezTo>
                <a:cubicBezTo>
                  <a:pt x="2290473" y="132049"/>
                  <a:pt x="2283184" y="130227"/>
                  <a:pt x="2285007" y="124760"/>
                </a:cubicBezTo>
                <a:close/>
                <a:moveTo>
                  <a:pt x="2423492" y="122938"/>
                </a:moveTo>
                <a:cubicBezTo>
                  <a:pt x="2416203" y="121116"/>
                  <a:pt x="2414381" y="126583"/>
                  <a:pt x="2416203" y="132049"/>
                </a:cubicBezTo>
                <a:cubicBezTo>
                  <a:pt x="2423492" y="128405"/>
                  <a:pt x="2423492" y="135693"/>
                  <a:pt x="2427136" y="133871"/>
                </a:cubicBezTo>
                <a:cubicBezTo>
                  <a:pt x="2418025" y="139338"/>
                  <a:pt x="2408914" y="128405"/>
                  <a:pt x="2399803" y="126583"/>
                </a:cubicBezTo>
                <a:cubicBezTo>
                  <a:pt x="2401626" y="132049"/>
                  <a:pt x="2392515" y="135693"/>
                  <a:pt x="2394337" y="141160"/>
                </a:cubicBezTo>
                <a:cubicBezTo>
                  <a:pt x="2388871" y="139338"/>
                  <a:pt x="2394337" y="130227"/>
                  <a:pt x="2390693" y="130227"/>
                </a:cubicBezTo>
                <a:cubicBezTo>
                  <a:pt x="2377937" y="126583"/>
                  <a:pt x="2367004" y="128405"/>
                  <a:pt x="2365182" y="141160"/>
                </a:cubicBezTo>
                <a:cubicBezTo>
                  <a:pt x="2365182" y="139338"/>
                  <a:pt x="2367004" y="133871"/>
                  <a:pt x="2363360" y="135693"/>
                </a:cubicBezTo>
                <a:cubicBezTo>
                  <a:pt x="2356071" y="137516"/>
                  <a:pt x="2365182" y="144804"/>
                  <a:pt x="2361538" y="148449"/>
                </a:cubicBezTo>
                <a:cubicBezTo>
                  <a:pt x="2359716" y="144804"/>
                  <a:pt x="2357893" y="142982"/>
                  <a:pt x="2357893" y="139338"/>
                </a:cubicBezTo>
                <a:cubicBezTo>
                  <a:pt x="2352427" y="142982"/>
                  <a:pt x="2345138" y="148449"/>
                  <a:pt x="2341494" y="153915"/>
                </a:cubicBezTo>
                <a:cubicBezTo>
                  <a:pt x="2341494" y="150271"/>
                  <a:pt x="2343316" y="144804"/>
                  <a:pt x="2339672" y="142982"/>
                </a:cubicBezTo>
                <a:cubicBezTo>
                  <a:pt x="2332383" y="142982"/>
                  <a:pt x="2328739" y="146626"/>
                  <a:pt x="2321450" y="144804"/>
                </a:cubicBezTo>
                <a:cubicBezTo>
                  <a:pt x="2321450" y="144804"/>
                  <a:pt x="2312339" y="144804"/>
                  <a:pt x="2312339" y="153915"/>
                </a:cubicBezTo>
                <a:lnTo>
                  <a:pt x="2309689" y="152921"/>
                </a:lnTo>
                <a:lnTo>
                  <a:pt x="2314161" y="148449"/>
                </a:lnTo>
                <a:cubicBezTo>
                  <a:pt x="2301406" y="144804"/>
                  <a:pt x="2301406" y="157559"/>
                  <a:pt x="2297762" y="164848"/>
                </a:cubicBezTo>
                <a:lnTo>
                  <a:pt x="2302621" y="159989"/>
                </a:lnTo>
                <a:lnTo>
                  <a:pt x="2301406" y="163026"/>
                </a:lnTo>
                <a:cubicBezTo>
                  <a:pt x="2303228" y="170315"/>
                  <a:pt x="2310517" y="177603"/>
                  <a:pt x="2314161" y="177603"/>
                </a:cubicBezTo>
                <a:cubicBezTo>
                  <a:pt x="2325094" y="177603"/>
                  <a:pt x="2339672" y="175781"/>
                  <a:pt x="2345138" y="163026"/>
                </a:cubicBezTo>
                <a:cubicBezTo>
                  <a:pt x="2348782" y="168493"/>
                  <a:pt x="2336027" y="173959"/>
                  <a:pt x="2339672" y="173959"/>
                </a:cubicBezTo>
                <a:lnTo>
                  <a:pt x="2342512" y="174364"/>
                </a:lnTo>
                <a:lnTo>
                  <a:pt x="2336027" y="175781"/>
                </a:lnTo>
                <a:cubicBezTo>
                  <a:pt x="2334205" y="177603"/>
                  <a:pt x="2334205" y="181248"/>
                  <a:pt x="2332383" y="183070"/>
                </a:cubicBezTo>
                <a:cubicBezTo>
                  <a:pt x="2330561" y="181248"/>
                  <a:pt x="2332383" y="177603"/>
                  <a:pt x="2334205" y="175781"/>
                </a:cubicBezTo>
                <a:cubicBezTo>
                  <a:pt x="2328739" y="179426"/>
                  <a:pt x="2319628" y="179426"/>
                  <a:pt x="2314161" y="186714"/>
                </a:cubicBezTo>
                <a:cubicBezTo>
                  <a:pt x="2314161" y="186714"/>
                  <a:pt x="2315983" y="186714"/>
                  <a:pt x="2315983" y="184892"/>
                </a:cubicBezTo>
                <a:cubicBezTo>
                  <a:pt x="2306873" y="181248"/>
                  <a:pt x="2290473" y="188536"/>
                  <a:pt x="2285007" y="173959"/>
                </a:cubicBezTo>
                <a:cubicBezTo>
                  <a:pt x="2283184" y="173959"/>
                  <a:pt x="2283184" y="179426"/>
                  <a:pt x="2281362" y="177603"/>
                </a:cubicBezTo>
                <a:cubicBezTo>
                  <a:pt x="2277718" y="173959"/>
                  <a:pt x="2277718" y="170315"/>
                  <a:pt x="2274074" y="172137"/>
                </a:cubicBezTo>
                <a:cubicBezTo>
                  <a:pt x="2274074" y="173959"/>
                  <a:pt x="2275896" y="173959"/>
                  <a:pt x="2275896" y="175781"/>
                </a:cubicBezTo>
                <a:lnTo>
                  <a:pt x="2268078" y="170060"/>
                </a:lnTo>
                <a:lnTo>
                  <a:pt x="2276124" y="169403"/>
                </a:lnTo>
                <a:cubicBezTo>
                  <a:pt x="2279085" y="168948"/>
                  <a:pt x="2280451" y="167581"/>
                  <a:pt x="2277718" y="163026"/>
                </a:cubicBezTo>
                <a:cubicBezTo>
                  <a:pt x="2272251" y="166670"/>
                  <a:pt x="2270429" y="161204"/>
                  <a:pt x="2268607" y="159382"/>
                </a:cubicBezTo>
                <a:lnTo>
                  <a:pt x="2265368" y="169100"/>
                </a:lnTo>
                <a:lnTo>
                  <a:pt x="2255852" y="170315"/>
                </a:lnTo>
                <a:cubicBezTo>
                  <a:pt x="2254030" y="172137"/>
                  <a:pt x="2255852" y="175781"/>
                  <a:pt x="2257674" y="177603"/>
                </a:cubicBezTo>
                <a:cubicBezTo>
                  <a:pt x="2256763" y="176692"/>
                  <a:pt x="2254941" y="174870"/>
                  <a:pt x="2253574" y="172820"/>
                </a:cubicBezTo>
                <a:lnTo>
                  <a:pt x="2252223" y="166738"/>
                </a:lnTo>
                <a:lnTo>
                  <a:pt x="2252301" y="166679"/>
                </a:lnTo>
                <a:lnTo>
                  <a:pt x="2259269" y="167353"/>
                </a:lnTo>
                <a:cubicBezTo>
                  <a:pt x="2261774" y="167581"/>
                  <a:pt x="2264052" y="167581"/>
                  <a:pt x="2264963" y="166670"/>
                </a:cubicBezTo>
                <a:cubicBezTo>
                  <a:pt x="2264963" y="164848"/>
                  <a:pt x="2261318" y="161204"/>
                  <a:pt x="2259496" y="161204"/>
                </a:cubicBezTo>
                <a:lnTo>
                  <a:pt x="2252301" y="166679"/>
                </a:lnTo>
                <a:lnTo>
                  <a:pt x="2252207" y="166670"/>
                </a:lnTo>
                <a:lnTo>
                  <a:pt x="2252223" y="166738"/>
                </a:lnTo>
                <a:lnTo>
                  <a:pt x="2249019" y="169175"/>
                </a:lnTo>
                <a:cubicBezTo>
                  <a:pt x="2248108" y="173048"/>
                  <a:pt x="2249474" y="177603"/>
                  <a:pt x="2252207" y="181248"/>
                </a:cubicBezTo>
                <a:cubicBezTo>
                  <a:pt x="2243096" y="177603"/>
                  <a:pt x="2235808" y="186714"/>
                  <a:pt x="2230341" y="181248"/>
                </a:cubicBezTo>
                <a:cubicBezTo>
                  <a:pt x="2228519" y="179426"/>
                  <a:pt x="2230341" y="173959"/>
                  <a:pt x="2228519" y="172137"/>
                </a:cubicBezTo>
                <a:cubicBezTo>
                  <a:pt x="2226697" y="172137"/>
                  <a:pt x="2224875" y="172137"/>
                  <a:pt x="2223053" y="172137"/>
                </a:cubicBezTo>
                <a:cubicBezTo>
                  <a:pt x="2224875" y="177603"/>
                  <a:pt x="2232163" y="183070"/>
                  <a:pt x="2228519" y="188536"/>
                </a:cubicBezTo>
                <a:cubicBezTo>
                  <a:pt x="2226697" y="184892"/>
                  <a:pt x="2219408" y="186714"/>
                  <a:pt x="2219408" y="181248"/>
                </a:cubicBezTo>
                <a:cubicBezTo>
                  <a:pt x="2213942" y="184892"/>
                  <a:pt x="2213942" y="190359"/>
                  <a:pt x="2217586" y="194003"/>
                </a:cubicBezTo>
                <a:cubicBezTo>
                  <a:pt x="2221230" y="197647"/>
                  <a:pt x="2239452" y="201292"/>
                  <a:pt x="2237630" y="192181"/>
                </a:cubicBezTo>
                <a:cubicBezTo>
                  <a:pt x="2241274" y="192181"/>
                  <a:pt x="2243096" y="194003"/>
                  <a:pt x="2243096" y="195825"/>
                </a:cubicBezTo>
                <a:cubicBezTo>
                  <a:pt x="2244919" y="194003"/>
                  <a:pt x="2244919" y="192181"/>
                  <a:pt x="2244919" y="190359"/>
                </a:cubicBezTo>
                <a:cubicBezTo>
                  <a:pt x="2254030" y="195825"/>
                  <a:pt x="2255852" y="183070"/>
                  <a:pt x="2261318" y="179426"/>
                </a:cubicBezTo>
                <a:cubicBezTo>
                  <a:pt x="2261318" y="179426"/>
                  <a:pt x="2257674" y="183070"/>
                  <a:pt x="2263140" y="183070"/>
                </a:cubicBezTo>
                <a:cubicBezTo>
                  <a:pt x="2259496" y="188536"/>
                  <a:pt x="2246741" y="194003"/>
                  <a:pt x="2250385" y="201292"/>
                </a:cubicBezTo>
                <a:cubicBezTo>
                  <a:pt x="2250385" y="201292"/>
                  <a:pt x="2252207" y="201292"/>
                  <a:pt x="2252207" y="199469"/>
                </a:cubicBezTo>
                <a:cubicBezTo>
                  <a:pt x="2255852" y="204936"/>
                  <a:pt x="2246741" y="208580"/>
                  <a:pt x="2248563" y="214047"/>
                </a:cubicBezTo>
                <a:cubicBezTo>
                  <a:pt x="2244919" y="212225"/>
                  <a:pt x="2250385" y="204936"/>
                  <a:pt x="2243096" y="206758"/>
                </a:cubicBezTo>
                <a:cubicBezTo>
                  <a:pt x="2243096" y="208580"/>
                  <a:pt x="2244919" y="208580"/>
                  <a:pt x="2244919" y="210403"/>
                </a:cubicBezTo>
                <a:cubicBezTo>
                  <a:pt x="2235808" y="206758"/>
                  <a:pt x="2219408" y="192181"/>
                  <a:pt x="2215764" y="206758"/>
                </a:cubicBezTo>
                <a:cubicBezTo>
                  <a:pt x="2213942" y="208580"/>
                  <a:pt x="2215764" y="212225"/>
                  <a:pt x="2219408" y="214047"/>
                </a:cubicBezTo>
                <a:cubicBezTo>
                  <a:pt x="2210297" y="223158"/>
                  <a:pt x="2221230" y="235913"/>
                  <a:pt x="2217586" y="243202"/>
                </a:cubicBezTo>
                <a:cubicBezTo>
                  <a:pt x="2215764" y="246846"/>
                  <a:pt x="2219408" y="234091"/>
                  <a:pt x="2219408" y="230446"/>
                </a:cubicBezTo>
                <a:cubicBezTo>
                  <a:pt x="2215764" y="234091"/>
                  <a:pt x="2221230" y="239557"/>
                  <a:pt x="2219408" y="245024"/>
                </a:cubicBezTo>
                <a:cubicBezTo>
                  <a:pt x="2233986" y="246846"/>
                  <a:pt x="2235808" y="228624"/>
                  <a:pt x="2250385" y="224980"/>
                </a:cubicBezTo>
                <a:cubicBezTo>
                  <a:pt x="2243096" y="228624"/>
                  <a:pt x="2237630" y="235913"/>
                  <a:pt x="2241274" y="243202"/>
                </a:cubicBezTo>
                <a:cubicBezTo>
                  <a:pt x="2241274" y="241379"/>
                  <a:pt x="2241274" y="237735"/>
                  <a:pt x="2243096" y="237735"/>
                </a:cubicBezTo>
                <a:cubicBezTo>
                  <a:pt x="2246741" y="237735"/>
                  <a:pt x="2250385" y="243202"/>
                  <a:pt x="2252207" y="245024"/>
                </a:cubicBezTo>
                <a:cubicBezTo>
                  <a:pt x="2252207" y="241379"/>
                  <a:pt x="2250385" y="237735"/>
                  <a:pt x="2254030" y="235913"/>
                </a:cubicBezTo>
                <a:cubicBezTo>
                  <a:pt x="2259496" y="248668"/>
                  <a:pt x="2277718" y="239557"/>
                  <a:pt x="2288651" y="239557"/>
                </a:cubicBezTo>
                <a:cubicBezTo>
                  <a:pt x="2288651" y="237735"/>
                  <a:pt x="2288651" y="234091"/>
                  <a:pt x="2286829" y="232269"/>
                </a:cubicBezTo>
                <a:cubicBezTo>
                  <a:pt x="2283184" y="237735"/>
                  <a:pt x="2279540" y="235913"/>
                  <a:pt x="2275896" y="239557"/>
                </a:cubicBezTo>
                <a:cubicBezTo>
                  <a:pt x="2281363" y="235913"/>
                  <a:pt x="2283185" y="228624"/>
                  <a:pt x="2285462" y="222474"/>
                </a:cubicBezTo>
                <a:lnTo>
                  <a:pt x="2289488" y="219120"/>
                </a:lnTo>
                <a:lnTo>
                  <a:pt x="2292751" y="231813"/>
                </a:lnTo>
                <a:cubicBezTo>
                  <a:pt x="2295940" y="236824"/>
                  <a:pt x="2300495" y="241379"/>
                  <a:pt x="2305050" y="245024"/>
                </a:cubicBezTo>
                <a:cubicBezTo>
                  <a:pt x="2305050" y="241379"/>
                  <a:pt x="2303228" y="232269"/>
                  <a:pt x="2310517" y="230446"/>
                </a:cubicBezTo>
                <a:cubicBezTo>
                  <a:pt x="2319628" y="230446"/>
                  <a:pt x="2328739" y="239557"/>
                  <a:pt x="2336027" y="232269"/>
                </a:cubicBezTo>
                <a:cubicBezTo>
                  <a:pt x="2336027" y="235913"/>
                  <a:pt x="2334205" y="237735"/>
                  <a:pt x="2337850" y="237735"/>
                </a:cubicBezTo>
                <a:cubicBezTo>
                  <a:pt x="2332383" y="228624"/>
                  <a:pt x="2343316" y="223158"/>
                  <a:pt x="2343316" y="214047"/>
                </a:cubicBezTo>
                <a:cubicBezTo>
                  <a:pt x="2345138" y="215869"/>
                  <a:pt x="2346960" y="215869"/>
                  <a:pt x="2350605" y="215869"/>
                </a:cubicBezTo>
                <a:cubicBezTo>
                  <a:pt x="2356071" y="215869"/>
                  <a:pt x="2352427" y="223158"/>
                  <a:pt x="2350605" y="226802"/>
                </a:cubicBezTo>
                <a:cubicBezTo>
                  <a:pt x="2356071" y="226802"/>
                  <a:pt x="2361538" y="223158"/>
                  <a:pt x="2357893" y="217691"/>
                </a:cubicBezTo>
                <a:cubicBezTo>
                  <a:pt x="2363360" y="217691"/>
                  <a:pt x="2365182" y="206758"/>
                  <a:pt x="2368827" y="215869"/>
                </a:cubicBezTo>
                <a:cubicBezTo>
                  <a:pt x="2371560" y="214047"/>
                  <a:pt x="2373838" y="211769"/>
                  <a:pt x="2374976" y="209035"/>
                </a:cubicBezTo>
                <a:lnTo>
                  <a:pt x="2374320" y="199849"/>
                </a:lnTo>
                <a:lnTo>
                  <a:pt x="2379760" y="203114"/>
                </a:lnTo>
                <a:cubicBezTo>
                  <a:pt x="2379760" y="194003"/>
                  <a:pt x="2387048" y="190359"/>
                  <a:pt x="2392515" y="183070"/>
                </a:cubicBezTo>
                <a:cubicBezTo>
                  <a:pt x="2394337" y="190359"/>
                  <a:pt x="2381582" y="192181"/>
                  <a:pt x="2385226" y="199469"/>
                </a:cubicBezTo>
                <a:cubicBezTo>
                  <a:pt x="2396159" y="192181"/>
                  <a:pt x="2405270" y="183070"/>
                  <a:pt x="2416203" y="175781"/>
                </a:cubicBezTo>
                <a:cubicBezTo>
                  <a:pt x="2412559" y="175781"/>
                  <a:pt x="2408914" y="175781"/>
                  <a:pt x="2405270" y="177603"/>
                </a:cubicBezTo>
                <a:cubicBezTo>
                  <a:pt x="2405270" y="175781"/>
                  <a:pt x="2407092" y="173959"/>
                  <a:pt x="2407092" y="172137"/>
                </a:cubicBezTo>
                <a:cubicBezTo>
                  <a:pt x="2427136" y="173959"/>
                  <a:pt x="2456291" y="164848"/>
                  <a:pt x="2450824" y="150271"/>
                </a:cubicBezTo>
                <a:cubicBezTo>
                  <a:pt x="2447180" y="142982"/>
                  <a:pt x="2432603" y="159382"/>
                  <a:pt x="2418025" y="159382"/>
                </a:cubicBezTo>
                <a:cubicBezTo>
                  <a:pt x="2428958" y="150271"/>
                  <a:pt x="2445358" y="150271"/>
                  <a:pt x="2452647" y="141160"/>
                </a:cubicBezTo>
                <a:cubicBezTo>
                  <a:pt x="2456291" y="137516"/>
                  <a:pt x="2458113" y="128405"/>
                  <a:pt x="2450824" y="124760"/>
                </a:cubicBezTo>
                <a:cubicBezTo>
                  <a:pt x="2449002" y="130227"/>
                  <a:pt x="2443536" y="135693"/>
                  <a:pt x="2445358" y="141160"/>
                </a:cubicBezTo>
                <a:cubicBezTo>
                  <a:pt x="2441713" y="141160"/>
                  <a:pt x="2443536" y="133871"/>
                  <a:pt x="2438069" y="135693"/>
                </a:cubicBezTo>
                <a:cubicBezTo>
                  <a:pt x="2439891" y="137516"/>
                  <a:pt x="2439891" y="139338"/>
                  <a:pt x="2438069" y="141160"/>
                </a:cubicBezTo>
                <a:cubicBezTo>
                  <a:pt x="2434425" y="137516"/>
                  <a:pt x="2439891" y="130227"/>
                  <a:pt x="2436247" y="128405"/>
                </a:cubicBezTo>
                <a:cubicBezTo>
                  <a:pt x="2434425" y="126583"/>
                  <a:pt x="2428958" y="132049"/>
                  <a:pt x="2425314" y="130227"/>
                </a:cubicBezTo>
                <a:cubicBezTo>
                  <a:pt x="2423492" y="128405"/>
                  <a:pt x="2427136" y="124760"/>
                  <a:pt x="2423492" y="122938"/>
                </a:cubicBezTo>
                <a:close/>
                <a:moveTo>
                  <a:pt x="2233986" y="122938"/>
                </a:moveTo>
                <a:cubicBezTo>
                  <a:pt x="2232163" y="126583"/>
                  <a:pt x="2233986" y="130227"/>
                  <a:pt x="2226697" y="130227"/>
                </a:cubicBezTo>
                <a:cubicBezTo>
                  <a:pt x="2226697" y="133871"/>
                  <a:pt x="2228519" y="135693"/>
                  <a:pt x="2228519" y="141160"/>
                </a:cubicBezTo>
                <a:cubicBezTo>
                  <a:pt x="2223053" y="142982"/>
                  <a:pt x="2226697" y="137516"/>
                  <a:pt x="2223053" y="137516"/>
                </a:cubicBezTo>
                <a:cubicBezTo>
                  <a:pt x="2223053" y="141160"/>
                  <a:pt x="2226697" y="141160"/>
                  <a:pt x="2224875" y="144804"/>
                </a:cubicBezTo>
                <a:cubicBezTo>
                  <a:pt x="2224875" y="146626"/>
                  <a:pt x="2228519" y="139338"/>
                  <a:pt x="2232163" y="139338"/>
                </a:cubicBezTo>
                <a:cubicBezTo>
                  <a:pt x="2226697" y="135693"/>
                  <a:pt x="2230341" y="132049"/>
                  <a:pt x="2235808" y="130227"/>
                </a:cubicBezTo>
                <a:cubicBezTo>
                  <a:pt x="2237630" y="126583"/>
                  <a:pt x="2233986" y="126583"/>
                  <a:pt x="2233986" y="122938"/>
                </a:cubicBezTo>
                <a:close/>
                <a:moveTo>
                  <a:pt x="2130122" y="122938"/>
                </a:moveTo>
                <a:cubicBezTo>
                  <a:pt x="2126477" y="122938"/>
                  <a:pt x="2128300" y="124760"/>
                  <a:pt x="2128300" y="128405"/>
                </a:cubicBezTo>
                <a:cubicBezTo>
                  <a:pt x="2131944" y="130227"/>
                  <a:pt x="2131944" y="124760"/>
                  <a:pt x="2130122" y="122938"/>
                </a:cubicBezTo>
                <a:close/>
                <a:moveTo>
                  <a:pt x="2072935" y="122798"/>
                </a:moveTo>
                <a:lnTo>
                  <a:pt x="2073114" y="124239"/>
                </a:lnTo>
                <a:lnTo>
                  <a:pt x="2072723" y="123849"/>
                </a:lnTo>
                <a:close/>
                <a:moveTo>
                  <a:pt x="2089123" y="120661"/>
                </a:moveTo>
                <a:cubicBezTo>
                  <a:pt x="2088212" y="120661"/>
                  <a:pt x="2087301" y="121116"/>
                  <a:pt x="2086390" y="122938"/>
                </a:cubicBezTo>
                <a:cubicBezTo>
                  <a:pt x="2093679" y="124760"/>
                  <a:pt x="2093679" y="132049"/>
                  <a:pt x="2099145" y="135693"/>
                </a:cubicBezTo>
                <a:cubicBezTo>
                  <a:pt x="2100967" y="132049"/>
                  <a:pt x="2091856" y="126583"/>
                  <a:pt x="2091856" y="121116"/>
                </a:cubicBezTo>
                <a:cubicBezTo>
                  <a:pt x="2090945" y="121116"/>
                  <a:pt x="2090034" y="120661"/>
                  <a:pt x="2089123" y="120661"/>
                </a:cubicBezTo>
                <a:close/>
                <a:moveTo>
                  <a:pt x="2173854" y="119294"/>
                </a:moveTo>
                <a:cubicBezTo>
                  <a:pt x="2173854" y="124760"/>
                  <a:pt x="2177498" y="126583"/>
                  <a:pt x="2179320" y="130227"/>
                </a:cubicBezTo>
                <a:cubicBezTo>
                  <a:pt x="2182965" y="128405"/>
                  <a:pt x="2173854" y="121116"/>
                  <a:pt x="2179320" y="119294"/>
                </a:cubicBezTo>
                <a:cubicBezTo>
                  <a:pt x="2177498" y="119294"/>
                  <a:pt x="2175676" y="119294"/>
                  <a:pt x="2173854" y="119294"/>
                </a:cubicBezTo>
                <a:close/>
                <a:moveTo>
                  <a:pt x="2285007" y="117472"/>
                </a:moveTo>
                <a:cubicBezTo>
                  <a:pt x="2281362" y="117472"/>
                  <a:pt x="2283184" y="121116"/>
                  <a:pt x="2279540" y="121116"/>
                </a:cubicBezTo>
                <a:cubicBezTo>
                  <a:pt x="2279540" y="124760"/>
                  <a:pt x="2283184" y="124760"/>
                  <a:pt x="2286829" y="122938"/>
                </a:cubicBezTo>
                <a:cubicBezTo>
                  <a:pt x="2286829" y="119294"/>
                  <a:pt x="2286829" y="119294"/>
                  <a:pt x="2285007" y="117472"/>
                </a:cubicBezTo>
                <a:close/>
                <a:moveTo>
                  <a:pt x="2270429" y="117472"/>
                </a:moveTo>
                <a:cubicBezTo>
                  <a:pt x="2263140" y="117472"/>
                  <a:pt x="2266785" y="124760"/>
                  <a:pt x="2264963" y="126583"/>
                </a:cubicBezTo>
                <a:cubicBezTo>
                  <a:pt x="2268607" y="128405"/>
                  <a:pt x="2270429" y="122938"/>
                  <a:pt x="2274074" y="124760"/>
                </a:cubicBezTo>
                <a:cubicBezTo>
                  <a:pt x="2275896" y="121116"/>
                  <a:pt x="2272251" y="121116"/>
                  <a:pt x="2270429" y="117472"/>
                </a:cubicBezTo>
                <a:close/>
                <a:moveTo>
                  <a:pt x="2550860" y="116154"/>
                </a:moveTo>
                <a:lnTo>
                  <a:pt x="2550361" y="122482"/>
                </a:lnTo>
                <a:lnTo>
                  <a:pt x="2548002" y="125403"/>
                </a:lnTo>
                <a:lnTo>
                  <a:pt x="2547713" y="124817"/>
                </a:lnTo>
                <a:close/>
                <a:moveTo>
                  <a:pt x="2186609" y="115649"/>
                </a:moveTo>
                <a:cubicBezTo>
                  <a:pt x="2179320" y="115649"/>
                  <a:pt x="2184787" y="122938"/>
                  <a:pt x="2188431" y="124760"/>
                </a:cubicBezTo>
                <a:cubicBezTo>
                  <a:pt x="2190253" y="119294"/>
                  <a:pt x="2186609" y="119294"/>
                  <a:pt x="2186609" y="115649"/>
                </a:cubicBezTo>
                <a:close/>
                <a:moveTo>
                  <a:pt x="2294117" y="113827"/>
                </a:moveTo>
                <a:cubicBezTo>
                  <a:pt x="2295940" y="117472"/>
                  <a:pt x="2295940" y="121116"/>
                  <a:pt x="2299584" y="121116"/>
                </a:cubicBezTo>
                <a:cubicBezTo>
                  <a:pt x="2306873" y="117472"/>
                  <a:pt x="2297762" y="110183"/>
                  <a:pt x="2294117" y="113827"/>
                </a:cubicBezTo>
                <a:close/>
                <a:moveTo>
                  <a:pt x="2259496" y="110183"/>
                </a:moveTo>
                <a:cubicBezTo>
                  <a:pt x="2255852" y="110183"/>
                  <a:pt x="2255852" y="113827"/>
                  <a:pt x="2255852" y="115649"/>
                </a:cubicBezTo>
                <a:cubicBezTo>
                  <a:pt x="2257674" y="115649"/>
                  <a:pt x="2259496" y="115649"/>
                  <a:pt x="2261318" y="115649"/>
                </a:cubicBezTo>
                <a:cubicBezTo>
                  <a:pt x="2261318" y="112005"/>
                  <a:pt x="2259496" y="112005"/>
                  <a:pt x="2259496" y="110183"/>
                </a:cubicBezTo>
                <a:close/>
                <a:moveTo>
                  <a:pt x="2150166" y="110183"/>
                </a:moveTo>
                <a:cubicBezTo>
                  <a:pt x="2148344" y="110183"/>
                  <a:pt x="2146521" y="112005"/>
                  <a:pt x="2146521" y="113827"/>
                </a:cubicBezTo>
                <a:cubicBezTo>
                  <a:pt x="2148344" y="115649"/>
                  <a:pt x="2155632" y="117472"/>
                  <a:pt x="2153810" y="112005"/>
                </a:cubicBezTo>
                <a:cubicBezTo>
                  <a:pt x="2151988" y="112005"/>
                  <a:pt x="2150166" y="112005"/>
                  <a:pt x="2150166" y="110183"/>
                </a:cubicBezTo>
                <a:close/>
                <a:moveTo>
                  <a:pt x="2095500" y="110183"/>
                </a:moveTo>
                <a:cubicBezTo>
                  <a:pt x="2093679" y="113827"/>
                  <a:pt x="2090034" y="115649"/>
                  <a:pt x="2093679" y="117472"/>
                </a:cubicBezTo>
                <a:cubicBezTo>
                  <a:pt x="2095500" y="117472"/>
                  <a:pt x="2099145" y="117472"/>
                  <a:pt x="2099145" y="119294"/>
                </a:cubicBezTo>
                <a:cubicBezTo>
                  <a:pt x="2097323" y="126583"/>
                  <a:pt x="2106433" y="130227"/>
                  <a:pt x="2108256" y="137516"/>
                </a:cubicBezTo>
                <a:cubicBezTo>
                  <a:pt x="2110078" y="135693"/>
                  <a:pt x="2108256" y="133871"/>
                  <a:pt x="2108256" y="128405"/>
                </a:cubicBezTo>
                <a:cubicBezTo>
                  <a:pt x="2111900" y="128405"/>
                  <a:pt x="2111900" y="135693"/>
                  <a:pt x="2117366" y="133871"/>
                </a:cubicBezTo>
                <a:cubicBezTo>
                  <a:pt x="2111900" y="122938"/>
                  <a:pt x="2111900" y="121116"/>
                  <a:pt x="2102790" y="113827"/>
                </a:cubicBezTo>
                <a:cubicBezTo>
                  <a:pt x="2104611" y="113827"/>
                  <a:pt x="2104611" y="117472"/>
                  <a:pt x="2106433" y="115649"/>
                </a:cubicBezTo>
                <a:cubicBezTo>
                  <a:pt x="2106433" y="104716"/>
                  <a:pt x="2097323" y="117472"/>
                  <a:pt x="2095500" y="110183"/>
                </a:cubicBezTo>
                <a:close/>
                <a:moveTo>
                  <a:pt x="2263140" y="108361"/>
                </a:moveTo>
                <a:cubicBezTo>
                  <a:pt x="2261318" y="112005"/>
                  <a:pt x="2263140" y="113827"/>
                  <a:pt x="2264963" y="115649"/>
                </a:cubicBezTo>
                <a:cubicBezTo>
                  <a:pt x="2268607" y="112005"/>
                  <a:pt x="2263140" y="110183"/>
                  <a:pt x="2263140" y="108361"/>
                </a:cubicBezTo>
                <a:close/>
                <a:moveTo>
                  <a:pt x="2496379" y="106539"/>
                </a:moveTo>
                <a:cubicBezTo>
                  <a:pt x="2498201" y="106539"/>
                  <a:pt x="2501845" y="108361"/>
                  <a:pt x="2503667" y="108361"/>
                </a:cubicBezTo>
                <a:cubicBezTo>
                  <a:pt x="2501845" y="108361"/>
                  <a:pt x="2498201" y="108361"/>
                  <a:pt x="2496379" y="110183"/>
                </a:cubicBezTo>
                <a:cubicBezTo>
                  <a:pt x="2496379" y="106539"/>
                  <a:pt x="2496379" y="104716"/>
                  <a:pt x="2496379" y="106539"/>
                </a:cubicBezTo>
                <a:close/>
                <a:moveTo>
                  <a:pt x="2394337" y="106539"/>
                </a:moveTo>
                <a:cubicBezTo>
                  <a:pt x="2388871" y="108361"/>
                  <a:pt x="2390693" y="108361"/>
                  <a:pt x="2385226" y="110183"/>
                </a:cubicBezTo>
                <a:cubicBezTo>
                  <a:pt x="2387048" y="112005"/>
                  <a:pt x="2387048" y="115649"/>
                  <a:pt x="2387048" y="117472"/>
                </a:cubicBezTo>
                <a:cubicBezTo>
                  <a:pt x="2388871" y="117472"/>
                  <a:pt x="2390693" y="117472"/>
                  <a:pt x="2392515" y="115649"/>
                </a:cubicBezTo>
                <a:cubicBezTo>
                  <a:pt x="2392515" y="121116"/>
                  <a:pt x="2397981" y="128405"/>
                  <a:pt x="2403448" y="122938"/>
                </a:cubicBezTo>
                <a:cubicBezTo>
                  <a:pt x="2410737" y="115649"/>
                  <a:pt x="2401626" y="112005"/>
                  <a:pt x="2394337" y="106539"/>
                </a:cubicBezTo>
                <a:close/>
                <a:moveTo>
                  <a:pt x="2478157" y="102894"/>
                </a:moveTo>
                <a:cubicBezTo>
                  <a:pt x="2474513" y="104716"/>
                  <a:pt x="2479979" y="108361"/>
                  <a:pt x="2478157" y="112005"/>
                </a:cubicBezTo>
                <a:cubicBezTo>
                  <a:pt x="2481801" y="110183"/>
                  <a:pt x="2479979" y="104716"/>
                  <a:pt x="2478157" y="102894"/>
                </a:cubicBezTo>
                <a:close/>
                <a:moveTo>
                  <a:pt x="2385226" y="102894"/>
                </a:moveTo>
                <a:cubicBezTo>
                  <a:pt x="2372471" y="106539"/>
                  <a:pt x="2368827" y="112005"/>
                  <a:pt x="2377937" y="121116"/>
                </a:cubicBezTo>
                <a:cubicBezTo>
                  <a:pt x="2385226" y="117472"/>
                  <a:pt x="2387048" y="106539"/>
                  <a:pt x="2385226" y="102894"/>
                </a:cubicBezTo>
                <a:close/>
                <a:moveTo>
                  <a:pt x="2263140" y="102894"/>
                </a:moveTo>
                <a:cubicBezTo>
                  <a:pt x="2261318" y="108361"/>
                  <a:pt x="2266785" y="110183"/>
                  <a:pt x="2270429" y="110183"/>
                </a:cubicBezTo>
                <a:cubicBezTo>
                  <a:pt x="2272251" y="106539"/>
                  <a:pt x="2266785" y="106539"/>
                  <a:pt x="2270429" y="104716"/>
                </a:cubicBezTo>
                <a:cubicBezTo>
                  <a:pt x="2268607" y="102894"/>
                  <a:pt x="2266785" y="102894"/>
                  <a:pt x="2263140" y="102894"/>
                </a:cubicBezTo>
                <a:close/>
                <a:moveTo>
                  <a:pt x="2128300" y="102894"/>
                </a:moveTo>
                <a:lnTo>
                  <a:pt x="2129758" y="107267"/>
                </a:lnTo>
                <a:lnTo>
                  <a:pt x="2129149" y="108485"/>
                </a:lnTo>
                <a:lnTo>
                  <a:pt x="2127659" y="108676"/>
                </a:lnTo>
                <a:lnTo>
                  <a:pt x="2125461" y="103511"/>
                </a:lnTo>
                <a:close/>
                <a:moveTo>
                  <a:pt x="2458113" y="101072"/>
                </a:moveTo>
                <a:cubicBezTo>
                  <a:pt x="2458113" y="101072"/>
                  <a:pt x="2454469" y="101072"/>
                  <a:pt x="2454469" y="102894"/>
                </a:cubicBezTo>
                <a:cubicBezTo>
                  <a:pt x="2454469" y="106539"/>
                  <a:pt x="2450824" y="112005"/>
                  <a:pt x="2445358" y="113827"/>
                </a:cubicBezTo>
                <a:cubicBezTo>
                  <a:pt x="2443536" y="117472"/>
                  <a:pt x="2445358" y="117472"/>
                  <a:pt x="2449002" y="117472"/>
                </a:cubicBezTo>
                <a:cubicBezTo>
                  <a:pt x="2449002" y="108361"/>
                  <a:pt x="2454469" y="110183"/>
                  <a:pt x="2458113" y="112005"/>
                </a:cubicBezTo>
                <a:cubicBezTo>
                  <a:pt x="2458113" y="112005"/>
                  <a:pt x="2459935" y="115649"/>
                  <a:pt x="2461757" y="117472"/>
                </a:cubicBezTo>
                <a:cubicBezTo>
                  <a:pt x="2467224" y="115649"/>
                  <a:pt x="2476335" y="110183"/>
                  <a:pt x="2467224" y="104716"/>
                </a:cubicBezTo>
                <a:cubicBezTo>
                  <a:pt x="2467224" y="106539"/>
                  <a:pt x="2467224" y="110183"/>
                  <a:pt x="2465402" y="110183"/>
                </a:cubicBezTo>
                <a:cubicBezTo>
                  <a:pt x="2461757" y="108361"/>
                  <a:pt x="2459935" y="102894"/>
                  <a:pt x="2458113" y="106539"/>
                </a:cubicBezTo>
                <a:cubicBezTo>
                  <a:pt x="2456291" y="106539"/>
                  <a:pt x="2456291" y="101072"/>
                  <a:pt x="2458113" y="101072"/>
                </a:cubicBezTo>
                <a:close/>
                <a:moveTo>
                  <a:pt x="2560155" y="99250"/>
                </a:moveTo>
                <a:cubicBezTo>
                  <a:pt x="2554688" y="99250"/>
                  <a:pt x="2554688" y="104716"/>
                  <a:pt x="2554688" y="108361"/>
                </a:cubicBezTo>
                <a:cubicBezTo>
                  <a:pt x="2558332" y="106539"/>
                  <a:pt x="2561977" y="101072"/>
                  <a:pt x="2560155" y="99250"/>
                </a:cubicBezTo>
                <a:close/>
                <a:moveTo>
                  <a:pt x="2370649" y="99250"/>
                </a:moveTo>
                <a:cubicBezTo>
                  <a:pt x="2363360" y="95606"/>
                  <a:pt x="2361538" y="112005"/>
                  <a:pt x="2352427" y="110183"/>
                </a:cubicBezTo>
                <a:cubicBezTo>
                  <a:pt x="2352427" y="117472"/>
                  <a:pt x="2359716" y="117472"/>
                  <a:pt x="2363360" y="112005"/>
                </a:cubicBezTo>
                <a:cubicBezTo>
                  <a:pt x="2359716" y="119294"/>
                  <a:pt x="2370649" y="122938"/>
                  <a:pt x="2376115" y="121116"/>
                </a:cubicBezTo>
                <a:cubicBezTo>
                  <a:pt x="2370649" y="117472"/>
                  <a:pt x="2372471" y="104716"/>
                  <a:pt x="2363360" y="106539"/>
                </a:cubicBezTo>
                <a:cubicBezTo>
                  <a:pt x="2368827" y="106539"/>
                  <a:pt x="2367004" y="99250"/>
                  <a:pt x="2370649" y="99250"/>
                </a:cubicBezTo>
                <a:close/>
                <a:moveTo>
                  <a:pt x="2098689" y="98794"/>
                </a:moveTo>
                <a:lnTo>
                  <a:pt x="2099116" y="98958"/>
                </a:lnTo>
                <a:lnTo>
                  <a:pt x="2099145" y="99250"/>
                </a:lnTo>
                <a:lnTo>
                  <a:pt x="2098523" y="98818"/>
                </a:lnTo>
                <a:close/>
                <a:moveTo>
                  <a:pt x="2159277" y="97428"/>
                </a:moveTo>
                <a:cubicBezTo>
                  <a:pt x="2151988" y="97428"/>
                  <a:pt x="2157454" y="108361"/>
                  <a:pt x="2161099" y="112005"/>
                </a:cubicBezTo>
                <a:cubicBezTo>
                  <a:pt x="2162921" y="112005"/>
                  <a:pt x="2161099" y="110183"/>
                  <a:pt x="2161099" y="110183"/>
                </a:cubicBezTo>
                <a:cubicBezTo>
                  <a:pt x="2162921" y="106539"/>
                  <a:pt x="2162921" y="108361"/>
                  <a:pt x="2164743" y="108361"/>
                </a:cubicBezTo>
                <a:cubicBezTo>
                  <a:pt x="2159277" y="108361"/>
                  <a:pt x="2159277" y="102894"/>
                  <a:pt x="2159277" y="97428"/>
                </a:cubicBezTo>
                <a:close/>
                <a:moveTo>
                  <a:pt x="2363360" y="95606"/>
                </a:moveTo>
                <a:cubicBezTo>
                  <a:pt x="2356071" y="99250"/>
                  <a:pt x="2352427" y="97428"/>
                  <a:pt x="2343316" y="97428"/>
                </a:cubicBezTo>
                <a:cubicBezTo>
                  <a:pt x="2343316" y="101072"/>
                  <a:pt x="2345138" y="104716"/>
                  <a:pt x="2343316" y="106539"/>
                </a:cubicBezTo>
                <a:cubicBezTo>
                  <a:pt x="2357893" y="101072"/>
                  <a:pt x="2343316" y="101072"/>
                  <a:pt x="2346960" y="99250"/>
                </a:cubicBezTo>
                <a:cubicBezTo>
                  <a:pt x="2348782" y="99250"/>
                  <a:pt x="2352427" y="99250"/>
                  <a:pt x="2356071" y="99250"/>
                </a:cubicBezTo>
                <a:cubicBezTo>
                  <a:pt x="2357893" y="99250"/>
                  <a:pt x="2352427" y="104716"/>
                  <a:pt x="2357893" y="102894"/>
                </a:cubicBezTo>
                <a:cubicBezTo>
                  <a:pt x="2361538" y="102894"/>
                  <a:pt x="2365182" y="99250"/>
                  <a:pt x="2363360" y="95606"/>
                </a:cubicBezTo>
                <a:close/>
                <a:moveTo>
                  <a:pt x="2213942" y="95606"/>
                </a:moveTo>
                <a:cubicBezTo>
                  <a:pt x="2217586" y="97428"/>
                  <a:pt x="2217586" y="101072"/>
                  <a:pt x="2215764" y="102894"/>
                </a:cubicBezTo>
                <a:cubicBezTo>
                  <a:pt x="2217586" y="102894"/>
                  <a:pt x="2221230" y="102894"/>
                  <a:pt x="2223053" y="101072"/>
                </a:cubicBezTo>
                <a:cubicBezTo>
                  <a:pt x="2223053" y="102894"/>
                  <a:pt x="2223053" y="102894"/>
                  <a:pt x="2223053" y="104716"/>
                </a:cubicBezTo>
                <a:cubicBezTo>
                  <a:pt x="2215764" y="104716"/>
                  <a:pt x="2210297" y="106539"/>
                  <a:pt x="2206653" y="112005"/>
                </a:cubicBezTo>
                <a:cubicBezTo>
                  <a:pt x="2206653" y="106539"/>
                  <a:pt x="2215764" y="102894"/>
                  <a:pt x="2213942" y="95606"/>
                </a:cubicBezTo>
                <a:close/>
                <a:moveTo>
                  <a:pt x="2567443" y="93783"/>
                </a:moveTo>
                <a:cubicBezTo>
                  <a:pt x="2565621" y="93783"/>
                  <a:pt x="2561977" y="93783"/>
                  <a:pt x="2561977" y="95606"/>
                </a:cubicBezTo>
                <a:cubicBezTo>
                  <a:pt x="2565621" y="108361"/>
                  <a:pt x="2563799" y="90139"/>
                  <a:pt x="2569266" y="97428"/>
                </a:cubicBezTo>
                <a:cubicBezTo>
                  <a:pt x="2567443" y="95606"/>
                  <a:pt x="2567443" y="95606"/>
                  <a:pt x="2567443" y="93783"/>
                </a:cubicBezTo>
                <a:close/>
                <a:moveTo>
                  <a:pt x="2111605" y="93561"/>
                </a:moveTo>
                <a:lnTo>
                  <a:pt x="2111900" y="93783"/>
                </a:lnTo>
                <a:lnTo>
                  <a:pt x="2111918" y="93863"/>
                </a:lnTo>
                <a:close/>
                <a:moveTo>
                  <a:pt x="2616642" y="91961"/>
                </a:moveTo>
                <a:cubicBezTo>
                  <a:pt x="2618464" y="93783"/>
                  <a:pt x="2620287" y="95606"/>
                  <a:pt x="2620287" y="97428"/>
                </a:cubicBezTo>
                <a:cubicBezTo>
                  <a:pt x="2620287" y="97428"/>
                  <a:pt x="2620287" y="95606"/>
                  <a:pt x="2620287" y="93783"/>
                </a:cubicBezTo>
                <a:cubicBezTo>
                  <a:pt x="2618464" y="93783"/>
                  <a:pt x="2616642" y="93783"/>
                  <a:pt x="2616642" y="91961"/>
                </a:cubicBezTo>
                <a:close/>
                <a:moveTo>
                  <a:pt x="2308695" y="91961"/>
                </a:moveTo>
                <a:cubicBezTo>
                  <a:pt x="2305050" y="93783"/>
                  <a:pt x="2306873" y="97428"/>
                  <a:pt x="2303228" y="97428"/>
                </a:cubicBezTo>
                <a:cubicBezTo>
                  <a:pt x="2303228" y="101072"/>
                  <a:pt x="2308695" y="106539"/>
                  <a:pt x="2312339" y="102894"/>
                </a:cubicBezTo>
                <a:cubicBezTo>
                  <a:pt x="2310517" y="99250"/>
                  <a:pt x="2305050" y="101072"/>
                  <a:pt x="2305050" y="97428"/>
                </a:cubicBezTo>
                <a:cubicBezTo>
                  <a:pt x="2306873" y="95606"/>
                  <a:pt x="2308695" y="95606"/>
                  <a:pt x="2308695" y="97428"/>
                </a:cubicBezTo>
                <a:cubicBezTo>
                  <a:pt x="2312339" y="95606"/>
                  <a:pt x="2310517" y="91961"/>
                  <a:pt x="2308695" y="91961"/>
                </a:cubicBezTo>
                <a:close/>
                <a:moveTo>
                  <a:pt x="2279540" y="91961"/>
                </a:moveTo>
                <a:cubicBezTo>
                  <a:pt x="2272251" y="93783"/>
                  <a:pt x="2275896" y="99250"/>
                  <a:pt x="2275896" y="102894"/>
                </a:cubicBezTo>
                <a:cubicBezTo>
                  <a:pt x="2279540" y="101072"/>
                  <a:pt x="2277718" y="97428"/>
                  <a:pt x="2281362" y="95606"/>
                </a:cubicBezTo>
                <a:cubicBezTo>
                  <a:pt x="2281362" y="93783"/>
                  <a:pt x="2279540" y="93783"/>
                  <a:pt x="2279540" y="91961"/>
                </a:cubicBezTo>
                <a:close/>
                <a:moveTo>
                  <a:pt x="2403448" y="90139"/>
                </a:moveTo>
                <a:cubicBezTo>
                  <a:pt x="2399803" y="93783"/>
                  <a:pt x="2399803" y="97428"/>
                  <a:pt x="2399803" y="101072"/>
                </a:cubicBezTo>
                <a:cubicBezTo>
                  <a:pt x="2407092" y="99250"/>
                  <a:pt x="2403448" y="91961"/>
                  <a:pt x="2403448" y="90139"/>
                </a:cubicBezTo>
                <a:close/>
                <a:moveTo>
                  <a:pt x="2263140" y="90139"/>
                </a:moveTo>
                <a:cubicBezTo>
                  <a:pt x="2257674" y="90139"/>
                  <a:pt x="2257674" y="93783"/>
                  <a:pt x="2257674" y="97428"/>
                </a:cubicBezTo>
                <a:cubicBezTo>
                  <a:pt x="2259496" y="97428"/>
                  <a:pt x="2261318" y="95606"/>
                  <a:pt x="2264963" y="95606"/>
                </a:cubicBezTo>
                <a:cubicBezTo>
                  <a:pt x="2264963" y="93783"/>
                  <a:pt x="2264963" y="91961"/>
                  <a:pt x="2263140" y="90139"/>
                </a:cubicBezTo>
                <a:close/>
                <a:moveTo>
                  <a:pt x="2105594" y="89054"/>
                </a:moveTo>
                <a:lnTo>
                  <a:pt x="2107117" y="89228"/>
                </a:lnTo>
                <a:lnTo>
                  <a:pt x="2111605" y="93561"/>
                </a:lnTo>
                <a:close/>
                <a:moveTo>
                  <a:pt x="2598421" y="88317"/>
                </a:moveTo>
                <a:cubicBezTo>
                  <a:pt x="2592954" y="86495"/>
                  <a:pt x="2592954" y="95606"/>
                  <a:pt x="2598421" y="93783"/>
                </a:cubicBezTo>
                <a:cubicBezTo>
                  <a:pt x="2598421" y="91961"/>
                  <a:pt x="2598421" y="90139"/>
                  <a:pt x="2598421" y="88317"/>
                </a:cubicBezTo>
                <a:close/>
                <a:moveTo>
                  <a:pt x="2248563" y="88317"/>
                </a:moveTo>
                <a:cubicBezTo>
                  <a:pt x="2246741" y="90139"/>
                  <a:pt x="2246741" y="91961"/>
                  <a:pt x="2246741" y="93783"/>
                </a:cubicBezTo>
                <a:cubicBezTo>
                  <a:pt x="2252207" y="91961"/>
                  <a:pt x="2252207" y="95606"/>
                  <a:pt x="2255852" y="93783"/>
                </a:cubicBezTo>
                <a:cubicBezTo>
                  <a:pt x="2257674" y="90139"/>
                  <a:pt x="2254030" y="88317"/>
                  <a:pt x="2248563" y="88317"/>
                </a:cubicBezTo>
                <a:close/>
                <a:moveTo>
                  <a:pt x="2113722" y="88317"/>
                </a:moveTo>
                <a:cubicBezTo>
                  <a:pt x="2119189" y="93783"/>
                  <a:pt x="2126477" y="84673"/>
                  <a:pt x="2130122" y="90139"/>
                </a:cubicBezTo>
                <a:cubicBezTo>
                  <a:pt x="2126478" y="92872"/>
                  <a:pt x="2124200" y="96061"/>
                  <a:pt x="2123745" y="99477"/>
                </a:cubicBezTo>
                <a:lnTo>
                  <a:pt x="2125461" y="103511"/>
                </a:lnTo>
                <a:lnTo>
                  <a:pt x="2123061" y="104033"/>
                </a:lnTo>
                <a:cubicBezTo>
                  <a:pt x="2121467" y="102894"/>
                  <a:pt x="2120100" y="101072"/>
                  <a:pt x="2119189" y="101072"/>
                </a:cubicBezTo>
                <a:cubicBezTo>
                  <a:pt x="2119189" y="102894"/>
                  <a:pt x="2119189" y="104716"/>
                  <a:pt x="2121011" y="106539"/>
                </a:cubicBezTo>
                <a:cubicBezTo>
                  <a:pt x="2118278" y="104716"/>
                  <a:pt x="2115545" y="103805"/>
                  <a:pt x="2113722" y="102210"/>
                </a:cubicBezTo>
                <a:lnTo>
                  <a:pt x="2111918" y="93863"/>
                </a:lnTo>
                <a:lnTo>
                  <a:pt x="2113722" y="95606"/>
                </a:lnTo>
                <a:cubicBezTo>
                  <a:pt x="2115544" y="97428"/>
                  <a:pt x="2121011" y="95606"/>
                  <a:pt x="2113722" y="88317"/>
                </a:cubicBezTo>
                <a:close/>
                <a:moveTo>
                  <a:pt x="2104611" y="88317"/>
                </a:moveTo>
                <a:lnTo>
                  <a:pt x="2105594" y="89054"/>
                </a:lnTo>
                <a:lnTo>
                  <a:pt x="2104312" y="88907"/>
                </a:lnTo>
                <a:close/>
                <a:moveTo>
                  <a:pt x="2099145" y="88317"/>
                </a:moveTo>
                <a:lnTo>
                  <a:pt x="2104312" y="88907"/>
                </a:lnTo>
                <a:lnTo>
                  <a:pt x="2102562" y="92359"/>
                </a:lnTo>
                <a:cubicBezTo>
                  <a:pt x="2103246" y="96288"/>
                  <a:pt x="2110078" y="99705"/>
                  <a:pt x="2104611" y="101072"/>
                </a:cubicBezTo>
                <a:lnTo>
                  <a:pt x="2099116" y="98958"/>
                </a:lnTo>
                <a:lnTo>
                  <a:pt x="2098462" y="92417"/>
                </a:lnTo>
                <a:cubicBezTo>
                  <a:pt x="2097778" y="90139"/>
                  <a:pt x="2097323" y="88317"/>
                  <a:pt x="2099145" y="88317"/>
                </a:cubicBezTo>
                <a:close/>
                <a:moveTo>
                  <a:pt x="2787927" y="86495"/>
                </a:moveTo>
                <a:lnTo>
                  <a:pt x="2787927" y="94663"/>
                </a:lnTo>
                <a:lnTo>
                  <a:pt x="2784282" y="97428"/>
                </a:lnTo>
                <a:cubicBezTo>
                  <a:pt x="2784282" y="95606"/>
                  <a:pt x="2782460" y="95606"/>
                  <a:pt x="2782460" y="93783"/>
                </a:cubicBezTo>
                <a:lnTo>
                  <a:pt x="2781640" y="94837"/>
                </a:lnTo>
                <a:lnTo>
                  <a:pt x="2780638" y="93783"/>
                </a:lnTo>
                <a:cubicBezTo>
                  <a:pt x="2782460" y="88317"/>
                  <a:pt x="2784282" y="86495"/>
                  <a:pt x="2787927" y="86495"/>
                </a:cubicBezTo>
                <a:close/>
                <a:moveTo>
                  <a:pt x="2600243" y="86495"/>
                </a:moveTo>
                <a:cubicBezTo>
                  <a:pt x="2598421" y="88317"/>
                  <a:pt x="2603887" y="93783"/>
                  <a:pt x="2607531" y="91961"/>
                </a:cubicBezTo>
                <a:cubicBezTo>
                  <a:pt x="2607531" y="90139"/>
                  <a:pt x="2605709" y="90139"/>
                  <a:pt x="2603887" y="88317"/>
                </a:cubicBezTo>
                <a:cubicBezTo>
                  <a:pt x="2603887" y="88317"/>
                  <a:pt x="2602065" y="86495"/>
                  <a:pt x="2600243" y="86495"/>
                </a:cubicBezTo>
                <a:close/>
                <a:moveTo>
                  <a:pt x="2461757" y="86495"/>
                </a:moveTo>
                <a:cubicBezTo>
                  <a:pt x="2459935" y="91961"/>
                  <a:pt x="2465402" y="97428"/>
                  <a:pt x="2465402" y="102894"/>
                </a:cubicBezTo>
                <a:cubicBezTo>
                  <a:pt x="2469046" y="101072"/>
                  <a:pt x="2470868" y="93783"/>
                  <a:pt x="2476335" y="99250"/>
                </a:cubicBezTo>
                <a:cubicBezTo>
                  <a:pt x="2478157" y="90139"/>
                  <a:pt x="2463580" y="95606"/>
                  <a:pt x="2465402" y="86495"/>
                </a:cubicBezTo>
                <a:cubicBezTo>
                  <a:pt x="2463580" y="86495"/>
                  <a:pt x="2461757" y="86495"/>
                  <a:pt x="2461757" y="86495"/>
                </a:cubicBezTo>
                <a:close/>
                <a:moveTo>
                  <a:pt x="2793393" y="84673"/>
                </a:moveTo>
                <a:lnTo>
                  <a:pt x="2794789" y="89457"/>
                </a:lnTo>
                <a:lnTo>
                  <a:pt x="2791738" y="91772"/>
                </a:lnTo>
                <a:lnTo>
                  <a:pt x="2791799" y="89683"/>
                </a:lnTo>
                <a:cubicBezTo>
                  <a:pt x="2791571" y="87406"/>
                  <a:pt x="2791571" y="85584"/>
                  <a:pt x="2793393" y="84673"/>
                </a:cubicBezTo>
                <a:close/>
                <a:moveTo>
                  <a:pt x="2330561" y="84673"/>
                </a:moveTo>
                <a:cubicBezTo>
                  <a:pt x="2323272" y="86495"/>
                  <a:pt x="2326916" y="88317"/>
                  <a:pt x="2326916" y="90139"/>
                </a:cubicBezTo>
                <a:cubicBezTo>
                  <a:pt x="2332383" y="90139"/>
                  <a:pt x="2330561" y="86495"/>
                  <a:pt x="2330561" y="84673"/>
                </a:cubicBezTo>
                <a:close/>
                <a:moveTo>
                  <a:pt x="2561977" y="82850"/>
                </a:moveTo>
                <a:cubicBezTo>
                  <a:pt x="2545577" y="84673"/>
                  <a:pt x="2541933" y="99250"/>
                  <a:pt x="2536466" y="110183"/>
                </a:cubicBezTo>
                <a:cubicBezTo>
                  <a:pt x="2541933" y="108361"/>
                  <a:pt x="2547400" y="113827"/>
                  <a:pt x="2552866" y="113827"/>
                </a:cubicBezTo>
                <a:cubicBezTo>
                  <a:pt x="2547400" y="108361"/>
                  <a:pt x="2549222" y="97428"/>
                  <a:pt x="2560155" y="95606"/>
                </a:cubicBezTo>
                <a:cubicBezTo>
                  <a:pt x="2556510" y="91961"/>
                  <a:pt x="2558332" y="84673"/>
                  <a:pt x="2561977" y="82850"/>
                </a:cubicBezTo>
                <a:close/>
                <a:moveTo>
                  <a:pt x="2503667" y="82850"/>
                </a:moveTo>
                <a:cubicBezTo>
                  <a:pt x="2503667" y="84673"/>
                  <a:pt x="2505490" y="86495"/>
                  <a:pt x="2505490" y="90139"/>
                </a:cubicBezTo>
                <a:cubicBezTo>
                  <a:pt x="2510956" y="88317"/>
                  <a:pt x="2509134" y="82850"/>
                  <a:pt x="2503667" y="82850"/>
                </a:cubicBezTo>
                <a:close/>
                <a:moveTo>
                  <a:pt x="2524623" y="81939"/>
                </a:moveTo>
                <a:cubicBezTo>
                  <a:pt x="2522800" y="81939"/>
                  <a:pt x="2520978" y="82850"/>
                  <a:pt x="2521889" y="84673"/>
                </a:cubicBezTo>
                <a:cubicBezTo>
                  <a:pt x="2525534" y="84673"/>
                  <a:pt x="2523711" y="86495"/>
                  <a:pt x="2527356" y="84673"/>
                </a:cubicBezTo>
                <a:cubicBezTo>
                  <a:pt x="2528267" y="82850"/>
                  <a:pt x="2526445" y="81939"/>
                  <a:pt x="2524623" y="81939"/>
                </a:cubicBezTo>
                <a:close/>
                <a:moveTo>
                  <a:pt x="2576554" y="81028"/>
                </a:moveTo>
                <a:cubicBezTo>
                  <a:pt x="2569266" y="84673"/>
                  <a:pt x="2565621" y="82850"/>
                  <a:pt x="2563799" y="90139"/>
                </a:cubicBezTo>
                <a:cubicBezTo>
                  <a:pt x="2565621" y="93783"/>
                  <a:pt x="2571088" y="88317"/>
                  <a:pt x="2571088" y="95606"/>
                </a:cubicBezTo>
                <a:cubicBezTo>
                  <a:pt x="2574732" y="91961"/>
                  <a:pt x="2576554" y="86495"/>
                  <a:pt x="2576554" y="81028"/>
                </a:cubicBezTo>
                <a:close/>
                <a:moveTo>
                  <a:pt x="2339444" y="80800"/>
                </a:moveTo>
                <a:cubicBezTo>
                  <a:pt x="2337850" y="80117"/>
                  <a:pt x="2335117" y="80117"/>
                  <a:pt x="2332383" y="81028"/>
                </a:cubicBezTo>
                <a:cubicBezTo>
                  <a:pt x="2332383" y="84673"/>
                  <a:pt x="2336027" y="86495"/>
                  <a:pt x="2339672" y="84673"/>
                </a:cubicBezTo>
                <a:cubicBezTo>
                  <a:pt x="2341494" y="86495"/>
                  <a:pt x="2345138" y="88317"/>
                  <a:pt x="2343316" y="91961"/>
                </a:cubicBezTo>
                <a:cubicBezTo>
                  <a:pt x="2346960" y="90139"/>
                  <a:pt x="2346960" y="81028"/>
                  <a:pt x="2341494" y="81028"/>
                </a:cubicBezTo>
                <a:cubicBezTo>
                  <a:pt x="2343316" y="82850"/>
                  <a:pt x="2341494" y="84673"/>
                  <a:pt x="2339672" y="84673"/>
                </a:cubicBezTo>
                <a:cubicBezTo>
                  <a:pt x="2341494" y="82850"/>
                  <a:pt x="2341039" y="81483"/>
                  <a:pt x="2339444" y="80800"/>
                </a:cubicBezTo>
                <a:close/>
                <a:moveTo>
                  <a:pt x="2326006" y="78751"/>
                </a:moveTo>
                <a:cubicBezTo>
                  <a:pt x="2323728" y="78751"/>
                  <a:pt x="2321450" y="79206"/>
                  <a:pt x="2319628" y="81028"/>
                </a:cubicBezTo>
                <a:cubicBezTo>
                  <a:pt x="2319628" y="86495"/>
                  <a:pt x="2330561" y="81028"/>
                  <a:pt x="2332383" y="79206"/>
                </a:cubicBezTo>
                <a:cubicBezTo>
                  <a:pt x="2330561" y="79206"/>
                  <a:pt x="2328283" y="78751"/>
                  <a:pt x="2326006" y="78751"/>
                </a:cubicBezTo>
                <a:close/>
                <a:moveTo>
                  <a:pt x="2449002" y="77384"/>
                </a:moveTo>
                <a:cubicBezTo>
                  <a:pt x="2450824" y="81028"/>
                  <a:pt x="2443536" y="82850"/>
                  <a:pt x="2447180" y="86495"/>
                </a:cubicBezTo>
                <a:cubicBezTo>
                  <a:pt x="2450824" y="81028"/>
                  <a:pt x="2461757" y="90139"/>
                  <a:pt x="2458113" y="79206"/>
                </a:cubicBezTo>
                <a:cubicBezTo>
                  <a:pt x="2454469" y="77384"/>
                  <a:pt x="2452647" y="77384"/>
                  <a:pt x="2449002" y="77384"/>
                </a:cubicBezTo>
                <a:close/>
                <a:moveTo>
                  <a:pt x="2470868" y="75562"/>
                </a:moveTo>
                <a:cubicBezTo>
                  <a:pt x="2467224" y="75562"/>
                  <a:pt x="2467224" y="75562"/>
                  <a:pt x="2463580" y="77384"/>
                </a:cubicBezTo>
                <a:cubicBezTo>
                  <a:pt x="2463580" y="88317"/>
                  <a:pt x="2476335" y="86495"/>
                  <a:pt x="2476335" y="93783"/>
                </a:cubicBezTo>
                <a:cubicBezTo>
                  <a:pt x="2479979" y="91961"/>
                  <a:pt x="2476335" y="86495"/>
                  <a:pt x="2478157" y="84673"/>
                </a:cubicBezTo>
                <a:cubicBezTo>
                  <a:pt x="2472690" y="84673"/>
                  <a:pt x="2474513" y="77384"/>
                  <a:pt x="2470868" y="75562"/>
                </a:cubicBezTo>
                <a:close/>
                <a:moveTo>
                  <a:pt x="2551044" y="73739"/>
                </a:moveTo>
                <a:cubicBezTo>
                  <a:pt x="2549222" y="79206"/>
                  <a:pt x="2554688" y="75562"/>
                  <a:pt x="2558332" y="77384"/>
                </a:cubicBezTo>
                <a:cubicBezTo>
                  <a:pt x="2556510" y="73739"/>
                  <a:pt x="2554688" y="75562"/>
                  <a:pt x="2551044" y="73739"/>
                </a:cubicBezTo>
                <a:close/>
                <a:moveTo>
                  <a:pt x="2540111" y="73739"/>
                </a:moveTo>
                <a:cubicBezTo>
                  <a:pt x="2531000" y="75562"/>
                  <a:pt x="2538289" y="90139"/>
                  <a:pt x="2529178" y="88317"/>
                </a:cubicBezTo>
                <a:cubicBezTo>
                  <a:pt x="2529178" y="93783"/>
                  <a:pt x="2531000" y="99250"/>
                  <a:pt x="2525534" y="101072"/>
                </a:cubicBezTo>
                <a:cubicBezTo>
                  <a:pt x="2520067" y="97428"/>
                  <a:pt x="2527356" y="93783"/>
                  <a:pt x="2527356" y="90139"/>
                </a:cubicBezTo>
                <a:cubicBezTo>
                  <a:pt x="2523711" y="93783"/>
                  <a:pt x="2521889" y="101072"/>
                  <a:pt x="2516423" y="95606"/>
                </a:cubicBezTo>
                <a:cubicBezTo>
                  <a:pt x="2514600" y="93783"/>
                  <a:pt x="2516423" y="90139"/>
                  <a:pt x="2516423" y="88317"/>
                </a:cubicBezTo>
                <a:cubicBezTo>
                  <a:pt x="2503667" y="90139"/>
                  <a:pt x="2516423" y="102894"/>
                  <a:pt x="2509134" y="110183"/>
                </a:cubicBezTo>
                <a:cubicBezTo>
                  <a:pt x="2512778" y="110183"/>
                  <a:pt x="2514600" y="108361"/>
                  <a:pt x="2514600" y="106539"/>
                </a:cubicBezTo>
                <a:cubicBezTo>
                  <a:pt x="2521889" y="112005"/>
                  <a:pt x="2516423" y="121116"/>
                  <a:pt x="2510956" y="122938"/>
                </a:cubicBezTo>
                <a:cubicBezTo>
                  <a:pt x="2501845" y="128405"/>
                  <a:pt x="2510956" y="112005"/>
                  <a:pt x="2503667" y="108361"/>
                </a:cubicBezTo>
                <a:cubicBezTo>
                  <a:pt x="2505490" y="104716"/>
                  <a:pt x="2503667" y="99250"/>
                  <a:pt x="2505490" y="97428"/>
                </a:cubicBezTo>
                <a:cubicBezTo>
                  <a:pt x="2498201" y="101072"/>
                  <a:pt x="2487268" y="101072"/>
                  <a:pt x="2485446" y="110183"/>
                </a:cubicBezTo>
                <a:cubicBezTo>
                  <a:pt x="2485446" y="110183"/>
                  <a:pt x="2485446" y="110183"/>
                  <a:pt x="2485446" y="112005"/>
                </a:cubicBezTo>
                <a:lnTo>
                  <a:pt x="2487268" y="110183"/>
                </a:lnTo>
                <a:lnTo>
                  <a:pt x="2489090" y="113827"/>
                </a:lnTo>
                <a:cubicBezTo>
                  <a:pt x="2494556" y="112005"/>
                  <a:pt x="2498201" y="115649"/>
                  <a:pt x="2503667" y="117472"/>
                </a:cubicBezTo>
                <a:cubicBezTo>
                  <a:pt x="2500023" y="119294"/>
                  <a:pt x="2487268" y="122938"/>
                  <a:pt x="2494556" y="128405"/>
                </a:cubicBezTo>
                <a:cubicBezTo>
                  <a:pt x="2498201" y="130227"/>
                  <a:pt x="2503667" y="130227"/>
                  <a:pt x="2505490" y="126583"/>
                </a:cubicBezTo>
                <a:cubicBezTo>
                  <a:pt x="2505490" y="128405"/>
                  <a:pt x="2505490" y="128405"/>
                  <a:pt x="2505490" y="130227"/>
                </a:cubicBezTo>
                <a:cubicBezTo>
                  <a:pt x="2507312" y="130227"/>
                  <a:pt x="2507312" y="128405"/>
                  <a:pt x="2509134" y="128405"/>
                </a:cubicBezTo>
                <a:cubicBezTo>
                  <a:pt x="2507312" y="133871"/>
                  <a:pt x="2501845" y="132049"/>
                  <a:pt x="2498201" y="133871"/>
                </a:cubicBezTo>
                <a:cubicBezTo>
                  <a:pt x="2531000" y="137516"/>
                  <a:pt x="2540111" y="97428"/>
                  <a:pt x="2540111" y="73739"/>
                </a:cubicBezTo>
                <a:close/>
                <a:moveTo>
                  <a:pt x="2500023" y="73739"/>
                </a:moveTo>
                <a:cubicBezTo>
                  <a:pt x="2494556" y="73739"/>
                  <a:pt x="2501845" y="77384"/>
                  <a:pt x="2498201" y="79206"/>
                </a:cubicBezTo>
                <a:cubicBezTo>
                  <a:pt x="2498201" y="79206"/>
                  <a:pt x="2496379" y="79206"/>
                  <a:pt x="2496379" y="77384"/>
                </a:cubicBezTo>
                <a:cubicBezTo>
                  <a:pt x="2492734" y="81028"/>
                  <a:pt x="2494556" y="82850"/>
                  <a:pt x="2498201" y="84673"/>
                </a:cubicBezTo>
                <a:cubicBezTo>
                  <a:pt x="2500023" y="84673"/>
                  <a:pt x="2496379" y="79206"/>
                  <a:pt x="2501845" y="81028"/>
                </a:cubicBezTo>
                <a:cubicBezTo>
                  <a:pt x="2501845" y="77384"/>
                  <a:pt x="2498201" y="77384"/>
                  <a:pt x="2500023" y="73739"/>
                </a:cubicBezTo>
                <a:close/>
                <a:moveTo>
                  <a:pt x="2738728" y="71937"/>
                </a:moveTo>
                <a:cubicBezTo>
                  <a:pt x="2736906" y="71937"/>
                  <a:pt x="2733261" y="75582"/>
                  <a:pt x="2735084" y="79226"/>
                </a:cubicBezTo>
                <a:cubicBezTo>
                  <a:pt x="2735084" y="77404"/>
                  <a:pt x="2738728" y="77404"/>
                  <a:pt x="2738728" y="71937"/>
                </a:cubicBezTo>
                <a:close/>
                <a:moveTo>
                  <a:pt x="2582021" y="71917"/>
                </a:moveTo>
                <a:cubicBezTo>
                  <a:pt x="2585665" y="77384"/>
                  <a:pt x="2576554" y="81028"/>
                  <a:pt x="2582021" y="82850"/>
                </a:cubicBezTo>
                <a:cubicBezTo>
                  <a:pt x="2583843" y="84673"/>
                  <a:pt x="2580199" y="79206"/>
                  <a:pt x="2583843" y="77384"/>
                </a:cubicBezTo>
                <a:cubicBezTo>
                  <a:pt x="2585665" y="77384"/>
                  <a:pt x="2585665" y="79206"/>
                  <a:pt x="2587487" y="79206"/>
                </a:cubicBezTo>
                <a:cubicBezTo>
                  <a:pt x="2585665" y="75562"/>
                  <a:pt x="2587487" y="71917"/>
                  <a:pt x="2582021" y="71917"/>
                </a:cubicBezTo>
                <a:close/>
                <a:moveTo>
                  <a:pt x="2436247" y="70095"/>
                </a:moveTo>
                <a:cubicBezTo>
                  <a:pt x="2430780" y="75562"/>
                  <a:pt x="2427136" y="79206"/>
                  <a:pt x="2418025" y="79206"/>
                </a:cubicBezTo>
                <a:cubicBezTo>
                  <a:pt x="2419847" y="84673"/>
                  <a:pt x="2418025" y="90139"/>
                  <a:pt x="2425314" y="90139"/>
                </a:cubicBezTo>
                <a:cubicBezTo>
                  <a:pt x="2421669" y="95606"/>
                  <a:pt x="2412559" y="88317"/>
                  <a:pt x="2418025" y="97428"/>
                </a:cubicBezTo>
                <a:cubicBezTo>
                  <a:pt x="2419847" y="97428"/>
                  <a:pt x="2421669" y="97428"/>
                  <a:pt x="2425314" y="95606"/>
                </a:cubicBezTo>
                <a:cubicBezTo>
                  <a:pt x="2425314" y="101072"/>
                  <a:pt x="2425314" y="104716"/>
                  <a:pt x="2421669" y="108361"/>
                </a:cubicBezTo>
                <a:cubicBezTo>
                  <a:pt x="2421669" y="99250"/>
                  <a:pt x="2421669" y="101072"/>
                  <a:pt x="2414381" y="99250"/>
                </a:cubicBezTo>
                <a:cubicBezTo>
                  <a:pt x="2407092" y="99250"/>
                  <a:pt x="2416203" y="110183"/>
                  <a:pt x="2408914" y="113827"/>
                </a:cubicBezTo>
                <a:cubicBezTo>
                  <a:pt x="2412559" y="113827"/>
                  <a:pt x="2412559" y="110183"/>
                  <a:pt x="2414381" y="110183"/>
                </a:cubicBezTo>
                <a:cubicBezTo>
                  <a:pt x="2418025" y="112005"/>
                  <a:pt x="2414381" y="117472"/>
                  <a:pt x="2416203" y="117472"/>
                </a:cubicBezTo>
                <a:cubicBezTo>
                  <a:pt x="2428958" y="121116"/>
                  <a:pt x="2439891" y="110183"/>
                  <a:pt x="2439891" y="99250"/>
                </a:cubicBezTo>
                <a:cubicBezTo>
                  <a:pt x="2441713" y="99250"/>
                  <a:pt x="2443536" y="99250"/>
                  <a:pt x="2445358" y="99250"/>
                </a:cubicBezTo>
                <a:cubicBezTo>
                  <a:pt x="2450824" y="91961"/>
                  <a:pt x="2438069" y="82850"/>
                  <a:pt x="2445358" y="79206"/>
                </a:cubicBezTo>
                <a:cubicBezTo>
                  <a:pt x="2441713" y="77384"/>
                  <a:pt x="2439891" y="81028"/>
                  <a:pt x="2436247" y="81028"/>
                </a:cubicBezTo>
                <a:cubicBezTo>
                  <a:pt x="2428958" y="77384"/>
                  <a:pt x="2438069" y="73739"/>
                  <a:pt x="2436247" y="70095"/>
                </a:cubicBezTo>
                <a:close/>
                <a:moveTo>
                  <a:pt x="2254030" y="70095"/>
                </a:moveTo>
                <a:cubicBezTo>
                  <a:pt x="2250385" y="71917"/>
                  <a:pt x="2252207" y="75562"/>
                  <a:pt x="2252207" y="79206"/>
                </a:cubicBezTo>
                <a:cubicBezTo>
                  <a:pt x="2257674" y="82850"/>
                  <a:pt x="2255852" y="77384"/>
                  <a:pt x="2259496" y="73739"/>
                </a:cubicBezTo>
                <a:cubicBezTo>
                  <a:pt x="2261318" y="68273"/>
                  <a:pt x="2255852" y="71917"/>
                  <a:pt x="2254030" y="70095"/>
                </a:cubicBezTo>
                <a:close/>
                <a:moveTo>
                  <a:pt x="2556510" y="68273"/>
                </a:moveTo>
                <a:cubicBezTo>
                  <a:pt x="2552866" y="68273"/>
                  <a:pt x="2551044" y="73739"/>
                  <a:pt x="2558332" y="73739"/>
                </a:cubicBezTo>
                <a:cubicBezTo>
                  <a:pt x="2558332" y="71917"/>
                  <a:pt x="2558332" y="70095"/>
                  <a:pt x="2556510" y="68273"/>
                </a:cubicBezTo>
                <a:close/>
                <a:moveTo>
                  <a:pt x="2585665" y="66451"/>
                </a:moveTo>
                <a:cubicBezTo>
                  <a:pt x="2585665" y="70095"/>
                  <a:pt x="2587487" y="71917"/>
                  <a:pt x="2591132" y="71917"/>
                </a:cubicBezTo>
                <a:cubicBezTo>
                  <a:pt x="2589310" y="70095"/>
                  <a:pt x="2589310" y="68273"/>
                  <a:pt x="2589310" y="66451"/>
                </a:cubicBezTo>
                <a:cubicBezTo>
                  <a:pt x="2587487" y="66451"/>
                  <a:pt x="2585665" y="66451"/>
                  <a:pt x="2585665" y="66451"/>
                </a:cubicBezTo>
                <a:close/>
                <a:moveTo>
                  <a:pt x="2394337" y="64629"/>
                </a:moveTo>
                <a:cubicBezTo>
                  <a:pt x="2390693" y="66451"/>
                  <a:pt x="2397981" y="68273"/>
                  <a:pt x="2394337" y="70095"/>
                </a:cubicBezTo>
                <a:cubicBezTo>
                  <a:pt x="2403448" y="66451"/>
                  <a:pt x="2397981" y="66451"/>
                  <a:pt x="2397981" y="64629"/>
                </a:cubicBezTo>
                <a:cubicBezTo>
                  <a:pt x="2396159" y="64629"/>
                  <a:pt x="2394337" y="64629"/>
                  <a:pt x="2394337" y="64629"/>
                </a:cubicBezTo>
                <a:close/>
                <a:moveTo>
                  <a:pt x="2377937" y="64629"/>
                </a:moveTo>
                <a:cubicBezTo>
                  <a:pt x="2374293" y="66451"/>
                  <a:pt x="2370649" y="71917"/>
                  <a:pt x="2368827" y="66451"/>
                </a:cubicBezTo>
                <a:cubicBezTo>
                  <a:pt x="2367004" y="68273"/>
                  <a:pt x="2368827" y="75562"/>
                  <a:pt x="2365182" y="70095"/>
                </a:cubicBezTo>
                <a:cubicBezTo>
                  <a:pt x="2361538" y="71917"/>
                  <a:pt x="2359716" y="75562"/>
                  <a:pt x="2361538" y="79206"/>
                </a:cubicBezTo>
                <a:cubicBezTo>
                  <a:pt x="2365182" y="71917"/>
                  <a:pt x="2370649" y="79206"/>
                  <a:pt x="2379760" y="75562"/>
                </a:cubicBezTo>
                <a:cubicBezTo>
                  <a:pt x="2377937" y="71917"/>
                  <a:pt x="2377937" y="68273"/>
                  <a:pt x="2377937" y="64629"/>
                </a:cubicBezTo>
                <a:close/>
                <a:moveTo>
                  <a:pt x="2154473" y="64131"/>
                </a:moveTo>
                <a:lnTo>
                  <a:pt x="2157454" y="64629"/>
                </a:lnTo>
                <a:cubicBezTo>
                  <a:pt x="2159277" y="64629"/>
                  <a:pt x="2157454" y="66451"/>
                  <a:pt x="2155632" y="66451"/>
                </a:cubicBezTo>
                <a:close/>
                <a:moveTo>
                  <a:pt x="2505490" y="62806"/>
                </a:moveTo>
                <a:cubicBezTo>
                  <a:pt x="2503667" y="66451"/>
                  <a:pt x="2500023" y="66451"/>
                  <a:pt x="2501845" y="71917"/>
                </a:cubicBezTo>
                <a:cubicBezTo>
                  <a:pt x="2505490" y="70095"/>
                  <a:pt x="2503667" y="66451"/>
                  <a:pt x="2507312" y="66451"/>
                </a:cubicBezTo>
                <a:cubicBezTo>
                  <a:pt x="2512778" y="68273"/>
                  <a:pt x="2505490" y="73739"/>
                  <a:pt x="2507312" y="77384"/>
                </a:cubicBezTo>
                <a:cubicBezTo>
                  <a:pt x="2510956" y="75562"/>
                  <a:pt x="2510956" y="70095"/>
                  <a:pt x="2512778" y="64629"/>
                </a:cubicBezTo>
                <a:cubicBezTo>
                  <a:pt x="2510956" y="64629"/>
                  <a:pt x="2510956" y="64629"/>
                  <a:pt x="2510956" y="66451"/>
                </a:cubicBezTo>
                <a:cubicBezTo>
                  <a:pt x="2509134" y="66451"/>
                  <a:pt x="2509134" y="64629"/>
                  <a:pt x="2505490" y="62806"/>
                </a:cubicBezTo>
                <a:close/>
                <a:moveTo>
                  <a:pt x="2153810" y="62806"/>
                </a:moveTo>
                <a:lnTo>
                  <a:pt x="2154473" y="64131"/>
                </a:lnTo>
                <a:lnTo>
                  <a:pt x="2153427" y="63957"/>
                </a:lnTo>
                <a:close/>
                <a:moveTo>
                  <a:pt x="2439891" y="60984"/>
                </a:moveTo>
                <a:cubicBezTo>
                  <a:pt x="2439891" y="64629"/>
                  <a:pt x="2436247" y="64629"/>
                  <a:pt x="2432603" y="62806"/>
                </a:cubicBezTo>
                <a:cubicBezTo>
                  <a:pt x="2428958" y="66451"/>
                  <a:pt x="2434425" y="68273"/>
                  <a:pt x="2436247" y="68273"/>
                </a:cubicBezTo>
                <a:cubicBezTo>
                  <a:pt x="2439891" y="66451"/>
                  <a:pt x="2441713" y="62806"/>
                  <a:pt x="2439891" y="60984"/>
                </a:cubicBezTo>
                <a:close/>
                <a:moveTo>
                  <a:pt x="2405270" y="60984"/>
                </a:moveTo>
                <a:cubicBezTo>
                  <a:pt x="2403448" y="66451"/>
                  <a:pt x="2408914" y="62806"/>
                  <a:pt x="2408914" y="66451"/>
                </a:cubicBezTo>
                <a:cubicBezTo>
                  <a:pt x="2410737" y="68273"/>
                  <a:pt x="2408914" y="60984"/>
                  <a:pt x="2414381" y="60984"/>
                </a:cubicBezTo>
                <a:cubicBezTo>
                  <a:pt x="2408914" y="62806"/>
                  <a:pt x="2410737" y="62806"/>
                  <a:pt x="2405270" y="60984"/>
                </a:cubicBezTo>
                <a:close/>
                <a:moveTo>
                  <a:pt x="2281362" y="59162"/>
                </a:moveTo>
                <a:lnTo>
                  <a:pt x="2281806" y="59309"/>
                </a:lnTo>
                <a:lnTo>
                  <a:pt x="2281923" y="59451"/>
                </a:lnTo>
                <a:close/>
                <a:moveTo>
                  <a:pt x="2259496" y="59162"/>
                </a:moveTo>
                <a:cubicBezTo>
                  <a:pt x="2257674" y="60984"/>
                  <a:pt x="2261318" y="68273"/>
                  <a:pt x="2254030" y="68273"/>
                </a:cubicBezTo>
                <a:cubicBezTo>
                  <a:pt x="2261318" y="71917"/>
                  <a:pt x="2264963" y="66451"/>
                  <a:pt x="2268607" y="64629"/>
                </a:cubicBezTo>
                <a:cubicBezTo>
                  <a:pt x="2268607" y="59162"/>
                  <a:pt x="2266785" y="57340"/>
                  <a:pt x="2259496" y="59162"/>
                </a:cubicBezTo>
                <a:close/>
                <a:moveTo>
                  <a:pt x="2736906" y="57360"/>
                </a:moveTo>
                <a:cubicBezTo>
                  <a:pt x="2736906" y="61004"/>
                  <a:pt x="2738728" y="64649"/>
                  <a:pt x="2738728" y="68293"/>
                </a:cubicBezTo>
                <a:cubicBezTo>
                  <a:pt x="2740550" y="64649"/>
                  <a:pt x="2742372" y="53716"/>
                  <a:pt x="2736906" y="57360"/>
                </a:cubicBezTo>
                <a:close/>
                <a:moveTo>
                  <a:pt x="2691351" y="55538"/>
                </a:moveTo>
                <a:cubicBezTo>
                  <a:pt x="2691351" y="61004"/>
                  <a:pt x="2685885" y="61004"/>
                  <a:pt x="2687707" y="61004"/>
                </a:cubicBezTo>
                <a:cubicBezTo>
                  <a:pt x="2685885" y="64649"/>
                  <a:pt x="2689529" y="57360"/>
                  <a:pt x="2691351" y="61004"/>
                </a:cubicBezTo>
                <a:cubicBezTo>
                  <a:pt x="2691351" y="59182"/>
                  <a:pt x="2691351" y="57360"/>
                  <a:pt x="2691351" y="55538"/>
                </a:cubicBezTo>
                <a:close/>
                <a:moveTo>
                  <a:pt x="2495240" y="55517"/>
                </a:moveTo>
                <a:cubicBezTo>
                  <a:pt x="2493646" y="56884"/>
                  <a:pt x="2491823" y="58251"/>
                  <a:pt x="2489090" y="55518"/>
                </a:cubicBezTo>
                <a:cubicBezTo>
                  <a:pt x="2487268" y="59162"/>
                  <a:pt x="2489090" y="59162"/>
                  <a:pt x="2490912" y="60984"/>
                </a:cubicBezTo>
                <a:cubicBezTo>
                  <a:pt x="2485446" y="62806"/>
                  <a:pt x="2483624" y="53696"/>
                  <a:pt x="2481801" y="60984"/>
                </a:cubicBezTo>
                <a:cubicBezTo>
                  <a:pt x="2479979" y="66451"/>
                  <a:pt x="2487268" y="70095"/>
                  <a:pt x="2485446" y="75562"/>
                </a:cubicBezTo>
                <a:cubicBezTo>
                  <a:pt x="2483624" y="79206"/>
                  <a:pt x="2483624" y="71917"/>
                  <a:pt x="2481801" y="71917"/>
                </a:cubicBezTo>
                <a:cubicBezTo>
                  <a:pt x="2472690" y="79206"/>
                  <a:pt x="2487268" y="77384"/>
                  <a:pt x="2489090" y="81028"/>
                </a:cubicBezTo>
                <a:cubicBezTo>
                  <a:pt x="2496379" y="75562"/>
                  <a:pt x="2492734" y="64629"/>
                  <a:pt x="2501845" y="59162"/>
                </a:cubicBezTo>
                <a:cubicBezTo>
                  <a:pt x="2500023" y="59162"/>
                  <a:pt x="2498201" y="60984"/>
                  <a:pt x="2496379" y="60984"/>
                </a:cubicBezTo>
                <a:cubicBezTo>
                  <a:pt x="2500023" y="60984"/>
                  <a:pt x="2492734" y="55518"/>
                  <a:pt x="2500023" y="55518"/>
                </a:cubicBezTo>
                <a:cubicBezTo>
                  <a:pt x="2498201" y="52784"/>
                  <a:pt x="2496834" y="54151"/>
                  <a:pt x="2495240" y="55517"/>
                </a:cubicBezTo>
                <a:close/>
                <a:moveTo>
                  <a:pt x="2747839" y="53716"/>
                </a:moveTo>
                <a:cubicBezTo>
                  <a:pt x="2746017" y="55538"/>
                  <a:pt x="2744195" y="57360"/>
                  <a:pt x="2742372" y="55538"/>
                </a:cubicBezTo>
                <a:cubicBezTo>
                  <a:pt x="2742372" y="57360"/>
                  <a:pt x="2744195" y="55538"/>
                  <a:pt x="2744195" y="55538"/>
                </a:cubicBezTo>
                <a:cubicBezTo>
                  <a:pt x="2747839" y="59182"/>
                  <a:pt x="2738728" y="70115"/>
                  <a:pt x="2747839" y="68293"/>
                </a:cubicBezTo>
                <a:cubicBezTo>
                  <a:pt x="2751483" y="61004"/>
                  <a:pt x="2749661" y="59182"/>
                  <a:pt x="2747839" y="53716"/>
                </a:cubicBezTo>
                <a:close/>
                <a:moveTo>
                  <a:pt x="2199364" y="50051"/>
                </a:moveTo>
                <a:cubicBezTo>
                  <a:pt x="2199364" y="51873"/>
                  <a:pt x="2199364" y="51873"/>
                  <a:pt x="2199364" y="53696"/>
                </a:cubicBezTo>
                <a:cubicBezTo>
                  <a:pt x="2201187" y="53696"/>
                  <a:pt x="2204831" y="53696"/>
                  <a:pt x="2206653" y="53696"/>
                </a:cubicBezTo>
                <a:cubicBezTo>
                  <a:pt x="2204831" y="51873"/>
                  <a:pt x="2203009" y="50051"/>
                  <a:pt x="2199364" y="50051"/>
                </a:cubicBezTo>
                <a:close/>
                <a:moveTo>
                  <a:pt x="2432603" y="48229"/>
                </a:moveTo>
                <a:cubicBezTo>
                  <a:pt x="2425314" y="50051"/>
                  <a:pt x="2430780" y="59162"/>
                  <a:pt x="2436247" y="55518"/>
                </a:cubicBezTo>
                <a:cubicBezTo>
                  <a:pt x="2434425" y="51873"/>
                  <a:pt x="2430780" y="53696"/>
                  <a:pt x="2432603" y="48229"/>
                </a:cubicBezTo>
                <a:close/>
                <a:moveTo>
                  <a:pt x="2448547" y="45951"/>
                </a:moveTo>
                <a:lnTo>
                  <a:pt x="2449002" y="46030"/>
                </a:lnTo>
                <a:lnTo>
                  <a:pt x="2449002" y="55518"/>
                </a:lnTo>
                <a:cubicBezTo>
                  <a:pt x="2448091" y="53695"/>
                  <a:pt x="2447636" y="51417"/>
                  <a:pt x="2446725" y="49368"/>
                </a:cubicBezTo>
                <a:lnTo>
                  <a:pt x="2443380" y="46176"/>
                </a:lnTo>
                <a:close/>
                <a:moveTo>
                  <a:pt x="2507768" y="45723"/>
                </a:moveTo>
                <a:cubicBezTo>
                  <a:pt x="2505945" y="44585"/>
                  <a:pt x="2502757" y="44585"/>
                  <a:pt x="2500023" y="46407"/>
                </a:cubicBezTo>
                <a:cubicBezTo>
                  <a:pt x="2500023" y="48229"/>
                  <a:pt x="2498201" y="50051"/>
                  <a:pt x="2500023" y="51873"/>
                </a:cubicBezTo>
                <a:cubicBezTo>
                  <a:pt x="2501845" y="51873"/>
                  <a:pt x="2505490" y="51873"/>
                  <a:pt x="2507312" y="51873"/>
                </a:cubicBezTo>
                <a:cubicBezTo>
                  <a:pt x="2510045" y="49140"/>
                  <a:pt x="2509590" y="46862"/>
                  <a:pt x="2507768" y="45723"/>
                </a:cubicBezTo>
                <a:close/>
                <a:moveTo>
                  <a:pt x="2449002" y="44585"/>
                </a:moveTo>
                <a:lnTo>
                  <a:pt x="2453414" y="46790"/>
                </a:lnTo>
                <a:lnTo>
                  <a:pt x="2449002" y="46030"/>
                </a:lnTo>
                <a:close/>
                <a:moveTo>
                  <a:pt x="2441713" y="44585"/>
                </a:moveTo>
                <a:lnTo>
                  <a:pt x="2443380" y="46176"/>
                </a:lnTo>
                <a:lnTo>
                  <a:pt x="2438938" y="46369"/>
                </a:lnTo>
                <a:close/>
                <a:moveTo>
                  <a:pt x="2270429" y="44585"/>
                </a:moveTo>
                <a:lnTo>
                  <a:pt x="2270429" y="47269"/>
                </a:lnTo>
                <a:lnTo>
                  <a:pt x="2269083" y="50671"/>
                </a:lnTo>
                <a:lnTo>
                  <a:pt x="2268894" y="50727"/>
                </a:lnTo>
                <a:close/>
                <a:moveTo>
                  <a:pt x="2546033" y="43218"/>
                </a:moveTo>
                <a:cubicBezTo>
                  <a:pt x="2544666" y="43673"/>
                  <a:pt x="2542844" y="44585"/>
                  <a:pt x="2540111" y="44585"/>
                </a:cubicBezTo>
                <a:cubicBezTo>
                  <a:pt x="2538289" y="48229"/>
                  <a:pt x="2541933" y="50051"/>
                  <a:pt x="2541933" y="50051"/>
                </a:cubicBezTo>
                <a:cubicBezTo>
                  <a:pt x="2547400" y="51873"/>
                  <a:pt x="2545577" y="46407"/>
                  <a:pt x="2549222" y="44585"/>
                </a:cubicBezTo>
                <a:cubicBezTo>
                  <a:pt x="2548311" y="42762"/>
                  <a:pt x="2547400" y="42762"/>
                  <a:pt x="2546033" y="43218"/>
                </a:cubicBezTo>
                <a:close/>
                <a:moveTo>
                  <a:pt x="2707751" y="42783"/>
                </a:moveTo>
                <a:cubicBezTo>
                  <a:pt x="2709573" y="46427"/>
                  <a:pt x="2711395" y="48249"/>
                  <a:pt x="2711395" y="51894"/>
                </a:cubicBezTo>
                <a:cubicBezTo>
                  <a:pt x="2715040" y="50071"/>
                  <a:pt x="2711395" y="42783"/>
                  <a:pt x="2707751" y="42783"/>
                </a:cubicBezTo>
                <a:close/>
                <a:moveTo>
                  <a:pt x="2427136" y="42763"/>
                </a:moveTo>
                <a:cubicBezTo>
                  <a:pt x="2423492" y="46407"/>
                  <a:pt x="2418025" y="48229"/>
                  <a:pt x="2425314" y="53696"/>
                </a:cubicBezTo>
                <a:cubicBezTo>
                  <a:pt x="2428958" y="53696"/>
                  <a:pt x="2423492" y="48229"/>
                  <a:pt x="2428958" y="48229"/>
                </a:cubicBezTo>
                <a:cubicBezTo>
                  <a:pt x="2430780" y="44585"/>
                  <a:pt x="2427136" y="44585"/>
                  <a:pt x="2427136" y="42763"/>
                </a:cubicBezTo>
                <a:close/>
                <a:moveTo>
                  <a:pt x="2410312" y="33782"/>
                </a:moveTo>
                <a:lnTo>
                  <a:pt x="2410053" y="34107"/>
                </a:lnTo>
                <a:lnTo>
                  <a:pt x="2409351" y="34076"/>
                </a:lnTo>
                <a:close/>
                <a:moveTo>
                  <a:pt x="2694996" y="31850"/>
                </a:moveTo>
                <a:cubicBezTo>
                  <a:pt x="2702284" y="30027"/>
                  <a:pt x="2702284" y="37316"/>
                  <a:pt x="2704106" y="42783"/>
                </a:cubicBezTo>
                <a:cubicBezTo>
                  <a:pt x="2705929" y="40960"/>
                  <a:pt x="2705929" y="35494"/>
                  <a:pt x="2705929" y="33672"/>
                </a:cubicBezTo>
                <a:cubicBezTo>
                  <a:pt x="2718684" y="33672"/>
                  <a:pt x="2715040" y="50071"/>
                  <a:pt x="2716862" y="57360"/>
                </a:cubicBezTo>
                <a:cubicBezTo>
                  <a:pt x="2720506" y="53716"/>
                  <a:pt x="2733261" y="44605"/>
                  <a:pt x="2735084" y="55538"/>
                </a:cubicBezTo>
                <a:cubicBezTo>
                  <a:pt x="2729617" y="55538"/>
                  <a:pt x="2727795" y="59182"/>
                  <a:pt x="2731439" y="62827"/>
                </a:cubicBezTo>
                <a:cubicBezTo>
                  <a:pt x="2733261" y="62827"/>
                  <a:pt x="2735084" y="62827"/>
                  <a:pt x="2736906" y="64649"/>
                </a:cubicBezTo>
                <a:cubicBezTo>
                  <a:pt x="2735084" y="59182"/>
                  <a:pt x="2735084" y="50071"/>
                  <a:pt x="2742372" y="50071"/>
                </a:cubicBezTo>
                <a:cubicBezTo>
                  <a:pt x="2755127" y="50071"/>
                  <a:pt x="2755127" y="62827"/>
                  <a:pt x="2756950" y="71937"/>
                </a:cubicBezTo>
                <a:cubicBezTo>
                  <a:pt x="2753305" y="70115"/>
                  <a:pt x="2751483" y="68293"/>
                  <a:pt x="2749661" y="70115"/>
                </a:cubicBezTo>
                <a:cubicBezTo>
                  <a:pt x="2747839" y="71937"/>
                  <a:pt x="2749661" y="77404"/>
                  <a:pt x="2749661" y="77404"/>
                </a:cubicBezTo>
                <a:cubicBezTo>
                  <a:pt x="2736906" y="81048"/>
                  <a:pt x="2727795" y="90159"/>
                  <a:pt x="2725973" y="101092"/>
                </a:cubicBezTo>
                <a:cubicBezTo>
                  <a:pt x="2725973" y="93804"/>
                  <a:pt x="2725973" y="88337"/>
                  <a:pt x="2729617" y="81048"/>
                </a:cubicBezTo>
                <a:cubicBezTo>
                  <a:pt x="2720506" y="77404"/>
                  <a:pt x="2720506" y="70115"/>
                  <a:pt x="2718684" y="62827"/>
                </a:cubicBezTo>
                <a:cubicBezTo>
                  <a:pt x="2725973" y="62827"/>
                  <a:pt x="2725973" y="71937"/>
                  <a:pt x="2727795" y="75582"/>
                </a:cubicBezTo>
                <a:cubicBezTo>
                  <a:pt x="2725973" y="71937"/>
                  <a:pt x="2731439" y="68293"/>
                  <a:pt x="2727795" y="64649"/>
                </a:cubicBezTo>
                <a:cubicBezTo>
                  <a:pt x="2724150" y="61004"/>
                  <a:pt x="2720506" y="61004"/>
                  <a:pt x="2718684" y="62827"/>
                </a:cubicBezTo>
                <a:cubicBezTo>
                  <a:pt x="2713217" y="64649"/>
                  <a:pt x="2709573" y="70115"/>
                  <a:pt x="2704106" y="68293"/>
                </a:cubicBezTo>
                <a:cubicBezTo>
                  <a:pt x="2702284" y="66471"/>
                  <a:pt x="2700462" y="66471"/>
                  <a:pt x="2702284" y="64649"/>
                </a:cubicBezTo>
                <a:cubicBezTo>
                  <a:pt x="2715040" y="51894"/>
                  <a:pt x="2705929" y="48249"/>
                  <a:pt x="2698640" y="37316"/>
                </a:cubicBezTo>
                <a:cubicBezTo>
                  <a:pt x="2696818" y="40960"/>
                  <a:pt x="2694996" y="42783"/>
                  <a:pt x="2693174" y="42783"/>
                </a:cubicBezTo>
                <a:cubicBezTo>
                  <a:pt x="2691351" y="42783"/>
                  <a:pt x="2691351" y="40960"/>
                  <a:pt x="2689529" y="39138"/>
                </a:cubicBezTo>
                <a:cubicBezTo>
                  <a:pt x="2685885" y="42783"/>
                  <a:pt x="2687707" y="48249"/>
                  <a:pt x="2685885" y="53716"/>
                </a:cubicBezTo>
                <a:cubicBezTo>
                  <a:pt x="2689529" y="50071"/>
                  <a:pt x="2694996" y="53716"/>
                  <a:pt x="2700462" y="51894"/>
                </a:cubicBezTo>
                <a:cubicBezTo>
                  <a:pt x="2704106" y="66471"/>
                  <a:pt x="2687707" y="75582"/>
                  <a:pt x="2678596" y="66471"/>
                </a:cubicBezTo>
                <a:cubicBezTo>
                  <a:pt x="2676774" y="64649"/>
                  <a:pt x="2678596" y="59182"/>
                  <a:pt x="2682240" y="57360"/>
                </a:cubicBezTo>
                <a:cubicBezTo>
                  <a:pt x="2684063" y="48249"/>
                  <a:pt x="2684063" y="33672"/>
                  <a:pt x="2694996" y="31850"/>
                </a:cubicBezTo>
                <a:close/>
                <a:moveTo>
                  <a:pt x="2399348" y="23174"/>
                </a:moveTo>
                <a:cubicBezTo>
                  <a:pt x="2402992" y="22263"/>
                  <a:pt x="2407092" y="22718"/>
                  <a:pt x="2408914" y="26363"/>
                </a:cubicBezTo>
                <a:cubicBezTo>
                  <a:pt x="2405270" y="28185"/>
                  <a:pt x="2397981" y="31829"/>
                  <a:pt x="2399803" y="33652"/>
                </a:cubicBezTo>
                <a:lnTo>
                  <a:pt x="2409351" y="34076"/>
                </a:lnTo>
                <a:lnTo>
                  <a:pt x="2399576" y="37068"/>
                </a:lnTo>
                <a:cubicBezTo>
                  <a:pt x="2396159" y="35929"/>
                  <a:pt x="2393426" y="32740"/>
                  <a:pt x="2392515" y="28185"/>
                </a:cubicBezTo>
                <a:cubicBezTo>
                  <a:pt x="2392515" y="26363"/>
                  <a:pt x="2395704" y="24085"/>
                  <a:pt x="2399348" y="23174"/>
                </a:cubicBezTo>
                <a:close/>
                <a:moveTo>
                  <a:pt x="2565621" y="19074"/>
                </a:moveTo>
                <a:cubicBezTo>
                  <a:pt x="2563799" y="19074"/>
                  <a:pt x="2563799" y="28185"/>
                  <a:pt x="2565621" y="30007"/>
                </a:cubicBezTo>
                <a:cubicBezTo>
                  <a:pt x="2571088" y="30007"/>
                  <a:pt x="2567443" y="20896"/>
                  <a:pt x="2565621" y="19074"/>
                </a:cubicBezTo>
                <a:close/>
                <a:moveTo>
                  <a:pt x="2560155" y="11786"/>
                </a:moveTo>
                <a:cubicBezTo>
                  <a:pt x="2554688" y="11786"/>
                  <a:pt x="2558332" y="17252"/>
                  <a:pt x="2556510" y="19074"/>
                </a:cubicBezTo>
                <a:cubicBezTo>
                  <a:pt x="2561977" y="17252"/>
                  <a:pt x="2560155" y="13608"/>
                  <a:pt x="2560155" y="11786"/>
                </a:cubicBezTo>
                <a:close/>
                <a:moveTo>
                  <a:pt x="2540111" y="853"/>
                </a:moveTo>
                <a:cubicBezTo>
                  <a:pt x="2549222" y="-2792"/>
                  <a:pt x="2554688" y="6319"/>
                  <a:pt x="2561977" y="8141"/>
                </a:cubicBezTo>
                <a:cubicBezTo>
                  <a:pt x="2563799" y="8141"/>
                  <a:pt x="2565621" y="8141"/>
                  <a:pt x="2567443" y="6319"/>
                </a:cubicBezTo>
                <a:cubicBezTo>
                  <a:pt x="2561977" y="15430"/>
                  <a:pt x="2572910" y="28185"/>
                  <a:pt x="2583843" y="24541"/>
                </a:cubicBezTo>
                <a:cubicBezTo>
                  <a:pt x="2583843" y="22719"/>
                  <a:pt x="2582021" y="20896"/>
                  <a:pt x="2582021" y="19074"/>
                </a:cubicBezTo>
                <a:cubicBezTo>
                  <a:pt x="2582021" y="15430"/>
                  <a:pt x="2587487" y="19074"/>
                  <a:pt x="2589310" y="19074"/>
                </a:cubicBezTo>
                <a:cubicBezTo>
                  <a:pt x="2587487" y="20896"/>
                  <a:pt x="2587487" y="22719"/>
                  <a:pt x="2587487" y="24541"/>
                </a:cubicBezTo>
                <a:cubicBezTo>
                  <a:pt x="2594776" y="20896"/>
                  <a:pt x="2600243" y="8141"/>
                  <a:pt x="2607531" y="15430"/>
                </a:cubicBezTo>
                <a:cubicBezTo>
                  <a:pt x="2603887" y="15430"/>
                  <a:pt x="2600243" y="15430"/>
                  <a:pt x="2602065" y="17252"/>
                </a:cubicBezTo>
                <a:cubicBezTo>
                  <a:pt x="2602065" y="20896"/>
                  <a:pt x="2612998" y="24541"/>
                  <a:pt x="2609353" y="28185"/>
                </a:cubicBezTo>
                <a:cubicBezTo>
                  <a:pt x="2605709" y="31829"/>
                  <a:pt x="2589310" y="19074"/>
                  <a:pt x="2589310" y="30007"/>
                </a:cubicBezTo>
                <a:cubicBezTo>
                  <a:pt x="2589310" y="39118"/>
                  <a:pt x="2605709" y="30007"/>
                  <a:pt x="2607531" y="37296"/>
                </a:cubicBezTo>
                <a:cubicBezTo>
                  <a:pt x="2609353" y="42763"/>
                  <a:pt x="2600243" y="39118"/>
                  <a:pt x="2598421" y="44585"/>
                </a:cubicBezTo>
                <a:cubicBezTo>
                  <a:pt x="2602065" y="42763"/>
                  <a:pt x="2607531" y="46407"/>
                  <a:pt x="2609353" y="50051"/>
                </a:cubicBezTo>
                <a:cubicBezTo>
                  <a:pt x="2611176" y="53696"/>
                  <a:pt x="2607531" y="53696"/>
                  <a:pt x="2607531" y="55518"/>
                </a:cubicBezTo>
                <a:cubicBezTo>
                  <a:pt x="2609353" y="57340"/>
                  <a:pt x="2611176" y="59162"/>
                  <a:pt x="2614820" y="60984"/>
                </a:cubicBezTo>
                <a:lnTo>
                  <a:pt x="2620287" y="55518"/>
                </a:lnTo>
                <a:lnTo>
                  <a:pt x="2640330" y="70095"/>
                </a:lnTo>
                <a:cubicBezTo>
                  <a:pt x="2634864" y="88317"/>
                  <a:pt x="2633042" y="71917"/>
                  <a:pt x="2642153" y="91961"/>
                </a:cubicBezTo>
                <a:lnTo>
                  <a:pt x="2620287" y="91961"/>
                </a:lnTo>
                <a:cubicBezTo>
                  <a:pt x="2623931" y="99250"/>
                  <a:pt x="2625753" y="108361"/>
                  <a:pt x="2614820" y="110183"/>
                </a:cubicBezTo>
                <a:cubicBezTo>
                  <a:pt x="2614820" y="104716"/>
                  <a:pt x="2616642" y="99250"/>
                  <a:pt x="2611176" y="97428"/>
                </a:cubicBezTo>
                <a:cubicBezTo>
                  <a:pt x="2603887" y="95606"/>
                  <a:pt x="2592954" y="97428"/>
                  <a:pt x="2587487" y="88317"/>
                </a:cubicBezTo>
                <a:cubicBezTo>
                  <a:pt x="2585665" y="91961"/>
                  <a:pt x="2585665" y="97428"/>
                  <a:pt x="2583843" y="95606"/>
                </a:cubicBezTo>
                <a:cubicBezTo>
                  <a:pt x="2571088" y="91961"/>
                  <a:pt x="2558332" y="101072"/>
                  <a:pt x="2554688" y="112005"/>
                </a:cubicBezTo>
                <a:cubicBezTo>
                  <a:pt x="2560155" y="112005"/>
                  <a:pt x="2560155" y="101072"/>
                  <a:pt x="2567443" y="101072"/>
                </a:cubicBezTo>
                <a:cubicBezTo>
                  <a:pt x="2561977" y="106539"/>
                  <a:pt x="2560155" y="113827"/>
                  <a:pt x="2558332" y="121116"/>
                </a:cubicBezTo>
                <a:cubicBezTo>
                  <a:pt x="2554688" y="119294"/>
                  <a:pt x="2552866" y="113827"/>
                  <a:pt x="2551044" y="115649"/>
                </a:cubicBezTo>
                <a:lnTo>
                  <a:pt x="2550860" y="116154"/>
                </a:lnTo>
                <a:lnTo>
                  <a:pt x="2551044" y="113827"/>
                </a:lnTo>
                <a:cubicBezTo>
                  <a:pt x="2545577" y="115649"/>
                  <a:pt x="2540111" y="115649"/>
                  <a:pt x="2538289" y="112005"/>
                </a:cubicBezTo>
                <a:cubicBezTo>
                  <a:pt x="2532822" y="113827"/>
                  <a:pt x="2536466" y="119294"/>
                  <a:pt x="2536466" y="122938"/>
                </a:cubicBezTo>
                <a:cubicBezTo>
                  <a:pt x="2540111" y="122938"/>
                  <a:pt x="2540111" y="121116"/>
                  <a:pt x="2540111" y="119294"/>
                </a:cubicBezTo>
                <a:cubicBezTo>
                  <a:pt x="2545577" y="119294"/>
                  <a:pt x="2543755" y="124760"/>
                  <a:pt x="2545577" y="128405"/>
                </a:cubicBezTo>
                <a:lnTo>
                  <a:pt x="2548002" y="125403"/>
                </a:lnTo>
                <a:lnTo>
                  <a:pt x="2551727" y="132960"/>
                </a:lnTo>
                <a:cubicBezTo>
                  <a:pt x="2556055" y="137971"/>
                  <a:pt x="2562888" y="142071"/>
                  <a:pt x="2567443" y="144804"/>
                </a:cubicBezTo>
                <a:cubicBezTo>
                  <a:pt x="2567443" y="142982"/>
                  <a:pt x="2569266" y="142982"/>
                  <a:pt x="2569266" y="141160"/>
                </a:cubicBezTo>
                <a:cubicBezTo>
                  <a:pt x="2574732" y="146626"/>
                  <a:pt x="2585665" y="142982"/>
                  <a:pt x="2587487" y="153915"/>
                </a:cubicBezTo>
                <a:cubicBezTo>
                  <a:pt x="2582021" y="152093"/>
                  <a:pt x="2576554" y="152093"/>
                  <a:pt x="2569266" y="150271"/>
                </a:cubicBezTo>
                <a:cubicBezTo>
                  <a:pt x="2571088" y="152093"/>
                  <a:pt x="2572910" y="155737"/>
                  <a:pt x="2571088" y="159382"/>
                </a:cubicBezTo>
                <a:cubicBezTo>
                  <a:pt x="2578377" y="159382"/>
                  <a:pt x="2582021" y="152093"/>
                  <a:pt x="2587487" y="159382"/>
                </a:cubicBezTo>
                <a:cubicBezTo>
                  <a:pt x="2594776" y="168493"/>
                  <a:pt x="2585665" y="188536"/>
                  <a:pt x="2602065" y="186714"/>
                </a:cubicBezTo>
                <a:cubicBezTo>
                  <a:pt x="2600243" y="186714"/>
                  <a:pt x="2598421" y="186714"/>
                  <a:pt x="2596598" y="188536"/>
                </a:cubicBezTo>
                <a:cubicBezTo>
                  <a:pt x="2596598" y="195825"/>
                  <a:pt x="2605709" y="203114"/>
                  <a:pt x="2612998" y="201292"/>
                </a:cubicBezTo>
                <a:cubicBezTo>
                  <a:pt x="2609353" y="203114"/>
                  <a:pt x="2607531" y="204936"/>
                  <a:pt x="2607531" y="206758"/>
                </a:cubicBezTo>
                <a:cubicBezTo>
                  <a:pt x="2607531" y="206758"/>
                  <a:pt x="2609353" y="208580"/>
                  <a:pt x="2609353" y="210403"/>
                </a:cubicBezTo>
                <a:cubicBezTo>
                  <a:pt x="2612998" y="208580"/>
                  <a:pt x="2614820" y="208580"/>
                  <a:pt x="2616642" y="206758"/>
                </a:cubicBezTo>
                <a:lnTo>
                  <a:pt x="2616642" y="219513"/>
                </a:lnTo>
                <a:cubicBezTo>
                  <a:pt x="2620287" y="223158"/>
                  <a:pt x="2623931" y="223158"/>
                  <a:pt x="2627575" y="221336"/>
                </a:cubicBezTo>
                <a:cubicBezTo>
                  <a:pt x="2633042" y="219513"/>
                  <a:pt x="2631219" y="212225"/>
                  <a:pt x="2633042" y="208580"/>
                </a:cubicBezTo>
                <a:cubicBezTo>
                  <a:pt x="2634864" y="210403"/>
                  <a:pt x="2634864" y="214047"/>
                  <a:pt x="2633042" y="215869"/>
                </a:cubicBezTo>
                <a:cubicBezTo>
                  <a:pt x="2642153" y="215869"/>
                  <a:pt x="2654908" y="212225"/>
                  <a:pt x="2651263" y="201292"/>
                </a:cubicBezTo>
                <a:cubicBezTo>
                  <a:pt x="2654908" y="203114"/>
                  <a:pt x="2656730" y="206758"/>
                  <a:pt x="2658552" y="204936"/>
                </a:cubicBezTo>
                <a:cubicBezTo>
                  <a:pt x="2664019" y="203114"/>
                  <a:pt x="2669485" y="195825"/>
                  <a:pt x="2669485" y="188536"/>
                </a:cubicBezTo>
                <a:lnTo>
                  <a:pt x="2666134" y="184347"/>
                </a:lnTo>
                <a:lnTo>
                  <a:pt x="2667436" y="181931"/>
                </a:lnTo>
                <a:cubicBezTo>
                  <a:pt x="2667208" y="180336"/>
                  <a:pt x="2666752" y="178514"/>
                  <a:pt x="2667663" y="177603"/>
                </a:cubicBezTo>
                <a:cubicBezTo>
                  <a:pt x="2673130" y="172137"/>
                  <a:pt x="2673130" y="177603"/>
                  <a:pt x="2674952" y="179426"/>
                </a:cubicBezTo>
                <a:cubicBezTo>
                  <a:pt x="2678596" y="175781"/>
                  <a:pt x="2669485" y="168493"/>
                  <a:pt x="2676774" y="166670"/>
                </a:cubicBezTo>
                <a:cubicBezTo>
                  <a:pt x="2675863" y="171225"/>
                  <a:pt x="2678141" y="174870"/>
                  <a:pt x="2680874" y="178514"/>
                </a:cubicBezTo>
                <a:lnTo>
                  <a:pt x="2684776" y="185278"/>
                </a:lnTo>
                <a:lnTo>
                  <a:pt x="2674952" y="199469"/>
                </a:lnTo>
                <a:cubicBezTo>
                  <a:pt x="2673130" y="199469"/>
                  <a:pt x="2673130" y="197647"/>
                  <a:pt x="2673130" y="195825"/>
                </a:cubicBezTo>
                <a:cubicBezTo>
                  <a:pt x="2669485" y="199469"/>
                  <a:pt x="2674952" y="208580"/>
                  <a:pt x="2676774" y="210403"/>
                </a:cubicBezTo>
                <a:cubicBezTo>
                  <a:pt x="2684063" y="208580"/>
                  <a:pt x="2693174" y="210403"/>
                  <a:pt x="2696818" y="203114"/>
                </a:cubicBezTo>
                <a:cubicBezTo>
                  <a:pt x="2704106" y="208580"/>
                  <a:pt x="2715040" y="197647"/>
                  <a:pt x="2720506" y="190359"/>
                </a:cubicBezTo>
                <a:cubicBezTo>
                  <a:pt x="2720506" y="183070"/>
                  <a:pt x="2716862" y="172137"/>
                  <a:pt x="2724150" y="166670"/>
                </a:cubicBezTo>
                <a:cubicBezTo>
                  <a:pt x="2721417" y="164848"/>
                  <a:pt x="2720506" y="162570"/>
                  <a:pt x="2720051" y="159837"/>
                </a:cubicBezTo>
                <a:lnTo>
                  <a:pt x="2719531" y="156200"/>
                </a:lnTo>
                <a:lnTo>
                  <a:pt x="2723481" y="154799"/>
                </a:lnTo>
                <a:lnTo>
                  <a:pt x="2724150" y="155737"/>
                </a:lnTo>
                <a:lnTo>
                  <a:pt x="2724225" y="154535"/>
                </a:lnTo>
                <a:lnTo>
                  <a:pt x="2725973" y="153915"/>
                </a:lnTo>
                <a:cubicBezTo>
                  <a:pt x="2725973" y="144804"/>
                  <a:pt x="2725973" y="135693"/>
                  <a:pt x="2733261" y="128405"/>
                </a:cubicBezTo>
                <a:cubicBezTo>
                  <a:pt x="2735084" y="128405"/>
                  <a:pt x="2735084" y="128405"/>
                  <a:pt x="2736906" y="130227"/>
                </a:cubicBezTo>
                <a:cubicBezTo>
                  <a:pt x="2736906" y="126583"/>
                  <a:pt x="2736906" y="122938"/>
                  <a:pt x="2736906" y="119294"/>
                </a:cubicBezTo>
                <a:cubicBezTo>
                  <a:pt x="2738728" y="121116"/>
                  <a:pt x="2740550" y="122938"/>
                  <a:pt x="2742372" y="124760"/>
                </a:cubicBezTo>
                <a:cubicBezTo>
                  <a:pt x="2744194" y="126583"/>
                  <a:pt x="2747839" y="126583"/>
                  <a:pt x="2749661" y="126583"/>
                </a:cubicBezTo>
                <a:cubicBezTo>
                  <a:pt x="2747839" y="126583"/>
                  <a:pt x="2747839" y="128405"/>
                  <a:pt x="2747839" y="130227"/>
                </a:cubicBezTo>
                <a:lnTo>
                  <a:pt x="2752250" y="128884"/>
                </a:lnTo>
                <a:lnTo>
                  <a:pt x="2753305" y="132049"/>
                </a:lnTo>
                <a:cubicBezTo>
                  <a:pt x="2755127" y="128405"/>
                  <a:pt x="2760594" y="124760"/>
                  <a:pt x="2762416" y="130227"/>
                </a:cubicBezTo>
                <a:cubicBezTo>
                  <a:pt x="2762416" y="122938"/>
                  <a:pt x="2766060" y="117472"/>
                  <a:pt x="2762416" y="113827"/>
                </a:cubicBezTo>
                <a:cubicBezTo>
                  <a:pt x="2762416" y="119293"/>
                  <a:pt x="2760594" y="121571"/>
                  <a:pt x="2758316" y="122938"/>
                </a:cubicBezTo>
                <a:lnTo>
                  <a:pt x="2753860" y="125315"/>
                </a:lnTo>
                <a:lnTo>
                  <a:pt x="2753305" y="124760"/>
                </a:lnTo>
                <a:cubicBezTo>
                  <a:pt x="2760594" y="121116"/>
                  <a:pt x="2766060" y="108361"/>
                  <a:pt x="2764238" y="97428"/>
                </a:cubicBezTo>
                <a:cubicBezTo>
                  <a:pt x="2769705" y="97428"/>
                  <a:pt x="2769705" y="97428"/>
                  <a:pt x="2771527" y="99250"/>
                </a:cubicBezTo>
                <a:cubicBezTo>
                  <a:pt x="2773349" y="101072"/>
                  <a:pt x="2775627" y="101072"/>
                  <a:pt x="2777677" y="99933"/>
                </a:cubicBezTo>
                <a:lnTo>
                  <a:pt x="2781640" y="94837"/>
                </a:lnTo>
                <a:lnTo>
                  <a:pt x="2784966" y="98338"/>
                </a:lnTo>
                <a:cubicBezTo>
                  <a:pt x="2785649" y="100160"/>
                  <a:pt x="2786105" y="101072"/>
                  <a:pt x="2787927" y="97428"/>
                </a:cubicBezTo>
                <a:lnTo>
                  <a:pt x="2787927" y="94663"/>
                </a:lnTo>
                <a:lnTo>
                  <a:pt x="2791738" y="91772"/>
                </a:lnTo>
                <a:lnTo>
                  <a:pt x="2791571" y="97428"/>
                </a:lnTo>
                <a:cubicBezTo>
                  <a:pt x="2795215" y="99250"/>
                  <a:pt x="2791571" y="90139"/>
                  <a:pt x="2795215" y="95606"/>
                </a:cubicBezTo>
                <a:cubicBezTo>
                  <a:pt x="2797038" y="93783"/>
                  <a:pt x="2796127" y="91961"/>
                  <a:pt x="2794988" y="90139"/>
                </a:cubicBezTo>
                <a:lnTo>
                  <a:pt x="2794789" y="89457"/>
                </a:lnTo>
                <a:lnTo>
                  <a:pt x="2797493" y="87405"/>
                </a:lnTo>
                <a:cubicBezTo>
                  <a:pt x="2802504" y="85128"/>
                  <a:pt x="2807971" y="84672"/>
                  <a:pt x="2813437" y="88317"/>
                </a:cubicBezTo>
                <a:cubicBezTo>
                  <a:pt x="2822548" y="93783"/>
                  <a:pt x="2818903" y="106539"/>
                  <a:pt x="2815259" y="115649"/>
                </a:cubicBezTo>
                <a:cubicBezTo>
                  <a:pt x="2815259" y="115649"/>
                  <a:pt x="2813437" y="115649"/>
                  <a:pt x="2811615" y="115649"/>
                </a:cubicBezTo>
                <a:cubicBezTo>
                  <a:pt x="2809793" y="112005"/>
                  <a:pt x="2817081" y="106539"/>
                  <a:pt x="2809793" y="108361"/>
                </a:cubicBezTo>
                <a:cubicBezTo>
                  <a:pt x="2807971" y="108361"/>
                  <a:pt x="2807971" y="113827"/>
                  <a:pt x="2806148" y="115649"/>
                </a:cubicBezTo>
                <a:cubicBezTo>
                  <a:pt x="2806148" y="113827"/>
                  <a:pt x="2806148" y="113827"/>
                  <a:pt x="2806148" y="112005"/>
                </a:cubicBezTo>
                <a:cubicBezTo>
                  <a:pt x="2804326" y="113827"/>
                  <a:pt x="2802504" y="115649"/>
                  <a:pt x="2804326" y="117472"/>
                </a:cubicBezTo>
                <a:cubicBezTo>
                  <a:pt x="2811615" y="121116"/>
                  <a:pt x="2809793" y="128405"/>
                  <a:pt x="2807971" y="135693"/>
                </a:cubicBezTo>
                <a:cubicBezTo>
                  <a:pt x="2807971" y="126583"/>
                  <a:pt x="2802504" y="119294"/>
                  <a:pt x="2800682" y="110183"/>
                </a:cubicBezTo>
                <a:lnTo>
                  <a:pt x="2792143" y="132385"/>
                </a:lnTo>
                <a:lnTo>
                  <a:pt x="2788382" y="123394"/>
                </a:lnTo>
                <a:cubicBezTo>
                  <a:pt x="2788838" y="113827"/>
                  <a:pt x="2791571" y="103806"/>
                  <a:pt x="2791571" y="95606"/>
                </a:cubicBezTo>
                <a:cubicBezTo>
                  <a:pt x="2787927" y="97428"/>
                  <a:pt x="2782460" y="101072"/>
                  <a:pt x="2784282" y="102894"/>
                </a:cubicBezTo>
                <a:cubicBezTo>
                  <a:pt x="2787927" y="121116"/>
                  <a:pt x="2780638" y="139338"/>
                  <a:pt x="2773349" y="153915"/>
                </a:cubicBezTo>
                <a:cubicBezTo>
                  <a:pt x="2775171" y="148449"/>
                  <a:pt x="2773349" y="141160"/>
                  <a:pt x="2767882" y="141160"/>
                </a:cubicBezTo>
                <a:cubicBezTo>
                  <a:pt x="2766060" y="139338"/>
                  <a:pt x="2769705" y="146626"/>
                  <a:pt x="2764238" y="148449"/>
                </a:cubicBezTo>
                <a:cubicBezTo>
                  <a:pt x="2764238" y="146626"/>
                  <a:pt x="2764238" y="144804"/>
                  <a:pt x="2764238" y="142982"/>
                </a:cubicBezTo>
                <a:cubicBezTo>
                  <a:pt x="2762416" y="142982"/>
                  <a:pt x="2762416" y="142982"/>
                  <a:pt x="2760594" y="144804"/>
                </a:cubicBezTo>
                <a:cubicBezTo>
                  <a:pt x="2758772" y="152093"/>
                  <a:pt x="2767882" y="153915"/>
                  <a:pt x="2767882" y="159382"/>
                </a:cubicBezTo>
                <a:cubicBezTo>
                  <a:pt x="2767882" y="157559"/>
                  <a:pt x="2769705" y="155737"/>
                  <a:pt x="2769705" y="153915"/>
                </a:cubicBezTo>
                <a:cubicBezTo>
                  <a:pt x="2773349" y="161204"/>
                  <a:pt x="2780638" y="168493"/>
                  <a:pt x="2776993" y="177603"/>
                </a:cubicBezTo>
                <a:cubicBezTo>
                  <a:pt x="2776993" y="177603"/>
                  <a:pt x="2775171" y="177603"/>
                  <a:pt x="2775171" y="175781"/>
                </a:cubicBezTo>
                <a:cubicBezTo>
                  <a:pt x="2771527" y="177603"/>
                  <a:pt x="2769705" y="177603"/>
                  <a:pt x="2767882" y="179426"/>
                </a:cubicBezTo>
                <a:cubicBezTo>
                  <a:pt x="2764238" y="186714"/>
                  <a:pt x="2775171" y="183070"/>
                  <a:pt x="2775171" y="188536"/>
                </a:cubicBezTo>
                <a:cubicBezTo>
                  <a:pt x="2767882" y="183070"/>
                  <a:pt x="2771527" y="194003"/>
                  <a:pt x="2769705" y="195825"/>
                </a:cubicBezTo>
                <a:cubicBezTo>
                  <a:pt x="2773349" y="203114"/>
                  <a:pt x="2778816" y="208580"/>
                  <a:pt x="2776993" y="217691"/>
                </a:cubicBezTo>
                <a:lnTo>
                  <a:pt x="2770367" y="210256"/>
                </a:lnTo>
                <a:lnTo>
                  <a:pt x="2767882" y="214066"/>
                </a:lnTo>
                <a:cubicBezTo>
                  <a:pt x="2767882" y="214066"/>
                  <a:pt x="2766060" y="214066"/>
                  <a:pt x="2766060" y="214066"/>
                </a:cubicBezTo>
                <a:cubicBezTo>
                  <a:pt x="2766060" y="212243"/>
                  <a:pt x="2766971" y="209965"/>
                  <a:pt x="2767655" y="207460"/>
                </a:cubicBezTo>
                <a:lnTo>
                  <a:pt x="2767662" y="207221"/>
                </a:lnTo>
                <a:lnTo>
                  <a:pt x="2767655" y="207213"/>
                </a:lnTo>
                <a:cubicBezTo>
                  <a:pt x="2765149" y="202202"/>
                  <a:pt x="2762416" y="196736"/>
                  <a:pt x="2756950" y="194003"/>
                </a:cubicBezTo>
                <a:cubicBezTo>
                  <a:pt x="2753305" y="192181"/>
                  <a:pt x="2749661" y="194003"/>
                  <a:pt x="2747839" y="195825"/>
                </a:cubicBezTo>
                <a:cubicBezTo>
                  <a:pt x="2746016" y="195825"/>
                  <a:pt x="2746016" y="192181"/>
                  <a:pt x="2746016" y="190359"/>
                </a:cubicBezTo>
                <a:cubicBezTo>
                  <a:pt x="2748750" y="192181"/>
                  <a:pt x="2750116" y="190359"/>
                  <a:pt x="2750572" y="187853"/>
                </a:cubicBezTo>
                <a:lnTo>
                  <a:pt x="2749914" y="183082"/>
                </a:lnTo>
                <a:lnTo>
                  <a:pt x="2751483" y="180337"/>
                </a:lnTo>
                <a:cubicBezTo>
                  <a:pt x="2752394" y="177148"/>
                  <a:pt x="2752394" y="173048"/>
                  <a:pt x="2751483" y="172137"/>
                </a:cubicBezTo>
                <a:cubicBezTo>
                  <a:pt x="2749661" y="170315"/>
                  <a:pt x="2749661" y="177603"/>
                  <a:pt x="2747839" y="179426"/>
                </a:cubicBezTo>
                <a:cubicBezTo>
                  <a:pt x="2744194" y="177603"/>
                  <a:pt x="2747839" y="172137"/>
                  <a:pt x="2747839" y="168493"/>
                </a:cubicBezTo>
                <a:cubicBezTo>
                  <a:pt x="2745106" y="170315"/>
                  <a:pt x="2743283" y="173503"/>
                  <a:pt x="2742600" y="177375"/>
                </a:cubicBezTo>
                <a:lnTo>
                  <a:pt x="2743562" y="185211"/>
                </a:lnTo>
                <a:lnTo>
                  <a:pt x="2740550" y="187169"/>
                </a:lnTo>
                <a:cubicBezTo>
                  <a:pt x="2737361" y="188536"/>
                  <a:pt x="2735084" y="190358"/>
                  <a:pt x="2736906" y="195825"/>
                </a:cubicBezTo>
                <a:cubicBezTo>
                  <a:pt x="2736906" y="197647"/>
                  <a:pt x="2740550" y="194003"/>
                  <a:pt x="2742372" y="195825"/>
                </a:cubicBezTo>
                <a:cubicBezTo>
                  <a:pt x="2735084" y="194003"/>
                  <a:pt x="2740550" y="206758"/>
                  <a:pt x="2733261" y="204936"/>
                </a:cubicBezTo>
                <a:cubicBezTo>
                  <a:pt x="2731439" y="203114"/>
                  <a:pt x="2733261" y="201292"/>
                  <a:pt x="2735084" y="199469"/>
                </a:cubicBezTo>
                <a:cubicBezTo>
                  <a:pt x="2725973" y="197647"/>
                  <a:pt x="2718684" y="206758"/>
                  <a:pt x="2715040" y="214047"/>
                </a:cubicBezTo>
                <a:cubicBezTo>
                  <a:pt x="2715040" y="212225"/>
                  <a:pt x="2715040" y="212225"/>
                  <a:pt x="2713217" y="210403"/>
                </a:cubicBezTo>
                <a:cubicBezTo>
                  <a:pt x="2707751" y="208580"/>
                  <a:pt x="2704106" y="212225"/>
                  <a:pt x="2700462" y="212225"/>
                </a:cubicBezTo>
                <a:cubicBezTo>
                  <a:pt x="2696818" y="212225"/>
                  <a:pt x="2691351" y="217691"/>
                  <a:pt x="2689529" y="219513"/>
                </a:cubicBezTo>
                <a:cubicBezTo>
                  <a:pt x="2671307" y="248668"/>
                  <a:pt x="2713217" y="254135"/>
                  <a:pt x="2731439" y="265068"/>
                </a:cubicBezTo>
                <a:cubicBezTo>
                  <a:pt x="2733261" y="266890"/>
                  <a:pt x="2733261" y="270534"/>
                  <a:pt x="2731439" y="272356"/>
                </a:cubicBezTo>
                <a:cubicBezTo>
                  <a:pt x="2731439" y="274179"/>
                  <a:pt x="2725973" y="272356"/>
                  <a:pt x="2724150" y="272356"/>
                </a:cubicBezTo>
                <a:cubicBezTo>
                  <a:pt x="2722328" y="270534"/>
                  <a:pt x="2722328" y="268712"/>
                  <a:pt x="2722328" y="266890"/>
                </a:cubicBezTo>
                <a:cubicBezTo>
                  <a:pt x="2722328" y="270534"/>
                  <a:pt x="2722328" y="276001"/>
                  <a:pt x="2724150" y="279645"/>
                </a:cubicBezTo>
                <a:cubicBezTo>
                  <a:pt x="2727795" y="277823"/>
                  <a:pt x="2725973" y="276001"/>
                  <a:pt x="2725973" y="274179"/>
                </a:cubicBezTo>
                <a:cubicBezTo>
                  <a:pt x="2731439" y="274179"/>
                  <a:pt x="2727795" y="279645"/>
                  <a:pt x="2729617" y="281467"/>
                </a:cubicBezTo>
                <a:cubicBezTo>
                  <a:pt x="2736906" y="290578"/>
                  <a:pt x="2749661" y="281467"/>
                  <a:pt x="2756950" y="276001"/>
                </a:cubicBezTo>
                <a:cubicBezTo>
                  <a:pt x="2758772" y="274179"/>
                  <a:pt x="2756950" y="270534"/>
                  <a:pt x="2756950" y="268712"/>
                </a:cubicBezTo>
                <a:cubicBezTo>
                  <a:pt x="2758772" y="268712"/>
                  <a:pt x="2758772" y="268712"/>
                  <a:pt x="2760594" y="270534"/>
                </a:cubicBezTo>
                <a:cubicBezTo>
                  <a:pt x="2760594" y="268712"/>
                  <a:pt x="2767882" y="265068"/>
                  <a:pt x="2760594" y="263246"/>
                </a:cubicBezTo>
                <a:cubicBezTo>
                  <a:pt x="2755127" y="261423"/>
                  <a:pt x="2749661" y="266890"/>
                  <a:pt x="2744194" y="263246"/>
                </a:cubicBezTo>
                <a:cubicBezTo>
                  <a:pt x="2755127" y="259601"/>
                  <a:pt x="2771527" y="259601"/>
                  <a:pt x="2778816" y="261423"/>
                </a:cubicBezTo>
                <a:cubicBezTo>
                  <a:pt x="2780638" y="261423"/>
                  <a:pt x="2780638" y="259601"/>
                  <a:pt x="2782460" y="259601"/>
                </a:cubicBezTo>
                <a:cubicBezTo>
                  <a:pt x="2778816" y="263246"/>
                  <a:pt x="2782460" y="270534"/>
                  <a:pt x="2776993" y="270534"/>
                </a:cubicBezTo>
                <a:cubicBezTo>
                  <a:pt x="2773349" y="272356"/>
                  <a:pt x="2778816" y="266890"/>
                  <a:pt x="2775171" y="265068"/>
                </a:cubicBezTo>
                <a:cubicBezTo>
                  <a:pt x="2773349" y="265068"/>
                  <a:pt x="2771527" y="265068"/>
                  <a:pt x="2771527" y="266890"/>
                </a:cubicBezTo>
                <a:cubicBezTo>
                  <a:pt x="2771527" y="270534"/>
                  <a:pt x="2775171" y="276001"/>
                  <a:pt x="2771527" y="277823"/>
                </a:cubicBezTo>
                <a:cubicBezTo>
                  <a:pt x="2767882" y="277823"/>
                  <a:pt x="2766060" y="276001"/>
                  <a:pt x="2766060" y="274179"/>
                </a:cubicBezTo>
                <a:cubicBezTo>
                  <a:pt x="2762416" y="277823"/>
                  <a:pt x="2764238" y="283289"/>
                  <a:pt x="2767882" y="285112"/>
                </a:cubicBezTo>
                <a:cubicBezTo>
                  <a:pt x="2764238" y="288756"/>
                  <a:pt x="2767882" y="294223"/>
                  <a:pt x="2762416" y="296045"/>
                </a:cubicBezTo>
                <a:cubicBezTo>
                  <a:pt x="2762416" y="294223"/>
                  <a:pt x="2762416" y="294223"/>
                  <a:pt x="2762416" y="292400"/>
                </a:cubicBezTo>
                <a:cubicBezTo>
                  <a:pt x="2760594" y="292400"/>
                  <a:pt x="2758772" y="292400"/>
                  <a:pt x="2758772" y="292400"/>
                </a:cubicBezTo>
                <a:cubicBezTo>
                  <a:pt x="2756950" y="286934"/>
                  <a:pt x="2762416" y="281467"/>
                  <a:pt x="2758772" y="276001"/>
                </a:cubicBezTo>
                <a:cubicBezTo>
                  <a:pt x="2755127" y="281467"/>
                  <a:pt x="2758772" y="288756"/>
                  <a:pt x="2753305" y="294223"/>
                </a:cubicBezTo>
                <a:cubicBezTo>
                  <a:pt x="2753305" y="294223"/>
                  <a:pt x="2753305" y="294223"/>
                  <a:pt x="2755127" y="294223"/>
                </a:cubicBezTo>
                <a:cubicBezTo>
                  <a:pt x="2755127" y="297867"/>
                  <a:pt x="2756950" y="301511"/>
                  <a:pt x="2751483" y="303333"/>
                </a:cubicBezTo>
                <a:cubicBezTo>
                  <a:pt x="2751483" y="301511"/>
                  <a:pt x="2751483" y="299689"/>
                  <a:pt x="2749661" y="297867"/>
                </a:cubicBezTo>
                <a:cubicBezTo>
                  <a:pt x="2747839" y="297867"/>
                  <a:pt x="2747839" y="297867"/>
                  <a:pt x="2746016" y="299689"/>
                </a:cubicBezTo>
                <a:cubicBezTo>
                  <a:pt x="2746016" y="294223"/>
                  <a:pt x="2746016" y="288756"/>
                  <a:pt x="2746016" y="283289"/>
                </a:cubicBezTo>
                <a:cubicBezTo>
                  <a:pt x="2742372" y="285112"/>
                  <a:pt x="2742372" y="286934"/>
                  <a:pt x="2740550" y="288756"/>
                </a:cubicBezTo>
                <a:cubicBezTo>
                  <a:pt x="2727795" y="276001"/>
                  <a:pt x="2718684" y="290578"/>
                  <a:pt x="2711395" y="299689"/>
                </a:cubicBezTo>
                <a:cubicBezTo>
                  <a:pt x="2712306" y="294222"/>
                  <a:pt x="2710028" y="290122"/>
                  <a:pt x="2706612" y="286705"/>
                </a:cubicBezTo>
                <a:lnTo>
                  <a:pt x="2696500" y="278972"/>
                </a:lnTo>
                <a:lnTo>
                  <a:pt x="2700462" y="276001"/>
                </a:lnTo>
                <a:cubicBezTo>
                  <a:pt x="2696818" y="276001"/>
                  <a:pt x="2696818" y="279645"/>
                  <a:pt x="2693174" y="277823"/>
                </a:cubicBezTo>
                <a:cubicBezTo>
                  <a:pt x="2694996" y="270534"/>
                  <a:pt x="2694996" y="270534"/>
                  <a:pt x="2698640" y="265068"/>
                </a:cubicBezTo>
                <a:cubicBezTo>
                  <a:pt x="2702284" y="266890"/>
                  <a:pt x="2698640" y="272356"/>
                  <a:pt x="2704106" y="272356"/>
                </a:cubicBezTo>
                <a:cubicBezTo>
                  <a:pt x="2705929" y="268712"/>
                  <a:pt x="2705929" y="265068"/>
                  <a:pt x="2705929" y="261423"/>
                </a:cubicBezTo>
                <a:cubicBezTo>
                  <a:pt x="2702284" y="261423"/>
                  <a:pt x="2698640" y="261423"/>
                  <a:pt x="2694996" y="259601"/>
                </a:cubicBezTo>
                <a:lnTo>
                  <a:pt x="2691253" y="268023"/>
                </a:lnTo>
                <a:lnTo>
                  <a:pt x="2690213" y="260740"/>
                </a:lnTo>
                <a:cubicBezTo>
                  <a:pt x="2688618" y="258234"/>
                  <a:pt x="2685885" y="255957"/>
                  <a:pt x="2682240" y="254135"/>
                </a:cubicBezTo>
                <a:lnTo>
                  <a:pt x="2681764" y="255469"/>
                </a:lnTo>
                <a:lnTo>
                  <a:pt x="2661741" y="235001"/>
                </a:lnTo>
                <a:lnTo>
                  <a:pt x="2641705" y="231821"/>
                </a:lnTo>
                <a:lnTo>
                  <a:pt x="2640330" y="230446"/>
                </a:lnTo>
                <a:lnTo>
                  <a:pt x="2640330" y="231603"/>
                </a:lnTo>
                <a:lnTo>
                  <a:pt x="2633042" y="230446"/>
                </a:lnTo>
                <a:cubicBezTo>
                  <a:pt x="2634864" y="235913"/>
                  <a:pt x="2640330" y="230446"/>
                  <a:pt x="2640330" y="235913"/>
                </a:cubicBezTo>
                <a:cubicBezTo>
                  <a:pt x="2642153" y="235002"/>
                  <a:pt x="2641242" y="234091"/>
                  <a:pt x="2640331" y="233179"/>
                </a:cubicBezTo>
                <a:lnTo>
                  <a:pt x="2640330" y="231603"/>
                </a:lnTo>
                <a:lnTo>
                  <a:pt x="2641705" y="231821"/>
                </a:lnTo>
                <a:lnTo>
                  <a:pt x="2643975" y="234091"/>
                </a:lnTo>
                <a:cubicBezTo>
                  <a:pt x="2636686" y="235913"/>
                  <a:pt x="2634864" y="239557"/>
                  <a:pt x="2636686" y="245024"/>
                </a:cubicBezTo>
                <a:cubicBezTo>
                  <a:pt x="2638508" y="243202"/>
                  <a:pt x="2638508" y="243202"/>
                  <a:pt x="2640330" y="243202"/>
                </a:cubicBezTo>
                <a:cubicBezTo>
                  <a:pt x="2638508" y="248668"/>
                  <a:pt x="2643975" y="252313"/>
                  <a:pt x="2634864" y="252313"/>
                </a:cubicBezTo>
                <a:cubicBezTo>
                  <a:pt x="2633042" y="250490"/>
                  <a:pt x="2631219" y="250490"/>
                  <a:pt x="2629397" y="248668"/>
                </a:cubicBezTo>
                <a:cubicBezTo>
                  <a:pt x="2629397" y="252313"/>
                  <a:pt x="2627575" y="255957"/>
                  <a:pt x="2623931" y="257779"/>
                </a:cubicBezTo>
                <a:cubicBezTo>
                  <a:pt x="2623931" y="254135"/>
                  <a:pt x="2620287" y="252313"/>
                  <a:pt x="2623931" y="248668"/>
                </a:cubicBezTo>
                <a:cubicBezTo>
                  <a:pt x="2622109" y="248668"/>
                  <a:pt x="2620287" y="248668"/>
                  <a:pt x="2618464" y="250490"/>
                </a:cubicBezTo>
                <a:cubicBezTo>
                  <a:pt x="2614365" y="258689"/>
                  <a:pt x="2609240" y="272014"/>
                  <a:pt x="2616158" y="278164"/>
                </a:cubicBezTo>
                <a:lnTo>
                  <a:pt x="2622898" y="280114"/>
                </a:lnTo>
                <a:lnTo>
                  <a:pt x="2612087" y="281922"/>
                </a:lnTo>
                <a:cubicBezTo>
                  <a:pt x="2602521" y="286022"/>
                  <a:pt x="2593866" y="294222"/>
                  <a:pt x="2589310" y="301511"/>
                </a:cubicBezTo>
                <a:cubicBezTo>
                  <a:pt x="2585665" y="297867"/>
                  <a:pt x="2583843" y="303333"/>
                  <a:pt x="2582021" y="301511"/>
                </a:cubicBezTo>
                <a:cubicBezTo>
                  <a:pt x="2580199" y="310622"/>
                  <a:pt x="2587487" y="319733"/>
                  <a:pt x="2585665" y="328844"/>
                </a:cubicBezTo>
                <a:cubicBezTo>
                  <a:pt x="2589310" y="328844"/>
                  <a:pt x="2591132" y="319733"/>
                  <a:pt x="2592954" y="327022"/>
                </a:cubicBezTo>
                <a:cubicBezTo>
                  <a:pt x="2592954" y="330666"/>
                  <a:pt x="2589310" y="337954"/>
                  <a:pt x="2585665" y="336133"/>
                </a:cubicBezTo>
                <a:cubicBezTo>
                  <a:pt x="2581110" y="334310"/>
                  <a:pt x="2580199" y="328843"/>
                  <a:pt x="2578832" y="323604"/>
                </a:cubicBezTo>
                <a:lnTo>
                  <a:pt x="2572341" y="316031"/>
                </a:lnTo>
                <a:lnTo>
                  <a:pt x="2572910" y="315177"/>
                </a:lnTo>
                <a:cubicBezTo>
                  <a:pt x="2572455" y="314266"/>
                  <a:pt x="2571088" y="313355"/>
                  <a:pt x="2569266" y="312444"/>
                </a:cubicBezTo>
                <a:lnTo>
                  <a:pt x="2572341" y="316031"/>
                </a:lnTo>
                <a:lnTo>
                  <a:pt x="2571088" y="317911"/>
                </a:lnTo>
                <a:cubicBezTo>
                  <a:pt x="2569266" y="317911"/>
                  <a:pt x="2569266" y="317911"/>
                  <a:pt x="2567443" y="316089"/>
                </a:cubicBezTo>
                <a:cubicBezTo>
                  <a:pt x="2567443" y="319733"/>
                  <a:pt x="2567443" y="321555"/>
                  <a:pt x="2569266" y="323377"/>
                </a:cubicBezTo>
                <a:cubicBezTo>
                  <a:pt x="2569266" y="323377"/>
                  <a:pt x="2569266" y="321555"/>
                  <a:pt x="2571088" y="321555"/>
                </a:cubicBezTo>
                <a:cubicBezTo>
                  <a:pt x="2571088" y="332488"/>
                  <a:pt x="2565621" y="343421"/>
                  <a:pt x="2565621" y="354354"/>
                </a:cubicBezTo>
                <a:cubicBezTo>
                  <a:pt x="2565621" y="354354"/>
                  <a:pt x="2563799" y="352532"/>
                  <a:pt x="2563799" y="352532"/>
                </a:cubicBezTo>
                <a:cubicBezTo>
                  <a:pt x="2563799" y="361642"/>
                  <a:pt x="2556510" y="365287"/>
                  <a:pt x="2554688" y="372576"/>
                </a:cubicBezTo>
                <a:cubicBezTo>
                  <a:pt x="2554688" y="372576"/>
                  <a:pt x="2554688" y="368932"/>
                  <a:pt x="2552866" y="370754"/>
                </a:cubicBezTo>
                <a:cubicBezTo>
                  <a:pt x="2551044" y="370754"/>
                  <a:pt x="2551044" y="372576"/>
                  <a:pt x="2549222" y="372576"/>
                </a:cubicBezTo>
                <a:cubicBezTo>
                  <a:pt x="2549222" y="365287"/>
                  <a:pt x="2549222" y="361642"/>
                  <a:pt x="2551044" y="354354"/>
                </a:cubicBezTo>
                <a:cubicBezTo>
                  <a:pt x="2552866" y="354354"/>
                  <a:pt x="2552866" y="354354"/>
                  <a:pt x="2554688" y="356176"/>
                </a:cubicBezTo>
                <a:cubicBezTo>
                  <a:pt x="2557422" y="351621"/>
                  <a:pt x="2555144" y="349798"/>
                  <a:pt x="2551955" y="348888"/>
                </a:cubicBezTo>
                <a:lnTo>
                  <a:pt x="2551011" y="348678"/>
                </a:lnTo>
                <a:lnTo>
                  <a:pt x="2549678" y="340232"/>
                </a:lnTo>
                <a:cubicBezTo>
                  <a:pt x="2550133" y="337499"/>
                  <a:pt x="2551044" y="334310"/>
                  <a:pt x="2551044" y="328844"/>
                </a:cubicBezTo>
                <a:cubicBezTo>
                  <a:pt x="2549222" y="330666"/>
                  <a:pt x="2547400" y="330666"/>
                  <a:pt x="2545577" y="330666"/>
                </a:cubicBezTo>
                <a:cubicBezTo>
                  <a:pt x="2547400" y="330666"/>
                  <a:pt x="2547400" y="327022"/>
                  <a:pt x="2549222" y="327022"/>
                </a:cubicBezTo>
                <a:cubicBezTo>
                  <a:pt x="2549222" y="325199"/>
                  <a:pt x="2547855" y="326110"/>
                  <a:pt x="2546489" y="326793"/>
                </a:cubicBezTo>
                <a:lnTo>
                  <a:pt x="2544392" y="325570"/>
                </a:lnTo>
                <a:lnTo>
                  <a:pt x="2547400" y="305155"/>
                </a:lnTo>
                <a:cubicBezTo>
                  <a:pt x="2543755" y="305155"/>
                  <a:pt x="2540111" y="305155"/>
                  <a:pt x="2536466" y="303333"/>
                </a:cubicBezTo>
                <a:cubicBezTo>
                  <a:pt x="2538289" y="306978"/>
                  <a:pt x="2538289" y="310622"/>
                  <a:pt x="2534644" y="312444"/>
                </a:cubicBezTo>
                <a:cubicBezTo>
                  <a:pt x="2534644" y="308800"/>
                  <a:pt x="2538289" y="301511"/>
                  <a:pt x="2531000" y="301511"/>
                </a:cubicBezTo>
                <a:cubicBezTo>
                  <a:pt x="2531000" y="306978"/>
                  <a:pt x="2525534" y="306978"/>
                  <a:pt x="2523711" y="308800"/>
                </a:cubicBezTo>
                <a:cubicBezTo>
                  <a:pt x="2531000" y="308800"/>
                  <a:pt x="2534644" y="316089"/>
                  <a:pt x="2532822" y="323377"/>
                </a:cubicBezTo>
                <a:cubicBezTo>
                  <a:pt x="2534644" y="321555"/>
                  <a:pt x="2536466" y="317911"/>
                  <a:pt x="2534644" y="314266"/>
                </a:cubicBezTo>
                <a:cubicBezTo>
                  <a:pt x="2547400" y="323377"/>
                  <a:pt x="2525534" y="330666"/>
                  <a:pt x="2523711" y="337954"/>
                </a:cubicBezTo>
                <a:cubicBezTo>
                  <a:pt x="2527356" y="337954"/>
                  <a:pt x="2534644" y="334310"/>
                  <a:pt x="2534644" y="341598"/>
                </a:cubicBezTo>
                <a:cubicBezTo>
                  <a:pt x="2534644" y="343421"/>
                  <a:pt x="2531000" y="347066"/>
                  <a:pt x="2532822" y="348888"/>
                </a:cubicBezTo>
                <a:cubicBezTo>
                  <a:pt x="2534644" y="348888"/>
                  <a:pt x="2536466" y="348888"/>
                  <a:pt x="2538289" y="350710"/>
                </a:cubicBezTo>
                <a:cubicBezTo>
                  <a:pt x="2529178" y="347066"/>
                  <a:pt x="2529178" y="356176"/>
                  <a:pt x="2531000" y="361642"/>
                </a:cubicBezTo>
                <a:cubicBezTo>
                  <a:pt x="2525534" y="357998"/>
                  <a:pt x="2531000" y="350710"/>
                  <a:pt x="2525534" y="350710"/>
                </a:cubicBezTo>
                <a:cubicBezTo>
                  <a:pt x="2521889" y="348888"/>
                  <a:pt x="2525534" y="359821"/>
                  <a:pt x="2518245" y="354354"/>
                </a:cubicBezTo>
                <a:cubicBezTo>
                  <a:pt x="2520067" y="358909"/>
                  <a:pt x="2518245" y="362098"/>
                  <a:pt x="2516423" y="365059"/>
                </a:cubicBezTo>
                <a:lnTo>
                  <a:pt x="2515227" y="371185"/>
                </a:lnTo>
                <a:lnTo>
                  <a:pt x="2515056" y="371209"/>
                </a:lnTo>
                <a:cubicBezTo>
                  <a:pt x="2514145" y="371665"/>
                  <a:pt x="2513689" y="372575"/>
                  <a:pt x="2514600" y="374397"/>
                </a:cubicBezTo>
                <a:lnTo>
                  <a:pt x="2515227" y="371185"/>
                </a:lnTo>
                <a:lnTo>
                  <a:pt x="2518245" y="370754"/>
                </a:lnTo>
                <a:cubicBezTo>
                  <a:pt x="2516423" y="379865"/>
                  <a:pt x="2520067" y="388976"/>
                  <a:pt x="2523711" y="396264"/>
                </a:cubicBezTo>
                <a:cubicBezTo>
                  <a:pt x="2523711" y="394441"/>
                  <a:pt x="2529178" y="390797"/>
                  <a:pt x="2525534" y="387152"/>
                </a:cubicBezTo>
                <a:cubicBezTo>
                  <a:pt x="2525534" y="388976"/>
                  <a:pt x="2525534" y="388976"/>
                  <a:pt x="2523711" y="390797"/>
                </a:cubicBezTo>
                <a:cubicBezTo>
                  <a:pt x="2521889" y="385331"/>
                  <a:pt x="2521889" y="378041"/>
                  <a:pt x="2523711" y="370754"/>
                </a:cubicBezTo>
                <a:cubicBezTo>
                  <a:pt x="2523711" y="378041"/>
                  <a:pt x="2529178" y="381687"/>
                  <a:pt x="2531000" y="388976"/>
                </a:cubicBezTo>
                <a:cubicBezTo>
                  <a:pt x="2538289" y="379865"/>
                  <a:pt x="2523711" y="376220"/>
                  <a:pt x="2529178" y="368932"/>
                </a:cubicBezTo>
                <a:cubicBezTo>
                  <a:pt x="2531000" y="368932"/>
                  <a:pt x="2529178" y="376220"/>
                  <a:pt x="2534644" y="374397"/>
                </a:cubicBezTo>
                <a:cubicBezTo>
                  <a:pt x="2531000" y="368932"/>
                  <a:pt x="2531000" y="361642"/>
                  <a:pt x="2538289" y="359821"/>
                </a:cubicBezTo>
                <a:cubicBezTo>
                  <a:pt x="2540111" y="359821"/>
                  <a:pt x="2543755" y="359821"/>
                  <a:pt x="2543755" y="361642"/>
                </a:cubicBezTo>
                <a:cubicBezTo>
                  <a:pt x="2543755" y="365287"/>
                  <a:pt x="2538289" y="367109"/>
                  <a:pt x="2536466" y="368932"/>
                </a:cubicBezTo>
                <a:cubicBezTo>
                  <a:pt x="2538289" y="367109"/>
                  <a:pt x="2536466" y="365287"/>
                  <a:pt x="2534644" y="365287"/>
                </a:cubicBezTo>
                <a:cubicBezTo>
                  <a:pt x="2536466" y="368932"/>
                  <a:pt x="2536466" y="374397"/>
                  <a:pt x="2538289" y="376220"/>
                </a:cubicBezTo>
                <a:cubicBezTo>
                  <a:pt x="2545577" y="387152"/>
                  <a:pt x="2563799" y="383509"/>
                  <a:pt x="2565621" y="372576"/>
                </a:cubicBezTo>
                <a:cubicBezTo>
                  <a:pt x="2567443" y="365287"/>
                  <a:pt x="2561977" y="379865"/>
                  <a:pt x="2560155" y="372576"/>
                </a:cubicBezTo>
                <a:cubicBezTo>
                  <a:pt x="2560155" y="370754"/>
                  <a:pt x="2563799" y="367109"/>
                  <a:pt x="2561977" y="363465"/>
                </a:cubicBezTo>
                <a:cubicBezTo>
                  <a:pt x="2567443" y="363465"/>
                  <a:pt x="2567443" y="372576"/>
                  <a:pt x="2572910" y="376220"/>
                </a:cubicBezTo>
                <a:cubicBezTo>
                  <a:pt x="2571088" y="379865"/>
                  <a:pt x="2569266" y="383509"/>
                  <a:pt x="2574732" y="385331"/>
                </a:cubicBezTo>
                <a:cubicBezTo>
                  <a:pt x="2576554" y="378041"/>
                  <a:pt x="2578377" y="374397"/>
                  <a:pt x="2580199" y="367109"/>
                </a:cubicBezTo>
                <a:cubicBezTo>
                  <a:pt x="2578377" y="365287"/>
                  <a:pt x="2576554" y="367109"/>
                  <a:pt x="2576554" y="368932"/>
                </a:cubicBezTo>
                <a:cubicBezTo>
                  <a:pt x="2576554" y="365287"/>
                  <a:pt x="2576554" y="361642"/>
                  <a:pt x="2578377" y="357998"/>
                </a:cubicBezTo>
                <a:cubicBezTo>
                  <a:pt x="2589310" y="367109"/>
                  <a:pt x="2594776" y="350710"/>
                  <a:pt x="2600243" y="343421"/>
                </a:cubicBezTo>
                <a:cubicBezTo>
                  <a:pt x="2596598" y="347066"/>
                  <a:pt x="2596598" y="352532"/>
                  <a:pt x="2594776" y="356176"/>
                </a:cubicBezTo>
                <a:cubicBezTo>
                  <a:pt x="2594776" y="357998"/>
                  <a:pt x="2598421" y="357998"/>
                  <a:pt x="2600243" y="356176"/>
                </a:cubicBezTo>
                <a:cubicBezTo>
                  <a:pt x="2603887" y="352532"/>
                  <a:pt x="2600243" y="343421"/>
                  <a:pt x="2607531" y="341598"/>
                </a:cubicBezTo>
                <a:cubicBezTo>
                  <a:pt x="2625753" y="337954"/>
                  <a:pt x="2625753" y="357998"/>
                  <a:pt x="2623931" y="370754"/>
                </a:cubicBezTo>
                <a:cubicBezTo>
                  <a:pt x="2627575" y="367109"/>
                  <a:pt x="2629397" y="361642"/>
                  <a:pt x="2633042" y="357998"/>
                </a:cubicBezTo>
                <a:cubicBezTo>
                  <a:pt x="2633042" y="367109"/>
                  <a:pt x="2623931" y="379865"/>
                  <a:pt x="2634864" y="385331"/>
                </a:cubicBezTo>
                <a:cubicBezTo>
                  <a:pt x="2634864" y="381687"/>
                  <a:pt x="2631219" y="374397"/>
                  <a:pt x="2636686" y="372576"/>
                </a:cubicBezTo>
                <a:cubicBezTo>
                  <a:pt x="2643975" y="370754"/>
                  <a:pt x="2642153" y="379865"/>
                  <a:pt x="2643975" y="385331"/>
                </a:cubicBezTo>
                <a:cubicBezTo>
                  <a:pt x="2647619" y="383509"/>
                  <a:pt x="2645797" y="378041"/>
                  <a:pt x="2645797" y="374397"/>
                </a:cubicBezTo>
                <a:cubicBezTo>
                  <a:pt x="2649441" y="378041"/>
                  <a:pt x="2651263" y="383509"/>
                  <a:pt x="2653086" y="385331"/>
                </a:cubicBezTo>
                <a:cubicBezTo>
                  <a:pt x="2656730" y="376220"/>
                  <a:pt x="2647619" y="365287"/>
                  <a:pt x="2654908" y="356176"/>
                </a:cubicBezTo>
                <a:cubicBezTo>
                  <a:pt x="2664019" y="368932"/>
                  <a:pt x="2654908" y="387152"/>
                  <a:pt x="2665841" y="399908"/>
                </a:cubicBezTo>
                <a:cubicBezTo>
                  <a:pt x="2658552" y="399908"/>
                  <a:pt x="2654908" y="394441"/>
                  <a:pt x="2651263" y="388976"/>
                </a:cubicBezTo>
                <a:cubicBezTo>
                  <a:pt x="2651263" y="390797"/>
                  <a:pt x="2651263" y="396264"/>
                  <a:pt x="2649441" y="398085"/>
                </a:cubicBezTo>
                <a:cubicBezTo>
                  <a:pt x="2649441" y="396264"/>
                  <a:pt x="2647619" y="394441"/>
                  <a:pt x="2645797" y="396264"/>
                </a:cubicBezTo>
                <a:cubicBezTo>
                  <a:pt x="2643975" y="398085"/>
                  <a:pt x="2645797" y="401731"/>
                  <a:pt x="2645797" y="403552"/>
                </a:cubicBezTo>
                <a:cubicBezTo>
                  <a:pt x="2640330" y="401731"/>
                  <a:pt x="2642153" y="396264"/>
                  <a:pt x="2642153" y="392620"/>
                </a:cubicBezTo>
                <a:cubicBezTo>
                  <a:pt x="2640330" y="392620"/>
                  <a:pt x="2638508" y="392620"/>
                  <a:pt x="2638508" y="394441"/>
                </a:cubicBezTo>
                <a:cubicBezTo>
                  <a:pt x="2640330" y="403552"/>
                  <a:pt x="2647619" y="414485"/>
                  <a:pt x="2656730" y="409019"/>
                </a:cubicBezTo>
                <a:cubicBezTo>
                  <a:pt x="2660374" y="412664"/>
                  <a:pt x="2658552" y="418129"/>
                  <a:pt x="2658552" y="423596"/>
                </a:cubicBezTo>
                <a:cubicBezTo>
                  <a:pt x="2654908" y="423596"/>
                  <a:pt x="2653086" y="419952"/>
                  <a:pt x="2651263" y="423596"/>
                </a:cubicBezTo>
                <a:cubicBezTo>
                  <a:pt x="2651263" y="427240"/>
                  <a:pt x="2656730" y="427240"/>
                  <a:pt x="2654908" y="429063"/>
                </a:cubicBezTo>
                <a:cubicBezTo>
                  <a:pt x="2653086" y="432707"/>
                  <a:pt x="2643975" y="425419"/>
                  <a:pt x="2642153" y="432707"/>
                </a:cubicBezTo>
                <a:cubicBezTo>
                  <a:pt x="2645797" y="432707"/>
                  <a:pt x="2649441" y="436351"/>
                  <a:pt x="2653086" y="434530"/>
                </a:cubicBezTo>
                <a:cubicBezTo>
                  <a:pt x="2654908" y="438174"/>
                  <a:pt x="2653086" y="439995"/>
                  <a:pt x="2651263" y="441819"/>
                </a:cubicBezTo>
                <a:cubicBezTo>
                  <a:pt x="2658552" y="443640"/>
                  <a:pt x="2656730" y="432707"/>
                  <a:pt x="2660374" y="434530"/>
                </a:cubicBezTo>
                <a:cubicBezTo>
                  <a:pt x="2662197" y="434530"/>
                  <a:pt x="2664019" y="439995"/>
                  <a:pt x="2665841" y="441819"/>
                </a:cubicBezTo>
                <a:cubicBezTo>
                  <a:pt x="2665841" y="436351"/>
                  <a:pt x="2664019" y="432707"/>
                  <a:pt x="2662197" y="427240"/>
                </a:cubicBezTo>
                <a:cubicBezTo>
                  <a:pt x="2674952" y="430886"/>
                  <a:pt x="2662197" y="452751"/>
                  <a:pt x="2673130" y="450928"/>
                </a:cubicBezTo>
                <a:cubicBezTo>
                  <a:pt x="2671307" y="454574"/>
                  <a:pt x="2667663" y="456395"/>
                  <a:pt x="2665841" y="458218"/>
                </a:cubicBezTo>
                <a:cubicBezTo>
                  <a:pt x="2667663" y="460039"/>
                  <a:pt x="2669485" y="460039"/>
                  <a:pt x="2671307" y="460039"/>
                </a:cubicBezTo>
                <a:cubicBezTo>
                  <a:pt x="2685885" y="452751"/>
                  <a:pt x="2673130" y="438174"/>
                  <a:pt x="2676774" y="427240"/>
                </a:cubicBezTo>
                <a:cubicBezTo>
                  <a:pt x="2682240" y="434530"/>
                  <a:pt x="2680418" y="443640"/>
                  <a:pt x="2680418" y="452751"/>
                </a:cubicBezTo>
                <a:cubicBezTo>
                  <a:pt x="2684063" y="452751"/>
                  <a:pt x="2689529" y="449107"/>
                  <a:pt x="2691351" y="445463"/>
                </a:cubicBezTo>
                <a:cubicBezTo>
                  <a:pt x="2691351" y="450928"/>
                  <a:pt x="2684063" y="452751"/>
                  <a:pt x="2682240" y="456395"/>
                </a:cubicBezTo>
                <a:cubicBezTo>
                  <a:pt x="2687707" y="456395"/>
                  <a:pt x="2693174" y="460039"/>
                  <a:pt x="2689529" y="467328"/>
                </a:cubicBezTo>
                <a:cubicBezTo>
                  <a:pt x="2687707" y="465506"/>
                  <a:pt x="2687707" y="463684"/>
                  <a:pt x="2687707" y="461862"/>
                </a:cubicBezTo>
                <a:cubicBezTo>
                  <a:pt x="2685885" y="460039"/>
                  <a:pt x="2684063" y="460039"/>
                  <a:pt x="2682240" y="461862"/>
                </a:cubicBezTo>
                <a:cubicBezTo>
                  <a:pt x="2682240" y="467328"/>
                  <a:pt x="2685885" y="469150"/>
                  <a:pt x="2689529" y="476439"/>
                </a:cubicBezTo>
                <a:cubicBezTo>
                  <a:pt x="2693174" y="481906"/>
                  <a:pt x="2700462" y="476439"/>
                  <a:pt x="2700462" y="469150"/>
                </a:cubicBezTo>
                <a:cubicBezTo>
                  <a:pt x="2700462" y="463684"/>
                  <a:pt x="2696818" y="456395"/>
                  <a:pt x="2702284" y="452751"/>
                </a:cubicBezTo>
                <a:cubicBezTo>
                  <a:pt x="2705929" y="449107"/>
                  <a:pt x="2711395" y="450928"/>
                  <a:pt x="2713217" y="456395"/>
                </a:cubicBezTo>
                <a:lnTo>
                  <a:pt x="2713217" y="466144"/>
                </a:lnTo>
                <a:lnTo>
                  <a:pt x="2711395" y="467328"/>
                </a:lnTo>
                <a:lnTo>
                  <a:pt x="2713217" y="468191"/>
                </a:lnTo>
                <a:lnTo>
                  <a:pt x="2713217" y="474618"/>
                </a:lnTo>
                <a:cubicBezTo>
                  <a:pt x="2713217" y="474618"/>
                  <a:pt x="2716862" y="476439"/>
                  <a:pt x="2716862" y="476439"/>
                </a:cubicBezTo>
                <a:cubicBezTo>
                  <a:pt x="2716862" y="476439"/>
                  <a:pt x="2718684" y="474618"/>
                  <a:pt x="2718684" y="472795"/>
                </a:cubicBezTo>
                <a:cubicBezTo>
                  <a:pt x="2718684" y="470973"/>
                  <a:pt x="2717318" y="470062"/>
                  <a:pt x="2715723" y="469378"/>
                </a:cubicBezTo>
                <a:lnTo>
                  <a:pt x="2713217" y="468191"/>
                </a:lnTo>
                <a:lnTo>
                  <a:pt x="2713217" y="467328"/>
                </a:lnTo>
                <a:lnTo>
                  <a:pt x="2713217" y="466144"/>
                </a:lnTo>
                <a:lnTo>
                  <a:pt x="2715951" y="464368"/>
                </a:lnTo>
                <a:cubicBezTo>
                  <a:pt x="2717773" y="463684"/>
                  <a:pt x="2719595" y="462773"/>
                  <a:pt x="2720506" y="460039"/>
                </a:cubicBezTo>
                <a:cubicBezTo>
                  <a:pt x="2722328" y="465506"/>
                  <a:pt x="2716862" y="472795"/>
                  <a:pt x="2724150" y="474618"/>
                </a:cubicBezTo>
                <a:cubicBezTo>
                  <a:pt x="2725973" y="474618"/>
                  <a:pt x="2727795" y="474618"/>
                  <a:pt x="2729617" y="472795"/>
                </a:cubicBezTo>
                <a:cubicBezTo>
                  <a:pt x="2733261" y="467328"/>
                  <a:pt x="2733261" y="461862"/>
                  <a:pt x="2735084" y="458218"/>
                </a:cubicBezTo>
                <a:cubicBezTo>
                  <a:pt x="2736906" y="460039"/>
                  <a:pt x="2740550" y="463684"/>
                  <a:pt x="2738728" y="467328"/>
                </a:cubicBezTo>
                <a:cubicBezTo>
                  <a:pt x="2736906" y="467328"/>
                  <a:pt x="2736906" y="463684"/>
                  <a:pt x="2735084" y="465506"/>
                </a:cubicBezTo>
                <a:cubicBezTo>
                  <a:pt x="2727795" y="474618"/>
                  <a:pt x="2740550" y="476439"/>
                  <a:pt x="2746016" y="476439"/>
                </a:cubicBezTo>
                <a:cubicBezTo>
                  <a:pt x="2747839" y="476439"/>
                  <a:pt x="2749661" y="474618"/>
                  <a:pt x="2751483" y="472795"/>
                </a:cubicBezTo>
                <a:cubicBezTo>
                  <a:pt x="2753305" y="481906"/>
                  <a:pt x="2764238" y="476439"/>
                  <a:pt x="2766060" y="483728"/>
                </a:cubicBezTo>
                <a:cubicBezTo>
                  <a:pt x="2760594" y="480083"/>
                  <a:pt x="2749661" y="478262"/>
                  <a:pt x="2751483" y="487373"/>
                </a:cubicBezTo>
                <a:cubicBezTo>
                  <a:pt x="2749661" y="485550"/>
                  <a:pt x="2746016" y="481906"/>
                  <a:pt x="2747839" y="478262"/>
                </a:cubicBezTo>
                <a:cubicBezTo>
                  <a:pt x="2740550" y="489194"/>
                  <a:pt x="2749661" y="500127"/>
                  <a:pt x="2746016" y="511061"/>
                </a:cubicBezTo>
                <a:cubicBezTo>
                  <a:pt x="2747839" y="505594"/>
                  <a:pt x="2742372" y="501949"/>
                  <a:pt x="2740550" y="500127"/>
                </a:cubicBezTo>
                <a:cubicBezTo>
                  <a:pt x="2742372" y="509238"/>
                  <a:pt x="2735084" y="512882"/>
                  <a:pt x="2733261" y="520171"/>
                </a:cubicBezTo>
                <a:cubicBezTo>
                  <a:pt x="2731439" y="520171"/>
                  <a:pt x="2731439" y="520171"/>
                  <a:pt x="2729617" y="518349"/>
                </a:cubicBezTo>
                <a:cubicBezTo>
                  <a:pt x="2725973" y="512882"/>
                  <a:pt x="2735084" y="505594"/>
                  <a:pt x="2727795" y="503771"/>
                </a:cubicBezTo>
                <a:cubicBezTo>
                  <a:pt x="2724150" y="503771"/>
                  <a:pt x="2727795" y="509238"/>
                  <a:pt x="2725973" y="511061"/>
                </a:cubicBezTo>
                <a:cubicBezTo>
                  <a:pt x="2724150" y="509238"/>
                  <a:pt x="2720506" y="507417"/>
                  <a:pt x="2718684" y="509238"/>
                </a:cubicBezTo>
                <a:cubicBezTo>
                  <a:pt x="2711395" y="512882"/>
                  <a:pt x="2724150" y="516527"/>
                  <a:pt x="2722328" y="523815"/>
                </a:cubicBezTo>
                <a:cubicBezTo>
                  <a:pt x="2720506" y="525638"/>
                  <a:pt x="2720506" y="525638"/>
                  <a:pt x="2718684" y="525638"/>
                </a:cubicBezTo>
                <a:cubicBezTo>
                  <a:pt x="2716862" y="525638"/>
                  <a:pt x="2715040" y="520171"/>
                  <a:pt x="2715040" y="518349"/>
                </a:cubicBezTo>
                <a:cubicBezTo>
                  <a:pt x="2715040" y="521993"/>
                  <a:pt x="2715040" y="523815"/>
                  <a:pt x="2713217" y="525638"/>
                </a:cubicBezTo>
                <a:lnTo>
                  <a:pt x="2711395" y="523815"/>
                </a:lnTo>
                <a:cubicBezTo>
                  <a:pt x="2707751" y="527461"/>
                  <a:pt x="2709573" y="532926"/>
                  <a:pt x="2709573" y="536571"/>
                </a:cubicBezTo>
                <a:cubicBezTo>
                  <a:pt x="2705929" y="534749"/>
                  <a:pt x="2709573" y="529282"/>
                  <a:pt x="2707751" y="525638"/>
                </a:cubicBezTo>
                <a:cubicBezTo>
                  <a:pt x="2689529" y="536571"/>
                  <a:pt x="2696818" y="556616"/>
                  <a:pt x="2698640" y="573014"/>
                </a:cubicBezTo>
                <a:lnTo>
                  <a:pt x="2696818" y="571192"/>
                </a:lnTo>
                <a:cubicBezTo>
                  <a:pt x="2696818" y="574836"/>
                  <a:pt x="2696818" y="576658"/>
                  <a:pt x="2696818" y="578481"/>
                </a:cubicBezTo>
                <a:cubicBezTo>
                  <a:pt x="2696818" y="576658"/>
                  <a:pt x="2696818" y="574836"/>
                  <a:pt x="2694996" y="573014"/>
                </a:cubicBezTo>
                <a:cubicBezTo>
                  <a:pt x="2694996" y="574836"/>
                  <a:pt x="2694996" y="574836"/>
                  <a:pt x="2693174" y="576658"/>
                </a:cubicBezTo>
                <a:cubicBezTo>
                  <a:pt x="2689529" y="573014"/>
                  <a:pt x="2693174" y="565725"/>
                  <a:pt x="2691351" y="563904"/>
                </a:cubicBezTo>
                <a:cubicBezTo>
                  <a:pt x="2684063" y="558437"/>
                  <a:pt x="2685885" y="571192"/>
                  <a:pt x="2684063" y="573014"/>
                </a:cubicBezTo>
                <a:cubicBezTo>
                  <a:pt x="2684063" y="571192"/>
                  <a:pt x="2682240" y="569370"/>
                  <a:pt x="2682240" y="569370"/>
                </a:cubicBezTo>
                <a:cubicBezTo>
                  <a:pt x="2682240" y="569370"/>
                  <a:pt x="2681329" y="569370"/>
                  <a:pt x="2680646" y="569598"/>
                </a:cubicBezTo>
                <a:lnTo>
                  <a:pt x="2680558" y="570211"/>
                </a:lnTo>
                <a:lnTo>
                  <a:pt x="2680418" y="569370"/>
                </a:lnTo>
                <a:cubicBezTo>
                  <a:pt x="2680418" y="574836"/>
                  <a:pt x="2671307" y="573014"/>
                  <a:pt x="2673130" y="578481"/>
                </a:cubicBezTo>
                <a:cubicBezTo>
                  <a:pt x="2671307" y="573014"/>
                  <a:pt x="2667663" y="567548"/>
                  <a:pt x="2662197" y="569370"/>
                </a:cubicBezTo>
                <a:lnTo>
                  <a:pt x="2662828" y="566217"/>
                </a:lnTo>
                <a:lnTo>
                  <a:pt x="2667663" y="569370"/>
                </a:lnTo>
                <a:cubicBezTo>
                  <a:pt x="2667663" y="563904"/>
                  <a:pt x="2664019" y="563904"/>
                  <a:pt x="2664019" y="558437"/>
                </a:cubicBezTo>
                <a:lnTo>
                  <a:pt x="2663651" y="560175"/>
                </a:lnTo>
                <a:lnTo>
                  <a:pt x="2658097" y="558893"/>
                </a:lnTo>
                <a:cubicBezTo>
                  <a:pt x="2656275" y="558893"/>
                  <a:pt x="2654908" y="558437"/>
                  <a:pt x="2654908" y="554792"/>
                </a:cubicBezTo>
                <a:cubicBezTo>
                  <a:pt x="2651263" y="558437"/>
                  <a:pt x="2656730" y="563904"/>
                  <a:pt x="2654908" y="569370"/>
                </a:cubicBezTo>
                <a:cubicBezTo>
                  <a:pt x="2658552" y="571192"/>
                  <a:pt x="2660374" y="573014"/>
                  <a:pt x="2662197" y="571192"/>
                </a:cubicBezTo>
                <a:cubicBezTo>
                  <a:pt x="2662197" y="574836"/>
                  <a:pt x="2665841" y="578481"/>
                  <a:pt x="2660374" y="576658"/>
                </a:cubicBezTo>
                <a:cubicBezTo>
                  <a:pt x="2656730" y="574836"/>
                  <a:pt x="2651263" y="571192"/>
                  <a:pt x="2649441" y="576658"/>
                </a:cubicBezTo>
                <a:cubicBezTo>
                  <a:pt x="2649441" y="574836"/>
                  <a:pt x="2649441" y="571192"/>
                  <a:pt x="2647619" y="571192"/>
                </a:cubicBezTo>
                <a:cubicBezTo>
                  <a:pt x="2638508" y="571192"/>
                  <a:pt x="2645797" y="583947"/>
                  <a:pt x="2636686" y="582125"/>
                </a:cubicBezTo>
                <a:cubicBezTo>
                  <a:pt x="2633042" y="582125"/>
                  <a:pt x="2633042" y="580303"/>
                  <a:pt x="2631219" y="578481"/>
                </a:cubicBezTo>
                <a:cubicBezTo>
                  <a:pt x="2633042" y="583947"/>
                  <a:pt x="2629397" y="583947"/>
                  <a:pt x="2627575" y="585769"/>
                </a:cubicBezTo>
                <a:cubicBezTo>
                  <a:pt x="2627575" y="583947"/>
                  <a:pt x="2627575" y="582125"/>
                  <a:pt x="2625753" y="580303"/>
                </a:cubicBezTo>
                <a:cubicBezTo>
                  <a:pt x="2618464" y="580303"/>
                  <a:pt x="2614820" y="576658"/>
                  <a:pt x="2616642" y="569370"/>
                </a:cubicBezTo>
                <a:lnTo>
                  <a:pt x="2615428" y="568763"/>
                </a:lnTo>
                <a:lnTo>
                  <a:pt x="2614820" y="565725"/>
                </a:lnTo>
                <a:lnTo>
                  <a:pt x="2613909" y="568004"/>
                </a:lnTo>
                <a:lnTo>
                  <a:pt x="2612998" y="567548"/>
                </a:lnTo>
                <a:lnTo>
                  <a:pt x="2613210" y="569750"/>
                </a:lnTo>
                <a:lnTo>
                  <a:pt x="2612998" y="570281"/>
                </a:lnTo>
                <a:lnTo>
                  <a:pt x="2613298" y="570655"/>
                </a:lnTo>
                <a:lnTo>
                  <a:pt x="2614820" y="586453"/>
                </a:lnTo>
                <a:cubicBezTo>
                  <a:pt x="2617553" y="592147"/>
                  <a:pt x="2622109" y="597614"/>
                  <a:pt x="2627575" y="603991"/>
                </a:cubicBezTo>
                <a:cubicBezTo>
                  <a:pt x="2629397" y="603991"/>
                  <a:pt x="2627575" y="611280"/>
                  <a:pt x="2627575" y="614924"/>
                </a:cubicBezTo>
                <a:cubicBezTo>
                  <a:pt x="2629397" y="614924"/>
                  <a:pt x="2629397" y="614924"/>
                  <a:pt x="2631219" y="613103"/>
                </a:cubicBezTo>
                <a:cubicBezTo>
                  <a:pt x="2629397" y="616746"/>
                  <a:pt x="2629397" y="620391"/>
                  <a:pt x="2627575" y="624035"/>
                </a:cubicBezTo>
                <a:cubicBezTo>
                  <a:pt x="2627575" y="616746"/>
                  <a:pt x="2620287" y="620391"/>
                  <a:pt x="2616642" y="614924"/>
                </a:cubicBezTo>
                <a:cubicBezTo>
                  <a:pt x="2618464" y="620391"/>
                  <a:pt x="2620287" y="624035"/>
                  <a:pt x="2620287" y="629501"/>
                </a:cubicBezTo>
                <a:cubicBezTo>
                  <a:pt x="2620287" y="627679"/>
                  <a:pt x="2618464" y="627679"/>
                  <a:pt x="2618464" y="625857"/>
                </a:cubicBezTo>
                <a:cubicBezTo>
                  <a:pt x="2618464" y="625857"/>
                  <a:pt x="2616642" y="627679"/>
                  <a:pt x="2616642" y="627679"/>
                </a:cubicBezTo>
                <a:cubicBezTo>
                  <a:pt x="2618464" y="634968"/>
                  <a:pt x="2627575" y="638612"/>
                  <a:pt x="2634864" y="634968"/>
                </a:cubicBezTo>
                <a:cubicBezTo>
                  <a:pt x="2634864" y="634968"/>
                  <a:pt x="2634864" y="629501"/>
                  <a:pt x="2636686" y="627679"/>
                </a:cubicBezTo>
                <a:cubicBezTo>
                  <a:pt x="2643975" y="634968"/>
                  <a:pt x="2654908" y="636790"/>
                  <a:pt x="2660374" y="629501"/>
                </a:cubicBezTo>
                <a:cubicBezTo>
                  <a:pt x="2662197" y="627679"/>
                  <a:pt x="2664019" y="622213"/>
                  <a:pt x="2667663" y="624035"/>
                </a:cubicBezTo>
                <a:cubicBezTo>
                  <a:pt x="2669485" y="625857"/>
                  <a:pt x="2667663" y="631324"/>
                  <a:pt x="2671307" y="631324"/>
                </a:cubicBezTo>
                <a:cubicBezTo>
                  <a:pt x="2665841" y="631324"/>
                  <a:pt x="2658552" y="631324"/>
                  <a:pt x="2660374" y="638612"/>
                </a:cubicBezTo>
                <a:cubicBezTo>
                  <a:pt x="2656730" y="629501"/>
                  <a:pt x="2654908" y="636790"/>
                  <a:pt x="2653086" y="634968"/>
                </a:cubicBezTo>
                <a:cubicBezTo>
                  <a:pt x="2649441" y="640435"/>
                  <a:pt x="2654908" y="644079"/>
                  <a:pt x="2654908" y="647723"/>
                </a:cubicBezTo>
                <a:cubicBezTo>
                  <a:pt x="2651263" y="644079"/>
                  <a:pt x="2651263" y="634968"/>
                  <a:pt x="2645797" y="636790"/>
                </a:cubicBezTo>
                <a:cubicBezTo>
                  <a:pt x="2638964" y="638157"/>
                  <a:pt x="2646481" y="641574"/>
                  <a:pt x="2648360" y="645503"/>
                </a:cubicBezTo>
                <a:lnTo>
                  <a:pt x="2647798" y="648569"/>
                </a:lnTo>
                <a:lnTo>
                  <a:pt x="2645797" y="645901"/>
                </a:lnTo>
                <a:cubicBezTo>
                  <a:pt x="2647619" y="647723"/>
                  <a:pt x="2647619" y="647723"/>
                  <a:pt x="2647619" y="649545"/>
                </a:cubicBezTo>
                <a:lnTo>
                  <a:pt x="2647798" y="648569"/>
                </a:lnTo>
                <a:lnTo>
                  <a:pt x="2656730" y="660478"/>
                </a:lnTo>
                <a:cubicBezTo>
                  <a:pt x="2656730" y="656834"/>
                  <a:pt x="2656730" y="655012"/>
                  <a:pt x="2658552" y="653190"/>
                </a:cubicBezTo>
                <a:cubicBezTo>
                  <a:pt x="2658552" y="656834"/>
                  <a:pt x="2658552" y="662301"/>
                  <a:pt x="2660374" y="665945"/>
                </a:cubicBezTo>
                <a:cubicBezTo>
                  <a:pt x="2656730" y="658656"/>
                  <a:pt x="2643975" y="665945"/>
                  <a:pt x="2642153" y="656834"/>
                </a:cubicBezTo>
                <a:cubicBezTo>
                  <a:pt x="2634864" y="658656"/>
                  <a:pt x="2645797" y="665945"/>
                  <a:pt x="2640330" y="667767"/>
                </a:cubicBezTo>
                <a:cubicBezTo>
                  <a:pt x="2640330" y="667767"/>
                  <a:pt x="2638508" y="667767"/>
                  <a:pt x="2638508" y="665945"/>
                </a:cubicBezTo>
                <a:cubicBezTo>
                  <a:pt x="2640330" y="680522"/>
                  <a:pt x="2645797" y="693278"/>
                  <a:pt x="2656730" y="702388"/>
                </a:cubicBezTo>
                <a:cubicBezTo>
                  <a:pt x="2656730" y="698744"/>
                  <a:pt x="2656730" y="696922"/>
                  <a:pt x="2656730" y="695100"/>
                </a:cubicBezTo>
                <a:cubicBezTo>
                  <a:pt x="2665841" y="696922"/>
                  <a:pt x="2669030" y="703755"/>
                  <a:pt x="2670624" y="711727"/>
                </a:cubicBezTo>
                <a:lnTo>
                  <a:pt x="2673283" y="726139"/>
                </a:lnTo>
                <a:lnTo>
                  <a:pt x="2673130" y="726077"/>
                </a:lnTo>
                <a:lnTo>
                  <a:pt x="2673294" y="726200"/>
                </a:lnTo>
                <a:lnTo>
                  <a:pt x="2674952" y="735188"/>
                </a:lnTo>
                <a:cubicBezTo>
                  <a:pt x="2671307" y="737010"/>
                  <a:pt x="2667663" y="733365"/>
                  <a:pt x="2665841" y="731543"/>
                </a:cubicBezTo>
                <a:cubicBezTo>
                  <a:pt x="2660374" y="722432"/>
                  <a:pt x="2658552" y="713321"/>
                  <a:pt x="2649441" y="707855"/>
                </a:cubicBezTo>
                <a:cubicBezTo>
                  <a:pt x="2649441" y="711499"/>
                  <a:pt x="2654908" y="713321"/>
                  <a:pt x="2656730" y="718788"/>
                </a:cubicBezTo>
                <a:cubicBezTo>
                  <a:pt x="2654908" y="718788"/>
                  <a:pt x="2653086" y="718788"/>
                  <a:pt x="2651263" y="716966"/>
                </a:cubicBezTo>
                <a:cubicBezTo>
                  <a:pt x="2654908" y="720610"/>
                  <a:pt x="2653086" y="726077"/>
                  <a:pt x="2653086" y="729721"/>
                </a:cubicBezTo>
                <a:cubicBezTo>
                  <a:pt x="2649441" y="724254"/>
                  <a:pt x="2647619" y="716966"/>
                  <a:pt x="2642153" y="715144"/>
                </a:cubicBezTo>
                <a:cubicBezTo>
                  <a:pt x="2636686" y="713321"/>
                  <a:pt x="2638508" y="722432"/>
                  <a:pt x="2638508" y="726077"/>
                </a:cubicBezTo>
                <a:cubicBezTo>
                  <a:pt x="2643975" y="740654"/>
                  <a:pt x="2662197" y="738832"/>
                  <a:pt x="2674952" y="735188"/>
                </a:cubicBezTo>
                <a:cubicBezTo>
                  <a:pt x="2676774" y="735188"/>
                  <a:pt x="2678596" y="738832"/>
                  <a:pt x="2678596" y="740654"/>
                </a:cubicBezTo>
                <a:cubicBezTo>
                  <a:pt x="2678596" y="742476"/>
                  <a:pt x="2678596" y="742476"/>
                  <a:pt x="2676774" y="742476"/>
                </a:cubicBezTo>
                <a:cubicBezTo>
                  <a:pt x="2680418" y="746121"/>
                  <a:pt x="2689529" y="753409"/>
                  <a:pt x="2691351" y="746121"/>
                </a:cubicBezTo>
                <a:cubicBezTo>
                  <a:pt x="2691351" y="742476"/>
                  <a:pt x="2682240" y="746121"/>
                  <a:pt x="2684063" y="738832"/>
                </a:cubicBezTo>
                <a:cubicBezTo>
                  <a:pt x="2685885" y="740654"/>
                  <a:pt x="2685885" y="740654"/>
                  <a:pt x="2687707" y="742476"/>
                </a:cubicBezTo>
                <a:cubicBezTo>
                  <a:pt x="2690441" y="737010"/>
                  <a:pt x="2687252" y="735188"/>
                  <a:pt x="2683152" y="733594"/>
                </a:cubicBezTo>
                <a:lnTo>
                  <a:pt x="2673294" y="726200"/>
                </a:lnTo>
                <a:lnTo>
                  <a:pt x="2673283" y="726139"/>
                </a:lnTo>
                <a:lnTo>
                  <a:pt x="2691124" y="733366"/>
                </a:lnTo>
                <a:cubicBezTo>
                  <a:pt x="2696818" y="736099"/>
                  <a:pt x="2701373" y="739743"/>
                  <a:pt x="2702284" y="746121"/>
                </a:cubicBezTo>
                <a:cubicBezTo>
                  <a:pt x="2700462" y="746121"/>
                  <a:pt x="2694996" y="746121"/>
                  <a:pt x="2693174" y="744298"/>
                </a:cubicBezTo>
                <a:cubicBezTo>
                  <a:pt x="2693174" y="746121"/>
                  <a:pt x="2693174" y="746121"/>
                  <a:pt x="2693174" y="747943"/>
                </a:cubicBezTo>
                <a:cubicBezTo>
                  <a:pt x="2698640" y="747943"/>
                  <a:pt x="2704106" y="747943"/>
                  <a:pt x="2707751" y="746121"/>
                </a:cubicBezTo>
                <a:cubicBezTo>
                  <a:pt x="2707751" y="744298"/>
                  <a:pt x="2707751" y="744298"/>
                  <a:pt x="2707751" y="742476"/>
                </a:cubicBezTo>
                <a:cubicBezTo>
                  <a:pt x="2711395" y="744298"/>
                  <a:pt x="2711395" y="744298"/>
                  <a:pt x="2713217" y="746121"/>
                </a:cubicBezTo>
                <a:cubicBezTo>
                  <a:pt x="2711395" y="746121"/>
                  <a:pt x="2707751" y="746121"/>
                  <a:pt x="2707751" y="747943"/>
                </a:cubicBezTo>
                <a:cubicBezTo>
                  <a:pt x="2711395" y="757054"/>
                  <a:pt x="2722328" y="751587"/>
                  <a:pt x="2727795" y="758876"/>
                </a:cubicBezTo>
                <a:cubicBezTo>
                  <a:pt x="2727795" y="755231"/>
                  <a:pt x="2727795" y="753409"/>
                  <a:pt x="2725973" y="751587"/>
                </a:cubicBezTo>
                <a:cubicBezTo>
                  <a:pt x="2727795" y="753409"/>
                  <a:pt x="2731439" y="755231"/>
                  <a:pt x="2733261" y="753409"/>
                </a:cubicBezTo>
                <a:cubicBezTo>
                  <a:pt x="2736906" y="751587"/>
                  <a:pt x="2744194" y="749765"/>
                  <a:pt x="2744194" y="746121"/>
                </a:cubicBezTo>
                <a:cubicBezTo>
                  <a:pt x="2742372" y="724254"/>
                  <a:pt x="2722328" y="711499"/>
                  <a:pt x="2711395" y="691455"/>
                </a:cubicBezTo>
                <a:cubicBezTo>
                  <a:pt x="2709573" y="687811"/>
                  <a:pt x="2709573" y="682345"/>
                  <a:pt x="2707751" y="678700"/>
                </a:cubicBezTo>
                <a:cubicBezTo>
                  <a:pt x="2709573" y="680522"/>
                  <a:pt x="2711395" y="682345"/>
                  <a:pt x="2715040" y="680522"/>
                </a:cubicBezTo>
                <a:cubicBezTo>
                  <a:pt x="2718684" y="680522"/>
                  <a:pt x="2720506" y="671411"/>
                  <a:pt x="2724150" y="669589"/>
                </a:cubicBezTo>
                <a:cubicBezTo>
                  <a:pt x="2705929" y="693278"/>
                  <a:pt x="2735084" y="720610"/>
                  <a:pt x="2751483" y="735188"/>
                </a:cubicBezTo>
                <a:cubicBezTo>
                  <a:pt x="2756950" y="720610"/>
                  <a:pt x="2775171" y="716966"/>
                  <a:pt x="2782460" y="706033"/>
                </a:cubicBezTo>
                <a:cubicBezTo>
                  <a:pt x="2784282" y="702388"/>
                  <a:pt x="2784282" y="696922"/>
                  <a:pt x="2776993" y="695100"/>
                </a:cubicBezTo>
                <a:cubicBezTo>
                  <a:pt x="2776993" y="696922"/>
                  <a:pt x="2776993" y="698744"/>
                  <a:pt x="2775171" y="698744"/>
                </a:cubicBezTo>
                <a:cubicBezTo>
                  <a:pt x="2771527" y="698744"/>
                  <a:pt x="2767882" y="695100"/>
                  <a:pt x="2764238" y="695100"/>
                </a:cubicBezTo>
                <a:cubicBezTo>
                  <a:pt x="2767882" y="693278"/>
                  <a:pt x="2773349" y="691455"/>
                  <a:pt x="2775171" y="685989"/>
                </a:cubicBezTo>
                <a:cubicBezTo>
                  <a:pt x="2776993" y="678700"/>
                  <a:pt x="2769705" y="675056"/>
                  <a:pt x="2766060" y="667767"/>
                </a:cubicBezTo>
                <a:lnTo>
                  <a:pt x="2766789" y="667767"/>
                </a:lnTo>
                <a:lnTo>
                  <a:pt x="2767199" y="669134"/>
                </a:lnTo>
                <a:cubicBezTo>
                  <a:pt x="2769705" y="674145"/>
                  <a:pt x="2773349" y="678701"/>
                  <a:pt x="2778816" y="682345"/>
                </a:cubicBezTo>
                <a:cubicBezTo>
                  <a:pt x="2778816" y="678700"/>
                  <a:pt x="2776993" y="673234"/>
                  <a:pt x="2775171" y="669589"/>
                </a:cubicBezTo>
                <a:cubicBezTo>
                  <a:pt x="2781549" y="669589"/>
                  <a:pt x="2781094" y="664578"/>
                  <a:pt x="2777677" y="660023"/>
                </a:cubicBezTo>
                <a:lnTo>
                  <a:pt x="2769341" y="656291"/>
                </a:lnTo>
                <a:lnTo>
                  <a:pt x="2768794" y="653418"/>
                </a:lnTo>
                <a:lnTo>
                  <a:pt x="2763371" y="644832"/>
                </a:lnTo>
                <a:lnTo>
                  <a:pt x="2759141" y="630732"/>
                </a:lnTo>
                <a:lnTo>
                  <a:pt x="2763328" y="612192"/>
                </a:lnTo>
                <a:lnTo>
                  <a:pt x="2762717" y="605981"/>
                </a:lnTo>
                <a:lnTo>
                  <a:pt x="2763381" y="606349"/>
                </a:lnTo>
                <a:lnTo>
                  <a:pt x="2767882" y="613103"/>
                </a:lnTo>
                <a:cubicBezTo>
                  <a:pt x="2766060" y="612191"/>
                  <a:pt x="2766516" y="609914"/>
                  <a:pt x="2766516" y="608091"/>
                </a:cubicBezTo>
                <a:lnTo>
                  <a:pt x="2763381" y="606349"/>
                </a:lnTo>
                <a:lnTo>
                  <a:pt x="2762645" y="605246"/>
                </a:lnTo>
                <a:lnTo>
                  <a:pt x="2762416" y="602914"/>
                </a:lnTo>
                <a:lnTo>
                  <a:pt x="2762416" y="589414"/>
                </a:lnTo>
                <a:cubicBezTo>
                  <a:pt x="2760594" y="589414"/>
                  <a:pt x="2758772" y="589414"/>
                  <a:pt x="2756950" y="591236"/>
                </a:cubicBezTo>
                <a:lnTo>
                  <a:pt x="2758336" y="595164"/>
                </a:lnTo>
                <a:lnTo>
                  <a:pt x="2753305" y="589414"/>
                </a:lnTo>
                <a:cubicBezTo>
                  <a:pt x="2756950" y="589414"/>
                  <a:pt x="2746016" y="582125"/>
                  <a:pt x="2755127" y="582125"/>
                </a:cubicBezTo>
                <a:cubicBezTo>
                  <a:pt x="2758772" y="582125"/>
                  <a:pt x="2760594" y="585769"/>
                  <a:pt x="2762416" y="583947"/>
                </a:cubicBezTo>
                <a:cubicBezTo>
                  <a:pt x="2764238" y="582125"/>
                  <a:pt x="2764238" y="578481"/>
                  <a:pt x="2764238" y="576658"/>
                </a:cubicBezTo>
                <a:cubicBezTo>
                  <a:pt x="2762416" y="576658"/>
                  <a:pt x="2760594" y="576658"/>
                  <a:pt x="2758772" y="576658"/>
                </a:cubicBezTo>
                <a:cubicBezTo>
                  <a:pt x="2758772" y="574836"/>
                  <a:pt x="2758772" y="573014"/>
                  <a:pt x="2760594" y="571192"/>
                </a:cubicBezTo>
                <a:cubicBezTo>
                  <a:pt x="2764238" y="576658"/>
                  <a:pt x="2773349" y="574836"/>
                  <a:pt x="2771527" y="583947"/>
                </a:cubicBezTo>
                <a:cubicBezTo>
                  <a:pt x="2773349" y="582125"/>
                  <a:pt x="2775171" y="578481"/>
                  <a:pt x="2776993" y="580303"/>
                </a:cubicBezTo>
                <a:cubicBezTo>
                  <a:pt x="2778816" y="582125"/>
                  <a:pt x="2778816" y="585769"/>
                  <a:pt x="2780638" y="587591"/>
                </a:cubicBezTo>
                <a:cubicBezTo>
                  <a:pt x="2782460" y="587591"/>
                  <a:pt x="2786104" y="583947"/>
                  <a:pt x="2784282" y="582125"/>
                </a:cubicBezTo>
                <a:cubicBezTo>
                  <a:pt x="2782460" y="578481"/>
                  <a:pt x="2766060" y="574836"/>
                  <a:pt x="2776993" y="567548"/>
                </a:cubicBezTo>
                <a:cubicBezTo>
                  <a:pt x="2778816" y="567548"/>
                  <a:pt x="2778816" y="567548"/>
                  <a:pt x="2780638" y="569370"/>
                </a:cubicBezTo>
                <a:cubicBezTo>
                  <a:pt x="2784282" y="573014"/>
                  <a:pt x="2776993" y="573014"/>
                  <a:pt x="2778816" y="574836"/>
                </a:cubicBezTo>
                <a:cubicBezTo>
                  <a:pt x="2780638" y="574836"/>
                  <a:pt x="2782460" y="574836"/>
                  <a:pt x="2784282" y="574836"/>
                </a:cubicBezTo>
                <a:cubicBezTo>
                  <a:pt x="2782460" y="573014"/>
                  <a:pt x="2782460" y="569370"/>
                  <a:pt x="2784282" y="565725"/>
                </a:cubicBezTo>
                <a:cubicBezTo>
                  <a:pt x="2784282" y="576658"/>
                  <a:pt x="2793393" y="585769"/>
                  <a:pt x="2804326" y="587591"/>
                </a:cubicBezTo>
                <a:cubicBezTo>
                  <a:pt x="2804326" y="585769"/>
                  <a:pt x="2804326" y="583947"/>
                  <a:pt x="2806148" y="582125"/>
                </a:cubicBezTo>
                <a:lnTo>
                  <a:pt x="2807326" y="584480"/>
                </a:lnTo>
                <a:lnTo>
                  <a:pt x="2806148" y="585769"/>
                </a:lnTo>
                <a:lnTo>
                  <a:pt x="2807401" y="586161"/>
                </a:lnTo>
                <a:lnTo>
                  <a:pt x="2796355" y="593742"/>
                </a:lnTo>
                <a:cubicBezTo>
                  <a:pt x="2793849" y="597158"/>
                  <a:pt x="2793393" y="601258"/>
                  <a:pt x="2797037" y="605813"/>
                </a:cubicBezTo>
                <a:cubicBezTo>
                  <a:pt x="2789749" y="607635"/>
                  <a:pt x="2789749" y="589414"/>
                  <a:pt x="2782460" y="596702"/>
                </a:cubicBezTo>
                <a:cubicBezTo>
                  <a:pt x="2776993" y="600347"/>
                  <a:pt x="2787927" y="600347"/>
                  <a:pt x="2789749" y="605813"/>
                </a:cubicBezTo>
                <a:cubicBezTo>
                  <a:pt x="2787927" y="605813"/>
                  <a:pt x="2787927" y="607635"/>
                  <a:pt x="2787927" y="609459"/>
                </a:cubicBezTo>
                <a:cubicBezTo>
                  <a:pt x="2789749" y="609459"/>
                  <a:pt x="2789749" y="609459"/>
                  <a:pt x="2791571" y="611280"/>
                </a:cubicBezTo>
                <a:cubicBezTo>
                  <a:pt x="2791571" y="609459"/>
                  <a:pt x="2791571" y="607635"/>
                  <a:pt x="2793393" y="607635"/>
                </a:cubicBezTo>
                <a:cubicBezTo>
                  <a:pt x="2797037" y="609459"/>
                  <a:pt x="2798860" y="611280"/>
                  <a:pt x="2800682" y="613103"/>
                </a:cubicBezTo>
                <a:cubicBezTo>
                  <a:pt x="2798860" y="607635"/>
                  <a:pt x="2798860" y="603991"/>
                  <a:pt x="2798860" y="598524"/>
                </a:cubicBezTo>
                <a:cubicBezTo>
                  <a:pt x="2806148" y="603991"/>
                  <a:pt x="2807971" y="607635"/>
                  <a:pt x="2815259" y="600347"/>
                </a:cubicBezTo>
                <a:cubicBezTo>
                  <a:pt x="2815259" y="603991"/>
                  <a:pt x="2820726" y="607635"/>
                  <a:pt x="2822548" y="609459"/>
                </a:cubicBezTo>
                <a:cubicBezTo>
                  <a:pt x="2822548" y="605813"/>
                  <a:pt x="2818903" y="602169"/>
                  <a:pt x="2824370" y="600347"/>
                </a:cubicBezTo>
                <a:cubicBezTo>
                  <a:pt x="2822548" y="603991"/>
                  <a:pt x="2822548" y="605813"/>
                  <a:pt x="2824370" y="607635"/>
                </a:cubicBezTo>
                <a:cubicBezTo>
                  <a:pt x="2826192" y="607635"/>
                  <a:pt x="2826192" y="607635"/>
                  <a:pt x="2828014" y="607635"/>
                </a:cubicBezTo>
                <a:cubicBezTo>
                  <a:pt x="2828014" y="605813"/>
                  <a:pt x="2828014" y="602169"/>
                  <a:pt x="2829837" y="602169"/>
                </a:cubicBezTo>
                <a:cubicBezTo>
                  <a:pt x="2837125" y="602169"/>
                  <a:pt x="2849880" y="605813"/>
                  <a:pt x="2851703" y="594880"/>
                </a:cubicBezTo>
                <a:cubicBezTo>
                  <a:pt x="2855347" y="596702"/>
                  <a:pt x="2860813" y="596702"/>
                  <a:pt x="2858991" y="594880"/>
                </a:cubicBezTo>
                <a:cubicBezTo>
                  <a:pt x="2853525" y="576658"/>
                  <a:pt x="2835303" y="576658"/>
                  <a:pt x="2820726" y="574836"/>
                </a:cubicBezTo>
                <a:cubicBezTo>
                  <a:pt x="2820726" y="578481"/>
                  <a:pt x="2826192" y="580303"/>
                  <a:pt x="2822548" y="585769"/>
                </a:cubicBezTo>
                <a:cubicBezTo>
                  <a:pt x="2820726" y="583947"/>
                  <a:pt x="2815259" y="582125"/>
                  <a:pt x="2813437" y="583947"/>
                </a:cubicBezTo>
                <a:cubicBezTo>
                  <a:pt x="2813437" y="585769"/>
                  <a:pt x="2813437" y="587591"/>
                  <a:pt x="2813437" y="589414"/>
                </a:cubicBezTo>
                <a:cubicBezTo>
                  <a:pt x="2813437" y="587592"/>
                  <a:pt x="2811615" y="587136"/>
                  <a:pt x="2809793" y="586908"/>
                </a:cubicBezTo>
                <a:lnTo>
                  <a:pt x="2807401" y="586161"/>
                </a:lnTo>
                <a:lnTo>
                  <a:pt x="2807971" y="585769"/>
                </a:lnTo>
                <a:lnTo>
                  <a:pt x="2807326" y="584480"/>
                </a:lnTo>
                <a:lnTo>
                  <a:pt x="2810931" y="580531"/>
                </a:lnTo>
                <a:cubicBezTo>
                  <a:pt x="2813437" y="579392"/>
                  <a:pt x="2816170" y="578481"/>
                  <a:pt x="2817081" y="576658"/>
                </a:cubicBezTo>
                <a:cubicBezTo>
                  <a:pt x="2800682" y="573014"/>
                  <a:pt x="2793393" y="556616"/>
                  <a:pt x="2784282" y="543860"/>
                </a:cubicBezTo>
                <a:cubicBezTo>
                  <a:pt x="2786104" y="543860"/>
                  <a:pt x="2786104" y="543860"/>
                  <a:pt x="2787927" y="542037"/>
                </a:cubicBezTo>
                <a:cubicBezTo>
                  <a:pt x="2789749" y="547504"/>
                  <a:pt x="2789749" y="552970"/>
                  <a:pt x="2795215" y="554792"/>
                </a:cubicBezTo>
                <a:cubicBezTo>
                  <a:pt x="2798860" y="556616"/>
                  <a:pt x="2800682" y="554792"/>
                  <a:pt x="2802504" y="552970"/>
                </a:cubicBezTo>
                <a:cubicBezTo>
                  <a:pt x="2798860" y="560260"/>
                  <a:pt x="2804326" y="571192"/>
                  <a:pt x="2813437" y="569370"/>
                </a:cubicBezTo>
                <a:cubicBezTo>
                  <a:pt x="2818903" y="567548"/>
                  <a:pt x="2813437" y="558437"/>
                  <a:pt x="2820726" y="554792"/>
                </a:cubicBezTo>
                <a:cubicBezTo>
                  <a:pt x="2817081" y="551148"/>
                  <a:pt x="2818903" y="547504"/>
                  <a:pt x="2818903" y="543860"/>
                </a:cubicBezTo>
                <a:cubicBezTo>
                  <a:pt x="2818903" y="543860"/>
                  <a:pt x="2820726" y="543860"/>
                  <a:pt x="2820726" y="543860"/>
                </a:cubicBezTo>
                <a:cubicBezTo>
                  <a:pt x="2818903" y="536571"/>
                  <a:pt x="2817081" y="531105"/>
                  <a:pt x="2818903" y="525638"/>
                </a:cubicBezTo>
                <a:cubicBezTo>
                  <a:pt x="2820726" y="527461"/>
                  <a:pt x="2822548" y="527461"/>
                  <a:pt x="2824370" y="527461"/>
                </a:cubicBezTo>
                <a:cubicBezTo>
                  <a:pt x="2820726" y="534749"/>
                  <a:pt x="2820726" y="549326"/>
                  <a:pt x="2829837" y="554792"/>
                </a:cubicBezTo>
                <a:cubicBezTo>
                  <a:pt x="2831659" y="554792"/>
                  <a:pt x="2826192" y="554792"/>
                  <a:pt x="2824370" y="556616"/>
                </a:cubicBezTo>
                <a:cubicBezTo>
                  <a:pt x="2820726" y="563904"/>
                  <a:pt x="2829837" y="562081"/>
                  <a:pt x="2831659" y="565725"/>
                </a:cubicBezTo>
                <a:cubicBezTo>
                  <a:pt x="2828014" y="563904"/>
                  <a:pt x="2824370" y="565725"/>
                  <a:pt x="2820726" y="567548"/>
                </a:cubicBezTo>
                <a:cubicBezTo>
                  <a:pt x="2831659" y="574836"/>
                  <a:pt x="2846236" y="573014"/>
                  <a:pt x="2855347" y="583947"/>
                </a:cubicBezTo>
                <a:cubicBezTo>
                  <a:pt x="2855347" y="578481"/>
                  <a:pt x="2860813" y="578481"/>
                  <a:pt x="2862636" y="576658"/>
                </a:cubicBezTo>
                <a:cubicBezTo>
                  <a:pt x="2864458" y="573014"/>
                  <a:pt x="2862636" y="573014"/>
                  <a:pt x="2860813" y="571192"/>
                </a:cubicBezTo>
                <a:cubicBezTo>
                  <a:pt x="2868102" y="576658"/>
                  <a:pt x="2873569" y="576658"/>
                  <a:pt x="2880857" y="578481"/>
                </a:cubicBezTo>
                <a:cubicBezTo>
                  <a:pt x="2875391" y="578481"/>
                  <a:pt x="2875391" y="585769"/>
                  <a:pt x="2880857" y="585769"/>
                </a:cubicBezTo>
                <a:cubicBezTo>
                  <a:pt x="2880857" y="583947"/>
                  <a:pt x="2880857" y="580303"/>
                  <a:pt x="2880857" y="578481"/>
                </a:cubicBezTo>
                <a:lnTo>
                  <a:pt x="2877578" y="571921"/>
                </a:lnTo>
                <a:lnTo>
                  <a:pt x="2879035" y="567548"/>
                </a:lnTo>
                <a:lnTo>
                  <a:pt x="2873140" y="565190"/>
                </a:lnTo>
                <a:lnTo>
                  <a:pt x="2873569" y="563904"/>
                </a:lnTo>
                <a:lnTo>
                  <a:pt x="2870216" y="562227"/>
                </a:lnTo>
                <a:lnTo>
                  <a:pt x="2872430" y="562310"/>
                </a:lnTo>
                <a:cubicBezTo>
                  <a:pt x="2874025" y="560260"/>
                  <a:pt x="2875391" y="556615"/>
                  <a:pt x="2877213" y="552970"/>
                </a:cubicBezTo>
                <a:cubicBezTo>
                  <a:pt x="2873569" y="551148"/>
                  <a:pt x="2873569" y="554792"/>
                  <a:pt x="2873569" y="556616"/>
                </a:cubicBezTo>
                <a:lnTo>
                  <a:pt x="2868649" y="550055"/>
                </a:lnTo>
                <a:lnTo>
                  <a:pt x="2869924" y="534749"/>
                </a:lnTo>
                <a:cubicBezTo>
                  <a:pt x="2873569" y="536571"/>
                  <a:pt x="2873569" y="532926"/>
                  <a:pt x="2877213" y="532926"/>
                </a:cubicBezTo>
                <a:cubicBezTo>
                  <a:pt x="2875391" y="531105"/>
                  <a:pt x="2871747" y="529282"/>
                  <a:pt x="2873569" y="523815"/>
                </a:cubicBezTo>
                <a:cubicBezTo>
                  <a:pt x="2871747" y="525638"/>
                  <a:pt x="2868102" y="527461"/>
                  <a:pt x="2869924" y="532926"/>
                </a:cubicBezTo>
                <a:cubicBezTo>
                  <a:pt x="2868102" y="529282"/>
                  <a:pt x="2866280" y="525638"/>
                  <a:pt x="2862636" y="521993"/>
                </a:cubicBezTo>
                <a:cubicBezTo>
                  <a:pt x="2860813" y="520171"/>
                  <a:pt x="2857169" y="525638"/>
                  <a:pt x="2855347" y="531105"/>
                </a:cubicBezTo>
                <a:cubicBezTo>
                  <a:pt x="2851703" y="525638"/>
                  <a:pt x="2849880" y="520171"/>
                  <a:pt x="2846236" y="514705"/>
                </a:cubicBezTo>
                <a:cubicBezTo>
                  <a:pt x="2851703" y="516527"/>
                  <a:pt x="2851703" y="507417"/>
                  <a:pt x="2857169" y="514705"/>
                </a:cubicBezTo>
                <a:cubicBezTo>
                  <a:pt x="2857169" y="518349"/>
                  <a:pt x="2857169" y="520171"/>
                  <a:pt x="2858991" y="521993"/>
                </a:cubicBezTo>
                <a:cubicBezTo>
                  <a:pt x="2864458" y="518349"/>
                  <a:pt x="2858991" y="514705"/>
                  <a:pt x="2855347" y="512882"/>
                </a:cubicBezTo>
                <a:cubicBezTo>
                  <a:pt x="2857169" y="509238"/>
                  <a:pt x="2857169" y="505594"/>
                  <a:pt x="2860813" y="503771"/>
                </a:cubicBezTo>
                <a:cubicBezTo>
                  <a:pt x="2862636" y="503771"/>
                  <a:pt x="2863547" y="506049"/>
                  <a:pt x="2864230" y="508099"/>
                </a:cubicBezTo>
                <a:lnTo>
                  <a:pt x="2865715" y="510244"/>
                </a:lnTo>
                <a:lnTo>
                  <a:pt x="2862636" y="512882"/>
                </a:lnTo>
                <a:cubicBezTo>
                  <a:pt x="2868102" y="512882"/>
                  <a:pt x="2868102" y="514705"/>
                  <a:pt x="2871747" y="521993"/>
                </a:cubicBezTo>
                <a:cubicBezTo>
                  <a:pt x="2871747" y="516527"/>
                  <a:pt x="2875391" y="512882"/>
                  <a:pt x="2873569" y="507417"/>
                </a:cubicBezTo>
                <a:cubicBezTo>
                  <a:pt x="2870836" y="506505"/>
                  <a:pt x="2869013" y="507417"/>
                  <a:pt x="2867419" y="508783"/>
                </a:cubicBezTo>
                <a:lnTo>
                  <a:pt x="2866608" y="509479"/>
                </a:lnTo>
                <a:lnTo>
                  <a:pt x="2867647" y="504455"/>
                </a:lnTo>
                <a:cubicBezTo>
                  <a:pt x="2867647" y="501494"/>
                  <a:pt x="2868103" y="498306"/>
                  <a:pt x="2871747" y="496483"/>
                </a:cubicBezTo>
                <a:cubicBezTo>
                  <a:pt x="2877213" y="492838"/>
                  <a:pt x="2880857" y="503771"/>
                  <a:pt x="2884502" y="496483"/>
                </a:cubicBezTo>
                <a:cubicBezTo>
                  <a:pt x="2884502" y="492838"/>
                  <a:pt x="2884502" y="487373"/>
                  <a:pt x="2882680" y="483728"/>
                </a:cubicBezTo>
                <a:cubicBezTo>
                  <a:pt x="2897257" y="483728"/>
                  <a:pt x="2891790" y="498306"/>
                  <a:pt x="2897257" y="507417"/>
                </a:cubicBezTo>
                <a:cubicBezTo>
                  <a:pt x="2899079" y="503771"/>
                  <a:pt x="2897257" y="498306"/>
                  <a:pt x="2899079" y="500127"/>
                </a:cubicBezTo>
                <a:cubicBezTo>
                  <a:pt x="2904546" y="500127"/>
                  <a:pt x="2913656" y="500127"/>
                  <a:pt x="2911834" y="507417"/>
                </a:cubicBezTo>
                <a:cubicBezTo>
                  <a:pt x="2911834" y="514705"/>
                  <a:pt x="2906368" y="505594"/>
                  <a:pt x="2904546" y="503771"/>
                </a:cubicBezTo>
                <a:cubicBezTo>
                  <a:pt x="2902724" y="503771"/>
                  <a:pt x="2900901" y="503771"/>
                  <a:pt x="2900901" y="505594"/>
                </a:cubicBezTo>
                <a:cubicBezTo>
                  <a:pt x="2900901" y="507417"/>
                  <a:pt x="2899079" y="511061"/>
                  <a:pt x="2900901" y="512882"/>
                </a:cubicBezTo>
                <a:cubicBezTo>
                  <a:pt x="2908190" y="523815"/>
                  <a:pt x="2926412" y="520171"/>
                  <a:pt x="2928234" y="534749"/>
                </a:cubicBezTo>
                <a:cubicBezTo>
                  <a:pt x="2931878" y="529282"/>
                  <a:pt x="2937345" y="534749"/>
                  <a:pt x="2939167" y="532926"/>
                </a:cubicBezTo>
                <a:cubicBezTo>
                  <a:pt x="2940989" y="525638"/>
                  <a:pt x="2939167" y="525638"/>
                  <a:pt x="2946456" y="523815"/>
                </a:cubicBezTo>
                <a:cubicBezTo>
                  <a:pt x="2944634" y="523815"/>
                  <a:pt x="2942811" y="521993"/>
                  <a:pt x="2942811" y="520171"/>
                </a:cubicBezTo>
                <a:cubicBezTo>
                  <a:pt x="2942811" y="520171"/>
                  <a:pt x="2942811" y="521993"/>
                  <a:pt x="2944634" y="521993"/>
                </a:cubicBezTo>
                <a:cubicBezTo>
                  <a:pt x="2946456" y="520171"/>
                  <a:pt x="2946456" y="520171"/>
                  <a:pt x="2948278" y="518349"/>
                </a:cubicBezTo>
                <a:cubicBezTo>
                  <a:pt x="2950100" y="518349"/>
                  <a:pt x="2950100" y="518349"/>
                  <a:pt x="2951922" y="520171"/>
                </a:cubicBezTo>
                <a:cubicBezTo>
                  <a:pt x="2951922" y="523815"/>
                  <a:pt x="2948278" y="527461"/>
                  <a:pt x="2950100" y="527461"/>
                </a:cubicBezTo>
                <a:cubicBezTo>
                  <a:pt x="2959211" y="532926"/>
                  <a:pt x="2957389" y="518349"/>
                  <a:pt x="2961033" y="512882"/>
                </a:cubicBezTo>
                <a:cubicBezTo>
                  <a:pt x="2961944" y="515616"/>
                  <a:pt x="2963766" y="517894"/>
                  <a:pt x="2965361" y="519260"/>
                </a:cubicBezTo>
                <a:lnTo>
                  <a:pt x="2966851" y="519719"/>
                </a:lnTo>
                <a:lnTo>
                  <a:pt x="2966500" y="520171"/>
                </a:lnTo>
                <a:cubicBezTo>
                  <a:pt x="2968322" y="523815"/>
                  <a:pt x="2971966" y="520171"/>
                  <a:pt x="2977432" y="521993"/>
                </a:cubicBezTo>
                <a:cubicBezTo>
                  <a:pt x="2979255" y="516527"/>
                  <a:pt x="2979255" y="511061"/>
                  <a:pt x="2977432" y="507417"/>
                </a:cubicBezTo>
                <a:cubicBezTo>
                  <a:pt x="2976521" y="511061"/>
                  <a:pt x="2974244" y="511972"/>
                  <a:pt x="2971966" y="513111"/>
                </a:cubicBezTo>
                <a:lnTo>
                  <a:pt x="2968384" y="517738"/>
                </a:lnTo>
                <a:lnTo>
                  <a:pt x="2968521" y="512370"/>
                </a:lnTo>
                <a:cubicBezTo>
                  <a:pt x="2967468" y="510264"/>
                  <a:pt x="2965475" y="508555"/>
                  <a:pt x="2963083" y="506961"/>
                </a:cubicBezTo>
                <a:lnTo>
                  <a:pt x="2961067" y="505534"/>
                </a:lnTo>
                <a:lnTo>
                  <a:pt x="2963083" y="501950"/>
                </a:lnTo>
                <a:cubicBezTo>
                  <a:pt x="2962400" y="500583"/>
                  <a:pt x="2961033" y="499216"/>
                  <a:pt x="2961033" y="498306"/>
                </a:cubicBezTo>
                <a:lnTo>
                  <a:pt x="2950853" y="498306"/>
                </a:lnTo>
                <a:lnTo>
                  <a:pt x="2948278" y="496483"/>
                </a:lnTo>
                <a:cubicBezTo>
                  <a:pt x="2944634" y="491017"/>
                  <a:pt x="2951922" y="489194"/>
                  <a:pt x="2955566" y="487373"/>
                </a:cubicBezTo>
                <a:lnTo>
                  <a:pt x="2957113" y="488146"/>
                </a:lnTo>
                <a:lnTo>
                  <a:pt x="2957161" y="488283"/>
                </a:lnTo>
                <a:cubicBezTo>
                  <a:pt x="2957845" y="489650"/>
                  <a:pt x="2958300" y="491017"/>
                  <a:pt x="2957389" y="492838"/>
                </a:cubicBezTo>
                <a:lnTo>
                  <a:pt x="2961293" y="490236"/>
                </a:lnTo>
                <a:lnTo>
                  <a:pt x="2962855" y="491017"/>
                </a:lnTo>
                <a:lnTo>
                  <a:pt x="2962280" y="489578"/>
                </a:lnTo>
                <a:lnTo>
                  <a:pt x="2962855" y="489194"/>
                </a:lnTo>
                <a:cubicBezTo>
                  <a:pt x="2970144" y="494662"/>
                  <a:pt x="2973788" y="485550"/>
                  <a:pt x="2979255" y="489194"/>
                </a:cubicBezTo>
                <a:cubicBezTo>
                  <a:pt x="2973788" y="481906"/>
                  <a:pt x="2979255" y="480083"/>
                  <a:pt x="2971966" y="474618"/>
                </a:cubicBezTo>
                <a:cubicBezTo>
                  <a:pt x="2971966" y="472795"/>
                  <a:pt x="2975610" y="472795"/>
                  <a:pt x="2975610" y="470972"/>
                </a:cubicBezTo>
                <a:cubicBezTo>
                  <a:pt x="2977432" y="470972"/>
                  <a:pt x="2979255" y="472795"/>
                  <a:pt x="2977432" y="474618"/>
                </a:cubicBezTo>
                <a:cubicBezTo>
                  <a:pt x="2979255" y="470972"/>
                  <a:pt x="2984721" y="472795"/>
                  <a:pt x="2982899" y="467328"/>
                </a:cubicBezTo>
                <a:cubicBezTo>
                  <a:pt x="2986543" y="469150"/>
                  <a:pt x="2986543" y="472795"/>
                  <a:pt x="2986543" y="474618"/>
                </a:cubicBezTo>
                <a:cubicBezTo>
                  <a:pt x="2990188" y="467328"/>
                  <a:pt x="2999299" y="461862"/>
                  <a:pt x="2999299" y="452751"/>
                </a:cubicBezTo>
                <a:cubicBezTo>
                  <a:pt x="2986999" y="456851"/>
                  <a:pt x="2962400" y="455826"/>
                  <a:pt x="2953175" y="465051"/>
                </a:cubicBezTo>
                <a:lnTo>
                  <a:pt x="2952739" y="466928"/>
                </a:lnTo>
                <a:lnTo>
                  <a:pt x="2951922" y="460039"/>
                </a:lnTo>
                <a:cubicBezTo>
                  <a:pt x="2971966" y="454574"/>
                  <a:pt x="3002943" y="458218"/>
                  <a:pt x="3008410" y="434530"/>
                </a:cubicBezTo>
                <a:cubicBezTo>
                  <a:pt x="3006587" y="434530"/>
                  <a:pt x="3002943" y="434530"/>
                  <a:pt x="3002943" y="432707"/>
                </a:cubicBezTo>
                <a:cubicBezTo>
                  <a:pt x="3002943" y="425419"/>
                  <a:pt x="3008410" y="434530"/>
                  <a:pt x="3010232" y="432707"/>
                </a:cubicBezTo>
                <a:cubicBezTo>
                  <a:pt x="3019343" y="423596"/>
                  <a:pt x="3015698" y="410841"/>
                  <a:pt x="3013876" y="399908"/>
                </a:cubicBezTo>
                <a:cubicBezTo>
                  <a:pt x="3013876" y="399908"/>
                  <a:pt x="3013876" y="399908"/>
                  <a:pt x="3015698" y="399908"/>
                </a:cubicBezTo>
                <a:cubicBezTo>
                  <a:pt x="3012054" y="392620"/>
                  <a:pt x="3002943" y="383509"/>
                  <a:pt x="2995654" y="390797"/>
                </a:cubicBezTo>
                <a:cubicBezTo>
                  <a:pt x="2999299" y="387152"/>
                  <a:pt x="2993832" y="383509"/>
                  <a:pt x="2992010" y="383509"/>
                </a:cubicBezTo>
                <a:cubicBezTo>
                  <a:pt x="2988366" y="383509"/>
                  <a:pt x="2986543" y="388976"/>
                  <a:pt x="2981077" y="390797"/>
                </a:cubicBezTo>
                <a:cubicBezTo>
                  <a:pt x="2984721" y="376220"/>
                  <a:pt x="2971966" y="368932"/>
                  <a:pt x="2959211" y="367109"/>
                </a:cubicBezTo>
                <a:cubicBezTo>
                  <a:pt x="2959211" y="365287"/>
                  <a:pt x="2955566" y="361642"/>
                  <a:pt x="2957389" y="359821"/>
                </a:cubicBezTo>
                <a:cubicBezTo>
                  <a:pt x="2957389" y="359821"/>
                  <a:pt x="2957389" y="359821"/>
                  <a:pt x="2959211" y="359821"/>
                </a:cubicBezTo>
                <a:cubicBezTo>
                  <a:pt x="2955566" y="356176"/>
                  <a:pt x="2957389" y="348888"/>
                  <a:pt x="2953744" y="345242"/>
                </a:cubicBezTo>
                <a:cubicBezTo>
                  <a:pt x="2953744" y="347066"/>
                  <a:pt x="2951922" y="348888"/>
                  <a:pt x="2950100" y="348888"/>
                </a:cubicBezTo>
                <a:cubicBezTo>
                  <a:pt x="2953744" y="348888"/>
                  <a:pt x="2953744" y="354354"/>
                  <a:pt x="2951922" y="356176"/>
                </a:cubicBezTo>
                <a:cubicBezTo>
                  <a:pt x="2951922" y="363465"/>
                  <a:pt x="2940989" y="361642"/>
                  <a:pt x="2939167" y="354354"/>
                </a:cubicBezTo>
                <a:cubicBezTo>
                  <a:pt x="2937345" y="348888"/>
                  <a:pt x="2933700" y="345242"/>
                  <a:pt x="2933700" y="337954"/>
                </a:cubicBezTo>
                <a:cubicBezTo>
                  <a:pt x="2933700" y="337954"/>
                  <a:pt x="2931878" y="337954"/>
                  <a:pt x="2931878" y="339777"/>
                </a:cubicBezTo>
                <a:cubicBezTo>
                  <a:pt x="2930056" y="334310"/>
                  <a:pt x="2931878" y="327022"/>
                  <a:pt x="2930056" y="321555"/>
                </a:cubicBezTo>
                <a:cubicBezTo>
                  <a:pt x="2930056" y="325199"/>
                  <a:pt x="2930056" y="327022"/>
                  <a:pt x="2928234" y="328844"/>
                </a:cubicBezTo>
                <a:cubicBezTo>
                  <a:pt x="2928234" y="321555"/>
                  <a:pt x="2922767" y="312444"/>
                  <a:pt x="2930056" y="308800"/>
                </a:cubicBezTo>
                <a:cubicBezTo>
                  <a:pt x="2935523" y="305155"/>
                  <a:pt x="2937345" y="316089"/>
                  <a:pt x="2942811" y="319733"/>
                </a:cubicBezTo>
                <a:lnTo>
                  <a:pt x="2951922" y="299992"/>
                </a:lnTo>
                <a:lnTo>
                  <a:pt x="2951922" y="305155"/>
                </a:lnTo>
                <a:cubicBezTo>
                  <a:pt x="2953744" y="306978"/>
                  <a:pt x="2953744" y="303333"/>
                  <a:pt x="2955566" y="303333"/>
                </a:cubicBezTo>
                <a:cubicBezTo>
                  <a:pt x="2957389" y="305155"/>
                  <a:pt x="2955566" y="308800"/>
                  <a:pt x="2953744" y="308800"/>
                </a:cubicBezTo>
                <a:cubicBezTo>
                  <a:pt x="2957389" y="314266"/>
                  <a:pt x="2962855" y="306978"/>
                  <a:pt x="2959211" y="301511"/>
                </a:cubicBezTo>
                <a:cubicBezTo>
                  <a:pt x="2953744" y="303333"/>
                  <a:pt x="2959211" y="301511"/>
                  <a:pt x="2959211" y="297867"/>
                </a:cubicBezTo>
                <a:cubicBezTo>
                  <a:pt x="2955566" y="297867"/>
                  <a:pt x="2953744" y="296045"/>
                  <a:pt x="2951922" y="294223"/>
                </a:cubicBezTo>
                <a:lnTo>
                  <a:pt x="2951922" y="295640"/>
                </a:lnTo>
                <a:lnTo>
                  <a:pt x="2937345" y="292400"/>
                </a:lnTo>
                <a:cubicBezTo>
                  <a:pt x="2931878" y="291034"/>
                  <a:pt x="2926412" y="290578"/>
                  <a:pt x="2920945" y="294223"/>
                </a:cubicBezTo>
                <a:cubicBezTo>
                  <a:pt x="2920945" y="286934"/>
                  <a:pt x="2917301" y="286934"/>
                  <a:pt x="2913656" y="286934"/>
                </a:cubicBezTo>
                <a:cubicBezTo>
                  <a:pt x="2913656" y="288756"/>
                  <a:pt x="2913656" y="292400"/>
                  <a:pt x="2913656" y="294223"/>
                </a:cubicBezTo>
                <a:cubicBezTo>
                  <a:pt x="2910012" y="292400"/>
                  <a:pt x="2906368" y="290578"/>
                  <a:pt x="2906368" y="285112"/>
                </a:cubicBezTo>
                <a:cubicBezTo>
                  <a:pt x="2897257" y="288756"/>
                  <a:pt x="2902724" y="301511"/>
                  <a:pt x="2897257" y="305155"/>
                </a:cubicBezTo>
                <a:cubicBezTo>
                  <a:pt x="2891790" y="308800"/>
                  <a:pt x="2891790" y="301511"/>
                  <a:pt x="2893613" y="299689"/>
                </a:cubicBezTo>
                <a:cubicBezTo>
                  <a:pt x="2893613" y="296045"/>
                  <a:pt x="2899079" y="288756"/>
                  <a:pt x="2893613" y="285112"/>
                </a:cubicBezTo>
                <a:cubicBezTo>
                  <a:pt x="2891790" y="286934"/>
                  <a:pt x="2891790" y="292400"/>
                  <a:pt x="2893613" y="294223"/>
                </a:cubicBezTo>
                <a:cubicBezTo>
                  <a:pt x="2888146" y="290578"/>
                  <a:pt x="2891790" y="283289"/>
                  <a:pt x="2886324" y="279645"/>
                </a:cubicBezTo>
                <a:cubicBezTo>
                  <a:pt x="2884502" y="277823"/>
                  <a:pt x="2884502" y="279645"/>
                  <a:pt x="2882680" y="281467"/>
                </a:cubicBezTo>
                <a:cubicBezTo>
                  <a:pt x="2882680" y="279645"/>
                  <a:pt x="2884502" y="277823"/>
                  <a:pt x="2884502" y="276001"/>
                </a:cubicBezTo>
                <a:cubicBezTo>
                  <a:pt x="2889968" y="276001"/>
                  <a:pt x="2893613" y="270534"/>
                  <a:pt x="2893613" y="265068"/>
                </a:cubicBezTo>
                <a:cubicBezTo>
                  <a:pt x="2897257" y="270534"/>
                  <a:pt x="2889968" y="283289"/>
                  <a:pt x="2900901" y="281467"/>
                </a:cubicBezTo>
                <a:cubicBezTo>
                  <a:pt x="2908190" y="281467"/>
                  <a:pt x="2911834" y="274179"/>
                  <a:pt x="2919123" y="272356"/>
                </a:cubicBezTo>
                <a:cubicBezTo>
                  <a:pt x="2919123" y="276001"/>
                  <a:pt x="2924590" y="279645"/>
                  <a:pt x="2926412" y="283289"/>
                </a:cubicBezTo>
                <a:cubicBezTo>
                  <a:pt x="2924590" y="279645"/>
                  <a:pt x="2924590" y="277823"/>
                  <a:pt x="2924590" y="276001"/>
                </a:cubicBezTo>
                <a:cubicBezTo>
                  <a:pt x="2926412" y="277823"/>
                  <a:pt x="2931878" y="277823"/>
                  <a:pt x="2933700" y="276001"/>
                </a:cubicBezTo>
                <a:cubicBezTo>
                  <a:pt x="2931878" y="277823"/>
                  <a:pt x="2931878" y="277823"/>
                  <a:pt x="2930056" y="279645"/>
                </a:cubicBezTo>
                <a:cubicBezTo>
                  <a:pt x="2930056" y="285112"/>
                  <a:pt x="2933700" y="286934"/>
                  <a:pt x="2937345" y="286934"/>
                </a:cubicBezTo>
                <a:cubicBezTo>
                  <a:pt x="2940989" y="286934"/>
                  <a:pt x="2942811" y="285112"/>
                  <a:pt x="2942811" y="283289"/>
                </a:cubicBezTo>
                <a:cubicBezTo>
                  <a:pt x="2940989" y="279645"/>
                  <a:pt x="2937345" y="277823"/>
                  <a:pt x="2939167" y="276001"/>
                </a:cubicBezTo>
                <a:cubicBezTo>
                  <a:pt x="2948278" y="270534"/>
                  <a:pt x="2942811" y="283289"/>
                  <a:pt x="2948278" y="285112"/>
                </a:cubicBezTo>
                <a:cubicBezTo>
                  <a:pt x="2961033" y="286934"/>
                  <a:pt x="2953744" y="277823"/>
                  <a:pt x="2953744" y="274179"/>
                </a:cubicBezTo>
                <a:cubicBezTo>
                  <a:pt x="2957389" y="276001"/>
                  <a:pt x="2957389" y="276001"/>
                  <a:pt x="2959211" y="277823"/>
                </a:cubicBezTo>
                <a:cubicBezTo>
                  <a:pt x="2959211" y="268712"/>
                  <a:pt x="2968322" y="268712"/>
                  <a:pt x="2975610" y="270534"/>
                </a:cubicBezTo>
                <a:cubicBezTo>
                  <a:pt x="2973788" y="266890"/>
                  <a:pt x="2973788" y="265068"/>
                  <a:pt x="2975610" y="263246"/>
                </a:cubicBezTo>
                <a:cubicBezTo>
                  <a:pt x="2977432" y="265068"/>
                  <a:pt x="2977432" y="266890"/>
                  <a:pt x="2977432" y="268712"/>
                </a:cubicBezTo>
                <a:cubicBezTo>
                  <a:pt x="2981077" y="265068"/>
                  <a:pt x="2982899" y="261423"/>
                  <a:pt x="2984721" y="255957"/>
                </a:cubicBezTo>
                <a:cubicBezTo>
                  <a:pt x="2981077" y="255957"/>
                  <a:pt x="2973788" y="254135"/>
                  <a:pt x="2973788" y="250490"/>
                </a:cubicBezTo>
                <a:cubicBezTo>
                  <a:pt x="2975610" y="250490"/>
                  <a:pt x="2979255" y="250490"/>
                  <a:pt x="2979255" y="246846"/>
                </a:cubicBezTo>
                <a:cubicBezTo>
                  <a:pt x="2977432" y="246846"/>
                  <a:pt x="2973788" y="243202"/>
                  <a:pt x="2973788" y="250490"/>
                </a:cubicBezTo>
                <a:cubicBezTo>
                  <a:pt x="2973788" y="246846"/>
                  <a:pt x="2975155" y="241835"/>
                  <a:pt x="2975155" y="237279"/>
                </a:cubicBezTo>
                <a:lnTo>
                  <a:pt x="2974853" y="236815"/>
                </a:lnTo>
                <a:lnTo>
                  <a:pt x="2975155" y="235001"/>
                </a:lnTo>
                <a:cubicBezTo>
                  <a:pt x="2974699" y="231812"/>
                  <a:pt x="2973788" y="228624"/>
                  <a:pt x="2973788" y="226802"/>
                </a:cubicBezTo>
                <a:lnTo>
                  <a:pt x="2971768" y="232085"/>
                </a:lnTo>
                <a:lnTo>
                  <a:pt x="2968322" y="226802"/>
                </a:lnTo>
                <a:cubicBezTo>
                  <a:pt x="2970600" y="222246"/>
                  <a:pt x="2970713" y="218602"/>
                  <a:pt x="2969375" y="215527"/>
                </a:cubicBezTo>
                <a:lnTo>
                  <a:pt x="2967717" y="213825"/>
                </a:lnTo>
                <a:lnTo>
                  <a:pt x="2971511" y="213135"/>
                </a:lnTo>
                <a:lnTo>
                  <a:pt x="2973685" y="207047"/>
                </a:lnTo>
                <a:lnTo>
                  <a:pt x="2975610" y="208580"/>
                </a:lnTo>
                <a:cubicBezTo>
                  <a:pt x="2975610" y="204936"/>
                  <a:pt x="2977432" y="201292"/>
                  <a:pt x="2971966" y="199469"/>
                </a:cubicBezTo>
                <a:cubicBezTo>
                  <a:pt x="2975610" y="199469"/>
                  <a:pt x="2973788" y="195825"/>
                  <a:pt x="2975610" y="192181"/>
                </a:cubicBezTo>
                <a:lnTo>
                  <a:pt x="2975272" y="192011"/>
                </a:lnTo>
                <a:lnTo>
                  <a:pt x="2981760" y="177375"/>
                </a:lnTo>
                <a:cubicBezTo>
                  <a:pt x="2983355" y="169403"/>
                  <a:pt x="2982899" y="161204"/>
                  <a:pt x="2979255" y="153915"/>
                </a:cubicBezTo>
                <a:cubicBezTo>
                  <a:pt x="2979255" y="157559"/>
                  <a:pt x="2979255" y="161204"/>
                  <a:pt x="2979255" y="164848"/>
                </a:cubicBezTo>
                <a:lnTo>
                  <a:pt x="2962856" y="157559"/>
                </a:lnTo>
                <a:lnTo>
                  <a:pt x="2966500" y="152093"/>
                </a:lnTo>
                <a:cubicBezTo>
                  <a:pt x="2966500" y="155737"/>
                  <a:pt x="2966500" y="157559"/>
                  <a:pt x="2968322" y="157559"/>
                </a:cubicBezTo>
                <a:cubicBezTo>
                  <a:pt x="2964677" y="152093"/>
                  <a:pt x="2968322" y="148449"/>
                  <a:pt x="2970144" y="144804"/>
                </a:cubicBezTo>
                <a:cubicBezTo>
                  <a:pt x="2973788" y="146626"/>
                  <a:pt x="2973788" y="150271"/>
                  <a:pt x="2975610" y="152093"/>
                </a:cubicBezTo>
                <a:cubicBezTo>
                  <a:pt x="2982899" y="146626"/>
                  <a:pt x="2975610" y="139338"/>
                  <a:pt x="2973788" y="132049"/>
                </a:cubicBezTo>
                <a:lnTo>
                  <a:pt x="2970752" y="135085"/>
                </a:lnTo>
                <a:lnTo>
                  <a:pt x="2971530" y="131971"/>
                </a:lnTo>
                <a:lnTo>
                  <a:pt x="2971966" y="132049"/>
                </a:lnTo>
                <a:cubicBezTo>
                  <a:pt x="2970144" y="121116"/>
                  <a:pt x="2979255" y="113827"/>
                  <a:pt x="2986543" y="106539"/>
                </a:cubicBezTo>
                <a:cubicBezTo>
                  <a:pt x="2990188" y="115649"/>
                  <a:pt x="2982899" y="122938"/>
                  <a:pt x="2992010" y="130227"/>
                </a:cubicBezTo>
                <a:cubicBezTo>
                  <a:pt x="2984721" y="139338"/>
                  <a:pt x="2979255" y="150271"/>
                  <a:pt x="2986543" y="159382"/>
                </a:cubicBezTo>
                <a:cubicBezTo>
                  <a:pt x="2986543" y="155737"/>
                  <a:pt x="2986543" y="150271"/>
                  <a:pt x="2986543" y="146626"/>
                </a:cubicBezTo>
                <a:cubicBezTo>
                  <a:pt x="2988366" y="152093"/>
                  <a:pt x="2995654" y="157559"/>
                  <a:pt x="2997477" y="152093"/>
                </a:cubicBezTo>
                <a:cubicBezTo>
                  <a:pt x="3001121" y="146626"/>
                  <a:pt x="2993832" y="142982"/>
                  <a:pt x="2992010" y="137516"/>
                </a:cubicBezTo>
                <a:cubicBezTo>
                  <a:pt x="2993832" y="137516"/>
                  <a:pt x="2993832" y="137516"/>
                  <a:pt x="2995654" y="139338"/>
                </a:cubicBezTo>
                <a:cubicBezTo>
                  <a:pt x="2997477" y="135693"/>
                  <a:pt x="2997477" y="133871"/>
                  <a:pt x="2997477" y="132049"/>
                </a:cubicBezTo>
                <a:cubicBezTo>
                  <a:pt x="3006587" y="133871"/>
                  <a:pt x="2995654" y="144804"/>
                  <a:pt x="3004765" y="142982"/>
                </a:cubicBezTo>
                <a:cubicBezTo>
                  <a:pt x="3004765" y="142982"/>
                  <a:pt x="3004765" y="139338"/>
                  <a:pt x="3006587" y="137516"/>
                </a:cubicBezTo>
                <a:cubicBezTo>
                  <a:pt x="3006587" y="141160"/>
                  <a:pt x="3006587" y="144804"/>
                  <a:pt x="3004765" y="148449"/>
                </a:cubicBezTo>
                <a:lnTo>
                  <a:pt x="3008410" y="143818"/>
                </a:lnTo>
                <a:lnTo>
                  <a:pt x="3008410" y="153915"/>
                </a:lnTo>
                <a:cubicBezTo>
                  <a:pt x="3008410" y="153915"/>
                  <a:pt x="3009321" y="150726"/>
                  <a:pt x="3009777" y="147537"/>
                </a:cubicBezTo>
                <a:lnTo>
                  <a:pt x="3008858" y="143250"/>
                </a:lnTo>
                <a:lnTo>
                  <a:pt x="3013193" y="137743"/>
                </a:lnTo>
                <a:cubicBezTo>
                  <a:pt x="3012965" y="132504"/>
                  <a:pt x="3010232" y="126582"/>
                  <a:pt x="3006587" y="122938"/>
                </a:cubicBezTo>
                <a:cubicBezTo>
                  <a:pt x="3012054" y="126583"/>
                  <a:pt x="3021165" y="126583"/>
                  <a:pt x="3022987" y="119294"/>
                </a:cubicBezTo>
                <a:cubicBezTo>
                  <a:pt x="3022987" y="122938"/>
                  <a:pt x="3019343" y="126583"/>
                  <a:pt x="3021165" y="130227"/>
                </a:cubicBezTo>
                <a:cubicBezTo>
                  <a:pt x="3022987" y="141160"/>
                  <a:pt x="3026631" y="150271"/>
                  <a:pt x="3037564" y="152093"/>
                </a:cubicBezTo>
                <a:cubicBezTo>
                  <a:pt x="3043031" y="152093"/>
                  <a:pt x="3046675" y="146626"/>
                  <a:pt x="3050319" y="144804"/>
                </a:cubicBezTo>
                <a:cubicBezTo>
                  <a:pt x="3046675" y="148449"/>
                  <a:pt x="3050319" y="152093"/>
                  <a:pt x="3052142" y="153915"/>
                </a:cubicBezTo>
                <a:lnTo>
                  <a:pt x="3061816" y="153352"/>
                </a:lnTo>
                <a:lnTo>
                  <a:pt x="3055786" y="159382"/>
                </a:lnTo>
                <a:cubicBezTo>
                  <a:pt x="3057608" y="157559"/>
                  <a:pt x="3061253" y="155737"/>
                  <a:pt x="3063075" y="155737"/>
                </a:cubicBezTo>
                <a:cubicBezTo>
                  <a:pt x="3063075" y="155737"/>
                  <a:pt x="3063075" y="155737"/>
                  <a:pt x="3063075" y="157559"/>
                </a:cubicBezTo>
                <a:cubicBezTo>
                  <a:pt x="3063075" y="155737"/>
                  <a:pt x="3064897" y="153915"/>
                  <a:pt x="3066719" y="155737"/>
                </a:cubicBezTo>
                <a:cubicBezTo>
                  <a:pt x="3068541" y="157559"/>
                  <a:pt x="3066719" y="163026"/>
                  <a:pt x="3068541" y="164848"/>
                </a:cubicBezTo>
                <a:cubicBezTo>
                  <a:pt x="3070363" y="161204"/>
                  <a:pt x="3074008" y="161204"/>
                  <a:pt x="3075830" y="161204"/>
                </a:cubicBezTo>
                <a:cubicBezTo>
                  <a:pt x="3068541" y="168493"/>
                  <a:pt x="3072186" y="179426"/>
                  <a:pt x="3075830" y="186714"/>
                </a:cubicBezTo>
                <a:cubicBezTo>
                  <a:pt x="3074008" y="186714"/>
                  <a:pt x="3072186" y="183070"/>
                  <a:pt x="3070363" y="184892"/>
                </a:cubicBezTo>
                <a:cubicBezTo>
                  <a:pt x="3070363" y="186714"/>
                  <a:pt x="3070363" y="188536"/>
                  <a:pt x="3070363" y="190359"/>
                </a:cubicBezTo>
                <a:cubicBezTo>
                  <a:pt x="3066719" y="195825"/>
                  <a:pt x="3066719" y="190359"/>
                  <a:pt x="3064897" y="188536"/>
                </a:cubicBezTo>
                <a:cubicBezTo>
                  <a:pt x="3061253" y="194003"/>
                  <a:pt x="3055786" y="203114"/>
                  <a:pt x="3063075" y="204936"/>
                </a:cubicBezTo>
                <a:cubicBezTo>
                  <a:pt x="3068541" y="206758"/>
                  <a:pt x="3075830" y="206758"/>
                  <a:pt x="3079474" y="208580"/>
                </a:cubicBezTo>
                <a:cubicBezTo>
                  <a:pt x="3084941" y="212225"/>
                  <a:pt x="3083119" y="219513"/>
                  <a:pt x="3077652" y="223158"/>
                </a:cubicBezTo>
                <a:cubicBezTo>
                  <a:pt x="3072186" y="214047"/>
                  <a:pt x="3063075" y="206758"/>
                  <a:pt x="3053964" y="212225"/>
                </a:cubicBezTo>
                <a:cubicBezTo>
                  <a:pt x="3050319" y="214047"/>
                  <a:pt x="3048497" y="217691"/>
                  <a:pt x="3048497" y="219513"/>
                </a:cubicBezTo>
                <a:cubicBezTo>
                  <a:pt x="3050319" y="226802"/>
                  <a:pt x="3052142" y="234091"/>
                  <a:pt x="3055786" y="239557"/>
                </a:cubicBezTo>
                <a:lnTo>
                  <a:pt x="3061253" y="230446"/>
                </a:lnTo>
                <a:lnTo>
                  <a:pt x="3063075" y="232269"/>
                </a:lnTo>
                <a:cubicBezTo>
                  <a:pt x="3063075" y="232269"/>
                  <a:pt x="3063075" y="230446"/>
                  <a:pt x="3064897" y="230446"/>
                </a:cubicBezTo>
                <a:cubicBezTo>
                  <a:pt x="3063075" y="232269"/>
                  <a:pt x="3063075" y="234091"/>
                  <a:pt x="3063075" y="234091"/>
                </a:cubicBezTo>
                <a:lnTo>
                  <a:pt x="3064897" y="235913"/>
                </a:lnTo>
                <a:cubicBezTo>
                  <a:pt x="3066719" y="235913"/>
                  <a:pt x="3070363" y="235913"/>
                  <a:pt x="3072186" y="230446"/>
                </a:cubicBezTo>
                <a:cubicBezTo>
                  <a:pt x="3070363" y="235913"/>
                  <a:pt x="3074008" y="239557"/>
                  <a:pt x="3077652" y="245024"/>
                </a:cubicBezTo>
                <a:lnTo>
                  <a:pt x="3078305" y="238822"/>
                </a:lnTo>
                <a:lnTo>
                  <a:pt x="3083119" y="246846"/>
                </a:lnTo>
                <a:cubicBezTo>
                  <a:pt x="3083119" y="245024"/>
                  <a:pt x="3083119" y="243202"/>
                  <a:pt x="3083119" y="241379"/>
                </a:cubicBezTo>
                <a:lnTo>
                  <a:pt x="3078369" y="238212"/>
                </a:lnTo>
                <a:lnTo>
                  <a:pt x="3078563" y="236368"/>
                </a:lnTo>
                <a:cubicBezTo>
                  <a:pt x="3079930" y="234090"/>
                  <a:pt x="3082208" y="232268"/>
                  <a:pt x="3084941" y="230446"/>
                </a:cubicBezTo>
                <a:lnTo>
                  <a:pt x="3086829" y="221477"/>
                </a:lnTo>
                <a:lnTo>
                  <a:pt x="3091091" y="230674"/>
                </a:lnTo>
                <a:cubicBezTo>
                  <a:pt x="3093596" y="232724"/>
                  <a:pt x="3096785" y="233179"/>
                  <a:pt x="3099518" y="230446"/>
                </a:cubicBezTo>
                <a:cubicBezTo>
                  <a:pt x="3095874" y="224980"/>
                  <a:pt x="3092230" y="232269"/>
                  <a:pt x="3090407" y="228624"/>
                </a:cubicBezTo>
                <a:cubicBezTo>
                  <a:pt x="3092230" y="226802"/>
                  <a:pt x="3094052" y="226802"/>
                  <a:pt x="3095874" y="226802"/>
                </a:cubicBezTo>
                <a:cubicBezTo>
                  <a:pt x="3099518" y="195825"/>
                  <a:pt x="3092230" y="234091"/>
                  <a:pt x="3092230" y="217691"/>
                </a:cubicBezTo>
                <a:cubicBezTo>
                  <a:pt x="3088585" y="219513"/>
                  <a:pt x="3094052" y="223158"/>
                  <a:pt x="3092230" y="223158"/>
                </a:cubicBezTo>
                <a:cubicBezTo>
                  <a:pt x="3091319" y="223158"/>
                  <a:pt x="3089952" y="221791"/>
                  <a:pt x="3088813" y="220880"/>
                </a:cubicBezTo>
                <a:lnTo>
                  <a:pt x="3086864" y="221313"/>
                </a:lnTo>
                <a:lnTo>
                  <a:pt x="3087674" y="217463"/>
                </a:lnTo>
                <a:cubicBezTo>
                  <a:pt x="3087218" y="212680"/>
                  <a:pt x="3084941" y="208580"/>
                  <a:pt x="3079474" y="208580"/>
                </a:cubicBezTo>
                <a:cubicBezTo>
                  <a:pt x="3084941" y="199469"/>
                  <a:pt x="3094052" y="204936"/>
                  <a:pt x="3095874" y="195825"/>
                </a:cubicBezTo>
                <a:cubicBezTo>
                  <a:pt x="3097696" y="197647"/>
                  <a:pt x="3097696" y="203114"/>
                  <a:pt x="3099518" y="203114"/>
                </a:cubicBezTo>
                <a:cubicBezTo>
                  <a:pt x="3103163" y="201292"/>
                  <a:pt x="3101340" y="195825"/>
                  <a:pt x="3101340" y="194003"/>
                </a:cubicBezTo>
                <a:cubicBezTo>
                  <a:pt x="3104985" y="195825"/>
                  <a:pt x="3104985" y="204936"/>
                  <a:pt x="3108629" y="203114"/>
                </a:cubicBezTo>
                <a:cubicBezTo>
                  <a:pt x="3117740" y="199469"/>
                  <a:pt x="3112274" y="186714"/>
                  <a:pt x="3106807" y="179426"/>
                </a:cubicBezTo>
                <a:cubicBezTo>
                  <a:pt x="3106807" y="183070"/>
                  <a:pt x="3108629" y="188536"/>
                  <a:pt x="3104985" y="190359"/>
                </a:cubicBezTo>
                <a:cubicBezTo>
                  <a:pt x="3103163" y="190359"/>
                  <a:pt x="3101340" y="190359"/>
                  <a:pt x="3099518" y="188536"/>
                </a:cubicBezTo>
                <a:cubicBezTo>
                  <a:pt x="3095874" y="183070"/>
                  <a:pt x="3099518" y="179426"/>
                  <a:pt x="3101340" y="173959"/>
                </a:cubicBezTo>
                <a:cubicBezTo>
                  <a:pt x="3101340" y="173959"/>
                  <a:pt x="3099518" y="173959"/>
                  <a:pt x="3099518" y="175781"/>
                </a:cubicBezTo>
                <a:cubicBezTo>
                  <a:pt x="3097696" y="166670"/>
                  <a:pt x="3108629" y="170315"/>
                  <a:pt x="3110451" y="173959"/>
                </a:cubicBezTo>
                <a:cubicBezTo>
                  <a:pt x="3112274" y="177603"/>
                  <a:pt x="3114096" y="183070"/>
                  <a:pt x="3114096" y="188536"/>
                </a:cubicBezTo>
                <a:cubicBezTo>
                  <a:pt x="3115918" y="184892"/>
                  <a:pt x="3119562" y="172137"/>
                  <a:pt x="3126851" y="177603"/>
                </a:cubicBezTo>
                <a:lnTo>
                  <a:pt x="3126951" y="178002"/>
                </a:lnTo>
                <a:lnTo>
                  <a:pt x="3125029" y="183070"/>
                </a:lnTo>
                <a:lnTo>
                  <a:pt x="3127888" y="181750"/>
                </a:lnTo>
                <a:lnTo>
                  <a:pt x="3128673" y="184892"/>
                </a:lnTo>
                <a:lnTo>
                  <a:pt x="3129663" y="180931"/>
                </a:lnTo>
                <a:lnTo>
                  <a:pt x="3132510" y="179617"/>
                </a:lnTo>
                <a:lnTo>
                  <a:pt x="3134140" y="181248"/>
                </a:lnTo>
                <a:lnTo>
                  <a:pt x="3133135" y="179328"/>
                </a:lnTo>
                <a:lnTo>
                  <a:pt x="3136873" y="177603"/>
                </a:lnTo>
                <a:cubicBezTo>
                  <a:pt x="3140062" y="174870"/>
                  <a:pt x="3142339" y="171225"/>
                  <a:pt x="3143250" y="166670"/>
                </a:cubicBezTo>
                <a:cubicBezTo>
                  <a:pt x="3146895" y="170315"/>
                  <a:pt x="3141428" y="175781"/>
                  <a:pt x="3143250" y="181248"/>
                </a:cubicBezTo>
                <a:cubicBezTo>
                  <a:pt x="3146895" y="177603"/>
                  <a:pt x="3148717" y="168493"/>
                  <a:pt x="3156006" y="170315"/>
                </a:cubicBezTo>
                <a:cubicBezTo>
                  <a:pt x="3157828" y="172137"/>
                  <a:pt x="3159650" y="173959"/>
                  <a:pt x="3159650" y="175781"/>
                </a:cubicBezTo>
                <a:cubicBezTo>
                  <a:pt x="3159650" y="179426"/>
                  <a:pt x="3163294" y="184892"/>
                  <a:pt x="3157828" y="184892"/>
                </a:cubicBezTo>
                <a:cubicBezTo>
                  <a:pt x="3156006" y="186714"/>
                  <a:pt x="3154184" y="183070"/>
                  <a:pt x="3152361" y="181248"/>
                </a:cubicBezTo>
                <a:cubicBezTo>
                  <a:pt x="3150539" y="190359"/>
                  <a:pt x="3154184" y="199469"/>
                  <a:pt x="3161472" y="201292"/>
                </a:cubicBezTo>
                <a:cubicBezTo>
                  <a:pt x="3171039" y="205391"/>
                  <a:pt x="3183680" y="198216"/>
                  <a:pt x="3192478" y="201291"/>
                </a:cubicBezTo>
                <a:lnTo>
                  <a:pt x="3197916" y="206751"/>
                </a:lnTo>
                <a:lnTo>
                  <a:pt x="3197916" y="208580"/>
                </a:lnTo>
                <a:cubicBezTo>
                  <a:pt x="3194271" y="210403"/>
                  <a:pt x="3196093" y="203114"/>
                  <a:pt x="3192449" y="204936"/>
                </a:cubicBezTo>
                <a:cubicBezTo>
                  <a:pt x="3192449" y="206758"/>
                  <a:pt x="3192449" y="208580"/>
                  <a:pt x="3192449" y="210403"/>
                </a:cubicBezTo>
                <a:cubicBezTo>
                  <a:pt x="3188805" y="212225"/>
                  <a:pt x="3188805" y="210403"/>
                  <a:pt x="3188805" y="206758"/>
                </a:cubicBezTo>
                <a:cubicBezTo>
                  <a:pt x="3182428" y="209491"/>
                  <a:pt x="3183794" y="213136"/>
                  <a:pt x="3186072" y="217919"/>
                </a:cubicBezTo>
                <a:lnTo>
                  <a:pt x="3187182" y="220675"/>
                </a:lnTo>
                <a:lnTo>
                  <a:pt x="3186982" y="221336"/>
                </a:lnTo>
                <a:lnTo>
                  <a:pt x="3187520" y="221515"/>
                </a:lnTo>
                <a:lnTo>
                  <a:pt x="3189318" y="225976"/>
                </a:lnTo>
                <a:cubicBezTo>
                  <a:pt x="3190058" y="228966"/>
                  <a:pt x="3190172" y="232268"/>
                  <a:pt x="3188805" y="235913"/>
                </a:cubicBezTo>
                <a:cubicBezTo>
                  <a:pt x="3185160" y="235913"/>
                  <a:pt x="3185160" y="230446"/>
                  <a:pt x="3181516" y="232269"/>
                </a:cubicBezTo>
                <a:cubicBezTo>
                  <a:pt x="3181516" y="228624"/>
                  <a:pt x="3181516" y="226802"/>
                  <a:pt x="3179694" y="224980"/>
                </a:cubicBezTo>
                <a:cubicBezTo>
                  <a:pt x="3168761" y="246846"/>
                  <a:pt x="3194271" y="250490"/>
                  <a:pt x="3201560" y="261423"/>
                </a:cubicBezTo>
                <a:cubicBezTo>
                  <a:pt x="3203382" y="261423"/>
                  <a:pt x="3208849" y="257779"/>
                  <a:pt x="3210671" y="261423"/>
                </a:cubicBezTo>
                <a:cubicBezTo>
                  <a:pt x="3214315" y="257779"/>
                  <a:pt x="3208849" y="252313"/>
                  <a:pt x="3210671" y="245024"/>
                </a:cubicBezTo>
                <a:cubicBezTo>
                  <a:pt x="3205204" y="246846"/>
                  <a:pt x="3203382" y="248668"/>
                  <a:pt x="3201560" y="241379"/>
                </a:cubicBezTo>
                <a:cubicBezTo>
                  <a:pt x="3199738" y="243202"/>
                  <a:pt x="3196093" y="245024"/>
                  <a:pt x="3196093" y="248668"/>
                </a:cubicBezTo>
                <a:cubicBezTo>
                  <a:pt x="3193360" y="247757"/>
                  <a:pt x="3193360" y="245479"/>
                  <a:pt x="3194271" y="243201"/>
                </a:cubicBezTo>
                <a:lnTo>
                  <a:pt x="3197592" y="238221"/>
                </a:lnTo>
                <a:lnTo>
                  <a:pt x="3203610" y="240924"/>
                </a:lnTo>
                <a:cubicBezTo>
                  <a:pt x="3207027" y="244112"/>
                  <a:pt x="3210671" y="246846"/>
                  <a:pt x="3216137" y="243202"/>
                </a:cubicBezTo>
                <a:cubicBezTo>
                  <a:pt x="3217960" y="243202"/>
                  <a:pt x="3210671" y="237735"/>
                  <a:pt x="3212493" y="237735"/>
                </a:cubicBezTo>
                <a:lnTo>
                  <a:pt x="3223223" y="247724"/>
                </a:lnTo>
                <a:lnTo>
                  <a:pt x="3225704" y="250034"/>
                </a:lnTo>
                <a:cubicBezTo>
                  <a:pt x="3228893" y="257323"/>
                  <a:pt x="3231626" y="265978"/>
                  <a:pt x="3236181" y="270534"/>
                </a:cubicBezTo>
                <a:cubicBezTo>
                  <a:pt x="3232537" y="277823"/>
                  <a:pt x="3225248" y="276001"/>
                  <a:pt x="3219782" y="281467"/>
                </a:cubicBezTo>
                <a:cubicBezTo>
                  <a:pt x="3221604" y="282378"/>
                  <a:pt x="3223882" y="283289"/>
                  <a:pt x="3225704" y="284656"/>
                </a:cubicBezTo>
                <a:lnTo>
                  <a:pt x="3228268" y="289416"/>
                </a:lnTo>
                <a:lnTo>
                  <a:pt x="3224793" y="293083"/>
                </a:lnTo>
                <a:cubicBezTo>
                  <a:pt x="3224793" y="295133"/>
                  <a:pt x="3226160" y="296956"/>
                  <a:pt x="3228893" y="296045"/>
                </a:cubicBezTo>
                <a:lnTo>
                  <a:pt x="3228893" y="290578"/>
                </a:lnTo>
                <a:cubicBezTo>
                  <a:pt x="3230715" y="283289"/>
                  <a:pt x="3238003" y="276001"/>
                  <a:pt x="3236181" y="270534"/>
                </a:cubicBezTo>
                <a:cubicBezTo>
                  <a:pt x="3237092" y="267801"/>
                  <a:pt x="3236637" y="264612"/>
                  <a:pt x="3236865" y="261651"/>
                </a:cubicBezTo>
                <a:lnTo>
                  <a:pt x="3238744" y="258698"/>
                </a:lnTo>
                <a:lnTo>
                  <a:pt x="3243470" y="265068"/>
                </a:lnTo>
                <a:cubicBezTo>
                  <a:pt x="3244381" y="262334"/>
                  <a:pt x="3243470" y="260512"/>
                  <a:pt x="3242331" y="258690"/>
                </a:cubicBezTo>
                <a:lnTo>
                  <a:pt x="3240964" y="255209"/>
                </a:lnTo>
                <a:lnTo>
                  <a:pt x="3241648" y="254135"/>
                </a:lnTo>
                <a:cubicBezTo>
                  <a:pt x="3248937" y="250490"/>
                  <a:pt x="3245292" y="261423"/>
                  <a:pt x="3250759" y="261423"/>
                </a:cubicBezTo>
                <a:cubicBezTo>
                  <a:pt x="3250759" y="255957"/>
                  <a:pt x="3256225" y="252313"/>
                  <a:pt x="3258047" y="254135"/>
                </a:cubicBezTo>
                <a:cubicBezTo>
                  <a:pt x="3259869" y="263246"/>
                  <a:pt x="3270803" y="265068"/>
                  <a:pt x="3278091" y="268712"/>
                </a:cubicBezTo>
                <a:cubicBezTo>
                  <a:pt x="3272625" y="257779"/>
                  <a:pt x="3267158" y="243202"/>
                  <a:pt x="3274447" y="232269"/>
                </a:cubicBezTo>
                <a:cubicBezTo>
                  <a:pt x="3276269" y="237735"/>
                  <a:pt x="3276269" y="241379"/>
                  <a:pt x="3276269" y="246846"/>
                </a:cubicBezTo>
                <a:cubicBezTo>
                  <a:pt x="3278091" y="243202"/>
                  <a:pt x="3278091" y="237735"/>
                  <a:pt x="3279913" y="234091"/>
                </a:cubicBezTo>
                <a:cubicBezTo>
                  <a:pt x="3279913" y="239557"/>
                  <a:pt x="3282647" y="243657"/>
                  <a:pt x="3286519" y="247301"/>
                </a:cubicBezTo>
                <a:lnTo>
                  <a:pt x="3295383" y="254212"/>
                </a:lnTo>
                <a:lnTo>
                  <a:pt x="3294491" y="257779"/>
                </a:lnTo>
                <a:lnTo>
                  <a:pt x="3296886" y="255384"/>
                </a:lnTo>
                <a:lnTo>
                  <a:pt x="3299957" y="257779"/>
                </a:lnTo>
                <a:lnTo>
                  <a:pt x="3299957" y="252312"/>
                </a:lnTo>
                <a:lnTo>
                  <a:pt x="3301780" y="250490"/>
                </a:lnTo>
                <a:lnTo>
                  <a:pt x="3299958" y="250945"/>
                </a:lnTo>
                <a:lnTo>
                  <a:pt x="3299958" y="248668"/>
                </a:lnTo>
                <a:cubicBezTo>
                  <a:pt x="3300869" y="245934"/>
                  <a:pt x="3301780" y="243201"/>
                  <a:pt x="3299957" y="239557"/>
                </a:cubicBezTo>
                <a:cubicBezTo>
                  <a:pt x="3303602" y="239557"/>
                  <a:pt x="3303602" y="245024"/>
                  <a:pt x="3307246" y="246846"/>
                </a:cubicBezTo>
                <a:cubicBezTo>
                  <a:pt x="3309068" y="246846"/>
                  <a:pt x="3307246" y="245024"/>
                  <a:pt x="3309068" y="243202"/>
                </a:cubicBezTo>
                <a:cubicBezTo>
                  <a:pt x="3303602" y="254135"/>
                  <a:pt x="3299957" y="266890"/>
                  <a:pt x="3314535" y="268712"/>
                </a:cubicBezTo>
                <a:cubicBezTo>
                  <a:pt x="3316357" y="268712"/>
                  <a:pt x="3318179" y="268712"/>
                  <a:pt x="3320001" y="265068"/>
                </a:cubicBezTo>
                <a:cubicBezTo>
                  <a:pt x="3320001" y="268712"/>
                  <a:pt x="3316357" y="274179"/>
                  <a:pt x="3318179" y="276001"/>
                </a:cubicBezTo>
                <a:cubicBezTo>
                  <a:pt x="3323646" y="279645"/>
                  <a:pt x="3325468" y="268712"/>
                  <a:pt x="3330934" y="272356"/>
                </a:cubicBezTo>
                <a:cubicBezTo>
                  <a:pt x="3329112" y="270534"/>
                  <a:pt x="3327290" y="266890"/>
                  <a:pt x="3325468" y="265068"/>
                </a:cubicBezTo>
                <a:cubicBezTo>
                  <a:pt x="3325468" y="266890"/>
                  <a:pt x="3323646" y="266890"/>
                  <a:pt x="3323646" y="268712"/>
                </a:cubicBezTo>
                <a:cubicBezTo>
                  <a:pt x="3321824" y="265068"/>
                  <a:pt x="3323646" y="250490"/>
                  <a:pt x="3330934" y="257779"/>
                </a:cubicBezTo>
                <a:cubicBezTo>
                  <a:pt x="3338223" y="265068"/>
                  <a:pt x="3330934" y="279645"/>
                  <a:pt x="3341867" y="286934"/>
                </a:cubicBezTo>
                <a:cubicBezTo>
                  <a:pt x="3336401" y="279645"/>
                  <a:pt x="3347334" y="274179"/>
                  <a:pt x="3345512" y="266890"/>
                </a:cubicBezTo>
                <a:cubicBezTo>
                  <a:pt x="3345512" y="272356"/>
                  <a:pt x="3349156" y="279645"/>
                  <a:pt x="3356445" y="279645"/>
                </a:cubicBezTo>
                <a:lnTo>
                  <a:pt x="3347855" y="286517"/>
                </a:lnTo>
                <a:lnTo>
                  <a:pt x="3347334" y="283289"/>
                </a:lnTo>
                <a:cubicBezTo>
                  <a:pt x="3342779" y="286022"/>
                  <a:pt x="3342323" y="288300"/>
                  <a:pt x="3343007" y="290350"/>
                </a:cubicBezTo>
                <a:lnTo>
                  <a:pt x="3345301" y="295563"/>
                </a:lnTo>
                <a:lnTo>
                  <a:pt x="3344145" y="302878"/>
                </a:lnTo>
                <a:cubicBezTo>
                  <a:pt x="3345056" y="305611"/>
                  <a:pt x="3347334" y="307889"/>
                  <a:pt x="3350978" y="308800"/>
                </a:cubicBezTo>
                <a:lnTo>
                  <a:pt x="3362376" y="310066"/>
                </a:lnTo>
                <a:lnTo>
                  <a:pt x="3363734" y="310622"/>
                </a:lnTo>
                <a:lnTo>
                  <a:pt x="3363594" y="310201"/>
                </a:lnTo>
                <a:lnTo>
                  <a:pt x="3367378" y="310622"/>
                </a:lnTo>
                <a:cubicBezTo>
                  <a:pt x="3363734" y="310622"/>
                  <a:pt x="3360545" y="312444"/>
                  <a:pt x="3358495" y="315177"/>
                </a:cubicBezTo>
                <a:lnTo>
                  <a:pt x="3356771" y="323606"/>
                </a:lnTo>
                <a:lnTo>
                  <a:pt x="3356445" y="323377"/>
                </a:lnTo>
                <a:cubicBezTo>
                  <a:pt x="3354623" y="323377"/>
                  <a:pt x="3352800" y="323377"/>
                  <a:pt x="3354623" y="327022"/>
                </a:cubicBezTo>
                <a:cubicBezTo>
                  <a:pt x="3356445" y="325199"/>
                  <a:pt x="3358267" y="327022"/>
                  <a:pt x="3360089" y="328844"/>
                </a:cubicBezTo>
                <a:cubicBezTo>
                  <a:pt x="3361912" y="327933"/>
                  <a:pt x="3361456" y="327021"/>
                  <a:pt x="3360317" y="326110"/>
                </a:cubicBezTo>
                <a:lnTo>
                  <a:pt x="3357513" y="324131"/>
                </a:lnTo>
                <a:lnTo>
                  <a:pt x="3363734" y="317911"/>
                </a:lnTo>
                <a:cubicBezTo>
                  <a:pt x="3367378" y="325199"/>
                  <a:pt x="3376489" y="323377"/>
                  <a:pt x="3383777" y="319733"/>
                </a:cubicBezTo>
                <a:cubicBezTo>
                  <a:pt x="3396532" y="308800"/>
                  <a:pt x="3381955" y="296045"/>
                  <a:pt x="3381955" y="285112"/>
                </a:cubicBezTo>
                <a:cubicBezTo>
                  <a:pt x="3381955" y="283289"/>
                  <a:pt x="3381955" y="281467"/>
                  <a:pt x="3383777" y="279645"/>
                </a:cubicBezTo>
                <a:cubicBezTo>
                  <a:pt x="3387422" y="285112"/>
                  <a:pt x="3380133" y="296045"/>
                  <a:pt x="3389244" y="294223"/>
                </a:cubicBezTo>
                <a:cubicBezTo>
                  <a:pt x="3394710" y="290578"/>
                  <a:pt x="3394710" y="285112"/>
                  <a:pt x="3394710" y="279645"/>
                </a:cubicBezTo>
                <a:cubicBezTo>
                  <a:pt x="3394710" y="276001"/>
                  <a:pt x="3391066" y="274179"/>
                  <a:pt x="3387422" y="274179"/>
                </a:cubicBezTo>
                <a:cubicBezTo>
                  <a:pt x="3387422" y="274179"/>
                  <a:pt x="3387422" y="276001"/>
                  <a:pt x="3385600" y="277823"/>
                </a:cubicBezTo>
                <a:cubicBezTo>
                  <a:pt x="3385600" y="272356"/>
                  <a:pt x="3381955" y="266890"/>
                  <a:pt x="3374666" y="268712"/>
                </a:cubicBezTo>
                <a:cubicBezTo>
                  <a:pt x="3374666" y="265068"/>
                  <a:pt x="3374666" y="261423"/>
                  <a:pt x="3374666" y="257779"/>
                </a:cubicBezTo>
                <a:cubicBezTo>
                  <a:pt x="3378311" y="259601"/>
                  <a:pt x="3378311" y="263246"/>
                  <a:pt x="3381955" y="261423"/>
                </a:cubicBezTo>
                <a:cubicBezTo>
                  <a:pt x="3378311" y="254135"/>
                  <a:pt x="3367378" y="254135"/>
                  <a:pt x="3369200" y="245024"/>
                </a:cubicBezTo>
                <a:cubicBezTo>
                  <a:pt x="3371022" y="241379"/>
                  <a:pt x="3374666" y="239557"/>
                  <a:pt x="3378311" y="237735"/>
                </a:cubicBezTo>
                <a:cubicBezTo>
                  <a:pt x="3380133" y="237735"/>
                  <a:pt x="3385600" y="237735"/>
                  <a:pt x="3387422" y="239557"/>
                </a:cubicBezTo>
                <a:cubicBezTo>
                  <a:pt x="3383777" y="235913"/>
                  <a:pt x="3383777" y="223158"/>
                  <a:pt x="3391066" y="224980"/>
                </a:cubicBezTo>
                <a:cubicBezTo>
                  <a:pt x="3396532" y="224980"/>
                  <a:pt x="3394710" y="234091"/>
                  <a:pt x="3400177" y="235913"/>
                </a:cubicBezTo>
                <a:cubicBezTo>
                  <a:pt x="3401999" y="230446"/>
                  <a:pt x="3396532" y="226802"/>
                  <a:pt x="3394710" y="223158"/>
                </a:cubicBezTo>
                <a:cubicBezTo>
                  <a:pt x="3400177" y="221336"/>
                  <a:pt x="3405643" y="219513"/>
                  <a:pt x="3407466" y="212225"/>
                </a:cubicBezTo>
                <a:cubicBezTo>
                  <a:pt x="3411110" y="219513"/>
                  <a:pt x="3416577" y="212225"/>
                  <a:pt x="3418399" y="208580"/>
                </a:cubicBezTo>
                <a:cubicBezTo>
                  <a:pt x="3422043" y="204936"/>
                  <a:pt x="3420221" y="199469"/>
                  <a:pt x="3420221" y="195825"/>
                </a:cubicBezTo>
                <a:cubicBezTo>
                  <a:pt x="3418399" y="195825"/>
                  <a:pt x="3416577" y="195825"/>
                  <a:pt x="3414754" y="197647"/>
                </a:cubicBezTo>
                <a:cubicBezTo>
                  <a:pt x="3416577" y="192181"/>
                  <a:pt x="3412932" y="188536"/>
                  <a:pt x="3414754" y="183070"/>
                </a:cubicBezTo>
                <a:cubicBezTo>
                  <a:pt x="3414754" y="186714"/>
                  <a:pt x="3416577" y="188536"/>
                  <a:pt x="3418399" y="188536"/>
                </a:cubicBezTo>
                <a:cubicBezTo>
                  <a:pt x="3422043" y="183070"/>
                  <a:pt x="3420221" y="179426"/>
                  <a:pt x="3420221" y="172137"/>
                </a:cubicBezTo>
                <a:cubicBezTo>
                  <a:pt x="3420221" y="168493"/>
                  <a:pt x="3431154" y="168493"/>
                  <a:pt x="3431154" y="175781"/>
                </a:cubicBezTo>
                <a:cubicBezTo>
                  <a:pt x="3429332" y="173959"/>
                  <a:pt x="3427510" y="173959"/>
                  <a:pt x="3425687" y="175781"/>
                </a:cubicBezTo>
                <a:cubicBezTo>
                  <a:pt x="3425687" y="177603"/>
                  <a:pt x="3425687" y="179426"/>
                  <a:pt x="3425687" y="181248"/>
                </a:cubicBezTo>
                <a:cubicBezTo>
                  <a:pt x="3434798" y="177603"/>
                  <a:pt x="3442087" y="184892"/>
                  <a:pt x="3442087" y="192181"/>
                </a:cubicBezTo>
                <a:cubicBezTo>
                  <a:pt x="3442087" y="192181"/>
                  <a:pt x="3440265" y="192181"/>
                  <a:pt x="3438443" y="194003"/>
                </a:cubicBezTo>
                <a:cubicBezTo>
                  <a:pt x="3432976" y="190359"/>
                  <a:pt x="3434798" y="186714"/>
                  <a:pt x="3431154" y="183070"/>
                </a:cubicBezTo>
                <a:cubicBezTo>
                  <a:pt x="3432976" y="188536"/>
                  <a:pt x="3431154" y="197647"/>
                  <a:pt x="3438443" y="199469"/>
                </a:cubicBezTo>
                <a:cubicBezTo>
                  <a:pt x="3440265" y="199469"/>
                  <a:pt x="3443909" y="194003"/>
                  <a:pt x="3447553" y="197647"/>
                </a:cubicBezTo>
                <a:cubicBezTo>
                  <a:pt x="3445731" y="195825"/>
                  <a:pt x="3443909" y="190359"/>
                  <a:pt x="3443909" y="188536"/>
                </a:cubicBezTo>
                <a:cubicBezTo>
                  <a:pt x="3442087" y="186714"/>
                  <a:pt x="3447553" y="184892"/>
                  <a:pt x="3449376" y="186714"/>
                </a:cubicBezTo>
                <a:cubicBezTo>
                  <a:pt x="3451198" y="190359"/>
                  <a:pt x="3449376" y="195825"/>
                  <a:pt x="3451198" y="197647"/>
                </a:cubicBezTo>
                <a:cubicBezTo>
                  <a:pt x="3454842" y="199469"/>
                  <a:pt x="3454842" y="197647"/>
                  <a:pt x="3456664" y="195825"/>
                </a:cubicBezTo>
                <a:cubicBezTo>
                  <a:pt x="3456664" y="197647"/>
                  <a:pt x="3458487" y="203114"/>
                  <a:pt x="3456664" y="204936"/>
                </a:cubicBezTo>
                <a:cubicBezTo>
                  <a:pt x="3451198" y="214047"/>
                  <a:pt x="3445731" y="230446"/>
                  <a:pt x="3458487" y="234091"/>
                </a:cubicBezTo>
                <a:cubicBezTo>
                  <a:pt x="3458487" y="228624"/>
                  <a:pt x="3458487" y="221336"/>
                  <a:pt x="3460309" y="219513"/>
                </a:cubicBezTo>
                <a:cubicBezTo>
                  <a:pt x="3473064" y="210403"/>
                  <a:pt x="3469419" y="239557"/>
                  <a:pt x="3471242" y="250490"/>
                </a:cubicBezTo>
                <a:cubicBezTo>
                  <a:pt x="3465775" y="246846"/>
                  <a:pt x="3463953" y="254135"/>
                  <a:pt x="3462131" y="254135"/>
                </a:cubicBezTo>
                <a:cubicBezTo>
                  <a:pt x="3456664" y="255957"/>
                  <a:pt x="3453020" y="248668"/>
                  <a:pt x="3449376" y="243202"/>
                </a:cubicBezTo>
                <a:cubicBezTo>
                  <a:pt x="3449376" y="245024"/>
                  <a:pt x="3449376" y="248668"/>
                  <a:pt x="3447553" y="250490"/>
                </a:cubicBezTo>
                <a:cubicBezTo>
                  <a:pt x="3443909" y="246846"/>
                  <a:pt x="3440265" y="245024"/>
                  <a:pt x="3436621" y="248668"/>
                </a:cubicBezTo>
                <a:cubicBezTo>
                  <a:pt x="3432976" y="254135"/>
                  <a:pt x="3429332" y="261423"/>
                  <a:pt x="3425687" y="268712"/>
                </a:cubicBezTo>
                <a:cubicBezTo>
                  <a:pt x="3429332" y="257779"/>
                  <a:pt x="3432976" y="245024"/>
                  <a:pt x="3427510" y="234091"/>
                </a:cubicBezTo>
                <a:cubicBezTo>
                  <a:pt x="3425687" y="235913"/>
                  <a:pt x="3423865" y="235913"/>
                  <a:pt x="3422043" y="235913"/>
                </a:cubicBezTo>
                <a:cubicBezTo>
                  <a:pt x="3423865" y="239557"/>
                  <a:pt x="3423865" y="245024"/>
                  <a:pt x="3425687" y="250490"/>
                </a:cubicBezTo>
                <a:lnTo>
                  <a:pt x="3423826" y="246767"/>
                </a:lnTo>
                <a:lnTo>
                  <a:pt x="3423865" y="245024"/>
                </a:lnTo>
                <a:lnTo>
                  <a:pt x="3423562" y="246238"/>
                </a:lnTo>
                <a:lnTo>
                  <a:pt x="3422043" y="243202"/>
                </a:lnTo>
                <a:lnTo>
                  <a:pt x="3418695" y="250022"/>
                </a:lnTo>
                <a:lnTo>
                  <a:pt x="3417716" y="249351"/>
                </a:lnTo>
                <a:cubicBezTo>
                  <a:pt x="3417032" y="247301"/>
                  <a:pt x="3417488" y="245024"/>
                  <a:pt x="3420221" y="245024"/>
                </a:cubicBezTo>
                <a:cubicBezTo>
                  <a:pt x="3416577" y="243202"/>
                  <a:pt x="3414754" y="259601"/>
                  <a:pt x="3411110" y="261423"/>
                </a:cubicBezTo>
                <a:lnTo>
                  <a:pt x="3412465" y="262713"/>
                </a:lnTo>
                <a:lnTo>
                  <a:pt x="3409744" y="268256"/>
                </a:lnTo>
                <a:lnTo>
                  <a:pt x="3410483" y="283289"/>
                </a:lnTo>
                <a:lnTo>
                  <a:pt x="3409288" y="283289"/>
                </a:lnTo>
                <a:lnTo>
                  <a:pt x="3410606" y="285793"/>
                </a:lnTo>
                <a:lnTo>
                  <a:pt x="3411110" y="296045"/>
                </a:lnTo>
                <a:cubicBezTo>
                  <a:pt x="3407466" y="294223"/>
                  <a:pt x="3405643" y="292400"/>
                  <a:pt x="3405643" y="294223"/>
                </a:cubicBezTo>
                <a:cubicBezTo>
                  <a:pt x="3403821" y="299689"/>
                  <a:pt x="3403821" y="306978"/>
                  <a:pt x="3403821" y="312444"/>
                </a:cubicBezTo>
                <a:cubicBezTo>
                  <a:pt x="3420221" y="316089"/>
                  <a:pt x="3412932" y="312444"/>
                  <a:pt x="3422043" y="325199"/>
                </a:cubicBezTo>
                <a:cubicBezTo>
                  <a:pt x="3422043" y="319733"/>
                  <a:pt x="3411110" y="308800"/>
                  <a:pt x="3412932" y="299689"/>
                </a:cubicBezTo>
                <a:cubicBezTo>
                  <a:pt x="3414754" y="301511"/>
                  <a:pt x="3414754" y="305155"/>
                  <a:pt x="3416577" y="305155"/>
                </a:cubicBezTo>
                <a:cubicBezTo>
                  <a:pt x="3425687" y="306978"/>
                  <a:pt x="3422043" y="292400"/>
                  <a:pt x="3416577" y="290578"/>
                </a:cubicBezTo>
                <a:cubicBezTo>
                  <a:pt x="3413844" y="290578"/>
                  <a:pt x="3412477" y="289211"/>
                  <a:pt x="3411566" y="287617"/>
                </a:cubicBezTo>
                <a:lnTo>
                  <a:pt x="3410606" y="285793"/>
                </a:lnTo>
                <a:lnTo>
                  <a:pt x="3410483" y="283289"/>
                </a:lnTo>
                <a:lnTo>
                  <a:pt x="3423865" y="283289"/>
                </a:lnTo>
                <a:cubicBezTo>
                  <a:pt x="3423865" y="292400"/>
                  <a:pt x="3424776" y="302422"/>
                  <a:pt x="3426827" y="312216"/>
                </a:cubicBezTo>
                <a:lnTo>
                  <a:pt x="3435659" y="337070"/>
                </a:lnTo>
                <a:lnTo>
                  <a:pt x="3429332" y="332488"/>
                </a:lnTo>
                <a:cubicBezTo>
                  <a:pt x="3425687" y="337954"/>
                  <a:pt x="3431154" y="343421"/>
                  <a:pt x="3438443" y="343421"/>
                </a:cubicBezTo>
                <a:lnTo>
                  <a:pt x="3436621" y="338949"/>
                </a:lnTo>
                <a:lnTo>
                  <a:pt x="3436621" y="337954"/>
                </a:lnTo>
                <a:cubicBezTo>
                  <a:pt x="3438443" y="336133"/>
                  <a:pt x="3442087" y="336133"/>
                  <a:pt x="3443909" y="337954"/>
                </a:cubicBezTo>
                <a:cubicBezTo>
                  <a:pt x="3447553" y="341598"/>
                  <a:pt x="3451198" y="348888"/>
                  <a:pt x="3453020" y="345242"/>
                </a:cubicBezTo>
                <a:cubicBezTo>
                  <a:pt x="3454842" y="341598"/>
                  <a:pt x="3449376" y="339777"/>
                  <a:pt x="3451198" y="334310"/>
                </a:cubicBezTo>
                <a:cubicBezTo>
                  <a:pt x="3453020" y="341598"/>
                  <a:pt x="3460309" y="334310"/>
                  <a:pt x="3462131" y="334310"/>
                </a:cubicBezTo>
                <a:lnTo>
                  <a:pt x="3456671" y="329568"/>
                </a:lnTo>
                <a:lnTo>
                  <a:pt x="3457120" y="329299"/>
                </a:lnTo>
                <a:cubicBezTo>
                  <a:pt x="3457120" y="327932"/>
                  <a:pt x="3456664" y="326110"/>
                  <a:pt x="3456664" y="325199"/>
                </a:cubicBezTo>
                <a:cubicBezTo>
                  <a:pt x="3463953" y="330666"/>
                  <a:pt x="3474886" y="334310"/>
                  <a:pt x="3483997" y="339777"/>
                </a:cubicBezTo>
                <a:cubicBezTo>
                  <a:pt x="3482175" y="336133"/>
                  <a:pt x="3480353" y="332488"/>
                  <a:pt x="3482175" y="328844"/>
                </a:cubicBezTo>
                <a:cubicBezTo>
                  <a:pt x="3485819" y="334310"/>
                  <a:pt x="3485819" y="339777"/>
                  <a:pt x="3485819" y="347066"/>
                </a:cubicBezTo>
                <a:cubicBezTo>
                  <a:pt x="3485819" y="341598"/>
                  <a:pt x="3480353" y="343421"/>
                  <a:pt x="3478530" y="345242"/>
                </a:cubicBezTo>
                <a:cubicBezTo>
                  <a:pt x="3478530" y="347066"/>
                  <a:pt x="3476708" y="348888"/>
                  <a:pt x="3476708" y="350710"/>
                </a:cubicBezTo>
                <a:cubicBezTo>
                  <a:pt x="3478530" y="347066"/>
                  <a:pt x="3476708" y="343421"/>
                  <a:pt x="3474886" y="339777"/>
                </a:cubicBezTo>
                <a:cubicBezTo>
                  <a:pt x="3471242" y="343421"/>
                  <a:pt x="3465775" y="343421"/>
                  <a:pt x="3463953" y="332488"/>
                </a:cubicBezTo>
                <a:cubicBezTo>
                  <a:pt x="3463953" y="336133"/>
                  <a:pt x="3462131" y="343421"/>
                  <a:pt x="3456664" y="341598"/>
                </a:cubicBezTo>
                <a:cubicBezTo>
                  <a:pt x="3462131" y="356176"/>
                  <a:pt x="3463953" y="350710"/>
                  <a:pt x="3474886" y="357998"/>
                </a:cubicBezTo>
                <a:cubicBezTo>
                  <a:pt x="3476708" y="356176"/>
                  <a:pt x="3478530" y="354354"/>
                  <a:pt x="3478530" y="350710"/>
                </a:cubicBezTo>
                <a:cubicBezTo>
                  <a:pt x="3476708" y="363465"/>
                  <a:pt x="3485819" y="368932"/>
                  <a:pt x="3500397" y="367109"/>
                </a:cubicBezTo>
                <a:cubicBezTo>
                  <a:pt x="3500397" y="365287"/>
                  <a:pt x="3498574" y="365287"/>
                  <a:pt x="3498574" y="363465"/>
                </a:cubicBezTo>
                <a:cubicBezTo>
                  <a:pt x="3504041" y="361642"/>
                  <a:pt x="3507685" y="367109"/>
                  <a:pt x="3509507" y="372576"/>
                </a:cubicBezTo>
                <a:cubicBezTo>
                  <a:pt x="3516796" y="363465"/>
                  <a:pt x="3509507" y="359821"/>
                  <a:pt x="3507685" y="352532"/>
                </a:cubicBezTo>
                <a:cubicBezTo>
                  <a:pt x="3520440" y="356176"/>
                  <a:pt x="3514974" y="368932"/>
                  <a:pt x="3522263" y="376220"/>
                </a:cubicBezTo>
                <a:cubicBezTo>
                  <a:pt x="3524085" y="378041"/>
                  <a:pt x="3531374" y="376220"/>
                  <a:pt x="3533196" y="374397"/>
                </a:cubicBezTo>
                <a:cubicBezTo>
                  <a:pt x="3535018" y="370754"/>
                  <a:pt x="3531374" y="368932"/>
                  <a:pt x="3529551" y="368932"/>
                </a:cubicBezTo>
                <a:cubicBezTo>
                  <a:pt x="3527729" y="370754"/>
                  <a:pt x="3529551" y="372576"/>
                  <a:pt x="3531374" y="372576"/>
                </a:cubicBezTo>
                <a:cubicBezTo>
                  <a:pt x="3524085" y="374397"/>
                  <a:pt x="3524085" y="367109"/>
                  <a:pt x="3522263" y="363465"/>
                </a:cubicBezTo>
                <a:cubicBezTo>
                  <a:pt x="3524085" y="363465"/>
                  <a:pt x="3525907" y="361642"/>
                  <a:pt x="3525907" y="361642"/>
                </a:cubicBezTo>
                <a:cubicBezTo>
                  <a:pt x="3518618" y="354354"/>
                  <a:pt x="3513152" y="347066"/>
                  <a:pt x="3505863" y="339777"/>
                </a:cubicBezTo>
                <a:cubicBezTo>
                  <a:pt x="3507685" y="347066"/>
                  <a:pt x="3505863" y="352532"/>
                  <a:pt x="3504041" y="357998"/>
                </a:cubicBezTo>
                <a:cubicBezTo>
                  <a:pt x="3500397" y="348888"/>
                  <a:pt x="3498574" y="347066"/>
                  <a:pt x="3498574" y="337954"/>
                </a:cubicBezTo>
                <a:cubicBezTo>
                  <a:pt x="3498574" y="332488"/>
                  <a:pt x="3483997" y="328844"/>
                  <a:pt x="3491286" y="321555"/>
                </a:cubicBezTo>
                <a:cubicBezTo>
                  <a:pt x="3493108" y="321555"/>
                  <a:pt x="3496752" y="319733"/>
                  <a:pt x="3498574" y="319733"/>
                </a:cubicBezTo>
                <a:cubicBezTo>
                  <a:pt x="3498574" y="325199"/>
                  <a:pt x="3502219" y="337954"/>
                  <a:pt x="3509507" y="332488"/>
                </a:cubicBezTo>
                <a:cubicBezTo>
                  <a:pt x="3511330" y="332488"/>
                  <a:pt x="3509507" y="327022"/>
                  <a:pt x="3511330" y="325199"/>
                </a:cubicBezTo>
                <a:cubicBezTo>
                  <a:pt x="3511330" y="328844"/>
                  <a:pt x="3511330" y="330666"/>
                  <a:pt x="3513152" y="332488"/>
                </a:cubicBezTo>
                <a:cubicBezTo>
                  <a:pt x="3513152" y="323377"/>
                  <a:pt x="3524085" y="325199"/>
                  <a:pt x="3529551" y="330666"/>
                </a:cubicBezTo>
                <a:cubicBezTo>
                  <a:pt x="3524085" y="332488"/>
                  <a:pt x="3529551" y="337954"/>
                  <a:pt x="3527729" y="339777"/>
                </a:cubicBezTo>
                <a:cubicBezTo>
                  <a:pt x="3535018" y="343421"/>
                  <a:pt x="3544129" y="339777"/>
                  <a:pt x="3545951" y="347066"/>
                </a:cubicBezTo>
                <a:cubicBezTo>
                  <a:pt x="3545951" y="348888"/>
                  <a:pt x="3544129" y="354354"/>
                  <a:pt x="3540484" y="356176"/>
                </a:cubicBezTo>
                <a:cubicBezTo>
                  <a:pt x="3535018" y="356176"/>
                  <a:pt x="3533196" y="348888"/>
                  <a:pt x="3529551" y="345242"/>
                </a:cubicBezTo>
                <a:cubicBezTo>
                  <a:pt x="3533196" y="354354"/>
                  <a:pt x="3536840" y="365287"/>
                  <a:pt x="3544129" y="365287"/>
                </a:cubicBezTo>
                <a:cubicBezTo>
                  <a:pt x="3555062" y="365287"/>
                  <a:pt x="3565995" y="367109"/>
                  <a:pt x="3573284" y="376220"/>
                </a:cubicBezTo>
                <a:cubicBezTo>
                  <a:pt x="3573284" y="376220"/>
                  <a:pt x="3571461" y="376220"/>
                  <a:pt x="3571461" y="374397"/>
                </a:cubicBezTo>
                <a:cubicBezTo>
                  <a:pt x="3580572" y="379865"/>
                  <a:pt x="3596972" y="379865"/>
                  <a:pt x="3596972" y="394441"/>
                </a:cubicBezTo>
                <a:cubicBezTo>
                  <a:pt x="3598794" y="394441"/>
                  <a:pt x="3600616" y="394441"/>
                  <a:pt x="3602438" y="396264"/>
                </a:cubicBezTo>
                <a:cubicBezTo>
                  <a:pt x="3593327" y="405375"/>
                  <a:pt x="3611549" y="414485"/>
                  <a:pt x="3600616" y="416308"/>
                </a:cubicBezTo>
                <a:cubicBezTo>
                  <a:pt x="3595150" y="418129"/>
                  <a:pt x="3602438" y="407196"/>
                  <a:pt x="3595150" y="409019"/>
                </a:cubicBezTo>
                <a:cubicBezTo>
                  <a:pt x="3595150" y="410841"/>
                  <a:pt x="3596972" y="410841"/>
                  <a:pt x="3596972" y="412664"/>
                </a:cubicBezTo>
                <a:lnTo>
                  <a:pt x="3587861" y="412664"/>
                </a:lnTo>
                <a:cubicBezTo>
                  <a:pt x="3593327" y="409019"/>
                  <a:pt x="3584216" y="407196"/>
                  <a:pt x="3582394" y="403552"/>
                </a:cubicBezTo>
                <a:cubicBezTo>
                  <a:pt x="3580572" y="403552"/>
                  <a:pt x="3580572" y="405375"/>
                  <a:pt x="3578750" y="405375"/>
                </a:cubicBezTo>
                <a:cubicBezTo>
                  <a:pt x="3580572" y="409019"/>
                  <a:pt x="3586039" y="409019"/>
                  <a:pt x="3587861" y="412664"/>
                </a:cubicBezTo>
                <a:lnTo>
                  <a:pt x="3586039" y="412664"/>
                </a:lnTo>
                <a:lnTo>
                  <a:pt x="3587218" y="416522"/>
                </a:lnTo>
                <a:lnTo>
                  <a:pt x="3582394" y="412664"/>
                </a:lnTo>
                <a:cubicBezTo>
                  <a:pt x="3582394" y="414486"/>
                  <a:pt x="3582394" y="416763"/>
                  <a:pt x="3583533" y="418358"/>
                </a:cubicBezTo>
                <a:lnTo>
                  <a:pt x="3588055" y="419262"/>
                </a:lnTo>
                <a:lnTo>
                  <a:pt x="3588544" y="420863"/>
                </a:lnTo>
                <a:lnTo>
                  <a:pt x="3588889" y="423344"/>
                </a:lnTo>
                <a:lnTo>
                  <a:pt x="3582394" y="427240"/>
                </a:lnTo>
                <a:lnTo>
                  <a:pt x="3589430" y="427240"/>
                </a:lnTo>
                <a:lnTo>
                  <a:pt x="3589683" y="429063"/>
                </a:lnTo>
                <a:cubicBezTo>
                  <a:pt x="3591505" y="430886"/>
                  <a:pt x="3596972" y="432707"/>
                  <a:pt x="3598794" y="430886"/>
                </a:cubicBezTo>
                <a:lnTo>
                  <a:pt x="3599421" y="433462"/>
                </a:lnTo>
                <a:lnTo>
                  <a:pt x="3595150" y="434530"/>
                </a:lnTo>
                <a:cubicBezTo>
                  <a:pt x="3593327" y="436351"/>
                  <a:pt x="3591505" y="438174"/>
                  <a:pt x="3591505" y="441819"/>
                </a:cubicBezTo>
                <a:cubicBezTo>
                  <a:pt x="3589683" y="438174"/>
                  <a:pt x="3586039" y="430886"/>
                  <a:pt x="3584216" y="434530"/>
                </a:cubicBezTo>
                <a:cubicBezTo>
                  <a:pt x="3580572" y="438174"/>
                  <a:pt x="3582394" y="445463"/>
                  <a:pt x="3587861" y="449107"/>
                </a:cubicBezTo>
                <a:cubicBezTo>
                  <a:pt x="3586039" y="450928"/>
                  <a:pt x="3586039" y="450928"/>
                  <a:pt x="3584216" y="450928"/>
                </a:cubicBezTo>
                <a:cubicBezTo>
                  <a:pt x="3580572" y="449107"/>
                  <a:pt x="3580572" y="439995"/>
                  <a:pt x="3573284" y="441819"/>
                </a:cubicBezTo>
                <a:cubicBezTo>
                  <a:pt x="3570551" y="442729"/>
                  <a:pt x="3570551" y="439996"/>
                  <a:pt x="3570323" y="436580"/>
                </a:cubicBezTo>
                <a:lnTo>
                  <a:pt x="3567684" y="430886"/>
                </a:lnTo>
                <a:lnTo>
                  <a:pt x="3567817" y="430886"/>
                </a:lnTo>
                <a:cubicBezTo>
                  <a:pt x="3565995" y="429063"/>
                  <a:pt x="3565995" y="429063"/>
                  <a:pt x="3565995" y="427240"/>
                </a:cubicBezTo>
                <a:lnTo>
                  <a:pt x="3567684" y="430886"/>
                </a:lnTo>
                <a:lnTo>
                  <a:pt x="3564173" y="430886"/>
                </a:lnTo>
                <a:cubicBezTo>
                  <a:pt x="3564173" y="421775"/>
                  <a:pt x="3553240" y="425419"/>
                  <a:pt x="3547773" y="423596"/>
                </a:cubicBezTo>
                <a:cubicBezTo>
                  <a:pt x="3547773" y="425419"/>
                  <a:pt x="3547773" y="427240"/>
                  <a:pt x="3549595" y="429063"/>
                </a:cubicBezTo>
                <a:cubicBezTo>
                  <a:pt x="3542306" y="425419"/>
                  <a:pt x="3536840" y="423596"/>
                  <a:pt x="3529551" y="429063"/>
                </a:cubicBezTo>
                <a:cubicBezTo>
                  <a:pt x="3531374" y="434530"/>
                  <a:pt x="3535018" y="434530"/>
                  <a:pt x="3538662" y="436351"/>
                </a:cubicBezTo>
                <a:cubicBezTo>
                  <a:pt x="3536840" y="438174"/>
                  <a:pt x="3536840" y="443640"/>
                  <a:pt x="3536840" y="445463"/>
                </a:cubicBezTo>
                <a:cubicBezTo>
                  <a:pt x="3531374" y="439995"/>
                  <a:pt x="3529551" y="429063"/>
                  <a:pt x="3527729" y="436351"/>
                </a:cubicBezTo>
                <a:cubicBezTo>
                  <a:pt x="3522263" y="449107"/>
                  <a:pt x="3535018" y="467328"/>
                  <a:pt x="3540484" y="481906"/>
                </a:cubicBezTo>
                <a:cubicBezTo>
                  <a:pt x="3555062" y="469150"/>
                  <a:pt x="3571461" y="472795"/>
                  <a:pt x="3591505" y="467328"/>
                </a:cubicBezTo>
                <a:cubicBezTo>
                  <a:pt x="3594239" y="466417"/>
                  <a:pt x="3597883" y="465962"/>
                  <a:pt x="3601072" y="464823"/>
                </a:cubicBezTo>
                <a:lnTo>
                  <a:pt x="3606315" y="459755"/>
                </a:lnTo>
                <a:lnTo>
                  <a:pt x="3607905" y="469150"/>
                </a:lnTo>
                <a:cubicBezTo>
                  <a:pt x="3609727" y="469150"/>
                  <a:pt x="3618838" y="469150"/>
                  <a:pt x="3615193" y="470972"/>
                </a:cubicBezTo>
                <a:cubicBezTo>
                  <a:pt x="3611549" y="470972"/>
                  <a:pt x="3609727" y="470972"/>
                  <a:pt x="3607905" y="470972"/>
                </a:cubicBezTo>
                <a:cubicBezTo>
                  <a:pt x="3604260" y="485550"/>
                  <a:pt x="3576928" y="474618"/>
                  <a:pt x="3569639" y="485550"/>
                </a:cubicBezTo>
                <a:cubicBezTo>
                  <a:pt x="3573284" y="489194"/>
                  <a:pt x="3582394" y="494662"/>
                  <a:pt x="3586039" y="489194"/>
                </a:cubicBezTo>
                <a:cubicBezTo>
                  <a:pt x="3586039" y="491017"/>
                  <a:pt x="3586039" y="492838"/>
                  <a:pt x="3587861" y="492838"/>
                </a:cubicBezTo>
                <a:cubicBezTo>
                  <a:pt x="3591505" y="492838"/>
                  <a:pt x="3586039" y="487373"/>
                  <a:pt x="3591505" y="489194"/>
                </a:cubicBezTo>
                <a:cubicBezTo>
                  <a:pt x="3595150" y="498306"/>
                  <a:pt x="3603349" y="502861"/>
                  <a:pt x="3612460" y="506505"/>
                </a:cubicBezTo>
                <a:lnTo>
                  <a:pt x="3631246" y="514926"/>
                </a:lnTo>
                <a:lnTo>
                  <a:pt x="3631365" y="515389"/>
                </a:lnTo>
                <a:cubicBezTo>
                  <a:pt x="3632504" y="516527"/>
                  <a:pt x="3633415" y="517438"/>
                  <a:pt x="3631593" y="520171"/>
                </a:cubicBezTo>
                <a:lnTo>
                  <a:pt x="3633735" y="516042"/>
                </a:lnTo>
                <a:lnTo>
                  <a:pt x="3638882" y="518349"/>
                </a:lnTo>
                <a:cubicBezTo>
                  <a:pt x="3642526" y="514705"/>
                  <a:pt x="3637060" y="509238"/>
                  <a:pt x="3638882" y="507417"/>
                </a:cubicBezTo>
                <a:cubicBezTo>
                  <a:pt x="3644348" y="509238"/>
                  <a:pt x="3646171" y="505594"/>
                  <a:pt x="3647993" y="501949"/>
                </a:cubicBezTo>
                <a:lnTo>
                  <a:pt x="3647993" y="503771"/>
                </a:lnTo>
                <a:lnTo>
                  <a:pt x="3652336" y="507246"/>
                </a:lnTo>
                <a:lnTo>
                  <a:pt x="3652321" y="507417"/>
                </a:lnTo>
                <a:cubicBezTo>
                  <a:pt x="3653459" y="511517"/>
                  <a:pt x="3656193" y="514705"/>
                  <a:pt x="3660748" y="514705"/>
                </a:cubicBezTo>
                <a:cubicBezTo>
                  <a:pt x="3660748" y="509238"/>
                  <a:pt x="3664392" y="505594"/>
                  <a:pt x="3664392" y="500127"/>
                </a:cubicBezTo>
                <a:cubicBezTo>
                  <a:pt x="3660748" y="500127"/>
                  <a:pt x="3662570" y="505594"/>
                  <a:pt x="3658926" y="503771"/>
                </a:cubicBezTo>
                <a:cubicBezTo>
                  <a:pt x="3660748" y="496483"/>
                  <a:pt x="3657103" y="494662"/>
                  <a:pt x="3655281" y="489194"/>
                </a:cubicBezTo>
                <a:cubicBezTo>
                  <a:pt x="3660748" y="492838"/>
                  <a:pt x="3662570" y="487373"/>
                  <a:pt x="3658926" y="483728"/>
                </a:cubicBezTo>
                <a:cubicBezTo>
                  <a:pt x="3664392" y="485550"/>
                  <a:pt x="3664392" y="492838"/>
                  <a:pt x="3669859" y="494662"/>
                </a:cubicBezTo>
                <a:cubicBezTo>
                  <a:pt x="3680792" y="489194"/>
                  <a:pt x="3682614" y="498306"/>
                  <a:pt x="3682614" y="507417"/>
                </a:cubicBezTo>
                <a:cubicBezTo>
                  <a:pt x="3669859" y="507417"/>
                  <a:pt x="3671681" y="503771"/>
                  <a:pt x="3666214" y="498306"/>
                </a:cubicBezTo>
                <a:cubicBezTo>
                  <a:pt x="3668037" y="505594"/>
                  <a:pt x="3664392" y="507417"/>
                  <a:pt x="3662570" y="511061"/>
                </a:cubicBezTo>
                <a:cubicBezTo>
                  <a:pt x="3666214" y="509238"/>
                  <a:pt x="3664392" y="514705"/>
                  <a:pt x="3668037" y="512882"/>
                </a:cubicBezTo>
                <a:cubicBezTo>
                  <a:pt x="3668037" y="511061"/>
                  <a:pt x="3666214" y="509238"/>
                  <a:pt x="3669859" y="509238"/>
                </a:cubicBezTo>
                <a:cubicBezTo>
                  <a:pt x="3675325" y="511061"/>
                  <a:pt x="3671681" y="520171"/>
                  <a:pt x="3668037" y="520171"/>
                </a:cubicBezTo>
                <a:cubicBezTo>
                  <a:pt x="3669859" y="516527"/>
                  <a:pt x="3668037" y="516527"/>
                  <a:pt x="3664392" y="516527"/>
                </a:cubicBezTo>
                <a:cubicBezTo>
                  <a:pt x="3666214" y="523815"/>
                  <a:pt x="3662570" y="523815"/>
                  <a:pt x="3662570" y="529282"/>
                </a:cubicBezTo>
                <a:cubicBezTo>
                  <a:pt x="3666214" y="527461"/>
                  <a:pt x="3675325" y="536571"/>
                  <a:pt x="3669859" y="536571"/>
                </a:cubicBezTo>
                <a:cubicBezTo>
                  <a:pt x="3666214" y="529282"/>
                  <a:pt x="3655281" y="529282"/>
                  <a:pt x="3646171" y="527461"/>
                </a:cubicBezTo>
                <a:cubicBezTo>
                  <a:pt x="3644348" y="531105"/>
                  <a:pt x="3644348" y="534749"/>
                  <a:pt x="3638882" y="534749"/>
                </a:cubicBezTo>
                <a:cubicBezTo>
                  <a:pt x="3637060" y="531105"/>
                  <a:pt x="3642526" y="527461"/>
                  <a:pt x="3638882" y="525638"/>
                </a:cubicBezTo>
                <a:cubicBezTo>
                  <a:pt x="3637060" y="532926"/>
                  <a:pt x="3631593" y="527461"/>
                  <a:pt x="3627949" y="531105"/>
                </a:cubicBezTo>
                <a:cubicBezTo>
                  <a:pt x="3629771" y="536571"/>
                  <a:pt x="3627949" y="536571"/>
                  <a:pt x="3629771" y="543860"/>
                </a:cubicBezTo>
                <a:cubicBezTo>
                  <a:pt x="3624304" y="543860"/>
                  <a:pt x="3626127" y="536571"/>
                  <a:pt x="3622482" y="534749"/>
                </a:cubicBezTo>
                <a:cubicBezTo>
                  <a:pt x="3622482" y="540215"/>
                  <a:pt x="3631593" y="545681"/>
                  <a:pt x="3624304" y="549326"/>
                </a:cubicBezTo>
                <a:cubicBezTo>
                  <a:pt x="3615193" y="540215"/>
                  <a:pt x="3626127" y="523815"/>
                  <a:pt x="3613371" y="520171"/>
                </a:cubicBezTo>
                <a:cubicBezTo>
                  <a:pt x="3613371" y="516527"/>
                  <a:pt x="3613371" y="514705"/>
                  <a:pt x="3615193" y="512882"/>
                </a:cubicBezTo>
                <a:cubicBezTo>
                  <a:pt x="3606082" y="509238"/>
                  <a:pt x="3595150" y="500127"/>
                  <a:pt x="3587861" y="505594"/>
                </a:cubicBezTo>
                <a:cubicBezTo>
                  <a:pt x="3578750" y="483728"/>
                  <a:pt x="3538662" y="481906"/>
                  <a:pt x="3533196" y="507417"/>
                </a:cubicBezTo>
                <a:cubicBezTo>
                  <a:pt x="3536840" y="505594"/>
                  <a:pt x="3540484" y="509238"/>
                  <a:pt x="3536840" y="511061"/>
                </a:cubicBezTo>
                <a:cubicBezTo>
                  <a:pt x="3535018" y="507417"/>
                  <a:pt x="3531374" y="507417"/>
                  <a:pt x="3527729" y="505594"/>
                </a:cubicBezTo>
                <a:cubicBezTo>
                  <a:pt x="3525907" y="507417"/>
                  <a:pt x="3527729" y="512882"/>
                  <a:pt x="3525907" y="512882"/>
                </a:cubicBezTo>
                <a:cubicBezTo>
                  <a:pt x="3516796" y="509238"/>
                  <a:pt x="3516796" y="518349"/>
                  <a:pt x="3509507" y="527461"/>
                </a:cubicBezTo>
                <a:cubicBezTo>
                  <a:pt x="3502219" y="534749"/>
                  <a:pt x="3493108" y="536571"/>
                  <a:pt x="3493108" y="547504"/>
                </a:cubicBezTo>
                <a:cubicBezTo>
                  <a:pt x="3482175" y="548871"/>
                  <a:pt x="3486617" y="559463"/>
                  <a:pt x="3486446" y="567747"/>
                </a:cubicBezTo>
                <a:lnTo>
                  <a:pt x="3484838" y="572403"/>
                </a:lnTo>
                <a:lnTo>
                  <a:pt x="3485136" y="569598"/>
                </a:lnTo>
                <a:cubicBezTo>
                  <a:pt x="3486275" y="566637"/>
                  <a:pt x="3486731" y="564815"/>
                  <a:pt x="3482175" y="565725"/>
                </a:cubicBezTo>
                <a:cubicBezTo>
                  <a:pt x="3483997" y="578481"/>
                  <a:pt x="3467597" y="574836"/>
                  <a:pt x="3467597" y="589414"/>
                </a:cubicBezTo>
                <a:lnTo>
                  <a:pt x="3478917" y="583126"/>
                </a:lnTo>
                <a:lnTo>
                  <a:pt x="3478075" y="586681"/>
                </a:lnTo>
                <a:cubicBezTo>
                  <a:pt x="3475342" y="591692"/>
                  <a:pt x="3471242" y="595791"/>
                  <a:pt x="3465775" y="598524"/>
                </a:cubicBezTo>
                <a:cubicBezTo>
                  <a:pt x="3473064" y="603991"/>
                  <a:pt x="3474886" y="591236"/>
                  <a:pt x="3482175" y="587591"/>
                </a:cubicBezTo>
                <a:cubicBezTo>
                  <a:pt x="3483997" y="586680"/>
                  <a:pt x="3483542" y="584859"/>
                  <a:pt x="3482859" y="582809"/>
                </a:cubicBezTo>
                <a:lnTo>
                  <a:pt x="3482663" y="581045"/>
                </a:lnTo>
                <a:lnTo>
                  <a:pt x="3483997" y="580303"/>
                </a:lnTo>
                <a:lnTo>
                  <a:pt x="3484470" y="575864"/>
                </a:lnTo>
                <a:lnTo>
                  <a:pt x="3488097" y="574609"/>
                </a:lnTo>
                <a:cubicBezTo>
                  <a:pt x="3489464" y="572559"/>
                  <a:pt x="3490375" y="570281"/>
                  <a:pt x="3491286" y="571192"/>
                </a:cubicBezTo>
                <a:cubicBezTo>
                  <a:pt x="3489463" y="576658"/>
                  <a:pt x="3493108" y="578481"/>
                  <a:pt x="3494930" y="580303"/>
                </a:cubicBezTo>
                <a:cubicBezTo>
                  <a:pt x="3496752" y="576658"/>
                  <a:pt x="3498574" y="573014"/>
                  <a:pt x="3502219" y="573014"/>
                </a:cubicBezTo>
                <a:cubicBezTo>
                  <a:pt x="3505863" y="574836"/>
                  <a:pt x="3504041" y="578481"/>
                  <a:pt x="3509507" y="576658"/>
                </a:cubicBezTo>
                <a:cubicBezTo>
                  <a:pt x="3509507" y="571192"/>
                  <a:pt x="3504041" y="569370"/>
                  <a:pt x="3509507" y="565725"/>
                </a:cubicBezTo>
                <a:cubicBezTo>
                  <a:pt x="3511330" y="567548"/>
                  <a:pt x="3507685" y="573014"/>
                  <a:pt x="3511330" y="573014"/>
                </a:cubicBezTo>
                <a:cubicBezTo>
                  <a:pt x="3513152" y="573014"/>
                  <a:pt x="3513152" y="573014"/>
                  <a:pt x="3514974" y="573014"/>
                </a:cubicBezTo>
                <a:cubicBezTo>
                  <a:pt x="3511330" y="569370"/>
                  <a:pt x="3514974" y="565725"/>
                  <a:pt x="3516796" y="563904"/>
                </a:cubicBezTo>
                <a:cubicBezTo>
                  <a:pt x="3520440" y="563904"/>
                  <a:pt x="3518618" y="573014"/>
                  <a:pt x="3522263" y="573014"/>
                </a:cubicBezTo>
                <a:cubicBezTo>
                  <a:pt x="3525907" y="571192"/>
                  <a:pt x="3527729" y="574836"/>
                  <a:pt x="3531374" y="571192"/>
                </a:cubicBezTo>
                <a:cubicBezTo>
                  <a:pt x="3533196" y="578481"/>
                  <a:pt x="3520440" y="571192"/>
                  <a:pt x="3522263" y="578481"/>
                </a:cubicBezTo>
                <a:cubicBezTo>
                  <a:pt x="3525907" y="582125"/>
                  <a:pt x="3529551" y="578481"/>
                  <a:pt x="3535018" y="580303"/>
                </a:cubicBezTo>
                <a:cubicBezTo>
                  <a:pt x="3535018" y="573014"/>
                  <a:pt x="3538662" y="573014"/>
                  <a:pt x="3536840" y="565725"/>
                </a:cubicBezTo>
                <a:cubicBezTo>
                  <a:pt x="3541396" y="567548"/>
                  <a:pt x="3542307" y="571192"/>
                  <a:pt x="3542535" y="575520"/>
                </a:cubicBezTo>
                <a:lnTo>
                  <a:pt x="3543238" y="581647"/>
                </a:lnTo>
                <a:lnTo>
                  <a:pt x="3541851" y="583264"/>
                </a:lnTo>
                <a:lnTo>
                  <a:pt x="3543750" y="586113"/>
                </a:lnTo>
                <a:lnTo>
                  <a:pt x="3544129" y="589414"/>
                </a:lnTo>
                <a:lnTo>
                  <a:pt x="3545496" y="588731"/>
                </a:lnTo>
                <a:lnTo>
                  <a:pt x="3545951" y="589414"/>
                </a:lnTo>
                <a:lnTo>
                  <a:pt x="3546047" y="588455"/>
                </a:lnTo>
                <a:lnTo>
                  <a:pt x="3547773" y="587591"/>
                </a:lnTo>
                <a:cubicBezTo>
                  <a:pt x="3545951" y="593058"/>
                  <a:pt x="3549595" y="594880"/>
                  <a:pt x="3549595" y="598524"/>
                </a:cubicBezTo>
                <a:cubicBezTo>
                  <a:pt x="3545951" y="598524"/>
                  <a:pt x="3542306" y="594880"/>
                  <a:pt x="3540484" y="596702"/>
                </a:cubicBezTo>
                <a:cubicBezTo>
                  <a:pt x="3544129" y="600347"/>
                  <a:pt x="3544129" y="605813"/>
                  <a:pt x="3549595" y="607635"/>
                </a:cubicBezTo>
                <a:cubicBezTo>
                  <a:pt x="3547773" y="603991"/>
                  <a:pt x="3549595" y="600347"/>
                  <a:pt x="3551417" y="598524"/>
                </a:cubicBezTo>
                <a:cubicBezTo>
                  <a:pt x="3549595" y="603991"/>
                  <a:pt x="3553240" y="607635"/>
                  <a:pt x="3558706" y="605813"/>
                </a:cubicBezTo>
                <a:cubicBezTo>
                  <a:pt x="3558706" y="611280"/>
                  <a:pt x="3564173" y="614924"/>
                  <a:pt x="3567817" y="616746"/>
                </a:cubicBezTo>
                <a:cubicBezTo>
                  <a:pt x="3564173" y="616746"/>
                  <a:pt x="3565995" y="618568"/>
                  <a:pt x="3565995" y="624035"/>
                </a:cubicBezTo>
                <a:cubicBezTo>
                  <a:pt x="3560528" y="625857"/>
                  <a:pt x="3565995" y="618568"/>
                  <a:pt x="3560528" y="620391"/>
                </a:cubicBezTo>
                <a:cubicBezTo>
                  <a:pt x="3556884" y="622213"/>
                  <a:pt x="3562350" y="625857"/>
                  <a:pt x="3560528" y="631324"/>
                </a:cubicBezTo>
                <a:cubicBezTo>
                  <a:pt x="3556884" y="633146"/>
                  <a:pt x="3555062" y="636790"/>
                  <a:pt x="3553240" y="640435"/>
                </a:cubicBezTo>
                <a:cubicBezTo>
                  <a:pt x="3560528" y="644079"/>
                  <a:pt x="3569639" y="647723"/>
                  <a:pt x="3578750" y="649545"/>
                </a:cubicBezTo>
                <a:cubicBezTo>
                  <a:pt x="3573284" y="645901"/>
                  <a:pt x="3564173" y="644079"/>
                  <a:pt x="3553240" y="642257"/>
                </a:cubicBezTo>
                <a:cubicBezTo>
                  <a:pt x="3555062" y="649545"/>
                  <a:pt x="3565995" y="651368"/>
                  <a:pt x="3565995" y="660478"/>
                </a:cubicBezTo>
                <a:cubicBezTo>
                  <a:pt x="3567817" y="660478"/>
                  <a:pt x="3567817" y="658656"/>
                  <a:pt x="3569639" y="658656"/>
                </a:cubicBezTo>
                <a:cubicBezTo>
                  <a:pt x="3571461" y="653190"/>
                  <a:pt x="3565995" y="655012"/>
                  <a:pt x="3567817" y="651368"/>
                </a:cubicBezTo>
                <a:cubicBezTo>
                  <a:pt x="3573284" y="649545"/>
                  <a:pt x="3573284" y="653190"/>
                  <a:pt x="3573284" y="658656"/>
                </a:cubicBezTo>
                <a:cubicBezTo>
                  <a:pt x="3580572" y="658656"/>
                  <a:pt x="3576928" y="655012"/>
                  <a:pt x="3578750" y="649545"/>
                </a:cubicBezTo>
                <a:cubicBezTo>
                  <a:pt x="3580572" y="647723"/>
                  <a:pt x="3576928" y="642257"/>
                  <a:pt x="3580572" y="642257"/>
                </a:cubicBezTo>
                <a:cubicBezTo>
                  <a:pt x="3580572" y="645901"/>
                  <a:pt x="3580572" y="647723"/>
                  <a:pt x="3582394" y="649545"/>
                </a:cubicBezTo>
                <a:cubicBezTo>
                  <a:pt x="3587861" y="646812"/>
                  <a:pt x="3592416" y="650001"/>
                  <a:pt x="3596972" y="654101"/>
                </a:cubicBezTo>
                <a:lnTo>
                  <a:pt x="3609307" y="662582"/>
                </a:lnTo>
                <a:lnTo>
                  <a:pt x="3607905" y="662301"/>
                </a:lnTo>
                <a:cubicBezTo>
                  <a:pt x="3609727" y="667767"/>
                  <a:pt x="3611549" y="669589"/>
                  <a:pt x="3615193" y="669589"/>
                </a:cubicBezTo>
                <a:cubicBezTo>
                  <a:pt x="3615193" y="665945"/>
                  <a:pt x="3618838" y="667767"/>
                  <a:pt x="3617016" y="664123"/>
                </a:cubicBezTo>
                <a:lnTo>
                  <a:pt x="3612460" y="663212"/>
                </a:lnTo>
                <a:lnTo>
                  <a:pt x="3613371" y="662301"/>
                </a:lnTo>
                <a:cubicBezTo>
                  <a:pt x="3613371" y="656834"/>
                  <a:pt x="3609727" y="653190"/>
                  <a:pt x="3615193" y="651368"/>
                </a:cubicBezTo>
                <a:cubicBezTo>
                  <a:pt x="3615193" y="649545"/>
                  <a:pt x="3615193" y="645901"/>
                  <a:pt x="3613371" y="645901"/>
                </a:cubicBezTo>
                <a:cubicBezTo>
                  <a:pt x="3604260" y="645901"/>
                  <a:pt x="3602438" y="644079"/>
                  <a:pt x="3596972" y="647723"/>
                </a:cubicBezTo>
                <a:cubicBezTo>
                  <a:pt x="3593327" y="640435"/>
                  <a:pt x="3593327" y="644079"/>
                  <a:pt x="3593327" y="636790"/>
                </a:cubicBezTo>
                <a:cubicBezTo>
                  <a:pt x="3598794" y="636790"/>
                  <a:pt x="3598794" y="642257"/>
                  <a:pt x="3602438" y="638612"/>
                </a:cubicBezTo>
                <a:cubicBezTo>
                  <a:pt x="3600616" y="636790"/>
                  <a:pt x="3598794" y="633146"/>
                  <a:pt x="3602438" y="633146"/>
                </a:cubicBezTo>
                <a:cubicBezTo>
                  <a:pt x="3604260" y="636790"/>
                  <a:pt x="3602438" y="644079"/>
                  <a:pt x="3606082" y="644079"/>
                </a:cubicBezTo>
                <a:cubicBezTo>
                  <a:pt x="3609727" y="642257"/>
                  <a:pt x="3622482" y="644079"/>
                  <a:pt x="3626127" y="651368"/>
                </a:cubicBezTo>
                <a:cubicBezTo>
                  <a:pt x="3624304" y="653190"/>
                  <a:pt x="3617016" y="649545"/>
                  <a:pt x="3617016" y="653190"/>
                </a:cubicBezTo>
                <a:cubicBezTo>
                  <a:pt x="3615193" y="658656"/>
                  <a:pt x="3622482" y="664123"/>
                  <a:pt x="3629771" y="665945"/>
                </a:cubicBezTo>
                <a:cubicBezTo>
                  <a:pt x="3631593" y="662301"/>
                  <a:pt x="3627949" y="658656"/>
                  <a:pt x="3627949" y="653190"/>
                </a:cubicBezTo>
                <a:cubicBezTo>
                  <a:pt x="3627949" y="653190"/>
                  <a:pt x="3629771" y="653190"/>
                  <a:pt x="3629771" y="651368"/>
                </a:cubicBezTo>
                <a:cubicBezTo>
                  <a:pt x="3635237" y="653190"/>
                  <a:pt x="3638882" y="656834"/>
                  <a:pt x="3642526" y="660478"/>
                </a:cubicBezTo>
                <a:cubicBezTo>
                  <a:pt x="3640704" y="660478"/>
                  <a:pt x="3640704" y="658656"/>
                  <a:pt x="3638882" y="658656"/>
                </a:cubicBezTo>
                <a:cubicBezTo>
                  <a:pt x="3635237" y="662301"/>
                  <a:pt x="3638882" y="664123"/>
                  <a:pt x="3640704" y="665945"/>
                </a:cubicBezTo>
                <a:cubicBezTo>
                  <a:pt x="3638882" y="667767"/>
                  <a:pt x="3633415" y="665945"/>
                  <a:pt x="3633415" y="667767"/>
                </a:cubicBezTo>
                <a:cubicBezTo>
                  <a:pt x="3631593" y="669589"/>
                  <a:pt x="3635237" y="675056"/>
                  <a:pt x="3637060" y="676878"/>
                </a:cubicBezTo>
                <a:cubicBezTo>
                  <a:pt x="3642527" y="678701"/>
                  <a:pt x="3648449" y="678701"/>
                  <a:pt x="3654143" y="679156"/>
                </a:cubicBezTo>
                <a:lnTo>
                  <a:pt x="3655044" y="679443"/>
                </a:lnTo>
                <a:lnTo>
                  <a:pt x="3646171" y="680522"/>
                </a:lnTo>
                <a:cubicBezTo>
                  <a:pt x="3638882" y="684167"/>
                  <a:pt x="3629771" y="667767"/>
                  <a:pt x="3620660" y="671411"/>
                </a:cubicBezTo>
                <a:cubicBezTo>
                  <a:pt x="3615193" y="673234"/>
                  <a:pt x="3627949" y="675056"/>
                  <a:pt x="3624304" y="684167"/>
                </a:cubicBezTo>
                <a:cubicBezTo>
                  <a:pt x="3632504" y="685078"/>
                  <a:pt x="3642982" y="687812"/>
                  <a:pt x="3652776" y="689178"/>
                </a:cubicBezTo>
                <a:lnTo>
                  <a:pt x="3669775" y="686954"/>
                </a:lnTo>
                <a:lnTo>
                  <a:pt x="3669631" y="691684"/>
                </a:lnTo>
                <a:cubicBezTo>
                  <a:pt x="3668492" y="694189"/>
                  <a:pt x="3667126" y="696922"/>
                  <a:pt x="3668037" y="700566"/>
                </a:cubicBezTo>
                <a:cubicBezTo>
                  <a:pt x="3655281" y="698744"/>
                  <a:pt x="3644348" y="696922"/>
                  <a:pt x="3631593" y="693278"/>
                </a:cubicBezTo>
                <a:cubicBezTo>
                  <a:pt x="3626127" y="691455"/>
                  <a:pt x="3618838" y="693278"/>
                  <a:pt x="3611549" y="695100"/>
                </a:cubicBezTo>
                <a:cubicBezTo>
                  <a:pt x="3611549" y="689633"/>
                  <a:pt x="3604260" y="691455"/>
                  <a:pt x="3600616" y="691455"/>
                </a:cubicBezTo>
                <a:cubicBezTo>
                  <a:pt x="3602438" y="698744"/>
                  <a:pt x="3604260" y="702388"/>
                  <a:pt x="3602438" y="709677"/>
                </a:cubicBezTo>
                <a:cubicBezTo>
                  <a:pt x="3598794" y="707855"/>
                  <a:pt x="3595150" y="704211"/>
                  <a:pt x="3593327" y="702388"/>
                </a:cubicBezTo>
                <a:cubicBezTo>
                  <a:pt x="3596972" y="700566"/>
                  <a:pt x="3600616" y="696922"/>
                  <a:pt x="3598794" y="695100"/>
                </a:cubicBezTo>
                <a:cubicBezTo>
                  <a:pt x="3591505" y="689633"/>
                  <a:pt x="3589683" y="695100"/>
                  <a:pt x="3582394" y="687811"/>
                </a:cubicBezTo>
                <a:lnTo>
                  <a:pt x="3584278" y="691578"/>
                </a:lnTo>
                <a:lnTo>
                  <a:pt x="3579491" y="686958"/>
                </a:lnTo>
                <a:cubicBezTo>
                  <a:pt x="3570095" y="682687"/>
                  <a:pt x="3555062" y="685078"/>
                  <a:pt x="3560528" y="698744"/>
                </a:cubicBezTo>
                <a:cubicBezTo>
                  <a:pt x="3560528" y="700566"/>
                  <a:pt x="3556884" y="698744"/>
                  <a:pt x="3556884" y="700566"/>
                </a:cubicBezTo>
                <a:cubicBezTo>
                  <a:pt x="3558706" y="711499"/>
                  <a:pt x="3555062" y="716966"/>
                  <a:pt x="3560528" y="724254"/>
                </a:cubicBezTo>
                <a:cubicBezTo>
                  <a:pt x="3565084" y="723344"/>
                  <a:pt x="3571006" y="722888"/>
                  <a:pt x="3576700" y="722432"/>
                </a:cubicBezTo>
                <a:lnTo>
                  <a:pt x="3587646" y="721085"/>
                </a:lnTo>
                <a:lnTo>
                  <a:pt x="3587861" y="722432"/>
                </a:lnTo>
                <a:cubicBezTo>
                  <a:pt x="3598794" y="722432"/>
                  <a:pt x="3609727" y="718788"/>
                  <a:pt x="3620660" y="718788"/>
                </a:cubicBezTo>
                <a:cubicBezTo>
                  <a:pt x="3618838" y="720610"/>
                  <a:pt x="3615193" y="720610"/>
                  <a:pt x="3613371" y="722432"/>
                </a:cubicBezTo>
                <a:cubicBezTo>
                  <a:pt x="3617016" y="722432"/>
                  <a:pt x="3620660" y="722432"/>
                  <a:pt x="3624304" y="724254"/>
                </a:cubicBezTo>
                <a:cubicBezTo>
                  <a:pt x="3617927" y="725166"/>
                  <a:pt x="3611549" y="724255"/>
                  <a:pt x="3605172" y="724027"/>
                </a:cubicBezTo>
                <a:lnTo>
                  <a:pt x="3586476" y="727811"/>
                </a:lnTo>
                <a:lnTo>
                  <a:pt x="3578522" y="727671"/>
                </a:lnTo>
                <a:cubicBezTo>
                  <a:pt x="3574194" y="726988"/>
                  <a:pt x="3570550" y="726988"/>
                  <a:pt x="3569639" y="731543"/>
                </a:cubicBezTo>
                <a:lnTo>
                  <a:pt x="3587406" y="728583"/>
                </a:lnTo>
                <a:lnTo>
                  <a:pt x="3593327" y="731543"/>
                </a:lnTo>
                <a:cubicBezTo>
                  <a:pt x="3578750" y="735188"/>
                  <a:pt x="3564173" y="742476"/>
                  <a:pt x="3549595" y="737010"/>
                </a:cubicBezTo>
                <a:cubicBezTo>
                  <a:pt x="3549595" y="738832"/>
                  <a:pt x="3549595" y="740654"/>
                  <a:pt x="3551417" y="742476"/>
                </a:cubicBezTo>
                <a:cubicBezTo>
                  <a:pt x="3547773" y="740654"/>
                  <a:pt x="3542306" y="737010"/>
                  <a:pt x="3538662" y="738832"/>
                </a:cubicBezTo>
                <a:cubicBezTo>
                  <a:pt x="3536840" y="740654"/>
                  <a:pt x="3538662" y="744298"/>
                  <a:pt x="3535018" y="746121"/>
                </a:cubicBezTo>
                <a:cubicBezTo>
                  <a:pt x="3535018" y="737010"/>
                  <a:pt x="3529551" y="735188"/>
                  <a:pt x="3522263" y="735188"/>
                </a:cubicBezTo>
                <a:cubicBezTo>
                  <a:pt x="3524085" y="749765"/>
                  <a:pt x="3531374" y="775275"/>
                  <a:pt x="3545951" y="780742"/>
                </a:cubicBezTo>
                <a:cubicBezTo>
                  <a:pt x="3545951" y="778920"/>
                  <a:pt x="3540484" y="777098"/>
                  <a:pt x="3544129" y="773453"/>
                </a:cubicBezTo>
                <a:cubicBezTo>
                  <a:pt x="3545951" y="773453"/>
                  <a:pt x="3547773" y="775275"/>
                  <a:pt x="3549595" y="775275"/>
                </a:cubicBezTo>
                <a:cubicBezTo>
                  <a:pt x="3553240" y="773453"/>
                  <a:pt x="3547773" y="769809"/>
                  <a:pt x="3545951" y="769809"/>
                </a:cubicBezTo>
                <a:cubicBezTo>
                  <a:pt x="3545951" y="769809"/>
                  <a:pt x="3545951" y="769809"/>
                  <a:pt x="3547773" y="771631"/>
                </a:cubicBezTo>
                <a:cubicBezTo>
                  <a:pt x="3542306" y="775275"/>
                  <a:pt x="3540484" y="767987"/>
                  <a:pt x="3536840" y="767987"/>
                </a:cubicBezTo>
                <a:cubicBezTo>
                  <a:pt x="3542306" y="760698"/>
                  <a:pt x="3553240" y="766164"/>
                  <a:pt x="3562350" y="762520"/>
                </a:cubicBezTo>
                <a:cubicBezTo>
                  <a:pt x="3562350" y="762520"/>
                  <a:pt x="3562350" y="758876"/>
                  <a:pt x="3562350" y="757054"/>
                </a:cubicBezTo>
                <a:cubicBezTo>
                  <a:pt x="3565995" y="757054"/>
                  <a:pt x="3567817" y="760698"/>
                  <a:pt x="3569639" y="764342"/>
                </a:cubicBezTo>
                <a:cubicBezTo>
                  <a:pt x="3565995" y="766164"/>
                  <a:pt x="3562350" y="769809"/>
                  <a:pt x="3556884" y="767987"/>
                </a:cubicBezTo>
                <a:cubicBezTo>
                  <a:pt x="3562350" y="769809"/>
                  <a:pt x="3567817" y="771631"/>
                  <a:pt x="3567817" y="778920"/>
                </a:cubicBezTo>
                <a:cubicBezTo>
                  <a:pt x="3565995" y="775275"/>
                  <a:pt x="3565995" y="780742"/>
                  <a:pt x="3564173" y="780742"/>
                </a:cubicBezTo>
                <a:cubicBezTo>
                  <a:pt x="3567817" y="784386"/>
                  <a:pt x="3567817" y="789853"/>
                  <a:pt x="3575106" y="789853"/>
                </a:cubicBezTo>
                <a:cubicBezTo>
                  <a:pt x="3575106" y="788031"/>
                  <a:pt x="3575106" y="784386"/>
                  <a:pt x="3576928" y="784386"/>
                </a:cubicBezTo>
                <a:cubicBezTo>
                  <a:pt x="3586039" y="784386"/>
                  <a:pt x="3582394" y="795319"/>
                  <a:pt x="3587861" y="798964"/>
                </a:cubicBezTo>
                <a:cubicBezTo>
                  <a:pt x="3580572" y="802608"/>
                  <a:pt x="3576928" y="791675"/>
                  <a:pt x="3569639" y="793497"/>
                </a:cubicBezTo>
                <a:cubicBezTo>
                  <a:pt x="3571461" y="795319"/>
                  <a:pt x="3573284" y="798964"/>
                  <a:pt x="3571461" y="800786"/>
                </a:cubicBezTo>
                <a:cubicBezTo>
                  <a:pt x="3567817" y="795319"/>
                  <a:pt x="3562350" y="797141"/>
                  <a:pt x="3555062" y="798964"/>
                </a:cubicBezTo>
                <a:cubicBezTo>
                  <a:pt x="3553240" y="798964"/>
                  <a:pt x="3553240" y="804430"/>
                  <a:pt x="3555062" y="808074"/>
                </a:cubicBezTo>
                <a:cubicBezTo>
                  <a:pt x="3556884" y="804430"/>
                  <a:pt x="3562350" y="804430"/>
                  <a:pt x="3564173" y="802608"/>
                </a:cubicBezTo>
                <a:cubicBezTo>
                  <a:pt x="3565995" y="808074"/>
                  <a:pt x="3556884" y="806252"/>
                  <a:pt x="3558706" y="811719"/>
                </a:cubicBezTo>
                <a:cubicBezTo>
                  <a:pt x="3571461" y="804430"/>
                  <a:pt x="3586039" y="811719"/>
                  <a:pt x="3600616" y="809897"/>
                </a:cubicBezTo>
                <a:cubicBezTo>
                  <a:pt x="3602438" y="809897"/>
                  <a:pt x="3606082" y="808074"/>
                  <a:pt x="3607905" y="806252"/>
                </a:cubicBezTo>
                <a:cubicBezTo>
                  <a:pt x="3607905" y="804430"/>
                  <a:pt x="3602438" y="804430"/>
                  <a:pt x="3602438" y="802608"/>
                </a:cubicBezTo>
                <a:cubicBezTo>
                  <a:pt x="3606082" y="797141"/>
                  <a:pt x="3607905" y="809897"/>
                  <a:pt x="3609727" y="804430"/>
                </a:cubicBezTo>
                <a:cubicBezTo>
                  <a:pt x="3611549" y="797141"/>
                  <a:pt x="3609727" y="798964"/>
                  <a:pt x="3602438" y="795319"/>
                </a:cubicBezTo>
                <a:cubicBezTo>
                  <a:pt x="3606082" y="795319"/>
                  <a:pt x="3607905" y="797141"/>
                  <a:pt x="3609727" y="795319"/>
                </a:cubicBezTo>
                <a:cubicBezTo>
                  <a:pt x="3609727" y="793497"/>
                  <a:pt x="3609727" y="791675"/>
                  <a:pt x="3609727" y="789853"/>
                </a:cubicBezTo>
                <a:cubicBezTo>
                  <a:pt x="3615193" y="791675"/>
                  <a:pt x="3620660" y="793497"/>
                  <a:pt x="3626127" y="791675"/>
                </a:cubicBezTo>
                <a:cubicBezTo>
                  <a:pt x="3627949" y="791675"/>
                  <a:pt x="3622482" y="786208"/>
                  <a:pt x="3626127" y="784386"/>
                </a:cubicBezTo>
                <a:cubicBezTo>
                  <a:pt x="3626127" y="786208"/>
                  <a:pt x="3627949" y="788031"/>
                  <a:pt x="3629771" y="786208"/>
                </a:cubicBezTo>
                <a:cubicBezTo>
                  <a:pt x="3629771" y="784386"/>
                  <a:pt x="3629771" y="782564"/>
                  <a:pt x="3627949" y="780742"/>
                </a:cubicBezTo>
                <a:lnTo>
                  <a:pt x="3638882" y="780742"/>
                </a:lnTo>
                <a:cubicBezTo>
                  <a:pt x="3638882" y="791675"/>
                  <a:pt x="3651637" y="793497"/>
                  <a:pt x="3658926" y="793497"/>
                </a:cubicBezTo>
                <a:cubicBezTo>
                  <a:pt x="3654371" y="794408"/>
                  <a:pt x="3649360" y="795319"/>
                  <a:pt x="3645715" y="797142"/>
                </a:cubicBezTo>
                <a:lnTo>
                  <a:pt x="3645375" y="797761"/>
                </a:lnTo>
                <a:lnTo>
                  <a:pt x="3645032" y="796458"/>
                </a:lnTo>
                <a:cubicBezTo>
                  <a:pt x="3643893" y="795775"/>
                  <a:pt x="3642526" y="795319"/>
                  <a:pt x="3642526" y="793497"/>
                </a:cubicBezTo>
                <a:cubicBezTo>
                  <a:pt x="3638882" y="795319"/>
                  <a:pt x="3640704" y="798964"/>
                  <a:pt x="3640704" y="802608"/>
                </a:cubicBezTo>
                <a:lnTo>
                  <a:pt x="3643158" y="801791"/>
                </a:lnTo>
                <a:lnTo>
                  <a:pt x="3640704" y="806252"/>
                </a:lnTo>
                <a:lnTo>
                  <a:pt x="3636600" y="801977"/>
                </a:lnTo>
                <a:lnTo>
                  <a:pt x="3638882" y="800786"/>
                </a:lnTo>
                <a:lnTo>
                  <a:pt x="3635456" y="800786"/>
                </a:lnTo>
                <a:lnTo>
                  <a:pt x="3635238" y="800559"/>
                </a:lnTo>
                <a:lnTo>
                  <a:pt x="3634916" y="800786"/>
                </a:lnTo>
                <a:lnTo>
                  <a:pt x="3629771" y="800786"/>
                </a:lnTo>
                <a:lnTo>
                  <a:pt x="3632348" y="802605"/>
                </a:lnTo>
                <a:lnTo>
                  <a:pt x="3629771" y="804430"/>
                </a:lnTo>
                <a:cubicBezTo>
                  <a:pt x="3633415" y="819008"/>
                  <a:pt x="3622482" y="822652"/>
                  <a:pt x="3609727" y="820830"/>
                </a:cubicBezTo>
                <a:cubicBezTo>
                  <a:pt x="3607905" y="819008"/>
                  <a:pt x="3604260" y="815363"/>
                  <a:pt x="3606082" y="813541"/>
                </a:cubicBezTo>
                <a:cubicBezTo>
                  <a:pt x="3607905" y="811719"/>
                  <a:pt x="3611549" y="817185"/>
                  <a:pt x="3613371" y="813541"/>
                </a:cubicBezTo>
                <a:cubicBezTo>
                  <a:pt x="3609727" y="811719"/>
                  <a:pt x="3604260" y="808074"/>
                  <a:pt x="3602438" y="813541"/>
                </a:cubicBezTo>
                <a:cubicBezTo>
                  <a:pt x="3600616" y="819008"/>
                  <a:pt x="3609727" y="822652"/>
                  <a:pt x="3607905" y="829941"/>
                </a:cubicBezTo>
                <a:lnTo>
                  <a:pt x="3589609" y="821239"/>
                </a:lnTo>
                <a:lnTo>
                  <a:pt x="3598794" y="822652"/>
                </a:lnTo>
                <a:cubicBezTo>
                  <a:pt x="3593327" y="817185"/>
                  <a:pt x="3578750" y="811719"/>
                  <a:pt x="3575106" y="819008"/>
                </a:cubicBezTo>
                <a:lnTo>
                  <a:pt x="3587118" y="820856"/>
                </a:lnTo>
                <a:lnTo>
                  <a:pt x="3567817" y="819008"/>
                </a:lnTo>
                <a:cubicBezTo>
                  <a:pt x="3580572" y="824474"/>
                  <a:pt x="3591505" y="831763"/>
                  <a:pt x="3602438" y="839051"/>
                </a:cubicBezTo>
                <a:cubicBezTo>
                  <a:pt x="3586039" y="837229"/>
                  <a:pt x="3576928" y="824474"/>
                  <a:pt x="3560528" y="822652"/>
                </a:cubicBezTo>
                <a:cubicBezTo>
                  <a:pt x="3562350" y="826296"/>
                  <a:pt x="3558706" y="826296"/>
                  <a:pt x="3556884" y="826296"/>
                </a:cubicBezTo>
                <a:cubicBezTo>
                  <a:pt x="3550507" y="823563"/>
                  <a:pt x="3544129" y="821285"/>
                  <a:pt x="3537752" y="819919"/>
                </a:cubicBezTo>
                <a:lnTo>
                  <a:pt x="3534115" y="819746"/>
                </a:lnTo>
                <a:lnTo>
                  <a:pt x="3535018" y="817185"/>
                </a:lnTo>
                <a:cubicBezTo>
                  <a:pt x="3533196" y="819008"/>
                  <a:pt x="3533196" y="817185"/>
                  <a:pt x="3529551" y="817185"/>
                </a:cubicBezTo>
                <a:lnTo>
                  <a:pt x="3529551" y="819528"/>
                </a:lnTo>
                <a:lnTo>
                  <a:pt x="3518618" y="819008"/>
                </a:lnTo>
                <a:cubicBezTo>
                  <a:pt x="3520440" y="824474"/>
                  <a:pt x="3514974" y="824474"/>
                  <a:pt x="3509507" y="826296"/>
                </a:cubicBezTo>
                <a:cubicBezTo>
                  <a:pt x="3507685" y="815363"/>
                  <a:pt x="3498574" y="813541"/>
                  <a:pt x="3489463" y="811719"/>
                </a:cubicBezTo>
                <a:cubicBezTo>
                  <a:pt x="3489463" y="811719"/>
                  <a:pt x="3487641" y="813541"/>
                  <a:pt x="3487641" y="815363"/>
                </a:cubicBezTo>
                <a:lnTo>
                  <a:pt x="3488330" y="818118"/>
                </a:lnTo>
                <a:lnTo>
                  <a:pt x="3487870" y="819236"/>
                </a:lnTo>
                <a:lnTo>
                  <a:pt x="3488601" y="819204"/>
                </a:lnTo>
                <a:lnTo>
                  <a:pt x="3489463" y="822652"/>
                </a:lnTo>
                <a:cubicBezTo>
                  <a:pt x="3482175" y="824474"/>
                  <a:pt x="3471242" y="824474"/>
                  <a:pt x="3467597" y="815363"/>
                </a:cubicBezTo>
                <a:cubicBezTo>
                  <a:pt x="3474886" y="815363"/>
                  <a:pt x="3476708" y="822652"/>
                  <a:pt x="3482175" y="815363"/>
                </a:cubicBezTo>
                <a:cubicBezTo>
                  <a:pt x="3476708" y="815363"/>
                  <a:pt x="3471242" y="811719"/>
                  <a:pt x="3474886" y="804430"/>
                </a:cubicBezTo>
                <a:cubicBezTo>
                  <a:pt x="3467597" y="804430"/>
                  <a:pt x="3463953" y="806252"/>
                  <a:pt x="3456664" y="808074"/>
                </a:cubicBezTo>
                <a:cubicBezTo>
                  <a:pt x="3458487" y="811719"/>
                  <a:pt x="3465775" y="813541"/>
                  <a:pt x="3467597" y="819008"/>
                </a:cubicBezTo>
                <a:cubicBezTo>
                  <a:pt x="3456664" y="819008"/>
                  <a:pt x="3453020" y="809897"/>
                  <a:pt x="3443909" y="804430"/>
                </a:cubicBezTo>
                <a:cubicBezTo>
                  <a:pt x="3440265" y="802608"/>
                  <a:pt x="3437988" y="803975"/>
                  <a:pt x="3437076" y="806025"/>
                </a:cubicBezTo>
                <a:lnTo>
                  <a:pt x="3437568" y="808074"/>
                </a:lnTo>
                <a:lnTo>
                  <a:pt x="3432976" y="808074"/>
                </a:lnTo>
                <a:cubicBezTo>
                  <a:pt x="3432976" y="809897"/>
                  <a:pt x="3435254" y="810808"/>
                  <a:pt x="3437304" y="810808"/>
                </a:cubicBezTo>
                <a:lnTo>
                  <a:pt x="3438058" y="810113"/>
                </a:lnTo>
                <a:lnTo>
                  <a:pt x="3438443" y="811719"/>
                </a:lnTo>
                <a:cubicBezTo>
                  <a:pt x="3442087" y="815363"/>
                  <a:pt x="3449376" y="815363"/>
                  <a:pt x="3454842" y="819008"/>
                </a:cubicBezTo>
                <a:cubicBezTo>
                  <a:pt x="3458487" y="822652"/>
                  <a:pt x="3458487" y="826296"/>
                  <a:pt x="3460309" y="826296"/>
                </a:cubicBezTo>
                <a:cubicBezTo>
                  <a:pt x="3473064" y="829941"/>
                  <a:pt x="3487641" y="840874"/>
                  <a:pt x="3489463" y="851807"/>
                </a:cubicBezTo>
                <a:lnTo>
                  <a:pt x="3486732" y="858531"/>
                </a:lnTo>
                <a:lnTo>
                  <a:pt x="3480353" y="851807"/>
                </a:lnTo>
                <a:cubicBezTo>
                  <a:pt x="3474886" y="853629"/>
                  <a:pt x="3471242" y="849985"/>
                  <a:pt x="3465775" y="848162"/>
                </a:cubicBezTo>
                <a:cubicBezTo>
                  <a:pt x="3465775" y="848162"/>
                  <a:pt x="3467597" y="853629"/>
                  <a:pt x="3463953" y="853629"/>
                </a:cubicBezTo>
                <a:cubicBezTo>
                  <a:pt x="3462131" y="853629"/>
                  <a:pt x="3460309" y="848162"/>
                  <a:pt x="3460309" y="849985"/>
                </a:cubicBezTo>
                <a:cubicBezTo>
                  <a:pt x="3460309" y="855451"/>
                  <a:pt x="3458487" y="855451"/>
                  <a:pt x="3453020" y="857273"/>
                </a:cubicBezTo>
                <a:cubicBezTo>
                  <a:pt x="3451198" y="857273"/>
                  <a:pt x="3449376" y="855451"/>
                  <a:pt x="3449376" y="853629"/>
                </a:cubicBezTo>
                <a:cubicBezTo>
                  <a:pt x="3447553" y="855451"/>
                  <a:pt x="3443909" y="855451"/>
                  <a:pt x="3445731" y="857273"/>
                </a:cubicBezTo>
                <a:cubicBezTo>
                  <a:pt x="3445731" y="859095"/>
                  <a:pt x="3447553" y="859095"/>
                  <a:pt x="3447553" y="860918"/>
                </a:cubicBezTo>
                <a:cubicBezTo>
                  <a:pt x="3443909" y="864562"/>
                  <a:pt x="3440265" y="862740"/>
                  <a:pt x="3436621" y="862740"/>
                </a:cubicBezTo>
                <a:cubicBezTo>
                  <a:pt x="3442087" y="851807"/>
                  <a:pt x="3425687" y="849985"/>
                  <a:pt x="3416577" y="844518"/>
                </a:cubicBezTo>
                <a:cubicBezTo>
                  <a:pt x="3416577" y="842696"/>
                  <a:pt x="3418399" y="839051"/>
                  <a:pt x="3420221" y="839051"/>
                </a:cubicBezTo>
                <a:cubicBezTo>
                  <a:pt x="3425687" y="840874"/>
                  <a:pt x="3425687" y="848162"/>
                  <a:pt x="3432976" y="849985"/>
                </a:cubicBezTo>
                <a:cubicBezTo>
                  <a:pt x="3432976" y="846340"/>
                  <a:pt x="3432976" y="842696"/>
                  <a:pt x="3432976" y="839051"/>
                </a:cubicBezTo>
                <a:cubicBezTo>
                  <a:pt x="3431154" y="839051"/>
                  <a:pt x="3429332" y="840874"/>
                  <a:pt x="3427510" y="840874"/>
                </a:cubicBezTo>
                <a:cubicBezTo>
                  <a:pt x="3427510" y="839051"/>
                  <a:pt x="3431154" y="837229"/>
                  <a:pt x="3429332" y="835407"/>
                </a:cubicBezTo>
                <a:cubicBezTo>
                  <a:pt x="3416577" y="831763"/>
                  <a:pt x="3403821" y="824474"/>
                  <a:pt x="3394710" y="831763"/>
                </a:cubicBezTo>
                <a:cubicBezTo>
                  <a:pt x="3389244" y="835407"/>
                  <a:pt x="3391066" y="844518"/>
                  <a:pt x="3401999" y="846340"/>
                </a:cubicBezTo>
                <a:cubicBezTo>
                  <a:pt x="3403821" y="846340"/>
                  <a:pt x="3409288" y="846340"/>
                  <a:pt x="3411110" y="846340"/>
                </a:cubicBezTo>
                <a:cubicBezTo>
                  <a:pt x="3409288" y="851807"/>
                  <a:pt x="3400177" y="846340"/>
                  <a:pt x="3403821" y="853629"/>
                </a:cubicBezTo>
                <a:cubicBezTo>
                  <a:pt x="3404732" y="855451"/>
                  <a:pt x="3407010" y="855907"/>
                  <a:pt x="3409516" y="855907"/>
                </a:cubicBezTo>
                <a:lnTo>
                  <a:pt x="3411054" y="855808"/>
                </a:lnTo>
                <a:lnTo>
                  <a:pt x="3410427" y="859779"/>
                </a:lnTo>
                <a:cubicBezTo>
                  <a:pt x="3409288" y="860918"/>
                  <a:pt x="3407466" y="861829"/>
                  <a:pt x="3405643" y="862740"/>
                </a:cubicBezTo>
                <a:cubicBezTo>
                  <a:pt x="3405643" y="871851"/>
                  <a:pt x="3411110" y="871851"/>
                  <a:pt x="3407466" y="879139"/>
                </a:cubicBezTo>
                <a:cubicBezTo>
                  <a:pt x="3401999" y="880961"/>
                  <a:pt x="3405643" y="875495"/>
                  <a:pt x="3400177" y="877317"/>
                </a:cubicBezTo>
                <a:cubicBezTo>
                  <a:pt x="3400177" y="875495"/>
                  <a:pt x="3401999" y="873673"/>
                  <a:pt x="3405643" y="873673"/>
                </a:cubicBezTo>
                <a:cubicBezTo>
                  <a:pt x="3398355" y="868206"/>
                  <a:pt x="3401999" y="862740"/>
                  <a:pt x="3401999" y="853629"/>
                </a:cubicBezTo>
                <a:cubicBezTo>
                  <a:pt x="3394710" y="853629"/>
                  <a:pt x="3392888" y="857273"/>
                  <a:pt x="3389244" y="859095"/>
                </a:cubicBezTo>
                <a:cubicBezTo>
                  <a:pt x="3385600" y="853629"/>
                  <a:pt x="3381955" y="842696"/>
                  <a:pt x="3374666" y="849985"/>
                </a:cubicBezTo>
                <a:cubicBezTo>
                  <a:pt x="3374666" y="851807"/>
                  <a:pt x="3374666" y="851807"/>
                  <a:pt x="3374666" y="853629"/>
                </a:cubicBezTo>
                <a:cubicBezTo>
                  <a:pt x="3371022" y="849985"/>
                  <a:pt x="3367378" y="855451"/>
                  <a:pt x="3363734" y="855451"/>
                </a:cubicBezTo>
                <a:cubicBezTo>
                  <a:pt x="3363734" y="860918"/>
                  <a:pt x="3367378" y="864562"/>
                  <a:pt x="3365556" y="871851"/>
                </a:cubicBezTo>
                <a:cubicBezTo>
                  <a:pt x="3369200" y="871851"/>
                  <a:pt x="3372844" y="860918"/>
                  <a:pt x="3376489" y="868206"/>
                </a:cubicBezTo>
                <a:cubicBezTo>
                  <a:pt x="3374666" y="879139"/>
                  <a:pt x="3381955" y="877317"/>
                  <a:pt x="3391066" y="880961"/>
                </a:cubicBezTo>
                <a:cubicBezTo>
                  <a:pt x="3391066" y="880961"/>
                  <a:pt x="3394710" y="884606"/>
                  <a:pt x="3392888" y="888250"/>
                </a:cubicBezTo>
                <a:cubicBezTo>
                  <a:pt x="3394710" y="886428"/>
                  <a:pt x="3396532" y="882784"/>
                  <a:pt x="3396532" y="880961"/>
                </a:cubicBezTo>
                <a:cubicBezTo>
                  <a:pt x="3403821" y="884606"/>
                  <a:pt x="3411110" y="890072"/>
                  <a:pt x="3416577" y="888250"/>
                </a:cubicBezTo>
                <a:lnTo>
                  <a:pt x="3471998" y="875935"/>
                </a:lnTo>
                <a:lnTo>
                  <a:pt x="3489464" y="878912"/>
                </a:lnTo>
                <a:cubicBezTo>
                  <a:pt x="3495386" y="881873"/>
                  <a:pt x="3500397" y="886428"/>
                  <a:pt x="3504041" y="891894"/>
                </a:cubicBezTo>
                <a:cubicBezTo>
                  <a:pt x="3499486" y="893717"/>
                  <a:pt x="3496752" y="896450"/>
                  <a:pt x="3494702" y="899639"/>
                </a:cubicBezTo>
                <a:lnTo>
                  <a:pt x="3493014" y="903015"/>
                </a:lnTo>
                <a:lnTo>
                  <a:pt x="3489463" y="902827"/>
                </a:lnTo>
                <a:cubicBezTo>
                  <a:pt x="3487641" y="901005"/>
                  <a:pt x="3489463" y="899183"/>
                  <a:pt x="3491286" y="899183"/>
                </a:cubicBezTo>
                <a:cubicBezTo>
                  <a:pt x="3489463" y="895539"/>
                  <a:pt x="3485819" y="897361"/>
                  <a:pt x="3485819" y="893717"/>
                </a:cubicBezTo>
                <a:cubicBezTo>
                  <a:pt x="3480353" y="893717"/>
                  <a:pt x="3482175" y="897361"/>
                  <a:pt x="3482175" y="901005"/>
                </a:cubicBezTo>
                <a:cubicBezTo>
                  <a:pt x="3485819" y="901005"/>
                  <a:pt x="3487641" y="903283"/>
                  <a:pt x="3489463" y="904878"/>
                </a:cubicBezTo>
                <a:lnTo>
                  <a:pt x="3492124" y="904795"/>
                </a:lnTo>
                <a:lnTo>
                  <a:pt x="3489463" y="910117"/>
                </a:lnTo>
                <a:cubicBezTo>
                  <a:pt x="3493108" y="911939"/>
                  <a:pt x="3494930" y="915583"/>
                  <a:pt x="3498574" y="917405"/>
                </a:cubicBezTo>
                <a:cubicBezTo>
                  <a:pt x="3500397" y="919227"/>
                  <a:pt x="3502219" y="922872"/>
                  <a:pt x="3500397" y="924695"/>
                </a:cubicBezTo>
                <a:cubicBezTo>
                  <a:pt x="3496752" y="928339"/>
                  <a:pt x="3491286" y="926516"/>
                  <a:pt x="3487641" y="926516"/>
                </a:cubicBezTo>
                <a:cubicBezTo>
                  <a:pt x="3483997" y="926516"/>
                  <a:pt x="3487641" y="919227"/>
                  <a:pt x="3480353" y="921049"/>
                </a:cubicBezTo>
                <a:cubicBezTo>
                  <a:pt x="3483997" y="928339"/>
                  <a:pt x="3480353" y="930160"/>
                  <a:pt x="3478530" y="928339"/>
                </a:cubicBezTo>
                <a:cubicBezTo>
                  <a:pt x="3474886" y="926516"/>
                  <a:pt x="3478530" y="919227"/>
                  <a:pt x="3476708" y="915583"/>
                </a:cubicBezTo>
                <a:cubicBezTo>
                  <a:pt x="3485819" y="911939"/>
                  <a:pt x="3485819" y="913761"/>
                  <a:pt x="3483997" y="908295"/>
                </a:cubicBezTo>
                <a:cubicBezTo>
                  <a:pt x="3482175" y="902827"/>
                  <a:pt x="3465775" y="901005"/>
                  <a:pt x="3467597" y="911939"/>
                </a:cubicBezTo>
                <a:cubicBezTo>
                  <a:pt x="3467597" y="917405"/>
                  <a:pt x="3469419" y="921049"/>
                  <a:pt x="3469419" y="926516"/>
                </a:cubicBezTo>
                <a:cubicBezTo>
                  <a:pt x="3460309" y="919227"/>
                  <a:pt x="3447553" y="915583"/>
                  <a:pt x="3443909" y="930160"/>
                </a:cubicBezTo>
                <a:cubicBezTo>
                  <a:pt x="3443909" y="933804"/>
                  <a:pt x="3438443" y="926516"/>
                  <a:pt x="3436621" y="928339"/>
                </a:cubicBezTo>
                <a:lnTo>
                  <a:pt x="3426197" y="935843"/>
                </a:lnTo>
                <a:lnTo>
                  <a:pt x="3424776" y="930160"/>
                </a:lnTo>
                <a:cubicBezTo>
                  <a:pt x="3424321" y="926516"/>
                  <a:pt x="3423865" y="922872"/>
                  <a:pt x="3422043" y="919227"/>
                </a:cubicBezTo>
                <a:cubicBezTo>
                  <a:pt x="3416577" y="921049"/>
                  <a:pt x="3425687" y="928339"/>
                  <a:pt x="3418399" y="930160"/>
                </a:cubicBezTo>
                <a:cubicBezTo>
                  <a:pt x="3422043" y="930160"/>
                  <a:pt x="3422043" y="932438"/>
                  <a:pt x="3422271" y="934944"/>
                </a:cubicBezTo>
                <a:lnTo>
                  <a:pt x="3423856" y="936805"/>
                </a:lnTo>
                <a:lnTo>
                  <a:pt x="3411110" y="939272"/>
                </a:lnTo>
                <a:cubicBezTo>
                  <a:pt x="3409288" y="933804"/>
                  <a:pt x="3409288" y="928339"/>
                  <a:pt x="3401999" y="928339"/>
                </a:cubicBezTo>
                <a:cubicBezTo>
                  <a:pt x="3398355" y="928339"/>
                  <a:pt x="3405643" y="933804"/>
                  <a:pt x="3400177" y="933804"/>
                </a:cubicBezTo>
                <a:cubicBezTo>
                  <a:pt x="3400177" y="919227"/>
                  <a:pt x="3391066" y="919227"/>
                  <a:pt x="3380133" y="917405"/>
                </a:cubicBezTo>
                <a:cubicBezTo>
                  <a:pt x="3381955" y="915583"/>
                  <a:pt x="3387422" y="917405"/>
                  <a:pt x="3385600" y="913761"/>
                </a:cubicBezTo>
                <a:lnTo>
                  <a:pt x="3380319" y="911958"/>
                </a:lnTo>
                <a:lnTo>
                  <a:pt x="3382667" y="908978"/>
                </a:lnTo>
                <a:cubicBezTo>
                  <a:pt x="3383094" y="906814"/>
                  <a:pt x="3382411" y="904195"/>
                  <a:pt x="3380133" y="901005"/>
                </a:cubicBezTo>
                <a:lnTo>
                  <a:pt x="3375247" y="901450"/>
                </a:lnTo>
                <a:lnTo>
                  <a:pt x="3380817" y="899183"/>
                </a:lnTo>
                <a:cubicBezTo>
                  <a:pt x="3386055" y="898728"/>
                  <a:pt x="3391066" y="898272"/>
                  <a:pt x="3392888" y="893717"/>
                </a:cubicBezTo>
                <a:cubicBezTo>
                  <a:pt x="3396532" y="886428"/>
                  <a:pt x="3385600" y="890072"/>
                  <a:pt x="3380133" y="886428"/>
                </a:cubicBezTo>
                <a:cubicBezTo>
                  <a:pt x="3380133" y="886428"/>
                  <a:pt x="3378311" y="888250"/>
                  <a:pt x="3378311" y="890072"/>
                </a:cubicBezTo>
                <a:cubicBezTo>
                  <a:pt x="3377400" y="889161"/>
                  <a:pt x="3375122" y="889617"/>
                  <a:pt x="3372845" y="890072"/>
                </a:cubicBezTo>
                <a:lnTo>
                  <a:pt x="3371022" y="890072"/>
                </a:lnTo>
                <a:cubicBezTo>
                  <a:pt x="3369200" y="886428"/>
                  <a:pt x="3360089" y="888250"/>
                  <a:pt x="3358267" y="890072"/>
                </a:cubicBezTo>
                <a:cubicBezTo>
                  <a:pt x="3350978" y="888250"/>
                  <a:pt x="3360089" y="884606"/>
                  <a:pt x="3358267" y="879139"/>
                </a:cubicBezTo>
                <a:cubicBezTo>
                  <a:pt x="3352800" y="879139"/>
                  <a:pt x="3343690" y="882784"/>
                  <a:pt x="3340045" y="875495"/>
                </a:cubicBezTo>
                <a:cubicBezTo>
                  <a:pt x="3336401" y="880961"/>
                  <a:pt x="3332756" y="875495"/>
                  <a:pt x="3327290" y="879139"/>
                </a:cubicBezTo>
                <a:cubicBezTo>
                  <a:pt x="3327290" y="882784"/>
                  <a:pt x="3329112" y="880961"/>
                  <a:pt x="3329112" y="884606"/>
                </a:cubicBezTo>
                <a:cubicBezTo>
                  <a:pt x="3332756" y="888250"/>
                  <a:pt x="3332756" y="880961"/>
                  <a:pt x="3336401" y="884606"/>
                </a:cubicBezTo>
                <a:cubicBezTo>
                  <a:pt x="3332756" y="888250"/>
                  <a:pt x="3329112" y="891894"/>
                  <a:pt x="3329112" y="899183"/>
                </a:cubicBezTo>
                <a:cubicBezTo>
                  <a:pt x="3325468" y="901005"/>
                  <a:pt x="3327290" y="895539"/>
                  <a:pt x="3321824" y="897361"/>
                </a:cubicBezTo>
                <a:cubicBezTo>
                  <a:pt x="3312713" y="904651"/>
                  <a:pt x="3298135" y="911939"/>
                  <a:pt x="3301780" y="924695"/>
                </a:cubicBezTo>
                <a:cubicBezTo>
                  <a:pt x="3299957" y="926516"/>
                  <a:pt x="3298135" y="928339"/>
                  <a:pt x="3294491" y="928339"/>
                </a:cubicBezTo>
                <a:cubicBezTo>
                  <a:pt x="3299957" y="941094"/>
                  <a:pt x="3320001" y="941094"/>
                  <a:pt x="3332756" y="933804"/>
                </a:cubicBezTo>
                <a:cubicBezTo>
                  <a:pt x="3330934" y="926516"/>
                  <a:pt x="3336401" y="924695"/>
                  <a:pt x="3338223" y="922872"/>
                </a:cubicBezTo>
                <a:cubicBezTo>
                  <a:pt x="3334579" y="917405"/>
                  <a:pt x="3325468" y="928339"/>
                  <a:pt x="3316357" y="926516"/>
                </a:cubicBezTo>
                <a:cubicBezTo>
                  <a:pt x="3318179" y="919227"/>
                  <a:pt x="3330934" y="926516"/>
                  <a:pt x="3330934" y="917405"/>
                </a:cubicBezTo>
                <a:cubicBezTo>
                  <a:pt x="3334579" y="919227"/>
                  <a:pt x="3349156" y="922872"/>
                  <a:pt x="3352800" y="915583"/>
                </a:cubicBezTo>
                <a:cubicBezTo>
                  <a:pt x="3350978" y="917405"/>
                  <a:pt x="3349156" y="917405"/>
                  <a:pt x="3349156" y="915583"/>
                </a:cubicBezTo>
                <a:cubicBezTo>
                  <a:pt x="3349156" y="911939"/>
                  <a:pt x="3350978" y="906473"/>
                  <a:pt x="3350978" y="902827"/>
                </a:cubicBezTo>
                <a:cubicBezTo>
                  <a:pt x="3340045" y="904651"/>
                  <a:pt x="3338223" y="895539"/>
                  <a:pt x="3341867" y="890072"/>
                </a:cubicBezTo>
                <a:cubicBezTo>
                  <a:pt x="3346423" y="892806"/>
                  <a:pt x="3351434" y="896906"/>
                  <a:pt x="3355306" y="901917"/>
                </a:cubicBezTo>
                <a:lnTo>
                  <a:pt x="3360670" y="915974"/>
                </a:lnTo>
                <a:lnTo>
                  <a:pt x="3359634" y="916722"/>
                </a:lnTo>
                <a:lnTo>
                  <a:pt x="3359449" y="917307"/>
                </a:lnTo>
                <a:lnTo>
                  <a:pt x="3358267" y="913761"/>
                </a:lnTo>
                <a:cubicBezTo>
                  <a:pt x="3355534" y="913761"/>
                  <a:pt x="3355078" y="915583"/>
                  <a:pt x="3355762" y="917178"/>
                </a:cubicBezTo>
                <a:lnTo>
                  <a:pt x="3359005" y="918714"/>
                </a:lnTo>
                <a:lnTo>
                  <a:pt x="3358267" y="921049"/>
                </a:lnTo>
                <a:cubicBezTo>
                  <a:pt x="3358267" y="922872"/>
                  <a:pt x="3363734" y="921049"/>
                  <a:pt x="3365556" y="922872"/>
                </a:cubicBezTo>
                <a:cubicBezTo>
                  <a:pt x="3361912" y="922872"/>
                  <a:pt x="3358723" y="922416"/>
                  <a:pt x="3355762" y="922872"/>
                </a:cubicBezTo>
                <a:lnTo>
                  <a:pt x="3351684" y="925517"/>
                </a:lnTo>
                <a:lnTo>
                  <a:pt x="3352800" y="921049"/>
                </a:lnTo>
                <a:cubicBezTo>
                  <a:pt x="3352800" y="921049"/>
                  <a:pt x="3350978" y="922872"/>
                  <a:pt x="3349156" y="922872"/>
                </a:cubicBezTo>
                <a:lnTo>
                  <a:pt x="3350330" y="926395"/>
                </a:lnTo>
                <a:lnTo>
                  <a:pt x="3347334" y="928339"/>
                </a:lnTo>
                <a:cubicBezTo>
                  <a:pt x="3345512" y="931983"/>
                  <a:pt x="3347334" y="931983"/>
                  <a:pt x="3349156" y="933804"/>
                </a:cubicBezTo>
                <a:cubicBezTo>
                  <a:pt x="3345512" y="935628"/>
                  <a:pt x="3343690" y="935628"/>
                  <a:pt x="3341867" y="935628"/>
                </a:cubicBezTo>
                <a:cubicBezTo>
                  <a:pt x="3334579" y="941094"/>
                  <a:pt x="3349156" y="946560"/>
                  <a:pt x="3345512" y="948383"/>
                </a:cubicBezTo>
                <a:cubicBezTo>
                  <a:pt x="3341867" y="950204"/>
                  <a:pt x="3332756" y="942916"/>
                  <a:pt x="3330934" y="944738"/>
                </a:cubicBezTo>
                <a:lnTo>
                  <a:pt x="3331979" y="947292"/>
                </a:lnTo>
                <a:lnTo>
                  <a:pt x="3327290" y="948610"/>
                </a:lnTo>
                <a:cubicBezTo>
                  <a:pt x="3325923" y="948383"/>
                  <a:pt x="3324557" y="947472"/>
                  <a:pt x="3320001" y="946560"/>
                </a:cubicBezTo>
                <a:cubicBezTo>
                  <a:pt x="3314535" y="953848"/>
                  <a:pt x="3323646" y="957494"/>
                  <a:pt x="3321824" y="964782"/>
                </a:cubicBezTo>
                <a:cubicBezTo>
                  <a:pt x="3322735" y="962048"/>
                  <a:pt x="3325013" y="959315"/>
                  <a:pt x="3327518" y="956354"/>
                </a:cubicBezTo>
                <a:lnTo>
                  <a:pt x="3332730" y="949126"/>
                </a:lnTo>
                <a:lnTo>
                  <a:pt x="3332985" y="949749"/>
                </a:lnTo>
                <a:cubicBezTo>
                  <a:pt x="3335490" y="949749"/>
                  <a:pt x="3339134" y="949294"/>
                  <a:pt x="3341867" y="952026"/>
                </a:cubicBezTo>
                <a:cubicBezTo>
                  <a:pt x="3341867" y="952026"/>
                  <a:pt x="3347334" y="950204"/>
                  <a:pt x="3349156" y="950204"/>
                </a:cubicBezTo>
                <a:cubicBezTo>
                  <a:pt x="3363734" y="948383"/>
                  <a:pt x="3372844" y="961138"/>
                  <a:pt x="3387422" y="959316"/>
                </a:cubicBezTo>
                <a:cubicBezTo>
                  <a:pt x="3381955" y="948383"/>
                  <a:pt x="3374666" y="942916"/>
                  <a:pt x="3367378" y="935628"/>
                </a:cubicBezTo>
                <a:cubicBezTo>
                  <a:pt x="3369200" y="933804"/>
                  <a:pt x="3374666" y="937450"/>
                  <a:pt x="3376489" y="935628"/>
                </a:cubicBezTo>
                <a:cubicBezTo>
                  <a:pt x="3378311" y="935628"/>
                  <a:pt x="3378311" y="930160"/>
                  <a:pt x="3378311" y="928339"/>
                </a:cubicBezTo>
                <a:cubicBezTo>
                  <a:pt x="3381955" y="930160"/>
                  <a:pt x="3387422" y="931983"/>
                  <a:pt x="3387422" y="939272"/>
                </a:cubicBezTo>
                <a:cubicBezTo>
                  <a:pt x="3392888" y="939272"/>
                  <a:pt x="3394710" y="942916"/>
                  <a:pt x="3394710" y="946560"/>
                </a:cubicBezTo>
                <a:cubicBezTo>
                  <a:pt x="3389244" y="941094"/>
                  <a:pt x="3387422" y="946560"/>
                  <a:pt x="3387422" y="948383"/>
                </a:cubicBezTo>
                <a:cubicBezTo>
                  <a:pt x="3389244" y="957494"/>
                  <a:pt x="3394710" y="961138"/>
                  <a:pt x="3400177" y="968427"/>
                </a:cubicBezTo>
                <a:cubicBezTo>
                  <a:pt x="3401999" y="970249"/>
                  <a:pt x="3391066" y="968427"/>
                  <a:pt x="3394710" y="972071"/>
                </a:cubicBezTo>
                <a:cubicBezTo>
                  <a:pt x="3394710" y="972982"/>
                  <a:pt x="3396532" y="973893"/>
                  <a:pt x="3398810" y="974348"/>
                </a:cubicBezTo>
                <a:lnTo>
                  <a:pt x="3404012" y="974001"/>
                </a:lnTo>
                <a:lnTo>
                  <a:pt x="3405416" y="974804"/>
                </a:lnTo>
                <a:lnTo>
                  <a:pt x="3405694" y="974848"/>
                </a:lnTo>
                <a:lnTo>
                  <a:pt x="3406099" y="982549"/>
                </a:lnTo>
                <a:cubicBezTo>
                  <a:pt x="3406099" y="985282"/>
                  <a:pt x="3405644" y="987560"/>
                  <a:pt x="3403821" y="988471"/>
                </a:cubicBezTo>
                <a:cubicBezTo>
                  <a:pt x="3394710" y="990293"/>
                  <a:pt x="3401999" y="977538"/>
                  <a:pt x="3394710" y="975715"/>
                </a:cubicBezTo>
                <a:cubicBezTo>
                  <a:pt x="3396532" y="983004"/>
                  <a:pt x="3383777" y="977538"/>
                  <a:pt x="3385600" y="984826"/>
                </a:cubicBezTo>
                <a:cubicBezTo>
                  <a:pt x="3385600" y="988471"/>
                  <a:pt x="3391066" y="988471"/>
                  <a:pt x="3392888" y="986649"/>
                </a:cubicBezTo>
                <a:cubicBezTo>
                  <a:pt x="3391066" y="992115"/>
                  <a:pt x="3381955" y="993937"/>
                  <a:pt x="3389244" y="999403"/>
                </a:cubicBezTo>
                <a:cubicBezTo>
                  <a:pt x="3392888" y="1001226"/>
                  <a:pt x="3394710" y="999403"/>
                  <a:pt x="3394710" y="997582"/>
                </a:cubicBezTo>
                <a:cubicBezTo>
                  <a:pt x="3394710" y="995759"/>
                  <a:pt x="3392888" y="995759"/>
                  <a:pt x="3391066" y="995759"/>
                </a:cubicBezTo>
                <a:cubicBezTo>
                  <a:pt x="3391066" y="992115"/>
                  <a:pt x="3396532" y="995759"/>
                  <a:pt x="3398355" y="993937"/>
                </a:cubicBezTo>
                <a:cubicBezTo>
                  <a:pt x="3396532" y="997582"/>
                  <a:pt x="3396532" y="999403"/>
                  <a:pt x="3398355" y="1001226"/>
                </a:cubicBezTo>
                <a:cubicBezTo>
                  <a:pt x="3401999" y="1003047"/>
                  <a:pt x="3405643" y="1003047"/>
                  <a:pt x="3409288" y="1003047"/>
                </a:cubicBezTo>
                <a:cubicBezTo>
                  <a:pt x="3418399" y="1001226"/>
                  <a:pt x="3414754" y="993937"/>
                  <a:pt x="3420221" y="988471"/>
                </a:cubicBezTo>
                <a:cubicBezTo>
                  <a:pt x="3416577" y="988471"/>
                  <a:pt x="3412932" y="983004"/>
                  <a:pt x="3409288" y="981182"/>
                </a:cubicBezTo>
                <a:cubicBezTo>
                  <a:pt x="3412932" y="979360"/>
                  <a:pt x="3412932" y="977538"/>
                  <a:pt x="3411110" y="975715"/>
                </a:cubicBezTo>
                <a:lnTo>
                  <a:pt x="3405694" y="974848"/>
                </a:lnTo>
                <a:lnTo>
                  <a:pt x="3405643" y="973893"/>
                </a:lnTo>
                <a:lnTo>
                  <a:pt x="3404012" y="974001"/>
                </a:lnTo>
                <a:lnTo>
                  <a:pt x="3403821" y="973893"/>
                </a:lnTo>
                <a:cubicBezTo>
                  <a:pt x="3407466" y="968427"/>
                  <a:pt x="3414754" y="970249"/>
                  <a:pt x="3414754" y="962960"/>
                </a:cubicBezTo>
                <a:cubicBezTo>
                  <a:pt x="3416577" y="964782"/>
                  <a:pt x="3420221" y="968427"/>
                  <a:pt x="3418399" y="970249"/>
                </a:cubicBezTo>
                <a:cubicBezTo>
                  <a:pt x="3416577" y="972071"/>
                  <a:pt x="3414754" y="972071"/>
                  <a:pt x="3412932" y="972071"/>
                </a:cubicBezTo>
                <a:cubicBezTo>
                  <a:pt x="3416577" y="975715"/>
                  <a:pt x="3422043" y="975715"/>
                  <a:pt x="3425687" y="972071"/>
                </a:cubicBezTo>
                <a:cubicBezTo>
                  <a:pt x="3425687" y="975715"/>
                  <a:pt x="3425687" y="977538"/>
                  <a:pt x="3427510" y="979360"/>
                </a:cubicBezTo>
                <a:cubicBezTo>
                  <a:pt x="3423865" y="979360"/>
                  <a:pt x="3420221" y="977538"/>
                  <a:pt x="3418399" y="977538"/>
                </a:cubicBezTo>
                <a:cubicBezTo>
                  <a:pt x="3420221" y="981182"/>
                  <a:pt x="3422043" y="984826"/>
                  <a:pt x="3423865" y="983004"/>
                </a:cubicBezTo>
                <a:cubicBezTo>
                  <a:pt x="3438443" y="968427"/>
                  <a:pt x="3456664" y="977538"/>
                  <a:pt x="3471242" y="970249"/>
                </a:cubicBezTo>
                <a:cubicBezTo>
                  <a:pt x="3465775" y="977538"/>
                  <a:pt x="3458487" y="972071"/>
                  <a:pt x="3454842" y="975715"/>
                </a:cubicBezTo>
                <a:cubicBezTo>
                  <a:pt x="3463953" y="979360"/>
                  <a:pt x="3471242" y="977538"/>
                  <a:pt x="3478530" y="981182"/>
                </a:cubicBezTo>
                <a:cubicBezTo>
                  <a:pt x="3480353" y="983004"/>
                  <a:pt x="3480353" y="979360"/>
                  <a:pt x="3478530" y="977538"/>
                </a:cubicBezTo>
                <a:cubicBezTo>
                  <a:pt x="3489463" y="981182"/>
                  <a:pt x="3500397" y="962960"/>
                  <a:pt x="3509507" y="973893"/>
                </a:cubicBezTo>
                <a:cubicBezTo>
                  <a:pt x="3507685" y="973893"/>
                  <a:pt x="3505863" y="973893"/>
                  <a:pt x="3505863" y="975715"/>
                </a:cubicBezTo>
                <a:cubicBezTo>
                  <a:pt x="3509507" y="986649"/>
                  <a:pt x="3536840" y="999403"/>
                  <a:pt x="3525907" y="1008515"/>
                </a:cubicBezTo>
                <a:cubicBezTo>
                  <a:pt x="3525907" y="1004870"/>
                  <a:pt x="3524085" y="1004870"/>
                  <a:pt x="3522263" y="1006692"/>
                </a:cubicBezTo>
                <a:cubicBezTo>
                  <a:pt x="3520440" y="1006692"/>
                  <a:pt x="3522263" y="1012159"/>
                  <a:pt x="3520440" y="1013981"/>
                </a:cubicBezTo>
                <a:cubicBezTo>
                  <a:pt x="3520440" y="1010337"/>
                  <a:pt x="3511330" y="1010337"/>
                  <a:pt x="3509507" y="1012159"/>
                </a:cubicBezTo>
                <a:cubicBezTo>
                  <a:pt x="3509507" y="1008515"/>
                  <a:pt x="3513152" y="1010337"/>
                  <a:pt x="3516796" y="1010337"/>
                </a:cubicBezTo>
                <a:cubicBezTo>
                  <a:pt x="3514974" y="1006692"/>
                  <a:pt x="3518618" y="1004870"/>
                  <a:pt x="3520440" y="1003047"/>
                </a:cubicBezTo>
                <a:cubicBezTo>
                  <a:pt x="3513152" y="999403"/>
                  <a:pt x="3507685" y="992115"/>
                  <a:pt x="3502219" y="995759"/>
                </a:cubicBezTo>
                <a:cubicBezTo>
                  <a:pt x="3493108" y="999403"/>
                  <a:pt x="3502219" y="1004870"/>
                  <a:pt x="3509507" y="1008515"/>
                </a:cubicBezTo>
                <a:cubicBezTo>
                  <a:pt x="3504041" y="1012159"/>
                  <a:pt x="3496752" y="1013981"/>
                  <a:pt x="3493108" y="1019448"/>
                </a:cubicBezTo>
                <a:cubicBezTo>
                  <a:pt x="3493108" y="1021270"/>
                  <a:pt x="3496752" y="1023092"/>
                  <a:pt x="3498574" y="1023092"/>
                </a:cubicBezTo>
                <a:cubicBezTo>
                  <a:pt x="3511330" y="1021270"/>
                  <a:pt x="3531374" y="1026736"/>
                  <a:pt x="3531374" y="1013981"/>
                </a:cubicBezTo>
                <a:cubicBezTo>
                  <a:pt x="3535018" y="1015803"/>
                  <a:pt x="3535018" y="1021270"/>
                  <a:pt x="3538662" y="1021270"/>
                </a:cubicBezTo>
                <a:cubicBezTo>
                  <a:pt x="3536840" y="1017625"/>
                  <a:pt x="3535018" y="1012159"/>
                  <a:pt x="3533196" y="1010337"/>
                </a:cubicBezTo>
                <a:cubicBezTo>
                  <a:pt x="3538662" y="1012159"/>
                  <a:pt x="3547773" y="1015803"/>
                  <a:pt x="3545951" y="1008515"/>
                </a:cubicBezTo>
                <a:cubicBezTo>
                  <a:pt x="3545951" y="1004870"/>
                  <a:pt x="3538662" y="1006692"/>
                  <a:pt x="3540484" y="1001226"/>
                </a:cubicBezTo>
                <a:cubicBezTo>
                  <a:pt x="3542306" y="999403"/>
                  <a:pt x="3549595" y="999403"/>
                  <a:pt x="3553240" y="999403"/>
                </a:cubicBezTo>
                <a:cubicBezTo>
                  <a:pt x="3555062" y="997582"/>
                  <a:pt x="3558706" y="1003047"/>
                  <a:pt x="3555062" y="1004870"/>
                </a:cubicBezTo>
                <a:cubicBezTo>
                  <a:pt x="3553240" y="1004870"/>
                  <a:pt x="3553240" y="1003047"/>
                  <a:pt x="3551417" y="1003047"/>
                </a:cubicBezTo>
                <a:cubicBezTo>
                  <a:pt x="3555062" y="1008515"/>
                  <a:pt x="3556884" y="1017625"/>
                  <a:pt x="3565995" y="1019448"/>
                </a:cubicBezTo>
                <a:cubicBezTo>
                  <a:pt x="3564173" y="1017625"/>
                  <a:pt x="3562350" y="1012159"/>
                  <a:pt x="3564173" y="1010337"/>
                </a:cubicBezTo>
                <a:cubicBezTo>
                  <a:pt x="3567817" y="1006692"/>
                  <a:pt x="3571461" y="1015803"/>
                  <a:pt x="3575106" y="1013981"/>
                </a:cubicBezTo>
                <a:cubicBezTo>
                  <a:pt x="3578750" y="1012159"/>
                  <a:pt x="3575106" y="1006692"/>
                  <a:pt x="3576928" y="1008515"/>
                </a:cubicBezTo>
                <a:cubicBezTo>
                  <a:pt x="3580572" y="1008515"/>
                  <a:pt x="3580572" y="1015803"/>
                  <a:pt x="3578750" y="1019448"/>
                </a:cubicBezTo>
                <a:cubicBezTo>
                  <a:pt x="3576928" y="1021270"/>
                  <a:pt x="3571461" y="1015803"/>
                  <a:pt x="3569639" y="1019448"/>
                </a:cubicBezTo>
                <a:cubicBezTo>
                  <a:pt x="3575106" y="1019448"/>
                  <a:pt x="3580572" y="1023092"/>
                  <a:pt x="3578750" y="1030381"/>
                </a:cubicBezTo>
                <a:cubicBezTo>
                  <a:pt x="3586039" y="1028559"/>
                  <a:pt x="3593327" y="1035847"/>
                  <a:pt x="3600616" y="1028559"/>
                </a:cubicBezTo>
                <a:cubicBezTo>
                  <a:pt x="3600616" y="1032203"/>
                  <a:pt x="3604260" y="1034025"/>
                  <a:pt x="3602438" y="1035847"/>
                </a:cubicBezTo>
                <a:cubicBezTo>
                  <a:pt x="3615193" y="1030381"/>
                  <a:pt x="3620660" y="1043136"/>
                  <a:pt x="3629771" y="1044958"/>
                </a:cubicBezTo>
                <a:cubicBezTo>
                  <a:pt x="3620660" y="1048602"/>
                  <a:pt x="3631593" y="1055891"/>
                  <a:pt x="3627949" y="1061358"/>
                </a:cubicBezTo>
                <a:cubicBezTo>
                  <a:pt x="3627949" y="1061358"/>
                  <a:pt x="3626127" y="1063180"/>
                  <a:pt x="3626127" y="1063180"/>
                </a:cubicBezTo>
                <a:cubicBezTo>
                  <a:pt x="3622482" y="1059535"/>
                  <a:pt x="3622482" y="1054069"/>
                  <a:pt x="3618838" y="1052247"/>
                </a:cubicBezTo>
                <a:cubicBezTo>
                  <a:pt x="3617016" y="1065002"/>
                  <a:pt x="3626127" y="1072291"/>
                  <a:pt x="3638882" y="1072291"/>
                </a:cubicBezTo>
                <a:cubicBezTo>
                  <a:pt x="3633415" y="1075935"/>
                  <a:pt x="3644348" y="1077757"/>
                  <a:pt x="3642526" y="1083224"/>
                </a:cubicBezTo>
                <a:cubicBezTo>
                  <a:pt x="3642526" y="1085046"/>
                  <a:pt x="3633415" y="1083224"/>
                  <a:pt x="3635237" y="1085046"/>
                </a:cubicBezTo>
                <a:cubicBezTo>
                  <a:pt x="3637060" y="1090512"/>
                  <a:pt x="3644348" y="1094157"/>
                  <a:pt x="3646171" y="1095979"/>
                </a:cubicBezTo>
                <a:cubicBezTo>
                  <a:pt x="3655281" y="1108734"/>
                  <a:pt x="3638882" y="1108734"/>
                  <a:pt x="3631593" y="1116023"/>
                </a:cubicBezTo>
                <a:cubicBezTo>
                  <a:pt x="3629771" y="1119667"/>
                  <a:pt x="3637060" y="1123312"/>
                  <a:pt x="3638882" y="1121489"/>
                </a:cubicBezTo>
                <a:cubicBezTo>
                  <a:pt x="3638882" y="1123312"/>
                  <a:pt x="3638882" y="1123312"/>
                  <a:pt x="3638882" y="1125134"/>
                </a:cubicBezTo>
                <a:cubicBezTo>
                  <a:pt x="3633415" y="1125134"/>
                  <a:pt x="3633415" y="1126956"/>
                  <a:pt x="3635237" y="1123312"/>
                </a:cubicBezTo>
                <a:cubicBezTo>
                  <a:pt x="3629771" y="1121489"/>
                  <a:pt x="3627949" y="1125134"/>
                  <a:pt x="3622482" y="1123312"/>
                </a:cubicBezTo>
                <a:cubicBezTo>
                  <a:pt x="3622482" y="1125134"/>
                  <a:pt x="3622482" y="1126956"/>
                  <a:pt x="3622482" y="1128778"/>
                </a:cubicBezTo>
                <a:cubicBezTo>
                  <a:pt x="3631593" y="1132422"/>
                  <a:pt x="3633415" y="1132422"/>
                  <a:pt x="3637060" y="1137889"/>
                </a:cubicBezTo>
                <a:cubicBezTo>
                  <a:pt x="3637060" y="1136067"/>
                  <a:pt x="3637060" y="1134245"/>
                  <a:pt x="3635237" y="1134245"/>
                </a:cubicBezTo>
                <a:cubicBezTo>
                  <a:pt x="3637060" y="1134245"/>
                  <a:pt x="3638882" y="1132422"/>
                  <a:pt x="3638882" y="1128778"/>
                </a:cubicBezTo>
                <a:cubicBezTo>
                  <a:pt x="3640704" y="1137889"/>
                  <a:pt x="3647993" y="1136067"/>
                  <a:pt x="3658926" y="1139711"/>
                </a:cubicBezTo>
                <a:cubicBezTo>
                  <a:pt x="3660748" y="1139711"/>
                  <a:pt x="3653459" y="1143355"/>
                  <a:pt x="3655281" y="1145178"/>
                </a:cubicBezTo>
                <a:cubicBezTo>
                  <a:pt x="3658926" y="1152466"/>
                  <a:pt x="3675325" y="1148822"/>
                  <a:pt x="3666214" y="1156111"/>
                </a:cubicBezTo>
                <a:cubicBezTo>
                  <a:pt x="3664392" y="1159755"/>
                  <a:pt x="3664392" y="1154288"/>
                  <a:pt x="3664392" y="1152466"/>
                </a:cubicBezTo>
                <a:cubicBezTo>
                  <a:pt x="3658926" y="1159755"/>
                  <a:pt x="3655281" y="1165222"/>
                  <a:pt x="3657103" y="1174332"/>
                </a:cubicBezTo>
                <a:cubicBezTo>
                  <a:pt x="3651637" y="1172510"/>
                  <a:pt x="3651637" y="1165222"/>
                  <a:pt x="3646171" y="1163399"/>
                </a:cubicBezTo>
                <a:cubicBezTo>
                  <a:pt x="3649815" y="1159755"/>
                  <a:pt x="3655281" y="1163399"/>
                  <a:pt x="3653459" y="1161577"/>
                </a:cubicBezTo>
                <a:cubicBezTo>
                  <a:pt x="3653459" y="1157933"/>
                  <a:pt x="3653459" y="1154288"/>
                  <a:pt x="3651637" y="1150644"/>
                </a:cubicBezTo>
                <a:cubicBezTo>
                  <a:pt x="3653459" y="1150644"/>
                  <a:pt x="3655281" y="1150644"/>
                  <a:pt x="3655281" y="1148822"/>
                </a:cubicBezTo>
                <a:cubicBezTo>
                  <a:pt x="3653459" y="1141533"/>
                  <a:pt x="3640704" y="1136067"/>
                  <a:pt x="3638882" y="1143355"/>
                </a:cubicBezTo>
                <a:cubicBezTo>
                  <a:pt x="3638882" y="1147000"/>
                  <a:pt x="3642526" y="1148822"/>
                  <a:pt x="3646171" y="1150644"/>
                </a:cubicBezTo>
                <a:cubicBezTo>
                  <a:pt x="3640704" y="1152466"/>
                  <a:pt x="3635237" y="1152466"/>
                  <a:pt x="3633415" y="1150644"/>
                </a:cubicBezTo>
                <a:cubicBezTo>
                  <a:pt x="3626127" y="1145178"/>
                  <a:pt x="3620660" y="1141533"/>
                  <a:pt x="3613371" y="1134245"/>
                </a:cubicBezTo>
                <a:cubicBezTo>
                  <a:pt x="3613371" y="1137889"/>
                  <a:pt x="3609727" y="1141533"/>
                  <a:pt x="3606082" y="1139711"/>
                </a:cubicBezTo>
                <a:cubicBezTo>
                  <a:pt x="3600616" y="1136067"/>
                  <a:pt x="3598794" y="1136067"/>
                  <a:pt x="3596972" y="1137889"/>
                </a:cubicBezTo>
                <a:cubicBezTo>
                  <a:pt x="3595150" y="1134245"/>
                  <a:pt x="3589683" y="1128778"/>
                  <a:pt x="3596972" y="1126956"/>
                </a:cubicBezTo>
                <a:cubicBezTo>
                  <a:pt x="3589683" y="1119667"/>
                  <a:pt x="3587861" y="1106912"/>
                  <a:pt x="3576928" y="1108734"/>
                </a:cubicBezTo>
                <a:cubicBezTo>
                  <a:pt x="3584216" y="1114201"/>
                  <a:pt x="3589683" y="1126956"/>
                  <a:pt x="3578750" y="1132422"/>
                </a:cubicBezTo>
                <a:cubicBezTo>
                  <a:pt x="3575106" y="1132422"/>
                  <a:pt x="3569639" y="1132422"/>
                  <a:pt x="3567817" y="1134245"/>
                </a:cubicBezTo>
                <a:cubicBezTo>
                  <a:pt x="3567817" y="1128778"/>
                  <a:pt x="3576928" y="1130600"/>
                  <a:pt x="3575106" y="1126956"/>
                </a:cubicBezTo>
                <a:cubicBezTo>
                  <a:pt x="3573284" y="1125134"/>
                  <a:pt x="3567817" y="1125134"/>
                  <a:pt x="3565995" y="1126956"/>
                </a:cubicBezTo>
                <a:cubicBezTo>
                  <a:pt x="3565995" y="1123312"/>
                  <a:pt x="3567817" y="1121489"/>
                  <a:pt x="3567817" y="1119667"/>
                </a:cubicBezTo>
                <a:cubicBezTo>
                  <a:pt x="3558706" y="1116023"/>
                  <a:pt x="3560528" y="1114201"/>
                  <a:pt x="3556884" y="1105090"/>
                </a:cubicBezTo>
                <a:cubicBezTo>
                  <a:pt x="3551417" y="1108734"/>
                  <a:pt x="3544129" y="1112378"/>
                  <a:pt x="3542306" y="1108734"/>
                </a:cubicBezTo>
                <a:cubicBezTo>
                  <a:pt x="3536840" y="1103268"/>
                  <a:pt x="3540484" y="1099623"/>
                  <a:pt x="3547773" y="1097801"/>
                </a:cubicBezTo>
                <a:cubicBezTo>
                  <a:pt x="3545951" y="1097801"/>
                  <a:pt x="3545951" y="1097801"/>
                  <a:pt x="3544129" y="1095979"/>
                </a:cubicBezTo>
                <a:cubicBezTo>
                  <a:pt x="3542306" y="1092335"/>
                  <a:pt x="3547773" y="1088690"/>
                  <a:pt x="3544129" y="1086868"/>
                </a:cubicBezTo>
                <a:cubicBezTo>
                  <a:pt x="3542306" y="1085046"/>
                  <a:pt x="3538662" y="1088690"/>
                  <a:pt x="3536840" y="1086868"/>
                </a:cubicBezTo>
                <a:cubicBezTo>
                  <a:pt x="3533196" y="1085046"/>
                  <a:pt x="3527729" y="1083224"/>
                  <a:pt x="3522263" y="1085046"/>
                </a:cubicBezTo>
                <a:cubicBezTo>
                  <a:pt x="3529551" y="1081402"/>
                  <a:pt x="3531374" y="1079579"/>
                  <a:pt x="3531374" y="1072291"/>
                </a:cubicBezTo>
                <a:cubicBezTo>
                  <a:pt x="3529551" y="1072291"/>
                  <a:pt x="3525907" y="1072291"/>
                  <a:pt x="3525907" y="1070469"/>
                </a:cubicBezTo>
                <a:cubicBezTo>
                  <a:pt x="3525907" y="1066824"/>
                  <a:pt x="3522263" y="1065002"/>
                  <a:pt x="3518618" y="1063180"/>
                </a:cubicBezTo>
                <a:cubicBezTo>
                  <a:pt x="3516796" y="1066824"/>
                  <a:pt x="3522263" y="1072291"/>
                  <a:pt x="3514974" y="1072291"/>
                </a:cubicBezTo>
                <a:cubicBezTo>
                  <a:pt x="3516796" y="1075935"/>
                  <a:pt x="3522263" y="1075935"/>
                  <a:pt x="3520440" y="1079579"/>
                </a:cubicBezTo>
                <a:cubicBezTo>
                  <a:pt x="3514974" y="1074113"/>
                  <a:pt x="3509507" y="1075935"/>
                  <a:pt x="3504041" y="1079579"/>
                </a:cubicBezTo>
                <a:cubicBezTo>
                  <a:pt x="3502219" y="1079579"/>
                  <a:pt x="3504041" y="1085046"/>
                  <a:pt x="3504041" y="1086868"/>
                </a:cubicBezTo>
                <a:cubicBezTo>
                  <a:pt x="3505863" y="1085046"/>
                  <a:pt x="3507685" y="1085046"/>
                  <a:pt x="3509507" y="1086868"/>
                </a:cubicBezTo>
                <a:cubicBezTo>
                  <a:pt x="3500397" y="1088690"/>
                  <a:pt x="3500397" y="1092335"/>
                  <a:pt x="3502219" y="1099623"/>
                </a:cubicBezTo>
                <a:cubicBezTo>
                  <a:pt x="3496752" y="1094157"/>
                  <a:pt x="3496752" y="1099623"/>
                  <a:pt x="3494930" y="1092335"/>
                </a:cubicBezTo>
                <a:cubicBezTo>
                  <a:pt x="3491286" y="1095979"/>
                  <a:pt x="3483997" y="1090512"/>
                  <a:pt x="3480353" y="1094157"/>
                </a:cubicBezTo>
                <a:cubicBezTo>
                  <a:pt x="3482175" y="1094157"/>
                  <a:pt x="3482175" y="1094157"/>
                  <a:pt x="3483997" y="1095979"/>
                </a:cubicBezTo>
                <a:cubicBezTo>
                  <a:pt x="3476708" y="1099623"/>
                  <a:pt x="3473064" y="1095979"/>
                  <a:pt x="3465775" y="1094157"/>
                </a:cubicBezTo>
                <a:cubicBezTo>
                  <a:pt x="3463953" y="1092335"/>
                  <a:pt x="3456664" y="1092335"/>
                  <a:pt x="3458487" y="1095979"/>
                </a:cubicBezTo>
                <a:cubicBezTo>
                  <a:pt x="3462131" y="1106912"/>
                  <a:pt x="3476708" y="1103268"/>
                  <a:pt x="3487641" y="1110556"/>
                </a:cubicBezTo>
                <a:cubicBezTo>
                  <a:pt x="3483997" y="1110556"/>
                  <a:pt x="3480353" y="1106912"/>
                  <a:pt x="3476708" y="1108734"/>
                </a:cubicBezTo>
                <a:cubicBezTo>
                  <a:pt x="3478530" y="1110556"/>
                  <a:pt x="3478530" y="1114201"/>
                  <a:pt x="3476708" y="1114201"/>
                </a:cubicBezTo>
                <a:cubicBezTo>
                  <a:pt x="3474886" y="1112378"/>
                  <a:pt x="3474886" y="1106912"/>
                  <a:pt x="3469419" y="1108734"/>
                </a:cubicBezTo>
                <a:cubicBezTo>
                  <a:pt x="3474886" y="1116023"/>
                  <a:pt x="3480353" y="1125134"/>
                  <a:pt x="3491286" y="1123312"/>
                </a:cubicBezTo>
                <a:cubicBezTo>
                  <a:pt x="3489463" y="1125134"/>
                  <a:pt x="3487641" y="1125134"/>
                  <a:pt x="3489463" y="1126956"/>
                </a:cubicBezTo>
                <a:lnTo>
                  <a:pt x="3503177" y="1133285"/>
                </a:lnTo>
                <a:lnTo>
                  <a:pt x="3493108" y="1130600"/>
                </a:lnTo>
                <a:cubicBezTo>
                  <a:pt x="3491286" y="1128778"/>
                  <a:pt x="3487641" y="1132422"/>
                  <a:pt x="3485819" y="1130600"/>
                </a:cubicBezTo>
                <a:cubicBezTo>
                  <a:pt x="3467597" y="1121489"/>
                  <a:pt x="3463953" y="1095979"/>
                  <a:pt x="3443909" y="1088690"/>
                </a:cubicBezTo>
                <a:cubicBezTo>
                  <a:pt x="3442087" y="1088690"/>
                  <a:pt x="3445731" y="1092335"/>
                  <a:pt x="3443909" y="1090512"/>
                </a:cubicBezTo>
                <a:cubicBezTo>
                  <a:pt x="3436621" y="1085046"/>
                  <a:pt x="3431154" y="1074113"/>
                  <a:pt x="3420221" y="1070469"/>
                </a:cubicBezTo>
                <a:cubicBezTo>
                  <a:pt x="3407466" y="1066824"/>
                  <a:pt x="3392888" y="1048602"/>
                  <a:pt x="3385600" y="1063180"/>
                </a:cubicBezTo>
                <a:cubicBezTo>
                  <a:pt x="3383777" y="1061358"/>
                  <a:pt x="3383777" y="1059535"/>
                  <a:pt x="3381955" y="1059535"/>
                </a:cubicBezTo>
                <a:cubicBezTo>
                  <a:pt x="3378311" y="1063180"/>
                  <a:pt x="3376489" y="1072291"/>
                  <a:pt x="3371022" y="1070469"/>
                </a:cubicBezTo>
                <a:cubicBezTo>
                  <a:pt x="3365556" y="1070469"/>
                  <a:pt x="3361911" y="1063180"/>
                  <a:pt x="3363734" y="1057713"/>
                </a:cubicBezTo>
                <a:cubicBezTo>
                  <a:pt x="3358267" y="1057713"/>
                  <a:pt x="3358267" y="1063180"/>
                  <a:pt x="3356445" y="1065002"/>
                </a:cubicBezTo>
                <a:cubicBezTo>
                  <a:pt x="3356445" y="1059535"/>
                  <a:pt x="3358267" y="1050425"/>
                  <a:pt x="3354623" y="1052247"/>
                </a:cubicBezTo>
                <a:cubicBezTo>
                  <a:pt x="3347334" y="1055891"/>
                  <a:pt x="3360089" y="1068646"/>
                  <a:pt x="3352800" y="1075935"/>
                </a:cubicBezTo>
                <a:cubicBezTo>
                  <a:pt x="3352800" y="1063180"/>
                  <a:pt x="3350978" y="1050425"/>
                  <a:pt x="3340045" y="1043136"/>
                </a:cubicBezTo>
                <a:cubicBezTo>
                  <a:pt x="3343690" y="1043136"/>
                  <a:pt x="3345512" y="1041314"/>
                  <a:pt x="3347334" y="1039492"/>
                </a:cubicBezTo>
                <a:lnTo>
                  <a:pt x="3297233" y="1045564"/>
                </a:lnTo>
                <a:lnTo>
                  <a:pt x="3327290" y="1035847"/>
                </a:lnTo>
                <a:cubicBezTo>
                  <a:pt x="3329112" y="1035847"/>
                  <a:pt x="3325468" y="1028559"/>
                  <a:pt x="3330934" y="1030381"/>
                </a:cubicBezTo>
                <a:cubicBezTo>
                  <a:pt x="3334579" y="1024914"/>
                  <a:pt x="3320001" y="1024914"/>
                  <a:pt x="3320001" y="1019448"/>
                </a:cubicBezTo>
                <a:cubicBezTo>
                  <a:pt x="3316357" y="1024914"/>
                  <a:pt x="3307246" y="1017625"/>
                  <a:pt x="3305424" y="1026736"/>
                </a:cubicBezTo>
                <a:cubicBezTo>
                  <a:pt x="3299957" y="1023092"/>
                  <a:pt x="3298135" y="1021270"/>
                  <a:pt x="3296313" y="1026736"/>
                </a:cubicBezTo>
                <a:cubicBezTo>
                  <a:pt x="3290847" y="1032203"/>
                  <a:pt x="3303602" y="1030381"/>
                  <a:pt x="3305424" y="1034025"/>
                </a:cubicBezTo>
                <a:cubicBezTo>
                  <a:pt x="3307246" y="1028559"/>
                  <a:pt x="3312713" y="1030381"/>
                  <a:pt x="3318179" y="1030381"/>
                </a:cubicBezTo>
                <a:cubicBezTo>
                  <a:pt x="3314535" y="1032203"/>
                  <a:pt x="3305424" y="1030381"/>
                  <a:pt x="3307246" y="1037669"/>
                </a:cubicBezTo>
                <a:cubicBezTo>
                  <a:pt x="3298135" y="1035847"/>
                  <a:pt x="3290847" y="1034025"/>
                  <a:pt x="3287202" y="1026736"/>
                </a:cubicBezTo>
                <a:cubicBezTo>
                  <a:pt x="3285380" y="1028559"/>
                  <a:pt x="3281736" y="1030381"/>
                  <a:pt x="3279913" y="1034025"/>
                </a:cubicBezTo>
                <a:cubicBezTo>
                  <a:pt x="3259869" y="1028559"/>
                  <a:pt x="3239826" y="1046780"/>
                  <a:pt x="3238003" y="1066824"/>
                </a:cubicBezTo>
                <a:cubicBezTo>
                  <a:pt x="3241648" y="1074113"/>
                  <a:pt x="3248937" y="1068646"/>
                  <a:pt x="3254403" y="1074113"/>
                </a:cubicBezTo>
                <a:cubicBezTo>
                  <a:pt x="3258047" y="1070469"/>
                  <a:pt x="3268980" y="1066824"/>
                  <a:pt x="3265336" y="1059535"/>
                </a:cubicBezTo>
                <a:lnTo>
                  <a:pt x="3289969" y="1048725"/>
                </a:lnTo>
                <a:lnTo>
                  <a:pt x="3271230" y="1059991"/>
                </a:lnTo>
                <a:cubicBezTo>
                  <a:pt x="3264312" y="1065685"/>
                  <a:pt x="3258503" y="1072290"/>
                  <a:pt x="3254403" y="1079579"/>
                </a:cubicBezTo>
                <a:cubicBezTo>
                  <a:pt x="3261692" y="1081402"/>
                  <a:pt x="3267158" y="1074113"/>
                  <a:pt x="3270803" y="1068646"/>
                </a:cubicBezTo>
                <a:cubicBezTo>
                  <a:pt x="3276269" y="1074113"/>
                  <a:pt x="3265336" y="1077757"/>
                  <a:pt x="3268980" y="1079579"/>
                </a:cubicBezTo>
                <a:cubicBezTo>
                  <a:pt x="3270803" y="1079579"/>
                  <a:pt x="3276269" y="1075935"/>
                  <a:pt x="3276269" y="1077757"/>
                </a:cubicBezTo>
                <a:cubicBezTo>
                  <a:pt x="3292669" y="1099623"/>
                  <a:pt x="3314535" y="1074113"/>
                  <a:pt x="3330934" y="1070469"/>
                </a:cubicBezTo>
                <a:cubicBezTo>
                  <a:pt x="3332756" y="1068646"/>
                  <a:pt x="3336401" y="1074113"/>
                  <a:pt x="3338223" y="1070469"/>
                </a:cubicBezTo>
                <a:cubicBezTo>
                  <a:pt x="3338223" y="1070469"/>
                  <a:pt x="3338223" y="1070469"/>
                  <a:pt x="3336401" y="1068646"/>
                </a:cubicBezTo>
                <a:cubicBezTo>
                  <a:pt x="3338223" y="1068646"/>
                  <a:pt x="3338223" y="1068646"/>
                  <a:pt x="3340045" y="1068646"/>
                </a:cubicBezTo>
                <a:cubicBezTo>
                  <a:pt x="3341867" y="1072291"/>
                  <a:pt x="3343690" y="1077757"/>
                  <a:pt x="3349156" y="1079579"/>
                </a:cubicBezTo>
                <a:cubicBezTo>
                  <a:pt x="3345512" y="1086868"/>
                  <a:pt x="3347334" y="1094157"/>
                  <a:pt x="3354623" y="1099623"/>
                </a:cubicBezTo>
                <a:cubicBezTo>
                  <a:pt x="3345512" y="1103268"/>
                  <a:pt x="3338223" y="1088690"/>
                  <a:pt x="3329112" y="1094157"/>
                </a:cubicBezTo>
                <a:cubicBezTo>
                  <a:pt x="3325468" y="1095979"/>
                  <a:pt x="3327290" y="1086868"/>
                  <a:pt x="3323646" y="1086868"/>
                </a:cubicBezTo>
                <a:cubicBezTo>
                  <a:pt x="3312713" y="1088690"/>
                  <a:pt x="3303602" y="1092335"/>
                  <a:pt x="3294491" y="1095979"/>
                </a:cubicBezTo>
                <a:cubicBezTo>
                  <a:pt x="3299957" y="1099623"/>
                  <a:pt x="3296313" y="1110556"/>
                  <a:pt x="3305424" y="1110556"/>
                </a:cubicBezTo>
                <a:cubicBezTo>
                  <a:pt x="3307246" y="1110556"/>
                  <a:pt x="3307246" y="1106912"/>
                  <a:pt x="3309068" y="1105090"/>
                </a:cubicBezTo>
                <a:cubicBezTo>
                  <a:pt x="3311802" y="1114656"/>
                  <a:pt x="3322735" y="1116023"/>
                  <a:pt x="3327262" y="1121489"/>
                </a:cubicBezTo>
                <a:lnTo>
                  <a:pt x="3328239" y="1125341"/>
                </a:lnTo>
                <a:lnTo>
                  <a:pt x="3328201" y="1125589"/>
                </a:lnTo>
                <a:lnTo>
                  <a:pt x="3328325" y="1125675"/>
                </a:lnTo>
                <a:lnTo>
                  <a:pt x="3329112" y="1128778"/>
                </a:lnTo>
                <a:lnTo>
                  <a:pt x="3331797" y="1128107"/>
                </a:lnTo>
                <a:lnTo>
                  <a:pt x="3332756" y="1128778"/>
                </a:lnTo>
                <a:lnTo>
                  <a:pt x="3332425" y="1127950"/>
                </a:lnTo>
                <a:lnTo>
                  <a:pt x="3336401" y="1126956"/>
                </a:lnTo>
                <a:lnTo>
                  <a:pt x="3331542" y="1125741"/>
                </a:lnTo>
                <a:lnTo>
                  <a:pt x="3331299" y="1125134"/>
                </a:lnTo>
                <a:lnTo>
                  <a:pt x="3347562" y="1125134"/>
                </a:lnTo>
                <a:cubicBezTo>
                  <a:pt x="3353256" y="1123311"/>
                  <a:pt x="3358267" y="1119667"/>
                  <a:pt x="3361911" y="1114201"/>
                </a:cubicBezTo>
                <a:cubicBezTo>
                  <a:pt x="3361911" y="1112378"/>
                  <a:pt x="3360089" y="1112378"/>
                  <a:pt x="3360089" y="1110556"/>
                </a:cubicBezTo>
                <a:cubicBezTo>
                  <a:pt x="3363734" y="1105090"/>
                  <a:pt x="3371022" y="1108734"/>
                  <a:pt x="3374666" y="1103268"/>
                </a:cubicBezTo>
                <a:cubicBezTo>
                  <a:pt x="3367378" y="1114201"/>
                  <a:pt x="3381955" y="1116023"/>
                  <a:pt x="3383777" y="1126956"/>
                </a:cubicBezTo>
                <a:cubicBezTo>
                  <a:pt x="3381955" y="1123312"/>
                  <a:pt x="3376489" y="1125134"/>
                  <a:pt x="3374666" y="1125134"/>
                </a:cubicBezTo>
                <a:cubicBezTo>
                  <a:pt x="3376489" y="1126956"/>
                  <a:pt x="3381955" y="1128778"/>
                  <a:pt x="3383777" y="1132422"/>
                </a:cubicBezTo>
                <a:cubicBezTo>
                  <a:pt x="3378311" y="1136067"/>
                  <a:pt x="3378311" y="1130600"/>
                  <a:pt x="3376489" y="1130600"/>
                </a:cubicBezTo>
                <a:cubicBezTo>
                  <a:pt x="3371934" y="1132422"/>
                  <a:pt x="3371478" y="1136067"/>
                  <a:pt x="3372617" y="1139256"/>
                </a:cubicBezTo>
                <a:lnTo>
                  <a:pt x="3377304" y="1144130"/>
                </a:lnTo>
                <a:lnTo>
                  <a:pt x="3371022" y="1145178"/>
                </a:lnTo>
                <a:cubicBezTo>
                  <a:pt x="3371022" y="1148822"/>
                  <a:pt x="3367378" y="1154288"/>
                  <a:pt x="3369200" y="1159755"/>
                </a:cubicBezTo>
                <a:cubicBezTo>
                  <a:pt x="3367378" y="1159755"/>
                  <a:pt x="3365556" y="1159755"/>
                  <a:pt x="3363734" y="1157933"/>
                </a:cubicBezTo>
                <a:cubicBezTo>
                  <a:pt x="3362823" y="1155199"/>
                  <a:pt x="3362823" y="1151555"/>
                  <a:pt x="3362139" y="1148821"/>
                </a:cubicBezTo>
                <a:lnTo>
                  <a:pt x="3360374" y="1147692"/>
                </a:lnTo>
                <a:lnTo>
                  <a:pt x="3367378" y="1145178"/>
                </a:lnTo>
                <a:cubicBezTo>
                  <a:pt x="3367378" y="1139711"/>
                  <a:pt x="3360089" y="1143355"/>
                  <a:pt x="3361911" y="1136067"/>
                </a:cubicBezTo>
                <a:cubicBezTo>
                  <a:pt x="3354623" y="1137889"/>
                  <a:pt x="3356445" y="1147000"/>
                  <a:pt x="3350978" y="1148822"/>
                </a:cubicBezTo>
                <a:lnTo>
                  <a:pt x="3356142" y="1148509"/>
                </a:lnTo>
                <a:lnTo>
                  <a:pt x="3355990" y="1150188"/>
                </a:lnTo>
                <a:cubicBezTo>
                  <a:pt x="3355079" y="1151099"/>
                  <a:pt x="3353712" y="1151555"/>
                  <a:pt x="3352800" y="1152466"/>
                </a:cubicBezTo>
                <a:cubicBezTo>
                  <a:pt x="3352800" y="1152466"/>
                  <a:pt x="3354623" y="1152466"/>
                  <a:pt x="3354623" y="1150644"/>
                </a:cubicBezTo>
                <a:cubicBezTo>
                  <a:pt x="3352800" y="1148822"/>
                  <a:pt x="3349156" y="1148822"/>
                  <a:pt x="3349156" y="1150644"/>
                </a:cubicBezTo>
                <a:cubicBezTo>
                  <a:pt x="3349156" y="1161577"/>
                  <a:pt x="3340045" y="1157933"/>
                  <a:pt x="3332756" y="1165222"/>
                </a:cubicBezTo>
                <a:cubicBezTo>
                  <a:pt x="3336401" y="1165222"/>
                  <a:pt x="3338223" y="1165222"/>
                  <a:pt x="3340045" y="1167044"/>
                </a:cubicBezTo>
                <a:cubicBezTo>
                  <a:pt x="3340045" y="1168866"/>
                  <a:pt x="3341867" y="1168866"/>
                  <a:pt x="3340045" y="1170688"/>
                </a:cubicBezTo>
                <a:cubicBezTo>
                  <a:pt x="3336401" y="1172510"/>
                  <a:pt x="3334579" y="1170688"/>
                  <a:pt x="3332756" y="1172510"/>
                </a:cubicBezTo>
                <a:cubicBezTo>
                  <a:pt x="3338223" y="1172510"/>
                  <a:pt x="3338223" y="1177977"/>
                  <a:pt x="3336401" y="1181621"/>
                </a:cubicBezTo>
                <a:cubicBezTo>
                  <a:pt x="3341867" y="1181621"/>
                  <a:pt x="3347334" y="1181621"/>
                  <a:pt x="3352800" y="1179799"/>
                </a:cubicBezTo>
                <a:cubicBezTo>
                  <a:pt x="3352800" y="1179799"/>
                  <a:pt x="3352800" y="1177977"/>
                  <a:pt x="3350978" y="1176155"/>
                </a:cubicBezTo>
                <a:cubicBezTo>
                  <a:pt x="3356445" y="1170688"/>
                  <a:pt x="3365556" y="1172510"/>
                  <a:pt x="3367378" y="1177977"/>
                </a:cubicBezTo>
                <a:lnTo>
                  <a:pt x="3367112" y="1179977"/>
                </a:lnTo>
                <a:lnTo>
                  <a:pt x="3361911" y="1183443"/>
                </a:lnTo>
                <a:lnTo>
                  <a:pt x="3364257" y="1184526"/>
                </a:lnTo>
                <a:lnTo>
                  <a:pt x="3369318" y="1195011"/>
                </a:lnTo>
                <a:lnTo>
                  <a:pt x="3365556" y="1198021"/>
                </a:lnTo>
                <a:lnTo>
                  <a:pt x="3366446" y="1198614"/>
                </a:lnTo>
                <a:lnTo>
                  <a:pt x="3359862" y="1202804"/>
                </a:lnTo>
                <a:cubicBezTo>
                  <a:pt x="3357357" y="1205765"/>
                  <a:pt x="3355534" y="1209865"/>
                  <a:pt x="3356445" y="1214420"/>
                </a:cubicBezTo>
                <a:cubicBezTo>
                  <a:pt x="3356445" y="1218065"/>
                  <a:pt x="3350978" y="1210776"/>
                  <a:pt x="3350978" y="1216242"/>
                </a:cubicBezTo>
                <a:cubicBezTo>
                  <a:pt x="3352800" y="1223531"/>
                  <a:pt x="3352800" y="1227175"/>
                  <a:pt x="3347334" y="1230820"/>
                </a:cubicBezTo>
                <a:cubicBezTo>
                  <a:pt x="3352800" y="1232642"/>
                  <a:pt x="3358267" y="1230820"/>
                  <a:pt x="3361911" y="1228998"/>
                </a:cubicBezTo>
                <a:cubicBezTo>
                  <a:pt x="3361911" y="1227175"/>
                  <a:pt x="3361911" y="1227175"/>
                  <a:pt x="3360089" y="1225353"/>
                </a:cubicBezTo>
                <a:cubicBezTo>
                  <a:pt x="3361911" y="1225353"/>
                  <a:pt x="3365556" y="1223531"/>
                  <a:pt x="3367378" y="1225353"/>
                </a:cubicBezTo>
                <a:cubicBezTo>
                  <a:pt x="3372844" y="1234464"/>
                  <a:pt x="3374666" y="1230820"/>
                  <a:pt x="3383777" y="1232642"/>
                </a:cubicBezTo>
                <a:cubicBezTo>
                  <a:pt x="3380133" y="1228998"/>
                  <a:pt x="3387422" y="1228998"/>
                  <a:pt x="3385600" y="1225353"/>
                </a:cubicBezTo>
                <a:cubicBezTo>
                  <a:pt x="3390155" y="1222620"/>
                  <a:pt x="3396533" y="1220798"/>
                  <a:pt x="3401316" y="1221709"/>
                </a:cubicBezTo>
                <a:lnTo>
                  <a:pt x="3405028" y="1229408"/>
                </a:lnTo>
                <a:lnTo>
                  <a:pt x="3400177" y="1232642"/>
                </a:lnTo>
                <a:cubicBezTo>
                  <a:pt x="3400177" y="1233553"/>
                  <a:pt x="3400177" y="1234920"/>
                  <a:pt x="3400861" y="1235830"/>
                </a:cubicBezTo>
                <a:lnTo>
                  <a:pt x="3400934" y="1235837"/>
                </a:lnTo>
                <a:lnTo>
                  <a:pt x="3398355" y="1236286"/>
                </a:lnTo>
                <a:cubicBezTo>
                  <a:pt x="3407466" y="1241753"/>
                  <a:pt x="3418399" y="1239931"/>
                  <a:pt x="3427510" y="1238108"/>
                </a:cubicBezTo>
                <a:cubicBezTo>
                  <a:pt x="3431154" y="1238108"/>
                  <a:pt x="3422043" y="1239931"/>
                  <a:pt x="3423865" y="1243575"/>
                </a:cubicBezTo>
                <a:cubicBezTo>
                  <a:pt x="3427510" y="1254508"/>
                  <a:pt x="3425687" y="1263619"/>
                  <a:pt x="3434798" y="1270908"/>
                </a:cubicBezTo>
                <a:cubicBezTo>
                  <a:pt x="3438443" y="1272730"/>
                  <a:pt x="3440265" y="1270908"/>
                  <a:pt x="3440265" y="1269085"/>
                </a:cubicBezTo>
                <a:cubicBezTo>
                  <a:pt x="3440265" y="1261797"/>
                  <a:pt x="3434798" y="1256330"/>
                  <a:pt x="3432976" y="1249042"/>
                </a:cubicBezTo>
                <a:cubicBezTo>
                  <a:pt x="3436621" y="1250864"/>
                  <a:pt x="3440265" y="1245397"/>
                  <a:pt x="3443909" y="1247219"/>
                </a:cubicBezTo>
                <a:cubicBezTo>
                  <a:pt x="3445731" y="1249042"/>
                  <a:pt x="3443909" y="1250864"/>
                  <a:pt x="3445731" y="1252686"/>
                </a:cubicBezTo>
                <a:cubicBezTo>
                  <a:pt x="3447553" y="1258152"/>
                  <a:pt x="3449376" y="1252686"/>
                  <a:pt x="3451198" y="1250864"/>
                </a:cubicBezTo>
                <a:cubicBezTo>
                  <a:pt x="3449376" y="1258152"/>
                  <a:pt x="3451198" y="1259975"/>
                  <a:pt x="3454842" y="1265441"/>
                </a:cubicBezTo>
                <a:cubicBezTo>
                  <a:pt x="3445731" y="1267263"/>
                  <a:pt x="3456664" y="1272730"/>
                  <a:pt x="3453020" y="1278196"/>
                </a:cubicBezTo>
                <a:cubicBezTo>
                  <a:pt x="3451198" y="1270908"/>
                  <a:pt x="3445731" y="1276374"/>
                  <a:pt x="3443909" y="1276374"/>
                </a:cubicBezTo>
                <a:cubicBezTo>
                  <a:pt x="3445731" y="1278196"/>
                  <a:pt x="3443909" y="1280018"/>
                  <a:pt x="3445731" y="1281841"/>
                </a:cubicBezTo>
                <a:cubicBezTo>
                  <a:pt x="3449376" y="1283663"/>
                  <a:pt x="3453020" y="1276374"/>
                  <a:pt x="3456664" y="1278196"/>
                </a:cubicBezTo>
                <a:cubicBezTo>
                  <a:pt x="3458487" y="1278196"/>
                  <a:pt x="3459853" y="1280474"/>
                  <a:pt x="3459626" y="1283207"/>
                </a:cubicBezTo>
                <a:lnTo>
                  <a:pt x="3453113" y="1290842"/>
                </a:lnTo>
                <a:lnTo>
                  <a:pt x="3452890" y="1290430"/>
                </a:lnTo>
                <a:lnTo>
                  <a:pt x="3451198" y="1283663"/>
                </a:lnTo>
                <a:cubicBezTo>
                  <a:pt x="3447553" y="1281841"/>
                  <a:pt x="3445731" y="1285485"/>
                  <a:pt x="3443909" y="1287307"/>
                </a:cubicBezTo>
                <a:cubicBezTo>
                  <a:pt x="3445731" y="1289129"/>
                  <a:pt x="3445731" y="1290951"/>
                  <a:pt x="3447553" y="1292774"/>
                </a:cubicBezTo>
                <a:lnTo>
                  <a:pt x="3450098" y="1291925"/>
                </a:lnTo>
                <a:lnTo>
                  <a:pt x="3450059" y="1292090"/>
                </a:lnTo>
                <a:lnTo>
                  <a:pt x="3451261" y="1294586"/>
                </a:lnTo>
                <a:lnTo>
                  <a:pt x="3451198" y="1294596"/>
                </a:lnTo>
                <a:cubicBezTo>
                  <a:pt x="3447553" y="1300062"/>
                  <a:pt x="3453020" y="1303707"/>
                  <a:pt x="3458487" y="1305529"/>
                </a:cubicBezTo>
                <a:cubicBezTo>
                  <a:pt x="3456664" y="1301885"/>
                  <a:pt x="3458487" y="1296418"/>
                  <a:pt x="3460309" y="1294596"/>
                </a:cubicBezTo>
                <a:cubicBezTo>
                  <a:pt x="3462131" y="1294596"/>
                  <a:pt x="3465775" y="1294596"/>
                  <a:pt x="3467597" y="1296418"/>
                </a:cubicBezTo>
                <a:cubicBezTo>
                  <a:pt x="3473064" y="1303707"/>
                  <a:pt x="3462131" y="1307351"/>
                  <a:pt x="3465775" y="1310995"/>
                </a:cubicBezTo>
                <a:cubicBezTo>
                  <a:pt x="3467597" y="1312818"/>
                  <a:pt x="3471242" y="1309173"/>
                  <a:pt x="3474886" y="1307351"/>
                </a:cubicBezTo>
                <a:cubicBezTo>
                  <a:pt x="3473064" y="1305529"/>
                  <a:pt x="3471242" y="1305529"/>
                  <a:pt x="3471242" y="1303707"/>
                </a:cubicBezTo>
                <a:cubicBezTo>
                  <a:pt x="3473064" y="1300062"/>
                  <a:pt x="3480353" y="1300062"/>
                  <a:pt x="3480353" y="1301885"/>
                </a:cubicBezTo>
                <a:cubicBezTo>
                  <a:pt x="3487641" y="1310995"/>
                  <a:pt x="3469419" y="1310995"/>
                  <a:pt x="3463953" y="1316462"/>
                </a:cubicBezTo>
                <a:cubicBezTo>
                  <a:pt x="3473064" y="1321929"/>
                  <a:pt x="3480353" y="1316462"/>
                  <a:pt x="3487641" y="1310995"/>
                </a:cubicBezTo>
                <a:cubicBezTo>
                  <a:pt x="3494930" y="1307351"/>
                  <a:pt x="3504041" y="1316462"/>
                  <a:pt x="3514974" y="1318284"/>
                </a:cubicBezTo>
                <a:cubicBezTo>
                  <a:pt x="3511330" y="1320106"/>
                  <a:pt x="3504041" y="1316462"/>
                  <a:pt x="3502219" y="1320106"/>
                </a:cubicBezTo>
                <a:cubicBezTo>
                  <a:pt x="3502219" y="1321929"/>
                  <a:pt x="3504041" y="1325573"/>
                  <a:pt x="3505863" y="1327395"/>
                </a:cubicBezTo>
                <a:cubicBezTo>
                  <a:pt x="3500397" y="1327395"/>
                  <a:pt x="3500397" y="1320106"/>
                  <a:pt x="3494930" y="1318284"/>
                </a:cubicBezTo>
                <a:cubicBezTo>
                  <a:pt x="3482175" y="1318284"/>
                  <a:pt x="3476708" y="1329217"/>
                  <a:pt x="3478530" y="1338328"/>
                </a:cubicBezTo>
                <a:cubicBezTo>
                  <a:pt x="3478530" y="1340150"/>
                  <a:pt x="3478530" y="1343795"/>
                  <a:pt x="3480353" y="1345617"/>
                </a:cubicBezTo>
                <a:cubicBezTo>
                  <a:pt x="3473520" y="1338784"/>
                  <a:pt x="3473861" y="1327850"/>
                  <a:pt x="3467541" y="1327423"/>
                </a:cubicBezTo>
                <a:lnTo>
                  <a:pt x="3464015" y="1328831"/>
                </a:lnTo>
                <a:lnTo>
                  <a:pt x="3464864" y="1323523"/>
                </a:lnTo>
                <a:cubicBezTo>
                  <a:pt x="3463498" y="1322385"/>
                  <a:pt x="3461220" y="1321929"/>
                  <a:pt x="3460309" y="1321929"/>
                </a:cubicBezTo>
                <a:cubicBezTo>
                  <a:pt x="3457576" y="1324662"/>
                  <a:pt x="3458031" y="1326028"/>
                  <a:pt x="3459398" y="1326940"/>
                </a:cubicBezTo>
                <a:lnTo>
                  <a:pt x="3463552" y="1329016"/>
                </a:lnTo>
                <a:lnTo>
                  <a:pt x="3458487" y="1331039"/>
                </a:lnTo>
                <a:lnTo>
                  <a:pt x="3465673" y="1332941"/>
                </a:lnTo>
                <a:lnTo>
                  <a:pt x="3459626" y="1337645"/>
                </a:lnTo>
                <a:lnTo>
                  <a:pt x="3460107" y="1341972"/>
                </a:lnTo>
                <a:lnTo>
                  <a:pt x="3456664" y="1341972"/>
                </a:lnTo>
                <a:cubicBezTo>
                  <a:pt x="3454842" y="1343795"/>
                  <a:pt x="3454842" y="1349261"/>
                  <a:pt x="3456664" y="1351083"/>
                </a:cubicBezTo>
                <a:cubicBezTo>
                  <a:pt x="3460309" y="1352905"/>
                  <a:pt x="3463953" y="1352905"/>
                  <a:pt x="3469419" y="1352905"/>
                </a:cubicBezTo>
                <a:cubicBezTo>
                  <a:pt x="3469419" y="1349261"/>
                  <a:pt x="3469419" y="1347439"/>
                  <a:pt x="3471242" y="1345617"/>
                </a:cubicBezTo>
                <a:cubicBezTo>
                  <a:pt x="3474886" y="1349261"/>
                  <a:pt x="3478530" y="1354728"/>
                  <a:pt x="3482175" y="1358372"/>
                </a:cubicBezTo>
                <a:cubicBezTo>
                  <a:pt x="3469419" y="1352905"/>
                  <a:pt x="3460309" y="1358372"/>
                  <a:pt x="3449376" y="1365661"/>
                </a:cubicBezTo>
                <a:cubicBezTo>
                  <a:pt x="3447553" y="1362016"/>
                  <a:pt x="3453020" y="1354728"/>
                  <a:pt x="3445731" y="1351083"/>
                </a:cubicBezTo>
                <a:cubicBezTo>
                  <a:pt x="3445731" y="1354728"/>
                  <a:pt x="3445731" y="1360194"/>
                  <a:pt x="3447553" y="1365661"/>
                </a:cubicBezTo>
                <a:cubicBezTo>
                  <a:pt x="3440265" y="1363838"/>
                  <a:pt x="3438443" y="1356550"/>
                  <a:pt x="3442087" y="1351083"/>
                </a:cubicBezTo>
                <a:cubicBezTo>
                  <a:pt x="3434798" y="1358372"/>
                  <a:pt x="3429332" y="1356550"/>
                  <a:pt x="3422043" y="1360194"/>
                </a:cubicBezTo>
                <a:cubicBezTo>
                  <a:pt x="3418399" y="1360194"/>
                  <a:pt x="3422043" y="1369305"/>
                  <a:pt x="3420221" y="1374771"/>
                </a:cubicBezTo>
                <a:cubicBezTo>
                  <a:pt x="3420221" y="1374771"/>
                  <a:pt x="3418399" y="1372949"/>
                  <a:pt x="3418399" y="1372949"/>
                </a:cubicBezTo>
                <a:cubicBezTo>
                  <a:pt x="3416577" y="1371127"/>
                  <a:pt x="3414754" y="1372949"/>
                  <a:pt x="3414754" y="1374771"/>
                </a:cubicBezTo>
                <a:cubicBezTo>
                  <a:pt x="3423865" y="1380238"/>
                  <a:pt x="3429332" y="1385705"/>
                  <a:pt x="3436621" y="1374771"/>
                </a:cubicBezTo>
                <a:cubicBezTo>
                  <a:pt x="3436621" y="1376594"/>
                  <a:pt x="3436621" y="1380238"/>
                  <a:pt x="3438443" y="1380238"/>
                </a:cubicBezTo>
                <a:cubicBezTo>
                  <a:pt x="3445731" y="1380238"/>
                  <a:pt x="3451198" y="1374771"/>
                  <a:pt x="3454842" y="1369305"/>
                </a:cubicBezTo>
                <a:cubicBezTo>
                  <a:pt x="3453020" y="1380238"/>
                  <a:pt x="3463953" y="1376594"/>
                  <a:pt x="3471242" y="1374771"/>
                </a:cubicBezTo>
                <a:cubicBezTo>
                  <a:pt x="3469419" y="1372949"/>
                  <a:pt x="3467597" y="1369305"/>
                  <a:pt x="3469419" y="1369305"/>
                </a:cubicBezTo>
                <a:cubicBezTo>
                  <a:pt x="3487641" y="1369305"/>
                  <a:pt x="3504041" y="1372949"/>
                  <a:pt x="3520440" y="1362016"/>
                </a:cubicBezTo>
                <a:lnTo>
                  <a:pt x="3515849" y="1376708"/>
                </a:lnTo>
                <a:lnTo>
                  <a:pt x="3511330" y="1374771"/>
                </a:lnTo>
                <a:cubicBezTo>
                  <a:pt x="3509507" y="1380238"/>
                  <a:pt x="3513152" y="1380238"/>
                  <a:pt x="3513152" y="1383882"/>
                </a:cubicBezTo>
                <a:lnTo>
                  <a:pt x="3513815" y="1383220"/>
                </a:lnTo>
                <a:lnTo>
                  <a:pt x="3511330" y="1391171"/>
                </a:lnTo>
                <a:cubicBezTo>
                  <a:pt x="3507685" y="1389349"/>
                  <a:pt x="3509507" y="1385705"/>
                  <a:pt x="3509507" y="1383882"/>
                </a:cubicBezTo>
                <a:lnTo>
                  <a:pt x="3504998" y="1390015"/>
                </a:lnTo>
                <a:lnTo>
                  <a:pt x="3506091" y="1386615"/>
                </a:lnTo>
                <a:cubicBezTo>
                  <a:pt x="3505408" y="1384338"/>
                  <a:pt x="3504041" y="1382060"/>
                  <a:pt x="3504041" y="1380238"/>
                </a:cubicBezTo>
                <a:cubicBezTo>
                  <a:pt x="3503130" y="1380238"/>
                  <a:pt x="3502675" y="1382516"/>
                  <a:pt x="3502675" y="1385249"/>
                </a:cubicBezTo>
                <a:lnTo>
                  <a:pt x="3503807" y="1391667"/>
                </a:lnTo>
                <a:lnTo>
                  <a:pt x="3502219" y="1402104"/>
                </a:lnTo>
                <a:lnTo>
                  <a:pt x="3493480" y="1398609"/>
                </a:lnTo>
                <a:lnTo>
                  <a:pt x="3494475" y="1394132"/>
                </a:lnTo>
                <a:cubicBezTo>
                  <a:pt x="3494019" y="1392082"/>
                  <a:pt x="3493108" y="1390260"/>
                  <a:pt x="3493108" y="1389349"/>
                </a:cubicBezTo>
                <a:cubicBezTo>
                  <a:pt x="3494930" y="1385705"/>
                  <a:pt x="3498574" y="1382060"/>
                  <a:pt x="3502219" y="1380238"/>
                </a:cubicBezTo>
                <a:cubicBezTo>
                  <a:pt x="3500397" y="1378416"/>
                  <a:pt x="3491286" y="1382060"/>
                  <a:pt x="3489463" y="1382060"/>
                </a:cubicBezTo>
                <a:cubicBezTo>
                  <a:pt x="3488552" y="1385705"/>
                  <a:pt x="3489008" y="1388893"/>
                  <a:pt x="3489919" y="1391854"/>
                </a:cubicBezTo>
                <a:lnTo>
                  <a:pt x="3492844" y="1399583"/>
                </a:lnTo>
                <a:lnTo>
                  <a:pt x="3491391" y="1405759"/>
                </a:lnTo>
                <a:lnTo>
                  <a:pt x="3491286" y="1402104"/>
                </a:lnTo>
                <a:cubicBezTo>
                  <a:pt x="3482175" y="1403926"/>
                  <a:pt x="3476708" y="1413037"/>
                  <a:pt x="3476708" y="1420326"/>
                </a:cubicBezTo>
                <a:cubicBezTo>
                  <a:pt x="3482175" y="1411215"/>
                  <a:pt x="3485819" y="1423970"/>
                  <a:pt x="3493108" y="1416681"/>
                </a:cubicBezTo>
                <a:cubicBezTo>
                  <a:pt x="3493108" y="1413948"/>
                  <a:pt x="3492197" y="1412126"/>
                  <a:pt x="3491514" y="1410076"/>
                </a:cubicBezTo>
                <a:lnTo>
                  <a:pt x="3491414" y="1406571"/>
                </a:lnTo>
                <a:lnTo>
                  <a:pt x="3494930" y="1416681"/>
                </a:lnTo>
                <a:cubicBezTo>
                  <a:pt x="3496752" y="1411215"/>
                  <a:pt x="3496752" y="1407571"/>
                  <a:pt x="3502219" y="1409393"/>
                </a:cubicBezTo>
                <a:cubicBezTo>
                  <a:pt x="3502219" y="1411215"/>
                  <a:pt x="3504041" y="1413037"/>
                  <a:pt x="3504041" y="1414859"/>
                </a:cubicBezTo>
                <a:cubicBezTo>
                  <a:pt x="3505863" y="1418504"/>
                  <a:pt x="3504041" y="1422148"/>
                  <a:pt x="3502219" y="1425792"/>
                </a:cubicBezTo>
                <a:cubicBezTo>
                  <a:pt x="3502219" y="1422148"/>
                  <a:pt x="3504041" y="1416681"/>
                  <a:pt x="3500397" y="1413037"/>
                </a:cubicBezTo>
                <a:cubicBezTo>
                  <a:pt x="3497663" y="1425337"/>
                  <a:pt x="3503130" y="1439687"/>
                  <a:pt x="3496041" y="1447630"/>
                </a:cubicBezTo>
                <a:lnTo>
                  <a:pt x="3495477" y="1447887"/>
                </a:lnTo>
                <a:lnTo>
                  <a:pt x="3495841" y="1445608"/>
                </a:lnTo>
                <a:cubicBezTo>
                  <a:pt x="3494930" y="1444014"/>
                  <a:pt x="3493108" y="1443103"/>
                  <a:pt x="3491286" y="1444014"/>
                </a:cubicBezTo>
                <a:cubicBezTo>
                  <a:pt x="3490375" y="1446747"/>
                  <a:pt x="3490830" y="1448114"/>
                  <a:pt x="3491741" y="1449025"/>
                </a:cubicBezTo>
                <a:lnTo>
                  <a:pt x="3492225" y="1449371"/>
                </a:lnTo>
                <a:lnTo>
                  <a:pt x="3483997" y="1453125"/>
                </a:lnTo>
                <a:cubicBezTo>
                  <a:pt x="3483997" y="1451303"/>
                  <a:pt x="3483997" y="1449481"/>
                  <a:pt x="3482175" y="1449481"/>
                </a:cubicBezTo>
                <a:cubicBezTo>
                  <a:pt x="3473064" y="1449481"/>
                  <a:pt x="3467597" y="1454947"/>
                  <a:pt x="3460309" y="1460414"/>
                </a:cubicBezTo>
                <a:cubicBezTo>
                  <a:pt x="3458487" y="1454947"/>
                  <a:pt x="3460309" y="1445836"/>
                  <a:pt x="3454842" y="1444014"/>
                </a:cubicBezTo>
                <a:cubicBezTo>
                  <a:pt x="3445731" y="1442192"/>
                  <a:pt x="3445731" y="1456769"/>
                  <a:pt x="3442087" y="1462236"/>
                </a:cubicBezTo>
                <a:cubicBezTo>
                  <a:pt x="3438443" y="1467702"/>
                  <a:pt x="3438443" y="1462236"/>
                  <a:pt x="3434798" y="1458592"/>
                </a:cubicBezTo>
                <a:cubicBezTo>
                  <a:pt x="3440265" y="1456769"/>
                  <a:pt x="3440265" y="1449481"/>
                  <a:pt x="3442087" y="1444014"/>
                </a:cubicBezTo>
                <a:cubicBezTo>
                  <a:pt x="3443909" y="1442192"/>
                  <a:pt x="3447553" y="1442192"/>
                  <a:pt x="3449376" y="1442192"/>
                </a:cubicBezTo>
                <a:cubicBezTo>
                  <a:pt x="3438443" y="1433081"/>
                  <a:pt x="3434798" y="1451303"/>
                  <a:pt x="3429332" y="1456769"/>
                </a:cubicBezTo>
                <a:cubicBezTo>
                  <a:pt x="3423865" y="1462236"/>
                  <a:pt x="3418399" y="1454947"/>
                  <a:pt x="3416577" y="1449481"/>
                </a:cubicBezTo>
                <a:cubicBezTo>
                  <a:pt x="3412933" y="1452214"/>
                  <a:pt x="3408833" y="1454492"/>
                  <a:pt x="3405416" y="1457225"/>
                </a:cubicBezTo>
                <a:lnTo>
                  <a:pt x="3399332" y="1466253"/>
                </a:lnTo>
                <a:lnTo>
                  <a:pt x="3398583" y="1464969"/>
                </a:lnTo>
                <a:cubicBezTo>
                  <a:pt x="3397899" y="1464513"/>
                  <a:pt x="3397444" y="1464058"/>
                  <a:pt x="3398355" y="1462236"/>
                </a:cubicBezTo>
                <a:cubicBezTo>
                  <a:pt x="3395622" y="1462236"/>
                  <a:pt x="3395166" y="1464514"/>
                  <a:pt x="3395849" y="1466336"/>
                </a:cubicBezTo>
                <a:lnTo>
                  <a:pt x="3398675" y="1467228"/>
                </a:lnTo>
                <a:lnTo>
                  <a:pt x="3398355" y="1467702"/>
                </a:lnTo>
                <a:cubicBezTo>
                  <a:pt x="3398355" y="1471347"/>
                  <a:pt x="3400177" y="1471347"/>
                  <a:pt x="3401999" y="1473169"/>
                </a:cubicBezTo>
                <a:cubicBezTo>
                  <a:pt x="3396532" y="1465880"/>
                  <a:pt x="3405643" y="1465880"/>
                  <a:pt x="3405643" y="1460414"/>
                </a:cubicBezTo>
                <a:cubicBezTo>
                  <a:pt x="3412932" y="1465880"/>
                  <a:pt x="3398355" y="1478635"/>
                  <a:pt x="3409288" y="1480458"/>
                </a:cubicBezTo>
                <a:cubicBezTo>
                  <a:pt x="3412932" y="1480458"/>
                  <a:pt x="3416577" y="1478635"/>
                  <a:pt x="3418399" y="1474991"/>
                </a:cubicBezTo>
                <a:cubicBezTo>
                  <a:pt x="3416577" y="1482280"/>
                  <a:pt x="3425687" y="1485924"/>
                  <a:pt x="3431154" y="1480458"/>
                </a:cubicBezTo>
                <a:cubicBezTo>
                  <a:pt x="3434798" y="1478635"/>
                  <a:pt x="3434798" y="1471347"/>
                  <a:pt x="3436621" y="1467702"/>
                </a:cubicBezTo>
                <a:cubicBezTo>
                  <a:pt x="3442087" y="1473169"/>
                  <a:pt x="3436621" y="1476813"/>
                  <a:pt x="3431154" y="1482280"/>
                </a:cubicBezTo>
                <a:cubicBezTo>
                  <a:pt x="3436621" y="1485924"/>
                  <a:pt x="3445731" y="1485924"/>
                  <a:pt x="3453020" y="1478635"/>
                </a:cubicBezTo>
                <a:cubicBezTo>
                  <a:pt x="3455754" y="1482279"/>
                  <a:pt x="3459854" y="1485013"/>
                  <a:pt x="3463270" y="1488201"/>
                </a:cubicBezTo>
                <a:lnTo>
                  <a:pt x="3464156" y="1489973"/>
                </a:lnTo>
                <a:lnTo>
                  <a:pt x="3463498" y="1489340"/>
                </a:lnTo>
                <a:cubicBezTo>
                  <a:pt x="3460764" y="1488657"/>
                  <a:pt x="3457576" y="1489568"/>
                  <a:pt x="3454842" y="1493213"/>
                </a:cubicBezTo>
                <a:lnTo>
                  <a:pt x="3459775" y="1495424"/>
                </a:lnTo>
                <a:lnTo>
                  <a:pt x="3453020" y="1496857"/>
                </a:lnTo>
                <a:cubicBezTo>
                  <a:pt x="3445731" y="1507790"/>
                  <a:pt x="3460309" y="1507790"/>
                  <a:pt x="3458487" y="1516901"/>
                </a:cubicBezTo>
                <a:cubicBezTo>
                  <a:pt x="3451198" y="1509612"/>
                  <a:pt x="3445731" y="1496857"/>
                  <a:pt x="3431154" y="1498679"/>
                </a:cubicBezTo>
                <a:cubicBezTo>
                  <a:pt x="3431154" y="1493213"/>
                  <a:pt x="3425687" y="1491391"/>
                  <a:pt x="3423865" y="1491391"/>
                </a:cubicBezTo>
                <a:cubicBezTo>
                  <a:pt x="3420221" y="1491391"/>
                  <a:pt x="3416577" y="1495035"/>
                  <a:pt x="3414754" y="1496857"/>
                </a:cubicBezTo>
                <a:cubicBezTo>
                  <a:pt x="3414754" y="1495035"/>
                  <a:pt x="3414754" y="1491391"/>
                  <a:pt x="3412932" y="1491391"/>
                </a:cubicBezTo>
                <a:cubicBezTo>
                  <a:pt x="3409288" y="1489568"/>
                  <a:pt x="3407466" y="1491391"/>
                  <a:pt x="3405643" y="1495035"/>
                </a:cubicBezTo>
                <a:cubicBezTo>
                  <a:pt x="3405643" y="1498679"/>
                  <a:pt x="3405643" y="1500501"/>
                  <a:pt x="3407466" y="1502324"/>
                </a:cubicBezTo>
                <a:lnTo>
                  <a:pt x="3406859" y="1503134"/>
                </a:lnTo>
                <a:lnTo>
                  <a:pt x="3403821" y="1496857"/>
                </a:lnTo>
                <a:cubicBezTo>
                  <a:pt x="3407466" y="1487746"/>
                  <a:pt x="3403821" y="1484102"/>
                  <a:pt x="3396532" y="1482280"/>
                </a:cubicBezTo>
                <a:cubicBezTo>
                  <a:pt x="3392888" y="1482280"/>
                  <a:pt x="3398355" y="1487746"/>
                  <a:pt x="3396532" y="1489568"/>
                </a:cubicBezTo>
                <a:cubicBezTo>
                  <a:pt x="3394710" y="1489568"/>
                  <a:pt x="3394710" y="1480458"/>
                  <a:pt x="3392888" y="1484102"/>
                </a:cubicBezTo>
                <a:cubicBezTo>
                  <a:pt x="3389244" y="1489568"/>
                  <a:pt x="3400177" y="1491391"/>
                  <a:pt x="3400177" y="1498679"/>
                </a:cubicBezTo>
                <a:lnTo>
                  <a:pt x="3394755" y="1500486"/>
                </a:lnTo>
                <a:lnTo>
                  <a:pt x="3394710" y="1498679"/>
                </a:lnTo>
                <a:cubicBezTo>
                  <a:pt x="3394710" y="1500501"/>
                  <a:pt x="3394710" y="1500501"/>
                  <a:pt x="3394710" y="1500501"/>
                </a:cubicBezTo>
                <a:lnTo>
                  <a:pt x="3394755" y="1500486"/>
                </a:lnTo>
                <a:lnTo>
                  <a:pt x="3394938" y="1507790"/>
                </a:lnTo>
                <a:cubicBezTo>
                  <a:pt x="3396533" y="1510067"/>
                  <a:pt x="3399266" y="1511434"/>
                  <a:pt x="3401999" y="1511434"/>
                </a:cubicBezTo>
                <a:lnTo>
                  <a:pt x="3403725" y="1508845"/>
                </a:lnTo>
                <a:lnTo>
                  <a:pt x="3406099" y="1507790"/>
                </a:lnTo>
                <a:cubicBezTo>
                  <a:pt x="3407010" y="1507790"/>
                  <a:pt x="3407466" y="1508701"/>
                  <a:pt x="3407466" y="1511434"/>
                </a:cubicBezTo>
                <a:lnTo>
                  <a:pt x="3408417" y="1508741"/>
                </a:lnTo>
                <a:lnTo>
                  <a:pt x="3409288" y="1509612"/>
                </a:lnTo>
                <a:lnTo>
                  <a:pt x="3408693" y="1507958"/>
                </a:lnTo>
                <a:lnTo>
                  <a:pt x="3408833" y="1507562"/>
                </a:lnTo>
                <a:cubicBezTo>
                  <a:pt x="3408377" y="1506423"/>
                  <a:pt x="3407466" y="1505057"/>
                  <a:pt x="3407466" y="1502324"/>
                </a:cubicBezTo>
                <a:cubicBezTo>
                  <a:pt x="3409288" y="1505968"/>
                  <a:pt x="3411110" y="1507790"/>
                  <a:pt x="3412932" y="1509612"/>
                </a:cubicBezTo>
                <a:cubicBezTo>
                  <a:pt x="3414754" y="1505968"/>
                  <a:pt x="3412932" y="1502324"/>
                  <a:pt x="3416577" y="1498679"/>
                </a:cubicBezTo>
                <a:cubicBezTo>
                  <a:pt x="3416577" y="1500501"/>
                  <a:pt x="3418399" y="1502324"/>
                  <a:pt x="3420221" y="1502324"/>
                </a:cubicBezTo>
                <a:cubicBezTo>
                  <a:pt x="3420221" y="1498679"/>
                  <a:pt x="3420221" y="1498679"/>
                  <a:pt x="3422043" y="1495035"/>
                </a:cubicBezTo>
                <a:cubicBezTo>
                  <a:pt x="3426599" y="1497768"/>
                  <a:pt x="3428876" y="1501868"/>
                  <a:pt x="3430243" y="1506651"/>
                </a:cubicBezTo>
                <a:lnTo>
                  <a:pt x="3430935" y="1510632"/>
                </a:lnTo>
                <a:lnTo>
                  <a:pt x="3429332" y="1511434"/>
                </a:lnTo>
                <a:lnTo>
                  <a:pt x="3431313" y="1512806"/>
                </a:lnTo>
                <a:lnTo>
                  <a:pt x="3432976" y="1522368"/>
                </a:lnTo>
                <a:cubicBezTo>
                  <a:pt x="3434798" y="1522368"/>
                  <a:pt x="3440265" y="1522368"/>
                  <a:pt x="3440265" y="1524190"/>
                </a:cubicBezTo>
                <a:cubicBezTo>
                  <a:pt x="3440265" y="1529656"/>
                  <a:pt x="3447553" y="1535123"/>
                  <a:pt x="3442087" y="1538767"/>
                </a:cubicBezTo>
                <a:cubicBezTo>
                  <a:pt x="3434798" y="1544234"/>
                  <a:pt x="3425687" y="1542412"/>
                  <a:pt x="3423865" y="1533301"/>
                </a:cubicBezTo>
                <a:cubicBezTo>
                  <a:pt x="3422043" y="1533301"/>
                  <a:pt x="3420221" y="1535123"/>
                  <a:pt x="3420221" y="1536945"/>
                </a:cubicBezTo>
                <a:cubicBezTo>
                  <a:pt x="3420221" y="1542412"/>
                  <a:pt x="3423865" y="1546056"/>
                  <a:pt x="3423865" y="1549700"/>
                </a:cubicBezTo>
                <a:cubicBezTo>
                  <a:pt x="3418399" y="1542412"/>
                  <a:pt x="3412932" y="1536945"/>
                  <a:pt x="3407466" y="1529656"/>
                </a:cubicBezTo>
                <a:cubicBezTo>
                  <a:pt x="3409288" y="1526012"/>
                  <a:pt x="3409288" y="1522368"/>
                  <a:pt x="3409288" y="1518723"/>
                </a:cubicBezTo>
                <a:cubicBezTo>
                  <a:pt x="3403821" y="1522368"/>
                  <a:pt x="3403821" y="1524190"/>
                  <a:pt x="3405643" y="1526012"/>
                </a:cubicBezTo>
                <a:cubicBezTo>
                  <a:pt x="3403821" y="1524190"/>
                  <a:pt x="3400177" y="1520545"/>
                  <a:pt x="3398355" y="1518723"/>
                </a:cubicBezTo>
                <a:cubicBezTo>
                  <a:pt x="3398355" y="1515079"/>
                  <a:pt x="3396532" y="1513257"/>
                  <a:pt x="3396532" y="1511434"/>
                </a:cubicBezTo>
                <a:cubicBezTo>
                  <a:pt x="3396532" y="1511434"/>
                  <a:pt x="3394710" y="1511434"/>
                  <a:pt x="3394710" y="1513257"/>
                </a:cubicBezTo>
                <a:cubicBezTo>
                  <a:pt x="3378311" y="1496857"/>
                  <a:pt x="3361911" y="1482280"/>
                  <a:pt x="3345512" y="1469525"/>
                </a:cubicBezTo>
                <a:cubicBezTo>
                  <a:pt x="3341867" y="1467702"/>
                  <a:pt x="3336401" y="1469525"/>
                  <a:pt x="3334579" y="1473169"/>
                </a:cubicBezTo>
                <a:cubicBezTo>
                  <a:pt x="3334579" y="1473169"/>
                  <a:pt x="3334579" y="1471347"/>
                  <a:pt x="3334579" y="1471347"/>
                </a:cubicBezTo>
                <a:lnTo>
                  <a:pt x="3330376" y="1474578"/>
                </a:lnTo>
                <a:lnTo>
                  <a:pt x="3329112" y="1471347"/>
                </a:lnTo>
                <a:cubicBezTo>
                  <a:pt x="3327290" y="1474991"/>
                  <a:pt x="3327290" y="1474991"/>
                  <a:pt x="3323646" y="1474991"/>
                </a:cubicBezTo>
                <a:cubicBezTo>
                  <a:pt x="3325468" y="1476813"/>
                  <a:pt x="3327290" y="1476813"/>
                  <a:pt x="3329112" y="1480458"/>
                </a:cubicBezTo>
                <a:lnTo>
                  <a:pt x="3329637" y="1479467"/>
                </a:lnTo>
                <a:lnTo>
                  <a:pt x="3330934" y="1484102"/>
                </a:lnTo>
                <a:cubicBezTo>
                  <a:pt x="3332756" y="1484102"/>
                  <a:pt x="3332756" y="1484102"/>
                  <a:pt x="3332756" y="1484102"/>
                </a:cubicBezTo>
                <a:cubicBezTo>
                  <a:pt x="3330934" y="1489568"/>
                  <a:pt x="3330934" y="1493213"/>
                  <a:pt x="3329112" y="1498679"/>
                </a:cubicBezTo>
                <a:cubicBezTo>
                  <a:pt x="3326379" y="1498679"/>
                  <a:pt x="3325013" y="1500046"/>
                  <a:pt x="3323646" y="1501868"/>
                </a:cubicBezTo>
                <a:lnTo>
                  <a:pt x="3320619" y="1505147"/>
                </a:lnTo>
                <a:lnTo>
                  <a:pt x="3316813" y="1502551"/>
                </a:lnTo>
                <a:cubicBezTo>
                  <a:pt x="3313624" y="1503235"/>
                  <a:pt x="3309979" y="1505057"/>
                  <a:pt x="3309068" y="1505968"/>
                </a:cubicBezTo>
                <a:cubicBezTo>
                  <a:pt x="3310890" y="1513257"/>
                  <a:pt x="3307246" y="1524190"/>
                  <a:pt x="3314535" y="1524190"/>
                </a:cubicBezTo>
                <a:cubicBezTo>
                  <a:pt x="3314535" y="1521456"/>
                  <a:pt x="3316357" y="1517812"/>
                  <a:pt x="3318180" y="1514395"/>
                </a:cubicBezTo>
                <a:lnTo>
                  <a:pt x="3320034" y="1510108"/>
                </a:lnTo>
                <a:lnTo>
                  <a:pt x="3325468" y="1516901"/>
                </a:lnTo>
                <a:cubicBezTo>
                  <a:pt x="3325468" y="1516901"/>
                  <a:pt x="3325468" y="1518723"/>
                  <a:pt x="3325468" y="1520545"/>
                </a:cubicBezTo>
                <a:lnTo>
                  <a:pt x="3323646" y="1521326"/>
                </a:lnTo>
                <a:lnTo>
                  <a:pt x="3323646" y="1516901"/>
                </a:lnTo>
                <a:lnTo>
                  <a:pt x="3322407" y="1521857"/>
                </a:lnTo>
                <a:lnTo>
                  <a:pt x="3312713" y="1526012"/>
                </a:lnTo>
                <a:cubicBezTo>
                  <a:pt x="3316357" y="1529656"/>
                  <a:pt x="3320001" y="1531478"/>
                  <a:pt x="3323646" y="1531478"/>
                </a:cubicBezTo>
                <a:cubicBezTo>
                  <a:pt x="3320001" y="1555167"/>
                  <a:pt x="3318179" y="1580677"/>
                  <a:pt x="3318179" y="1606188"/>
                </a:cubicBezTo>
                <a:cubicBezTo>
                  <a:pt x="3316357" y="1604365"/>
                  <a:pt x="3312713" y="1602543"/>
                  <a:pt x="3310890" y="1602543"/>
                </a:cubicBezTo>
                <a:cubicBezTo>
                  <a:pt x="3309068" y="1602543"/>
                  <a:pt x="3309068" y="1606188"/>
                  <a:pt x="3307246" y="1606188"/>
                </a:cubicBezTo>
                <a:cubicBezTo>
                  <a:pt x="3307246" y="1606188"/>
                  <a:pt x="3305424" y="1602543"/>
                  <a:pt x="3305424" y="1600721"/>
                </a:cubicBezTo>
                <a:cubicBezTo>
                  <a:pt x="3305424" y="1611654"/>
                  <a:pt x="3296313" y="1615298"/>
                  <a:pt x="3294491" y="1608010"/>
                </a:cubicBezTo>
                <a:cubicBezTo>
                  <a:pt x="3287202" y="1591610"/>
                  <a:pt x="3276269" y="1567922"/>
                  <a:pt x="3259869" y="1567922"/>
                </a:cubicBezTo>
                <a:lnTo>
                  <a:pt x="3245086" y="1568142"/>
                </a:lnTo>
                <a:lnTo>
                  <a:pt x="3245292" y="1567922"/>
                </a:lnTo>
                <a:cubicBezTo>
                  <a:pt x="3241648" y="1567922"/>
                  <a:pt x="3236181" y="1567922"/>
                  <a:pt x="3232537" y="1567922"/>
                </a:cubicBezTo>
                <a:lnTo>
                  <a:pt x="3236565" y="1572238"/>
                </a:lnTo>
                <a:lnTo>
                  <a:pt x="3230715" y="1575211"/>
                </a:lnTo>
                <a:cubicBezTo>
                  <a:pt x="3227071" y="1567922"/>
                  <a:pt x="3221604" y="1567922"/>
                  <a:pt x="3214315" y="1567922"/>
                </a:cubicBezTo>
                <a:lnTo>
                  <a:pt x="3207027" y="1575211"/>
                </a:lnTo>
                <a:lnTo>
                  <a:pt x="3196093" y="1571566"/>
                </a:lnTo>
                <a:cubicBezTo>
                  <a:pt x="3196093" y="1577033"/>
                  <a:pt x="3192449" y="1578855"/>
                  <a:pt x="3188805" y="1577033"/>
                </a:cubicBezTo>
                <a:cubicBezTo>
                  <a:pt x="3185160" y="1575211"/>
                  <a:pt x="3183338" y="1575211"/>
                  <a:pt x="3181516" y="1575211"/>
                </a:cubicBezTo>
                <a:cubicBezTo>
                  <a:pt x="3166939" y="1577033"/>
                  <a:pt x="3166939" y="1589788"/>
                  <a:pt x="3168761" y="1602543"/>
                </a:cubicBezTo>
                <a:lnTo>
                  <a:pt x="3170583" y="1600721"/>
                </a:lnTo>
                <a:cubicBezTo>
                  <a:pt x="3185160" y="1608010"/>
                  <a:pt x="3192449" y="1608010"/>
                  <a:pt x="3196093" y="1608010"/>
                </a:cubicBezTo>
                <a:cubicBezTo>
                  <a:pt x="3196093" y="1609832"/>
                  <a:pt x="3196093" y="1611654"/>
                  <a:pt x="3196093" y="1613476"/>
                </a:cubicBezTo>
                <a:cubicBezTo>
                  <a:pt x="3197916" y="1615298"/>
                  <a:pt x="3197916" y="1615298"/>
                  <a:pt x="3197916" y="1617121"/>
                </a:cubicBezTo>
                <a:cubicBezTo>
                  <a:pt x="3196093" y="1617121"/>
                  <a:pt x="3192449" y="1617121"/>
                  <a:pt x="3185160" y="1617121"/>
                </a:cubicBezTo>
                <a:cubicBezTo>
                  <a:pt x="3185160" y="1617121"/>
                  <a:pt x="3170583" y="1624409"/>
                  <a:pt x="3170583" y="1624409"/>
                </a:cubicBezTo>
                <a:lnTo>
                  <a:pt x="3163294" y="1617121"/>
                </a:lnTo>
                <a:lnTo>
                  <a:pt x="3166939" y="1609832"/>
                </a:lnTo>
                <a:cubicBezTo>
                  <a:pt x="3159650" y="1606188"/>
                  <a:pt x="3166939" y="1591610"/>
                  <a:pt x="3163294" y="1584321"/>
                </a:cubicBezTo>
                <a:cubicBezTo>
                  <a:pt x="3161472" y="1589788"/>
                  <a:pt x="3156006" y="1589788"/>
                  <a:pt x="3152361" y="1589788"/>
                </a:cubicBezTo>
                <a:cubicBezTo>
                  <a:pt x="3152361" y="1591610"/>
                  <a:pt x="3148717" y="1593432"/>
                  <a:pt x="3150539" y="1595255"/>
                </a:cubicBezTo>
                <a:cubicBezTo>
                  <a:pt x="3146895" y="1595255"/>
                  <a:pt x="3143250" y="1595255"/>
                  <a:pt x="3139606" y="1597077"/>
                </a:cubicBezTo>
                <a:cubicBezTo>
                  <a:pt x="3134140" y="1600721"/>
                  <a:pt x="3130495" y="1606188"/>
                  <a:pt x="3125029" y="1609832"/>
                </a:cubicBezTo>
                <a:cubicBezTo>
                  <a:pt x="3123206" y="1611654"/>
                  <a:pt x="3121384" y="1611654"/>
                  <a:pt x="3117740" y="1613476"/>
                </a:cubicBezTo>
                <a:lnTo>
                  <a:pt x="3117740" y="1626231"/>
                </a:lnTo>
                <a:lnTo>
                  <a:pt x="3106807" y="1620765"/>
                </a:lnTo>
                <a:cubicBezTo>
                  <a:pt x="3103163" y="1622587"/>
                  <a:pt x="3101340" y="1626231"/>
                  <a:pt x="3103163" y="1631698"/>
                </a:cubicBezTo>
                <a:cubicBezTo>
                  <a:pt x="3101340" y="1628054"/>
                  <a:pt x="3103163" y="1622587"/>
                  <a:pt x="3101340" y="1624409"/>
                </a:cubicBezTo>
                <a:cubicBezTo>
                  <a:pt x="3097696" y="1624409"/>
                  <a:pt x="3094052" y="1626231"/>
                  <a:pt x="3092230" y="1629876"/>
                </a:cubicBezTo>
                <a:lnTo>
                  <a:pt x="3095874" y="1628054"/>
                </a:lnTo>
                <a:lnTo>
                  <a:pt x="3095874" y="1638987"/>
                </a:lnTo>
                <a:lnTo>
                  <a:pt x="3099518" y="1639122"/>
                </a:lnTo>
                <a:lnTo>
                  <a:pt x="3102024" y="1639214"/>
                </a:lnTo>
                <a:cubicBezTo>
                  <a:pt x="3104074" y="1639442"/>
                  <a:pt x="3105896" y="1638986"/>
                  <a:pt x="3106807" y="1635342"/>
                </a:cubicBezTo>
                <a:cubicBezTo>
                  <a:pt x="3106807" y="1638987"/>
                  <a:pt x="3112274" y="1640809"/>
                  <a:pt x="3114096" y="1638987"/>
                </a:cubicBezTo>
                <a:cubicBezTo>
                  <a:pt x="3130495" y="1631698"/>
                  <a:pt x="3150539" y="1640809"/>
                  <a:pt x="3168761" y="1642631"/>
                </a:cubicBezTo>
                <a:lnTo>
                  <a:pt x="3177872" y="1642631"/>
                </a:lnTo>
                <a:cubicBezTo>
                  <a:pt x="3177872" y="1642631"/>
                  <a:pt x="3179694" y="1642631"/>
                  <a:pt x="3179694" y="1642631"/>
                </a:cubicBezTo>
                <a:cubicBezTo>
                  <a:pt x="3179694" y="1642631"/>
                  <a:pt x="3177872" y="1644453"/>
                  <a:pt x="3177872" y="1644453"/>
                </a:cubicBezTo>
                <a:lnTo>
                  <a:pt x="3179694" y="1648097"/>
                </a:lnTo>
                <a:lnTo>
                  <a:pt x="3188155" y="1651742"/>
                </a:lnTo>
                <a:lnTo>
                  <a:pt x="3185160" y="1651742"/>
                </a:lnTo>
                <a:lnTo>
                  <a:pt x="3190627" y="1664497"/>
                </a:lnTo>
                <a:lnTo>
                  <a:pt x="3188805" y="1668142"/>
                </a:lnTo>
                <a:cubicBezTo>
                  <a:pt x="3192449" y="1668142"/>
                  <a:pt x="3194271" y="1666319"/>
                  <a:pt x="3196093" y="1664497"/>
                </a:cubicBezTo>
                <a:cubicBezTo>
                  <a:pt x="3198827" y="1661764"/>
                  <a:pt x="3198371" y="1659942"/>
                  <a:pt x="3196549" y="1658120"/>
                </a:cubicBezTo>
                <a:lnTo>
                  <a:pt x="3189518" y="1652329"/>
                </a:lnTo>
                <a:lnTo>
                  <a:pt x="3194499" y="1654475"/>
                </a:lnTo>
                <a:cubicBezTo>
                  <a:pt x="3199738" y="1655842"/>
                  <a:pt x="3205205" y="1656297"/>
                  <a:pt x="3210671" y="1655386"/>
                </a:cubicBezTo>
                <a:cubicBezTo>
                  <a:pt x="3210671" y="1655386"/>
                  <a:pt x="3210671" y="1657208"/>
                  <a:pt x="3210671" y="1657208"/>
                </a:cubicBezTo>
                <a:cubicBezTo>
                  <a:pt x="3210671" y="1657208"/>
                  <a:pt x="3212493" y="1657208"/>
                  <a:pt x="3212493" y="1657208"/>
                </a:cubicBezTo>
                <a:cubicBezTo>
                  <a:pt x="3214315" y="1660853"/>
                  <a:pt x="3216137" y="1664497"/>
                  <a:pt x="3217960" y="1668142"/>
                </a:cubicBezTo>
                <a:cubicBezTo>
                  <a:pt x="3217960" y="1668142"/>
                  <a:pt x="3216137" y="1668142"/>
                  <a:pt x="3216137" y="1668142"/>
                </a:cubicBezTo>
                <a:lnTo>
                  <a:pt x="3214315" y="1671786"/>
                </a:lnTo>
                <a:lnTo>
                  <a:pt x="3218416" y="1671786"/>
                </a:lnTo>
                <a:lnTo>
                  <a:pt x="3219782" y="1677252"/>
                </a:lnTo>
                <a:lnTo>
                  <a:pt x="3221225" y="1675153"/>
                </a:lnTo>
                <a:lnTo>
                  <a:pt x="3225248" y="1684541"/>
                </a:lnTo>
                <a:cubicBezTo>
                  <a:pt x="3223426" y="1684541"/>
                  <a:pt x="3219782" y="1682719"/>
                  <a:pt x="3216137" y="1684541"/>
                </a:cubicBezTo>
                <a:cubicBezTo>
                  <a:pt x="3214315" y="1682719"/>
                  <a:pt x="3214315" y="1679075"/>
                  <a:pt x="3210671" y="1679075"/>
                </a:cubicBezTo>
                <a:lnTo>
                  <a:pt x="3208849" y="1682719"/>
                </a:lnTo>
                <a:lnTo>
                  <a:pt x="3208849" y="1682719"/>
                </a:lnTo>
                <a:lnTo>
                  <a:pt x="3207027" y="1680897"/>
                </a:lnTo>
                <a:cubicBezTo>
                  <a:pt x="3203382" y="1684541"/>
                  <a:pt x="3201560" y="1680897"/>
                  <a:pt x="3196093" y="1680897"/>
                </a:cubicBezTo>
                <a:cubicBezTo>
                  <a:pt x="3194271" y="1686363"/>
                  <a:pt x="3194271" y="1686363"/>
                  <a:pt x="3194271" y="1690008"/>
                </a:cubicBezTo>
                <a:cubicBezTo>
                  <a:pt x="3199738" y="1688185"/>
                  <a:pt x="3201560" y="1686363"/>
                  <a:pt x="3208849" y="1688185"/>
                </a:cubicBezTo>
                <a:lnTo>
                  <a:pt x="3209262" y="1683644"/>
                </a:lnTo>
                <a:lnTo>
                  <a:pt x="3214487" y="1695347"/>
                </a:lnTo>
                <a:lnTo>
                  <a:pt x="3201560" y="1693652"/>
                </a:lnTo>
                <a:cubicBezTo>
                  <a:pt x="3205204" y="1699118"/>
                  <a:pt x="3199738" y="1697296"/>
                  <a:pt x="3197916" y="1699118"/>
                </a:cubicBezTo>
                <a:cubicBezTo>
                  <a:pt x="3205204" y="1708229"/>
                  <a:pt x="3201560" y="1722807"/>
                  <a:pt x="3207027" y="1735562"/>
                </a:cubicBezTo>
                <a:cubicBezTo>
                  <a:pt x="3217960" y="1730095"/>
                  <a:pt x="3216137" y="1713696"/>
                  <a:pt x="3225248" y="1706407"/>
                </a:cubicBezTo>
                <a:cubicBezTo>
                  <a:pt x="3219782" y="1706407"/>
                  <a:pt x="3217960" y="1711874"/>
                  <a:pt x="3214315" y="1704585"/>
                </a:cubicBezTo>
                <a:cubicBezTo>
                  <a:pt x="3216137" y="1702763"/>
                  <a:pt x="3223426" y="1704585"/>
                  <a:pt x="3225248" y="1702763"/>
                </a:cubicBezTo>
                <a:lnTo>
                  <a:pt x="3216542" y="1696284"/>
                </a:lnTo>
                <a:lnTo>
                  <a:pt x="3232537" y="1702763"/>
                </a:lnTo>
                <a:cubicBezTo>
                  <a:pt x="3230715" y="1697296"/>
                  <a:pt x="3225248" y="1693652"/>
                  <a:pt x="3225248" y="1688185"/>
                </a:cubicBezTo>
                <a:cubicBezTo>
                  <a:pt x="3225248" y="1686363"/>
                  <a:pt x="3227071" y="1688185"/>
                  <a:pt x="3227071" y="1688185"/>
                </a:cubicBezTo>
                <a:lnTo>
                  <a:pt x="3237761" y="1710536"/>
                </a:lnTo>
                <a:lnTo>
                  <a:pt x="3236181" y="1713696"/>
                </a:lnTo>
                <a:lnTo>
                  <a:pt x="3239691" y="1714573"/>
                </a:lnTo>
                <a:lnTo>
                  <a:pt x="3247114" y="1730095"/>
                </a:lnTo>
                <a:cubicBezTo>
                  <a:pt x="3247114" y="1731918"/>
                  <a:pt x="3247114" y="1733740"/>
                  <a:pt x="3245292" y="1735562"/>
                </a:cubicBezTo>
                <a:lnTo>
                  <a:pt x="3243470" y="1739206"/>
                </a:lnTo>
                <a:cubicBezTo>
                  <a:pt x="3245292" y="1741028"/>
                  <a:pt x="3243470" y="1744673"/>
                  <a:pt x="3247114" y="1744673"/>
                </a:cubicBezTo>
                <a:cubicBezTo>
                  <a:pt x="3247114" y="1741028"/>
                  <a:pt x="3245292" y="1737384"/>
                  <a:pt x="3245292" y="1737384"/>
                </a:cubicBezTo>
                <a:cubicBezTo>
                  <a:pt x="3247114" y="1735562"/>
                  <a:pt x="3248937" y="1735562"/>
                  <a:pt x="3250759" y="1735562"/>
                </a:cubicBezTo>
                <a:cubicBezTo>
                  <a:pt x="3250759" y="1737384"/>
                  <a:pt x="3252581" y="1739206"/>
                  <a:pt x="3252581" y="1741028"/>
                </a:cubicBezTo>
                <a:cubicBezTo>
                  <a:pt x="3256225" y="1746495"/>
                  <a:pt x="3258047" y="1750139"/>
                  <a:pt x="3259869" y="1753784"/>
                </a:cubicBezTo>
                <a:cubicBezTo>
                  <a:pt x="3259869" y="1755606"/>
                  <a:pt x="3259869" y="1755606"/>
                  <a:pt x="3261692" y="1757428"/>
                </a:cubicBezTo>
                <a:cubicBezTo>
                  <a:pt x="3263514" y="1761072"/>
                  <a:pt x="3267158" y="1766539"/>
                  <a:pt x="3268980" y="1770183"/>
                </a:cubicBezTo>
                <a:cubicBezTo>
                  <a:pt x="3265336" y="1768361"/>
                  <a:pt x="3263514" y="1762894"/>
                  <a:pt x="3256225" y="1762894"/>
                </a:cubicBezTo>
                <a:cubicBezTo>
                  <a:pt x="3258047" y="1764717"/>
                  <a:pt x="3259869" y="1766539"/>
                  <a:pt x="3258047" y="1768361"/>
                </a:cubicBezTo>
                <a:cubicBezTo>
                  <a:pt x="3256225" y="1764717"/>
                  <a:pt x="3254403" y="1759250"/>
                  <a:pt x="3250759" y="1761072"/>
                </a:cubicBezTo>
                <a:cubicBezTo>
                  <a:pt x="3248937" y="1761072"/>
                  <a:pt x="3247114" y="1761072"/>
                  <a:pt x="3245292" y="1761072"/>
                </a:cubicBezTo>
                <a:lnTo>
                  <a:pt x="3247114" y="1770183"/>
                </a:lnTo>
                <a:cubicBezTo>
                  <a:pt x="3268980" y="1786583"/>
                  <a:pt x="3256225" y="1775650"/>
                  <a:pt x="3268980" y="1801160"/>
                </a:cubicBezTo>
                <a:cubicBezTo>
                  <a:pt x="3267158" y="1804805"/>
                  <a:pt x="3267158" y="1806627"/>
                  <a:pt x="3265336" y="1808449"/>
                </a:cubicBezTo>
                <a:cubicBezTo>
                  <a:pt x="3279913" y="1823026"/>
                  <a:pt x="3298135" y="1837604"/>
                  <a:pt x="3309068" y="1855825"/>
                </a:cubicBezTo>
                <a:lnTo>
                  <a:pt x="3284718" y="1838432"/>
                </a:lnTo>
                <a:lnTo>
                  <a:pt x="3287202" y="1837604"/>
                </a:lnTo>
                <a:cubicBezTo>
                  <a:pt x="3281736" y="1833959"/>
                  <a:pt x="3278091" y="1828493"/>
                  <a:pt x="3272625" y="1823026"/>
                </a:cubicBezTo>
                <a:lnTo>
                  <a:pt x="3265336" y="1844892"/>
                </a:lnTo>
                <a:lnTo>
                  <a:pt x="3283987" y="1838675"/>
                </a:lnTo>
                <a:lnTo>
                  <a:pt x="3290847" y="1855825"/>
                </a:lnTo>
                <a:cubicBezTo>
                  <a:pt x="3292669" y="1859470"/>
                  <a:pt x="3294491" y="1861292"/>
                  <a:pt x="3296313" y="1863114"/>
                </a:cubicBezTo>
                <a:cubicBezTo>
                  <a:pt x="3292669" y="1861292"/>
                  <a:pt x="3290847" y="1861292"/>
                  <a:pt x="3287202" y="1861292"/>
                </a:cubicBezTo>
                <a:lnTo>
                  <a:pt x="3276269" y="1866758"/>
                </a:lnTo>
                <a:lnTo>
                  <a:pt x="3278091" y="1872225"/>
                </a:lnTo>
                <a:cubicBezTo>
                  <a:pt x="3254403" y="1866758"/>
                  <a:pt x="3230715" y="1857647"/>
                  <a:pt x="3217960" y="1841248"/>
                </a:cubicBezTo>
                <a:cubicBezTo>
                  <a:pt x="3214315" y="1835781"/>
                  <a:pt x="3205204" y="1839426"/>
                  <a:pt x="3207027" y="1846714"/>
                </a:cubicBezTo>
                <a:cubicBezTo>
                  <a:pt x="3216137" y="1879514"/>
                  <a:pt x="3230715" y="1908668"/>
                  <a:pt x="3245292" y="1937823"/>
                </a:cubicBezTo>
                <a:cubicBezTo>
                  <a:pt x="3186982" y="1903202"/>
                  <a:pt x="3121384" y="1877691"/>
                  <a:pt x="3055786" y="1863114"/>
                </a:cubicBezTo>
                <a:cubicBezTo>
                  <a:pt x="3050319" y="1861292"/>
                  <a:pt x="3044853" y="1864936"/>
                  <a:pt x="3046675" y="1870403"/>
                </a:cubicBezTo>
                <a:cubicBezTo>
                  <a:pt x="3057608" y="1914135"/>
                  <a:pt x="3088585" y="1954222"/>
                  <a:pt x="3123206" y="1983376"/>
                </a:cubicBezTo>
                <a:cubicBezTo>
                  <a:pt x="3106807" y="1979733"/>
                  <a:pt x="3092230" y="1976089"/>
                  <a:pt x="3075830" y="1972444"/>
                </a:cubicBezTo>
                <a:cubicBezTo>
                  <a:pt x="3013876" y="1959688"/>
                  <a:pt x="2951922" y="1957866"/>
                  <a:pt x="2889968" y="1950578"/>
                </a:cubicBezTo>
                <a:cubicBezTo>
                  <a:pt x="2846236" y="1946934"/>
                  <a:pt x="2795215" y="1945111"/>
                  <a:pt x="2753305" y="1928712"/>
                </a:cubicBezTo>
                <a:cubicBezTo>
                  <a:pt x="2746016" y="1925068"/>
                  <a:pt x="2742372" y="1937823"/>
                  <a:pt x="2749661" y="1941468"/>
                </a:cubicBezTo>
                <a:cubicBezTo>
                  <a:pt x="2809793" y="1968799"/>
                  <a:pt x="2873569" y="1997955"/>
                  <a:pt x="2928234" y="2036220"/>
                </a:cubicBezTo>
                <a:cubicBezTo>
                  <a:pt x="2857169" y="2007065"/>
                  <a:pt x="2776993" y="1994309"/>
                  <a:pt x="2704106" y="2008887"/>
                </a:cubicBezTo>
                <a:cubicBezTo>
                  <a:pt x="2700462" y="2008887"/>
                  <a:pt x="2696818" y="2012531"/>
                  <a:pt x="2698640" y="2016176"/>
                </a:cubicBezTo>
                <a:cubicBezTo>
                  <a:pt x="2715040" y="2061729"/>
                  <a:pt x="2767882" y="2090885"/>
                  <a:pt x="2813437" y="2110928"/>
                </a:cubicBezTo>
                <a:cubicBezTo>
                  <a:pt x="2806148" y="2112751"/>
                  <a:pt x="2798860" y="2112751"/>
                  <a:pt x="2791571" y="2114572"/>
                </a:cubicBezTo>
                <a:cubicBezTo>
                  <a:pt x="2786104" y="2116394"/>
                  <a:pt x="2786104" y="2125505"/>
                  <a:pt x="2791571" y="2127328"/>
                </a:cubicBezTo>
                <a:cubicBezTo>
                  <a:pt x="2820726" y="2138261"/>
                  <a:pt x="2849880" y="2151017"/>
                  <a:pt x="2873569" y="2169238"/>
                </a:cubicBezTo>
                <a:cubicBezTo>
                  <a:pt x="2858991" y="2160127"/>
                  <a:pt x="2842592" y="2152839"/>
                  <a:pt x="2826192" y="2147372"/>
                </a:cubicBezTo>
                <a:cubicBezTo>
                  <a:pt x="2778816" y="2130973"/>
                  <a:pt x="2729617" y="2134617"/>
                  <a:pt x="2680418" y="2138261"/>
                </a:cubicBezTo>
                <a:cubicBezTo>
                  <a:pt x="2634864" y="2141906"/>
                  <a:pt x="2582021" y="2143728"/>
                  <a:pt x="2541933" y="2120040"/>
                </a:cubicBezTo>
                <a:cubicBezTo>
                  <a:pt x="2534644" y="2116394"/>
                  <a:pt x="2529178" y="2125505"/>
                  <a:pt x="2532822" y="2130973"/>
                </a:cubicBezTo>
                <a:cubicBezTo>
                  <a:pt x="2569266" y="2180171"/>
                  <a:pt x="2603887" y="2231192"/>
                  <a:pt x="2647619" y="2274925"/>
                </a:cubicBezTo>
                <a:cubicBezTo>
                  <a:pt x="2707751" y="2333234"/>
                  <a:pt x="2784282" y="2364211"/>
                  <a:pt x="2868102" y="2364211"/>
                </a:cubicBezTo>
                <a:cubicBezTo>
                  <a:pt x="2899079" y="2364211"/>
                  <a:pt x="2931878" y="2362390"/>
                  <a:pt x="2964677" y="2360567"/>
                </a:cubicBezTo>
                <a:lnTo>
                  <a:pt x="2941335" y="2366565"/>
                </a:lnTo>
                <a:lnTo>
                  <a:pt x="2948277" y="2373513"/>
                </a:lnTo>
                <a:lnTo>
                  <a:pt x="2944633" y="2377147"/>
                </a:lnTo>
                <a:lnTo>
                  <a:pt x="2937344" y="2369872"/>
                </a:lnTo>
                <a:lnTo>
                  <a:pt x="2940405" y="2366805"/>
                </a:lnTo>
                <a:lnTo>
                  <a:pt x="2923906" y="2371045"/>
                </a:lnTo>
                <a:cubicBezTo>
                  <a:pt x="2910468" y="2373323"/>
                  <a:pt x="2897257" y="2374233"/>
                  <a:pt x="2884502" y="2373323"/>
                </a:cubicBezTo>
                <a:cubicBezTo>
                  <a:pt x="2879035" y="2373323"/>
                  <a:pt x="2875391" y="2382433"/>
                  <a:pt x="2880857" y="2386077"/>
                </a:cubicBezTo>
                <a:cubicBezTo>
                  <a:pt x="2902724" y="2395189"/>
                  <a:pt x="2926412" y="2406122"/>
                  <a:pt x="2948278" y="2415233"/>
                </a:cubicBezTo>
                <a:lnTo>
                  <a:pt x="2928572" y="2412755"/>
                </a:lnTo>
                <a:lnTo>
                  <a:pt x="2930057" y="2417208"/>
                </a:lnTo>
                <a:lnTo>
                  <a:pt x="2928235" y="2420848"/>
                </a:lnTo>
                <a:lnTo>
                  <a:pt x="2922768" y="2415389"/>
                </a:lnTo>
                <a:lnTo>
                  <a:pt x="2927015" y="2412560"/>
                </a:lnTo>
                <a:lnTo>
                  <a:pt x="2868558" y="2405210"/>
                </a:lnTo>
                <a:lnTo>
                  <a:pt x="2811698" y="2389734"/>
                </a:lnTo>
                <a:lnTo>
                  <a:pt x="2809792" y="2393545"/>
                </a:lnTo>
                <a:lnTo>
                  <a:pt x="2808204" y="2388783"/>
                </a:lnTo>
                <a:lnTo>
                  <a:pt x="2807339" y="2388548"/>
                </a:lnTo>
                <a:lnTo>
                  <a:pt x="2803642" y="2391269"/>
                </a:lnTo>
                <a:lnTo>
                  <a:pt x="2801016" y="2386827"/>
                </a:lnTo>
                <a:lnTo>
                  <a:pt x="2791571" y="2384256"/>
                </a:lnTo>
                <a:cubicBezTo>
                  <a:pt x="2787927" y="2382433"/>
                  <a:pt x="2780638" y="2387900"/>
                  <a:pt x="2784282" y="2393367"/>
                </a:cubicBezTo>
                <a:lnTo>
                  <a:pt x="2788976" y="2399775"/>
                </a:lnTo>
                <a:lnTo>
                  <a:pt x="2791571" y="2397183"/>
                </a:lnTo>
                <a:lnTo>
                  <a:pt x="2806148" y="2408106"/>
                </a:lnTo>
                <a:lnTo>
                  <a:pt x="2813437" y="2404465"/>
                </a:lnTo>
                <a:cubicBezTo>
                  <a:pt x="2813437" y="2404465"/>
                  <a:pt x="2815259" y="2409926"/>
                  <a:pt x="2815259" y="2409926"/>
                </a:cubicBezTo>
                <a:cubicBezTo>
                  <a:pt x="2815259" y="2419030"/>
                  <a:pt x="2815259" y="2409926"/>
                  <a:pt x="2811615" y="2417208"/>
                </a:cubicBezTo>
                <a:lnTo>
                  <a:pt x="2800681" y="2409926"/>
                </a:lnTo>
                <a:lnTo>
                  <a:pt x="2799889" y="2414675"/>
                </a:lnTo>
                <a:lnTo>
                  <a:pt x="2818853" y="2440566"/>
                </a:lnTo>
                <a:lnTo>
                  <a:pt x="2820725" y="2440877"/>
                </a:lnTo>
                <a:lnTo>
                  <a:pt x="2820211" y="2442420"/>
                </a:lnTo>
                <a:lnTo>
                  <a:pt x="2824022" y="2447623"/>
                </a:lnTo>
                <a:lnTo>
                  <a:pt x="2826192" y="2448166"/>
                </a:lnTo>
                <a:lnTo>
                  <a:pt x="2828219" y="2453353"/>
                </a:lnTo>
                <a:lnTo>
                  <a:pt x="2828362" y="2453549"/>
                </a:lnTo>
                <a:lnTo>
                  <a:pt x="2831658" y="2457287"/>
                </a:lnTo>
                <a:lnTo>
                  <a:pt x="2831209" y="2457436"/>
                </a:lnTo>
                <a:lnTo>
                  <a:pt x="2834165" y="2461470"/>
                </a:lnTo>
                <a:lnTo>
                  <a:pt x="2846235" y="2473911"/>
                </a:lnTo>
                <a:lnTo>
                  <a:pt x="2846235" y="2471884"/>
                </a:lnTo>
                <a:lnTo>
                  <a:pt x="2858990" y="2471884"/>
                </a:lnTo>
                <a:cubicBezTo>
                  <a:pt x="2860813" y="2479193"/>
                  <a:pt x="2862635" y="2477370"/>
                  <a:pt x="2869924" y="2481005"/>
                </a:cubicBezTo>
                <a:cubicBezTo>
                  <a:pt x="2868102" y="2484659"/>
                  <a:pt x="2866735" y="2487400"/>
                  <a:pt x="2864913" y="2489455"/>
                </a:cubicBezTo>
                <a:lnTo>
                  <a:pt x="2862583" y="2490760"/>
                </a:lnTo>
                <a:lnTo>
                  <a:pt x="2893613" y="2522741"/>
                </a:lnTo>
                <a:cubicBezTo>
                  <a:pt x="2891790" y="2522741"/>
                  <a:pt x="2889968" y="2522741"/>
                  <a:pt x="2888146" y="2522741"/>
                </a:cubicBezTo>
                <a:cubicBezTo>
                  <a:pt x="2829837" y="2524564"/>
                  <a:pt x="2773349" y="2548251"/>
                  <a:pt x="2722328" y="2570118"/>
                </a:cubicBezTo>
                <a:cubicBezTo>
                  <a:pt x="2718684" y="2571940"/>
                  <a:pt x="2718684" y="2577407"/>
                  <a:pt x="2720506" y="2581050"/>
                </a:cubicBezTo>
                <a:cubicBezTo>
                  <a:pt x="2782460" y="2653937"/>
                  <a:pt x="2879035" y="2732292"/>
                  <a:pt x="2979255" y="2732292"/>
                </a:cubicBezTo>
                <a:cubicBezTo>
                  <a:pt x="2975610" y="2734114"/>
                  <a:pt x="2971966" y="2734114"/>
                  <a:pt x="2968322" y="2735937"/>
                </a:cubicBezTo>
                <a:cubicBezTo>
                  <a:pt x="2919123" y="2752336"/>
                  <a:pt x="2873569" y="2783314"/>
                  <a:pt x="2831659" y="2814291"/>
                </a:cubicBezTo>
                <a:cubicBezTo>
                  <a:pt x="2829837" y="2816113"/>
                  <a:pt x="2829837" y="2821579"/>
                  <a:pt x="2831659" y="2823401"/>
                </a:cubicBezTo>
                <a:cubicBezTo>
                  <a:pt x="2886324" y="2870778"/>
                  <a:pt x="2964677" y="2887177"/>
                  <a:pt x="3035742" y="2890821"/>
                </a:cubicBezTo>
                <a:cubicBezTo>
                  <a:pt x="2997477" y="2898111"/>
                  <a:pt x="2959211" y="2899931"/>
                  <a:pt x="2920945" y="2892643"/>
                </a:cubicBezTo>
                <a:cubicBezTo>
                  <a:pt x="2913656" y="2890821"/>
                  <a:pt x="2911834" y="2901755"/>
                  <a:pt x="2919123" y="2905399"/>
                </a:cubicBezTo>
                <a:cubicBezTo>
                  <a:pt x="2957389" y="2921798"/>
                  <a:pt x="2995654" y="2941842"/>
                  <a:pt x="3030276" y="2963707"/>
                </a:cubicBezTo>
                <a:cubicBezTo>
                  <a:pt x="3059430" y="2983751"/>
                  <a:pt x="3088585" y="3001972"/>
                  <a:pt x="3125029" y="3009260"/>
                </a:cubicBezTo>
                <a:cubicBezTo>
                  <a:pt x="3156006" y="3014728"/>
                  <a:pt x="3186982" y="3011084"/>
                  <a:pt x="3216137" y="3005616"/>
                </a:cubicBezTo>
                <a:lnTo>
                  <a:pt x="3212493" y="3014728"/>
                </a:lnTo>
                <a:lnTo>
                  <a:pt x="3234359" y="3014728"/>
                </a:lnTo>
                <a:cubicBezTo>
                  <a:pt x="3232537" y="3009260"/>
                  <a:pt x="3230715" y="3005616"/>
                  <a:pt x="3230715" y="3001972"/>
                </a:cubicBezTo>
                <a:cubicBezTo>
                  <a:pt x="3234359" y="3000150"/>
                  <a:pt x="3239826" y="3000150"/>
                  <a:pt x="3243470" y="2998328"/>
                </a:cubicBezTo>
                <a:cubicBezTo>
                  <a:pt x="3243470" y="3001972"/>
                  <a:pt x="3243470" y="3003796"/>
                  <a:pt x="3245292" y="3005616"/>
                </a:cubicBezTo>
                <a:cubicBezTo>
                  <a:pt x="3258047" y="3016550"/>
                  <a:pt x="3270803" y="3029306"/>
                  <a:pt x="3285380" y="3040237"/>
                </a:cubicBezTo>
                <a:cubicBezTo>
                  <a:pt x="3243470" y="3049349"/>
                  <a:pt x="3205204" y="3083970"/>
                  <a:pt x="3177872" y="3113123"/>
                </a:cubicBezTo>
                <a:cubicBezTo>
                  <a:pt x="3174227" y="3116769"/>
                  <a:pt x="3174227" y="3122235"/>
                  <a:pt x="3177872" y="3124057"/>
                </a:cubicBezTo>
                <a:cubicBezTo>
                  <a:pt x="3185160" y="3127701"/>
                  <a:pt x="3190627" y="3131347"/>
                  <a:pt x="3197916" y="3133169"/>
                </a:cubicBezTo>
                <a:lnTo>
                  <a:pt x="3203382" y="3144100"/>
                </a:lnTo>
                <a:lnTo>
                  <a:pt x="3212493" y="3138635"/>
                </a:lnTo>
                <a:cubicBezTo>
                  <a:pt x="3217960" y="3140456"/>
                  <a:pt x="3221604" y="3140456"/>
                  <a:pt x="3225248" y="3142278"/>
                </a:cubicBezTo>
                <a:lnTo>
                  <a:pt x="3232537" y="3151390"/>
                </a:lnTo>
                <a:lnTo>
                  <a:pt x="3232537" y="3145922"/>
                </a:lnTo>
                <a:cubicBezTo>
                  <a:pt x="3241648" y="3147744"/>
                  <a:pt x="3250759" y="3149568"/>
                  <a:pt x="3259869" y="3151390"/>
                </a:cubicBezTo>
                <a:cubicBezTo>
                  <a:pt x="3261692" y="3153212"/>
                  <a:pt x="3263514" y="3155034"/>
                  <a:pt x="3265336" y="3156856"/>
                </a:cubicBezTo>
                <a:cubicBezTo>
                  <a:pt x="3259869" y="3158678"/>
                  <a:pt x="3252581" y="3162322"/>
                  <a:pt x="3247114" y="3164144"/>
                </a:cubicBezTo>
                <a:lnTo>
                  <a:pt x="3239826" y="3158678"/>
                </a:lnTo>
                <a:cubicBezTo>
                  <a:pt x="3236181" y="3165966"/>
                  <a:pt x="3234359" y="3167790"/>
                  <a:pt x="3234359" y="3169612"/>
                </a:cubicBezTo>
                <a:cubicBezTo>
                  <a:pt x="3196093" y="3186011"/>
                  <a:pt x="3157828" y="3195121"/>
                  <a:pt x="3114096" y="3186011"/>
                </a:cubicBezTo>
                <a:cubicBezTo>
                  <a:pt x="3106807" y="3184189"/>
                  <a:pt x="3103163" y="3195121"/>
                  <a:pt x="3110451" y="3198765"/>
                </a:cubicBezTo>
                <a:cubicBezTo>
                  <a:pt x="3123206" y="3204233"/>
                  <a:pt x="3135962" y="3209699"/>
                  <a:pt x="3150539" y="3213343"/>
                </a:cubicBezTo>
                <a:lnTo>
                  <a:pt x="3150539" y="3220631"/>
                </a:lnTo>
                <a:lnTo>
                  <a:pt x="3166939" y="3218810"/>
                </a:lnTo>
                <a:lnTo>
                  <a:pt x="3165116" y="3216987"/>
                </a:lnTo>
                <a:cubicBezTo>
                  <a:pt x="3170583" y="3218810"/>
                  <a:pt x="3174227" y="3218810"/>
                  <a:pt x="3179694" y="3220631"/>
                </a:cubicBezTo>
                <a:lnTo>
                  <a:pt x="3194271" y="3240676"/>
                </a:lnTo>
                <a:lnTo>
                  <a:pt x="3172405" y="3264364"/>
                </a:lnTo>
                <a:lnTo>
                  <a:pt x="3150539" y="3264364"/>
                </a:lnTo>
                <a:lnTo>
                  <a:pt x="3150539" y="3278941"/>
                </a:lnTo>
                <a:lnTo>
                  <a:pt x="3166939" y="3278941"/>
                </a:lnTo>
                <a:lnTo>
                  <a:pt x="3157828" y="3308096"/>
                </a:lnTo>
                <a:lnTo>
                  <a:pt x="3134140" y="3317207"/>
                </a:lnTo>
                <a:lnTo>
                  <a:pt x="3119562" y="3309918"/>
                </a:lnTo>
                <a:lnTo>
                  <a:pt x="3119562" y="3331784"/>
                </a:lnTo>
                <a:cubicBezTo>
                  <a:pt x="3119562" y="3359117"/>
                  <a:pt x="3117740" y="3333606"/>
                  <a:pt x="3126851" y="3353650"/>
                </a:cubicBezTo>
                <a:cubicBezTo>
                  <a:pt x="3146895" y="3339073"/>
                  <a:pt x="3143250" y="3351828"/>
                  <a:pt x="3135962" y="3331784"/>
                </a:cubicBezTo>
                <a:lnTo>
                  <a:pt x="3148717" y="3315384"/>
                </a:lnTo>
                <a:lnTo>
                  <a:pt x="3172405" y="3315384"/>
                </a:lnTo>
                <a:lnTo>
                  <a:pt x="3165116" y="3300807"/>
                </a:lnTo>
                <a:cubicBezTo>
                  <a:pt x="3174227" y="3284408"/>
                  <a:pt x="3172405" y="3300807"/>
                  <a:pt x="3172405" y="3269831"/>
                </a:cubicBezTo>
                <a:cubicBezTo>
                  <a:pt x="3196093" y="3262542"/>
                  <a:pt x="3192449" y="3247964"/>
                  <a:pt x="3217960" y="3247964"/>
                </a:cubicBezTo>
                <a:cubicBezTo>
                  <a:pt x="3223426" y="3247964"/>
                  <a:pt x="3234359" y="3258898"/>
                  <a:pt x="3239826" y="3262542"/>
                </a:cubicBezTo>
                <a:lnTo>
                  <a:pt x="3248937" y="3255254"/>
                </a:lnTo>
                <a:lnTo>
                  <a:pt x="3241648" y="3240676"/>
                </a:lnTo>
                <a:lnTo>
                  <a:pt x="3241648" y="3227920"/>
                </a:lnTo>
                <a:cubicBezTo>
                  <a:pt x="3247114" y="3227920"/>
                  <a:pt x="3252581" y="3227920"/>
                  <a:pt x="3258047" y="3227920"/>
                </a:cubicBezTo>
                <a:lnTo>
                  <a:pt x="3265336" y="3240676"/>
                </a:lnTo>
                <a:lnTo>
                  <a:pt x="3259869" y="3253432"/>
                </a:lnTo>
                <a:lnTo>
                  <a:pt x="3272625" y="3284408"/>
                </a:lnTo>
                <a:cubicBezTo>
                  <a:pt x="3310890" y="3257076"/>
                  <a:pt x="3247114" y="3280763"/>
                  <a:pt x="3316357" y="3247964"/>
                </a:cubicBezTo>
                <a:lnTo>
                  <a:pt x="3332756" y="3260720"/>
                </a:lnTo>
                <a:lnTo>
                  <a:pt x="3349156" y="3246142"/>
                </a:lnTo>
                <a:lnTo>
                  <a:pt x="3341867" y="3231566"/>
                </a:lnTo>
                <a:cubicBezTo>
                  <a:pt x="3350978" y="3226098"/>
                  <a:pt x="3354623" y="3222455"/>
                  <a:pt x="3358267" y="3218810"/>
                </a:cubicBezTo>
                <a:cubicBezTo>
                  <a:pt x="3367378" y="3216987"/>
                  <a:pt x="3378311" y="3215165"/>
                  <a:pt x="3387422" y="3211521"/>
                </a:cubicBezTo>
                <a:lnTo>
                  <a:pt x="3387422" y="3237032"/>
                </a:lnTo>
                <a:cubicBezTo>
                  <a:pt x="3367378" y="3227920"/>
                  <a:pt x="3380133" y="3224276"/>
                  <a:pt x="3365556" y="3244320"/>
                </a:cubicBezTo>
                <a:lnTo>
                  <a:pt x="3387422" y="3246142"/>
                </a:lnTo>
                <a:lnTo>
                  <a:pt x="3418399" y="3282585"/>
                </a:lnTo>
                <a:lnTo>
                  <a:pt x="3387422" y="3282585"/>
                </a:lnTo>
                <a:lnTo>
                  <a:pt x="3387422" y="3297163"/>
                </a:lnTo>
                <a:lnTo>
                  <a:pt x="3418399" y="3291696"/>
                </a:lnTo>
                <a:lnTo>
                  <a:pt x="3411110" y="3306274"/>
                </a:lnTo>
                <a:cubicBezTo>
                  <a:pt x="3442087" y="3302629"/>
                  <a:pt x="3449376" y="3288052"/>
                  <a:pt x="3463953" y="3268009"/>
                </a:cubicBezTo>
                <a:lnTo>
                  <a:pt x="3485819" y="3275297"/>
                </a:lnTo>
                <a:cubicBezTo>
                  <a:pt x="3480353" y="3297163"/>
                  <a:pt x="3483997" y="3286230"/>
                  <a:pt x="3471242" y="3304452"/>
                </a:cubicBezTo>
                <a:lnTo>
                  <a:pt x="3449376" y="3297163"/>
                </a:lnTo>
                <a:lnTo>
                  <a:pt x="3449376" y="3311740"/>
                </a:lnTo>
                <a:lnTo>
                  <a:pt x="3425687" y="3311740"/>
                </a:lnTo>
                <a:lnTo>
                  <a:pt x="3432976" y="3326318"/>
                </a:lnTo>
                <a:lnTo>
                  <a:pt x="3416577" y="3329962"/>
                </a:lnTo>
                <a:lnTo>
                  <a:pt x="3431154" y="3333606"/>
                </a:lnTo>
                <a:lnTo>
                  <a:pt x="3425687" y="3364583"/>
                </a:lnTo>
                <a:lnTo>
                  <a:pt x="3440265" y="3357294"/>
                </a:lnTo>
                <a:lnTo>
                  <a:pt x="3447157" y="3371080"/>
                </a:lnTo>
                <a:lnTo>
                  <a:pt x="3445731" y="3371872"/>
                </a:lnTo>
                <a:lnTo>
                  <a:pt x="3423865" y="3371872"/>
                </a:lnTo>
                <a:lnTo>
                  <a:pt x="3440265" y="3393738"/>
                </a:lnTo>
                <a:lnTo>
                  <a:pt x="3438443" y="3393738"/>
                </a:lnTo>
                <a:lnTo>
                  <a:pt x="3438443" y="3395560"/>
                </a:lnTo>
                <a:lnTo>
                  <a:pt x="3432976" y="3401027"/>
                </a:lnTo>
                <a:cubicBezTo>
                  <a:pt x="3411110" y="3391916"/>
                  <a:pt x="3423865" y="3388271"/>
                  <a:pt x="3411110" y="3406493"/>
                </a:cubicBezTo>
                <a:lnTo>
                  <a:pt x="3416577" y="3415604"/>
                </a:lnTo>
                <a:lnTo>
                  <a:pt x="3438443" y="3408315"/>
                </a:lnTo>
                <a:lnTo>
                  <a:pt x="3438443" y="3395560"/>
                </a:lnTo>
                <a:lnTo>
                  <a:pt x="3440265" y="3393738"/>
                </a:lnTo>
                <a:lnTo>
                  <a:pt x="3462131" y="3393738"/>
                </a:lnTo>
                <a:lnTo>
                  <a:pt x="3445731" y="3371872"/>
                </a:lnTo>
                <a:lnTo>
                  <a:pt x="3447553" y="3371872"/>
                </a:lnTo>
                <a:lnTo>
                  <a:pt x="3447157" y="3371080"/>
                </a:lnTo>
                <a:lnTo>
                  <a:pt x="3462131" y="3362761"/>
                </a:lnTo>
                <a:lnTo>
                  <a:pt x="3438443" y="3342717"/>
                </a:lnTo>
                <a:lnTo>
                  <a:pt x="3445731" y="3320851"/>
                </a:lnTo>
                <a:lnTo>
                  <a:pt x="3467597" y="3311740"/>
                </a:lnTo>
                <a:cubicBezTo>
                  <a:pt x="3476708" y="3331784"/>
                  <a:pt x="3463953" y="3315384"/>
                  <a:pt x="3474886" y="3333606"/>
                </a:cubicBezTo>
                <a:cubicBezTo>
                  <a:pt x="3485819" y="3339073"/>
                  <a:pt x="3483997" y="3340895"/>
                  <a:pt x="3505863" y="3333606"/>
                </a:cubicBezTo>
                <a:lnTo>
                  <a:pt x="3498574" y="3360939"/>
                </a:lnTo>
                <a:lnTo>
                  <a:pt x="3511330" y="3375516"/>
                </a:lnTo>
                <a:lnTo>
                  <a:pt x="3504041" y="3384627"/>
                </a:lnTo>
                <a:lnTo>
                  <a:pt x="3483997" y="3370050"/>
                </a:lnTo>
                <a:lnTo>
                  <a:pt x="3469419" y="3390094"/>
                </a:lnTo>
                <a:lnTo>
                  <a:pt x="3505863" y="3421071"/>
                </a:lnTo>
                <a:lnTo>
                  <a:pt x="3505863" y="3391916"/>
                </a:lnTo>
                <a:lnTo>
                  <a:pt x="3529551" y="3399205"/>
                </a:lnTo>
                <a:lnTo>
                  <a:pt x="3558706" y="3428359"/>
                </a:lnTo>
                <a:lnTo>
                  <a:pt x="3565995" y="3413783"/>
                </a:lnTo>
                <a:lnTo>
                  <a:pt x="3573284" y="3435648"/>
                </a:lnTo>
                <a:lnTo>
                  <a:pt x="3565995" y="3457514"/>
                </a:lnTo>
                <a:cubicBezTo>
                  <a:pt x="3545951" y="3450225"/>
                  <a:pt x="3562350" y="3450225"/>
                  <a:pt x="3542306" y="3459336"/>
                </a:cubicBezTo>
                <a:lnTo>
                  <a:pt x="3565995" y="3488491"/>
                </a:lnTo>
                <a:lnTo>
                  <a:pt x="3578750" y="3481202"/>
                </a:lnTo>
                <a:lnTo>
                  <a:pt x="3587861" y="3503068"/>
                </a:lnTo>
                <a:lnTo>
                  <a:pt x="3587861" y="3514001"/>
                </a:lnTo>
                <a:lnTo>
                  <a:pt x="3549595" y="3530401"/>
                </a:lnTo>
                <a:lnTo>
                  <a:pt x="3558706" y="3546800"/>
                </a:lnTo>
                <a:lnTo>
                  <a:pt x="3573284" y="3530401"/>
                </a:lnTo>
                <a:lnTo>
                  <a:pt x="3587861" y="3537690"/>
                </a:lnTo>
                <a:lnTo>
                  <a:pt x="3604260" y="3548623"/>
                </a:lnTo>
                <a:lnTo>
                  <a:pt x="3587861" y="3554089"/>
                </a:lnTo>
                <a:lnTo>
                  <a:pt x="3595150" y="3566844"/>
                </a:lnTo>
                <a:lnTo>
                  <a:pt x="3624304" y="3559556"/>
                </a:lnTo>
                <a:lnTo>
                  <a:pt x="3631593" y="3544978"/>
                </a:lnTo>
                <a:cubicBezTo>
                  <a:pt x="3649815" y="3554089"/>
                  <a:pt x="3633415" y="3552267"/>
                  <a:pt x="3653459" y="3544978"/>
                </a:cubicBezTo>
                <a:lnTo>
                  <a:pt x="3653459" y="3559556"/>
                </a:lnTo>
                <a:lnTo>
                  <a:pt x="3669859" y="3559556"/>
                </a:lnTo>
                <a:lnTo>
                  <a:pt x="3664392" y="3572311"/>
                </a:lnTo>
                <a:lnTo>
                  <a:pt x="3668037" y="3588710"/>
                </a:lnTo>
                <a:cubicBezTo>
                  <a:pt x="3678969" y="3577778"/>
                  <a:pt x="3675325" y="3575955"/>
                  <a:pt x="3699013" y="3574133"/>
                </a:cubicBezTo>
                <a:lnTo>
                  <a:pt x="3691725" y="3586888"/>
                </a:lnTo>
                <a:lnTo>
                  <a:pt x="3713591" y="3603288"/>
                </a:lnTo>
                <a:lnTo>
                  <a:pt x="3704480" y="3626976"/>
                </a:lnTo>
                <a:lnTo>
                  <a:pt x="3720880" y="3648842"/>
                </a:lnTo>
                <a:lnTo>
                  <a:pt x="3742746" y="3648842"/>
                </a:lnTo>
                <a:cubicBezTo>
                  <a:pt x="3760967" y="3670708"/>
                  <a:pt x="3739101" y="3659775"/>
                  <a:pt x="3773723" y="3663420"/>
                </a:cubicBezTo>
                <a:lnTo>
                  <a:pt x="3773723" y="3641554"/>
                </a:lnTo>
                <a:lnTo>
                  <a:pt x="3795589" y="3648842"/>
                </a:lnTo>
                <a:lnTo>
                  <a:pt x="3804700" y="3634265"/>
                </a:lnTo>
                <a:lnTo>
                  <a:pt x="3797411" y="3619687"/>
                </a:lnTo>
                <a:cubicBezTo>
                  <a:pt x="3835677" y="3616043"/>
                  <a:pt x="3824743" y="3601466"/>
                  <a:pt x="3819277" y="3574133"/>
                </a:cubicBezTo>
                <a:lnTo>
                  <a:pt x="3841143" y="3574133"/>
                </a:lnTo>
                <a:lnTo>
                  <a:pt x="3841143" y="3559556"/>
                </a:lnTo>
                <a:lnTo>
                  <a:pt x="3855721" y="3559556"/>
                </a:lnTo>
                <a:lnTo>
                  <a:pt x="3855721" y="3544978"/>
                </a:lnTo>
                <a:cubicBezTo>
                  <a:pt x="3873942" y="3554089"/>
                  <a:pt x="3857543" y="3552267"/>
                  <a:pt x="3877587" y="3544978"/>
                </a:cubicBezTo>
                <a:lnTo>
                  <a:pt x="3877587" y="3559556"/>
                </a:lnTo>
                <a:lnTo>
                  <a:pt x="3893986" y="3559556"/>
                </a:lnTo>
                <a:lnTo>
                  <a:pt x="3886697" y="3574133"/>
                </a:lnTo>
                <a:lnTo>
                  <a:pt x="3901275" y="3574133"/>
                </a:lnTo>
                <a:cubicBezTo>
                  <a:pt x="3893986" y="3599644"/>
                  <a:pt x="3890342" y="3599644"/>
                  <a:pt x="3870298" y="3612399"/>
                </a:cubicBezTo>
                <a:lnTo>
                  <a:pt x="3877587" y="3628798"/>
                </a:lnTo>
                <a:lnTo>
                  <a:pt x="3848432" y="3619687"/>
                </a:lnTo>
                <a:cubicBezTo>
                  <a:pt x="3833854" y="3628798"/>
                  <a:pt x="3850254" y="3625154"/>
                  <a:pt x="3819277" y="3626976"/>
                </a:cubicBezTo>
                <a:lnTo>
                  <a:pt x="3810166" y="3641554"/>
                </a:lnTo>
                <a:lnTo>
                  <a:pt x="3815632" y="3654309"/>
                </a:lnTo>
                <a:lnTo>
                  <a:pt x="3811988" y="3670708"/>
                </a:lnTo>
                <a:lnTo>
                  <a:pt x="3819277" y="3692574"/>
                </a:lnTo>
                <a:lnTo>
                  <a:pt x="3835677" y="3692574"/>
                </a:lnTo>
                <a:lnTo>
                  <a:pt x="3826566" y="3663420"/>
                </a:lnTo>
                <a:lnTo>
                  <a:pt x="3841143" y="3656131"/>
                </a:lnTo>
                <a:cubicBezTo>
                  <a:pt x="3855721" y="3665242"/>
                  <a:pt x="3841143" y="3663420"/>
                  <a:pt x="3872120" y="3663420"/>
                </a:cubicBezTo>
                <a:cubicBezTo>
                  <a:pt x="3859365" y="3705330"/>
                  <a:pt x="3877587" y="3647020"/>
                  <a:pt x="3850254" y="3685286"/>
                </a:cubicBezTo>
                <a:cubicBezTo>
                  <a:pt x="3868476" y="3694397"/>
                  <a:pt x="3852076" y="3692574"/>
                  <a:pt x="3872120" y="3685286"/>
                </a:cubicBezTo>
                <a:lnTo>
                  <a:pt x="3872120" y="3710796"/>
                </a:lnTo>
                <a:cubicBezTo>
                  <a:pt x="3855721" y="3703507"/>
                  <a:pt x="3848432" y="3699863"/>
                  <a:pt x="3835677" y="3716263"/>
                </a:cubicBezTo>
                <a:lnTo>
                  <a:pt x="3866653" y="3727196"/>
                </a:lnTo>
                <a:lnTo>
                  <a:pt x="3841143" y="3749062"/>
                </a:lnTo>
                <a:lnTo>
                  <a:pt x="3857543" y="3770928"/>
                </a:lnTo>
                <a:cubicBezTo>
                  <a:pt x="3877587" y="3763639"/>
                  <a:pt x="3861187" y="3763639"/>
                  <a:pt x="3879409" y="3770928"/>
                </a:cubicBezTo>
                <a:lnTo>
                  <a:pt x="3873942" y="3801905"/>
                </a:lnTo>
                <a:lnTo>
                  <a:pt x="3895808" y="3801905"/>
                </a:lnTo>
                <a:lnTo>
                  <a:pt x="3895808" y="3809194"/>
                </a:lnTo>
                <a:lnTo>
                  <a:pt x="3873942" y="3809194"/>
                </a:lnTo>
                <a:cubicBezTo>
                  <a:pt x="3883053" y="3827415"/>
                  <a:pt x="3881231" y="3811016"/>
                  <a:pt x="3873942" y="3831060"/>
                </a:cubicBezTo>
                <a:lnTo>
                  <a:pt x="3888519" y="3831060"/>
                </a:lnTo>
                <a:lnTo>
                  <a:pt x="3888519" y="3845637"/>
                </a:lnTo>
                <a:lnTo>
                  <a:pt x="3873942" y="3852926"/>
                </a:lnTo>
                <a:lnTo>
                  <a:pt x="3841143" y="3816482"/>
                </a:lnTo>
                <a:lnTo>
                  <a:pt x="3850254" y="3792794"/>
                </a:lnTo>
                <a:cubicBezTo>
                  <a:pt x="3835677" y="3783683"/>
                  <a:pt x="3832032" y="3770928"/>
                  <a:pt x="3813810" y="3770928"/>
                </a:cubicBezTo>
                <a:cubicBezTo>
                  <a:pt x="3804700" y="3770928"/>
                  <a:pt x="3797411" y="3785505"/>
                  <a:pt x="3791944" y="3792794"/>
                </a:cubicBezTo>
                <a:cubicBezTo>
                  <a:pt x="3770078" y="3774572"/>
                  <a:pt x="3781011" y="3796438"/>
                  <a:pt x="3777367" y="3761817"/>
                </a:cubicBezTo>
                <a:lnTo>
                  <a:pt x="3755501" y="3761817"/>
                </a:lnTo>
                <a:lnTo>
                  <a:pt x="3764612" y="3790972"/>
                </a:lnTo>
                <a:lnTo>
                  <a:pt x="3784656" y="3807371"/>
                </a:lnTo>
                <a:lnTo>
                  <a:pt x="3793766" y="3790972"/>
                </a:lnTo>
                <a:cubicBezTo>
                  <a:pt x="3811988" y="3800083"/>
                  <a:pt x="3786478" y="3798260"/>
                  <a:pt x="3815632" y="3798260"/>
                </a:cubicBezTo>
                <a:lnTo>
                  <a:pt x="3837499" y="3798260"/>
                </a:lnTo>
                <a:cubicBezTo>
                  <a:pt x="3830210" y="3816482"/>
                  <a:pt x="3828388" y="3800083"/>
                  <a:pt x="3837499" y="3820126"/>
                </a:cubicBezTo>
                <a:lnTo>
                  <a:pt x="3821099" y="3832882"/>
                </a:lnTo>
                <a:cubicBezTo>
                  <a:pt x="3848432" y="3847459"/>
                  <a:pt x="3864831" y="3834704"/>
                  <a:pt x="3852076" y="3863859"/>
                </a:cubicBezTo>
                <a:lnTo>
                  <a:pt x="3897630" y="3872970"/>
                </a:lnTo>
                <a:cubicBezTo>
                  <a:pt x="3890342" y="3852926"/>
                  <a:pt x="3888519" y="3869325"/>
                  <a:pt x="3897630" y="3849281"/>
                </a:cubicBezTo>
                <a:lnTo>
                  <a:pt x="3890342" y="3841993"/>
                </a:lnTo>
                <a:lnTo>
                  <a:pt x="3904919" y="3841993"/>
                </a:lnTo>
                <a:cubicBezTo>
                  <a:pt x="3917674" y="3825593"/>
                  <a:pt x="3906741" y="3832882"/>
                  <a:pt x="3928607" y="3827415"/>
                </a:cubicBezTo>
                <a:lnTo>
                  <a:pt x="3921319" y="3841993"/>
                </a:lnTo>
                <a:cubicBezTo>
                  <a:pt x="3955940" y="3845637"/>
                  <a:pt x="3934074" y="3834704"/>
                  <a:pt x="3945007" y="3862036"/>
                </a:cubicBezTo>
                <a:lnTo>
                  <a:pt x="3928607" y="3869325"/>
                </a:lnTo>
                <a:lnTo>
                  <a:pt x="3935896" y="3882081"/>
                </a:lnTo>
                <a:lnTo>
                  <a:pt x="3908985" y="3903946"/>
                </a:lnTo>
                <a:lnTo>
                  <a:pt x="3914030" y="3903946"/>
                </a:lnTo>
                <a:lnTo>
                  <a:pt x="3908563" y="3918524"/>
                </a:lnTo>
                <a:lnTo>
                  <a:pt x="3914030" y="3925812"/>
                </a:lnTo>
                <a:lnTo>
                  <a:pt x="3952295" y="3920346"/>
                </a:lnTo>
                <a:lnTo>
                  <a:pt x="3952295" y="3934013"/>
                </a:lnTo>
                <a:lnTo>
                  <a:pt x="3965052" y="3940391"/>
                </a:lnTo>
                <a:lnTo>
                  <a:pt x="3981451" y="3918524"/>
                </a:lnTo>
                <a:cubicBezTo>
                  <a:pt x="3981451" y="3951324"/>
                  <a:pt x="3985095" y="3953146"/>
                  <a:pt x="3950474" y="3954969"/>
                </a:cubicBezTo>
                <a:lnTo>
                  <a:pt x="3950474" y="3935935"/>
                </a:lnTo>
                <a:lnTo>
                  <a:pt x="3935896" y="3944034"/>
                </a:lnTo>
                <a:lnTo>
                  <a:pt x="3914030" y="3934923"/>
                </a:lnTo>
                <a:cubicBezTo>
                  <a:pt x="3908563" y="3940390"/>
                  <a:pt x="3904919" y="3942212"/>
                  <a:pt x="3903096" y="3944034"/>
                </a:cubicBezTo>
                <a:cubicBezTo>
                  <a:pt x="3903096" y="3945856"/>
                  <a:pt x="3901274" y="3949500"/>
                  <a:pt x="3899452" y="3956789"/>
                </a:cubicBezTo>
                <a:lnTo>
                  <a:pt x="3886697" y="3956789"/>
                </a:lnTo>
                <a:lnTo>
                  <a:pt x="3877586" y="3934923"/>
                </a:lnTo>
                <a:lnTo>
                  <a:pt x="3892164" y="3927634"/>
                </a:lnTo>
                <a:lnTo>
                  <a:pt x="3870297" y="3918524"/>
                </a:lnTo>
                <a:lnTo>
                  <a:pt x="3884875" y="3894835"/>
                </a:lnTo>
                <a:lnTo>
                  <a:pt x="3899452" y="3903946"/>
                </a:lnTo>
                <a:lnTo>
                  <a:pt x="3905360" y="3903946"/>
                </a:lnTo>
                <a:lnTo>
                  <a:pt x="3895353" y="3890736"/>
                </a:lnTo>
                <a:cubicBezTo>
                  <a:pt x="3891253" y="3886636"/>
                  <a:pt x="3885786" y="3883903"/>
                  <a:pt x="3875764" y="3883903"/>
                </a:cubicBezTo>
                <a:cubicBezTo>
                  <a:pt x="3863009" y="3883903"/>
                  <a:pt x="3837499" y="3922168"/>
                  <a:pt x="3861187" y="3922168"/>
                </a:cubicBezTo>
                <a:lnTo>
                  <a:pt x="3839321" y="3953145"/>
                </a:lnTo>
                <a:lnTo>
                  <a:pt x="3861187" y="3953145"/>
                </a:lnTo>
                <a:cubicBezTo>
                  <a:pt x="3857543" y="3958612"/>
                  <a:pt x="3857543" y="3967723"/>
                  <a:pt x="3846610" y="3967723"/>
                </a:cubicBezTo>
                <a:cubicBezTo>
                  <a:pt x="3821099" y="3967723"/>
                  <a:pt x="3826566" y="3956789"/>
                  <a:pt x="3830210" y="3945857"/>
                </a:cubicBezTo>
                <a:lnTo>
                  <a:pt x="3824743" y="3936746"/>
                </a:lnTo>
                <a:lnTo>
                  <a:pt x="3841143" y="3923991"/>
                </a:lnTo>
                <a:cubicBezTo>
                  <a:pt x="3833854" y="3922168"/>
                  <a:pt x="3828388" y="3920346"/>
                  <a:pt x="3826566" y="3920346"/>
                </a:cubicBezTo>
                <a:cubicBezTo>
                  <a:pt x="3826566" y="3918524"/>
                  <a:pt x="3822921" y="3914880"/>
                  <a:pt x="3817455" y="3907591"/>
                </a:cubicBezTo>
                <a:lnTo>
                  <a:pt x="3824743" y="3938568"/>
                </a:lnTo>
                <a:lnTo>
                  <a:pt x="3808344" y="3945857"/>
                </a:lnTo>
                <a:lnTo>
                  <a:pt x="3815632" y="3960434"/>
                </a:lnTo>
                <a:lnTo>
                  <a:pt x="3791944" y="3960434"/>
                </a:lnTo>
                <a:lnTo>
                  <a:pt x="3799233" y="3975011"/>
                </a:lnTo>
                <a:lnTo>
                  <a:pt x="3775545" y="3978656"/>
                </a:lnTo>
                <a:lnTo>
                  <a:pt x="3791944" y="3982300"/>
                </a:lnTo>
                <a:cubicBezTo>
                  <a:pt x="3786478" y="4005988"/>
                  <a:pt x="3784656" y="3995055"/>
                  <a:pt x="3791944" y="4013277"/>
                </a:cubicBezTo>
                <a:lnTo>
                  <a:pt x="3775545" y="4035143"/>
                </a:lnTo>
                <a:cubicBezTo>
                  <a:pt x="3784656" y="4055187"/>
                  <a:pt x="3788300" y="4042432"/>
                  <a:pt x="3768256" y="4049720"/>
                </a:cubicBezTo>
                <a:cubicBezTo>
                  <a:pt x="3760967" y="4024210"/>
                  <a:pt x="3757323" y="4024210"/>
                  <a:pt x="3737279" y="4011455"/>
                </a:cubicBezTo>
                <a:lnTo>
                  <a:pt x="3728168" y="3996878"/>
                </a:lnTo>
                <a:lnTo>
                  <a:pt x="3711769" y="4009633"/>
                </a:lnTo>
                <a:lnTo>
                  <a:pt x="3735457" y="4011455"/>
                </a:lnTo>
                <a:lnTo>
                  <a:pt x="3728168" y="4026032"/>
                </a:lnTo>
                <a:lnTo>
                  <a:pt x="3759145" y="4051543"/>
                </a:lnTo>
                <a:lnTo>
                  <a:pt x="3748430" y="4067021"/>
                </a:lnTo>
                <a:lnTo>
                  <a:pt x="3750034" y="4062476"/>
                </a:lnTo>
                <a:cubicBezTo>
                  <a:pt x="3742746" y="4067942"/>
                  <a:pt x="3740924" y="4071586"/>
                  <a:pt x="3739101" y="4073409"/>
                </a:cubicBezTo>
                <a:cubicBezTo>
                  <a:pt x="3737279" y="4073409"/>
                  <a:pt x="3733635" y="4075231"/>
                  <a:pt x="3724524" y="4078875"/>
                </a:cubicBezTo>
                <a:lnTo>
                  <a:pt x="3739101" y="4093452"/>
                </a:lnTo>
                <a:lnTo>
                  <a:pt x="3745878" y="4074253"/>
                </a:lnTo>
                <a:lnTo>
                  <a:pt x="3771900" y="4066120"/>
                </a:lnTo>
                <a:cubicBezTo>
                  <a:pt x="3777367" y="4080697"/>
                  <a:pt x="3777367" y="4087986"/>
                  <a:pt x="3770078" y="4104386"/>
                </a:cubicBezTo>
                <a:lnTo>
                  <a:pt x="3748212" y="4087986"/>
                </a:lnTo>
                <a:cubicBezTo>
                  <a:pt x="3750034" y="4129896"/>
                  <a:pt x="3759145" y="4097097"/>
                  <a:pt x="3762790" y="4140829"/>
                </a:cubicBezTo>
                <a:lnTo>
                  <a:pt x="3777367" y="4131718"/>
                </a:lnTo>
                <a:lnTo>
                  <a:pt x="3777367" y="4153584"/>
                </a:lnTo>
                <a:cubicBezTo>
                  <a:pt x="3757323" y="4146296"/>
                  <a:pt x="3770078" y="4148118"/>
                  <a:pt x="3746390" y="4153584"/>
                </a:cubicBezTo>
                <a:lnTo>
                  <a:pt x="3746390" y="4122607"/>
                </a:lnTo>
                <a:cubicBezTo>
                  <a:pt x="3722702" y="4140829"/>
                  <a:pt x="3735457" y="4118963"/>
                  <a:pt x="3740924" y="4159051"/>
                </a:cubicBezTo>
                <a:lnTo>
                  <a:pt x="3753679" y="4175450"/>
                </a:lnTo>
                <a:lnTo>
                  <a:pt x="3775545" y="4175450"/>
                </a:lnTo>
                <a:lnTo>
                  <a:pt x="3775545" y="4197317"/>
                </a:lnTo>
                <a:lnTo>
                  <a:pt x="3795589" y="4199139"/>
                </a:lnTo>
                <a:lnTo>
                  <a:pt x="3837499" y="4237404"/>
                </a:lnTo>
                <a:lnTo>
                  <a:pt x="3821019" y="4251530"/>
                </a:lnTo>
                <a:lnTo>
                  <a:pt x="3815632" y="4221005"/>
                </a:lnTo>
                <a:cubicBezTo>
                  <a:pt x="3795589" y="4230116"/>
                  <a:pt x="3821099" y="4228294"/>
                  <a:pt x="3791944" y="4228294"/>
                </a:cubicBezTo>
                <a:lnTo>
                  <a:pt x="3770078" y="4228294"/>
                </a:lnTo>
                <a:lnTo>
                  <a:pt x="3770078" y="4206428"/>
                </a:lnTo>
                <a:lnTo>
                  <a:pt x="3762790" y="4206428"/>
                </a:lnTo>
                <a:lnTo>
                  <a:pt x="3762790" y="4228294"/>
                </a:lnTo>
                <a:cubicBezTo>
                  <a:pt x="3762790" y="4242871"/>
                  <a:pt x="3760967" y="4241049"/>
                  <a:pt x="3753679" y="4253804"/>
                </a:cubicBezTo>
                <a:lnTo>
                  <a:pt x="3770078" y="4266559"/>
                </a:lnTo>
                <a:lnTo>
                  <a:pt x="3782834" y="4259271"/>
                </a:lnTo>
                <a:lnTo>
                  <a:pt x="3782834" y="4275670"/>
                </a:lnTo>
                <a:lnTo>
                  <a:pt x="3768256" y="4275670"/>
                </a:lnTo>
                <a:lnTo>
                  <a:pt x="3775545" y="4290247"/>
                </a:lnTo>
                <a:lnTo>
                  <a:pt x="3797411" y="4275670"/>
                </a:lnTo>
                <a:lnTo>
                  <a:pt x="3782834" y="4237404"/>
                </a:lnTo>
                <a:cubicBezTo>
                  <a:pt x="3807433" y="4238771"/>
                  <a:pt x="3803333" y="4237063"/>
                  <a:pt x="3809739" y="4243042"/>
                </a:cubicBezTo>
                <a:lnTo>
                  <a:pt x="3820783" y="4251733"/>
                </a:lnTo>
                <a:lnTo>
                  <a:pt x="3811988" y="4259271"/>
                </a:lnTo>
                <a:lnTo>
                  <a:pt x="3818105" y="4267682"/>
                </a:lnTo>
                <a:lnTo>
                  <a:pt x="3808344" y="4288425"/>
                </a:lnTo>
                <a:cubicBezTo>
                  <a:pt x="3809711" y="4285692"/>
                  <a:pt x="3816202" y="4292184"/>
                  <a:pt x="3820131" y="4278688"/>
                </a:cubicBezTo>
                <a:lnTo>
                  <a:pt x="3821046" y="4271725"/>
                </a:lnTo>
                <a:lnTo>
                  <a:pt x="3826566" y="4279315"/>
                </a:lnTo>
                <a:lnTo>
                  <a:pt x="3797411" y="4310291"/>
                </a:lnTo>
                <a:cubicBezTo>
                  <a:pt x="3821099" y="4310291"/>
                  <a:pt x="3824743" y="4304825"/>
                  <a:pt x="3835677" y="4317580"/>
                </a:cubicBezTo>
                <a:lnTo>
                  <a:pt x="3821099" y="4332157"/>
                </a:lnTo>
                <a:cubicBezTo>
                  <a:pt x="3795589" y="4315758"/>
                  <a:pt x="3815632" y="4319402"/>
                  <a:pt x="3782834" y="4317580"/>
                </a:cubicBezTo>
                <a:lnTo>
                  <a:pt x="3782834" y="4301181"/>
                </a:lnTo>
                <a:lnTo>
                  <a:pt x="3759145" y="4312113"/>
                </a:lnTo>
                <a:lnTo>
                  <a:pt x="3775545" y="4324869"/>
                </a:lnTo>
                <a:cubicBezTo>
                  <a:pt x="3762790" y="4357668"/>
                  <a:pt x="3781011" y="4324869"/>
                  <a:pt x="3768256" y="4355846"/>
                </a:cubicBezTo>
                <a:lnTo>
                  <a:pt x="3806522" y="4355846"/>
                </a:lnTo>
                <a:lnTo>
                  <a:pt x="3799233" y="4370423"/>
                </a:lnTo>
                <a:lnTo>
                  <a:pt x="3777367" y="4370423"/>
                </a:lnTo>
                <a:cubicBezTo>
                  <a:pt x="3788300" y="4386823"/>
                  <a:pt x="3777367" y="4379534"/>
                  <a:pt x="3799233" y="4385000"/>
                </a:cubicBezTo>
                <a:lnTo>
                  <a:pt x="3799233" y="4370423"/>
                </a:lnTo>
                <a:lnTo>
                  <a:pt x="3813810" y="4370423"/>
                </a:lnTo>
                <a:cubicBezTo>
                  <a:pt x="3808344" y="4392289"/>
                  <a:pt x="3811988" y="4383178"/>
                  <a:pt x="3799233" y="4401400"/>
                </a:cubicBezTo>
                <a:lnTo>
                  <a:pt x="3784656" y="4394111"/>
                </a:lnTo>
                <a:lnTo>
                  <a:pt x="3781011" y="4410511"/>
                </a:lnTo>
                <a:lnTo>
                  <a:pt x="3775545" y="4394111"/>
                </a:lnTo>
                <a:lnTo>
                  <a:pt x="3753679" y="4410511"/>
                </a:lnTo>
                <a:lnTo>
                  <a:pt x="3753679" y="4388645"/>
                </a:lnTo>
                <a:cubicBezTo>
                  <a:pt x="3748212" y="4392289"/>
                  <a:pt x="3735457" y="4403222"/>
                  <a:pt x="3731813" y="4403222"/>
                </a:cubicBezTo>
                <a:cubicBezTo>
                  <a:pt x="3704480" y="4403222"/>
                  <a:pt x="3729990" y="4405044"/>
                  <a:pt x="3709947" y="4395934"/>
                </a:cubicBezTo>
                <a:lnTo>
                  <a:pt x="3723478" y="4370424"/>
                </a:lnTo>
                <a:lnTo>
                  <a:pt x="3709947" y="4370424"/>
                </a:lnTo>
                <a:lnTo>
                  <a:pt x="3709947" y="4386823"/>
                </a:lnTo>
                <a:lnTo>
                  <a:pt x="3693547" y="4377712"/>
                </a:lnTo>
                <a:lnTo>
                  <a:pt x="3709946" y="4355847"/>
                </a:lnTo>
                <a:lnTo>
                  <a:pt x="3695370" y="4348558"/>
                </a:lnTo>
                <a:lnTo>
                  <a:pt x="3717235" y="4328375"/>
                </a:lnTo>
                <a:lnTo>
                  <a:pt x="3717235" y="4304825"/>
                </a:lnTo>
                <a:lnTo>
                  <a:pt x="3697191" y="4319402"/>
                </a:lnTo>
                <a:lnTo>
                  <a:pt x="3680792" y="4306647"/>
                </a:lnTo>
                <a:cubicBezTo>
                  <a:pt x="3671681" y="4324869"/>
                  <a:pt x="3673503" y="4308469"/>
                  <a:pt x="3680792" y="4328513"/>
                </a:cubicBezTo>
                <a:lnTo>
                  <a:pt x="3658926" y="4328513"/>
                </a:lnTo>
                <a:cubicBezTo>
                  <a:pt x="3629771" y="4328513"/>
                  <a:pt x="3655281" y="4324869"/>
                  <a:pt x="3637060" y="4333980"/>
                </a:cubicBezTo>
                <a:lnTo>
                  <a:pt x="3613371" y="4312113"/>
                </a:lnTo>
                <a:cubicBezTo>
                  <a:pt x="3600616" y="4344913"/>
                  <a:pt x="3618838" y="4312113"/>
                  <a:pt x="3606082" y="4343091"/>
                </a:cubicBezTo>
                <a:lnTo>
                  <a:pt x="3627949" y="4343091"/>
                </a:lnTo>
                <a:cubicBezTo>
                  <a:pt x="3618382" y="4366324"/>
                  <a:pt x="3632390" y="4359832"/>
                  <a:pt x="3626924" y="4364359"/>
                </a:cubicBezTo>
                <a:lnTo>
                  <a:pt x="3617162" y="4371352"/>
                </a:lnTo>
                <a:lnTo>
                  <a:pt x="3620660" y="4370423"/>
                </a:lnTo>
                <a:lnTo>
                  <a:pt x="3627949" y="4395934"/>
                </a:lnTo>
                <a:lnTo>
                  <a:pt x="3618838" y="4410511"/>
                </a:lnTo>
                <a:lnTo>
                  <a:pt x="3626127" y="4425088"/>
                </a:lnTo>
                <a:cubicBezTo>
                  <a:pt x="3620660" y="4423266"/>
                  <a:pt x="3615194" y="4421444"/>
                  <a:pt x="3613372" y="4421444"/>
                </a:cubicBezTo>
                <a:lnTo>
                  <a:pt x="3613021" y="4421023"/>
                </a:lnTo>
                <a:lnTo>
                  <a:pt x="3612688" y="4422355"/>
                </a:lnTo>
                <a:cubicBezTo>
                  <a:pt x="3611890" y="4421899"/>
                  <a:pt x="3611150" y="4421216"/>
                  <a:pt x="3611065" y="4420646"/>
                </a:cubicBezTo>
                <a:lnTo>
                  <a:pt x="3612263" y="4420114"/>
                </a:lnTo>
                <a:lnTo>
                  <a:pt x="3604261" y="4410511"/>
                </a:lnTo>
                <a:lnTo>
                  <a:pt x="3604261" y="4432377"/>
                </a:lnTo>
                <a:cubicBezTo>
                  <a:pt x="3575105" y="4410511"/>
                  <a:pt x="3602438" y="4432377"/>
                  <a:pt x="3589683" y="4401400"/>
                </a:cubicBezTo>
                <a:lnTo>
                  <a:pt x="3613372" y="4401400"/>
                </a:lnTo>
                <a:cubicBezTo>
                  <a:pt x="3605172" y="4381356"/>
                  <a:pt x="3603805" y="4375890"/>
                  <a:pt x="3606083" y="4374295"/>
                </a:cubicBezTo>
                <a:lnTo>
                  <a:pt x="3612503" y="4372590"/>
                </a:lnTo>
                <a:lnTo>
                  <a:pt x="3608503" y="4365783"/>
                </a:lnTo>
                <a:cubicBezTo>
                  <a:pt x="3605513" y="4361768"/>
                  <a:pt x="3607904" y="4367234"/>
                  <a:pt x="3613371" y="4352201"/>
                </a:cubicBezTo>
                <a:lnTo>
                  <a:pt x="3591505" y="4352201"/>
                </a:lnTo>
                <a:cubicBezTo>
                  <a:pt x="3600616" y="4332157"/>
                  <a:pt x="3604260" y="4344913"/>
                  <a:pt x="3584216" y="4330335"/>
                </a:cubicBezTo>
                <a:lnTo>
                  <a:pt x="3582394" y="4354023"/>
                </a:lnTo>
                <a:lnTo>
                  <a:pt x="3560528" y="4337624"/>
                </a:lnTo>
                <a:cubicBezTo>
                  <a:pt x="3547773" y="4357668"/>
                  <a:pt x="3547773" y="4361312"/>
                  <a:pt x="3522263" y="4368601"/>
                </a:cubicBezTo>
                <a:lnTo>
                  <a:pt x="3522263" y="4354023"/>
                </a:lnTo>
                <a:cubicBezTo>
                  <a:pt x="3498574" y="4370423"/>
                  <a:pt x="3518618" y="4366779"/>
                  <a:pt x="3485819" y="4368601"/>
                </a:cubicBezTo>
                <a:lnTo>
                  <a:pt x="3493108" y="4390467"/>
                </a:lnTo>
                <a:cubicBezTo>
                  <a:pt x="3538662" y="4388645"/>
                  <a:pt x="3522263" y="4374068"/>
                  <a:pt x="3538662" y="4397756"/>
                </a:cubicBezTo>
                <a:lnTo>
                  <a:pt x="3516796" y="4397756"/>
                </a:lnTo>
                <a:cubicBezTo>
                  <a:pt x="3523174" y="4413245"/>
                  <a:pt x="3521807" y="4412789"/>
                  <a:pt x="3519985" y="4412334"/>
                </a:cubicBezTo>
                <a:lnTo>
                  <a:pt x="3518429" y="4413275"/>
                </a:lnTo>
                <a:lnTo>
                  <a:pt x="3513152" y="4401400"/>
                </a:lnTo>
                <a:lnTo>
                  <a:pt x="3498574" y="4406867"/>
                </a:lnTo>
                <a:lnTo>
                  <a:pt x="3498574" y="4392289"/>
                </a:lnTo>
                <a:lnTo>
                  <a:pt x="3476708" y="4392289"/>
                </a:lnTo>
                <a:lnTo>
                  <a:pt x="3476708" y="4377712"/>
                </a:lnTo>
                <a:lnTo>
                  <a:pt x="3462131" y="4386823"/>
                </a:lnTo>
                <a:lnTo>
                  <a:pt x="3447553" y="4370423"/>
                </a:lnTo>
                <a:cubicBezTo>
                  <a:pt x="3449376" y="4401400"/>
                  <a:pt x="3449376" y="4403222"/>
                  <a:pt x="3469419" y="4394111"/>
                </a:cubicBezTo>
                <a:lnTo>
                  <a:pt x="3473064" y="4417800"/>
                </a:lnTo>
                <a:cubicBezTo>
                  <a:pt x="3467597" y="4437844"/>
                  <a:pt x="3463953" y="4425088"/>
                  <a:pt x="3483997" y="4439666"/>
                </a:cubicBezTo>
                <a:cubicBezTo>
                  <a:pt x="3485819" y="4403222"/>
                  <a:pt x="3474886" y="4425088"/>
                  <a:pt x="3498574" y="4408689"/>
                </a:cubicBezTo>
                <a:lnTo>
                  <a:pt x="3518481" y="4416984"/>
                </a:lnTo>
                <a:lnTo>
                  <a:pt x="3520440" y="4426910"/>
                </a:lnTo>
                <a:lnTo>
                  <a:pt x="3514974" y="4445132"/>
                </a:lnTo>
                <a:lnTo>
                  <a:pt x="3493108" y="4436021"/>
                </a:lnTo>
                <a:cubicBezTo>
                  <a:pt x="3486731" y="4451510"/>
                  <a:pt x="3488097" y="4451510"/>
                  <a:pt x="3489691" y="4451282"/>
                </a:cubicBezTo>
                <a:lnTo>
                  <a:pt x="3491017" y="4452421"/>
                </a:lnTo>
                <a:lnTo>
                  <a:pt x="3469419" y="4452421"/>
                </a:lnTo>
                <a:cubicBezTo>
                  <a:pt x="3474886" y="4465176"/>
                  <a:pt x="3474886" y="4470643"/>
                  <a:pt x="3473064" y="4472465"/>
                </a:cubicBezTo>
                <a:cubicBezTo>
                  <a:pt x="3474886" y="4474287"/>
                  <a:pt x="3478530" y="4474287"/>
                  <a:pt x="3483997" y="4476109"/>
                </a:cubicBezTo>
                <a:lnTo>
                  <a:pt x="3491230" y="4452605"/>
                </a:lnTo>
                <a:lnTo>
                  <a:pt x="3491314" y="4452677"/>
                </a:lnTo>
                <a:cubicBezTo>
                  <a:pt x="3491286" y="4454357"/>
                  <a:pt x="3490374" y="4457888"/>
                  <a:pt x="3487641" y="4465176"/>
                </a:cubicBezTo>
                <a:lnTo>
                  <a:pt x="3500397" y="4479754"/>
                </a:lnTo>
                <a:lnTo>
                  <a:pt x="3485819" y="4496153"/>
                </a:lnTo>
                <a:lnTo>
                  <a:pt x="3476465" y="4490808"/>
                </a:lnTo>
                <a:lnTo>
                  <a:pt x="3447554" y="4505264"/>
                </a:lnTo>
                <a:lnTo>
                  <a:pt x="3438443" y="4490687"/>
                </a:lnTo>
                <a:lnTo>
                  <a:pt x="3423865" y="4476109"/>
                </a:lnTo>
                <a:lnTo>
                  <a:pt x="3434596" y="4476109"/>
                </a:lnTo>
                <a:lnTo>
                  <a:pt x="3440265" y="4463354"/>
                </a:lnTo>
                <a:lnTo>
                  <a:pt x="3409288" y="4448776"/>
                </a:lnTo>
                <a:lnTo>
                  <a:pt x="3431154" y="4432377"/>
                </a:lnTo>
                <a:lnTo>
                  <a:pt x="3431154" y="4448776"/>
                </a:lnTo>
                <a:lnTo>
                  <a:pt x="3445731" y="4448776"/>
                </a:lnTo>
                <a:lnTo>
                  <a:pt x="3436621" y="4426910"/>
                </a:lnTo>
                <a:lnTo>
                  <a:pt x="3414754" y="4419622"/>
                </a:lnTo>
                <a:lnTo>
                  <a:pt x="3407466" y="4448776"/>
                </a:lnTo>
                <a:lnTo>
                  <a:pt x="3391066" y="4446954"/>
                </a:lnTo>
                <a:lnTo>
                  <a:pt x="3378311" y="4461532"/>
                </a:lnTo>
                <a:lnTo>
                  <a:pt x="3347334" y="4456065"/>
                </a:lnTo>
                <a:cubicBezTo>
                  <a:pt x="3356445" y="4437844"/>
                  <a:pt x="3354623" y="4454243"/>
                  <a:pt x="3347334" y="4434199"/>
                </a:cubicBezTo>
                <a:cubicBezTo>
                  <a:pt x="3340045" y="4439666"/>
                  <a:pt x="3336401" y="4443310"/>
                  <a:pt x="3334579" y="4443310"/>
                </a:cubicBezTo>
                <a:cubicBezTo>
                  <a:pt x="3336401" y="4443310"/>
                  <a:pt x="3341867" y="4443310"/>
                  <a:pt x="3332756" y="4457887"/>
                </a:cubicBezTo>
                <a:cubicBezTo>
                  <a:pt x="3329112" y="4459710"/>
                  <a:pt x="3327290" y="4461532"/>
                  <a:pt x="3327290" y="4463354"/>
                </a:cubicBezTo>
                <a:cubicBezTo>
                  <a:pt x="3325468" y="4463354"/>
                  <a:pt x="3323646" y="4461532"/>
                  <a:pt x="3320001" y="4459710"/>
                </a:cubicBezTo>
                <a:lnTo>
                  <a:pt x="3303602" y="4472465"/>
                </a:lnTo>
                <a:lnTo>
                  <a:pt x="3296313" y="4457887"/>
                </a:lnTo>
                <a:lnTo>
                  <a:pt x="3320001" y="4436021"/>
                </a:lnTo>
                <a:lnTo>
                  <a:pt x="3296313" y="4426910"/>
                </a:lnTo>
                <a:lnTo>
                  <a:pt x="3310890" y="4426910"/>
                </a:lnTo>
                <a:lnTo>
                  <a:pt x="3318179" y="4403222"/>
                </a:lnTo>
                <a:lnTo>
                  <a:pt x="3309068" y="4397756"/>
                </a:lnTo>
                <a:cubicBezTo>
                  <a:pt x="3290847" y="4410511"/>
                  <a:pt x="3294491" y="4397756"/>
                  <a:pt x="3303602" y="4419622"/>
                </a:cubicBezTo>
                <a:lnTo>
                  <a:pt x="3296313" y="4426910"/>
                </a:lnTo>
                <a:lnTo>
                  <a:pt x="3274447" y="4434199"/>
                </a:lnTo>
                <a:lnTo>
                  <a:pt x="3259869" y="4426910"/>
                </a:lnTo>
                <a:lnTo>
                  <a:pt x="3245292" y="4426910"/>
                </a:lnTo>
                <a:cubicBezTo>
                  <a:pt x="3217960" y="4426910"/>
                  <a:pt x="3238003" y="4425088"/>
                  <a:pt x="3230715" y="4434199"/>
                </a:cubicBezTo>
                <a:lnTo>
                  <a:pt x="3216137" y="4426910"/>
                </a:lnTo>
                <a:lnTo>
                  <a:pt x="3208849" y="4434199"/>
                </a:lnTo>
                <a:lnTo>
                  <a:pt x="3199738" y="4419622"/>
                </a:lnTo>
                <a:lnTo>
                  <a:pt x="3183338" y="4432377"/>
                </a:lnTo>
                <a:lnTo>
                  <a:pt x="3194271" y="4439666"/>
                </a:lnTo>
                <a:lnTo>
                  <a:pt x="3208849" y="4434199"/>
                </a:lnTo>
                <a:cubicBezTo>
                  <a:pt x="3210671" y="4463354"/>
                  <a:pt x="3210671" y="4465176"/>
                  <a:pt x="3230715" y="4456065"/>
                </a:cubicBezTo>
                <a:lnTo>
                  <a:pt x="3252581" y="4465176"/>
                </a:lnTo>
                <a:lnTo>
                  <a:pt x="3236181" y="4443310"/>
                </a:lnTo>
                <a:lnTo>
                  <a:pt x="3245292" y="4436021"/>
                </a:lnTo>
                <a:lnTo>
                  <a:pt x="3259869" y="4448776"/>
                </a:lnTo>
                <a:cubicBezTo>
                  <a:pt x="3290847" y="4437844"/>
                  <a:pt x="3258047" y="4456065"/>
                  <a:pt x="3289024" y="4443310"/>
                </a:cubicBezTo>
                <a:lnTo>
                  <a:pt x="3296313" y="4457887"/>
                </a:lnTo>
                <a:lnTo>
                  <a:pt x="3281736" y="4457887"/>
                </a:lnTo>
                <a:cubicBezTo>
                  <a:pt x="3270803" y="4474287"/>
                  <a:pt x="3281736" y="4466998"/>
                  <a:pt x="3259869" y="4472465"/>
                </a:cubicBezTo>
                <a:lnTo>
                  <a:pt x="3259869" y="4496153"/>
                </a:lnTo>
                <a:lnTo>
                  <a:pt x="3239826" y="4481576"/>
                </a:lnTo>
                <a:lnTo>
                  <a:pt x="3228893" y="4488865"/>
                </a:lnTo>
                <a:lnTo>
                  <a:pt x="3245292" y="4503442"/>
                </a:lnTo>
                <a:lnTo>
                  <a:pt x="3238003" y="4516197"/>
                </a:lnTo>
                <a:lnTo>
                  <a:pt x="3250759" y="4530774"/>
                </a:lnTo>
                <a:lnTo>
                  <a:pt x="3243470" y="4541707"/>
                </a:lnTo>
                <a:lnTo>
                  <a:pt x="3228893" y="4525308"/>
                </a:lnTo>
                <a:lnTo>
                  <a:pt x="3214315" y="4532597"/>
                </a:lnTo>
                <a:cubicBezTo>
                  <a:pt x="3197916" y="4508908"/>
                  <a:pt x="3201560" y="4527130"/>
                  <a:pt x="3199738" y="4494331"/>
                </a:cubicBezTo>
                <a:lnTo>
                  <a:pt x="3214315" y="4501620"/>
                </a:lnTo>
                <a:cubicBezTo>
                  <a:pt x="3214315" y="4483398"/>
                  <a:pt x="3208849" y="4463354"/>
                  <a:pt x="3192449" y="4463354"/>
                </a:cubicBezTo>
                <a:cubicBezTo>
                  <a:pt x="3163294" y="4463354"/>
                  <a:pt x="3190627" y="4461532"/>
                  <a:pt x="3168761" y="4472465"/>
                </a:cubicBezTo>
                <a:lnTo>
                  <a:pt x="3190627" y="4499797"/>
                </a:lnTo>
                <a:lnTo>
                  <a:pt x="3185160" y="4508908"/>
                </a:lnTo>
                <a:cubicBezTo>
                  <a:pt x="3174227" y="4499797"/>
                  <a:pt x="3163294" y="4497975"/>
                  <a:pt x="3163294" y="4477931"/>
                </a:cubicBezTo>
                <a:lnTo>
                  <a:pt x="3163294" y="4461532"/>
                </a:lnTo>
                <a:lnTo>
                  <a:pt x="3170583" y="4446954"/>
                </a:lnTo>
                <a:lnTo>
                  <a:pt x="3170583" y="4415978"/>
                </a:lnTo>
                <a:cubicBezTo>
                  <a:pt x="3150539" y="4430555"/>
                  <a:pt x="3154184" y="4417800"/>
                  <a:pt x="3163294" y="4437844"/>
                </a:cubicBezTo>
                <a:lnTo>
                  <a:pt x="3148717" y="4445132"/>
                </a:lnTo>
                <a:cubicBezTo>
                  <a:pt x="3157828" y="4463354"/>
                  <a:pt x="3156006" y="4448776"/>
                  <a:pt x="3146895" y="4468820"/>
                </a:cubicBezTo>
                <a:lnTo>
                  <a:pt x="3125029" y="4445132"/>
                </a:lnTo>
                <a:lnTo>
                  <a:pt x="3139606" y="4445132"/>
                </a:lnTo>
                <a:lnTo>
                  <a:pt x="3132317" y="4423266"/>
                </a:lnTo>
                <a:lnTo>
                  <a:pt x="3117740" y="4432377"/>
                </a:lnTo>
                <a:lnTo>
                  <a:pt x="3125029" y="4446954"/>
                </a:lnTo>
                <a:lnTo>
                  <a:pt x="3110451" y="4454243"/>
                </a:lnTo>
                <a:cubicBezTo>
                  <a:pt x="3119562" y="4474287"/>
                  <a:pt x="3119562" y="4457887"/>
                  <a:pt x="3112274" y="4476109"/>
                </a:cubicBezTo>
                <a:lnTo>
                  <a:pt x="3125029" y="4492509"/>
                </a:lnTo>
                <a:cubicBezTo>
                  <a:pt x="3110451" y="4499797"/>
                  <a:pt x="3103163" y="4499797"/>
                  <a:pt x="3086763" y="4492509"/>
                </a:cubicBezTo>
                <a:lnTo>
                  <a:pt x="3103163" y="4470643"/>
                </a:lnTo>
                <a:lnTo>
                  <a:pt x="3079474" y="4468820"/>
                </a:lnTo>
                <a:lnTo>
                  <a:pt x="3095874" y="4446954"/>
                </a:lnTo>
                <a:cubicBezTo>
                  <a:pt x="3086763" y="4441488"/>
                  <a:pt x="3088585" y="4439666"/>
                  <a:pt x="3074008" y="4439666"/>
                </a:cubicBezTo>
                <a:lnTo>
                  <a:pt x="3066719" y="4439666"/>
                </a:lnTo>
                <a:cubicBezTo>
                  <a:pt x="3035742" y="4439666"/>
                  <a:pt x="3063075" y="4437844"/>
                  <a:pt x="3052142" y="4446954"/>
                </a:cubicBezTo>
                <a:lnTo>
                  <a:pt x="3030276" y="4439666"/>
                </a:lnTo>
                <a:lnTo>
                  <a:pt x="3030276" y="4454243"/>
                </a:lnTo>
                <a:lnTo>
                  <a:pt x="3015698" y="4454243"/>
                </a:lnTo>
                <a:cubicBezTo>
                  <a:pt x="3021165" y="4432377"/>
                  <a:pt x="3015698" y="4443310"/>
                  <a:pt x="3032098" y="4430555"/>
                </a:cubicBezTo>
                <a:lnTo>
                  <a:pt x="3024809" y="4415978"/>
                </a:lnTo>
                <a:lnTo>
                  <a:pt x="3046675" y="4415978"/>
                </a:lnTo>
                <a:cubicBezTo>
                  <a:pt x="3075830" y="4415978"/>
                  <a:pt x="3048497" y="4414155"/>
                  <a:pt x="3072186" y="4423266"/>
                </a:cubicBezTo>
                <a:lnTo>
                  <a:pt x="3068541" y="4355846"/>
                </a:lnTo>
                <a:cubicBezTo>
                  <a:pt x="3048497" y="4370423"/>
                  <a:pt x="3052142" y="4355846"/>
                  <a:pt x="3061253" y="4377712"/>
                </a:cubicBezTo>
                <a:lnTo>
                  <a:pt x="3044853" y="4377712"/>
                </a:lnTo>
                <a:lnTo>
                  <a:pt x="3053964" y="4403222"/>
                </a:lnTo>
                <a:lnTo>
                  <a:pt x="3015698" y="4399578"/>
                </a:lnTo>
                <a:lnTo>
                  <a:pt x="3015698" y="4421444"/>
                </a:lnTo>
                <a:cubicBezTo>
                  <a:pt x="2993832" y="4415978"/>
                  <a:pt x="3001121" y="4425088"/>
                  <a:pt x="3008410" y="4406867"/>
                </a:cubicBezTo>
                <a:lnTo>
                  <a:pt x="2992010" y="4406867"/>
                </a:lnTo>
                <a:lnTo>
                  <a:pt x="2999299" y="4390467"/>
                </a:lnTo>
                <a:lnTo>
                  <a:pt x="2968322" y="4399578"/>
                </a:lnTo>
                <a:lnTo>
                  <a:pt x="2986543" y="4370423"/>
                </a:lnTo>
                <a:lnTo>
                  <a:pt x="2979255" y="4355846"/>
                </a:lnTo>
                <a:lnTo>
                  <a:pt x="3002943" y="4354023"/>
                </a:lnTo>
                <a:lnTo>
                  <a:pt x="2988610" y="4342875"/>
                </a:lnTo>
                <a:lnTo>
                  <a:pt x="2970144" y="4348557"/>
                </a:lnTo>
                <a:lnTo>
                  <a:pt x="2979255" y="4332157"/>
                </a:lnTo>
                <a:lnTo>
                  <a:pt x="2986543" y="4336712"/>
                </a:lnTo>
                <a:lnTo>
                  <a:pt x="2986543" y="4317580"/>
                </a:lnTo>
                <a:lnTo>
                  <a:pt x="2971966" y="4324869"/>
                </a:lnTo>
                <a:lnTo>
                  <a:pt x="2962855" y="4310291"/>
                </a:lnTo>
                <a:lnTo>
                  <a:pt x="2948278" y="4317580"/>
                </a:lnTo>
                <a:lnTo>
                  <a:pt x="2948278" y="4295714"/>
                </a:lnTo>
                <a:cubicBezTo>
                  <a:pt x="2928234" y="4310291"/>
                  <a:pt x="2931878" y="4295714"/>
                  <a:pt x="2940989" y="4317580"/>
                </a:cubicBezTo>
                <a:lnTo>
                  <a:pt x="2926412" y="4317580"/>
                </a:lnTo>
                <a:lnTo>
                  <a:pt x="2924590" y="4333980"/>
                </a:lnTo>
                <a:lnTo>
                  <a:pt x="2902724" y="4310291"/>
                </a:lnTo>
                <a:cubicBezTo>
                  <a:pt x="2879035" y="4326691"/>
                  <a:pt x="2886324" y="4333980"/>
                  <a:pt x="2857169" y="4341268"/>
                </a:cubicBezTo>
                <a:lnTo>
                  <a:pt x="2857169" y="4350379"/>
                </a:lnTo>
                <a:lnTo>
                  <a:pt x="2840769" y="4343091"/>
                </a:lnTo>
                <a:lnTo>
                  <a:pt x="2848058" y="4328513"/>
                </a:lnTo>
                <a:lnTo>
                  <a:pt x="2864458" y="4315758"/>
                </a:lnTo>
                <a:lnTo>
                  <a:pt x="2848058" y="4313936"/>
                </a:lnTo>
                <a:lnTo>
                  <a:pt x="2848058" y="4328513"/>
                </a:lnTo>
                <a:lnTo>
                  <a:pt x="2826192" y="4328513"/>
                </a:lnTo>
                <a:lnTo>
                  <a:pt x="2809793" y="4304825"/>
                </a:lnTo>
                <a:lnTo>
                  <a:pt x="2838947" y="4310291"/>
                </a:lnTo>
                <a:lnTo>
                  <a:pt x="2855347" y="4306647"/>
                </a:lnTo>
                <a:lnTo>
                  <a:pt x="2855347" y="4298288"/>
                </a:lnTo>
                <a:lnTo>
                  <a:pt x="2835304" y="4303004"/>
                </a:lnTo>
                <a:lnTo>
                  <a:pt x="2842592" y="4288427"/>
                </a:lnTo>
                <a:lnTo>
                  <a:pt x="2820726" y="4288427"/>
                </a:lnTo>
                <a:cubicBezTo>
                  <a:pt x="2828926" y="4276582"/>
                  <a:pt x="2827559" y="4273393"/>
                  <a:pt x="2828698" y="4272937"/>
                </a:cubicBezTo>
                <a:cubicBezTo>
                  <a:pt x="2829837" y="4272482"/>
                  <a:pt x="2833481" y="4274760"/>
                  <a:pt x="2851703" y="4273849"/>
                </a:cubicBezTo>
                <a:lnTo>
                  <a:pt x="2860947" y="4287715"/>
                </a:lnTo>
                <a:lnTo>
                  <a:pt x="2871747" y="4279315"/>
                </a:lnTo>
                <a:lnTo>
                  <a:pt x="2840769" y="4270204"/>
                </a:lnTo>
                <a:lnTo>
                  <a:pt x="2862636" y="4239226"/>
                </a:lnTo>
                <a:lnTo>
                  <a:pt x="2824370" y="4239226"/>
                </a:lnTo>
                <a:cubicBezTo>
                  <a:pt x="2840769" y="4213716"/>
                  <a:pt x="2842592" y="4228294"/>
                  <a:pt x="2846236" y="4193672"/>
                </a:cubicBezTo>
                <a:cubicBezTo>
                  <a:pt x="2826192" y="4202783"/>
                  <a:pt x="2826192" y="4202783"/>
                  <a:pt x="2824370" y="4171806"/>
                </a:cubicBezTo>
                <a:cubicBezTo>
                  <a:pt x="2795215" y="4193672"/>
                  <a:pt x="2822548" y="4171806"/>
                  <a:pt x="2813437" y="4200961"/>
                </a:cubicBezTo>
                <a:lnTo>
                  <a:pt x="2818903" y="4217360"/>
                </a:lnTo>
                <a:lnTo>
                  <a:pt x="2800682" y="4241049"/>
                </a:lnTo>
                <a:lnTo>
                  <a:pt x="2778816" y="4217360"/>
                </a:lnTo>
                <a:lnTo>
                  <a:pt x="2800682" y="4217360"/>
                </a:lnTo>
                <a:cubicBezTo>
                  <a:pt x="2787927" y="4197317"/>
                  <a:pt x="2800682" y="4200961"/>
                  <a:pt x="2778816" y="4210072"/>
                </a:cubicBezTo>
                <a:cubicBezTo>
                  <a:pt x="2776082" y="4185473"/>
                  <a:pt x="2777449" y="4190598"/>
                  <a:pt x="2772154" y="4184704"/>
                </a:cubicBezTo>
                <a:lnTo>
                  <a:pt x="2766464" y="4176743"/>
                </a:lnTo>
                <a:lnTo>
                  <a:pt x="2775171" y="4204606"/>
                </a:lnTo>
                <a:lnTo>
                  <a:pt x="2767882" y="4226472"/>
                </a:lnTo>
                <a:lnTo>
                  <a:pt x="2738728" y="4219184"/>
                </a:lnTo>
                <a:lnTo>
                  <a:pt x="2713217" y="4191851"/>
                </a:lnTo>
                <a:lnTo>
                  <a:pt x="2736906" y="4190029"/>
                </a:lnTo>
                <a:cubicBezTo>
                  <a:pt x="2745106" y="4190029"/>
                  <a:pt x="2749206" y="4188662"/>
                  <a:pt x="2752850" y="4186156"/>
                </a:cubicBezTo>
                <a:lnTo>
                  <a:pt x="2765731" y="4175717"/>
                </a:lnTo>
                <a:lnTo>
                  <a:pt x="2764238" y="4173628"/>
                </a:lnTo>
                <a:lnTo>
                  <a:pt x="2771527" y="4164517"/>
                </a:lnTo>
                <a:lnTo>
                  <a:pt x="2793393" y="4180917"/>
                </a:lnTo>
                <a:lnTo>
                  <a:pt x="2802504" y="4166339"/>
                </a:lnTo>
                <a:lnTo>
                  <a:pt x="2727795" y="4151762"/>
                </a:lnTo>
                <a:cubicBezTo>
                  <a:pt x="2723695" y="4135363"/>
                  <a:pt x="2726770" y="4137413"/>
                  <a:pt x="2721645" y="4134850"/>
                </a:cubicBezTo>
                <a:lnTo>
                  <a:pt x="2713630" y="4130139"/>
                </a:lnTo>
                <a:lnTo>
                  <a:pt x="2713290" y="4129781"/>
                </a:lnTo>
                <a:lnTo>
                  <a:pt x="2722328" y="4115319"/>
                </a:lnTo>
                <a:lnTo>
                  <a:pt x="2736906" y="4122607"/>
                </a:lnTo>
                <a:lnTo>
                  <a:pt x="2736906" y="4142651"/>
                </a:lnTo>
                <a:lnTo>
                  <a:pt x="2758772" y="4142651"/>
                </a:lnTo>
                <a:lnTo>
                  <a:pt x="2736906" y="4120785"/>
                </a:lnTo>
                <a:lnTo>
                  <a:pt x="2760594" y="4091630"/>
                </a:lnTo>
                <a:lnTo>
                  <a:pt x="2739962" y="4083696"/>
                </a:lnTo>
                <a:lnTo>
                  <a:pt x="2740550" y="4082520"/>
                </a:lnTo>
                <a:lnTo>
                  <a:pt x="2751483" y="4082520"/>
                </a:lnTo>
                <a:lnTo>
                  <a:pt x="2766060" y="4075231"/>
                </a:lnTo>
                <a:lnTo>
                  <a:pt x="2773349" y="4082520"/>
                </a:lnTo>
                <a:lnTo>
                  <a:pt x="2767882" y="4091630"/>
                </a:lnTo>
                <a:lnTo>
                  <a:pt x="2775171" y="4104386"/>
                </a:lnTo>
                <a:cubicBezTo>
                  <a:pt x="2764238" y="4124430"/>
                  <a:pt x="2764238" y="4111674"/>
                  <a:pt x="2775171" y="4135363"/>
                </a:cubicBezTo>
                <a:cubicBezTo>
                  <a:pt x="2795215" y="4122607"/>
                  <a:pt x="2791571" y="4135363"/>
                  <a:pt x="2782460" y="4113497"/>
                </a:cubicBezTo>
                <a:lnTo>
                  <a:pt x="2791571" y="4091630"/>
                </a:lnTo>
                <a:lnTo>
                  <a:pt x="2775171" y="4084342"/>
                </a:lnTo>
                <a:lnTo>
                  <a:pt x="2791571" y="4062476"/>
                </a:lnTo>
                <a:cubicBezTo>
                  <a:pt x="2749661" y="4064298"/>
                  <a:pt x="2771527" y="4077053"/>
                  <a:pt x="2753305" y="4053365"/>
                </a:cubicBezTo>
                <a:lnTo>
                  <a:pt x="2775171" y="4053365"/>
                </a:lnTo>
                <a:cubicBezTo>
                  <a:pt x="2767882" y="4035143"/>
                  <a:pt x="2766060" y="4051543"/>
                  <a:pt x="2775171" y="4031499"/>
                </a:cubicBezTo>
                <a:lnTo>
                  <a:pt x="2753305" y="4031499"/>
                </a:lnTo>
                <a:lnTo>
                  <a:pt x="2740550" y="4015099"/>
                </a:lnTo>
                <a:cubicBezTo>
                  <a:pt x="2746016" y="3998700"/>
                  <a:pt x="2753305" y="4009633"/>
                  <a:pt x="2731439" y="4002344"/>
                </a:cubicBezTo>
                <a:lnTo>
                  <a:pt x="2727795" y="4018744"/>
                </a:lnTo>
                <a:cubicBezTo>
                  <a:pt x="2733261" y="4036965"/>
                  <a:pt x="2731439" y="4011455"/>
                  <a:pt x="2731439" y="4040610"/>
                </a:cubicBezTo>
                <a:cubicBezTo>
                  <a:pt x="2731439" y="4040610"/>
                  <a:pt x="2724150" y="4055187"/>
                  <a:pt x="2724150" y="4055187"/>
                </a:cubicBezTo>
                <a:lnTo>
                  <a:pt x="2746016" y="4071586"/>
                </a:lnTo>
                <a:lnTo>
                  <a:pt x="2740550" y="4082520"/>
                </a:lnTo>
                <a:lnTo>
                  <a:pt x="2736906" y="4082520"/>
                </a:lnTo>
                <a:lnTo>
                  <a:pt x="2739962" y="4083696"/>
                </a:lnTo>
                <a:lnTo>
                  <a:pt x="2738728" y="4086164"/>
                </a:lnTo>
                <a:lnTo>
                  <a:pt x="2729617" y="4080697"/>
                </a:lnTo>
                <a:lnTo>
                  <a:pt x="2716862" y="4087986"/>
                </a:lnTo>
                <a:lnTo>
                  <a:pt x="2702284" y="4071586"/>
                </a:lnTo>
                <a:lnTo>
                  <a:pt x="2707751" y="4104386"/>
                </a:lnTo>
                <a:cubicBezTo>
                  <a:pt x="2708662" y="4111675"/>
                  <a:pt x="2707751" y="4118964"/>
                  <a:pt x="2708206" y="4124430"/>
                </a:cubicBezTo>
                <a:lnTo>
                  <a:pt x="2713290" y="4129781"/>
                </a:lnTo>
                <a:lnTo>
                  <a:pt x="2713217" y="4129896"/>
                </a:lnTo>
                <a:lnTo>
                  <a:pt x="2713630" y="4130139"/>
                </a:lnTo>
                <a:lnTo>
                  <a:pt x="2716862" y="4133541"/>
                </a:lnTo>
                <a:lnTo>
                  <a:pt x="2709573" y="4140829"/>
                </a:lnTo>
                <a:lnTo>
                  <a:pt x="2716862" y="4155407"/>
                </a:lnTo>
                <a:cubicBezTo>
                  <a:pt x="2707751" y="4155407"/>
                  <a:pt x="2709573" y="4151762"/>
                  <a:pt x="2709573" y="4162695"/>
                </a:cubicBezTo>
                <a:cubicBezTo>
                  <a:pt x="2709573" y="4190028"/>
                  <a:pt x="2707751" y="4164517"/>
                  <a:pt x="2716862" y="4184561"/>
                </a:cubicBezTo>
                <a:lnTo>
                  <a:pt x="2694996" y="4184561"/>
                </a:lnTo>
                <a:cubicBezTo>
                  <a:pt x="2707751" y="4153584"/>
                  <a:pt x="2689529" y="4186384"/>
                  <a:pt x="2702284" y="4153584"/>
                </a:cubicBezTo>
                <a:lnTo>
                  <a:pt x="2673130" y="4162695"/>
                </a:lnTo>
                <a:lnTo>
                  <a:pt x="2673130" y="4148118"/>
                </a:lnTo>
                <a:lnTo>
                  <a:pt x="2689529" y="4146296"/>
                </a:lnTo>
                <a:lnTo>
                  <a:pt x="2664019" y="4124430"/>
                </a:lnTo>
                <a:lnTo>
                  <a:pt x="2680418" y="4100741"/>
                </a:lnTo>
                <a:lnTo>
                  <a:pt x="2649441" y="4093452"/>
                </a:lnTo>
                <a:lnTo>
                  <a:pt x="2656730" y="4080697"/>
                </a:lnTo>
                <a:lnTo>
                  <a:pt x="2634864" y="4055187"/>
                </a:lnTo>
                <a:lnTo>
                  <a:pt x="2620287" y="4062476"/>
                </a:lnTo>
                <a:lnTo>
                  <a:pt x="2620287" y="4040610"/>
                </a:lnTo>
                <a:lnTo>
                  <a:pt x="2643975" y="4040610"/>
                </a:lnTo>
                <a:lnTo>
                  <a:pt x="2636686" y="4026032"/>
                </a:lnTo>
                <a:lnTo>
                  <a:pt x="2658552" y="4024210"/>
                </a:lnTo>
                <a:lnTo>
                  <a:pt x="2674952" y="4009633"/>
                </a:lnTo>
                <a:lnTo>
                  <a:pt x="2671307" y="3995055"/>
                </a:lnTo>
                <a:lnTo>
                  <a:pt x="2676774" y="3969545"/>
                </a:lnTo>
                <a:lnTo>
                  <a:pt x="2705929" y="3993233"/>
                </a:lnTo>
                <a:lnTo>
                  <a:pt x="2698640" y="4007810"/>
                </a:lnTo>
                <a:lnTo>
                  <a:pt x="2722328" y="4007810"/>
                </a:lnTo>
                <a:lnTo>
                  <a:pt x="2715040" y="3993233"/>
                </a:lnTo>
                <a:lnTo>
                  <a:pt x="2740550" y="3993233"/>
                </a:lnTo>
                <a:cubicBezTo>
                  <a:pt x="2742372" y="3956789"/>
                  <a:pt x="2731439" y="3978656"/>
                  <a:pt x="2755127" y="3962256"/>
                </a:cubicBezTo>
                <a:cubicBezTo>
                  <a:pt x="2742372" y="3942212"/>
                  <a:pt x="2751483" y="3954967"/>
                  <a:pt x="2755127" y="3947679"/>
                </a:cubicBezTo>
                <a:cubicBezTo>
                  <a:pt x="2758772" y="3945857"/>
                  <a:pt x="2760594" y="3944034"/>
                  <a:pt x="2760594" y="3942212"/>
                </a:cubicBezTo>
                <a:cubicBezTo>
                  <a:pt x="2762416" y="3944034"/>
                  <a:pt x="2764238" y="3945857"/>
                  <a:pt x="2769705" y="3947679"/>
                </a:cubicBezTo>
                <a:cubicBezTo>
                  <a:pt x="2786104" y="3925813"/>
                  <a:pt x="2764238" y="3936746"/>
                  <a:pt x="2800682" y="3933101"/>
                </a:cubicBezTo>
                <a:lnTo>
                  <a:pt x="2793393" y="3918524"/>
                </a:lnTo>
                <a:lnTo>
                  <a:pt x="2824370" y="3887547"/>
                </a:lnTo>
                <a:lnTo>
                  <a:pt x="2838947" y="3887547"/>
                </a:lnTo>
                <a:lnTo>
                  <a:pt x="2860813" y="3896658"/>
                </a:lnTo>
                <a:cubicBezTo>
                  <a:pt x="2855347" y="3871147"/>
                  <a:pt x="2853525" y="3883903"/>
                  <a:pt x="2860813" y="3865681"/>
                </a:cubicBezTo>
                <a:cubicBezTo>
                  <a:pt x="2829837" y="3867503"/>
                  <a:pt x="2835303" y="3867503"/>
                  <a:pt x="2822548" y="3887547"/>
                </a:cubicBezTo>
                <a:lnTo>
                  <a:pt x="2807971" y="3880258"/>
                </a:lnTo>
                <a:lnTo>
                  <a:pt x="2786104" y="3905769"/>
                </a:lnTo>
                <a:lnTo>
                  <a:pt x="2791571" y="3918524"/>
                </a:lnTo>
                <a:lnTo>
                  <a:pt x="2769705" y="3925813"/>
                </a:lnTo>
                <a:cubicBezTo>
                  <a:pt x="2744194" y="3909413"/>
                  <a:pt x="2764238" y="3913057"/>
                  <a:pt x="2731439" y="3911235"/>
                </a:cubicBezTo>
                <a:cubicBezTo>
                  <a:pt x="2740550" y="3891191"/>
                  <a:pt x="2740550" y="3907591"/>
                  <a:pt x="2733261" y="3889369"/>
                </a:cubicBezTo>
                <a:lnTo>
                  <a:pt x="2738728" y="3880258"/>
                </a:lnTo>
                <a:lnTo>
                  <a:pt x="2751483" y="3874792"/>
                </a:lnTo>
                <a:lnTo>
                  <a:pt x="2767882" y="3887547"/>
                </a:lnTo>
                <a:cubicBezTo>
                  <a:pt x="2758772" y="3907591"/>
                  <a:pt x="2755127" y="3894836"/>
                  <a:pt x="2775171" y="3902124"/>
                </a:cubicBezTo>
                <a:cubicBezTo>
                  <a:pt x="2780638" y="3878436"/>
                  <a:pt x="2776993" y="3889369"/>
                  <a:pt x="2789749" y="3871147"/>
                </a:cubicBezTo>
                <a:lnTo>
                  <a:pt x="2767882" y="3871147"/>
                </a:lnTo>
                <a:lnTo>
                  <a:pt x="2751483" y="3849281"/>
                </a:lnTo>
                <a:lnTo>
                  <a:pt x="2776993" y="3840170"/>
                </a:lnTo>
                <a:lnTo>
                  <a:pt x="2776993" y="3854748"/>
                </a:lnTo>
                <a:cubicBezTo>
                  <a:pt x="2797037" y="3845637"/>
                  <a:pt x="2780638" y="3845637"/>
                  <a:pt x="2798860" y="3852926"/>
                </a:cubicBezTo>
                <a:lnTo>
                  <a:pt x="2807971" y="3847459"/>
                </a:lnTo>
                <a:lnTo>
                  <a:pt x="2807971" y="3869325"/>
                </a:lnTo>
                <a:lnTo>
                  <a:pt x="2822548" y="3854748"/>
                </a:lnTo>
                <a:lnTo>
                  <a:pt x="2837125" y="3854748"/>
                </a:lnTo>
                <a:cubicBezTo>
                  <a:pt x="2842592" y="3827415"/>
                  <a:pt x="2838947" y="3836526"/>
                  <a:pt x="2858991" y="3823771"/>
                </a:cubicBezTo>
                <a:lnTo>
                  <a:pt x="2853525" y="3854748"/>
                </a:lnTo>
                <a:lnTo>
                  <a:pt x="2882680" y="3847459"/>
                </a:lnTo>
                <a:lnTo>
                  <a:pt x="2858991" y="3823771"/>
                </a:lnTo>
                <a:lnTo>
                  <a:pt x="2875391" y="3801905"/>
                </a:lnTo>
                <a:lnTo>
                  <a:pt x="2844414" y="3794616"/>
                </a:lnTo>
                <a:cubicBezTo>
                  <a:pt x="2837125" y="3812838"/>
                  <a:pt x="2835303" y="3796438"/>
                  <a:pt x="2844414" y="3816482"/>
                </a:cubicBezTo>
                <a:lnTo>
                  <a:pt x="2822548" y="3832882"/>
                </a:lnTo>
                <a:lnTo>
                  <a:pt x="2829837" y="3845637"/>
                </a:lnTo>
                <a:lnTo>
                  <a:pt x="2822548" y="3852926"/>
                </a:lnTo>
                <a:lnTo>
                  <a:pt x="2807971" y="3845637"/>
                </a:lnTo>
                <a:lnTo>
                  <a:pt x="2815259" y="3831060"/>
                </a:lnTo>
                <a:lnTo>
                  <a:pt x="2793393" y="3831060"/>
                </a:lnTo>
                <a:cubicBezTo>
                  <a:pt x="2815259" y="3800083"/>
                  <a:pt x="2791571" y="3829237"/>
                  <a:pt x="2824370" y="3814660"/>
                </a:cubicBezTo>
                <a:lnTo>
                  <a:pt x="2807971" y="3792794"/>
                </a:lnTo>
                <a:cubicBezTo>
                  <a:pt x="2787927" y="3801905"/>
                  <a:pt x="2804326" y="3800083"/>
                  <a:pt x="2786104" y="3794616"/>
                </a:cubicBezTo>
                <a:lnTo>
                  <a:pt x="2760594" y="3816482"/>
                </a:lnTo>
                <a:lnTo>
                  <a:pt x="2767882" y="3832882"/>
                </a:lnTo>
                <a:lnTo>
                  <a:pt x="2738728" y="3823771"/>
                </a:lnTo>
                <a:lnTo>
                  <a:pt x="2746016" y="3809194"/>
                </a:lnTo>
                <a:cubicBezTo>
                  <a:pt x="2715040" y="3796438"/>
                  <a:pt x="2736906" y="3825593"/>
                  <a:pt x="2715040" y="3794616"/>
                </a:cubicBezTo>
                <a:lnTo>
                  <a:pt x="2736906" y="3794616"/>
                </a:lnTo>
                <a:cubicBezTo>
                  <a:pt x="2718684" y="3770928"/>
                  <a:pt x="2740550" y="3783683"/>
                  <a:pt x="2700462" y="3789150"/>
                </a:cubicBezTo>
                <a:lnTo>
                  <a:pt x="2684063" y="3803727"/>
                </a:lnTo>
                <a:lnTo>
                  <a:pt x="2691351" y="3818304"/>
                </a:lnTo>
                <a:lnTo>
                  <a:pt x="2684063" y="3840170"/>
                </a:lnTo>
                <a:lnTo>
                  <a:pt x="2705929" y="3840170"/>
                </a:lnTo>
                <a:cubicBezTo>
                  <a:pt x="2700462" y="3856570"/>
                  <a:pt x="2700462" y="3863859"/>
                  <a:pt x="2705929" y="3880258"/>
                </a:cubicBezTo>
                <a:lnTo>
                  <a:pt x="2678596" y="3872970"/>
                </a:lnTo>
                <a:lnTo>
                  <a:pt x="2658552" y="3885725"/>
                </a:lnTo>
                <a:lnTo>
                  <a:pt x="2662197" y="3847459"/>
                </a:lnTo>
                <a:cubicBezTo>
                  <a:pt x="2643975" y="3838348"/>
                  <a:pt x="2660374" y="3840170"/>
                  <a:pt x="2640330" y="3847459"/>
                </a:cubicBezTo>
                <a:cubicBezTo>
                  <a:pt x="2643975" y="3818304"/>
                  <a:pt x="2643975" y="3816482"/>
                  <a:pt x="2662197" y="3823771"/>
                </a:cubicBezTo>
                <a:lnTo>
                  <a:pt x="2678596" y="3811016"/>
                </a:lnTo>
                <a:cubicBezTo>
                  <a:pt x="2671307" y="3790972"/>
                  <a:pt x="2671307" y="3807371"/>
                  <a:pt x="2678596" y="3787328"/>
                </a:cubicBezTo>
                <a:lnTo>
                  <a:pt x="2656730" y="3792794"/>
                </a:lnTo>
                <a:lnTo>
                  <a:pt x="2640330" y="3789150"/>
                </a:lnTo>
                <a:cubicBezTo>
                  <a:pt x="2651263" y="3763639"/>
                  <a:pt x="2636686" y="3769106"/>
                  <a:pt x="2647619" y="3743595"/>
                </a:cubicBezTo>
                <a:lnTo>
                  <a:pt x="2684063" y="3758173"/>
                </a:lnTo>
                <a:lnTo>
                  <a:pt x="2691351" y="3743595"/>
                </a:lnTo>
                <a:lnTo>
                  <a:pt x="2713217" y="3734484"/>
                </a:lnTo>
                <a:lnTo>
                  <a:pt x="2707751" y="3767284"/>
                </a:lnTo>
                <a:lnTo>
                  <a:pt x="2744194" y="3772750"/>
                </a:lnTo>
                <a:lnTo>
                  <a:pt x="2744194" y="3759995"/>
                </a:lnTo>
                <a:lnTo>
                  <a:pt x="2729617" y="3759995"/>
                </a:lnTo>
                <a:cubicBezTo>
                  <a:pt x="2727795" y="3727196"/>
                  <a:pt x="2731439" y="3745417"/>
                  <a:pt x="2715040" y="3721729"/>
                </a:cubicBezTo>
                <a:lnTo>
                  <a:pt x="2731439" y="3696219"/>
                </a:lnTo>
                <a:cubicBezTo>
                  <a:pt x="2709573" y="3687108"/>
                  <a:pt x="2694996" y="3665242"/>
                  <a:pt x="2684063" y="3648842"/>
                </a:cubicBezTo>
                <a:lnTo>
                  <a:pt x="2705929" y="3639731"/>
                </a:lnTo>
                <a:cubicBezTo>
                  <a:pt x="2698640" y="3621510"/>
                  <a:pt x="2713217" y="3625154"/>
                  <a:pt x="2691351" y="3634265"/>
                </a:cubicBezTo>
                <a:lnTo>
                  <a:pt x="2674952" y="3612399"/>
                </a:lnTo>
                <a:lnTo>
                  <a:pt x="2698640" y="3595999"/>
                </a:lnTo>
                <a:lnTo>
                  <a:pt x="2674952" y="3568667"/>
                </a:lnTo>
                <a:lnTo>
                  <a:pt x="2662197" y="3575955"/>
                </a:lnTo>
                <a:lnTo>
                  <a:pt x="2638508" y="3546800"/>
                </a:lnTo>
                <a:cubicBezTo>
                  <a:pt x="2664019" y="3537690"/>
                  <a:pt x="2645797" y="3555911"/>
                  <a:pt x="2662197" y="3523112"/>
                </a:cubicBezTo>
                <a:lnTo>
                  <a:pt x="2640330" y="3523112"/>
                </a:lnTo>
                <a:lnTo>
                  <a:pt x="2647619" y="3537690"/>
                </a:lnTo>
                <a:lnTo>
                  <a:pt x="2623931" y="3537690"/>
                </a:lnTo>
                <a:lnTo>
                  <a:pt x="2631219" y="3523112"/>
                </a:lnTo>
                <a:lnTo>
                  <a:pt x="2614820" y="3515824"/>
                </a:lnTo>
                <a:lnTo>
                  <a:pt x="2623931" y="3537690"/>
                </a:lnTo>
                <a:lnTo>
                  <a:pt x="2631219" y="3552267"/>
                </a:lnTo>
                <a:cubicBezTo>
                  <a:pt x="2600243" y="3555911"/>
                  <a:pt x="2607531" y="3548623"/>
                  <a:pt x="2600243" y="3575955"/>
                </a:cubicBezTo>
                <a:cubicBezTo>
                  <a:pt x="2629397" y="3568667"/>
                  <a:pt x="2611176" y="3568667"/>
                  <a:pt x="2638508" y="3561378"/>
                </a:cubicBezTo>
                <a:lnTo>
                  <a:pt x="2642153" y="3577778"/>
                </a:lnTo>
                <a:cubicBezTo>
                  <a:pt x="2638508" y="3595999"/>
                  <a:pt x="2636686" y="3579600"/>
                  <a:pt x="2645797" y="3599644"/>
                </a:cubicBezTo>
                <a:lnTo>
                  <a:pt x="2631219" y="3606932"/>
                </a:lnTo>
                <a:lnTo>
                  <a:pt x="2622109" y="3590533"/>
                </a:lnTo>
                <a:lnTo>
                  <a:pt x="2592954" y="3614221"/>
                </a:lnTo>
                <a:lnTo>
                  <a:pt x="2578377" y="3614221"/>
                </a:lnTo>
                <a:lnTo>
                  <a:pt x="2592954" y="3599644"/>
                </a:lnTo>
                <a:cubicBezTo>
                  <a:pt x="2567443" y="3594177"/>
                  <a:pt x="2561977" y="3579600"/>
                  <a:pt x="2549222" y="3563200"/>
                </a:cubicBezTo>
                <a:lnTo>
                  <a:pt x="2540111" y="3585066"/>
                </a:lnTo>
                <a:lnTo>
                  <a:pt x="2563799" y="3594177"/>
                </a:lnTo>
                <a:lnTo>
                  <a:pt x="2547400" y="3605110"/>
                </a:lnTo>
                <a:lnTo>
                  <a:pt x="2576554" y="3614221"/>
                </a:lnTo>
                <a:lnTo>
                  <a:pt x="2583843" y="3628798"/>
                </a:lnTo>
                <a:lnTo>
                  <a:pt x="2614820" y="3623332"/>
                </a:lnTo>
                <a:lnTo>
                  <a:pt x="2614820" y="3608754"/>
                </a:lnTo>
                <a:lnTo>
                  <a:pt x="2629397" y="3608754"/>
                </a:lnTo>
                <a:lnTo>
                  <a:pt x="2622109" y="3623332"/>
                </a:lnTo>
                <a:cubicBezTo>
                  <a:pt x="2642153" y="3637909"/>
                  <a:pt x="2645797" y="3634265"/>
                  <a:pt x="2653086" y="3654309"/>
                </a:cubicBezTo>
                <a:cubicBezTo>
                  <a:pt x="2671307" y="3647020"/>
                  <a:pt x="2654908" y="3645198"/>
                  <a:pt x="2674952" y="3654309"/>
                </a:cubicBezTo>
                <a:lnTo>
                  <a:pt x="2645797" y="3685286"/>
                </a:lnTo>
                <a:lnTo>
                  <a:pt x="2653086" y="3698041"/>
                </a:lnTo>
                <a:lnTo>
                  <a:pt x="2653086" y="3714441"/>
                </a:lnTo>
                <a:lnTo>
                  <a:pt x="2631219" y="3729018"/>
                </a:lnTo>
                <a:lnTo>
                  <a:pt x="2623931" y="3714441"/>
                </a:lnTo>
                <a:lnTo>
                  <a:pt x="2614820" y="3714441"/>
                </a:lnTo>
                <a:cubicBezTo>
                  <a:pt x="2607531" y="3692574"/>
                  <a:pt x="2611176" y="3701685"/>
                  <a:pt x="2600243" y="3685286"/>
                </a:cubicBezTo>
                <a:lnTo>
                  <a:pt x="2622109" y="3668886"/>
                </a:lnTo>
                <a:cubicBezTo>
                  <a:pt x="2612998" y="3650665"/>
                  <a:pt x="2614820" y="3667064"/>
                  <a:pt x="2622109" y="3647020"/>
                </a:cubicBezTo>
                <a:lnTo>
                  <a:pt x="2569266" y="3647020"/>
                </a:lnTo>
                <a:lnTo>
                  <a:pt x="2569266" y="3654309"/>
                </a:lnTo>
                <a:lnTo>
                  <a:pt x="2592954" y="3654309"/>
                </a:lnTo>
                <a:lnTo>
                  <a:pt x="2576554" y="3677997"/>
                </a:lnTo>
                <a:lnTo>
                  <a:pt x="2554688" y="3661597"/>
                </a:lnTo>
                <a:lnTo>
                  <a:pt x="2561977" y="3647020"/>
                </a:lnTo>
                <a:cubicBezTo>
                  <a:pt x="2525534" y="3648842"/>
                  <a:pt x="2547400" y="3637909"/>
                  <a:pt x="2531000" y="3661597"/>
                </a:cubicBezTo>
                <a:lnTo>
                  <a:pt x="2516423" y="3654309"/>
                </a:lnTo>
                <a:cubicBezTo>
                  <a:pt x="2523711" y="3637909"/>
                  <a:pt x="2525534" y="3630620"/>
                  <a:pt x="2509134" y="3617865"/>
                </a:cubicBezTo>
                <a:lnTo>
                  <a:pt x="2500023" y="3632443"/>
                </a:lnTo>
                <a:lnTo>
                  <a:pt x="2509134" y="3648842"/>
                </a:lnTo>
                <a:lnTo>
                  <a:pt x="2500023" y="3654309"/>
                </a:lnTo>
                <a:lnTo>
                  <a:pt x="2485446" y="3632443"/>
                </a:lnTo>
                <a:lnTo>
                  <a:pt x="2447180" y="3647020"/>
                </a:lnTo>
                <a:lnTo>
                  <a:pt x="2447180" y="3632443"/>
                </a:lnTo>
                <a:lnTo>
                  <a:pt x="2441713" y="3632443"/>
                </a:lnTo>
                <a:lnTo>
                  <a:pt x="2432603" y="3632443"/>
                </a:lnTo>
                <a:lnTo>
                  <a:pt x="2435990" y="3626006"/>
                </a:lnTo>
                <a:lnTo>
                  <a:pt x="2428823" y="3617942"/>
                </a:lnTo>
                <a:lnTo>
                  <a:pt x="2412559" y="3626976"/>
                </a:lnTo>
                <a:lnTo>
                  <a:pt x="2452647" y="3670709"/>
                </a:lnTo>
                <a:lnTo>
                  <a:pt x="2443536" y="3692575"/>
                </a:lnTo>
                <a:lnTo>
                  <a:pt x="2465402" y="3692575"/>
                </a:lnTo>
                <a:cubicBezTo>
                  <a:pt x="2458113" y="3698042"/>
                  <a:pt x="2454469" y="3699864"/>
                  <a:pt x="2452647" y="3701686"/>
                </a:cubicBezTo>
                <a:cubicBezTo>
                  <a:pt x="2452647" y="3703509"/>
                  <a:pt x="2452647" y="3708975"/>
                  <a:pt x="2449003" y="3716264"/>
                </a:cubicBezTo>
                <a:lnTo>
                  <a:pt x="2427137" y="3699864"/>
                </a:lnTo>
                <a:cubicBezTo>
                  <a:pt x="2416204" y="3716264"/>
                  <a:pt x="2427137" y="3708975"/>
                  <a:pt x="2405271" y="3714442"/>
                </a:cubicBezTo>
                <a:lnTo>
                  <a:pt x="2405271" y="3699864"/>
                </a:lnTo>
                <a:cubicBezTo>
                  <a:pt x="2385227" y="3708975"/>
                  <a:pt x="2401626" y="3708975"/>
                  <a:pt x="2383405" y="3701686"/>
                </a:cubicBezTo>
                <a:lnTo>
                  <a:pt x="2367005" y="3714442"/>
                </a:lnTo>
                <a:lnTo>
                  <a:pt x="2367005" y="3745419"/>
                </a:lnTo>
                <a:lnTo>
                  <a:pt x="2350605" y="3745419"/>
                </a:lnTo>
                <a:lnTo>
                  <a:pt x="2357894" y="3758174"/>
                </a:lnTo>
                <a:lnTo>
                  <a:pt x="2328739" y="3765462"/>
                </a:lnTo>
                <a:lnTo>
                  <a:pt x="2297761" y="3729019"/>
                </a:lnTo>
                <a:lnTo>
                  <a:pt x="2275895" y="3729019"/>
                </a:lnTo>
                <a:cubicBezTo>
                  <a:pt x="2294117" y="3705331"/>
                  <a:pt x="2274073" y="3714442"/>
                  <a:pt x="2306872" y="3721730"/>
                </a:cubicBezTo>
                <a:cubicBezTo>
                  <a:pt x="2312340" y="3703509"/>
                  <a:pt x="2314162" y="3690753"/>
                  <a:pt x="2337850" y="3690753"/>
                </a:cubicBezTo>
                <a:lnTo>
                  <a:pt x="2345139" y="3690753"/>
                </a:lnTo>
                <a:cubicBezTo>
                  <a:pt x="2372471" y="3690753"/>
                  <a:pt x="2346961" y="3688931"/>
                  <a:pt x="2367005" y="3698042"/>
                </a:cubicBezTo>
                <a:cubicBezTo>
                  <a:pt x="2368827" y="3663421"/>
                  <a:pt x="2357894" y="3685287"/>
                  <a:pt x="2381582" y="3668887"/>
                </a:cubicBezTo>
                <a:lnTo>
                  <a:pt x="2367005" y="3630621"/>
                </a:lnTo>
                <a:lnTo>
                  <a:pt x="2388871" y="3628798"/>
                </a:lnTo>
                <a:lnTo>
                  <a:pt x="2405271" y="3616043"/>
                </a:lnTo>
                <a:lnTo>
                  <a:pt x="2407093" y="3594177"/>
                </a:lnTo>
                <a:lnTo>
                  <a:pt x="2427236" y="3615999"/>
                </a:lnTo>
                <a:lnTo>
                  <a:pt x="2443535" y="3608754"/>
                </a:lnTo>
                <a:lnTo>
                  <a:pt x="2442733" y="3619183"/>
                </a:lnTo>
                <a:lnTo>
                  <a:pt x="2443622" y="3619631"/>
                </a:lnTo>
                <a:cubicBezTo>
                  <a:pt x="2445700" y="3620940"/>
                  <a:pt x="2449003" y="3622876"/>
                  <a:pt x="2454469" y="3625154"/>
                </a:cubicBezTo>
                <a:lnTo>
                  <a:pt x="2454469" y="3601466"/>
                </a:lnTo>
                <a:lnTo>
                  <a:pt x="2425314" y="3608754"/>
                </a:lnTo>
                <a:lnTo>
                  <a:pt x="2416203" y="3603288"/>
                </a:lnTo>
                <a:lnTo>
                  <a:pt x="2423492" y="3588710"/>
                </a:lnTo>
                <a:cubicBezTo>
                  <a:pt x="2441713" y="3595999"/>
                  <a:pt x="2427136" y="3595999"/>
                  <a:pt x="2447180" y="3586888"/>
                </a:cubicBezTo>
                <a:lnTo>
                  <a:pt x="2423492" y="3565022"/>
                </a:lnTo>
                <a:cubicBezTo>
                  <a:pt x="2432603" y="3546800"/>
                  <a:pt x="2430780" y="3561378"/>
                  <a:pt x="2421669" y="3541334"/>
                </a:cubicBezTo>
                <a:lnTo>
                  <a:pt x="2399803" y="3566844"/>
                </a:lnTo>
                <a:lnTo>
                  <a:pt x="2385226" y="3550445"/>
                </a:lnTo>
                <a:lnTo>
                  <a:pt x="2372471" y="3557734"/>
                </a:lnTo>
                <a:lnTo>
                  <a:pt x="2357005" y="3537113"/>
                </a:lnTo>
                <a:lnTo>
                  <a:pt x="2356413" y="3539770"/>
                </a:lnTo>
                <a:cubicBezTo>
                  <a:pt x="2357780" y="3547713"/>
                  <a:pt x="2368372" y="3539513"/>
                  <a:pt x="2345139" y="3555913"/>
                </a:cubicBezTo>
                <a:cubicBezTo>
                  <a:pt x="2338761" y="3540424"/>
                  <a:pt x="2340128" y="3540880"/>
                  <a:pt x="2341494" y="3541108"/>
                </a:cubicBezTo>
                <a:lnTo>
                  <a:pt x="2341494" y="3535979"/>
                </a:lnTo>
                <a:lnTo>
                  <a:pt x="2337850" y="3524936"/>
                </a:lnTo>
                <a:lnTo>
                  <a:pt x="2341494" y="3523113"/>
                </a:lnTo>
                <a:lnTo>
                  <a:pt x="2341494" y="3514001"/>
                </a:lnTo>
                <a:lnTo>
                  <a:pt x="2326916" y="3514001"/>
                </a:lnTo>
                <a:lnTo>
                  <a:pt x="2334205" y="3499424"/>
                </a:lnTo>
                <a:lnTo>
                  <a:pt x="2312339" y="3499424"/>
                </a:lnTo>
                <a:lnTo>
                  <a:pt x="2312339" y="3514001"/>
                </a:lnTo>
                <a:lnTo>
                  <a:pt x="2274074" y="3506713"/>
                </a:lnTo>
                <a:cubicBezTo>
                  <a:pt x="2276352" y="3511724"/>
                  <a:pt x="2277946" y="3514457"/>
                  <a:pt x="2278971" y="3516023"/>
                </a:cubicBezTo>
                <a:lnTo>
                  <a:pt x="2280013" y="3517646"/>
                </a:lnTo>
                <a:lnTo>
                  <a:pt x="2263140" y="3517646"/>
                </a:lnTo>
                <a:lnTo>
                  <a:pt x="2285007" y="3488491"/>
                </a:lnTo>
                <a:lnTo>
                  <a:pt x="2270429" y="3479380"/>
                </a:lnTo>
                <a:lnTo>
                  <a:pt x="2263140" y="3503068"/>
                </a:lnTo>
                <a:lnTo>
                  <a:pt x="2232163" y="3503068"/>
                </a:lnTo>
                <a:cubicBezTo>
                  <a:pt x="2237630" y="3508535"/>
                  <a:pt x="2241274" y="3510357"/>
                  <a:pt x="2243096" y="3512179"/>
                </a:cubicBezTo>
                <a:cubicBezTo>
                  <a:pt x="2243096" y="3515824"/>
                  <a:pt x="2243096" y="3519468"/>
                  <a:pt x="2246741" y="3526757"/>
                </a:cubicBezTo>
                <a:lnTo>
                  <a:pt x="2261318" y="3519468"/>
                </a:lnTo>
                <a:lnTo>
                  <a:pt x="2263140" y="3543156"/>
                </a:lnTo>
                <a:lnTo>
                  <a:pt x="2276123" y="3528011"/>
                </a:lnTo>
                <a:lnTo>
                  <a:pt x="2275896" y="3528579"/>
                </a:lnTo>
                <a:lnTo>
                  <a:pt x="2305050" y="3559556"/>
                </a:lnTo>
                <a:lnTo>
                  <a:pt x="2283184" y="3559556"/>
                </a:lnTo>
                <a:cubicBezTo>
                  <a:pt x="2272251" y="3590533"/>
                  <a:pt x="2281362" y="3561378"/>
                  <a:pt x="2259496" y="3588710"/>
                </a:cubicBezTo>
                <a:lnTo>
                  <a:pt x="2230341" y="3597821"/>
                </a:lnTo>
                <a:lnTo>
                  <a:pt x="2223053" y="3583244"/>
                </a:lnTo>
                <a:cubicBezTo>
                  <a:pt x="2248563" y="3566844"/>
                  <a:pt x="2228519" y="3570489"/>
                  <a:pt x="2261318" y="3568667"/>
                </a:cubicBezTo>
                <a:cubicBezTo>
                  <a:pt x="2243096" y="3544978"/>
                  <a:pt x="2264963" y="3557734"/>
                  <a:pt x="2223053" y="3561378"/>
                </a:cubicBezTo>
                <a:lnTo>
                  <a:pt x="2223053" y="3583244"/>
                </a:lnTo>
                <a:lnTo>
                  <a:pt x="2208475" y="3575955"/>
                </a:lnTo>
                <a:cubicBezTo>
                  <a:pt x="2204831" y="3581422"/>
                  <a:pt x="2204831" y="3590533"/>
                  <a:pt x="2193898" y="3590533"/>
                </a:cubicBezTo>
                <a:cubicBezTo>
                  <a:pt x="2177498" y="3590533"/>
                  <a:pt x="2177498" y="3585066"/>
                  <a:pt x="2162921" y="3574133"/>
                </a:cubicBezTo>
                <a:lnTo>
                  <a:pt x="2175393" y="3563443"/>
                </a:lnTo>
                <a:lnTo>
                  <a:pt x="2155633" y="3548623"/>
                </a:lnTo>
                <a:lnTo>
                  <a:pt x="2155633" y="3526756"/>
                </a:lnTo>
                <a:lnTo>
                  <a:pt x="2165421" y="3532658"/>
                </a:lnTo>
                <a:lnTo>
                  <a:pt x="2163775" y="3525419"/>
                </a:lnTo>
                <a:cubicBezTo>
                  <a:pt x="2162523" y="3520237"/>
                  <a:pt x="2161953" y="3519724"/>
                  <a:pt x="2158878" y="3515909"/>
                </a:cubicBezTo>
                <a:lnTo>
                  <a:pt x="2154719" y="3510357"/>
                </a:lnTo>
                <a:lnTo>
                  <a:pt x="2155632" y="3510357"/>
                </a:lnTo>
                <a:lnTo>
                  <a:pt x="2155632" y="3506433"/>
                </a:lnTo>
                <a:lnTo>
                  <a:pt x="2175676" y="3504891"/>
                </a:lnTo>
                <a:lnTo>
                  <a:pt x="2159277" y="3492135"/>
                </a:lnTo>
                <a:lnTo>
                  <a:pt x="2155632" y="3499425"/>
                </a:lnTo>
                <a:lnTo>
                  <a:pt x="2155632" y="3495780"/>
                </a:lnTo>
                <a:lnTo>
                  <a:pt x="2199364" y="3448403"/>
                </a:lnTo>
                <a:lnTo>
                  <a:pt x="2170210" y="3457514"/>
                </a:lnTo>
                <a:lnTo>
                  <a:pt x="2139233" y="3459336"/>
                </a:lnTo>
                <a:lnTo>
                  <a:pt x="2155632" y="3481202"/>
                </a:lnTo>
                <a:lnTo>
                  <a:pt x="2155632" y="3495780"/>
                </a:lnTo>
                <a:cubicBezTo>
                  <a:pt x="2144699" y="3483024"/>
                  <a:pt x="2142877" y="3481202"/>
                  <a:pt x="2128300" y="3472091"/>
                </a:cubicBezTo>
                <a:lnTo>
                  <a:pt x="2135588" y="3457514"/>
                </a:lnTo>
                <a:lnTo>
                  <a:pt x="2113722" y="3457514"/>
                </a:lnTo>
                <a:lnTo>
                  <a:pt x="2119189" y="3488491"/>
                </a:lnTo>
                <a:cubicBezTo>
                  <a:pt x="2150166" y="3504891"/>
                  <a:pt x="2131944" y="3484847"/>
                  <a:pt x="2141055" y="3510357"/>
                </a:cubicBezTo>
                <a:lnTo>
                  <a:pt x="2145914" y="3510357"/>
                </a:lnTo>
                <a:lnTo>
                  <a:pt x="2142877" y="3512179"/>
                </a:lnTo>
                <a:lnTo>
                  <a:pt x="2137410" y="3521290"/>
                </a:lnTo>
                <a:lnTo>
                  <a:pt x="2122273" y="3514562"/>
                </a:lnTo>
                <a:lnTo>
                  <a:pt x="2133766" y="3503068"/>
                </a:lnTo>
                <a:lnTo>
                  <a:pt x="2119189" y="3503068"/>
                </a:lnTo>
                <a:lnTo>
                  <a:pt x="2119189" y="3517646"/>
                </a:lnTo>
                <a:lnTo>
                  <a:pt x="2121315" y="3515520"/>
                </a:lnTo>
                <a:lnTo>
                  <a:pt x="2130122" y="3559556"/>
                </a:lnTo>
                <a:cubicBezTo>
                  <a:pt x="2111900" y="3548623"/>
                  <a:pt x="2121011" y="3550445"/>
                  <a:pt x="2099145" y="3544978"/>
                </a:cubicBezTo>
                <a:lnTo>
                  <a:pt x="2097323" y="3561378"/>
                </a:lnTo>
                <a:lnTo>
                  <a:pt x="2060879" y="3530401"/>
                </a:lnTo>
                <a:lnTo>
                  <a:pt x="2060879" y="3506713"/>
                </a:lnTo>
                <a:lnTo>
                  <a:pt x="2031724" y="3515824"/>
                </a:lnTo>
                <a:cubicBezTo>
                  <a:pt x="2040835" y="3495780"/>
                  <a:pt x="2039013" y="3512179"/>
                  <a:pt x="2031724" y="3493957"/>
                </a:cubicBezTo>
                <a:lnTo>
                  <a:pt x="1993459" y="3508535"/>
                </a:lnTo>
                <a:lnTo>
                  <a:pt x="1977059" y="3499424"/>
                </a:lnTo>
                <a:lnTo>
                  <a:pt x="1957015" y="3514001"/>
                </a:lnTo>
                <a:lnTo>
                  <a:pt x="1947904" y="3508535"/>
                </a:lnTo>
                <a:lnTo>
                  <a:pt x="1955194" y="3484847"/>
                </a:lnTo>
                <a:cubicBezTo>
                  <a:pt x="1977059" y="3479380"/>
                  <a:pt x="1966126" y="3486669"/>
                  <a:pt x="1977059" y="3470269"/>
                </a:cubicBezTo>
                <a:lnTo>
                  <a:pt x="1953371" y="3470269"/>
                </a:lnTo>
                <a:lnTo>
                  <a:pt x="1960659" y="3453870"/>
                </a:lnTo>
                <a:lnTo>
                  <a:pt x="1933327" y="3461158"/>
                </a:lnTo>
                <a:lnTo>
                  <a:pt x="1918750" y="3448403"/>
                </a:lnTo>
                <a:lnTo>
                  <a:pt x="1907816" y="3455692"/>
                </a:lnTo>
                <a:lnTo>
                  <a:pt x="1931505" y="3483024"/>
                </a:lnTo>
                <a:lnTo>
                  <a:pt x="1902350" y="3492135"/>
                </a:lnTo>
                <a:cubicBezTo>
                  <a:pt x="1900528" y="3461158"/>
                  <a:pt x="1895061" y="3466625"/>
                  <a:pt x="1887773" y="3439292"/>
                </a:cubicBezTo>
                <a:lnTo>
                  <a:pt x="1847685" y="3441115"/>
                </a:lnTo>
                <a:lnTo>
                  <a:pt x="1887773" y="3477558"/>
                </a:lnTo>
                <a:cubicBezTo>
                  <a:pt x="1878662" y="3495780"/>
                  <a:pt x="1880484" y="3479380"/>
                  <a:pt x="1887773" y="3499424"/>
                </a:cubicBezTo>
                <a:lnTo>
                  <a:pt x="1865906" y="3499424"/>
                </a:lnTo>
                <a:cubicBezTo>
                  <a:pt x="1836753" y="3499424"/>
                  <a:pt x="1864084" y="3497602"/>
                  <a:pt x="1844040" y="3506713"/>
                </a:cubicBezTo>
                <a:lnTo>
                  <a:pt x="1836753" y="3492135"/>
                </a:lnTo>
                <a:lnTo>
                  <a:pt x="1814886" y="3499424"/>
                </a:lnTo>
                <a:cubicBezTo>
                  <a:pt x="1822174" y="3472091"/>
                  <a:pt x="1816709" y="3479380"/>
                  <a:pt x="1845864" y="3477558"/>
                </a:cubicBezTo>
                <a:cubicBezTo>
                  <a:pt x="1833107" y="3446581"/>
                  <a:pt x="1862262" y="3468447"/>
                  <a:pt x="1831285" y="3446581"/>
                </a:cubicBezTo>
                <a:lnTo>
                  <a:pt x="1831285" y="3450225"/>
                </a:lnTo>
                <a:lnTo>
                  <a:pt x="1822174" y="3433826"/>
                </a:lnTo>
                <a:lnTo>
                  <a:pt x="1807598" y="3448403"/>
                </a:lnTo>
                <a:lnTo>
                  <a:pt x="1831285" y="3450225"/>
                </a:lnTo>
                <a:lnTo>
                  <a:pt x="1831285" y="3470269"/>
                </a:lnTo>
                <a:lnTo>
                  <a:pt x="1802130" y="3461158"/>
                </a:lnTo>
                <a:cubicBezTo>
                  <a:pt x="1798487" y="3459336"/>
                  <a:pt x="1765687" y="3439292"/>
                  <a:pt x="1763865" y="3439292"/>
                </a:cubicBezTo>
                <a:cubicBezTo>
                  <a:pt x="1762043" y="3439292"/>
                  <a:pt x="1731066" y="3459336"/>
                  <a:pt x="1727421" y="3461158"/>
                </a:cubicBezTo>
                <a:lnTo>
                  <a:pt x="1720133" y="3433826"/>
                </a:lnTo>
                <a:lnTo>
                  <a:pt x="1732888" y="3419248"/>
                </a:lnTo>
                <a:lnTo>
                  <a:pt x="1725599" y="3410137"/>
                </a:lnTo>
                <a:lnTo>
                  <a:pt x="1703733" y="3426537"/>
                </a:lnTo>
                <a:cubicBezTo>
                  <a:pt x="1716488" y="3457514"/>
                  <a:pt x="1698266" y="3424715"/>
                  <a:pt x="1711022" y="3457514"/>
                </a:cubicBezTo>
                <a:lnTo>
                  <a:pt x="1681867" y="3448403"/>
                </a:lnTo>
                <a:cubicBezTo>
                  <a:pt x="1689157" y="3428359"/>
                  <a:pt x="1689157" y="3444759"/>
                  <a:pt x="1680046" y="3424715"/>
                </a:cubicBezTo>
                <a:lnTo>
                  <a:pt x="1658179" y="3442937"/>
                </a:lnTo>
                <a:lnTo>
                  <a:pt x="1636313" y="3433826"/>
                </a:lnTo>
                <a:lnTo>
                  <a:pt x="1636313" y="3455692"/>
                </a:lnTo>
                <a:cubicBezTo>
                  <a:pt x="1607158" y="3435648"/>
                  <a:pt x="1638135" y="3462981"/>
                  <a:pt x="1621735" y="3430181"/>
                </a:cubicBezTo>
                <a:lnTo>
                  <a:pt x="1607158" y="3426537"/>
                </a:lnTo>
                <a:cubicBezTo>
                  <a:pt x="1605336" y="3422893"/>
                  <a:pt x="1603513" y="3421071"/>
                  <a:pt x="1601691" y="3421071"/>
                </a:cubicBezTo>
                <a:cubicBezTo>
                  <a:pt x="1603513" y="3419248"/>
                  <a:pt x="1603513" y="3417426"/>
                  <a:pt x="1605336" y="3413782"/>
                </a:cubicBezTo>
                <a:lnTo>
                  <a:pt x="1583470" y="3390094"/>
                </a:lnTo>
                <a:cubicBezTo>
                  <a:pt x="1601691" y="3379160"/>
                  <a:pt x="1592580" y="3380983"/>
                  <a:pt x="1614447" y="3375516"/>
                </a:cubicBezTo>
                <a:cubicBezTo>
                  <a:pt x="1607158" y="3346361"/>
                  <a:pt x="1612624" y="3353650"/>
                  <a:pt x="1576181" y="3353650"/>
                </a:cubicBezTo>
                <a:lnTo>
                  <a:pt x="1583470" y="3368228"/>
                </a:lnTo>
                <a:lnTo>
                  <a:pt x="1568892" y="3406493"/>
                </a:lnTo>
                <a:lnTo>
                  <a:pt x="1561603" y="3399205"/>
                </a:lnTo>
                <a:cubicBezTo>
                  <a:pt x="1541559" y="3411960"/>
                  <a:pt x="1554315" y="3402849"/>
                  <a:pt x="1547026" y="3399205"/>
                </a:cubicBezTo>
                <a:cubicBezTo>
                  <a:pt x="1539737" y="3384627"/>
                  <a:pt x="1543382" y="3384627"/>
                  <a:pt x="1545204" y="3384627"/>
                </a:cubicBezTo>
                <a:cubicBezTo>
                  <a:pt x="1543382" y="3382805"/>
                  <a:pt x="1539737" y="3380983"/>
                  <a:pt x="1532450" y="3375516"/>
                </a:cubicBezTo>
                <a:lnTo>
                  <a:pt x="1532450" y="3408315"/>
                </a:lnTo>
                <a:lnTo>
                  <a:pt x="1510583" y="3408315"/>
                </a:lnTo>
                <a:cubicBezTo>
                  <a:pt x="1519693" y="3390094"/>
                  <a:pt x="1517871" y="3406493"/>
                  <a:pt x="1510583" y="3386449"/>
                </a:cubicBezTo>
                <a:cubicBezTo>
                  <a:pt x="1472317" y="3413782"/>
                  <a:pt x="1528804" y="3395560"/>
                  <a:pt x="1488716" y="3408315"/>
                </a:cubicBezTo>
                <a:lnTo>
                  <a:pt x="1479606" y="3386449"/>
                </a:lnTo>
                <a:lnTo>
                  <a:pt x="1465028" y="3393738"/>
                </a:lnTo>
                <a:lnTo>
                  <a:pt x="1455917" y="3379160"/>
                </a:lnTo>
                <a:lnTo>
                  <a:pt x="1443162" y="3386449"/>
                </a:lnTo>
                <a:lnTo>
                  <a:pt x="1426763" y="3364583"/>
                </a:lnTo>
                <a:cubicBezTo>
                  <a:pt x="1428585" y="3362761"/>
                  <a:pt x="1428585" y="3362761"/>
                  <a:pt x="1430407" y="3362761"/>
                </a:cubicBezTo>
                <a:cubicBezTo>
                  <a:pt x="1432229" y="3360939"/>
                  <a:pt x="1432229" y="3360939"/>
                  <a:pt x="1434051" y="3360939"/>
                </a:cubicBezTo>
                <a:cubicBezTo>
                  <a:pt x="1446806" y="3359117"/>
                  <a:pt x="1461384" y="3351828"/>
                  <a:pt x="1468673" y="3364583"/>
                </a:cubicBezTo>
                <a:cubicBezTo>
                  <a:pt x="1475961" y="3364583"/>
                  <a:pt x="1477784" y="3370050"/>
                  <a:pt x="1483250" y="3371872"/>
                </a:cubicBezTo>
                <a:cubicBezTo>
                  <a:pt x="1485072" y="3370050"/>
                  <a:pt x="1485072" y="3370050"/>
                  <a:pt x="1485072" y="3368228"/>
                </a:cubicBezTo>
                <a:cubicBezTo>
                  <a:pt x="1485072" y="3366405"/>
                  <a:pt x="1483250" y="3366405"/>
                  <a:pt x="1483250" y="3364583"/>
                </a:cubicBezTo>
                <a:cubicBezTo>
                  <a:pt x="1485072" y="3364583"/>
                  <a:pt x="1488716" y="3364583"/>
                  <a:pt x="1488716" y="3362761"/>
                </a:cubicBezTo>
                <a:cubicBezTo>
                  <a:pt x="1488716" y="3359117"/>
                  <a:pt x="1486895" y="3359117"/>
                  <a:pt x="1485072" y="3357294"/>
                </a:cubicBezTo>
                <a:cubicBezTo>
                  <a:pt x="1485072" y="3351828"/>
                  <a:pt x="1477784" y="3355472"/>
                  <a:pt x="1475961" y="3357294"/>
                </a:cubicBezTo>
                <a:cubicBezTo>
                  <a:pt x="1474139" y="3357294"/>
                  <a:pt x="1474139" y="3357294"/>
                  <a:pt x="1472317" y="3355472"/>
                </a:cubicBezTo>
                <a:cubicBezTo>
                  <a:pt x="1472317" y="3353650"/>
                  <a:pt x="1472317" y="3353650"/>
                  <a:pt x="1472317" y="3351828"/>
                </a:cubicBezTo>
                <a:cubicBezTo>
                  <a:pt x="1470495" y="3351828"/>
                  <a:pt x="1468673" y="3351828"/>
                  <a:pt x="1466850" y="3351828"/>
                </a:cubicBezTo>
                <a:cubicBezTo>
                  <a:pt x="1477784" y="3340895"/>
                  <a:pt x="1490539" y="3346361"/>
                  <a:pt x="1505117" y="3342717"/>
                </a:cubicBezTo>
                <a:cubicBezTo>
                  <a:pt x="1505117" y="3342717"/>
                  <a:pt x="1506938" y="3344539"/>
                  <a:pt x="1508760" y="3344539"/>
                </a:cubicBezTo>
                <a:cubicBezTo>
                  <a:pt x="1514228" y="3340895"/>
                  <a:pt x="1525160" y="3337250"/>
                  <a:pt x="1534271" y="3335428"/>
                </a:cubicBezTo>
                <a:cubicBezTo>
                  <a:pt x="1537915" y="3329962"/>
                  <a:pt x="1547026" y="3329962"/>
                  <a:pt x="1552492" y="3326318"/>
                </a:cubicBezTo>
                <a:cubicBezTo>
                  <a:pt x="1554315" y="3326318"/>
                  <a:pt x="1556137" y="3328140"/>
                  <a:pt x="1557959" y="3326318"/>
                </a:cubicBezTo>
                <a:cubicBezTo>
                  <a:pt x="1557959" y="3324495"/>
                  <a:pt x="1557959" y="3324495"/>
                  <a:pt x="1557959" y="3322673"/>
                </a:cubicBezTo>
                <a:cubicBezTo>
                  <a:pt x="1565248" y="3317207"/>
                  <a:pt x="1572537" y="3311740"/>
                  <a:pt x="1581647" y="3306274"/>
                </a:cubicBezTo>
                <a:cubicBezTo>
                  <a:pt x="1585292" y="3304452"/>
                  <a:pt x="1590758" y="3302629"/>
                  <a:pt x="1594403" y="3300807"/>
                </a:cubicBezTo>
                <a:cubicBezTo>
                  <a:pt x="1605336" y="3293518"/>
                  <a:pt x="1616269" y="3282585"/>
                  <a:pt x="1630846" y="3278941"/>
                </a:cubicBezTo>
                <a:cubicBezTo>
                  <a:pt x="1630846" y="3277119"/>
                  <a:pt x="1630846" y="3277119"/>
                  <a:pt x="1630846" y="3275297"/>
                </a:cubicBezTo>
                <a:cubicBezTo>
                  <a:pt x="1645423" y="3266186"/>
                  <a:pt x="1660001" y="3258898"/>
                  <a:pt x="1672756" y="3249786"/>
                </a:cubicBezTo>
                <a:cubicBezTo>
                  <a:pt x="1672756" y="3257076"/>
                  <a:pt x="1670935" y="3269831"/>
                  <a:pt x="1678223" y="3278941"/>
                </a:cubicBezTo>
                <a:cubicBezTo>
                  <a:pt x="1689157" y="3273475"/>
                  <a:pt x="1687333" y="3262542"/>
                  <a:pt x="1692800" y="3255254"/>
                </a:cubicBezTo>
                <a:cubicBezTo>
                  <a:pt x="1692800" y="3253432"/>
                  <a:pt x="1692800" y="3253432"/>
                  <a:pt x="1692800" y="3251608"/>
                </a:cubicBezTo>
                <a:cubicBezTo>
                  <a:pt x="1692800" y="3251608"/>
                  <a:pt x="1694622" y="3251608"/>
                  <a:pt x="1694622" y="3251608"/>
                </a:cubicBezTo>
                <a:cubicBezTo>
                  <a:pt x="1696444" y="3260720"/>
                  <a:pt x="1700089" y="3271653"/>
                  <a:pt x="1705555" y="3284408"/>
                </a:cubicBezTo>
                <a:cubicBezTo>
                  <a:pt x="1709200" y="3284408"/>
                  <a:pt x="1707377" y="3282585"/>
                  <a:pt x="1709200" y="3282585"/>
                </a:cubicBezTo>
                <a:cubicBezTo>
                  <a:pt x="1712844" y="3286230"/>
                  <a:pt x="1716488" y="3291696"/>
                  <a:pt x="1720133" y="3289874"/>
                </a:cubicBezTo>
                <a:cubicBezTo>
                  <a:pt x="1725599" y="3288052"/>
                  <a:pt x="1721955" y="3275297"/>
                  <a:pt x="1718310" y="3268009"/>
                </a:cubicBezTo>
                <a:cubicBezTo>
                  <a:pt x="1720133" y="3269831"/>
                  <a:pt x="1721955" y="3269831"/>
                  <a:pt x="1723777" y="3269831"/>
                </a:cubicBezTo>
                <a:cubicBezTo>
                  <a:pt x="1723777" y="3260720"/>
                  <a:pt x="1716488" y="3255254"/>
                  <a:pt x="1709200" y="3253432"/>
                </a:cubicBezTo>
                <a:cubicBezTo>
                  <a:pt x="1709200" y="3253432"/>
                  <a:pt x="1711022" y="3251608"/>
                  <a:pt x="1711022" y="3251608"/>
                </a:cubicBezTo>
                <a:cubicBezTo>
                  <a:pt x="1716488" y="3257076"/>
                  <a:pt x="1734710" y="3260720"/>
                  <a:pt x="1738354" y="3251608"/>
                </a:cubicBezTo>
                <a:cubicBezTo>
                  <a:pt x="1732888" y="3246142"/>
                  <a:pt x="1723777" y="3244320"/>
                  <a:pt x="1714666" y="3246142"/>
                </a:cubicBezTo>
                <a:cubicBezTo>
                  <a:pt x="1709200" y="3246142"/>
                  <a:pt x="1707377" y="3247964"/>
                  <a:pt x="1705555" y="3246142"/>
                </a:cubicBezTo>
                <a:cubicBezTo>
                  <a:pt x="1707377" y="3242498"/>
                  <a:pt x="1703733" y="3237032"/>
                  <a:pt x="1703733" y="3235210"/>
                </a:cubicBezTo>
                <a:cubicBezTo>
                  <a:pt x="1707377" y="3238854"/>
                  <a:pt x="1712844" y="3238854"/>
                  <a:pt x="1718310" y="3237032"/>
                </a:cubicBezTo>
                <a:cubicBezTo>
                  <a:pt x="1718310" y="3235210"/>
                  <a:pt x="1716488" y="3235210"/>
                  <a:pt x="1716488" y="3233388"/>
                </a:cubicBezTo>
                <a:cubicBezTo>
                  <a:pt x="1716488" y="3231566"/>
                  <a:pt x="1718310" y="3231566"/>
                  <a:pt x="1718310" y="3229742"/>
                </a:cubicBezTo>
                <a:cubicBezTo>
                  <a:pt x="1718310" y="3227920"/>
                  <a:pt x="1714666" y="3229742"/>
                  <a:pt x="1714666" y="3227920"/>
                </a:cubicBezTo>
                <a:cubicBezTo>
                  <a:pt x="1729243" y="3220631"/>
                  <a:pt x="1740176" y="3213343"/>
                  <a:pt x="1754754" y="3207877"/>
                </a:cubicBezTo>
                <a:cubicBezTo>
                  <a:pt x="1765687" y="3207877"/>
                  <a:pt x="1774798" y="3204233"/>
                  <a:pt x="1785731" y="3207877"/>
                </a:cubicBezTo>
                <a:cubicBezTo>
                  <a:pt x="1785731" y="3211521"/>
                  <a:pt x="1782087" y="3215165"/>
                  <a:pt x="1782087" y="3218810"/>
                </a:cubicBezTo>
                <a:cubicBezTo>
                  <a:pt x="1787553" y="3216987"/>
                  <a:pt x="1787553" y="3209699"/>
                  <a:pt x="1793020" y="3206055"/>
                </a:cubicBezTo>
                <a:cubicBezTo>
                  <a:pt x="1800308" y="3204233"/>
                  <a:pt x="1809420" y="3206055"/>
                  <a:pt x="1816709" y="3206055"/>
                </a:cubicBezTo>
                <a:cubicBezTo>
                  <a:pt x="1816709" y="3206055"/>
                  <a:pt x="1814886" y="3206055"/>
                  <a:pt x="1816709" y="3207877"/>
                </a:cubicBezTo>
                <a:cubicBezTo>
                  <a:pt x="1823996" y="3207877"/>
                  <a:pt x="1833107" y="3207877"/>
                  <a:pt x="1840396" y="3209699"/>
                </a:cubicBezTo>
                <a:cubicBezTo>
                  <a:pt x="1840396" y="3211521"/>
                  <a:pt x="1838574" y="3211521"/>
                  <a:pt x="1838574" y="3213343"/>
                </a:cubicBezTo>
                <a:cubicBezTo>
                  <a:pt x="1844040" y="3218810"/>
                  <a:pt x="1851329" y="3213343"/>
                  <a:pt x="1858618" y="3213343"/>
                </a:cubicBezTo>
                <a:cubicBezTo>
                  <a:pt x="1862262" y="3213343"/>
                  <a:pt x="1867729" y="3215165"/>
                  <a:pt x="1871373" y="3216987"/>
                </a:cubicBezTo>
                <a:cubicBezTo>
                  <a:pt x="1875017" y="3216987"/>
                  <a:pt x="1880484" y="3216987"/>
                  <a:pt x="1884128" y="3218810"/>
                </a:cubicBezTo>
                <a:cubicBezTo>
                  <a:pt x="1891417" y="3222455"/>
                  <a:pt x="1898706" y="3227920"/>
                  <a:pt x="1907816" y="3226098"/>
                </a:cubicBezTo>
                <a:cubicBezTo>
                  <a:pt x="1909639" y="3226098"/>
                  <a:pt x="1909639" y="3226098"/>
                  <a:pt x="1911461" y="3227920"/>
                </a:cubicBezTo>
                <a:cubicBezTo>
                  <a:pt x="1913283" y="3231566"/>
                  <a:pt x="1918750" y="3235210"/>
                  <a:pt x="1920572" y="3229742"/>
                </a:cubicBezTo>
                <a:cubicBezTo>
                  <a:pt x="1920572" y="3227920"/>
                  <a:pt x="1918750" y="3227920"/>
                  <a:pt x="1920572" y="3226098"/>
                </a:cubicBezTo>
                <a:cubicBezTo>
                  <a:pt x="1933327" y="3227920"/>
                  <a:pt x="1946083" y="3229742"/>
                  <a:pt x="1957015" y="3235210"/>
                </a:cubicBezTo>
                <a:cubicBezTo>
                  <a:pt x="1958837" y="3237032"/>
                  <a:pt x="1960659" y="3238854"/>
                  <a:pt x="1964305" y="3238854"/>
                </a:cubicBezTo>
                <a:cubicBezTo>
                  <a:pt x="1966126" y="3237032"/>
                  <a:pt x="1966126" y="3237032"/>
                  <a:pt x="1966126" y="3235210"/>
                </a:cubicBezTo>
                <a:cubicBezTo>
                  <a:pt x="1967948" y="3235210"/>
                  <a:pt x="1967948" y="3235210"/>
                  <a:pt x="1969770" y="3235210"/>
                </a:cubicBezTo>
                <a:lnTo>
                  <a:pt x="1967948" y="3227920"/>
                </a:lnTo>
                <a:cubicBezTo>
                  <a:pt x="1960659" y="3226098"/>
                  <a:pt x="1955194" y="3226098"/>
                  <a:pt x="1949726" y="3222455"/>
                </a:cubicBezTo>
                <a:cubicBezTo>
                  <a:pt x="1951549" y="3222455"/>
                  <a:pt x="1951549" y="3220631"/>
                  <a:pt x="1951549" y="3218810"/>
                </a:cubicBezTo>
                <a:cubicBezTo>
                  <a:pt x="1949726" y="3213343"/>
                  <a:pt x="1946083" y="3216987"/>
                  <a:pt x="1942438" y="3218810"/>
                </a:cubicBezTo>
                <a:cubicBezTo>
                  <a:pt x="1936972" y="3220631"/>
                  <a:pt x="1927861" y="3216987"/>
                  <a:pt x="1922394" y="3216987"/>
                </a:cubicBezTo>
                <a:cubicBezTo>
                  <a:pt x="1916927" y="3216987"/>
                  <a:pt x="1909639" y="3215165"/>
                  <a:pt x="1904172" y="3213343"/>
                </a:cubicBezTo>
                <a:cubicBezTo>
                  <a:pt x="1900528" y="3211521"/>
                  <a:pt x="1896883" y="3209699"/>
                  <a:pt x="1893239" y="3207877"/>
                </a:cubicBezTo>
                <a:cubicBezTo>
                  <a:pt x="1887773" y="3207877"/>
                  <a:pt x="1884128" y="3207877"/>
                  <a:pt x="1880484" y="3204233"/>
                </a:cubicBezTo>
                <a:cubicBezTo>
                  <a:pt x="1884128" y="3200587"/>
                  <a:pt x="1891417" y="3206055"/>
                  <a:pt x="1895061" y="3202411"/>
                </a:cubicBezTo>
                <a:cubicBezTo>
                  <a:pt x="1900528" y="3198765"/>
                  <a:pt x="1893239" y="3189655"/>
                  <a:pt x="1887773" y="3189655"/>
                </a:cubicBezTo>
                <a:cubicBezTo>
                  <a:pt x="1891417" y="3187833"/>
                  <a:pt x="1896883" y="3189655"/>
                  <a:pt x="1904172" y="3186011"/>
                </a:cubicBezTo>
                <a:cubicBezTo>
                  <a:pt x="1909639" y="3184189"/>
                  <a:pt x="1918750" y="3173256"/>
                  <a:pt x="1916927" y="3167790"/>
                </a:cubicBezTo>
                <a:cubicBezTo>
                  <a:pt x="1915105" y="3162322"/>
                  <a:pt x="1905994" y="3165966"/>
                  <a:pt x="1898706" y="3167790"/>
                </a:cubicBezTo>
                <a:cubicBezTo>
                  <a:pt x="1893239" y="3169612"/>
                  <a:pt x="1887773" y="3167790"/>
                  <a:pt x="1882306" y="3171434"/>
                </a:cubicBezTo>
                <a:cubicBezTo>
                  <a:pt x="1882306" y="3173256"/>
                  <a:pt x="1882306" y="3175078"/>
                  <a:pt x="1880484" y="3175078"/>
                </a:cubicBezTo>
                <a:cubicBezTo>
                  <a:pt x="1880484" y="3173256"/>
                  <a:pt x="1880484" y="3171434"/>
                  <a:pt x="1878662" y="3171434"/>
                </a:cubicBezTo>
                <a:cubicBezTo>
                  <a:pt x="1880484" y="3162322"/>
                  <a:pt x="1878662" y="3144100"/>
                  <a:pt x="1869551" y="3136813"/>
                </a:cubicBezTo>
                <a:cubicBezTo>
                  <a:pt x="1853151" y="3145922"/>
                  <a:pt x="1860440" y="3167790"/>
                  <a:pt x="1869551" y="3180544"/>
                </a:cubicBezTo>
                <a:cubicBezTo>
                  <a:pt x="1867729" y="3182367"/>
                  <a:pt x="1867729" y="3182367"/>
                  <a:pt x="1865906" y="3182367"/>
                </a:cubicBezTo>
                <a:lnTo>
                  <a:pt x="1867729" y="3186011"/>
                </a:lnTo>
                <a:cubicBezTo>
                  <a:pt x="1864084" y="3186011"/>
                  <a:pt x="1865906" y="3182367"/>
                  <a:pt x="1864084" y="3180544"/>
                </a:cubicBezTo>
                <a:cubicBezTo>
                  <a:pt x="1860440" y="3173256"/>
                  <a:pt x="1851329" y="3169612"/>
                  <a:pt x="1844040" y="3171434"/>
                </a:cubicBezTo>
                <a:cubicBezTo>
                  <a:pt x="1844040" y="3178721"/>
                  <a:pt x="1856796" y="3193299"/>
                  <a:pt x="1864084" y="3187833"/>
                </a:cubicBezTo>
                <a:cubicBezTo>
                  <a:pt x="1865906" y="3187833"/>
                  <a:pt x="1867729" y="3187833"/>
                  <a:pt x="1867729" y="3189655"/>
                </a:cubicBezTo>
                <a:cubicBezTo>
                  <a:pt x="1866817" y="3189655"/>
                  <a:pt x="1865451" y="3190111"/>
                  <a:pt x="1864540" y="3190795"/>
                </a:cubicBezTo>
                <a:lnTo>
                  <a:pt x="1864084" y="3193297"/>
                </a:lnTo>
                <a:lnTo>
                  <a:pt x="1864084" y="3195121"/>
                </a:lnTo>
                <a:cubicBezTo>
                  <a:pt x="1854975" y="3196945"/>
                  <a:pt x="1849507" y="3195121"/>
                  <a:pt x="1842218" y="3195121"/>
                </a:cubicBezTo>
                <a:lnTo>
                  <a:pt x="1850877" y="3191727"/>
                </a:lnTo>
                <a:lnTo>
                  <a:pt x="1844952" y="3191021"/>
                </a:lnTo>
                <a:cubicBezTo>
                  <a:pt x="1838118" y="3191021"/>
                  <a:pt x="1831285" y="3192388"/>
                  <a:pt x="1825820" y="3196943"/>
                </a:cubicBezTo>
                <a:cubicBezTo>
                  <a:pt x="1798487" y="3191477"/>
                  <a:pt x="1762043" y="3198765"/>
                  <a:pt x="1734710" y="3191477"/>
                </a:cubicBezTo>
                <a:cubicBezTo>
                  <a:pt x="1738354" y="3189655"/>
                  <a:pt x="1732888" y="3186011"/>
                  <a:pt x="1734710" y="3182367"/>
                </a:cubicBezTo>
                <a:cubicBezTo>
                  <a:pt x="1738354" y="3182367"/>
                  <a:pt x="1743821" y="3182367"/>
                  <a:pt x="1747465" y="3182367"/>
                </a:cubicBezTo>
                <a:cubicBezTo>
                  <a:pt x="1747465" y="3175078"/>
                  <a:pt x="1738354" y="3180544"/>
                  <a:pt x="1736532" y="3175078"/>
                </a:cubicBezTo>
                <a:cubicBezTo>
                  <a:pt x="1736532" y="3171434"/>
                  <a:pt x="1741999" y="3167790"/>
                  <a:pt x="1738354" y="3162322"/>
                </a:cubicBezTo>
                <a:cubicBezTo>
                  <a:pt x="1743821" y="3158678"/>
                  <a:pt x="1751109" y="3160500"/>
                  <a:pt x="1756576" y="3158678"/>
                </a:cubicBezTo>
                <a:cubicBezTo>
                  <a:pt x="1767509" y="3155034"/>
                  <a:pt x="1772976" y="3147744"/>
                  <a:pt x="1774798" y="3138635"/>
                </a:cubicBezTo>
                <a:cubicBezTo>
                  <a:pt x="1769331" y="3133169"/>
                  <a:pt x="1752932" y="3140456"/>
                  <a:pt x="1747465" y="3145922"/>
                </a:cubicBezTo>
                <a:cubicBezTo>
                  <a:pt x="1741999" y="3144100"/>
                  <a:pt x="1734710" y="3147744"/>
                  <a:pt x="1729243" y="3145922"/>
                </a:cubicBezTo>
                <a:cubicBezTo>
                  <a:pt x="1731066" y="3144100"/>
                  <a:pt x="1734710" y="3142278"/>
                  <a:pt x="1731066" y="3140456"/>
                </a:cubicBezTo>
                <a:cubicBezTo>
                  <a:pt x="1734710" y="3136813"/>
                  <a:pt x="1740176" y="3136813"/>
                  <a:pt x="1743821" y="3136813"/>
                </a:cubicBezTo>
                <a:cubicBezTo>
                  <a:pt x="1745643" y="3134991"/>
                  <a:pt x="1745643" y="3134991"/>
                  <a:pt x="1745643" y="3133169"/>
                </a:cubicBezTo>
                <a:cubicBezTo>
                  <a:pt x="1752932" y="3131347"/>
                  <a:pt x="1763865" y="3127701"/>
                  <a:pt x="1765687" y="3120413"/>
                </a:cubicBezTo>
                <a:cubicBezTo>
                  <a:pt x="1760220" y="3116769"/>
                  <a:pt x="1745643" y="3120413"/>
                  <a:pt x="1740176" y="3125879"/>
                </a:cubicBezTo>
                <a:cubicBezTo>
                  <a:pt x="1736532" y="3127701"/>
                  <a:pt x="1738354" y="3131347"/>
                  <a:pt x="1734710" y="3133169"/>
                </a:cubicBezTo>
                <a:cubicBezTo>
                  <a:pt x="1732888" y="3129525"/>
                  <a:pt x="1734710" y="3127701"/>
                  <a:pt x="1736532" y="3125879"/>
                </a:cubicBezTo>
                <a:cubicBezTo>
                  <a:pt x="1741999" y="3114945"/>
                  <a:pt x="1740176" y="3094904"/>
                  <a:pt x="1729243" y="3087614"/>
                </a:cubicBezTo>
                <a:cubicBezTo>
                  <a:pt x="1723777" y="3091258"/>
                  <a:pt x="1720133" y="3102192"/>
                  <a:pt x="1720133" y="3109479"/>
                </a:cubicBezTo>
                <a:cubicBezTo>
                  <a:pt x="1720133" y="3114945"/>
                  <a:pt x="1720133" y="3120413"/>
                  <a:pt x="1723777" y="3125879"/>
                </a:cubicBezTo>
                <a:cubicBezTo>
                  <a:pt x="1721955" y="3129525"/>
                  <a:pt x="1723777" y="3133169"/>
                  <a:pt x="1727421" y="3134991"/>
                </a:cubicBezTo>
                <a:cubicBezTo>
                  <a:pt x="1725599" y="3134991"/>
                  <a:pt x="1725599" y="3133169"/>
                  <a:pt x="1723777" y="3133169"/>
                </a:cubicBezTo>
                <a:cubicBezTo>
                  <a:pt x="1721955" y="3133169"/>
                  <a:pt x="1723777" y="3134991"/>
                  <a:pt x="1721955" y="3134991"/>
                </a:cubicBezTo>
                <a:cubicBezTo>
                  <a:pt x="1720133" y="3118591"/>
                  <a:pt x="1707377" y="3107657"/>
                  <a:pt x="1696444" y="3104013"/>
                </a:cubicBezTo>
                <a:cubicBezTo>
                  <a:pt x="1694622" y="3114945"/>
                  <a:pt x="1707377" y="3133169"/>
                  <a:pt x="1716488" y="3134991"/>
                </a:cubicBezTo>
                <a:cubicBezTo>
                  <a:pt x="1712844" y="3133169"/>
                  <a:pt x="1705555" y="3136813"/>
                  <a:pt x="1705555" y="3140456"/>
                </a:cubicBezTo>
                <a:cubicBezTo>
                  <a:pt x="1709200" y="3142278"/>
                  <a:pt x="1716488" y="3142278"/>
                  <a:pt x="1721955" y="3142278"/>
                </a:cubicBezTo>
                <a:cubicBezTo>
                  <a:pt x="1721955" y="3145922"/>
                  <a:pt x="1727421" y="3147744"/>
                  <a:pt x="1727421" y="3151390"/>
                </a:cubicBezTo>
                <a:cubicBezTo>
                  <a:pt x="1725599" y="3151390"/>
                  <a:pt x="1721955" y="3149568"/>
                  <a:pt x="1720133" y="3149568"/>
                </a:cubicBezTo>
                <a:cubicBezTo>
                  <a:pt x="1720133" y="3149568"/>
                  <a:pt x="1721955" y="3151390"/>
                  <a:pt x="1721955" y="3153212"/>
                </a:cubicBezTo>
                <a:cubicBezTo>
                  <a:pt x="1716488" y="3155034"/>
                  <a:pt x="1712844" y="3149568"/>
                  <a:pt x="1707377" y="3145922"/>
                </a:cubicBezTo>
                <a:cubicBezTo>
                  <a:pt x="1700089" y="3142278"/>
                  <a:pt x="1685511" y="3140456"/>
                  <a:pt x="1678223" y="3147744"/>
                </a:cubicBezTo>
                <a:cubicBezTo>
                  <a:pt x="1683689" y="3153212"/>
                  <a:pt x="1690978" y="3155034"/>
                  <a:pt x="1698266" y="3156856"/>
                </a:cubicBezTo>
                <a:cubicBezTo>
                  <a:pt x="1694622" y="3158678"/>
                  <a:pt x="1692800" y="3164144"/>
                  <a:pt x="1694622" y="3167790"/>
                </a:cubicBezTo>
                <a:cubicBezTo>
                  <a:pt x="1701911" y="3167790"/>
                  <a:pt x="1712844" y="3164144"/>
                  <a:pt x="1720133" y="3160500"/>
                </a:cubicBezTo>
                <a:cubicBezTo>
                  <a:pt x="1721955" y="3162322"/>
                  <a:pt x="1725599" y="3162322"/>
                  <a:pt x="1725599" y="3167790"/>
                </a:cubicBezTo>
                <a:cubicBezTo>
                  <a:pt x="1731066" y="3169612"/>
                  <a:pt x="1731066" y="3175078"/>
                  <a:pt x="1732888" y="3180544"/>
                </a:cubicBezTo>
                <a:cubicBezTo>
                  <a:pt x="1729243" y="3180544"/>
                  <a:pt x="1732888" y="3184189"/>
                  <a:pt x="1731066" y="3186011"/>
                </a:cubicBezTo>
                <a:cubicBezTo>
                  <a:pt x="1714666" y="3193299"/>
                  <a:pt x="1694622" y="3191477"/>
                  <a:pt x="1676400" y="3195121"/>
                </a:cubicBezTo>
                <a:cubicBezTo>
                  <a:pt x="1661824" y="3196943"/>
                  <a:pt x="1647246" y="3198765"/>
                  <a:pt x="1634491" y="3200587"/>
                </a:cubicBezTo>
                <a:cubicBezTo>
                  <a:pt x="1630846" y="3196943"/>
                  <a:pt x="1627202" y="3195121"/>
                  <a:pt x="1623558" y="3191477"/>
                </a:cubicBezTo>
                <a:cubicBezTo>
                  <a:pt x="1625380" y="3184189"/>
                  <a:pt x="1614447" y="3184189"/>
                  <a:pt x="1610802" y="3180544"/>
                </a:cubicBezTo>
                <a:cubicBezTo>
                  <a:pt x="1623558" y="3186011"/>
                  <a:pt x="1645423" y="3186011"/>
                  <a:pt x="1661824" y="3176899"/>
                </a:cubicBezTo>
                <a:cubicBezTo>
                  <a:pt x="1652713" y="3167790"/>
                  <a:pt x="1639957" y="3165966"/>
                  <a:pt x="1625380" y="3167790"/>
                </a:cubicBezTo>
                <a:cubicBezTo>
                  <a:pt x="1625380" y="3164144"/>
                  <a:pt x="1629024" y="3164144"/>
                  <a:pt x="1629024" y="3160500"/>
                </a:cubicBezTo>
                <a:cubicBezTo>
                  <a:pt x="1634491" y="3158678"/>
                  <a:pt x="1641780" y="3158678"/>
                  <a:pt x="1645423" y="3156856"/>
                </a:cubicBezTo>
                <a:cubicBezTo>
                  <a:pt x="1641780" y="3153212"/>
                  <a:pt x="1636313" y="3153212"/>
                  <a:pt x="1630846" y="3153212"/>
                </a:cubicBezTo>
                <a:cubicBezTo>
                  <a:pt x="1632669" y="3149568"/>
                  <a:pt x="1630846" y="3145922"/>
                  <a:pt x="1632669" y="3144100"/>
                </a:cubicBezTo>
                <a:cubicBezTo>
                  <a:pt x="1630846" y="3142278"/>
                  <a:pt x="1630846" y="3140456"/>
                  <a:pt x="1629024" y="3138635"/>
                </a:cubicBezTo>
                <a:cubicBezTo>
                  <a:pt x="1632669" y="3134991"/>
                  <a:pt x="1632669" y="3131347"/>
                  <a:pt x="1632669" y="3127701"/>
                </a:cubicBezTo>
                <a:cubicBezTo>
                  <a:pt x="1621735" y="3125879"/>
                  <a:pt x="1614447" y="3136813"/>
                  <a:pt x="1610802" y="3142278"/>
                </a:cubicBezTo>
                <a:cubicBezTo>
                  <a:pt x="1608980" y="3136813"/>
                  <a:pt x="1607158" y="3129525"/>
                  <a:pt x="1605336" y="3122235"/>
                </a:cubicBezTo>
                <a:cubicBezTo>
                  <a:pt x="1599869" y="3129525"/>
                  <a:pt x="1607158" y="3144100"/>
                  <a:pt x="1603513" y="3153212"/>
                </a:cubicBezTo>
                <a:cubicBezTo>
                  <a:pt x="1599869" y="3153212"/>
                  <a:pt x="1598047" y="3151390"/>
                  <a:pt x="1594403" y="3151390"/>
                </a:cubicBezTo>
                <a:cubicBezTo>
                  <a:pt x="1594403" y="3153212"/>
                  <a:pt x="1596225" y="3155034"/>
                  <a:pt x="1596225" y="3155034"/>
                </a:cubicBezTo>
                <a:cubicBezTo>
                  <a:pt x="1592580" y="3156856"/>
                  <a:pt x="1594403" y="3160500"/>
                  <a:pt x="1590758" y="3162322"/>
                </a:cubicBezTo>
                <a:cubicBezTo>
                  <a:pt x="1592580" y="3153212"/>
                  <a:pt x="1594403" y="3142278"/>
                  <a:pt x="1587114" y="3125879"/>
                </a:cubicBezTo>
                <a:cubicBezTo>
                  <a:pt x="1583470" y="3116769"/>
                  <a:pt x="1578003" y="3105835"/>
                  <a:pt x="1572537" y="3104013"/>
                </a:cubicBezTo>
                <a:cubicBezTo>
                  <a:pt x="1568892" y="3105835"/>
                  <a:pt x="1570714" y="3111301"/>
                  <a:pt x="1567070" y="3109479"/>
                </a:cubicBezTo>
                <a:cubicBezTo>
                  <a:pt x="1561603" y="3118591"/>
                  <a:pt x="1567070" y="3129525"/>
                  <a:pt x="1568892" y="3140456"/>
                </a:cubicBezTo>
                <a:cubicBezTo>
                  <a:pt x="1572537" y="3151390"/>
                  <a:pt x="1581647" y="3158678"/>
                  <a:pt x="1583470" y="3169612"/>
                </a:cubicBezTo>
                <a:cubicBezTo>
                  <a:pt x="1581647" y="3169612"/>
                  <a:pt x="1579825" y="3167790"/>
                  <a:pt x="1576181" y="3169612"/>
                </a:cubicBezTo>
                <a:cubicBezTo>
                  <a:pt x="1572537" y="3165966"/>
                  <a:pt x="1561603" y="3164144"/>
                  <a:pt x="1554315" y="3165966"/>
                </a:cubicBezTo>
                <a:cubicBezTo>
                  <a:pt x="1550670" y="3165966"/>
                  <a:pt x="1543382" y="3167790"/>
                  <a:pt x="1543382" y="3171434"/>
                </a:cubicBezTo>
                <a:cubicBezTo>
                  <a:pt x="1547026" y="3180544"/>
                  <a:pt x="1557959" y="3176899"/>
                  <a:pt x="1565248" y="3180544"/>
                </a:cubicBezTo>
                <a:cubicBezTo>
                  <a:pt x="1572537" y="3180544"/>
                  <a:pt x="1579825" y="3176899"/>
                  <a:pt x="1585292" y="3176899"/>
                </a:cubicBezTo>
                <a:cubicBezTo>
                  <a:pt x="1583470" y="3178721"/>
                  <a:pt x="1581647" y="3182367"/>
                  <a:pt x="1579825" y="3184189"/>
                </a:cubicBezTo>
                <a:lnTo>
                  <a:pt x="1578003" y="3180544"/>
                </a:lnTo>
                <a:cubicBezTo>
                  <a:pt x="1576181" y="3180544"/>
                  <a:pt x="1574359" y="3182367"/>
                  <a:pt x="1572537" y="3180544"/>
                </a:cubicBezTo>
                <a:cubicBezTo>
                  <a:pt x="1572537" y="3184189"/>
                  <a:pt x="1570714" y="3186011"/>
                  <a:pt x="1570714" y="3187833"/>
                </a:cubicBezTo>
                <a:cubicBezTo>
                  <a:pt x="1565248" y="3187833"/>
                  <a:pt x="1557959" y="3191477"/>
                  <a:pt x="1554315" y="3195121"/>
                </a:cubicBezTo>
                <a:cubicBezTo>
                  <a:pt x="1552492" y="3196943"/>
                  <a:pt x="1550670" y="3200587"/>
                  <a:pt x="1548848" y="3200587"/>
                </a:cubicBezTo>
                <a:cubicBezTo>
                  <a:pt x="1545204" y="3202411"/>
                  <a:pt x="1536093" y="3202411"/>
                  <a:pt x="1530626" y="3202411"/>
                </a:cubicBezTo>
                <a:cubicBezTo>
                  <a:pt x="1525160" y="3204233"/>
                  <a:pt x="1517871" y="3204233"/>
                  <a:pt x="1512405" y="3204233"/>
                </a:cubicBezTo>
                <a:cubicBezTo>
                  <a:pt x="1508760" y="3195121"/>
                  <a:pt x="1503294" y="3193299"/>
                  <a:pt x="1496006" y="3191477"/>
                </a:cubicBezTo>
                <a:cubicBezTo>
                  <a:pt x="1494183" y="3196943"/>
                  <a:pt x="1492361" y="3200587"/>
                  <a:pt x="1494183" y="3206055"/>
                </a:cubicBezTo>
                <a:cubicBezTo>
                  <a:pt x="1481428" y="3206055"/>
                  <a:pt x="1468673" y="3204233"/>
                  <a:pt x="1457739" y="3200587"/>
                </a:cubicBezTo>
                <a:cubicBezTo>
                  <a:pt x="1461384" y="3198765"/>
                  <a:pt x="1461384" y="3193299"/>
                  <a:pt x="1457739" y="3191477"/>
                </a:cubicBezTo>
                <a:cubicBezTo>
                  <a:pt x="1465028" y="3182367"/>
                  <a:pt x="1463206" y="3165966"/>
                  <a:pt x="1479606" y="3165966"/>
                </a:cubicBezTo>
                <a:cubicBezTo>
                  <a:pt x="1481428" y="3164144"/>
                  <a:pt x="1479606" y="3164144"/>
                  <a:pt x="1479606" y="3162322"/>
                </a:cubicBezTo>
                <a:cubicBezTo>
                  <a:pt x="1486895" y="3156856"/>
                  <a:pt x="1494183" y="3149568"/>
                  <a:pt x="1499650" y="3156856"/>
                </a:cubicBezTo>
                <a:cubicBezTo>
                  <a:pt x="1501472" y="3160500"/>
                  <a:pt x="1499650" y="3164144"/>
                  <a:pt x="1503294" y="3164144"/>
                </a:cubicBezTo>
                <a:cubicBezTo>
                  <a:pt x="1506938" y="3162322"/>
                  <a:pt x="1503294" y="3158678"/>
                  <a:pt x="1503294" y="3156856"/>
                </a:cubicBezTo>
                <a:cubicBezTo>
                  <a:pt x="1505117" y="3156856"/>
                  <a:pt x="1506938" y="3162322"/>
                  <a:pt x="1510583" y="3162322"/>
                </a:cubicBezTo>
                <a:cubicBezTo>
                  <a:pt x="1510583" y="3162322"/>
                  <a:pt x="1508760" y="3160500"/>
                  <a:pt x="1508760" y="3158678"/>
                </a:cubicBezTo>
                <a:cubicBezTo>
                  <a:pt x="1510583" y="3158678"/>
                  <a:pt x="1512405" y="3160500"/>
                  <a:pt x="1516049" y="3158678"/>
                </a:cubicBezTo>
                <a:cubicBezTo>
                  <a:pt x="1514228" y="3155034"/>
                  <a:pt x="1510583" y="3155034"/>
                  <a:pt x="1506938" y="3153212"/>
                </a:cubicBezTo>
                <a:cubicBezTo>
                  <a:pt x="1508760" y="3151390"/>
                  <a:pt x="1510583" y="3151390"/>
                  <a:pt x="1512405" y="3149568"/>
                </a:cubicBezTo>
                <a:cubicBezTo>
                  <a:pt x="1508760" y="3147744"/>
                  <a:pt x="1503294" y="3151390"/>
                  <a:pt x="1497827" y="3151390"/>
                </a:cubicBezTo>
                <a:cubicBezTo>
                  <a:pt x="1503294" y="3149568"/>
                  <a:pt x="1510583" y="3140456"/>
                  <a:pt x="1519693" y="3140456"/>
                </a:cubicBezTo>
                <a:cubicBezTo>
                  <a:pt x="1521516" y="3138635"/>
                  <a:pt x="1521516" y="3138635"/>
                  <a:pt x="1521516" y="3136813"/>
                </a:cubicBezTo>
                <a:cubicBezTo>
                  <a:pt x="1528804" y="3134991"/>
                  <a:pt x="1536093" y="3127701"/>
                  <a:pt x="1541559" y="3125879"/>
                </a:cubicBezTo>
                <a:cubicBezTo>
                  <a:pt x="1541559" y="3122235"/>
                  <a:pt x="1547026" y="3120413"/>
                  <a:pt x="1550670" y="3118591"/>
                </a:cubicBezTo>
                <a:cubicBezTo>
                  <a:pt x="1554315" y="3111301"/>
                  <a:pt x="1561603" y="3105835"/>
                  <a:pt x="1567070" y="3098548"/>
                </a:cubicBezTo>
                <a:cubicBezTo>
                  <a:pt x="1568892" y="3098548"/>
                  <a:pt x="1570714" y="3098548"/>
                  <a:pt x="1570714" y="3096726"/>
                </a:cubicBezTo>
                <a:cubicBezTo>
                  <a:pt x="1570714" y="3094904"/>
                  <a:pt x="1570714" y="3094904"/>
                  <a:pt x="1568892" y="3094904"/>
                </a:cubicBezTo>
                <a:cubicBezTo>
                  <a:pt x="1570714" y="3091258"/>
                  <a:pt x="1570714" y="3089436"/>
                  <a:pt x="1574359" y="3087614"/>
                </a:cubicBezTo>
                <a:cubicBezTo>
                  <a:pt x="1574359" y="3089436"/>
                  <a:pt x="1576181" y="3091258"/>
                  <a:pt x="1578003" y="3091258"/>
                </a:cubicBezTo>
                <a:lnTo>
                  <a:pt x="1580733" y="3085798"/>
                </a:lnTo>
                <a:lnTo>
                  <a:pt x="1579824" y="3085798"/>
                </a:lnTo>
                <a:lnTo>
                  <a:pt x="1581036" y="3085193"/>
                </a:lnTo>
                <a:lnTo>
                  <a:pt x="1583470" y="3080326"/>
                </a:lnTo>
                <a:cubicBezTo>
                  <a:pt x="1588936" y="3080326"/>
                  <a:pt x="1588936" y="3085792"/>
                  <a:pt x="1590758" y="3089436"/>
                </a:cubicBezTo>
                <a:cubicBezTo>
                  <a:pt x="1592580" y="3087614"/>
                  <a:pt x="1590758" y="3085792"/>
                  <a:pt x="1590758" y="3083970"/>
                </a:cubicBezTo>
                <a:cubicBezTo>
                  <a:pt x="1592580" y="3083970"/>
                  <a:pt x="1594403" y="3085792"/>
                  <a:pt x="1594403" y="3083970"/>
                </a:cubicBezTo>
                <a:cubicBezTo>
                  <a:pt x="1594403" y="3082148"/>
                  <a:pt x="1590758" y="3082148"/>
                  <a:pt x="1590758" y="3078504"/>
                </a:cubicBezTo>
                <a:cubicBezTo>
                  <a:pt x="1596225" y="3082148"/>
                  <a:pt x="1599869" y="3089436"/>
                  <a:pt x="1605336" y="3089436"/>
                </a:cubicBezTo>
                <a:cubicBezTo>
                  <a:pt x="1603513" y="3083970"/>
                  <a:pt x="1596225" y="3080326"/>
                  <a:pt x="1592580" y="3076682"/>
                </a:cubicBezTo>
                <a:cubicBezTo>
                  <a:pt x="1596225" y="3071214"/>
                  <a:pt x="1608980" y="3069392"/>
                  <a:pt x="1608980" y="3060283"/>
                </a:cubicBezTo>
                <a:cubicBezTo>
                  <a:pt x="1599869" y="3058459"/>
                  <a:pt x="1596225" y="3069392"/>
                  <a:pt x="1590758" y="3071214"/>
                </a:cubicBezTo>
                <a:cubicBezTo>
                  <a:pt x="1587114" y="3062102"/>
                  <a:pt x="1590758" y="3058459"/>
                  <a:pt x="1587114" y="3051171"/>
                </a:cubicBezTo>
                <a:cubicBezTo>
                  <a:pt x="1579825" y="3054815"/>
                  <a:pt x="1585292" y="3065749"/>
                  <a:pt x="1585292" y="3073036"/>
                </a:cubicBezTo>
                <a:cubicBezTo>
                  <a:pt x="1581647" y="3073036"/>
                  <a:pt x="1583470" y="3069392"/>
                  <a:pt x="1581647" y="3069392"/>
                </a:cubicBezTo>
                <a:cubicBezTo>
                  <a:pt x="1579825" y="3069392"/>
                  <a:pt x="1581647" y="3073036"/>
                  <a:pt x="1579825" y="3073036"/>
                </a:cubicBezTo>
                <a:cubicBezTo>
                  <a:pt x="1578003" y="3073036"/>
                  <a:pt x="1574359" y="3073036"/>
                  <a:pt x="1572537" y="3073036"/>
                </a:cubicBezTo>
                <a:cubicBezTo>
                  <a:pt x="1567070" y="3078504"/>
                  <a:pt x="1576181" y="3082148"/>
                  <a:pt x="1579825" y="3078504"/>
                </a:cubicBezTo>
                <a:cubicBezTo>
                  <a:pt x="1578003" y="3082148"/>
                  <a:pt x="1574359" y="3087614"/>
                  <a:pt x="1570714" y="3089436"/>
                </a:cubicBezTo>
                <a:cubicBezTo>
                  <a:pt x="1567070" y="3100370"/>
                  <a:pt x="1556137" y="3107657"/>
                  <a:pt x="1548848" y="3116769"/>
                </a:cubicBezTo>
                <a:cubicBezTo>
                  <a:pt x="1545204" y="3116769"/>
                  <a:pt x="1545204" y="3116769"/>
                  <a:pt x="1543382" y="3118591"/>
                </a:cubicBezTo>
                <a:cubicBezTo>
                  <a:pt x="1539737" y="3124057"/>
                  <a:pt x="1534271" y="3129525"/>
                  <a:pt x="1525160" y="3131347"/>
                </a:cubicBezTo>
                <a:cubicBezTo>
                  <a:pt x="1519693" y="3134991"/>
                  <a:pt x="1514228" y="3136813"/>
                  <a:pt x="1508760" y="3138635"/>
                </a:cubicBezTo>
                <a:cubicBezTo>
                  <a:pt x="1499650" y="3142278"/>
                  <a:pt x="1492361" y="3153212"/>
                  <a:pt x="1481428" y="3155034"/>
                </a:cubicBezTo>
                <a:cubicBezTo>
                  <a:pt x="1479606" y="3158678"/>
                  <a:pt x="1475961" y="3160500"/>
                  <a:pt x="1472317" y="3162322"/>
                </a:cubicBezTo>
                <a:cubicBezTo>
                  <a:pt x="1490539" y="3134991"/>
                  <a:pt x="1506938" y="3104013"/>
                  <a:pt x="1523339" y="3074858"/>
                </a:cubicBezTo>
                <a:cubicBezTo>
                  <a:pt x="1525160" y="3073036"/>
                  <a:pt x="1528804" y="3071214"/>
                  <a:pt x="1528804" y="3069392"/>
                </a:cubicBezTo>
                <a:cubicBezTo>
                  <a:pt x="1526982" y="3067570"/>
                  <a:pt x="1526982" y="3067570"/>
                  <a:pt x="1525160" y="3067570"/>
                </a:cubicBezTo>
                <a:cubicBezTo>
                  <a:pt x="1528804" y="3051171"/>
                  <a:pt x="1539737" y="3038415"/>
                  <a:pt x="1547026" y="3023840"/>
                </a:cubicBezTo>
                <a:cubicBezTo>
                  <a:pt x="1548848" y="3023840"/>
                  <a:pt x="1550670" y="3023840"/>
                  <a:pt x="1550670" y="3022018"/>
                </a:cubicBezTo>
                <a:cubicBezTo>
                  <a:pt x="1552492" y="3020194"/>
                  <a:pt x="1550670" y="3018372"/>
                  <a:pt x="1550670" y="3016550"/>
                </a:cubicBezTo>
                <a:cubicBezTo>
                  <a:pt x="1554315" y="3009260"/>
                  <a:pt x="1556137" y="3001972"/>
                  <a:pt x="1563426" y="2996506"/>
                </a:cubicBezTo>
                <a:cubicBezTo>
                  <a:pt x="1563426" y="2996506"/>
                  <a:pt x="1561603" y="2994684"/>
                  <a:pt x="1561603" y="2992863"/>
                </a:cubicBezTo>
                <a:cubicBezTo>
                  <a:pt x="1565248" y="2983751"/>
                  <a:pt x="1570714" y="2970997"/>
                  <a:pt x="1578003" y="2961885"/>
                </a:cubicBezTo>
                <a:cubicBezTo>
                  <a:pt x="1581647" y="2954597"/>
                  <a:pt x="1583470" y="2949129"/>
                  <a:pt x="1592580" y="2947308"/>
                </a:cubicBezTo>
                <a:cubicBezTo>
                  <a:pt x="1592580" y="2947308"/>
                  <a:pt x="1592580" y="2945486"/>
                  <a:pt x="1592580" y="2943664"/>
                </a:cubicBezTo>
                <a:cubicBezTo>
                  <a:pt x="1592580" y="2941842"/>
                  <a:pt x="1590758" y="2941842"/>
                  <a:pt x="1588936" y="2941842"/>
                </a:cubicBezTo>
                <a:cubicBezTo>
                  <a:pt x="1592580" y="2936374"/>
                  <a:pt x="1594403" y="2927264"/>
                  <a:pt x="1601691" y="2921798"/>
                </a:cubicBezTo>
                <a:cubicBezTo>
                  <a:pt x="1603513" y="2919977"/>
                  <a:pt x="1603513" y="2918154"/>
                  <a:pt x="1605336" y="2916330"/>
                </a:cubicBezTo>
                <a:cubicBezTo>
                  <a:pt x="1607158" y="2912686"/>
                  <a:pt x="1610802" y="2910865"/>
                  <a:pt x="1614447" y="2907221"/>
                </a:cubicBezTo>
                <a:cubicBezTo>
                  <a:pt x="1619913" y="2901755"/>
                  <a:pt x="1621735" y="2899931"/>
                  <a:pt x="1629024" y="2896287"/>
                </a:cubicBezTo>
                <a:cubicBezTo>
                  <a:pt x="1629024" y="2894465"/>
                  <a:pt x="1629024" y="2892643"/>
                  <a:pt x="1629024" y="2890821"/>
                </a:cubicBezTo>
                <a:cubicBezTo>
                  <a:pt x="1632669" y="2887177"/>
                  <a:pt x="1634491" y="2881709"/>
                  <a:pt x="1641780" y="2879887"/>
                </a:cubicBezTo>
                <a:cubicBezTo>
                  <a:pt x="1641780" y="2878066"/>
                  <a:pt x="1639957" y="2878066"/>
                  <a:pt x="1639957" y="2876243"/>
                </a:cubicBezTo>
                <a:cubicBezTo>
                  <a:pt x="1647246" y="2865312"/>
                  <a:pt x="1654534" y="2856200"/>
                  <a:pt x="1667289" y="2848912"/>
                </a:cubicBezTo>
                <a:cubicBezTo>
                  <a:pt x="1669112" y="2848912"/>
                  <a:pt x="1672756" y="2848912"/>
                  <a:pt x="1672756" y="2845266"/>
                </a:cubicBezTo>
                <a:cubicBezTo>
                  <a:pt x="1670935" y="2843444"/>
                  <a:pt x="1669112" y="2845266"/>
                  <a:pt x="1669112" y="2843444"/>
                </a:cubicBezTo>
                <a:cubicBezTo>
                  <a:pt x="1676400" y="2836156"/>
                  <a:pt x="1687333" y="2830688"/>
                  <a:pt x="1696444" y="2823401"/>
                </a:cubicBezTo>
                <a:cubicBezTo>
                  <a:pt x="1698266" y="2819757"/>
                  <a:pt x="1701911" y="2816113"/>
                  <a:pt x="1700089" y="2812469"/>
                </a:cubicBezTo>
                <a:cubicBezTo>
                  <a:pt x="1696444" y="2819757"/>
                  <a:pt x="1687333" y="2830688"/>
                  <a:pt x="1676400" y="2832512"/>
                </a:cubicBezTo>
                <a:cubicBezTo>
                  <a:pt x="1669112" y="2839800"/>
                  <a:pt x="1661824" y="2847090"/>
                  <a:pt x="1652713" y="2854378"/>
                </a:cubicBezTo>
                <a:cubicBezTo>
                  <a:pt x="1650890" y="2852556"/>
                  <a:pt x="1650890" y="2850734"/>
                  <a:pt x="1647246" y="2852556"/>
                </a:cubicBezTo>
                <a:cubicBezTo>
                  <a:pt x="1645423" y="2854378"/>
                  <a:pt x="1647246" y="2856200"/>
                  <a:pt x="1647246" y="2858022"/>
                </a:cubicBezTo>
                <a:cubicBezTo>
                  <a:pt x="1638135" y="2874422"/>
                  <a:pt x="1625380" y="2888999"/>
                  <a:pt x="1612624" y="2903577"/>
                </a:cubicBezTo>
                <a:cubicBezTo>
                  <a:pt x="1612624" y="2899931"/>
                  <a:pt x="1610802" y="2899931"/>
                  <a:pt x="1608980" y="2899931"/>
                </a:cubicBezTo>
                <a:cubicBezTo>
                  <a:pt x="1607158" y="2899931"/>
                  <a:pt x="1605336" y="2901755"/>
                  <a:pt x="1603513" y="2901755"/>
                </a:cubicBezTo>
                <a:cubicBezTo>
                  <a:pt x="1601691" y="2901755"/>
                  <a:pt x="1605336" y="2898111"/>
                  <a:pt x="1603513" y="2896287"/>
                </a:cubicBezTo>
                <a:cubicBezTo>
                  <a:pt x="1608980" y="2890821"/>
                  <a:pt x="1619913" y="2887177"/>
                  <a:pt x="1619913" y="2879887"/>
                </a:cubicBezTo>
                <a:cubicBezTo>
                  <a:pt x="1612624" y="2879887"/>
                  <a:pt x="1603513" y="2885355"/>
                  <a:pt x="1603513" y="2890821"/>
                </a:cubicBezTo>
                <a:cubicBezTo>
                  <a:pt x="1605336" y="2881709"/>
                  <a:pt x="1610802" y="2868956"/>
                  <a:pt x="1601691" y="2858022"/>
                </a:cubicBezTo>
                <a:cubicBezTo>
                  <a:pt x="1594403" y="2861666"/>
                  <a:pt x="1592580" y="2867134"/>
                  <a:pt x="1594403" y="2874422"/>
                </a:cubicBezTo>
                <a:cubicBezTo>
                  <a:pt x="1592580" y="2872599"/>
                  <a:pt x="1590758" y="2867134"/>
                  <a:pt x="1587114" y="2867134"/>
                </a:cubicBezTo>
                <a:cubicBezTo>
                  <a:pt x="1583470" y="2868956"/>
                  <a:pt x="1587114" y="2876243"/>
                  <a:pt x="1587114" y="2878066"/>
                </a:cubicBezTo>
                <a:cubicBezTo>
                  <a:pt x="1585292" y="2876243"/>
                  <a:pt x="1583470" y="2874422"/>
                  <a:pt x="1579825" y="2874422"/>
                </a:cubicBezTo>
                <a:cubicBezTo>
                  <a:pt x="1578003" y="2883531"/>
                  <a:pt x="1590758" y="2898111"/>
                  <a:pt x="1594403" y="2903577"/>
                </a:cubicBezTo>
                <a:lnTo>
                  <a:pt x="1592887" y="2904333"/>
                </a:lnTo>
                <a:lnTo>
                  <a:pt x="1594402" y="2907235"/>
                </a:lnTo>
                <a:lnTo>
                  <a:pt x="1593515" y="2907235"/>
                </a:lnTo>
                <a:lnTo>
                  <a:pt x="1596225" y="2909043"/>
                </a:lnTo>
                <a:cubicBezTo>
                  <a:pt x="1596225" y="2912686"/>
                  <a:pt x="1594403" y="2916330"/>
                  <a:pt x="1598047" y="2919977"/>
                </a:cubicBezTo>
                <a:cubicBezTo>
                  <a:pt x="1588936" y="2932730"/>
                  <a:pt x="1581647" y="2949129"/>
                  <a:pt x="1572537" y="2961885"/>
                </a:cubicBezTo>
                <a:cubicBezTo>
                  <a:pt x="1570714" y="2963707"/>
                  <a:pt x="1570714" y="2961885"/>
                  <a:pt x="1568892" y="2961885"/>
                </a:cubicBezTo>
                <a:cubicBezTo>
                  <a:pt x="1567070" y="2961885"/>
                  <a:pt x="1567070" y="2965529"/>
                  <a:pt x="1568892" y="2967351"/>
                </a:cubicBezTo>
                <a:cubicBezTo>
                  <a:pt x="1557959" y="2992863"/>
                  <a:pt x="1545204" y="3016550"/>
                  <a:pt x="1530626" y="3040237"/>
                </a:cubicBezTo>
                <a:cubicBezTo>
                  <a:pt x="1530626" y="3038415"/>
                  <a:pt x="1530626" y="3038415"/>
                  <a:pt x="1528804" y="3038415"/>
                </a:cubicBezTo>
                <a:cubicBezTo>
                  <a:pt x="1526982" y="3040237"/>
                  <a:pt x="1528804" y="3043883"/>
                  <a:pt x="1528804" y="3045705"/>
                </a:cubicBezTo>
                <a:cubicBezTo>
                  <a:pt x="1523339" y="3060283"/>
                  <a:pt x="1517871" y="3074858"/>
                  <a:pt x="1508760" y="3087614"/>
                </a:cubicBezTo>
                <a:cubicBezTo>
                  <a:pt x="1506938" y="3087614"/>
                  <a:pt x="1506938" y="3085792"/>
                  <a:pt x="1505117" y="3087614"/>
                </a:cubicBezTo>
                <a:cubicBezTo>
                  <a:pt x="1497827" y="3111301"/>
                  <a:pt x="1483250" y="3133169"/>
                  <a:pt x="1468673" y="3155034"/>
                </a:cubicBezTo>
                <a:lnTo>
                  <a:pt x="1466850" y="3155034"/>
                </a:lnTo>
                <a:cubicBezTo>
                  <a:pt x="1466850" y="3162322"/>
                  <a:pt x="1457739" y="3165966"/>
                  <a:pt x="1452273" y="3169612"/>
                </a:cubicBezTo>
                <a:cubicBezTo>
                  <a:pt x="1452273" y="3165966"/>
                  <a:pt x="1452273" y="3158678"/>
                  <a:pt x="1446806" y="3165966"/>
                </a:cubicBezTo>
                <a:cubicBezTo>
                  <a:pt x="1444984" y="3165966"/>
                  <a:pt x="1444984" y="3164144"/>
                  <a:pt x="1443162" y="3164144"/>
                </a:cubicBezTo>
                <a:cubicBezTo>
                  <a:pt x="1441340" y="3167790"/>
                  <a:pt x="1446806" y="3171434"/>
                  <a:pt x="1444984" y="3175078"/>
                </a:cubicBezTo>
                <a:cubicBezTo>
                  <a:pt x="1430407" y="3178721"/>
                  <a:pt x="1417652" y="3189655"/>
                  <a:pt x="1403074" y="3191477"/>
                </a:cubicBezTo>
                <a:cubicBezTo>
                  <a:pt x="1401252" y="3187833"/>
                  <a:pt x="1404896" y="3186011"/>
                  <a:pt x="1406719" y="3182367"/>
                </a:cubicBezTo>
                <a:cubicBezTo>
                  <a:pt x="1404896" y="3180544"/>
                  <a:pt x="1403074" y="3178721"/>
                  <a:pt x="1399430" y="3178721"/>
                </a:cubicBezTo>
                <a:cubicBezTo>
                  <a:pt x="1397608" y="3180544"/>
                  <a:pt x="1399430" y="3182367"/>
                  <a:pt x="1399430" y="3184189"/>
                </a:cubicBezTo>
                <a:cubicBezTo>
                  <a:pt x="1397608" y="3187833"/>
                  <a:pt x="1399430" y="3189655"/>
                  <a:pt x="1397608" y="3193299"/>
                </a:cubicBezTo>
                <a:cubicBezTo>
                  <a:pt x="1390319" y="3198765"/>
                  <a:pt x="1383030" y="3195121"/>
                  <a:pt x="1375743" y="3195121"/>
                </a:cubicBezTo>
                <a:cubicBezTo>
                  <a:pt x="1359342" y="3193299"/>
                  <a:pt x="1342942" y="3189655"/>
                  <a:pt x="1328365" y="3187833"/>
                </a:cubicBezTo>
                <a:cubicBezTo>
                  <a:pt x="1333832" y="3178721"/>
                  <a:pt x="1339299" y="3169612"/>
                  <a:pt x="1344765" y="3162322"/>
                </a:cubicBezTo>
                <a:cubicBezTo>
                  <a:pt x="1348410" y="3162322"/>
                  <a:pt x="1352053" y="3162322"/>
                  <a:pt x="1355698" y="3160500"/>
                </a:cubicBezTo>
                <a:cubicBezTo>
                  <a:pt x="1355698" y="3158678"/>
                  <a:pt x="1355698" y="3156856"/>
                  <a:pt x="1353876" y="3156856"/>
                </a:cubicBezTo>
                <a:cubicBezTo>
                  <a:pt x="1355698" y="3155034"/>
                  <a:pt x="1359342" y="3158678"/>
                  <a:pt x="1361164" y="3155034"/>
                </a:cubicBezTo>
                <a:cubicBezTo>
                  <a:pt x="1359342" y="3151390"/>
                  <a:pt x="1353876" y="3153212"/>
                  <a:pt x="1352053" y="3149568"/>
                </a:cubicBezTo>
                <a:cubicBezTo>
                  <a:pt x="1355698" y="3147744"/>
                  <a:pt x="1355698" y="3142278"/>
                  <a:pt x="1359342" y="3140456"/>
                </a:cubicBezTo>
                <a:cubicBezTo>
                  <a:pt x="1359342" y="3138635"/>
                  <a:pt x="1359342" y="3138635"/>
                  <a:pt x="1359342" y="3138635"/>
                </a:cubicBezTo>
                <a:lnTo>
                  <a:pt x="1364809" y="3140456"/>
                </a:lnTo>
                <a:cubicBezTo>
                  <a:pt x="1430407" y="3107657"/>
                  <a:pt x="1384854" y="3134991"/>
                  <a:pt x="1399430" y="3093080"/>
                </a:cubicBezTo>
                <a:cubicBezTo>
                  <a:pt x="1397608" y="3091258"/>
                  <a:pt x="1393963" y="3089436"/>
                  <a:pt x="1390319" y="3085792"/>
                </a:cubicBezTo>
                <a:cubicBezTo>
                  <a:pt x="1388497" y="3085792"/>
                  <a:pt x="1388497" y="3083970"/>
                  <a:pt x="1388497" y="3083970"/>
                </a:cubicBezTo>
                <a:cubicBezTo>
                  <a:pt x="1388497" y="3083970"/>
                  <a:pt x="1390319" y="3083970"/>
                  <a:pt x="1390319" y="3083970"/>
                </a:cubicBezTo>
                <a:cubicBezTo>
                  <a:pt x="1390319" y="3085792"/>
                  <a:pt x="1392141" y="3085792"/>
                  <a:pt x="1392141" y="3085792"/>
                </a:cubicBezTo>
                <a:cubicBezTo>
                  <a:pt x="1395787" y="3089436"/>
                  <a:pt x="1395787" y="3089436"/>
                  <a:pt x="1399430" y="3091258"/>
                </a:cubicBezTo>
                <a:cubicBezTo>
                  <a:pt x="1395787" y="3085792"/>
                  <a:pt x="1393963" y="3083970"/>
                  <a:pt x="1392141" y="3080326"/>
                </a:cubicBezTo>
                <a:cubicBezTo>
                  <a:pt x="1395787" y="3080326"/>
                  <a:pt x="1399430" y="3080326"/>
                  <a:pt x="1401252" y="3076682"/>
                </a:cubicBezTo>
                <a:cubicBezTo>
                  <a:pt x="1401252" y="3074858"/>
                  <a:pt x="1397608" y="3074858"/>
                  <a:pt x="1399430" y="3073036"/>
                </a:cubicBezTo>
                <a:cubicBezTo>
                  <a:pt x="1401252" y="3073036"/>
                  <a:pt x="1404896" y="3073036"/>
                  <a:pt x="1406719" y="3073036"/>
                </a:cubicBezTo>
                <a:cubicBezTo>
                  <a:pt x="1404896" y="3069392"/>
                  <a:pt x="1406719" y="3069392"/>
                  <a:pt x="1406719" y="3065749"/>
                </a:cubicBezTo>
                <a:cubicBezTo>
                  <a:pt x="1404896" y="3063926"/>
                  <a:pt x="1403074" y="3065749"/>
                  <a:pt x="1399430" y="3067570"/>
                </a:cubicBezTo>
                <a:cubicBezTo>
                  <a:pt x="1401252" y="3060283"/>
                  <a:pt x="1404896" y="3052993"/>
                  <a:pt x="1410363" y="3047527"/>
                </a:cubicBezTo>
                <a:cubicBezTo>
                  <a:pt x="1410363" y="3040237"/>
                  <a:pt x="1415829" y="3036593"/>
                  <a:pt x="1419474" y="3031127"/>
                </a:cubicBezTo>
                <a:cubicBezTo>
                  <a:pt x="1419474" y="3029306"/>
                  <a:pt x="1417652" y="3029306"/>
                  <a:pt x="1417652" y="3029306"/>
                </a:cubicBezTo>
                <a:cubicBezTo>
                  <a:pt x="1419474" y="3020194"/>
                  <a:pt x="1426763" y="3012906"/>
                  <a:pt x="1430407" y="3003796"/>
                </a:cubicBezTo>
                <a:cubicBezTo>
                  <a:pt x="1432229" y="3001972"/>
                  <a:pt x="1434051" y="3005616"/>
                  <a:pt x="1437696" y="3005616"/>
                </a:cubicBezTo>
                <a:cubicBezTo>
                  <a:pt x="1437696" y="3001972"/>
                  <a:pt x="1434051" y="3001972"/>
                  <a:pt x="1434051" y="3000150"/>
                </a:cubicBezTo>
                <a:cubicBezTo>
                  <a:pt x="1435873" y="3000150"/>
                  <a:pt x="1437696" y="2998328"/>
                  <a:pt x="1437696" y="2998328"/>
                </a:cubicBezTo>
                <a:cubicBezTo>
                  <a:pt x="1435873" y="2996506"/>
                  <a:pt x="1434051" y="2996506"/>
                  <a:pt x="1434051" y="2996506"/>
                </a:cubicBezTo>
                <a:cubicBezTo>
                  <a:pt x="1432229" y="2994684"/>
                  <a:pt x="1435873" y="2994684"/>
                  <a:pt x="1434051" y="2992863"/>
                </a:cubicBezTo>
                <a:cubicBezTo>
                  <a:pt x="1432229" y="2992863"/>
                  <a:pt x="1430407" y="2996506"/>
                  <a:pt x="1428585" y="2994684"/>
                </a:cubicBezTo>
                <a:cubicBezTo>
                  <a:pt x="1426763" y="2996506"/>
                  <a:pt x="1426763" y="2998328"/>
                  <a:pt x="1426763" y="3000150"/>
                </a:cubicBezTo>
                <a:lnTo>
                  <a:pt x="1423118" y="3001972"/>
                </a:lnTo>
                <a:cubicBezTo>
                  <a:pt x="1423118" y="3003796"/>
                  <a:pt x="1423118" y="3003796"/>
                  <a:pt x="1424940" y="3003796"/>
                </a:cubicBezTo>
                <a:cubicBezTo>
                  <a:pt x="1419474" y="3009260"/>
                  <a:pt x="1419474" y="3016550"/>
                  <a:pt x="1414007" y="3020194"/>
                </a:cubicBezTo>
                <a:cubicBezTo>
                  <a:pt x="1414007" y="3029306"/>
                  <a:pt x="1408541" y="3034771"/>
                  <a:pt x="1404896" y="3040237"/>
                </a:cubicBezTo>
                <a:cubicBezTo>
                  <a:pt x="1397608" y="3051171"/>
                  <a:pt x="1395787" y="3063926"/>
                  <a:pt x="1386676" y="3071214"/>
                </a:cubicBezTo>
                <a:cubicBezTo>
                  <a:pt x="1386676" y="3069392"/>
                  <a:pt x="1384854" y="3069392"/>
                  <a:pt x="1384854" y="3069392"/>
                </a:cubicBezTo>
                <a:cubicBezTo>
                  <a:pt x="1383030" y="3071214"/>
                  <a:pt x="1383030" y="3073036"/>
                  <a:pt x="1381208" y="3074858"/>
                </a:cubicBezTo>
                <a:cubicBezTo>
                  <a:pt x="1379386" y="3073036"/>
                  <a:pt x="1379386" y="3073036"/>
                  <a:pt x="1377564" y="3069392"/>
                </a:cubicBezTo>
                <a:cubicBezTo>
                  <a:pt x="1377564" y="3069392"/>
                  <a:pt x="1375743" y="3069392"/>
                  <a:pt x="1375743" y="3069392"/>
                </a:cubicBezTo>
                <a:lnTo>
                  <a:pt x="1355698" y="3083970"/>
                </a:lnTo>
                <a:lnTo>
                  <a:pt x="1377206" y="3085624"/>
                </a:lnTo>
                <a:lnTo>
                  <a:pt x="1373919" y="3083981"/>
                </a:lnTo>
                <a:cubicBezTo>
                  <a:pt x="1372097" y="3080337"/>
                  <a:pt x="1372097" y="3080337"/>
                  <a:pt x="1370274" y="3078515"/>
                </a:cubicBezTo>
                <a:cubicBezTo>
                  <a:pt x="1372097" y="3080337"/>
                  <a:pt x="1373919" y="3080337"/>
                  <a:pt x="1375741" y="3082161"/>
                </a:cubicBezTo>
                <a:lnTo>
                  <a:pt x="1377484" y="3085647"/>
                </a:lnTo>
                <a:lnTo>
                  <a:pt x="1379386" y="3085792"/>
                </a:lnTo>
                <a:lnTo>
                  <a:pt x="1362987" y="3098548"/>
                </a:lnTo>
                <a:lnTo>
                  <a:pt x="1348410" y="3091258"/>
                </a:lnTo>
                <a:lnTo>
                  <a:pt x="1333832" y="3091258"/>
                </a:lnTo>
                <a:lnTo>
                  <a:pt x="1319254" y="3069392"/>
                </a:lnTo>
                <a:lnTo>
                  <a:pt x="1326543" y="3060283"/>
                </a:lnTo>
                <a:lnTo>
                  <a:pt x="1346587" y="3074858"/>
                </a:lnTo>
                <a:lnTo>
                  <a:pt x="1362987" y="3062102"/>
                </a:lnTo>
                <a:cubicBezTo>
                  <a:pt x="1361164" y="3058459"/>
                  <a:pt x="1359342" y="3054815"/>
                  <a:pt x="1359342" y="3052993"/>
                </a:cubicBezTo>
                <a:cubicBezTo>
                  <a:pt x="1357521" y="3051171"/>
                  <a:pt x="1355698" y="3047527"/>
                  <a:pt x="1353876" y="3045705"/>
                </a:cubicBezTo>
                <a:cubicBezTo>
                  <a:pt x="1352053" y="3042059"/>
                  <a:pt x="1350231" y="3038415"/>
                  <a:pt x="1348410" y="3036593"/>
                </a:cubicBezTo>
                <a:lnTo>
                  <a:pt x="1333832" y="3047527"/>
                </a:lnTo>
                <a:lnTo>
                  <a:pt x="1324721" y="3031127"/>
                </a:lnTo>
                <a:lnTo>
                  <a:pt x="1302855" y="3047527"/>
                </a:lnTo>
                <a:lnTo>
                  <a:pt x="1302855" y="3023840"/>
                </a:lnTo>
                <a:lnTo>
                  <a:pt x="1280989" y="3040237"/>
                </a:lnTo>
                <a:cubicBezTo>
                  <a:pt x="1271878" y="3020194"/>
                  <a:pt x="1271878" y="3036593"/>
                  <a:pt x="1277344" y="3018372"/>
                </a:cubicBezTo>
                <a:lnTo>
                  <a:pt x="1271878" y="3003796"/>
                </a:lnTo>
                <a:lnTo>
                  <a:pt x="1250012" y="2994684"/>
                </a:lnTo>
                <a:lnTo>
                  <a:pt x="1250012" y="2980107"/>
                </a:lnTo>
                <a:lnTo>
                  <a:pt x="1233612" y="2981929"/>
                </a:lnTo>
                <a:lnTo>
                  <a:pt x="1250012" y="2994684"/>
                </a:lnTo>
                <a:lnTo>
                  <a:pt x="1182592" y="3016550"/>
                </a:lnTo>
                <a:cubicBezTo>
                  <a:pt x="1186236" y="2987395"/>
                  <a:pt x="1186236" y="2987395"/>
                  <a:pt x="1213568" y="2985572"/>
                </a:cubicBezTo>
                <a:lnTo>
                  <a:pt x="1213568" y="2970997"/>
                </a:lnTo>
                <a:lnTo>
                  <a:pt x="1198991" y="2970997"/>
                </a:lnTo>
                <a:cubicBezTo>
                  <a:pt x="1211747" y="2950954"/>
                  <a:pt x="1202636" y="2963707"/>
                  <a:pt x="1198991" y="2956417"/>
                </a:cubicBezTo>
                <a:cubicBezTo>
                  <a:pt x="1182592" y="2947308"/>
                  <a:pt x="1171658" y="2940020"/>
                  <a:pt x="1168014" y="2978285"/>
                </a:cubicBezTo>
                <a:cubicBezTo>
                  <a:pt x="1135215" y="2954597"/>
                  <a:pt x="1184414" y="2952773"/>
                  <a:pt x="1129748" y="2947308"/>
                </a:cubicBezTo>
                <a:lnTo>
                  <a:pt x="1129748" y="2925442"/>
                </a:lnTo>
                <a:cubicBezTo>
                  <a:pt x="1129748" y="2903577"/>
                  <a:pt x="1133393" y="2910865"/>
                  <a:pt x="1146148" y="2901755"/>
                </a:cubicBezTo>
                <a:lnTo>
                  <a:pt x="1142503" y="2896287"/>
                </a:lnTo>
                <a:cubicBezTo>
                  <a:pt x="1142503" y="2896287"/>
                  <a:pt x="1144326" y="2894465"/>
                  <a:pt x="1144326" y="2894465"/>
                </a:cubicBezTo>
                <a:cubicBezTo>
                  <a:pt x="1146148" y="2892643"/>
                  <a:pt x="1147970" y="2888999"/>
                  <a:pt x="1149792" y="2887177"/>
                </a:cubicBezTo>
                <a:lnTo>
                  <a:pt x="1151614" y="2887177"/>
                </a:lnTo>
                <a:lnTo>
                  <a:pt x="1153436" y="2885355"/>
                </a:lnTo>
                <a:cubicBezTo>
                  <a:pt x="1160725" y="2878066"/>
                  <a:pt x="1166192" y="2868956"/>
                  <a:pt x="1175303" y="2865312"/>
                </a:cubicBezTo>
                <a:cubicBezTo>
                  <a:pt x="1182592" y="2854378"/>
                  <a:pt x="1202636" y="2837979"/>
                  <a:pt x="1215390" y="2828868"/>
                </a:cubicBezTo>
                <a:cubicBezTo>
                  <a:pt x="1220858" y="2825223"/>
                  <a:pt x="1224501" y="2823401"/>
                  <a:pt x="1231790" y="2819757"/>
                </a:cubicBezTo>
                <a:cubicBezTo>
                  <a:pt x="1239080" y="2807001"/>
                  <a:pt x="1255478" y="2805179"/>
                  <a:pt x="1270056" y="2797891"/>
                </a:cubicBezTo>
                <a:cubicBezTo>
                  <a:pt x="1270056" y="2797891"/>
                  <a:pt x="1270056" y="2796068"/>
                  <a:pt x="1271878" y="2796068"/>
                </a:cubicBezTo>
                <a:cubicBezTo>
                  <a:pt x="1277344" y="2790601"/>
                  <a:pt x="1284633" y="2788780"/>
                  <a:pt x="1290100" y="2785136"/>
                </a:cubicBezTo>
                <a:cubicBezTo>
                  <a:pt x="1302855" y="2777846"/>
                  <a:pt x="1317432" y="2770558"/>
                  <a:pt x="1332009" y="2768736"/>
                </a:cubicBezTo>
                <a:cubicBezTo>
                  <a:pt x="1304677" y="2765092"/>
                  <a:pt x="1277344" y="2796068"/>
                  <a:pt x="1248189" y="2799711"/>
                </a:cubicBezTo>
                <a:cubicBezTo>
                  <a:pt x="1235434" y="2808823"/>
                  <a:pt x="1224501" y="2819757"/>
                  <a:pt x="1209925" y="2827045"/>
                </a:cubicBezTo>
                <a:cubicBezTo>
                  <a:pt x="1202636" y="2830688"/>
                  <a:pt x="1195346" y="2837979"/>
                  <a:pt x="1188058" y="2843444"/>
                </a:cubicBezTo>
                <a:cubicBezTo>
                  <a:pt x="1177125" y="2852556"/>
                  <a:pt x="1169836" y="2863488"/>
                  <a:pt x="1157081" y="2870778"/>
                </a:cubicBezTo>
                <a:lnTo>
                  <a:pt x="1158903" y="2865312"/>
                </a:lnTo>
                <a:lnTo>
                  <a:pt x="1153436" y="2856200"/>
                </a:lnTo>
                <a:cubicBezTo>
                  <a:pt x="1155259" y="2856200"/>
                  <a:pt x="1155259" y="2856200"/>
                  <a:pt x="1155259" y="2856200"/>
                </a:cubicBezTo>
                <a:cubicBezTo>
                  <a:pt x="1158903" y="2848912"/>
                  <a:pt x="1149792" y="2841622"/>
                  <a:pt x="1146148" y="2836156"/>
                </a:cubicBezTo>
                <a:cubicBezTo>
                  <a:pt x="1149792" y="2837979"/>
                  <a:pt x="1158903" y="2836156"/>
                  <a:pt x="1160725" y="2830688"/>
                </a:cubicBezTo>
                <a:cubicBezTo>
                  <a:pt x="1158903" y="2825223"/>
                  <a:pt x="1153436" y="2825223"/>
                  <a:pt x="1147970" y="2823401"/>
                </a:cubicBezTo>
                <a:cubicBezTo>
                  <a:pt x="1149792" y="2819757"/>
                  <a:pt x="1155259" y="2814291"/>
                  <a:pt x="1149792" y="2810645"/>
                </a:cubicBezTo>
                <a:cubicBezTo>
                  <a:pt x="1142503" y="2814291"/>
                  <a:pt x="1138859" y="2819757"/>
                  <a:pt x="1135215" y="2825223"/>
                </a:cubicBezTo>
                <a:cubicBezTo>
                  <a:pt x="1133393" y="2823401"/>
                  <a:pt x="1137037" y="2821579"/>
                  <a:pt x="1135215" y="2819757"/>
                </a:cubicBezTo>
                <a:cubicBezTo>
                  <a:pt x="1133393" y="2823401"/>
                  <a:pt x="1126104" y="2821579"/>
                  <a:pt x="1127926" y="2827045"/>
                </a:cubicBezTo>
                <a:cubicBezTo>
                  <a:pt x="1126104" y="2827045"/>
                  <a:pt x="1126104" y="2827045"/>
                  <a:pt x="1124282" y="2827045"/>
                </a:cubicBezTo>
                <a:cubicBezTo>
                  <a:pt x="1124282" y="2827045"/>
                  <a:pt x="1126104" y="2827045"/>
                  <a:pt x="1126104" y="2825223"/>
                </a:cubicBezTo>
                <a:cubicBezTo>
                  <a:pt x="1126104" y="2823401"/>
                  <a:pt x="1124282" y="2825223"/>
                  <a:pt x="1124282" y="2823401"/>
                </a:cubicBezTo>
                <a:cubicBezTo>
                  <a:pt x="1133393" y="2821579"/>
                  <a:pt x="1140681" y="2810645"/>
                  <a:pt x="1131570" y="2805179"/>
                </a:cubicBezTo>
                <a:cubicBezTo>
                  <a:pt x="1137037" y="2801535"/>
                  <a:pt x="1146148" y="2796068"/>
                  <a:pt x="1151614" y="2796068"/>
                </a:cubicBezTo>
                <a:cubicBezTo>
                  <a:pt x="1153436" y="2790601"/>
                  <a:pt x="1160725" y="2786957"/>
                  <a:pt x="1166192" y="2786957"/>
                </a:cubicBezTo>
                <a:cubicBezTo>
                  <a:pt x="1168014" y="2785136"/>
                  <a:pt x="1166192" y="2785136"/>
                  <a:pt x="1166192" y="2783314"/>
                </a:cubicBezTo>
                <a:cubicBezTo>
                  <a:pt x="1175303" y="2777846"/>
                  <a:pt x="1188058" y="2770558"/>
                  <a:pt x="1200814" y="2770558"/>
                </a:cubicBezTo>
                <a:cubicBezTo>
                  <a:pt x="1206279" y="2765092"/>
                  <a:pt x="1215390" y="2765092"/>
                  <a:pt x="1220858" y="2763270"/>
                </a:cubicBezTo>
                <a:cubicBezTo>
                  <a:pt x="1220858" y="2757802"/>
                  <a:pt x="1213568" y="2763270"/>
                  <a:pt x="1211747" y="2759624"/>
                </a:cubicBezTo>
                <a:cubicBezTo>
                  <a:pt x="1204457" y="2763270"/>
                  <a:pt x="1195346" y="2766914"/>
                  <a:pt x="1188058" y="2768736"/>
                </a:cubicBezTo>
                <a:cubicBezTo>
                  <a:pt x="1188058" y="2766914"/>
                  <a:pt x="1189880" y="2766914"/>
                  <a:pt x="1189880" y="2763270"/>
                </a:cubicBezTo>
                <a:cubicBezTo>
                  <a:pt x="1188058" y="2761448"/>
                  <a:pt x="1182592" y="2765092"/>
                  <a:pt x="1184414" y="2768736"/>
                </a:cubicBezTo>
                <a:cubicBezTo>
                  <a:pt x="1173481" y="2776024"/>
                  <a:pt x="1162547" y="2783314"/>
                  <a:pt x="1151614" y="2790601"/>
                </a:cubicBezTo>
                <a:cubicBezTo>
                  <a:pt x="1149792" y="2790601"/>
                  <a:pt x="1149792" y="2790601"/>
                  <a:pt x="1147970" y="2790601"/>
                </a:cubicBezTo>
                <a:cubicBezTo>
                  <a:pt x="1144326" y="2794247"/>
                  <a:pt x="1138859" y="2796068"/>
                  <a:pt x="1133393" y="2799711"/>
                </a:cubicBezTo>
                <a:cubicBezTo>
                  <a:pt x="1131570" y="2799711"/>
                  <a:pt x="1133393" y="2799711"/>
                  <a:pt x="1133393" y="2797891"/>
                </a:cubicBezTo>
                <a:cubicBezTo>
                  <a:pt x="1131570" y="2792424"/>
                  <a:pt x="1127926" y="2786957"/>
                  <a:pt x="1124282" y="2785136"/>
                </a:cubicBezTo>
                <a:cubicBezTo>
                  <a:pt x="1120637" y="2783314"/>
                  <a:pt x="1115171" y="2785136"/>
                  <a:pt x="1113349" y="2779669"/>
                </a:cubicBezTo>
                <a:cubicBezTo>
                  <a:pt x="1116993" y="2783314"/>
                  <a:pt x="1120637" y="2779669"/>
                  <a:pt x="1126104" y="2777846"/>
                </a:cubicBezTo>
                <a:cubicBezTo>
                  <a:pt x="1131570" y="2776024"/>
                  <a:pt x="1137037" y="2776024"/>
                  <a:pt x="1138859" y="2770558"/>
                </a:cubicBezTo>
                <a:cubicBezTo>
                  <a:pt x="1131570" y="2768736"/>
                  <a:pt x="1118815" y="2777846"/>
                  <a:pt x="1113349" y="2770558"/>
                </a:cubicBezTo>
                <a:cubicBezTo>
                  <a:pt x="1124282" y="2770558"/>
                  <a:pt x="1133393" y="2765092"/>
                  <a:pt x="1137037" y="2757802"/>
                </a:cubicBezTo>
                <a:cubicBezTo>
                  <a:pt x="1138859" y="2757802"/>
                  <a:pt x="1142503" y="2757802"/>
                  <a:pt x="1144326" y="2755980"/>
                </a:cubicBezTo>
                <a:cubicBezTo>
                  <a:pt x="1142503" y="2754158"/>
                  <a:pt x="1138859" y="2755980"/>
                  <a:pt x="1137037" y="2755980"/>
                </a:cubicBezTo>
                <a:cubicBezTo>
                  <a:pt x="1137037" y="2754158"/>
                  <a:pt x="1133393" y="2752336"/>
                  <a:pt x="1133393" y="2750514"/>
                </a:cubicBezTo>
                <a:cubicBezTo>
                  <a:pt x="1135215" y="2748693"/>
                  <a:pt x="1140681" y="2746869"/>
                  <a:pt x="1144326" y="2746869"/>
                </a:cubicBezTo>
                <a:cubicBezTo>
                  <a:pt x="1151614" y="2746869"/>
                  <a:pt x="1157081" y="2743225"/>
                  <a:pt x="1162547" y="2746869"/>
                </a:cubicBezTo>
                <a:cubicBezTo>
                  <a:pt x="1164370" y="2746869"/>
                  <a:pt x="1164370" y="2745047"/>
                  <a:pt x="1164370" y="2743225"/>
                </a:cubicBezTo>
                <a:cubicBezTo>
                  <a:pt x="1184414" y="2739581"/>
                  <a:pt x="1204457" y="2735937"/>
                  <a:pt x="1222679" y="2734114"/>
                </a:cubicBezTo>
                <a:cubicBezTo>
                  <a:pt x="1224501" y="2737758"/>
                  <a:pt x="1226323" y="2741403"/>
                  <a:pt x="1229969" y="2743225"/>
                </a:cubicBezTo>
                <a:cubicBezTo>
                  <a:pt x="1231790" y="2741403"/>
                  <a:pt x="1233612" y="2739581"/>
                  <a:pt x="1233612" y="2737758"/>
                </a:cubicBezTo>
                <a:cubicBezTo>
                  <a:pt x="1235434" y="2737758"/>
                  <a:pt x="1237256" y="2739581"/>
                  <a:pt x="1239080" y="2737758"/>
                </a:cubicBezTo>
                <a:cubicBezTo>
                  <a:pt x="1240901" y="2741403"/>
                  <a:pt x="1244545" y="2741403"/>
                  <a:pt x="1246367" y="2743225"/>
                </a:cubicBezTo>
                <a:cubicBezTo>
                  <a:pt x="1250012" y="2752336"/>
                  <a:pt x="1255478" y="2755980"/>
                  <a:pt x="1260945" y="2759624"/>
                </a:cubicBezTo>
                <a:cubicBezTo>
                  <a:pt x="1262767" y="2754158"/>
                  <a:pt x="1260945" y="2748693"/>
                  <a:pt x="1257300" y="2745047"/>
                </a:cubicBezTo>
                <a:cubicBezTo>
                  <a:pt x="1262767" y="2745047"/>
                  <a:pt x="1264589" y="2750514"/>
                  <a:pt x="1266411" y="2754158"/>
                </a:cubicBezTo>
                <a:cubicBezTo>
                  <a:pt x="1268233" y="2752336"/>
                  <a:pt x="1268233" y="2752336"/>
                  <a:pt x="1268233" y="2750514"/>
                </a:cubicBezTo>
                <a:cubicBezTo>
                  <a:pt x="1273700" y="2752336"/>
                  <a:pt x="1279166" y="2755980"/>
                  <a:pt x="1284633" y="2757802"/>
                </a:cubicBezTo>
                <a:cubicBezTo>
                  <a:pt x="1286455" y="2754158"/>
                  <a:pt x="1291922" y="2757802"/>
                  <a:pt x="1295566" y="2754158"/>
                </a:cubicBezTo>
                <a:cubicBezTo>
                  <a:pt x="1291922" y="2745047"/>
                  <a:pt x="1288277" y="2743225"/>
                  <a:pt x="1282811" y="2741403"/>
                </a:cubicBezTo>
                <a:cubicBezTo>
                  <a:pt x="1282811" y="2739581"/>
                  <a:pt x="1290100" y="2739581"/>
                  <a:pt x="1290100" y="2735937"/>
                </a:cubicBezTo>
                <a:cubicBezTo>
                  <a:pt x="1290100" y="2732292"/>
                  <a:pt x="1288277" y="2734114"/>
                  <a:pt x="1286455" y="2732292"/>
                </a:cubicBezTo>
                <a:cubicBezTo>
                  <a:pt x="1288277" y="2730469"/>
                  <a:pt x="1291922" y="2728648"/>
                  <a:pt x="1291922" y="2726824"/>
                </a:cubicBezTo>
                <a:cubicBezTo>
                  <a:pt x="1288277" y="2721359"/>
                  <a:pt x="1280989" y="2723181"/>
                  <a:pt x="1275522" y="2725003"/>
                </a:cubicBezTo>
                <a:cubicBezTo>
                  <a:pt x="1275522" y="2721359"/>
                  <a:pt x="1280989" y="2721359"/>
                  <a:pt x="1280989" y="2719537"/>
                </a:cubicBezTo>
                <a:cubicBezTo>
                  <a:pt x="1286455" y="2719537"/>
                  <a:pt x="1288277" y="2725003"/>
                  <a:pt x="1293744" y="2723181"/>
                </a:cubicBezTo>
                <a:cubicBezTo>
                  <a:pt x="1295566" y="2721359"/>
                  <a:pt x="1293744" y="2719537"/>
                  <a:pt x="1293744" y="2717714"/>
                </a:cubicBezTo>
                <a:cubicBezTo>
                  <a:pt x="1295566" y="2717714"/>
                  <a:pt x="1297388" y="2717714"/>
                  <a:pt x="1299210" y="2717714"/>
                </a:cubicBezTo>
                <a:cubicBezTo>
                  <a:pt x="1297388" y="2719537"/>
                  <a:pt x="1297388" y="2721359"/>
                  <a:pt x="1297388" y="2723181"/>
                </a:cubicBezTo>
                <a:cubicBezTo>
                  <a:pt x="1299210" y="2723181"/>
                  <a:pt x="1299210" y="2725003"/>
                  <a:pt x="1301033" y="2725003"/>
                </a:cubicBezTo>
                <a:cubicBezTo>
                  <a:pt x="1302855" y="2723181"/>
                  <a:pt x="1301033" y="2721359"/>
                  <a:pt x="1302855" y="2721359"/>
                </a:cubicBezTo>
                <a:cubicBezTo>
                  <a:pt x="1302855" y="2723181"/>
                  <a:pt x="1304677" y="2723181"/>
                  <a:pt x="1306499" y="2723181"/>
                </a:cubicBezTo>
                <a:cubicBezTo>
                  <a:pt x="1308321" y="2721359"/>
                  <a:pt x="1308321" y="2714070"/>
                  <a:pt x="1302855" y="2715891"/>
                </a:cubicBezTo>
                <a:cubicBezTo>
                  <a:pt x="1306499" y="2714070"/>
                  <a:pt x="1311966" y="2714070"/>
                  <a:pt x="1315610" y="2712249"/>
                </a:cubicBezTo>
                <a:cubicBezTo>
                  <a:pt x="1317432" y="2714070"/>
                  <a:pt x="1315610" y="2714070"/>
                  <a:pt x="1315610" y="2715891"/>
                </a:cubicBezTo>
                <a:cubicBezTo>
                  <a:pt x="1317432" y="2715891"/>
                  <a:pt x="1315610" y="2712249"/>
                  <a:pt x="1317432" y="2712249"/>
                </a:cubicBezTo>
                <a:cubicBezTo>
                  <a:pt x="1324721" y="2710426"/>
                  <a:pt x="1335654" y="2710426"/>
                  <a:pt x="1342942" y="2708604"/>
                </a:cubicBezTo>
                <a:cubicBezTo>
                  <a:pt x="1344765" y="2708604"/>
                  <a:pt x="1344765" y="2706782"/>
                  <a:pt x="1346587" y="2706782"/>
                </a:cubicBezTo>
                <a:cubicBezTo>
                  <a:pt x="1353876" y="2703136"/>
                  <a:pt x="1364809" y="2704959"/>
                  <a:pt x="1372097" y="2703136"/>
                </a:cubicBezTo>
                <a:cubicBezTo>
                  <a:pt x="1373920" y="2703136"/>
                  <a:pt x="1377564" y="2701315"/>
                  <a:pt x="1379386" y="2701315"/>
                </a:cubicBezTo>
                <a:cubicBezTo>
                  <a:pt x="1381208" y="2701315"/>
                  <a:pt x="1384854" y="2701315"/>
                  <a:pt x="1386676" y="2699492"/>
                </a:cubicBezTo>
                <a:cubicBezTo>
                  <a:pt x="1384854" y="2697671"/>
                  <a:pt x="1381208" y="2699492"/>
                  <a:pt x="1379386" y="2697671"/>
                </a:cubicBezTo>
                <a:cubicBezTo>
                  <a:pt x="1372097" y="2701315"/>
                  <a:pt x="1364809" y="2703136"/>
                  <a:pt x="1357521" y="2701315"/>
                </a:cubicBezTo>
                <a:cubicBezTo>
                  <a:pt x="1351142" y="2702226"/>
                  <a:pt x="1344309" y="2704048"/>
                  <a:pt x="1337704" y="2705415"/>
                </a:cubicBezTo>
                <a:lnTo>
                  <a:pt x="1326728" y="2706228"/>
                </a:lnTo>
                <a:lnTo>
                  <a:pt x="1328365" y="2701315"/>
                </a:lnTo>
                <a:cubicBezTo>
                  <a:pt x="1326543" y="2697671"/>
                  <a:pt x="1322899" y="2697671"/>
                  <a:pt x="1319254" y="2697671"/>
                </a:cubicBezTo>
                <a:cubicBezTo>
                  <a:pt x="1321077" y="2695848"/>
                  <a:pt x="1324721" y="2694026"/>
                  <a:pt x="1322899" y="2690381"/>
                </a:cubicBezTo>
                <a:cubicBezTo>
                  <a:pt x="1317432" y="2690381"/>
                  <a:pt x="1315610" y="2697671"/>
                  <a:pt x="1313788" y="2701315"/>
                </a:cubicBezTo>
                <a:cubicBezTo>
                  <a:pt x="1311966" y="2703136"/>
                  <a:pt x="1311966" y="2699492"/>
                  <a:pt x="1310143" y="2699492"/>
                </a:cubicBezTo>
                <a:cubicBezTo>
                  <a:pt x="1310143" y="2708604"/>
                  <a:pt x="1301033" y="2712249"/>
                  <a:pt x="1290100" y="2714070"/>
                </a:cubicBezTo>
                <a:cubicBezTo>
                  <a:pt x="1288277" y="2710426"/>
                  <a:pt x="1286455" y="2710426"/>
                  <a:pt x="1282811" y="2710426"/>
                </a:cubicBezTo>
                <a:cubicBezTo>
                  <a:pt x="1286455" y="2706782"/>
                  <a:pt x="1293744" y="2704959"/>
                  <a:pt x="1295566" y="2701315"/>
                </a:cubicBezTo>
                <a:cubicBezTo>
                  <a:pt x="1290100" y="2701315"/>
                  <a:pt x="1284633" y="2694026"/>
                  <a:pt x="1277344" y="2699492"/>
                </a:cubicBezTo>
                <a:cubicBezTo>
                  <a:pt x="1275522" y="2697671"/>
                  <a:pt x="1279166" y="2697671"/>
                  <a:pt x="1277344" y="2695848"/>
                </a:cubicBezTo>
                <a:cubicBezTo>
                  <a:pt x="1264589" y="2699492"/>
                  <a:pt x="1268233" y="2715891"/>
                  <a:pt x="1255478" y="2719537"/>
                </a:cubicBezTo>
                <a:cubicBezTo>
                  <a:pt x="1259123" y="2715891"/>
                  <a:pt x="1260945" y="2710426"/>
                  <a:pt x="1260945" y="2703136"/>
                </a:cubicBezTo>
                <a:cubicBezTo>
                  <a:pt x="1250012" y="2703136"/>
                  <a:pt x="1244545" y="2714070"/>
                  <a:pt x="1240901" y="2721359"/>
                </a:cubicBezTo>
                <a:cubicBezTo>
                  <a:pt x="1239080" y="2714070"/>
                  <a:pt x="1233612" y="2712249"/>
                  <a:pt x="1228146" y="2715891"/>
                </a:cubicBezTo>
                <a:cubicBezTo>
                  <a:pt x="1228146" y="2710426"/>
                  <a:pt x="1233612" y="2710426"/>
                  <a:pt x="1237256" y="2708604"/>
                </a:cubicBezTo>
                <a:cubicBezTo>
                  <a:pt x="1244545" y="2704959"/>
                  <a:pt x="1248189" y="2692204"/>
                  <a:pt x="1240901" y="2688560"/>
                </a:cubicBezTo>
                <a:cubicBezTo>
                  <a:pt x="1237256" y="2692204"/>
                  <a:pt x="1231790" y="2694026"/>
                  <a:pt x="1229969" y="2699492"/>
                </a:cubicBezTo>
                <a:cubicBezTo>
                  <a:pt x="1228146" y="2703136"/>
                  <a:pt x="1231790" y="2712249"/>
                  <a:pt x="1224501" y="2708604"/>
                </a:cubicBezTo>
                <a:cubicBezTo>
                  <a:pt x="1229969" y="2704959"/>
                  <a:pt x="1226323" y="2688560"/>
                  <a:pt x="1219036" y="2690381"/>
                </a:cubicBezTo>
                <a:cubicBezTo>
                  <a:pt x="1211747" y="2692204"/>
                  <a:pt x="1215390" y="2708604"/>
                  <a:pt x="1222679" y="2710426"/>
                </a:cubicBezTo>
                <a:cubicBezTo>
                  <a:pt x="1222679" y="2712249"/>
                  <a:pt x="1222679" y="2712249"/>
                  <a:pt x="1220858" y="2714070"/>
                </a:cubicBezTo>
                <a:cubicBezTo>
                  <a:pt x="1219036" y="2708604"/>
                  <a:pt x="1209925" y="2708604"/>
                  <a:pt x="1206279" y="2712249"/>
                </a:cubicBezTo>
                <a:cubicBezTo>
                  <a:pt x="1206279" y="2715891"/>
                  <a:pt x="1208102" y="2714070"/>
                  <a:pt x="1209925" y="2715891"/>
                </a:cubicBezTo>
                <a:cubicBezTo>
                  <a:pt x="1202636" y="2714070"/>
                  <a:pt x="1198991" y="2719537"/>
                  <a:pt x="1198991" y="2725003"/>
                </a:cubicBezTo>
                <a:cubicBezTo>
                  <a:pt x="1202636" y="2728648"/>
                  <a:pt x="1206279" y="2728648"/>
                  <a:pt x="1209925" y="2726824"/>
                </a:cubicBezTo>
                <a:cubicBezTo>
                  <a:pt x="1213568" y="2725003"/>
                  <a:pt x="1215390" y="2719537"/>
                  <a:pt x="1219036" y="2721359"/>
                </a:cubicBezTo>
                <a:cubicBezTo>
                  <a:pt x="1219036" y="2723181"/>
                  <a:pt x="1219036" y="2725003"/>
                  <a:pt x="1217213" y="2726824"/>
                </a:cubicBezTo>
                <a:cubicBezTo>
                  <a:pt x="1208102" y="2728648"/>
                  <a:pt x="1198991" y="2732292"/>
                  <a:pt x="1191703" y="2730469"/>
                </a:cubicBezTo>
                <a:cubicBezTo>
                  <a:pt x="1186236" y="2734114"/>
                  <a:pt x="1178947" y="2732292"/>
                  <a:pt x="1173481" y="2734114"/>
                </a:cubicBezTo>
                <a:cubicBezTo>
                  <a:pt x="1171658" y="2732292"/>
                  <a:pt x="1175303" y="2732292"/>
                  <a:pt x="1173481" y="2730469"/>
                </a:cubicBezTo>
                <a:cubicBezTo>
                  <a:pt x="1168014" y="2730469"/>
                  <a:pt x="1164370" y="2739581"/>
                  <a:pt x="1157081" y="2737758"/>
                </a:cubicBezTo>
                <a:cubicBezTo>
                  <a:pt x="1144326" y="2743225"/>
                  <a:pt x="1133393" y="2741403"/>
                  <a:pt x="1122459" y="2745047"/>
                </a:cubicBezTo>
                <a:cubicBezTo>
                  <a:pt x="1118815" y="2735937"/>
                  <a:pt x="1109704" y="2737758"/>
                  <a:pt x="1104238" y="2732292"/>
                </a:cubicBezTo>
                <a:cubicBezTo>
                  <a:pt x="1111526" y="2734114"/>
                  <a:pt x="1129748" y="2735937"/>
                  <a:pt x="1142503" y="2730469"/>
                </a:cubicBezTo>
                <a:cubicBezTo>
                  <a:pt x="1149792" y="2726824"/>
                  <a:pt x="1158903" y="2719537"/>
                  <a:pt x="1147970" y="2715891"/>
                </a:cubicBezTo>
                <a:cubicBezTo>
                  <a:pt x="1142503" y="2712249"/>
                  <a:pt x="1131570" y="2712249"/>
                  <a:pt x="1124282" y="2712249"/>
                </a:cubicBezTo>
                <a:cubicBezTo>
                  <a:pt x="1120637" y="2714070"/>
                  <a:pt x="1116993" y="2715891"/>
                  <a:pt x="1115171" y="2712249"/>
                </a:cubicBezTo>
                <a:cubicBezTo>
                  <a:pt x="1116993" y="2710426"/>
                  <a:pt x="1118815" y="2710426"/>
                  <a:pt x="1118815" y="2708604"/>
                </a:cubicBezTo>
                <a:cubicBezTo>
                  <a:pt x="1116993" y="2706782"/>
                  <a:pt x="1115171" y="2710426"/>
                  <a:pt x="1113349" y="2708604"/>
                </a:cubicBezTo>
                <a:cubicBezTo>
                  <a:pt x="1113349" y="2704959"/>
                  <a:pt x="1113349" y="2701315"/>
                  <a:pt x="1111526" y="2697671"/>
                </a:cubicBezTo>
                <a:cubicBezTo>
                  <a:pt x="1115170" y="2693115"/>
                  <a:pt x="1118359" y="2688560"/>
                  <a:pt x="1120637" y="2683549"/>
                </a:cubicBezTo>
                <a:lnTo>
                  <a:pt x="1124277" y="2666714"/>
                </a:lnTo>
                <a:lnTo>
                  <a:pt x="1120637" y="2666714"/>
                </a:lnTo>
                <a:cubicBezTo>
                  <a:pt x="1122459" y="2665801"/>
                  <a:pt x="1125193" y="2664436"/>
                  <a:pt x="1127698" y="2663980"/>
                </a:cubicBezTo>
                <a:cubicBezTo>
                  <a:pt x="1130203" y="2663525"/>
                  <a:pt x="1132481" y="2663980"/>
                  <a:pt x="1133392" y="2666714"/>
                </a:cubicBezTo>
                <a:lnTo>
                  <a:pt x="1124311" y="2666714"/>
                </a:lnTo>
                <a:lnTo>
                  <a:pt x="1144326" y="2681270"/>
                </a:lnTo>
                <a:cubicBezTo>
                  <a:pt x="1147970" y="2683093"/>
                  <a:pt x="1168014" y="2688560"/>
                  <a:pt x="1175303" y="2679448"/>
                </a:cubicBezTo>
                <a:cubicBezTo>
                  <a:pt x="1166192" y="2668515"/>
                  <a:pt x="1155259" y="2663048"/>
                  <a:pt x="1140681" y="2661227"/>
                </a:cubicBezTo>
                <a:cubicBezTo>
                  <a:pt x="1140681" y="2659404"/>
                  <a:pt x="1140681" y="2659404"/>
                  <a:pt x="1140681" y="2657583"/>
                </a:cubicBezTo>
                <a:cubicBezTo>
                  <a:pt x="1138859" y="2655761"/>
                  <a:pt x="1135215" y="2655761"/>
                  <a:pt x="1135215" y="2653937"/>
                </a:cubicBezTo>
                <a:cubicBezTo>
                  <a:pt x="1140681" y="2648471"/>
                  <a:pt x="1144326" y="2661227"/>
                  <a:pt x="1149792" y="2663048"/>
                </a:cubicBezTo>
                <a:cubicBezTo>
                  <a:pt x="1151614" y="2663048"/>
                  <a:pt x="1149792" y="2661227"/>
                  <a:pt x="1149792" y="2659404"/>
                </a:cubicBezTo>
                <a:cubicBezTo>
                  <a:pt x="1157081" y="2661227"/>
                  <a:pt x="1162547" y="2664871"/>
                  <a:pt x="1169836" y="2663048"/>
                </a:cubicBezTo>
                <a:cubicBezTo>
                  <a:pt x="1164370" y="2652116"/>
                  <a:pt x="1151614" y="2648471"/>
                  <a:pt x="1140681" y="2646649"/>
                </a:cubicBezTo>
                <a:cubicBezTo>
                  <a:pt x="1151614" y="2639360"/>
                  <a:pt x="1166192" y="2635716"/>
                  <a:pt x="1177125" y="2633895"/>
                </a:cubicBezTo>
                <a:cubicBezTo>
                  <a:pt x="1178947" y="2633895"/>
                  <a:pt x="1178947" y="2635716"/>
                  <a:pt x="1180769" y="2635716"/>
                </a:cubicBezTo>
                <a:cubicBezTo>
                  <a:pt x="1182592" y="2633895"/>
                  <a:pt x="1180769" y="2632071"/>
                  <a:pt x="1182592" y="2632071"/>
                </a:cubicBezTo>
                <a:cubicBezTo>
                  <a:pt x="1191703" y="2628427"/>
                  <a:pt x="1200814" y="2624783"/>
                  <a:pt x="1209925" y="2624783"/>
                </a:cubicBezTo>
                <a:cubicBezTo>
                  <a:pt x="1211747" y="2624783"/>
                  <a:pt x="1211747" y="2622960"/>
                  <a:pt x="1211747" y="2621137"/>
                </a:cubicBezTo>
                <a:cubicBezTo>
                  <a:pt x="1228146" y="2613850"/>
                  <a:pt x="1244545" y="2612028"/>
                  <a:pt x="1259123" y="2610206"/>
                </a:cubicBezTo>
                <a:cubicBezTo>
                  <a:pt x="1259123" y="2612028"/>
                  <a:pt x="1260945" y="2612028"/>
                  <a:pt x="1262767" y="2612028"/>
                </a:cubicBezTo>
                <a:cubicBezTo>
                  <a:pt x="1262767" y="2612028"/>
                  <a:pt x="1260945" y="2610206"/>
                  <a:pt x="1260945" y="2608383"/>
                </a:cubicBezTo>
                <a:cubicBezTo>
                  <a:pt x="1264589" y="2608383"/>
                  <a:pt x="1268233" y="2606562"/>
                  <a:pt x="1271878" y="2604739"/>
                </a:cubicBezTo>
                <a:cubicBezTo>
                  <a:pt x="1277344" y="2602917"/>
                  <a:pt x="1282811" y="2599273"/>
                  <a:pt x="1288277" y="2601095"/>
                </a:cubicBezTo>
                <a:cubicBezTo>
                  <a:pt x="1288277" y="2602917"/>
                  <a:pt x="1284633" y="2601095"/>
                  <a:pt x="1282811" y="2602917"/>
                </a:cubicBezTo>
                <a:cubicBezTo>
                  <a:pt x="1282811" y="2606562"/>
                  <a:pt x="1286455" y="2608383"/>
                  <a:pt x="1288277" y="2608383"/>
                </a:cubicBezTo>
                <a:cubicBezTo>
                  <a:pt x="1282811" y="2613850"/>
                  <a:pt x="1279166" y="2621137"/>
                  <a:pt x="1282811" y="2632071"/>
                </a:cubicBezTo>
                <a:cubicBezTo>
                  <a:pt x="1284633" y="2632071"/>
                  <a:pt x="1286455" y="2630250"/>
                  <a:pt x="1288277" y="2630250"/>
                </a:cubicBezTo>
                <a:cubicBezTo>
                  <a:pt x="1286455" y="2632071"/>
                  <a:pt x="1288277" y="2633895"/>
                  <a:pt x="1290100" y="2633895"/>
                </a:cubicBezTo>
                <a:cubicBezTo>
                  <a:pt x="1295566" y="2632071"/>
                  <a:pt x="1295566" y="2628427"/>
                  <a:pt x="1299210" y="2624783"/>
                </a:cubicBezTo>
                <a:cubicBezTo>
                  <a:pt x="1299210" y="2630250"/>
                  <a:pt x="1299210" y="2643005"/>
                  <a:pt x="1306499" y="2643005"/>
                </a:cubicBezTo>
                <a:cubicBezTo>
                  <a:pt x="1311966" y="2643005"/>
                  <a:pt x="1313788" y="2635716"/>
                  <a:pt x="1313788" y="2630250"/>
                </a:cubicBezTo>
                <a:cubicBezTo>
                  <a:pt x="1315610" y="2628427"/>
                  <a:pt x="1317432" y="2633895"/>
                  <a:pt x="1319254" y="2632071"/>
                </a:cubicBezTo>
                <a:cubicBezTo>
                  <a:pt x="1321077" y="2626605"/>
                  <a:pt x="1315610" y="2613850"/>
                  <a:pt x="1310143" y="2612028"/>
                </a:cubicBezTo>
                <a:cubicBezTo>
                  <a:pt x="1310143" y="2608383"/>
                  <a:pt x="1311966" y="2606562"/>
                  <a:pt x="1308321" y="2604739"/>
                </a:cubicBezTo>
                <a:cubicBezTo>
                  <a:pt x="1310143" y="2602917"/>
                  <a:pt x="1313788" y="2606562"/>
                  <a:pt x="1313788" y="2608383"/>
                </a:cubicBezTo>
                <a:cubicBezTo>
                  <a:pt x="1315610" y="2612028"/>
                  <a:pt x="1333832" y="2617494"/>
                  <a:pt x="1335654" y="2610206"/>
                </a:cubicBezTo>
                <a:cubicBezTo>
                  <a:pt x="1332009" y="2604739"/>
                  <a:pt x="1324721" y="2599273"/>
                  <a:pt x="1317432" y="2601095"/>
                </a:cubicBezTo>
                <a:lnTo>
                  <a:pt x="1313788" y="2601095"/>
                </a:lnTo>
                <a:cubicBezTo>
                  <a:pt x="1317432" y="2601095"/>
                  <a:pt x="1319254" y="2599273"/>
                  <a:pt x="1322899" y="2597450"/>
                </a:cubicBezTo>
                <a:cubicBezTo>
                  <a:pt x="1322899" y="2595628"/>
                  <a:pt x="1322899" y="2595628"/>
                  <a:pt x="1322899" y="2593806"/>
                </a:cubicBezTo>
                <a:cubicBezTo>
                  <a:pt x="1330188" y="2595628"/>
                  <a:pt x="1335654" y="2593806"/>
                  <a:pt x="1341120" y="2595628"/>
                </a:cubicBezTo>
                <a:cubicBezTo>
                  <a:pt x="1344765" y="2599273"/>
                  <a:pt x="1346587" y="2604739"/>
                  <a:pt x="1352053" y="2602917"/>
                </a:cubicBezTo>
                <a:cubicBezTo>
                  <a:pt x="1350231" y="2597450"/>
                  <a:pt x="1344765" y="2593806"/>
                  <a:pt x="1341120" y="2591985"/>
                </a:cubicBezTo>
                <a:lnTo>
                  <a:pt x="1344804" y="2591985"/>
                </a:lnTo>
                <a:lnTo>
                  <a:pt x="1349092" y="2589727"/>
                </a:lnTo>
                <a:cubicBezTo>
                  <a:pt x="1350687" y="2589271"/>
                  <a:pt x="1352053" y="2589271"/>
                  <a:pt x="1352053" y="2590182"/>
                </a:cubicBezTo>
                <a:cubicBezTo>
                  <a:pt x="1355697" y="2586536"/>
                  <a:pt x="1362986" y="2586536"/>
                  <a:pt x="1366630" y="2584715"/>
                </a:cubicBezTo>
                <a:cubicBezTo>
                  <a:pt x="1364808" y="2588360"/>
                  <a:pt x="1361164" y="2591092"/>
                  <a:pt x="1357065" y="2592460"/>
                </a:cubicBezTo>
                <a:lnTo>
                  <a:pt x="1352514" y="2592292"/>
                </a:lnTo>
                <a:lnTo>
                  <a:pt x="1357521" y="2595628"/>
                </a:lnTo>
                <a:cubicBezTo>
                  <a:pt x="1357521" y="2595628"/>
                  <a:pt x="1359342" y="2593806"/>
                  <a:pt x="1357521" y="2593806"/>
                </a:cubicBezTo>
                <a:cubicBezTo>
                  <a:pt x="1359342" y="2591985"/>
                  <a:pt x="1361164" y="2595628"/>
                  <a:pt x="1362987" y="2595628"/>
                </a:cubicBezTo>
                <a:cubicBezTo>
                  <a:pt x="1366632" y="2606562"/>
                  <a:pt x="1373920" y="2612028"/>
                  <a:pt x="1381208" y="2617494"/>
                </a:cubicBezTo>
                <a:cubicBezTo>
                  <a:pt x="1383030" y="2615673"/>
                  <a:pt x="1379386" y="2612028"/>
                  <a:pt x="1379386" y="2610206"/>
                </a:cubicBezTo>
                <a:cubicBezTo>
                  <a:pt x="1375743" y="2602917"/>
                  <a:pt x="1364809" y="2599273"/>
                  <a:pt x="1362987" y="2591985"/>
                </a:cubicBezTo>
                <a:cubicBezTo>
                  <a:pt x="1379386" y="2593806"/>
                  <a:pt x="1384854" y="2621137"/>
                  <a:pt x="1404896" y="2619317"/>
                </a:cubicBezTo>
                <a:cubicBezTo>
                  <a:pt x="1403074" y="2608383"/>
                  <a:pt x="1388497" y="2604739"/>
                  <a:pt x="1386676" y="2591985"/>
                </a:cubicBezTo>
                <a:cubicBezTo>
                  <a:pt x="1395787" y="2593806"/>
                  <a:pt x="1403074" y="2601095"/>
                  <a:pt x="1410363" y="2604739"/>
                </a:cubicBezTo>
                <a:cubicBezTo>
                  <a:pt x="1408541" y="2599273"/>
                  <a:pt x="1403074" y="2597450"/>
                  <a:pt x="1399430" y="2593806"/>
                </a:cubicBezTo>
                <a:cubicBezTo>
                  <a:pt x="1404896" y="2593806"/>
                  <a:pt x="1412185" y="2593806"/>
                  <a:pt x="1419474" y="2590161"/>
                </a:cubicBezTo>
                <a:cubicBezTo>
                  <a:pt x="1410363" y="2584695"/>
                  <a:pt x="1399430" y="2584695"/>
                  <a:pt x="1388497" y="2584695"/>
                </a:cubicBezTo>
                <a:cubicBezTo>
                  <a:pt x="1395787" y="2581050"/>
                  <a:pt x="1397608" y="2577407"/>
                  <a:pt x="1401252" y="2571940"/>
                </a:cubicBezTo>
                <a:cubicBezTo>
                  <a:pt x="1408541" y="2573763"/>
                  <a:pt x="1415829" y="2571940"/>
                  <a:pt x="1419474" y="2579229"/>
                </a:cubicBezTo>
                <a:cubicBezTo>
                  <a:pt x="1419474" y="2581050"/>
                  <a:pt x="1419474" y="2584695"/>
                  <a:pt x="1421296" y="2586518"/>
                </a:cubicBezTo>
                <a:cubicBezTo>
                  <a:pt x="1424940" y="2584695"/>
                  <a:pt x="1421296" y="2582874"/>
                  <a:pt x="1421296" y="2579229"/>
                </a:cubicBezTo>
                <a:cubicBezTo>
                  <a:pt x="1426763" y="2581050"/>
                  <a:pt x="1430407" y="2586518"/>
                  <a:pt x="1437696" y="2582874"/>
                </a:cubicBezTo>
                <a:cubicBezTo>
                  <a:pt x="1439518" y="2581050"/>
                  <a:pt x="1435873" y="2579229"/>
                  <a:pt x="1435873" y="2575584"/>
                </a:cubicBezTo>
                <a:cubicBezTo>
                  <a:pt x="1439518" y="2573763"/>
                  <a:pt x="1441340" y="2573763"/>
                  <a:pt x="1443162" y="2571940"/>
                </a:cubicBezTo>
                <a:cubicBezTo>
                  <a:pt x="1437696" y="2566474"/>
                  <a:pt x="1430407" y="2570118"/>
                  <a:pt x="1423118" y="2571940"/>
                </a:cubicBezTo>
                <a:cubicBezTo>
                  <a:pt x="1421296" y="2571940"/>
                  <a:pt x="1423118" y="2570118"/>
                  <a:pt x="1423118" y="2570118"/>
                </a:cubicBezTo>
                <a:cubicBezTo>
                  <a:pt x="1421296" y="2568295"/>
                  <a:pt x="1419474" y="2570118"/>
                  <a:pt x="1419474" y="2568295"/>
                </a:cubicBezTo>
                <a:cubicBezTo>
                  <a:pt x="1432229" y="2564651"/>
                  <a:pt x="1448629" y="2561006"/>
                  <a:pt x="1454095" y="2551897"/>
                </a:cubicBezTo>
                <a:cubicBezTo>
                  <a:pt x="1443162" y="2559185"/>
                  <a:pt x="1419474" y="2566474"/>
                  <a:pt x="1404896" y="2564651"/>
                </a:cubicBezTo>
                <a:cubicBezTo>
                  <a:pt x="1406719" y="2562830"/>
                  <a:pt x="1406719" y="2561006"/>
                  <a:pt x="1406719" y="2559185"/>
                </a:cubicBezTo>
                <a:cubicBezTo>
                  <a:pt x="1403074" y="2559185"/>
                  <a:pt x="1403074" y="2564651"/>
                  <a:pt x="1397608" y="2564651"/>
                </a:cubicBezTo>
                <a:cubicBezTo>
                  <a:pt x="1395787" y="2562830"/>
                  <a:pt x="1397608" y="2561006"/>
                  <a:pt x="1397608" y="2559185"/>
                </a:cubicBezTo>
                <a:cubicBezTo>
                  <a:pt x="1393963" y="2557362"/>
                  <a:pt x="1393963" y="2559185"/>
                  <a:pt x="1390319" y="2561006"/>
                </a:cubicBezTo>
                <a:cubicBezTo>
                  <a:pt x="1390319" y="2559185"/>
                  <a:pt x="1392141" y="2559185"/>
                  <a:pt x="1392141" y="2557362"/>
                </a:cubicBezTo>
                <a:cubicBezTo>
                  <a:pt x="1386676" y="2561006"/>
                  <a:pt x="1383030" y="2568295"/>
                  <a:pt x="1375743" y="2568295"/>
                </a:cubicBezTo>
                <a:cubicBezTo>
                  <a:pt x="1377564" y="2561006"/>
                  <a:pt x="1381208" y="2557362"/>
                  <a:pt x="1383030" y="2550074"/>
                </a:cubicBezTo>
                <a:cubicBezTo>
                  <a:pt x="1384854" y="2544608"/>
                  <a:pt x="1384854" y="2537319"/>
                  <a:pt x="1384854" y="2530031"/>
                </a:cubicBezTo>
                <a:cubicBezTo>
                  <a:pt x="1379386" y="2533675"/>
                  <a:pt x="1379386" y="2544608"/>
                  <a:pt x="1375743" y="2551897"/>
                </a:cubicBezTo>
                <a:cubicBezTo>
                  <a:pt x="1373920" y="2557362"/>
                  <a:pt x="1372097" y="2564651"/>
                  <a:pt x="1370275" y="2570118"/>
                </a:cubicBezTo>
                <a:cubicBezTo>
                  <a:pt x="1362987" y="2568295"/>
                  <a:pt x="1352053" y="2573763"/>
                  <a:pt x="1342942" y="2575584"/>
                </a:cubicBezTo>
                <a:cubicBezTo>
                  <a:pt x="1342942" y="2573763"/>
                  <a:pt x="1342942" y="2573763"/>
                  <a:pt x="1342942" y="2571940"/>
                </a:cubicBezTo>
                <a:cubicBezTo>
                  <a:pt x="1339299" y="2570118"/>
                  <a:pt x="1339299" y="2573763"/>
                  <a:pt x="1337476" y="2575584"/>
                </a:cubicBezTo>
                <a:cubicBezTo>
                  <a:pt x="1332009" y="2579229"/>
                  <a:pt x="1321077" y="2581050"/>
                  <a:pt x="1313788" y="2582874"/>
                </a:cubicBezTo>
                <a:cubicBezTo>
                  <a:pt x="1315610" y="2579229"/>
                  <a:pt x="1321077" y="2577407"/>
                  <a:pt x="1319254" y="2571940"/>
                </a:cubicBezTo>
                <a:cubicBezTo>
                  <a:pt x="1326543" y="2571940"/>
                  <a:pt x="1337476" y="2566474"/>
                  <a:pt x="1339299" y="2561006"/>
                </a:cubicBezTo>
                <a:cubicBezTo>
                  <a:pt x="1332009" y="2555541"/>
                  <a:pt x="1319254" y="2561006"/>
                  <a:pt x="1310143" y="2559185"/>
                </a:cubicBezTo>
                <a:cubicBezTo>
                  <a:pt x="1315610" y="2555541"/>
                  <a:pt x="1330188" y="2559185"/>
                  <a:pt x="1341120" y="2551897"/>
                </a:cubicBezTo>
                <a:cubicBezTo>
                  <a:pt x="1337476" y="2548251"/>
                  <a:pt x="1330188" y="2550074"/>
                  <a:pt x="1324721" y="2550074"/>
                </a:cubicBezTo>
                <a:cubicBezTo>
                  <a:pt x="1326543" y="2544608"/>
                  <a:pt x="1333832" y="2539141"/>
                  <a:pt x="1333832" y="2531852"/>
                </a:cubicBezTo>
                <a:cubicBezTo>
                  <a:pt x="1326543" y="2526385"/>
                  <a:pt x="1310143" y="2542786"/>
                  <a:pt x="1308321" y="2550074"/>
                </a:cubicBezTo>
                <a:cubicBezTo>
                  <a:pt x="1306499" y="2550074"/>
                  <a:pt x="1306499" y="2548251"/>
                  <a:pt x="1304677" y="2550074"/>
                </a:cubicBezTo>
                <a:cubicBezTo>
                  <a:pt x="1308321" y="2542786"/>
                  <a:pt x="1306499" y="2533675"/>
                  <a:pt x="1304677" y="2522741"/>
                </a:cubicBezTo>
                <a:cubicBezTo>
                  <a:pt x="1299210" y="2528208"/>
                  <a:pt x="1301033" y="2537319"/>
                  <a:pt x="1301033" y="2544608"/>
                </a:cubicBezTo>
                <a:cubicBezTo>
                  <a:pt x="1299210" y="2546430"/>
                  <a:pt x="1297388" y="2544608"/>
                  <a:pt x="1297388" y="2546430"/>
                </a:cubicBezTo>
                <a:cubicBezTo>
                  <a:pt x="1297388" y="2550074"/>
                  <a:pt x="1299210" y="2550074"/>
                  <a:pt x="1301033" y="2551897"/>
                </a:cubicBezTo>
                <a:cubicBezTo>
                  <a:pt x="1301033" y="2555541"/>
                  <a:pt x="1299210" y="2555541"/>
                  <a:pt x="1301033" y="2559185"/>
                </a:cubicBezTo>
                <a:cubicBezTo>
                  <a:pt x="1297388" y="2557362"/>
                  <a:pt x="1299210" y="2562830"/>
                  <a:pt x="1295566" y="2562830"/>
                </a:cubicBezTo>
                <a:cubicBezTo>
                  <a:pt x="1293744" y="2557362"/>
                  <a:pt x="1286455" y="2551897"/>
                  <a:pt x="1279166" y="2555541"/>
                </a:cubicBezTo>
                <a:cubicBezTo>
                  <a:pt x="1275522" y="2555541"/>
                  <a:pt x="1270056" y="2557362"/>
                  <a:pt x="1270056" y="2561006"/>
                </a:cubicBezTo>
                <a:cubicBezTo>
                  <a:pt x="1273700" y="2568295"/>
                  <a:pt x="1279166" y="2570118"/>
                  <a:pt x="1286455" y="2570118"/>
                </a:cubicBezTo>
                <a:cubicBezTo>
                  <a:pt x="1290100" y="2579229"/>
                  <a:pt x="1280989" y="2582874"/>
                  <a:pt x="1280989" y="2590161"/>
                </a:cubicBezTo>
                <a:cubicBezTo>
                  <a:pt x="1264589" y="2599273"/>
                  <a:pt x="1242723" y="2604739"/>
                  <a:pt x="1226323" y="2606562"/>
                </a:cubicBezTo>
                <a:cubicBezTo>
                  <a:pt x="1224501" y="2604739"/>
                  <a:pt x="1226323" y="2604739"/>
                  <a:pt x="1224501" y="2602917"/>
                </a:cubicBezTo>
                <a:cubicBezTo>
                  <a:pt x="1208102" y="2615673"/>
                  <a:pt x="1178947" y="2622960"/>
                  <a:pt x="1157081" y="2628427"/>
                </a:cubicBezTo>
                <a:cubicBezTo>
                  <a:pt x="1160725" y="2622960"/>
                  <a:pt x="1168014" y="2621137"/>
                  <a:pt x="1168014" y="2613850"/>
                </a:cubicBezTo>
                <a:lnTo>
                  <a:pt x="1164384" y="2613850"/>
                </a:lnTo>
                <a:lnTo>
                  <a:pt x="1164370" y="2613868"/>
                </a:lnTo>
                <a:lnTo>
                  <a:pt x="1164352" y="2613850"/>
                </a:lnTo>
                <a:lnTo>
                  <a:pt x="1158903" y="2613850"/>
                </a:lnTo>
                <a:cubicBezTo>
                  <a:pt x="1158903" y="2612028"/>
                  <a:pt x="1160725" y="2610206"/>
                  <a:pt x="1162547" y="2608383"/>
                </a:cubicBezTo>
                <a:cubicBezTo>
                  <a:pt x="1166192" y="2606562"/>
                  <a:pt x="1168014" y="2610206"/>
                  <a:pt x="1173481" y="2608383"/>
                </a:cubicBezTo>
                <a:cubicBezTo>
                  <a:pt x="1173481" y="2604739"/>
                  <a:pt x="1169836" y="2602917"/>
                  <a:pt x="1168014" y="2601095"/>
                </a:cubicBezTo>
                <a:cubicBezTo>
                  <a:pt x="1168014" y="2599273"/>
                  <a:pt x="1169836" y="2599273"/>
                  <a:pt x="1169836" y="2597450"/>
                </a:cubicBezTo>
                <a:cubicBezTo>
                  <a:pt x="1177125" y="2595628"/>
                  <a:pt x="1186236" y="2591985"/>
                  <a:pt x="1193525" y="2595628"/>
                </a:cubicBezTo>
                <a:cubicBezTo>
                  <a:pt x="1193525" y="2593806"/>
                  <a:pt x="1191703" y="2591985"/>
                  <a:pt x="1191703" y="2591985"/>
                </a:cubicBezTo>
                <a:cubicBezTo>
                  <a:pt x="1200814" y="2590161"/>
                  <a:pt x="1208102" y="2586518"/>
                  <a:pt x="1215390" y="2586518"/>
                </a:cubicBezTo>
                <a:cubicBezTo>
                  <a:pt x="1219036" y="2584695"/>
                  <a:pt x="1224501" y="2582874"/>
                  <a:pt x="1228146" y="2582874"/>
                </a:cubicBezTo>
                <a:cubicBezTo>
                  <a:pt x="1229969" y="2579229"/>
                  <a:pt x="1240901" y="2575584"/>
                  <a:pt x="1244545" y="2575584"/>
                </a:cubicBezTo>
                <a:cubicBezTo>
                  <a:pt x="1244545" y="2571940"/>
                  <a:pt x="1248189" y="2571940"/>
                  <a:pt x="1250012" y="2570118"/>
                </a:cubicBezTo>
                <a:cubicBezTo>
                  <a:pt x="1251834" y="2570118"/>
                  <a:pt x="1251834" y="2573763"/>
                  <a:pt x="1253656" y="2573763"/>
                </a:cubicBezTo>
                <a:cubicBezTo>
                  <a:pt x="1255478" y="2571940"/>
                  <a:pt x="1251834" y="2570118"/>
                  <a:pt x="1251834" y="2568295"/>
                </a:cubicBezTo>
                <a:cubicBezTo>
                  <a:pt x="1255478" y="2568295"/>
                  <a:pt x="1255478" y="2570118"/>
                  <a:pt x="1259123" y="2568295"/>
                </a:cubicBezTo>
                <a:cubicBezTo>
                  <a:pt x="1260945" y="2566474"/>
                  <a:pt x="1259123" y="2564651"/>
                  <a:pt x="1260945" y="2562830"/>
                </a:cubicBezTo>
                <a:cubicBezTo>
                  <a:pt x="1260945" y="2561006"/>
                  <a:pt x="1257300" y="2564651"/>
                  <a:pt x="1257300" y="2561006"/>
                </a:cubicBezTo>
                <a:cubicBezTo>
                  <a:pt x="1255478" y="2562830"/>
                  <a:pt x="1255478" y="2564651"/>
                  <a:pt x="1253656" y="2566474"/>
                </a:cubicBezTo>
                <a:cubicBezTo>
                  <a:pt x="1251834" y="2568295"/>
                  <a:pt x="1253656" y="2562830"/>
                  <a:pt x="1250012" y="2564651"/>
                </a:cubicBezTo>
                <a:cubicBezTo>
                  <a:pt x="1250012" y="2566474"/>
                  <a:pt x="1253656" y="2566474"/>
                  <a:pt x="1251834" y="2568295"/>
                </a:cubicBezTo>
                <a:cubicBezTo>
                  <a:pt x="1246367" y="2568295"/>
                  <a:pt x="1242723" y="2575584"/>
                  <a:pt x="1237256" y="2573763"/>
                </a:cubicBezTo>
                <a:cubicBezTo>
                  <a:pt x="1229969" y="2581050"/>
                  <a:pt x="1219036" y="2582874"/>
                  <a:pt x="1208102" y="2586518"/>
                </a:cubicBezTo>
                <a:cubicBezTo>
                  <a:pt x="1206279" y="2586518"/>
                  <a:pt x="1208102" y="2584695"/>
                  <a:pt x="1206279" y="2584695"/>
                </a:cubicBezTo>
                <a:cubicBezTo>
                  <a:pt x="1202636" y="2588340"/>
                  <a:pt x="1195346" y="2590161"/>
                  <a:pt x="1189880" y="2591985"/>
                </a:cubicBezTo>
                <a:cubicBezTo>
                  <a:pt x="1186236" y="2591985"/>
                  <a:pt x="1182592" y="2590161"/>
                  <a:pt x="1178947" y="2590161"/>
                </a:cubicBezTo>
                <a:cubicBezTo>
                  <a:pt x="1177125" y="2590161"/>
                  <a:pt x="1178947" y="2593806"/>
                  <a:pt x="1177125" y="2593806"/>
                </a:cubicBezTo>
                <a:cubicBezTo>
                  <a:pt x="1173481" y="2595628"/>
                  <a:pt x="1173481" y="2591985"/>
                  <a:pt x="1169836" y="2593806"/>
                </a:cubicBezTo>
                <a:cubicBezTo>
                  <a:pt x="1171658" y="2588340"/>
                  <a:pt x="1180769" y="2584695"/>
                  <a:pt x="1180769" y="2577407"/>
                </a:cubicBezTo>
                <a:cubicBezTo>
                  <a:pt x="1178947" y="2575584"/>
                  <a:pt x="1177125" y="2575584"/>
                  <a:pt x="1175303" y="2577407"/>
                </a:cubicBezTo>
                <a:cubicBezTo>
                  <a:pt x="1173481" y="2571940"/>
                  <a:pt x="1178947" y="2571940"/>
                  <a:pt x="1177125" y="2568295"/>
                </a:cubicBezTo>
                <a:cubicBezTo>
                  <a:pt x="1173481" y="2559185"/>
                  <a:pt x="1162547" y="2571940"/>
                  <a:pt x="1160725" y="2577407"/>
                </a:cubicBezTo>
                <a:cubicBezTo>
                  <a:pt x="1158903" y="2579229"/>
                  <a:pt x="1160725" y="2581050"/>
                  <a:pt x="1158903" y="2582874"/>
                </a:cubicBezTo>
                <a:cubicBezTo>
                  <a:pt x="1157081" y="2577407"/>
                  <a:pt x="1158903" y="2571940"/>
                  <a:pt x="1157081" y="2566474"/>
                </a:cubicBezTo>
                <a:cubicBezTo>
                  <a:pt x="1157081" y="2566474"/>
                  <a:pt x="1155259" y="2566474"/>
                  <a:pt x="1155259" y="2566474"/>
                </a:cubicBezTo>
                <a:cubicBezTo>
                  <a:pt x="1149792" y="2568295"/>
                  <a:pt x="1153436" y="2575584"/>
                  <a:pt x="1149792" y="2579229"/>
                </a:cubicBezTo>
                <a:cubicBezTo>
                  <a:pt x="1146148" y="2575584"/>
                  <a:pt x="1144326" y="2570118"/>
                  <a:pt x="1138859" y="2568295"/>
                </a:cubicBezTo>
                <a:cubicBezTo>
                  <a:pt x="1135215" y="2575584"/>
                  <a:pt x="1144326" y="2586518"/>
                  <a:pt x="1149792" y="2591985"/>
                </a:cubicBezTo>
                <a:cubicBezTo>
                  <a:pt x="1149792" y="2591985"/>
                  <a:pt x="1144326" y="2590161"/>
                  <a:pt x="1142503" y="2593806"/>
                </a:cubicBezTo>
                <a:cubicBezTo>
                  <a:pt x="1142503" y="2595628"/>
                  <a:pt x="1144326" y="2595628"/>
                  <a:pt x="1144326" y="2597450"/>
                </a:cubicBezTo>
                <a:cubicBezTo>
                  <a:pt x="1140681" y="2597450"/>
                  <a:pt x="1135215" y="2591985"/>
                  <a:pt x="1129748" y="2597450"/>
                </a:cubicBezTo>
                <a:cubicBezTo>
                  <a:pt x="1129748" y="2599273"/>
                  <a:pt x="1129748" y="2597450"/>
                  <a:pt x="1127926" y="2597450"/>
                </a:cubicBezTo>
                <a:cubicBezTo>
                  <a:pt x="1122459" y="2602917"/>
                  <a:pt x="1107882" y="2604739"/>
                  <a:pt x="1100593" y="2602917"/>
                </a:cubicBezTo>
                <a:cubicBezTo>
                  <a:pt x="1098771" y="2601095"/>
                  <a:pt x="1102416" y="2601095"/>
                  <a:pt x="1100593" y="2599273"/>
                </a:cubicBezTo>
                <a:cubicBezTo>
                  <a:pt x="1098771" y="2599273"/>
                  <a:pt x="1096949" y="2601095"/>
                  <a:pt x="1095127" y="2601095"/>
                </a:cubicBezTo>
                <a:cubicBezTo>
                  <a:pt x="1098771" y="2597450"/>
                  <a:pt x="1106060" y="2595628"/>
                  <a:pt x="1104238" y="2590161"/>
                </a:cubicBezTo>
                <a:cubicBezTo>
                  <a:pt x="1098771" y="2586518"/>
                  <a:pt x="1095127" y="2593806"/>
                  <a:pt x="1093305" y="2599273"/>
                </a:cubicBezTo>
                <a:cubicBezTo>
                  <a:pt x="1093305" y="2599273"/>
                  <a:pt x="1093305" y="2597450"/>
                  <a:pt x="1093305" y="2595628"/>
                </a:cubicBezTo>
                <a:cubicBezTo>
                  <a:pt x="1091484" y="2595628"/>
                  <a:pt x="1089660" y="2591985"/>
                  <a:pt x="1087838" y="2591985"/>
                </a:cubicBezTo>
                <a:cubicBezTo>
                  <a:pt x="1086016" y="2593806"/>
                  <a:pt x="1086016" y="2597450"/>
                  <a:pt x="1087838" y="2599273"/>
                </a:cubicBezTo>
                <a:cubicBezTo>
                  <a:pt x="1084194" y="2597450"/>
                  <a:pt x="1082373" y="2593806"/>
                  <a:pt x="1078727" y="2591985"/>
                </a:cubicBezTo>
                <a:cubicBezTo>
                  <a:pt x="1076905" y="2595628"/>
                  <a:pt x="1082373" y="2597450"/>
                  <a:pt x="1084194" y="2601095"/>
                </a:cubicBezTo>
                <a:cubicBezTo>
                  <a:pt x="1078727" y="2601095"/>
                  <a:pt x="1075083" y="2602917"/>
                  <a:pt x="1071439" y="2601095"/>
                </a:cubicBezTo>
                <a:cubicBezTo>
                  <a:pt x="1069616" y="2601095"/>
                  <a:pt x="1069616" y="2601095"/>
                  <a:pt x="1069616" y="2602917"/>
                </a:cubicBezTo>
                <a:cubicBezTo>
                  <a:pt x="1058683" y="2604739"/>
                  <a:pt x="1049573" y="2604739"/>
                  <a:pt x="1040462" y="2604739"/>
                </a:cubicBezTo>
                <a:cubicBezTo>
                  <a:pt x="1055040" y="2593806"/>
                  <a:pt x="1053217" y="2604739"/>
                  <a:pt x="1044106" y="2584695"/>
                </a:cubicBezTo>
                <a:cubicBezTo>
                  <a:pt x="1080549" y="2582874"/>
                  <a:pt x="1058683" y="2593806"/>
                  <a:pt x="1075083" y="2570118"/>
                </a:cubicBezTo>
                <a:lnTo>
                  <a:pt x="1053217" y="2570118"/>
                </a:lnTo>
                <a:lnTo>
                  <a:pt x="1055040" y="2553718"/>
                </a:lnTo>
                <a:lnTo>
                  <a:pt x="1038639" y="2555541"/>
                </a:lnTo>
                <a:lnTo>
                  <a:pt x="1053217" y="2570118"/>
                </a:lnTo>
                <a:lnTo>
                  <a:pt x="1036818" y="2570118"/>
                </a:lnTo>
                <a:lnTo>
                  <a:pt x="1036818" y="2601095"/>
                </a:lnTo>
                <a:cubicBezTo>
                  <a:pt x="1034995" y="2602917"/>
                  <a:pt x="1034995" y="2604739"/>
                  <a:pt x="1033173" y="2604739"/>
                </a:cubicBezTo>
                <a:cubicBezTo>
                  <a:pt x="1025884" y="2606562"/>
                  <a:pt x="1018596" y="2606562"/>
                  <a:pt x="1013129" y="2608383"/>
                </a:cubicBezTo>
                <a:cubicBezTo>
                  <a:pt x="1013129" y="2597450"/>
                  <a:pt x="1022240" y="2597450"/>
                  <a:pt x="1027707" y="2593806"/>
                </a:cubicBezTo>
                <a:cubicBezTo>
                  <a:pt x="1018596" y="2573763"/>
                  <a:pt x="1018596" y="2590161"/>
                  <a:pt x="1025884" y="2571940"/>
                </a:cubicBezTo>
                <a:lnTo>
                  <a:pt x="1013129" y="2555541"/>
                </a:lnTo>
                <a:cubicBezTo>
                  <a:pt x="993085" y="2564651"/>
                  <a:pt x="1005840" y="2568295"/>
                  <a:pt x="991263" y="2548251"/>
                </a:cubicBezTo>
                <a:lnTo>
                  <a:pt x="1005840" y="2540964"/>
                </a:lnTo>
                <a:lnTo>
                  <a:pt x="1020418" y="2548251"/>
                </a:lnTo>
                <a:lnTo>
                  <a:pt x="1020418" y="2531852"/>
                </a:lnTo>
                <a:lnTo>
                  <a:pt x="1005840" y="2539141"/>
                </a:lnTo>
                <a:lnTo>
                  <a:pt x="1005840" y="2524564"/>
                </a:lnTo>
                <a:cubicBezTo>
                  <a:pt x="1007663" y="2524564"/>
                  <a:pt x="1007663" y="2522741"/>
                  <a:pt x="1009485" y="2522741"/>
                </a:cubicBezTo>
                <a:cubicBezTo>
                  <a:pt x="1013129" y="2524564"/>
                  <a:pt x="1014951" y="2528208"/>
                  <a:pt x="1018596" y="2528208"/>
                </a:cubicBezTo>
                <a:cubicBezTo>
                  <a:pt x="1020418" y="2526385"/>
                  <a:pt x="1018596" y="2524564"/>
                  <a:pt x="1022240" y="2524564"/>
                </a:cubicBezTo>
                <a:cubicBezTo>
                  <a:pt x="1022240" y="2522741"/>
                  <a:pt x="1020418" y="2522741"/>
                  <a:pt x="1020418" y="2522741"/>
                </a:cubicBezTo>
                <a:cubicBezTo>
                  <a:pt x="1020418" y="2520919"/>
                  <a:pt x="1022240" y="2522741"/>
                  <a:pt x="1024062" y="2520919"/>
                </a:cubicBezTo>
                <a:cubicBezTo>
                  <a:pt x="1024062" y="2517275"/>
                  <a:pt x="1020418" y="2519097"/>
                  <a:pt x="1020418" y="2517275"/>
                </a:cubicBezTo>
                <a:cubicBezTo>
                  <a:pt x="1020418" y="2515452"/>
                  <a:pt x="1022240" y="2515452"/>
                  <a:pt x="1022240" y="2513631"/>
                </a:cubicBezTo>
                <a:cubicBezTo>
                  <a:pt x="1018596" y="2513631"/>
                  <a:pt x="1014951" y="2517275"/>
                  <a:pt x="1013129" y="2519097"/>
                </a:cubicBezTo>
                <a:cubicBezTo>
                  <a:pt x="1011307" y="2520919"/>
                  <a:pt x="1005840" y="2520919"/>
                  <a:pt x="1002196" y="2522741"/>
                </a:cubicBezTo>
                <a:cubicBezTo>
                  <a:pt x="994907" y="2520919"/>
                  <a:pt x="991263" y="2520919"/>
                  <a:pt x="989441" y="2519097"/>
                </a:cubicBezTo>
                <a:cubicBezTo>
                  <a:pt x="991263" y="2519097"/>
                  <a:pt x="991263" y="2519097"/>
                  <a:pt x="991263" y="2519097"/>
                </a:cubicBezTo>
                <a:cubicBezTo>
                  <a:pt x="989441" y="2517275"/>
                  <a:pt x="991263" y="2515452"/>
                  <a:pt x="993085" y="2513631"/>
                </a:cubicBezTo>
                <a:cubicBezTo>
                  <a:pt x="991263" y="2511808"/>
                  <a:pt x="989441" y="2511808"/>
                  <a:pt x="985796" y="2513631"/>
                </a:cubicBezTo>
                <a:cubicBezTo>
                  <a:pt x="983974" y="2513631"/>
                  <a:pt x="987619" y="2509987"/>
                  <a:pt x="987619" y="2508163"/>
                </a:cubicBezTo>
                <a:cubicBezTo>
                  <a:pt x="985796" y="2508163"/>
                  <a:pt x="985796" y="2508163"/>
                  <a:pt x="983974" y="2509987"/>
                </a:cubicBezTo>
                <a:cubicBezTo>
                  <a:pt x="983974" y="2508163"/>
                  <a:pt x="982152" y="2506341"/>
                  <a:pt x="980330" y="2502697"/>
                </a:cubicBezTo>
                <a:lnTo>
                  <a:pt x="1011307" y="2491764"/>
                </a:lnTo>
                <a:lnTo>
                  <a:pt x="994907" y="2469898"/>
                </a:lnTo>
                <a:lnTo>
                  <a:pt x="1018596" y="2469898"/>
                </a:lnTo>
                <a:lnTo>
                  <a:pt x="1002196" y="2448032"/>
                </a:lnTo>
                <a:lnTo>
                  <a:pt x="980330" y="2448032"/>
                </a:lnTo>
                <a:cubicBezTo>
                  <a:pt x="996729" y="2422521"/>
                  <a:pt x="998552" y="2437099"/>
                  <a:pt x="1002196" y="2402478"/>
                </a:cubicBezTo>
                <a:lnTo>
                  <a:pt x="983974" y="2402478"/>
                </a:lnTo>
                <a:lnTo>
                  <a:pt x="983974" y="2378789"/>
                </a:lnTo>
                <a:lnTo>
                  <a:pt x="1005840" y="2395189"/>
                </a:lnTo>
                <a:cubicBezTo>
                  <a:pt x="1007663" y="2362390"/>
                  <a:pt x="1004018" y="2382433"/>
                  <a:pt x="1020418" y="2356923"/>
                </a:cubicBezTo>
                <a:lnTo>
                  <a:pt x="998552" y="2364211"/>
                </a:lnTo>
                <a:lnTo>
                  <a:pt x="985796" y="2360567"/>
                </a:lnTo>
                <a:cubicBezTo>
                  <a:pt x="985796" y="2358745"/>
                  <a:pt x="985796" y="2358745"/>
                  <a:pt x="985796" y="2358745"/>
                </a:cubicBezTo>
                <a:cubicBezTo>
                  <a:pt x="989441" y="2358745"/>
                  <a:pt x="989441" y="2360567"/>
                  <a:pt x="993085" y="2360567"/>
                </a:cubicBezTo>
                <a:cubicBezTo>
                  <a:pt x="993085" y="2358745"/>
                  <a:pt x="993085" y="2356923"/>
                  <a:pt x="991263" y="2355101"/>
                </a:cubicBezTo>
                <a:cubicBezTo>
                  <a:pt x="993085" y="2355101"/>
                  <a:pt x="993085" y="2358745"/>
                  <a:pt x="994907" y="2358745"/>
                </a:cubicBezTo>
                <a:cubicBezTo>
                  <a:pt x="996729" y="2356923"/>
                  <a:pt x="993085" y="2353279"/>
                  <a:pt x="993085" y="2351457"/>
                </a:cubicBezTo>
                <a:cubicBezTo>
                  <a:pt x="994907" y="2351457"/>
                  <a:pt x="996729" y="2353279"/>
                  <a:pt x="998552" y="2353279"/>
                </a:cubicBezTo>
                <a:lnTo>
                  <a:pt x="993754" y="2348480"/>
                </a:lnTo>
                <a:lnTo>
                  <a:pt x="980330" y="2351465"/>
                </a:lnTo>
                <a:cubicBezTo>
                  <a:pt x="978508" y="2351465"/>
                  <a:pt x="976685" y="2349642"/>
                  <a:pt x="974863" y="2351465"/>
                </a:cubicBezTo>
                <a:cubicBezTo>
                  <a:pt x="978508" y="2349642"/>
                  <a:pt x="980330" y="2347820"/>
                  <a:pt x="983974" y="2345997"/>
                </a:cubicBezTo>
                <a:lnTo>
                  <a:pt x="994907" y="2340531"/>
                </a:lnTo>
                <a:cubicBezTo>
                  <a:pt x="994907" y="2340531"/>
                  <a:pt x="996729" y="2340531"/>
                  <a:pt x="996729" y="2340531"/>
                </a:cubicBezTo>
                <a:cubicBezTo>
                  <a:pt x="996729" y="2340531"/>
                  <a:pt x="998552" y="2340531"/>
                  <a:pt x="1000374" y="2340531"/>
                </a:cubicBezTo>
                <a:cubicBezTo>
                  <a:pt x="1005840" y="2338708"/>
                  <a:pt x="1007663" y="2333242"/>
                  <a:pt x="1013129" y="2331420"/>
                </a:cubicBezTo>
                <a:cubicBezTo>
                  <a:pt x="1014951" y="2333242"/>
                  <a:pt x="1014951" y="2336886"/>
                  <a:pt x="1016774" y="2336886"/>
                </a:cubicBezTo>
                <a:cubicBezTo>
                  <a:pt x="1016774" y="2336886"/>
                  <a:pt x="1016774" y="2335064"/>
                  <a:pt x="1014951" y="2333242"/>
                </a:cubicBezTo>
                <a:cubicBezTo>
                  <a:pt x="1016774" y="2333242"/>
                  <a:pt x="1018140" y="2335064"/>
                  <a:pt x="1019506" y="2336431"/>
                </a:cubicBezTo>
                <a:lnTo>
                  <a:pt x="1022045" y="2336684"/>
                </a:lnTo>
                <a:lnTo>
                  <a:pt x="1018619" y="2333257"/>
                </a:lnTo>
                <a:lnTo>
                  <a:pt x="1018596" y="2333242"/>
                </a:lnTo>
                <a:cubicBezTo>
                  <a:pt x="1018596" y="2331420"/>
                  <a:pt x="1018596" y="2329597"/>
                  <a:pt x="1016774" y="2327774"/>
                </a:cubicBezTo>
                <a:lnTo>
                  <a:pt x="1040462" y="2324987"/>
                </a:lnTo>
                <a:lnTo>
                  <a:pt x="1040462" y="2322302"/>
                </a:lnTo>
                <a:lnTo>
                  <a:pt x="1050071" y="2317497"/>
                </a:lnTo>
                <a:lnTo>
                  <a:pt x="1034995" y="2318671"/>
                </a:lnTo>
                <a:cubicBezTo>
                  <a:pt x="1038640" y="2315027"/>
                  <a:pt x="1042284" y="2313205"/>
                  <a:pt x="1045929" y="2311381"/>
                </a:cubicBezTo>
                <a:cubicBezTo>
                  <a:pt x="1049573" y="2309561"/>
                  <a:pt x="1053217" y="2307738"/>
                  <a:pt x="1056861" y="2305914"/>
                </a:cubicBezTo>
                <a:cubicBezTo>
                  <a:pt x="1060506" y="2302270"/>
                  <a:pt x="1067795" y="2298625"/>
                  <a:pt x="1073262" y="2294981"/>
                </a:cubicBezTo>
                <a:cubicBezTo>
                  <a:pt x="1073262" y="2297715"/>
                  <a:pt x="1073718" y="2301360"/>
                  <a:pt x="1073718" y="2304777"/>
                </a:cubicBezTo>
                <a:lnTo>
                  <a:pt x="1072515" y="2309226"/>
                </a:lnTo>
                <a:lnTo>
                  <a:pt x="1074644" y="2308387"/>
                </a:lnTo>
                <a:lnTo>
                  <a:pt x="1073260" y="2293159"/>
                </a:lnTo>
                <a:lnTo>
                  <a:pt x="1114692" y="2277620"/>
                </a:lnTo>
                <a:lnTo>
                  <a:pt x="1113349" y="2274935"/>
                </a:lnTo>
                <a:cubicBezTo>
                  <a:pt x="1116993" y="2274935"/>
                  <a:pt x="1116993" y="2271290"/>
                  <a:pt x="1116993" y="2267646"/>
                </a:cubicBezTo>
                <a:cubicBezTo>
                  <a:pt x="1115171" y="2265823"/>
                  <a:pt x="1111526" y="2267646"/>
                  <a:pt x="1109704" y="2269468"/>
                </a:cubicBezTo>
                <a:cubicBezTo>
                  <a:pt x="1109704" y="2267646"/>
                  <a:pt x="1111526" y="2265823"/>
                  <a:pt x="1109704" y="2262179"/>
                </a:cubicBezTo>
                <a:cubicBezTo>
                  <a:pt x="1106060" y="2262179"/>
                  <a:pt x="1106060" y="2265823"/>
                  <a:pt x="1106060" y="2267646"/>
                </a:cubicBezTo>
                <a:cubicBezTo>
                  <a:pt x="1104238" y="2267646"/>
                  <a:pt x="1104238" y="2265823"/>
                  <a:pt x="1102416" y="2265823"/>
                </a:cubicBezTo>
                <a:cubicBezTo>
                  <a:pt x="1100593" y="2267646"/>
                  <a:pt x="1104238" y="2274935"/>
                  <a:pt x="1102416" y="2278579"/>
                </a:cubicBezTo>
                <a:cubicBezTo>
                  <a:pt x="1091484" y="2284046"/>
                  <a:pt x="1082373" y="2287691"/>
                  <a:pt x="1069616" y="2293157"/>
                </a:cubicBezTo>
                <a:cubicBezTo>
                  <a:pt x="1060506" y="2298624"/>
                  <a:pt x="1053217" y="2305913"/>
                  <a:pt x="1044106" y="2309559"/>
                </a:cubicBezTo>
                <a:cubicBezTo>
                  <a:pt x="1034995" y="2313202"/>
                  <a:pt x="1027707" y="2320492"/>
                  <a:pt x="1018596" y="2324137"/>
                </a:cubicBezTo>
                <a:cubicBezTo>
                  <a:pt x="1020418" y="2318669"/>
                  <a:pt x="1022240" y="2315025"/>
                  <a:pt x="1025884" y="2311381"/>
                </a:cubicBezTo>
                <a:cubicBezTo>
                  <a:pt x="1020418" y="2307735"/>
                  <a:pt x="1020418" y="2318669"/>
                  <a:pt x="1018596" y="2320492"/>
                </a:cubicBezTo>
                <a:cubicBezTo>
                  <a:pt x="1014951" y="2324137"/>
                  <a:pt x="1005840" y="2327780"/>
                  <a:pt x="998552" y="2329602"/>
                </a:cubicBezTo>
                <a:cubicBezTo>
                  <a:pt x="998552" y="2327780"/>
                  <a:pt x="998552" y="2327780"/>
                  <a:pt x="998552" y="2325958"/>
                </a:cubicBezTo>
                <a:cubicBezTo>
                  <a:pt x="998552" y="2324137"/>
                  <a:pt x="996729" y="2324137"/>
                  <a:pt x="996729" y="2322314"/>
                </a:cubicBezTo>
                <a:cubicBezTo>
                  <a:pt x="993085" y="2322314"/>
                  <a:pt x="993085" y="2324137"/>
                  <a:pt x="991263" y="2325958"/>
                </a:cubicBezTo>
                <a:cubicBezTo>
                  <a:pt x="989441" y="2325958"/>
                  <a:pt x="989441" y="2324137"/>
                  <a:pt x="987619" y="2324137"/>
                </a:cubicBezTo>
                <a:cubicBezTo>
                  <a:pt x="983974" y="2324137"/>
                  <a:pt x="985796" y="2327780"/>
                  <a:pt x="985796" y="2331426"/>
                </a:cubicBezTo>
                <a:cubicBezTo>
                  <a:pt x="985796" y="2331426"/>
                  <a:pt x="983974" y="2331426"/>
                  <a:pt x="983974" y="2331426"/>
                </a:cubicBezTo>
                <a:lnTo>
                  <a:pt x="978508" y="2325958"/>
                </a:lnTo>
                <a:lnTo>
                  <a:pt x="978508" y="2333248"/>
                </a:lnTo>
                <a:cubicBezTo>
                  <a:pt x="971219" y="2335070"/>
                  <a:pt x="962108" y="2340536"/>
                  <a:pt x="954819" y="2342359"/>
                </a:cubicBezTo>
                <a:cubicBezTo>
                  <a:pt x="951175" y="2342359"/>
                  <a:pt x="945709" y="2342359"/>
                  <a:pt x="942064" y="2342359"/>
                </a:cubicBezTo>
                <a:cubicBezTo>
                  <a:pt x="947531" y="2340536"/>
                  <a:pt x="945709" y="2342359"/>
                  <a:pt x="949353" y="2325958"/>
                </a:cubicBezTo>
                <a:cubicBezTo>
                  <a:pt x="971219" y="2320492"/>
                  <a:pt x="962108" y="2324137"/>
                  <a:pt x="978508" y="2311381"/>
                </a:cubicBezTo>
                <a:lnTo>
                  <a:pt x="987619" y="2289513"/>
                </a:lnTo>
                <a:cubicBezTo>
                  <a:pt x="978508" y="2269468"/>
                  <a:pt x="978508" y="2285868"/>
                  <a:pt x="987619" y="2265823"/>
                </a:cubicBezTo>
                <a:lnTo>
                  <a:pt x="1009485" y="2282224"/>
                </a:lnTo>
                <a:lnTo>
                  <a:pt x="1011307" y="2322314"/>
                </a:lnTo>
                <a:lnTo>
                  <a:pt x="1031351" y="2298624"/>
                </a:lnTo>
                <a:lnTo>
                  <a:pt x="1009485" y="2282224"/>
                </a:lnTo>
                <a:lnTo>
                  <a:pt x="1009485" y="2264001"/>
                </a:lnTo>
                <a:cubicBezTo>
                  <a:pt x="1009485" y="2262179"/>
                  <a:pt x="1011307" y="2262179"/>
                  <a:pt x="1011307" y="2262179"/>
                </a:cubicBezTo>
                <a:cubicBezTo>
                  <a:pt x="1016774" y="2271290"/>
                  <a:pt x="1024062" y="2271290"/>
                  <a:pt x="1033173" y="2273113"/>
                </a:cubicBezTo>
                <a:cubicBezTo>
                  <a:pt x="1036818" y="2269468"/>
                  <a:pt x="1031351" y="2264001"/>
                  <a:pt x="1027707" y="2262179"/>
                </a:cubicBezTo>
                <a:cubicBezTo>
                  <a:pt x="1029529" y="2260358"/>
                  <a:pt x="1029529" y="2258535"/>
                  <a:pt x="1027707" y="2256712"/>
                </a:cubicBezTo>
                <a:cubicBezTo>
                  <a:pt x="1033173" y="2254890"/>
                  <a:pt x="1031351" y="2247601"/>
                  <a:pt x="1025884" y="2247601"/>
                </a:cubicBezTo>
                <a:cubicBezTo>
                  <a:pt x="1025884" y="2245778"/>
                  <a:pt x="1027707" y="2247601"/>
                  <a:pt x="1027707" y="2245778"/>
                </a:cubicBezTo>
                <a:cubicBezTo>
                  <a:pt x="1025884" y="2242134"/>
                  <a:pt x="1024062" y="2242134"/>
                  <a:pt x="1020418" y="2242134"/>
                </a:cubicBezTo>
                <a:cubicBezTo>
                  <a:pt x="1020418" y="2240312"/>
                  <a:pt x="1022240" y="2238489"/>
                  <a:pt x="1022240" y="2236668"/>
                </a:cubicBezTo>
                <a:lnTo>
                  <a:pt x="1025884" y="2234844"/>
                </a:lnTo>
                <a:lnTo>
                  <a:pt x="1022240" y="2233022"/>
                </a:lnTo>
                <a:cubicBezTo>
                  <a:pt x="1036818" y="2225734"/>
                  <a:pt x="1053217" y="2222089"/>
                  <a:pt x="1064151" y="2218444"/>
                </a:cubicBezTo>
                <a:cubicBezTo>
                  <a:pt x="1067794" y="2222089"/>
                  <a:pt x="1071439" y="2222089"/>
                  <a:pt x="1073262" y="2234844"/>
                </a:cubicBezTo>
                <a:cubicBezTo>
                  <a:pt x="1075083" y="2238489"/>
                  <a:pt x="1069616" y="2242134"/>
                  <a:pt x="1071439" y="2245778"/>
                </a:cubicBezTo>
                <a:cubicBezTo>
                  <a:pt x="1071439" y="2247601"/>
                  <a:pt x="1073262" y="2247601"/>
                  <a:pt x="1073262" y="2247601"/>
                </a:cubicBezTo>
                <a:cubicBezTo>
                  <a:pt x="1076905" y="2243956"/>
                  <a:pt x="1073262" y="2238489"/>
                  <a:pt x="1076905" y="2234844"/>
                </a:cubicBezTo>
                <a:cubicBezTo>
                  <a:pt x="1076905" y="2242134"/>
                  <a:pt x="1080549" y="2242134"/>
                  <a:pt x="1086016" y="2245778"/>
                </a:cubicBezTo>
                <a:cubicBezTo>
                  <a:pt x="1091484" y="2247601"/>
                  <a:pt x="1095127" y="2253067"/>
                  <a:pt x="1102416" y="2251245"/>
                </a:cubicBezTo>
                <a:cubicBezTo>
                  <a:pt x="1106060" y="2249423"/>
                  <a:pt x="1100593" y="2243956"/>
                  <a:pt x="1104238" y="2243956"/>
                </a:cubicBezTo>
                <a:cubicBezTo>
                  <a:pt x="1098771" y="2231200"/>
                  <a:pt x="1086016" y="2233022"/>
                  <a:pt x="1076905" y="2223910"/>
                </a:cubicBezTo>
                <a:cubicBezTo>
                  <a:pt x="1080549" y="2222089"/>
                  <a:pt x="1093305" y="2222089"/>
                  <a:pt x="1093305" y="2216623"/>
                </a:cubicBezTo>
                <a:cubicBezTo>
                  <a:pt x="1120637" y="2214800"/>
                  <a:pt x="1151614" y="2205689"/>
                  <a:pt x="1175302" y="2214800"/>
                </a:cubicBezTo>
                <a:cubicBezTo>
                  <a:pt x="1177125" y="2212978"/>
                  <a:pt x="1178947" y="2211155"/>
                  <a:pt x="1177125" y="2209334"/>
                </a:cubicBezTo>
                <a:cubicBezTo>
                  <a:pt x="1188059" y="2207510"/>
                  <a:pt x="1198536" y="2206600"/>
                  <a:pt x="1208558" y="2207055"/>
                </a:cubicBezTo>
                <a:cubicBezTo>
                  <a:pt x="1218580" y="2207510"/>
                  <a:pt x="1228146" y="2209334"/>
                  <a:pt x="1237257" y="2212978"/>
                </a:cubicBezTo>
                <a:cubicBezTo>
                  <a:pt x="1239080" y="2214800"/>
                  <a:pt x="1240902" y="2218444"/>
                  <a:pt x="1244546" y="2218444"/>
                </a:cubicBezTo>
                <a:cubicBezTo>
                  <a:pt x="1248191" y="2218444"/>
                  <a:pt x="1246368" y="2212978"/>
                  <a:pt x="1244546" y="2211155"/>
                </a:cubicBezTo>
                <a:cubicBezTo>
                  <a:pt x="1250013" y="2211155"/>
                  <a:pt x="1253657" y="2211155"/>
                  <a:pt x="1259123" y="2211155"/>
                </a:cubicBezTo>
                <a:cubicBezTo>
                  <a:pt x="1260946" y="2212978"/>
                  <a:pt x="1264590" y="2216623"/>
                  <a:pt x="1268234" y="2214800"/>
                </a:cubicBezTo>
                <a:lnTo>
                  <a:pt x="1269326" y="2223540"/>
                </a:lnTo>
                <a:lnTo>
                  <a:pt x="1277344" y="2218437"/>
                </a:lnTo>
                <a:cubicBezTo>
                  <a:pt x="1277344" y="2223904"/>
                  <a:pt x="1282811" y="2227548"/>
                  <a:pt x="1286455" y="2229370"/>
                </a:cubicBezTo>
                <a:cubicBezTo>
                  <a:pt x="1290099" y="2228459"/>
                  <a:pt x="1291466" y="2226181"/>
                  <a:pt x="1291466" y="2223220"/>
                </a:cubicBezTo>
                <a:lnTo>
                  <a:pt x="1288906" y="2214991"/>
                </a:lnTo>
                <a:lnTo>
                  <a:pt x="1286455" y="2216624"/>
                </a:lnTo>
                <a:lnTo>
                  <a:pt x="1282811" y="2212980"/>
                </a:lnTo>
                <a:lnTo>
                  <a:pt x="1284633" y="2211156"/>
                </a:lnTo>
                <a:cubicBezTo>
                  <a:pt x="1286455" y="2211156"/>
                  <a:pt x="1288277" y="2212980"/>
                  <a:pt x="1291922" y="2212980"/>
                </a:cubicBezTo>
                <a:lnTo>
                  <a:pt x="1291359" y="2213356"/>
                </a:lnTo>
                <a:lnTo>
                  <a:pt x="1302855" y="2214793"/>
                </a:lnTo>
                <a:cubicBezTo>
                  <a:pt x="1306499" y="2214793"/>
                  <a:pt x="1302855" y="2211148"/>
                  <a:pt x="1304677" y="2211148"/>
                </a:cubicBezTo>
                <a:cubicBezTo>
                  <a:pt x="1315610" y="2214793"/>
                  <a:pt x="1310143" y="2231192"/>
                  <a:pt x="1321077" y="2233014"/>
                </a:cubicBezTo>
                <a:cubicBezTo>
                  <a:pt x="1324721" y="2227548"/>
                  <a:pt x="1315610" y="2220259"/>
                  <a:pt x="1315610" y="2214793"/>
                </a:cubicBezTo>
                <a:cubicBezTo>
                  <a:pt x="1321077" y="2216615"/>
                  <a:pt x="1322899" y="2223904"/>
                  <a:pt x="1326543" y="2227548"/>
                </a:cubicBezTo>
                <a:cubicBezTo>
                  <a:pt x="1328365" y="2223904"/>
                  <a:pt x="1324721" y="2220259"/>
                  <a:pt x="1322899" y="2216615"/>
                </a:cubicBezTo>
                <a:cubicBezTo>
                  <a:pt x="1326543" y="2218437"/>
                  <a:pt x="1332009" y="2220259"/>
                  <a:pt x="1335654" y="2218437"/>
                </a:cubicBezTo>
                <a:cubicBezTo>
                  <a:pt x="1333832" y="2212970"/>
                  <a:pt x="1326543" y="2216615"/>
                  <a:pt x="1326543" y="2211148"/>
                </a:cubicBezTo>
                <a:cubicBezTo>
                  <a:pt x="1322899" y="2209326"/>
                  <a:pt x="1317432" y="2211148"/>
                  <a:pt x="1315610" y="2209326"/>
                </a:cubicBezTo>
                <a:cubicBezTo>
                  <a:pt x="1317432" y="2203860"/>
                  <a:pt x="1322899" y="2205682"/>
                  <a:pt x="1328365" y="2205682"/>
                </a:cubicBezTo>
                <a:cubicBezTo>
                  <a:pt x="1335654" y="2205682"/>
                  <a:pt x="1341120" y="2203860"/>
                  <a:pt x="1346587" y="2205682"/>
                </a:cubicBezTo>
                <a:cubicBezTo>
                  <a:pt x="1342942" y="2198393"/>
                  <a:pt x="1332009" y="2203860"/>
                  <a:pt x="1324721" y="2202037"/>
                </a:cubicBezTo>
                <a:cubicBezTo>
                  <a:pt x="1324721" y="2202037"/>
                  <a:pt x="1328365" y="2200215"/>
                  <a:pt x="1330188" y="2200215"/>
                </a:cubicBezTo>
                <a:cubicBezTo>
                  <a:pt x="1322899" y="2200215"/>
                  <a:pt x="1313788" y="2202037"/>
                  <a:pt x="1308321" y="2200215"/>
                </a:cubicBezTo>
                <a:cubicBezTo>
                  <a:pt x="1311966" y="2196571"/>
                  <a:pt x="1317432" y="2194749"/>
                  <a:pt x="1321077" y="2192926"/>
                </a:cubicBezTo>
                <a:cubicBezTo>
                  <a:pt x="1322899" y="2191104"/>
                  <a:pt x="1324721" y="2189282"/>
                  <a:pt x="1328365" y="2187460"/>
                </a:cubicBezTo>
                <a:cubicBezTo>
                  <a:pt x="1332009" y="2185638"/>
                  <a:pt x="1335654" y="2183816"/>
                  <a:pt x="1341120" y="2181993"/>
                </a:cubicBezTo>
                <a:cubicBezTo>
                  <a:pt x="1352053" y="2176527"/>
                  <a:pt x="1364809" y="2167416"/>
                  <a:pt x="1373920" y="2169238"/>
                </a:cubicBezTo>
                <a:cubicBezTo>
                  <a:pt x="1375743" y="2167416"/>
                  <a:pt x="1373920" y="2167416"/>
                  <a:pt x="1373920" y="2165594"/>
                </a:cubicBezTo>
                <a:cubicBezTo>
                  <a:pt x="1381208" y="2163772"/>
                  <a:pt x="1384854" y="2158304"/>
                  <a:pt x="1392141" y="2156483"/>
                </a:cubicBezTo>
                <a:cubicBezTo>
                  <a:pt x="1393963" y="2160127"/>
                  <a:pt x="1393963" y="2165594"/>
                  <a:pt x="1397608" y="2165594"/>
                </a:cubicBezTo>
                <a:cubicBezTo>
                  <a:pt x="1399430" y="2161950"/>
                  <a:pt x="1397608" y="2158304"/>
                  <a:pt x="1393963" y="2156483"/>
                </a:cubicBezTo>
                <a:cubicBezTo>
                  <a:pt x="1397608" y="2156483"/>
                  <a:pt x="1401252" y="2161950"/>
                  <a:pt x="1406719" y="2160127"/>
                </a:cubicBezTo>
                <a:cubicBezTo>
                  <a:pt x="1404896" y="2156483"/>
                  <a:pt x="1399430" y="2156483"/>
                  <a:pt x="1399430" y="2154660"/>
                </a:cubicBezTo>
                <a:cubicBezTo>
                  <a:pt x="1401252" y="2152839"/>
                  <a:pt x="1406719" y="2151017"/>
                  <a:pt x="1406719" y="2147372"/>
                </a:cubicBezTo>
                <a:cubicBezTo>
                  <a:pt x="1403074" y="2145550"/>
                  <a:pt x="1401252" y="2151017"/>
                  <a:pt x="1395787" y="2151017"/>
                </a:cubicBezTo>
                <a:cubicBezTo>
                  <a:pt x="1395787" y="2149194"/>
                  <a:pt x="1399430" y="2147372"/>
                  <a:pt x="1397608" y="2145550"/>
                </a:cubicBezTo>
                <a:cubicBezTo>
                  <a:pt x="1397608" y="2143728"/>
                  <a:pt x="1395787" y="2143728"/>
                  <a:pt x="1395787" y="2143728"/>
                </a:cubicBezTo>
                <a:cubicBezTo>
                  <a:pt x="1393963" y="2143728"/>
                  <a:pt x="1392141" y="2145550"/>
                  <a:pt x="1393963" y="2149194"/>
                </a:cubicBezTo>
                <a:cubicBezTo>
                  <a:pt x="1390319" y="2149194"/>
                  <a:pt x="1390319" y="2151017"/>
                  <a:pt x="1386676" y="2151017"/>
                </a:cubicBezTo>
                <a:cubicBezTo>
                  <a:pt x="1383030" y="2158304"/>
                  <a:pt x="1373920" y="2161950"/>
                  <a:pt x="1366632" y="2165594"/>
                </a:cubicBezTo>
                <a:cubicBezTo>
                  <a:pt x="1362987" y="2165594"/>
                  <a:pt x="1366632" y="2163772"/>
                  <a:pt x="1364809" y="2161950"/>
                </a:cubicBezTo>
                <a:cubicBezTo>
                  <a:pt x="1361164" y="2161950"/>
                  <a:pt x="1361164" y="2165594"/>
                  <a:pt x="1359342" y="2167416"/>
                </a:cubicBezTo>
                <a:cubicBezTo>
                  <a:pt x="1350231" y="2174705"/>
                  <a:pt x="1337476" y="2178349"/>
                  <a:pt x="1326543" y="2183816"/>
                </a:cubicBezTo>
                <a:cubicBezTo>
                  <a:pt x="1322899" y="2185638"/>
                  <a:pt x="1319254" y="2189282"/>
                  <a:pt x="1315610" y="2191104"/>
                </a:cubicBezTo>
                <a:cubicBezTo>
                  <a:pt x="1313788" y="2191104"/>
                  <a:pt x="1311966" y="2189282"/>
                  <a:pt x="1308321" y="2189282"/>
                </a:cubicBezTo>
                <a:cubicBezTo>
                  <a:pt x="1304677" y="2189282"/>
                  <a:pt x="1302855" y="2191104"/>
                  <a:pt x="1301033" y="2189282"/>
                </a:cubicBezTo>
                <a:cubicBezTo>
                  <a:pt x="1299210" y="2187460"/>
                  <a:pt x="1301033" y="2183816"/>
                  <a:pt x="1301033" y="2181993"/>
                </a:cubicBezTo>
                <a:cubicBezTo>
                  <a:pt x="1299210" y="2176527"/>
                  <a:pt x="1291922" y="2172883"/>
                  <a:pt x="1286455" y="2172883"/>
                </a:cubicBezTo>
                <a:cubicBezTo>
                  <a:pt x="1286455" y="2171060"/>
                  <a:pt x="1286455" y="2171060"/>
                  <a:pt x="1286455" y="2169238"/>
                </a:cubicBezTo>
                <a:cubicBezTo>
                  <a:pt x="1280989" y="2165594"/>
                  <a:pt x="1279166" y="2176527"/>
                  <a:pt x="1273700" y="2176527"/>
                </a:cubicBezTo>
                <a:cubicBezTo>
                  <a:pt x="1273700" y="2176527"/>
                  <a:pt x="1271878" y="2178349"/>
                  <a:pt x="1271878" y="2180171"/>
                </a:cubicBezTo>
                <a:cubicBezTo>
                  <a:pt x="1270056" y="2180171"/>
                  <a:pt x="1270056" y="2180171"/>
                  <a:pt x="1268233" y="2180171"/>
                </a:cubicBezTo>
                <a:cubicBezTo>
                  <a:pt x="1273700" y="2171060"/>
                  <a:pt x="1275522" y="2149194"/>
                  <a:pt x="1260945" y="2145550"/>
                </a:cubicBezTo>
                <a:cubicBezTo>
                  <a:pt x="1253656" y="2152839"/>
                  <a:pt x="1259123" y="2172883"/>
                  <a:pt x="1266411" y="2180171"/>
                </a:cubicBezTo>
                <a:cubicBezTo>
                  <a:pt x="1264589" y="2180171"/>
                  <a:pt x="1264589" y="2178349"/>
                  <a:pt x="1262767" y="2178349"/>
                </a:cubicBezTo>
                <a:cubicBezTo>
                  <a:pt x="1259123" y="2180171"/>
                  <a:pt x="1260945" y="2183816"/>
                  <a:pt x="1260945" y="2185638"/>
                </a:cubicBezTo>
                <a:cubicBezTo>
                  <a:pt x="1242723" y="2189282"/>
                  <a:pt x="1228146" y="2185638"/>
                  <a:pt x="1211747" y="2183816"/>
                </a:cubicBezTo>
                <a:cubicBezTo>
                  <a:pt x="1209925" y="2181993"/>
                  <a:pt x="1213568" y="2181993"/>
                  <a:pt x="1211747" y="2180171"/>
                </a:cubicBezTo>
                <a:cubicBezTo>
                  <a:pt x="1211747" y="2178349"/>
                  <a:pt x="1209925" y="2180171"/>
                  <a:pt x="1209925" y="2178349"/>
                </a:cubicBezTo>
                <a:cubicBezTo>
                  <a:pt x="1208102" y="2180171"/>
                  <a:pt x="1206279" y="2180171"/>
                  <a:pt x="1206279" y="2181993"/>
                </a:cubicBezTo>
                <a:cubicBezTo>
                  <a:pt x="1182592" y="2185638"/>
                  <a:pt x="1162547" y="2187460"/>
                  <a:pt x="1142503" y="2187460"/>
                </a:cubicBezTo>
                <a:cubicBezTo>
                  <a:pt x="1142503" y="2187460"/>
                  <a:pt x="1140681" y="2185638"/>
                  <a:pt x="1138859" y="2185638"/>
                </a:cubicBezTo>
                <a:cubicBezTo>
                  <a:pt x="1126104" y="2189282"/>
                  <a:pt x="1109704" y="2191104"/>
                  <a:pt x="1096949" y="2191104"/>
                </a:cubicBezTo>
                <a:cubicBezTo>
                  <a:pt x="1095127" y="2189282"/>
                  <a:pt x="1096949" y="2189282"/>
                  <a:pt x="1096949" y="2187460"/>
                </a:cubicBezTo>
                <a:cubicBezTo>
                  <a:pt x="1093305" y="2187460"/>
                  <a:pt x="1091484" y="2192926"/>
                  <a:pt x="1087838" y="2192926"/>
                </a:cubicBezTo>
                <a:cubicBezTo>
                  <a:pt x="1080549" y="2183816"/>
                  <a:pt x="1069616" y="2181993"/>
                  <a:pt x="1058683" y="2181993"/>
                </a:cubicBezTo>
                <a:cubicBezTo>
                  <a:pt x="1058683" y="2178349"/>
                  <a:pt x="1055040" y="2176527"/>
                  <a:pt x="1053217" y="2174705"/>
                </a:cubicBezTo>
                <a:cubicBezTo>
                  <a:pt x="1053217" y="2174705"/>
                  <a:pt x="1053217" y="2172883"/>
                  <a:pt x="1053217" y="2172883"/>
                </a:cubicBezTo>
                <a:cubicBezTo>
                  <a:pt x="1051395" y="2171060"/>
                  <a:pt x="1047750" y="2171060"/>
                  <a:pt x="1051395" y="2167416"/>
                </a:cubicBezTo>
                <a:cubicBezTo>
                  <a:pt x="1053217" y="2167416"/>
                  <a:pt x="1053217" y="2169238"/>
                  <a:pt x="1055040" y="2169238"/>
                </a:cubicBezTo>
                <a:cubicBezTo>
                  <a:pt x="1056861" y="2167416"/>
                  <a:pt x="1058683" y="2167416"/>
                  <a:pt x="1058683" y="2165594"/>
                </a:cubicBezTo>
                <a:cubicBezTo>
                  <a:pt x="1069616" y="2169238"/>
                  <a:pt x="1082373" y="2181993"/>
                  <a:pt x="1095127" y="2176527"/>
                </a:cubicBezTo>
                <a:cubicBezTo>
                  <a:pt x="1091484" y="2169238"/>
                  <a:pt x="1082373" y="2167416"/>
                  <a:pt x="1078727" y="2163772"/>
                </a:cubicBezTo>
                <a:cubicBezTo>
                  <a:pt x="1087838" y="2163772"/>
                  <a:pt x="1111526" y="2152839"/>
                  <a:pt x="1107882" y="2143728"/>
                </a:cubicBezTo>
                <a:cubicBezTo>
                  <a:pt x="1104238" y="2138261"/>
                  <a:pt x="1084194" y="2143728"/>
                  <a:pt x="1075083" y="2147372"/>
                </a:cubicBezTo>
                <a:cubicBezTo>
                  <a:pt x="1076905" y="2143728"/>
                  <a:pt x="1080549" y="2141906"/>
                  <a:pt x="1078727" y="2136438"/>
                </a:cubicBezTo>
                <a:cubicBezTo>
                  <a:pt x="1076905" y="2134617"/>
                  <a:pt x="1073262" y="2136438"/>
                  <a:pt x="1071439" y="2138261"/>
                </a:cubicBezTo>
                <a:cubicBezTo>
                  <a:pt x="1073262" y="2130973"/>
                  <a:pt x="1076905" y="2123684"/>
                  <a:pt x="1075083" y="2114572"/>
                </a:cubicBezTo>
                <a:cubicBezTo>
                  <a:pt x="1075083" y="2112751"/>
                  <a:pt x="1073262" y="2112751"/>
                  <a:pt x="1073262" y="2112751"/>
                </a:cubicBezTo>
                <a:cubicBezTo>
                  <a:pt x="1062328" y="2121861"/>
                  <a:pt x="1062328" y="2138261"/>
                  <a:pt x="1056861" y="2151017"/>
                </a:cubicBezTo>
                <a:cubicBezTo>
                  <a:pt x="1055040" y="2152839"/>
                  <a:pt x="1053217" y="2151017"/>
                  <a:pt x="1053217" y="2152839"/>
                </a:cubicBezTo>
                <a:cubicBezTo>
                  <a:pt x="1051395" y="2154660"/>
                  <a:pt x="1053217" y="2156483"/>
                  <a:pt x="1053217" y="2158304"/>
                </a:cubicBezTo>
                <a:cubicBezTo>
                  <a:pt x="1053217" y="2158304"/>
                  <a:pt x="1051395" y="2156483"/>
                  <a:pt x="1051395" y="2154660"/>
                </a:cubicBezTo>
                <a:cubicBezTo>
                  <a:pt x="1049573" y="2154660"/>
                  <a:pt x="1049573" y="2156483"/>
                  <a:pt x="1049573" y="2156483"/>
                </a:cubicBezTo>
                <a:cubicBezTo>
                  <a:pt x="1049573" y="2151017"/>
                  <a:pt x="1055040" y="2145550"/>
                  <a:pt x="1056861" y="2140082"/>
                </a:cubicBezTo>
                <a:cubicBezTo>
                  <a:pt x="1058683" y="2130973"/>
                  <a:pt x="1062328" y="2121861"/>
                  <a:pt x="1060506" y="2110928"/>
                </a:cubicBezTo>
                <a:lnTo>
                  <a:pt x="1062328" y="2109107"/>
                </a:lnTo>
                <a:lnTo>
                  <a:pt x="1058683" y="2105461"/>
                </a:lnTo>
                <a:cubicBezTo>
                  <a:pt x="1058683" y="2103640"/>
                  <a:pt x="1056861" y="2103640"/>
                  <a:pt x="1056861" y="2101817"/>
                </a:cubicBezTo>
                <a:cubicBezTo>
                  <a:pt x="1055040" y="2101817"/>
                  <a:pt x="1055040" y="2101817"/>
                  <a:pt x="1055040" y="2101817"/>
                </a:cubicBezTo>
                <a:lnTo>
                  <a:pt x="1053217" y="2098174"/>
                </a:lnTo>
                <a:lnTo>
                  <a:pt x="1031351" y="2120040"/>
                </a:lnTo>
                <a:lnTo>
                  <a:pt x="1040462" y="2129150"/>
                </a:lnTo>
                <a:cubicBezTo>
                  <a:pt x="1038639" y="2129150"/>
                  <a:pt x="1038639" y="2130973"/>
                  <a:pt x="1038639" y="2130973"/>
                </a:cubicBezTo>
                <a:cubicBezTo>
                  <a:pt x="1036818" y="2132794"/>
                  <a:pt x="1038639" y="2134617"/>
                  <a:pt x="1038639" y="2136438"/>
                </a:cubicBezTo>
                <a:lnTo>
                  <a:pt x="1007663" y="2136438"/>
                </a:lnTo>
                <a:lnTo>
                  <a:pt x="1007663" y="2143728"/>
                </a:lnTo>
                <a:lnTo>
                  <a:pt x="1036818" y="2151017"/>
                </a:lnTo>
                <a:cubicBezTo>
                  <a:pt x="1036818" y="2156483"/>
                  <a:pt x="1036818" y="2161950"/>
                  <a:pt x="1036818" y="2165594"/>
                </a:cubicBezTo>
                <a:cubicBezTo>
                  <a:pt x="1034995" y="2165594"/>
                  <a:pt x="1034995" y="2165594"/>
                  <a:pt x="1033173" y="2167416"/>
                </a:cubicBezTo>
                <a:cubicBezTo>
                  <a:pt x="1033173" y="2169238"/>
                  <a:pt x="1034995" y="2171060"/>
                  <a:pt x="1034995" y="2172883"/>
                </a:cubicBezTo>
                <a:cubicBezTo>
                  <a:pt x="1034995" y="2176527"/>
                  <a:pt x="1033173" y="2178349"/>
                  <a:pt x="1031351" y="2180171"/>
                </a:cubicBezTo>
                <a:cubicBezTo>
                  <a:pt x="1033173" y="2178349"/>
                  <a:pt x="1031351" y="2174705"/>
                  <a:pt x="1029529" y="2174705"/>
                </a:cubicBezTo>
                <a:cubicBezTo>
                  <a:pt x="1025884" y="2176527"/>
                  <a:pt x="1025884" y="2178349"/>
                  <a:pt x="1027707" y="2181993"/>
                </a:cubicBezTo>
                <a:cubicBezTo>
                  <a:pt x="1025884" y="2180171"/>
                  <a:pt x="1024062" y="2176527"/>
                  <a:pt x="1022240" y="2171060"/>
                </a:cubicBezTo>
                <a:cubicBezTo>
                  <a:pt x="1022240" y="2169238"/>
                  <a:pt x="1022240" y="2165594"/>
                  <a:pt x="1022240" y="2163772"/>
                </a:cubicBezTo>
                <a:cubicBezTo>
                  <a:pt x="1020418" y="2152839"/>
                  <a:pt x="1011307" y="2143728"/>
                  <a:pt x="1002196" y="2149194"/>
                </a:cubicBezTo>
                <a:cubicBezTo>
                  <a:pt x="1002196" y="2151017"/>
                  <a:pt x="1002196" y="2152839"/>
                  <a:pt x="1002196" y="2154660"/>
                </a:cubicBezTo>
                <a:lnTo>
                  <a:pt x="993085" y="2154660"/>
                </a:lnTo>
                <a:lnTo>
                  <a:pt x="1007663" y="2169238"/>
                </a:lnTo>
                <a:lnTo>
                  <a:pt x="1007663" y="2165594"/>
                </a:lnTo>
                <a:cubicBezTo>
                  <a:pt x="1007663" y="2165594"/>
                  <a:pt x="1009485" y="2167416"/>
                  <a:pt x="1009485" y="2167416"/>
                </a:cubicBezTo>
                <a:cubicBezTo>
                  <a:pt x="1013129" y="2171060"/>
                  <a:pt x="1014951" y="2176527"/>
                  <a:pt x="1020418" y="2176527"/>
                </a:cubicBezTo>
                <a:cubicBezTo>
                  <a:pt x="1020418" y="2180171"/>
                  <a:pt x="1022240" y="2181993"/>
                  <a:pt x="1024062" y="2183816"/>
                </a:cubicBezTo>
                <a:lnTo>
                  <a:pt x="1013129" y="2183816"/>
                </a:lnTo>
                <a:cubicBezTo>
                  <a:pt x="1013129" y="2181993"/>
                  <a:pt x="1013129" y="2181993"/>
                  <a:pt x="1011307" y="2180171"/>
                </a:cubicBezTo>
                <a:cubicBezTo>
                  <a:pt x="1009485" y="2181993"/>
                  <a:pt x="1009485" y="2181993"/>
                  <a:pt x="1009485" y="2183816"/>
                </a:cubicBezTo>
                <a:lnTo>
                  <a:pt x="1007663" y="2183816"/>
                </a:lnTo>
                <a:cubicBezTo>
                  <a:pt x="1005840" y="2181993"/>
                  <a:pt x="1004018" y="2181993"/>
                  <a:pt x="1004018" y="2183816"/>
                </a:cubicBezTo>
                <a:lnTo>
                  <a:pt x="993085" y="2183816"/>
                </a:lnTo>
                <a:lnTo>
                  <a:pt x="971219" y="2161950"/>
                </a:lnTo>
                <a:cubicBezTo>
                  <a:pt x="974863" y="2154660"/>
                  <a:pt x="974863" y="2152839"/>
                  <a:pt x="974863" y="2151017"/>
                </a:cubicBezTo>
                <a:cubicBezTo>
                  <a:pt x="982152" y="2149194"/>
                  <a:pt x="989441" y="2147372"/>
                  <a:pt x="996729" y="2141906"/>
                </a:cubicBezTo>
                <a:lnTo>
                  <a:pt x="998552" y="2145550"/>
                </a:lnTo>
                <a:cubicBezTo>
                  <a:pt x="998552" y="2145550"/>
                  <a:pt x="1000374" y="2145550"/>
                  <a:pt x="1000374" y="2143728"/>
                </a:cubicBezTo>
                <a:cubicBezTo>
                  <a:pt x="1002196" y="2143728"/>
                  <a:pt x="1002196" y="2145550"/>
                  <a:pt x="1004018" y="2145550"/>
                </a:cubicBezTo>
                <a:cubicBezTo>
                  <a:pt x="1005840" y="2143728"/>
                  <a:pt x="1002196" y="2143728"/>
                  <a:pt x="1005840" y="2141906"/>
                </a:cubicBezTo>
                <a:cubicBezTo>
                  <a:pt x="1005840" y="2140082"/>
                  <a:pt x="1004018" y="2140082"/>
                  <a:pt x="1002196" y="2140082"/>
                </a:cubicBezTo>
                <a:cubicBezTo>
                  <a:pt x="1000374" y="2138261"/>
                  <a:pt x="1004018" y="2138261"/>
                  <a:pt x="1002196" y="2136438"/>
                </a:cubicBezTo>
                <a:cubicBezTo>
                  <a:pt x="998552" y="2138261"/>
                  <a:pt x="998552" y="2140082"/>
                  <a:pt x="994907" y="2138261"/>
                </a:cubicBezTo>
                <a:cubicBezTo>
                  <a:pt x="993085" y="2140082"/>
                  <a:pt x="994907" y="2141906"/>
                  <a:pt x="993085" y="2141906"/>
                </a:cubicBezTo>
                <a:cubicBezTo>
                  <a:pt x="991263" y="2143728"/>
                  <a:pt x="987619" y="2143728"/>
                  <a:pt x="987619" y="2145550"/>
                </a:cubicBezTo>
                <a:cubicBezTo>
                  <a:pt x="983974" y="2145550"/>
                  <a:pt x="978508" y="2147372"/>
                  <a:pt x="974863" y="2149194"/>
                </a:cubicBezTo>
                <a:cubicBezTo>
                  <a:pt x="974863" y="2147372"/>
                  <a:pt x="976686" y="2145550"/>
                  <a:pt x="978508" y="2140082"/>
                </a:cubicBezTo>
                <a:cubicBezTo>
                  <a:pt x="982152" y="2138261"/>
                  <a:pt x="983974" y="2136438"/>
                  <a:pt x="983974" y="2134617"/>
                </a:cubicBezTo>
                <a:cubicBezTo>
                  <a:pt x="985796" y="2136438"/>
                  <a:pt x="987619" y="2136438"/>
                  <a:pt x="991263" y="2138261"/>
                </a:cubicBezTo>
                <a:lnTo>
                  <a:pt x="1014951" y="2116394"/>
                </a:lnTo>
                <a:cubicBezTo>
                  <a:pt x="1004018" y="2098628"/>
                  <a:pt x="1002310" y="2102386"/>
                  <a:pt x="1001370" y="2095383"/>
                </a:cubicBezTo>
                <a:lnTo>
                  <a:pt x="1000374" y="2083598"/>
                </a:lnTo>
                <a:lnTo>
                  <a:pt x="998552" y="2083598"/>
                </a:lnTo>
                <a:cubicBezTo>
                  <a:pt x="998552" y="2083598"/>
                  <a:pt x="996729" y="2083598"/>
                  <a:pt x="996729" y="2085419"/>
                </a:cubicBezTo>
                <a:lnTo>
                  <a:pt x="980330" y="2085419"/>
                </a:lnTo>
                <a:lnTo>
                  <a:pt x="980330" y="2079953"/>
                </a:lnTo>
                <a:lnTo>
                  <a:pt x="1009485" y="2070847"/>
                </a:lnTo>
                <a:cubicBezTo>
                  <a:pt x="1011307" y="2076311"/>
                  <a:pt x="1013129" y="2079953"/>
                  <a:pt x="1013129" y="2081775"/>
                </a:cubicBezTo>
                <a:lnTo>
                  <a:pt x="1008228" y="2083409"/>
                </a:lnTo>
                <a:lnTo>
                  <a:pt x="1008119" y="2083598"/>
                </a:lnTo>
                <a:cubicBezTo>
                  <a:pt x="1008575" y="2084507"/>
                  <a:pt x="1012218" y="2086329"/>
                  <a:pt x="1024062" y="2094529"/>
                </a:cubicBezTo>
                <a:lnTo>
                  <a:pt x="1031351" y="2069020"/>
                </a:lnTo>
                <a:cubicBezTo>
                  <a:pt x="1034995" y="2067195"/>
                  <a:pt x="1040462" y="2065373"/>
                  <a:pt x="1044106" y="2065373"/>
                </a:cubicBezTo>
                <a:cubicBezTo>
                  <a:pt x="1051395" y="2059908"/>
                  <a:pt x="1064151" y="2058086"/>
                  <a:pt x="1075083" y="2054441"/>
                </a:cubicBezTo>
                <a:cubicBezTo>
                  <a:pt x="1076905" y="2052619"/>
                  <a:pt x="1076905" y="2054441"/>
                  <a:pt x="1078727" y="2054441"/>
                </a:cubicBezTo>
                <a:lnTo>
                  <a:pt x="1078727" y="2052047"/>
                </a:lnTo>
                <a:lnTo>
                  <a:pt x="1093305" y="2043509"/>
                </a:lnTo>
                <a:cubicBezTo>
                  <a:pt x="1089660" y="2045330"/>
                  <a:pt x="1089660" y="2050796"/>
                  <a:pt x="1093305" y="2052619"/>
                </a:cubicBezTo>
                <a:cubicBezTo>
                  <a:pt x="1096949" y="2050796"/>
                  <a:pt x="1096949" y="2047153"/>
                  <a:pt x="1095127" y="2043509"/>
                </a:cubicBezTo>
                <a:cubicBezTo>
                  <a:pt x="1096949" y="2043509"/>
                  <a:pt x="1098771" y="2043509"/>
                  <a:pt x="1098771" y="2047153"/>
                </a:cubicBezTo>
                <a:cubicBezTo>
                  <a:pt x="1102416" y="2048975"/>
                  <a:pt x="1102416" y="2052619"/>
                  <a:pt x="1106060" y="2054441"/>
                </a:cubicBezTo>
                <a:cubicBezTo>
                  <a:pt x="1109704" y="2052619"/>
                  <a:pt x="1104238" y="2050796"/>
                  <a:pt x="1104238" y="2047153"/>
                </a:cubicBezTo>
                <a:cubicBezTo>
                  <a:pt x="1107882" y="2045330"/>
                  <a:pt x="1113349" y="2048975"/>
                  <a:pt x="1116993" y="2045330"/>
                </a:cubicBezTo>
                <a:cubicBezTo>
                  <a:pt x="1115171" y="2039864"/>
                  <a:pt x="1109704" y="2041686"/>
                  <a:pt x="1106060" y="2041686"/>
                </a:cubicBezTo>
                <a:cubicBezTo>
                  <a:pt x="1107882" y="2039864"/>
                  <a:pt x="1111526" y="2039864"/>
                  <a:pt x="1111526" y="2038042"/>
                </a:cubicBezTo>
                <a:cubicBezTo>
                  <a:pt x="1109704" y="2036220"/>
                  <a:pt x="1106060" y="2038042"/>
                  <a:pt x="1104238" y="2039864"/>
                </a:cubicBezTo>
                <a:cubicBezTo>
                  <a:pt x="1100593" y="2039864"/>
                  <a:pt x="1098771" y="2043509"/>
                  <a:pt x="1095127" y="2043509"/>
                </a:cubicBezTo>
                <a:cubicBezTo>
                  <a:pt x="1095127" y="2041686"/>
                  <a:pt x="1098771" y="2039864"/>
                  <a:pt x="1095127" y="2038042"/>
                </a:cubicBezTo>
                <a:cubicBezTo>
                  <a:pt x="1091484" y="2039864"/>
                  <a:pt x="1093305" y="2041686"/>
                  <a:pt x="1093305" y="2043509"/>
                </a:cubicBezTo>
                <a:cubicBezTo>
                  <a:pt x="1087838" y="2043509"/>
                  <a:pt x="1086016" y="2048975"/>
                  <a:pt x="1078727" y="2050796"/>
                </a:cubicBezTo>
                <a:lnTo>
                  <a:pt x="1078727" y="2052047"/>
                </a:lnTo>
                <a:lnTo>
                  <a:pt x="1077361" y="2052847"/>
                </a:lnTo>
                <a:cubicBezTo>
                  <a:pt x="1071894" y="2056263"/>
                  <a:pt x="1065972" y="2058997"/>
                  <a:pt x="1058683" y="2058086"/>
                </a:cubicBezTo>
                <a:cubicBezTo>
                  <a:pt x="1053217" y="2061729"/>
                  <a:pt x="1044106" y="2063552"/>
                  <a:pt x="1036818" y="2067195"/>
                </a:cubicBezTo>
                <a:cubicBezTo>
                  <a:pt x="1038639" y="2065373"/>
                  <a:pt x="1044106" y="2065373"/>
                  <a:pt x="1042284" y="2061729"/>
                </a:cubicBezTo>
                <a:lnTo>
                  <a:pt x="1062328" y="2045330"/>
                </a:lnTo>
                <a:lnTo>
                  <a:pt x="1058683" y="2030752"/>
                </a:lnTo>
                <a:lnTo>
                  <a:pt x="1062328" y="2007065"/>
                </a:lnTo>
                <a:cubicBezTo>
                  <a:pt x="1034995" y="2005243"/>
                  <a:pt x="1033173" y="2005243"/>
                  <a:pt x="1031351" y="1976089"/>
                </a:cubicBezTo>
                <a:lnTo>
                  <a:pt x="1016774" y="1983376"/>
                </a:lnTo>
                <a:lnTo>
                  <a:pt x="1009485" y="1968799"/>
                </a:lnTo>
                <a:lnTo>
                  <a:pt x="1025884" y="1959688"/>
                </a:lnTo>
                <a:lnTo>
                  <a:pt x="1009485" y="1937823"/>
                </a:lnTo>
                <a:cubicBezTo>
                  <a:pt x="1045929" y="1936001"/>
                  <a:pt x="1065972" y="1910491"/>
                  <a:pt x="1076905" y="1886802"/>
                </a:cubicBezTo>
                <a:lnTo>
                  <a:pt x="1069616" y="1877691"/>
                </a:lnTo>
                <a:lnTo>
                  <a:pt x="1047750" y="1894091"/>
                </a:lnTo>
                <a:cubicBezTo>
                  <a:pt x="1040462" y="1874047"/>
                  <a:pt x="1040462" y="1890447"/>
                  <a:pt x="1047750" y="1872225"/>
                </a:cubicBezTo>
                <a:lnTo>
                  <a:pt x="1033173" y="1864936"/>
                </a:lnTo>
                <a:lnTo>
                  <a:pt x="1040462" y="1848537"/>
                </a:lnTo>
                <a:lnTo>
                  <a:pt x="1053217" y="1855825"/>
                </a:lnTo>
                <a:lnTo>
                  <a:pt x="1078727" y="1833959"/>
                </a:lnTo>
                <a:lnTo>
                  <a:pt x="1060506" y="1819382"/>
                </a:lnTo>
                <a:lnTo>
                  <a:pt x="1076905" y="1797516"/>
                </a:lnTo>
                <a:lnTo>
                  <a:pt x="1062328" y="1797516"/>
                </a:lnTo>
                <a:lnTo>
                  <a:pt x="1062328" y="1781116"/>
                </a:lnTo>
                <a:lnTo>
                  <a:pt x="1091484" y="1790227"/>
                </a:lnTo>
                <a:lnTo>
                  <a:pt x="1118815" y="1759250"/>
                </a:lnTo>
                <a:lnTo>
                  <a:pt x="1147970" y="1750139"/>
                </a:lnTo>
                <a:cubicBezTo>
                  <a:pt x="1147970" y="1750139"/>
                  <a:pt x="1140681" y="1737384"/>
                  <a:pt x="1140681" y="1735562"/>
                </a:cubicBezTo>
                <a:cubicBezTo>
                  <a:pt x="1140681" y="1706407"/>
                  <a:pt x="1137037" y="1731918"/>
                  <a:pt x="1146148" y="1713696"/>
                </a:cubicBezTo>
                <a:lnTo>
                  <a:pt x="1141045" y="1707955"/>
                </a:lnTo>
                <a:lnTo>
                  <a:pt x="1147970" y="1702763"/>
                </a:lnTo>
                <a:cubicBezTo>
                  <a:pt x="1146148" y="1702763"/>
                  <a:pt x="1146148" y="1700941"/>
                  <a:pt x="1144326" y="1700941"/>
                </a:cubicBezTo>
                <a:cubicBezTo>
                  <a:pt x="1142503" y="1702763"/>
                  <a:pt x="1140681" y="1702763"/>
                  <a:pt x="1138859" y="1704585"/>
                </a:cubicBezTo>
                <a:lnTo>
                  <a:pt x="1138859" y="1705496"/>
                </a:lnTo>
                <a:lnTo>
                  <a:pt x="1131570" y="1697296"/>
                </a:lnTo>
                <a:lnTo>
                  <a:pt x="1130659" y="1697296"/>
                </a:lnTo>
                <a:lnTo>
                  <a:pt x="1131570" y="1695474"/>
                </a:lnTo>
                <a:lnTo>
                  <a:pt x="1123370" y="1695474"/>
                </a:lnTo>
                <a:lnTo>
                  <a:pt x="1118815" y="1693652"/>
                </a:lnTo>
                <a:lnTo>
                  <a:pt x="1102416" y="1700941"/>
                </a:lnTo>
                <a:lnTo>
                  <a:pt x="1102416" y="1697296"/>
                </a:lnTo>
                <a:lnTo>
                  <a:pt x="1093305" y="1699899"/>
                </a:lnTo>
                <a:lnTo>
                  <a:pt x="1093305" y="1697296"/>
                </a:lnTo>
                <a:cubicBezTo>
                  <a:pt x="1089660" y="1697296"/>
                  <a:pt x="1087838" y="1697296"/>
                  <a:pt x="1084194" y="1697296"/>
                </a:cubicBezTo>
                <a:lnTo>
                  <a:pt x="1082373" y="1700941"/>
                </a:lnTo>
                <a:lnTo>
                  <a:pt x="1080549" y="1706407"/>
                </a:lnTo>
                <a:lnTo>
                  <a:pt x="1088893" y="1703626"/>
                </a:lnTo>
                <a:lnTo>
                  <a:pt x="1086016" y="1713696"/>
                </a:lnTo>
                <a:lnTo>
                  <a:pt x="1075083" y="1704585"/>
                </a:lnTo>
                <a:cubicBezTo>
                  <a:pt x="1069616" y="1706407"/>
                  <a:pt x="1065972" y="1708229"/>
                  <a:pt x="1062328" y="1710051"/>
                </a:cubicBezTo>
                <a:cubicBezTo>
                  <a:pt x="1065972" y="1706407"/>
                  <a:pt x="1069616" y="1704585"/>
                  <a:pt x="1073262" y="1702763"/>
                </a:cubicBezTo>
                <a:lnTo>
                  <a:pt x="1064151" y="1693652"/>
                </a:lnTo>
                <a:cubicBezTo>
                  <a:pt x="1062328" y="1693652"/>
                  <a:pt x="1062328" y="1695474"/>
                  <a:pt x="1060506" y="1695474"/>
                </a:cubicBezTo>
                <a:cubicBezTo>
                  <a:pt x="1060506" y="1695474"/>
                  <a:pt x="1060506" y="1695474"/>
                  <a:pt x="1058683" y="1695474"/>
                </a:cubicBezTo>
                <a:lnTo>
                  <a:pt x="1048598" y="1699118"/>
                </a:lnTo>
                <a:lnTo>
                  <a:pt x="1044106" y="1699118"/>
                </a:lnTo>
                <a:lnTo>
                  <a:pt x="1046761" y="1699782"/>
                </a:lnTo>
                <a:lnTo>
                  <a:pt x="1031578" y="1705268"/>
                </a:lnTo>
                <a:lnTo>
                  <a:pt x="1019618" y="1709184"/>
                </a:lnTo>
                <a:lnTo>
                  <a:pt x="1024062" y="1706407"/>
                </a:lnTo>
                <a:cubicBezTo>
                  <a:pt x="1018596" y="1704585"/>
                  <a:pt x="1014951" y="1704585"/>
                  <a:pt x="1009485" y="1704585"/>
                </a:cubicBezTo>
                <a:cubicBezTo>
                  <a:pt x="1017684" y="1705496"/>
                  <a:pt x="1025429" y="1705040"/>
                  <a:pt x="1032717" y="1702763"/>
                </a:cubicBezTo>
                <a:lnTo>
                  <a:pt x="1052770" y="1690285"/>
                </a:lnTo>
                <a:lnTo>
                  <a:pt x="1055040" y="1690008"/>
                </a:lnTo>
                <a:lnTo>
                  <a:pt x="1053217" y="1690008"/>
                </a:lnTo>
                <a:lnTo>
                  <a:pt x="1052770" y="1690285"/>
                </a:lnTo>
                <a:lnTo>
                  <a:pt x="1046256" y="1691083"/>
                </a:lnTo>
                <a:lnTo>
                  <a:pt x="1045249" y="1690579"/>
                </a:lnTo>
                <a:lnTo>
                  <a:pt x="1048021" y="1690008"/>
                </a:lnTo>
                <a:lnTo>
                  <a:pt x="1051395" y="1690008"/>
                </a:lnTo>
                <a:lnTo>
                  <a:pt x="1053130" y="1688954"/>
                </a:lnTo>
                <a:lnTo>
                  <a:pt x="1056861" y="1688185"/>
                </a:lnTo>
                <a:lnTo>
                  <a:pt x="1055087" y="1687766"/>
                </a:lnTo>
                <a:lnTo>
                  <a:pt x="1057772" y="1686135"/>
                </a:lnTo>
                <a:cubicBezTo>
                  <a:pt x="1060506" y="1684996"/>
                  <a:pt x="1063239" y="1683630"/>
                  <a:pt x="1064151" y="1680897"/>
                </a:cubicBezTo>
                <a:cubicBezTo>
                  <a:pt x="1058683" y="1679074"/>
                  <a:pt x="1053672" y="1680441"/>
                  <a:pt x="1048434" y="1682718"/>
                </a:cubicBezTo>
                <a:lnTo>
                  <a:pt x="1043188" y="1684957"/>
                </a:lnTo>
                <a:lnTo>
                  <a:pt x="1040461" y="1684313"/>
                </a:lnTo>
                <a:cubicBezTo>
                  <a:pt x="1034995" y="1684541"/>
                  <a:pt x="1029528" y="1686363"/>
                  <a:pt x="1024062" y="1690008"/>
                </a:cubicBezTo>
                <a:cubicBezTo>
                  <a:pt x="1022240" y="1684541"/>
                  <a:pt x="1029529" y="1688185"/>
                  <a:pt x="1029529" y="1684541"/>
                </a:cubicBezTo>
                <a:cubicBezTo>
                  <a:pt x="1029529" y="1680897"/>
                  <a:pt x="1024062" y="1684541"/>
                  <a:pt x="1024062" y="1680897"/>
                </a:cubicBezTo>
                <a:cubicBezTo>
                  <a:pt x="1030439" y="1680897"/>
                  <a:pt x="1036818" y="1679075"/>
                  <a:pt x="1042967" y="1676797"/>
                </a:cubicBezTo>
                <a:lnTo>
                  <a:pt x="1055278" y="1672001"/>
                </a:lnTo>
                <a:lnTo>
                  <a:pt x="1064151" y="1679986"/>
                </a:lnTo>
                <a:cubicBezTo>
                  <a:pt x="1066428" y="1682719"/>
                  <a:pt x="1068705" y="1683630"/>
                  <a:pt x="1073262" y="1677252"/>
                </a:cubicBezTo>
                <a:cubicBezTo>
                  <a:pt x="1071439" y="1675430"/>
                  <a:pt x="1071439" y="1675430"/>
                  <a:pt x="1067794" y="1677252"/>
                </a:cubicBezTo>
                <a:cubicBezTo>
                  <a:pt x="1069616" y="1671786"/>
                  <a:pt x="1078727" y="1675430"/>
                  <a:pt x="1082373" y="1669964"/>
                </a:cubicBezTo>
                <a:lnTo>
                  <a:pt x="1076905" y="1664497"/>
                </a:lnTo>
                <a:cubicBezTo>
                  <a:pt x="1075083" y="1664497"/>
                  <a:pt x="1073262" y="1662675"/>
                  <a:pt x="1071439" y="1662675"/>
                </a:cubicBezTo>
                <a:lnTo>
                  <a:pt x="1062067" y="1667881"/>
                </a:lnTo>
                <a:lnTo>
                  <a:pt x="1057497" y="1663311"/>
                </a:lnTo>
                <a:lnTo>
                  <a:pt x="1067794" y="1659031"/>
                </a:lnTo>
                <a:lnTo>
                  <a:pt x="1066061" y="1657298"/>
                </a:lnTo>
                <a:lnTo>
                  <a:pt x="1071439" y="1657208"/>
                </a:lnTo>
                <a:cubicBezTo>
                  <a:pt x="1069616" y="1657208"/>
                  <a:pt x="1067794" y="1657208"/>
                  <a:pt x="1065972" y="1657208"/>
                </a:cubicBezTo>
                <a:lnTo>
                  <a:pt x="1066061" y="1657298"/>
                </a:lnTo>
                <a:lnTo>
                  <a:pt x="1044106" y="1657663"/>
                </a:lnTo>
                <a:cubicBezTo>
                  <a:pt x="1034995" y="1659030"/>
                  <a:pt x="1026795" y="1662675"/>
                  <a:pt x="1022240" y="1671786"/>
                </a:cubicBezTo>
                <a:cubicBezTo>
                  <a:pt x="1027707" y="1671786"/>
                  <a:pt x="1031351" y="1668142"/>
                  <a:pt x="1036818" y="1668142"/>
                </a:cubicBezTo>
                <a:cubicBezTo>
                  <a:pt x="1034995" y="1668142"/>
                  <a:pt x="1033173" y="1669964"/>
                  <a:pt x="1031351" y="1668142"/>
                </a:cubicBezTo>
                <a:lnTo>
                  <a:pt x="1043278" y="1666992"/>
                </a:lnTo>
                <a:lnTo>
                  <a:pt x="1027479" y="1672014"/>
                </a:lnTo>
                <a:cubicBezTo>
                  <a:pt x="1018140" y="1675430"/>
                  <a:pt x="1009485" y="1679986"/>
                  <a:pt x="1002196" y="1688185"/>
                </a:cubicBezTo>
                <a:cubicBezTo>
                  <a:pt x="1005840" y="1680897"/>
                  <a:pt x="1013129" y="1680897"/>
                  <a:pt x="1016774" y="1673608"/>
                </a:cubicBezTo>
                <a:cubicBezTo>
                  <a:pt x="1020418" y="1671786"/>
                  <a:pt x="1018596" y="1668142"/>
                  <a:pt x="1020418" y="1666319"/>
                </a:cubicBezTo>
                <a:cubicBezTo>
                  <a:pt x="1016774" y="1666319"/>
                  <a:pt x="1011307" y="1669964"/>
                  <a:pt x="1007663" y="1671786"/>
                </a:cubicBezTo>
                <a:cubicBezTo>
                  <a:pt x="1011307" y="1671786"/>
                  <a:pt x="1013129" y="1673608"/>
                  <a:pt x="1016774" y="1673608"/>
                </a:cubicBezTo>
                <a:lnTo>
                  <a:pt x="1011898" y="1675370"/>
                </a:lnTo>
                <a:lnTo>
                  <a:pt x="1003790" y="1674975"/>
                </a:lnTo>
                <a:cubicBezTo>
                  <a:pt x="1000374" y="1676797"/>
                  <a:pt x="996729" y="1679985"/>
                  <a:pt x="993085" y="1682719"/>
                </a:cubicBezTo>
                <a:lnTo>
                  <a:pt x="994907" y="1682056"/>
                </a:lnTo>
                <a:lnTo>
                  <a:pt x="982441" y="1688856"/>
                </a:lnTo>
                <a:lnTo>
                  <a:pt x="981688" y="1689007"/>
                </a:lnTo>
                <a:lnTo>
                  <a:pt x="984658" y="1686818"/>
                </a:lnTo>
                <a:cubicBezTo>
                  <a:pt x="986252" y="1685452"/>
                  <a:pt x="987619" y="1683630"/>
                  <a:pt x="987619" y="1680897"/>
                </a:cubicBezTo>
                <a:lnTo>
                  <a:pt x="984944" y="1681726"/>
                </a:lnTo>
                <a:lnTo>
                  <a:pt x="985796" y="1677252"/>
                </a:lnTo>
                <a:cubicBezTo>
                  <a:pt x="983974" y="1675430"/>
                  <a:pt x="983974" y="1675430"/>
                  <a:pt x="982152" y="1673608"/>
                </a:cubicBezTo>
                <a:cubicBezTo>
                  <a:pt x="991263" y="1677252"/>
                  <a:pt x="994907" y="1671786"/>
                  <a:pt x="998552" y="1668142"/>
                </a:cubicBezTo>
                <a:cubicBezTo>
                  <a:pt x="994907" y="1666319"/>
                  <a:pt x="989441" y="1666319"/>
                  <a:pt x="985796" y="1664497"/>
                </a:cubicBezTo>
                <a:cubicBezTo>
                  <a:pt x="991263" y="1660853"/>
                  <a:pt x="996729" y="1668142"/>
                  <a:pt x="1000374" y="1666319"/>
                </a:cubicBezTo>
                <a:cubicBezTo>
                  <a:pt x="998552" y="1666319"/>
                  <a:pt x="998552" y="1664497"/>
                  <a:pt x="996729" y="1662675"/>
                </a:cubicBezTo>
                <a:cubicBezTo>
                  <a:pt x="1014951" y="1668142"/>
                  <a:pt x="1034995" y="1651742"/>
                  <a:pt x="1055040" y="1651742"/>
                </a:cubicBezTo>
                <a:cubicBezTo>
                  <a:pt x="1036818" y="1644453"/>
                  <a:pt x="1018596" y="1640809"/>
                  <a:pt x="998552" y="1640809"/>
                </a:cubicBezTo>
                <a:cubicBezTo>
                  <a:pt x="1009485" y="1635342"/>
                  <a:pt x="1018596" y="1642631"/>
                  <a:pt x="1027707" y="1642631"/>
                </a:cubicBezTo>
                <a:cubicBezTo>
                  <a:pt x="1020418" y="1637164"/>
                  <a:pt x="1011307" y="1638987"/>
                  <a:pt x="1004018" y="1635342"/>
                </a:cubicBezTo>
                <a:cubicBezTo>
                  <a:pt x="973041" y="1628054"/>
                  <a:pt x="932953" y="1655386"/>
                  <a:pt x="909265" y="1679075"/>
                </a:cubicBezTo>
                <a:cubicBezTo>
                  <a:pt x="909265" y="1673608"/>
                  <a:pt x="916555" y="1673608"/>
                  <a:pt x="916555" y="1668142"/>
                </a:cubicBezTo>
                <a:cubicBezTo>
                  <a:pt x="901976" y="1668142"/>
                  <a:pt x="891043" y="1679075"/>
                  <a:pt x="876466" y="1682719"/>
                </a:cubicBezTo>
                <a:lnTo>
                  <a:pt x="880099" y="1683099"/>
                </a:lnTo>
                <a:lnTo>
                  <a:pt x="852778" y="1686363"/>
                </a:lnTo>
                <a:cubicBezTo>
                  <a:pt x="834556" y="1686363"/>
                  <a:pt x="816334" y="1688185"/>
                  <a:pt x="798112" y="1693652"/>
                </a:cubicBezTo>
                <a:cubicBezTo>
                  <a:pt x="816334" y="1688185"/>
                  <a:pt x="836378" y="1682719"/>
                  <a:pt x="856422" y="1682719"/>
                </a:cubicBezTo>
                <a:cubicBezTo>
                  <a:pt x="856422" y="1680897"/>
                  <a:pt x="854600" y="1680897"/>
                  <a:pt x="854600" y="1680897"/>
                </a:cubicBezTo>
                <a:cubicBezTo>
                  <a:pt x="860066" y="1682719"/>
                  <a:pt x="863711" y="1680897"/>
                  <a:pt x="869177" y="1677252"/>
                </a:cubicBezTo>
                <a:cubicBezTo>
                  <a:pt x="865533" y="1677252"/>
                  <a:pt x="861889" y="1675430"/>
                  <a:pt x="860066" y="1675430"/>
                </a:cubicBezTo>
                <a:cubicBezTo>
                  <a:pt x="887399" y="1677252"/>
                  <a:pt x="912909" y="1657208"/>
                  <a:pt x="940242" y="1646275"/>
                </a:cubicBezTo>
                <a:cubicBezTo>
                  <a:pt x="927487" y="1649920"/>
                  <a:pt x="914732" y="1651742"/>
                  <a:pt x="901976" y="1648097"/>
                </a:cubicBezTo>
                <a:cubicBezTo>
                  <a:pt x="915643" y="1650830"/>
                  <a:pt x="928853" y="1648553"/>
                  <a:pt x="941608" y="1644225"/>
                </a:cubicBezTo>
                <a:lnTo>
                  <a:pt x="966679" y="1633238"/>
                </a:lnTo>
                <a:lnTo>
                  <a:pt x="985796" y="1628054"/>
                </a:lnTo>
                <a:lnTo>
                  <a:pt x="976714" y="1628840"/>
                </a:lnTo>
                <a:lnTo>
                  <a:pt x="978508" y="1628054"/>
                </a:lnTo>
                <a:lnTo>
                  <a:pt x="974481" y="1629033"/>
                </a:lnTo>
                <a:lnTo>
                  <a:pt x="909493" y="1634659"/>
                </a:lnTo>
                <a:cubicBezTo>
                  <a:pt x="884210" y="1638986"/>
                  <a:pt x="859155" y="1645364"/>
                  <a:pt x="834556" y="1653564"/>
                </a:cubicBezTo>
                <a:lnTo>
                  <a:pt x="850630" y="1654904"/>
                </a:lnTo>
                <a:lnTo>
                  <a:pt x="832270" y="1656898"/>
                </a:lnTo>
                <a:lnTo>
                  <a:pt x="828634" y="1654475"/>
                </a:lnTo>
                <a:cubicBezTo>
                  <a:pt x="826356" y="1654475"/>
                  <a:pt x="823623" y="1655386"/>
                  <a:pt x="821801" y="1657208"/>
                </a:cubicBezTo>
                <a:lnTo>
                  <a:pt x="829416" y="1657208"/>
                </a:lnTo>
                <a:lnTo>
                  <a:pt x="825217" y="1657664"/>
                </a:lnTo>
                <a:lnTo>
                  <a:pt x="794200" y="1664470"/>
                </a:lnTo>
                <a:lnTo>
                  <a:pt x="762580" y="1661308"/>
                </a:lnTo>
                <a:cubicBezTo>
                  <a:pt x="752103" y="1662675"/>
                  <a:pt x="741626" y="1665408"/>
                  <a:pt x="730692" y="1666319"/>
                </a:cubicBezTo>
                <a:cubicBezTo>
                  <a:pt x="721581" y="1664497"/>
                  <a:pt x="712470" y="1668142"/>
                  <a:pt x="703359" y="1669964"/>
                </a:cubicBezTo>
                <a:lnTo>
                  <a:pt x="719344" y="1677222"/>
                </a:lnTo>
                <a:lnTo>
                  <a:pt x="706172" y="1675325"/>
                </a:lnTo>
                <a:lnTo>
                  <a:pt x="702220" y="1672014"/>
                </a:lnTo>
                <a:cubicBezTo>
                  <a:pt x="699259" y="1670419"/>
                  <a:pt x="696071" y="1669964"/>
                  <a:pt x="692426" y="1671786"/>
                </a:cubicBezTo>
                <a:lnTo>
                  <a:pt x="698517" y="1674223"/>
                </a:lnTo>
                <a:lnTo>
                  <a:pt x="694249" y="1673608"/>
                </a:lnTo>
                <a:cubicBezTo>
                  <a:pt x="719759" y="1700941"/>
                  <a:pt x="703359" y="1741028"/>
                  <a:pt x="694249" y="1773827"/>
                </a:cubicBezTo>
                <a:cubicBezTo>
                  <a:pt x="692426" y="1773827"/>
                  <a:pt x="694249" y="1772005"/>
                  <a:pt x="692426" y="1770183"/>
                </a:cubicBezTo>
                <a:cubicBezTo>
                  <a:pt x="688782" y="1772005"/>
                  <a:pt x="685138" y="1773827"/>
                  <a:pt x="681493" y="1775650"/>
                </a:cubicBezTo>
                <a:cubicBezTo>
                  <a:pt x="703359" y="1766539"/>
                  <a:pt x="699715" y="1741028"/>
                  <a:pt x="699715" y="1722807"/>
                </a:cubicBezTo>
                <a:cubicBezTo>
                  <a:pt x="696071" y="1722807"/>
                  <a:pt x="694249" y="1724629"/>
                  <a:pt x="692426" y="1726451"/>
                </a:cubicBezTo>
                <a:cubicBezTo>
                  <a:pt x="703359" y="1715518"/>
                  <a:pt x="708826" y="1691830"/>
                  <a:pt x="690604" y="1684541"/>
                </a:cubicBezTo>
                <a:cubicBezTo>
                  <a:pt x="694249" y="1682719"/>
                  <a:pt x="694249" y="1680897"/>
                  <a:pt x="692426" y="1677252"/>
                </a:cubicBezTo>
                <a:cubicBezTo>
                  <a:pt x="688782" y="1675430"/>
                  <a:pt x="685138" y="1664497"/>
                  <a:pt x="683316" y="1671786"/>
                </a:cubicBezTo>
                <a:lnTo>
                  <a:pt x="680240" y="1688233"/>
                </a:lnTo>
                <a:lnTo>
                  <a:pt x="679671" y="1668142"/>
                </a:lnTo>
                <a:cubicBezTo>
                  <a:pt x="652339" y="1693652"/>
                  <a:pt x="657805" y="1735562"/>
                  <a:pt x="659627" y="1768361"/>
                </a:cubicBezTo>
                <a:cubicBezTo>
                  <a:pt x="659627" y="1764717"/>
                  <a:pt x="657805" y="1759250"/>
                  <a:pt x="654161" y="1755606"/>
                </a:cubicBezTo>
                <a:cubicBezTo>
                  <a:pt x="648694" y="1788405"/>
                  <a:pt x="646872" y="1815738"/>
                  <a:pt x="646872" y="1846714"/>
                </a:cubicBezTo>
                <a:cubicBezTo>
                  <a:pt x="646872" y="1846714"/>
                  <a:pt x="646872" y="1844892"/>
                  <a:pt x="646872" y="1844892"/>
                </a:cubicBezTo>
                <a:cubicBezTo>
                  <a:pt x="637761" y="1848537"/>
                  <a:pt x="637761" y="1857647"/>
                  <a:pt x="637761" y="1866758"/>
                </a:cubicBezTo>
                <a:cubicBezTo>
                  <a:pt x="635939" y="1861292"/>
                  <a:pt x="632296" y="1863114"/>
                  <a:pt x="628650" y="1864936"/>
                </a:cubicBezTo>
                <a:cubicBezTo>
                  <a:pt x="635939" y="1855825"/>
                  <a:pt x="645050" y="1846714"/>
                  <a:pt x="643228" y="1832137"/>
                </a:cubicBezTo>
                <a:cubicBezTo>
                  <a:pt x="641407" y="1833959"/>
                  <a:pt x="639583" y="1835781"/>
                  <a:pt x="635939" y="1835781"/>
                </a:cubicBezTo>
                <a:cubicBezTo>
                  <a:pt x="641407" y="1832137"/>
                  <a:pt x="641407" y="1826671"/>
                  <a:pt x="639583" y="1817560"/>
                </a:cubicBezTo>
                <a:cubicBezTo>
                  <a:pt x="635939" y="1821204"/>
                  <a:pt x="632296" y="1826671"/>
                  <a:pt x="630472" y="1830315"/>
                </a:cubicBezTo>
                <a:lnTo>
                  <a:pt x="628650" y="1828493"/>
                </a:lnTo>
                <a:cubicBezTo>
                  <a:pt x="623185" y="1830315"/>
                  <a:pt x="621362" y="1839426"/>
                  <a:pt x="615895" y="1841248"/>
                </a:cubicBezTo>
                <a:cubicBezTo>
                  <a:pt x="635028" y="1822115"/>
                  <a:pt x="642772" y="1797515"/>
                  <a:pt x="647100" y="1771322"/>
                </a:cubicBezTo>
                <a:lnTo>
                  <a:pt x="657611" y="1693268"/>
                </a:lnTo>
                <a:lnTo>
                  <a:pt x="665577" y="1683801"/>
                </a:lnTo>
                <a:cubicBezTo>
                  <a:pt x="667941" y="1679871"/>
                  <a:pt x="669194" y="1675886"/>
                  <a:pt x="668738" y="1671786"/>
                </a:cubicBezTo>
                <a:cubicBezTo>
                  <a:pt x="663272" y="1657208"/>
                  <a:pt x="641407" y="1679075"/>
                  <a:pt x="639583" y="1695474"/>
                </a:cubicBezTo>
                <a:cubicBezTo>
                  <a:pt x="635939" y="1704585"/>
                  <a:pt x="632296" y="1713696"/>
                  <a:pt x="630472" y="1719162"/>
                </a:cubicBezTo>
                <a:lnTo>
                  <a:pt x="650425" y="1700467"/>
                </a:lnTo>
                <a:lnTo>
                  <a:pt x="637761" y="1715290"/>
                </a:lnTo>
                <a:cubicBezTo>
                  <a:pt x="631840" y="1723717"/>
                  <a:pt x="626828" y="1731917"/>
                  <a:pt x="623185" y="1737384"/>
                </a:cubicBezTo>
                <a:cubicBezTo>
                  <a:pt x="623185" y="1737384"/>
                  <a:pt x="621362" y="1735562"/>
                  <a:pt x="621362" y="1735562"/>
                </a:cubicBezTo>
                <a:cubicBezTo>
                  <a:pt x="617717" y="1741028"/>
                  <a:pt x="614074" y="1744673"/>
                  <a:pt x="612251" y="1750139"/>
                </a:cubicBezTo>
                <a:cubicBezTo>
                  <a:pt x="615895" y="1750139"/>
                  <a:pt x="617717" y="1746495"/>
                  <a:pt x="621362" y="1742851"/>
                </a:cubicBezTo>
                <a:cubicBezTo>
                  <a:pt x="608606" y="1762894"/>
                  <a:pt x="599496" y="1790227"/>
                  <a:pt x="614074" y="1810271"/>
                </a:cubicBezTo>
                <a:cubicBezTo>
                  <a:pt x="612251" y="1806627"/>
                  <a:pt x="608606" y="1804805"/>
                  <a:pt x="606784" y="1801160"/>
                </a:cubicBezTo>
                <a:cubicBezTo>
                  <a:pt x="595852" y="1815738"/>
                  <a:pt x="604963" y="1835781"/>
                  <a:pt x="586741" y="1848537"/>
                </a:cubicBezTo>
                <a:cubicBezTo>
                  <a:pt x="592207" y="1841248"/>
                  <a:pt x="595852" y="1832137"/>
                  <a:pt x="595852" y="1823026"/>
                </a:cubicBezTo>
                <a:cubicBezTo>
                  <a:pt x="579452" y="1833959"/>
                  <a:pt x="570341" y="1852181"/>
                  <a:pt x="557586" y="1866758"/>
                </a:cubicBezTo>
                <a:cubicBezTo>
                  <a:pt x="557586" y="1864936"/>
                  <a:pt x="559408" y="1863114"/>
                  <a:pt x="559408" y="1861292"/>
                </a:cubicBezTo>
                <a:cubicBezTo>
                  <a:pt x="552119" y="1866758"/>
                  <a:pt x="546653" y="1868581"/>
                  <a:pt x="541186" y="1870403"/>
                </a:cubicBezTo>
                <a:cubicBezTo>
                  <a:pt x="541186" y="1866758"/>
                  <a:pt x="548475" y="1868581"/>
                  <a:pt x="546653" y="1864936"/>
                </a:cubicBezTo>
                <a:cubicBezTo>
                  <a:pt x="535719" y="1868581"/>
                  <a:pt x="526609" y="1872225"/>
                  <a:pt x="517498" y="1879514"/>
                </a:cubicBezTo>
                <a:cubicBezTo>
                  <a:pt x="526609" y="1863114"/>
                  <a:pt x="552119" y="1868581"/>
                  <a:pt x="564874" y="1854003"/>
                </a:cubicBezTo>
                <a:cubicBezTo>
                  <a:pt x="564874" y="1852181"/>
                  <a:pt x="563052" y="1854003"/>
                  <a:pt x="561230" y="1852181"/>
                </a:cubicBezTo>
                <a:cubicBezTo>
                  <a:pt x="564874" y="1846714"/>
                  <a:pt x="573985" y="1843070"/>
                  <a:pt x="573985" y="1833959"/>
                </a:cubicBezTo>
                <a:cubicBezTo>
                  <a:pt x="573985" y="1833959"/>
                  <a:pt x="572163" y="1835781"/>
                  <a:pt x="572163" y="1835781"/>
                </a:cubicBezTo>
                <a:cubicBezTo>
                  <a:pt x="572163" y="1813915"/>
                  <a:pt x="588562" y="1802982"/>
                  <a:pt x="594030" y="1782938"/>
                </a:cubicBezTo>
                <a:cubicBezTo>
                  <a:pt x="584919" y="1781116"/>
                  <a:pt x="588562" y="1793871"/>
                  <a:pt x="581274" y="1793871"/>
                </a:cubicBezTo>
                <a:cubicBezTo>
                  <a:pt x="583096" y="1790227"/>
                  <a:pt x="583096" y="1786583"/>
                  <a:pt x="568519" y="1773827"/>
                </a:cubicBezTo>
                <a:lnTo>
                  <a:pt x="559180" y="1781255"/>
                </a:lnTo>
                <a:lnTo>
                  <a:pt x="568519" y="1764717"/>
                </a:lnTo>
                <a:cubicBezTo>
                  <a:pt x="570341" y="1762894"/>
                  <a:pt x="563052" y="1768361"/>
                  <a:pt x="559408" y="1764717"/>
                </a:cubicBezTo>
                <a:cubicBezTo>
                  <a:pt x="564874" y="1759250"/>
                  <a:pt x="572163" y="1766539"/>
                  <a:pt x="577630" y="1759250"/>
                </a:cubicBezTo>
                <a:cubicBezTo>
                  <a:pt x="577630" y="1759250"/>
                  <a:pt x="575808" y="1757428"/>
                  <a:pt x="573985" y="1755606"/>
                </a:cubicBezTo>
                <a:cubicBezTo>
                  <a:pt x="575808" y="1755606"/>
                  <a:pt x="577630" y="1759250"/>
                  <a:pt x="581274" y="1759250"/>
                </a:cubicBezTo>
                <a:cubicBezTo>
                  <a:pt x="583096" y="1751961"/>
                  <a:pt x="595852" y="1748317"/>
                  <a:pt x="588562" y="1742851"/>
                </a:cubicBezTo>
                <a:cubicBezTo>
                  <a:pt x="586741" y="1741028"/>
                  <a:pt x="584919" y="1741028"/>
                  <a:pt x="583096" y="1741028"/>
                </a:cubicBezTo>
                <a:cubicBezTo>
                  <a:pt x="608606" y="1724629"/>
                  <a:pt x="619539" y="1691830"/>
                  <a:pt x="628650" y="1657208"/>
                </a:cubicBezTo>
                <a:cubicBezTo>
                  <a:pt x="628650" y="1653564"/>
                  <a:pt x="625006" y="1651742"/>
                  <a:pt x="621362" y="1651742"/>
                </a:cubicBezTo>
                <a:lnTo>
                  <a:pt x="602679" y="1663598"/>
                </a:lnTo>
                <a:lnTo>
                  <a:pt x="610429" y="1657208"/>
                </a:lnTo>
                <a:cubicBezTo>
                  <a:pt x="608606" y="1655386"/>
                  <a:pt x="606784" y="1655386"/>
                  <a:pt x="604963" y="1655386"/>
                </a:cubicBezTo>
                <a:cubicBezTo>
                  <a:pt x="612251" y="1649920"/>
                  <a:pt x="608606" y="1649920"/>
                  <a:pt x="614074" y="1648097"/>
                </a:cubicBezTo>
                <a:cubicBezTo>
                  <a:pt x="623185" y="1644453"/>
                  <a:pt x="634117" y="1633520"/>
                  <a:pt x="632296" y="1624409"/>
                </a:cubicBezTo>
                <a:cubicBezTo>
                  <a:pt x="632296" y="1615298"/>
                  <a:pt x="617717" y="1624409"/>
                  <a:pt x="612251" y="1633520"/>
                </a:cubicBezTo>
                <a:cubicBezTo>
                  <a:pt x="614074" y="1622587"/>
                  <a:pt x="625006" y="1617121"/>
                  <a:pt x="623185" y="1606188"/>
                </a:cubicBezTo>
                <a:cubicBezTo>
                  <a:pt x="621361" y="1596166"/>
                  <a:pt x="622273" y="1587510"/>
                  <a:pt x="623411" y="1578627"/>
                </a:cubicBezTo>
                <a:lnTo>
                  <a:pt x="624686" y="1555508"/>
                </a:lnTo>
                <a:lnTo>
                  <a:pt x="635939" y="1546056"/>
                </a:lnTo>
                <a:cubicBezTo>
                  <a:pt x="641407" y="1542412"/>
                  <a:pt x="637761" y="1538767"/>
                  <a:pt x="639583" y="1535123"/>
                </a:cubicBezTo>
                <a:cubicBezTo>
                  <a:pt x="635939" y="1536945"/>
                  <a:pt x="630472" y="1538767"/>
                  <a:pt x="635939" y="1546056"/>
                </a:cubicBezTo>
                <a:cubicBezTo>
                  <a:pt x="634117" y="1540589"/>
                  <a:pt x="629561" y="1541956"/>
                  <a:pt x="625234" y="1545372"/>
                </a:cubicBezTo>
                <a:lnTo>
                  <a:pt x="620096" y="1551762"/>
                </a:lnTo>
                <a:lnTo>
                  <a:pt x="623185" y="1540589"/>
                </a:lnTo>
                <a:cubicBezTo>
                  <a:pt x="621362" y="1544234"/>
                  <a:pt x="621362" y="1547878"/>
                  <a:pt x="617717" y="1549700"/>
                </a:cubicBezTo>
                <a:lnTo>
                  <a:pt x="619344" y="1541565"/>
                </a:lnTo>
                <a:lnTo>
                  <a:pt x="625006" y="1533301"/>
                </a:lnTo>
                <a:cubicBezTo>
                  <a:pt x="621361" y="1533301"/>
                  <a:pt x="619539" y="1534667"/>
                  <a:pt x="618628" y="1536489"/>
                </a:cubicBezTo>
                <a:lnTo>
                  <a:pt x="617785" y="1541967"/>
                </a:lnTo>
                <a:lnTo>
                  <a:pt x="617635" y="1542085"/>
                </a:lnTo>
                <a:lnTo>
                  <a:pt x="615895" y="1535123"/>
                </a:lnTo>
                <a:cubicBezTo>
                  <a:pt x="614074" y="1536945"/>
                  <a:pt x="612251" y="1536945"/>
                  <a:pt x="610429" y="1536945"/>
                </a:cubicBezTo>
                <a:cubicBezTo>
                  <a:pt x="610429" y="1535123"/>
                  <a:pt x="614074" y="1533301"/>
                  <a:pt x="615895" y="1533301"/>
                </a:cubicBezTo>
                <a:cubicBezTo>
                  <a:pt x="617717" y="1526012"/>
                  <a:pt x="621362" y="1515079"/>
                  <a:pt x="615895" y="1511434"/>
                </a:cubicBezTo>
                <a:cubicBezTo>
                  <a:pt x="611339" y="1518723"/>
                  <a:pt x="607240" y="1525556"/>
                  <a:pt x="604507" y="1532617"/>
                </a:cubicBezTo>
                <a:lnTo>
                  <a:pt x="602026" y="1550161"/>
                </a:lnTo>
                <a:lnTo>
                  <a:pt x="597970" y="1551839"/>
                </a:lnTo>
                <a:lnTo>
                  <a:pt x="599496" y="1540589"/>
                </a:lnTo>
                <a:cubicBezTo>
                  <a:pt x="595852" y="1547878"/>
                  <a:pt x="584919" y="1555167"/>
                  <a:pt x="590385" y="1560633"/>
                </a:cubicBezTo>
                <a:cubicBezTo>
                  <a:pt x="588562" y="1560633"/>
                  <a:pt x="588562" y="1560633"/>
                  <a:pt x="586741" y="1558811"/>
                </a:cubicBezTo>
                <a:cubicBezTo>
                  <a:pt x="584919" y="1560633"/>
                  <a:pt x="583096" y="1564278"/>
                  <a:pt x="584919" y="1566100"/>
                </a:cubicBezTo>
                <a:lnTo>
                  <a:pt x="595386" y="1556193"/>
                </a:lnTo>
                <a:lnTo>
                  <a:pt x="594030" y="1560633"/>
                </a:lnTo>
                <a:cubicBezTo>
                  <a:pt x="583096" y="1569744"/>
                  <a:pt x="577630" y="1578855"/>
                  <a:pt x="581274" y="1589788"/>
                </a:cubicBezTo>
                <a:cubicBezTo>
                  <a:pt x="575808" y="1589788"/>
                  <a:pt x="577630" y="1595255"/>
                  <a:pt x="572163" y="1597077"/>
                </a:cubicBezTo>
                <a:cubicBezTo>
                  <a:pt x="573985" y="1598899"/>
                  <a:pt x="575808" y="1597077"/>
                  <a:pt x="577630" y="1595255"/>
                </a:cubicBezTo>
                <a:cubicBezTo>
                  <a:pt x="575808" y="1593432"/>
                  <a:pt x="581274" y="1593432"/>
                  <a:pt x="581274" y="1589788"/>
                </a:cubicBezTo>
                <a:lnTo>
                  <a:pt x="586925" y="1593607"/>
                </a:lnTo>
                <a:lnTo>
                  <a:pt x="583734" y="1601054"/>
                </a:lnTo>
                <a:lnTo>
                  <a:pt x="581274" y="1595255"/>
                </a:lnTo>
                <a:lnTo>
                  <a:pt x="573076" y="1607216"/>
                </a:lnTo>
                <a:lnTo>
                  <a:pt x="572391" y="1607326"/>
                </a:lnTo>
                <a:cubicBezTo>
                  <a:pt x="570341" y="1609832"/>
                  <a:pt x="568519" y="1613476"/>
                  <a:pt x="566697" y="1615298"/>
                </a:cubicBezTo>
                <a:lnTo>
                  <a:pt x="567101" y="1616919"/>
                </a:lnTo>
                <a:lnTo>
                  <a:pt x="566697" y="1618944"/>
                </a:lnTo>
                <a:lnTo>
                  <a:pt x="566697" y="1618943"/>
                </a:lnTo>
                <a:cubicBezTo>
                  <a:pt x="563052" y="1624409"/>
                  <a:pt x="563052" y="1629876"/>
                  <a:pt x="563052" y="1635342"/>
                </a:cubicBezTo>
                <a:lnTo>
                  <a:pt x="563621" y="1634317"/>
                </a:lnTo>
                <a:lnTo>
                  <a:pt x="563052" y="1637164"/>
                </a:lnTo>
                <a:cubicBezTo>
                  <a:pt x="561230" y="1635342"/>
                  <a:pt x="559408" y="1633520"/>
                  <a:pt x="557586" y="1631698"/>
                </a:cubicBezTo>
                <a:lnTo>
                  <a:pt x="556004" y="1663329"/>
                </a:lnTo>
                <a:lnTo>
                  <a:pt x="554654" y="1666478"/>
                </a:lnTo>
                <a:lnTo>
                  <a:pt x="553240" y="1664357"/>
                </a:lnTo>
                <a:lnTo>
                  <a:pt x="553941" y="1660853"/>
                </a:lnTo>
                <a:lnTo>
                  <a:pt x="552639" y="1663456"/>
                </a:lnTo>
                <a:lnTo>
                  <a:pt x="552119" y="1662675"/>
                </a:lnTo>
                <a:cubicBezTo>
                  <a:pt x="552119" y="1660853"/>
                  <a:pt x="552119" y="1657208"/>
                  <a:pt x="550297" y="1657208"/>
                </a:cubicBezTo>
                <a:cubicBezTo>
                  <a:pt x="546652" y="1662675"/>
                  <a:pt x="543919" y="1668142"/>
                  <a:pt x="542552" y="1673608"/>
                </a:cubicBezTo>
                <a:lnTo>
                  <a:pt x="542639" y="1676708"/>
                </a:lnTo>
                <a:lnTo>
                  <a:pt x="538993" y="1681865"/>
                </a:lnTo>
                <a:cubicBezTo>
                  <a:pt x="536175" y="1691260"/>
                  <a:pt x="540276" y="1703218"/>
                  <a:pt x="532075" y="1710051"/>
                </a:cubicBezTo>
                <a:cubicBezTo>
                  <a:pt x="532075" y="1704585"/>
                  <a:pt x="539364" y="1697296"/>
                  <a:pt x="533897" y="1690008"/>
                </a:cubicBezTo>
                <a:cubicBezTo>
                  <a:pt x="532075" y="1690008"/>
                  <a:pt x="532075" y="1691830"/>
                  <a:pt x="528431" y="1691830"/>
                </a:cubicBezTo>
                <a:cubicBezTo>
                  <a:pt x="541186" y="1688185"/>
                  <a:pt x="537542" y="1668142"/>
                  <a:pt x="537542" y="1659031"/>
                </a:cubicBezTo>
                <a:cubicBezTo>
                  <a:pt x="537542" y="1660853"/>
                  <a:pt x="537542" y="1664497"/>
                  <a:pt x="533897" y="1662675"/>
                </a:cubicBezTo>
                <a:cubicBezTo>
                  <a:pt x="537542" y="1659031"/>
                  <a:pt x="541186" y="1653564"/>
                  <a:pt x="543008" y="1646275"/>
                </a:cubicBezTo>
                <a:lnTo>
                  <a:pt x="532075" y="1650648"/>
                </a:lnTo>
                <a:lnTo>
                  <a:pt x="532075" y="1649257"/>
                </a:lnTo>
                <a:lnTo>
                  <a:pt x="534808" y="1647642"/>
                </a:lnTo>
                <a:cubicBezTo>
                  <a:pt x="538908" y="1646275"/>
                  <a:pt x="543008" y="1644454"/>
                  <a:pt x="544830" y="1638987"/>
                </a:cubicBezTo>
                <a:cubicBezTo>
                  <a:pt x="544830" y="1640809"/>
                  <a:pt x="543008" y="1638987"/>
                  <a:pt x="541186" y="1640809"/>
                </a:cubicBezTo>
                <a:lnTo>
                  <a:pt x="544968" y="1635066"/>
                </a:lnTo>
                <a:lnTo>
                  <a:pt x="544830" y="1635342"/>
                </a:lnTo>
                <a:cubicBezTo>
                  <a:pt x="545741" y="1636253"/>
                  <a:pt x="547108" y="1635798"/>
                  <a:pt x="547791" y="1634886"/>
                </a:cubicBezTo>
                <a:lnTo>
                  <a:pt x="546841" y="1632223"/>
                </a:lnTo>
                <a:lnTo>
                  <a:pt x="547336" y="1631470"/>
                </a:lnTo>
                <a:cubicBezTo>
                  <a:pt x="548475" y="1628054"/>
                  <a:pt x="548475" y="1624409"/>
                  <a:pt x="546653" y="1620765"/>
                </a:cubicBezTo>
                <a:cubicBezTo>
                  <a:pt x="541186" y="1628054"/>
                  <a:pt x="539364" y="1638987"/>
                  <a:pt x="533897" y="1644453"/>
                </a:cubicBezTo>
                <a:lnTo>
                  <a:pt x="532075" y="1646535"/>
                </a:lnTo>
                <a:lnTo>
                  <a:pt x="532075" y="1644453"/>
                </a:lnTo>
                <a:lnTo>
                  <a:pt x="529646" y="1649312"/>
                </a:lnTo>
                <a:lnTo>
                  <a:pt x="527146" y="1652170"/>
                </a:lnTo>
                <a:lnTo>
                  <a:pt x="524786" y="1653564"/>
                </a:lnTo>
                <a:lnTo>
                  <a:pt x="526539" y="1652863"/>
                </a:lnTo>
                <a:lnTo>
                  <a:pt x="521142" y="1659031"/>
                </a:lnTo>
                <a:cubicBezTo>
                  <a:pt x="521142" y="1657208"/>
                  <a:pt x="522964" y="1657208"/>
                  <a:pt x="524786" y="1655386"/>
                </a:cubicBezTo>
                <a:lnTo>
                  <a:pt x="518687" y="1663010"/>
                </a:lnTo>
                <a:lnTo>
                  <a:pt x="517853" y="1663123"/>
                </a:lnTo>
                <a:lnTo>
                  <a:pt x="519829" y="1655483"/>
                </a:lnTo>
                <a:lnTo>
                  <a:pt x="520003" y="1655386"/>
                </a:lnTo>
                <a:cubicBezTo>
                  <a:pt x="523420" y="1653108"/>
                  <a:pt x="526608" y="1649919"/>
                  <a:pt x="528431" y="1644453"/>
                </a:cubicBezTo>
                <a:lnTo>
                  <a:pt x="524995" y="1645598"/>
                </a:lnTo>
                <a:lnTo>
                  <a:pt x="526761" y="1643136"/>
                </a:lnTo>
                <a:lnTo>
                  <a:pt x="530253" y="1640809"/>
                </a:lnTo>
                <a:cubicBezTo>
                  <a:pt x="528431" y="1638987"/>
                  <a:pt x="528431" y="1638987"/>
                  <a:pt x="526609" y="1638987"/>
                </a:cubicBezTo>
                <a:cubicBezTo>
                  <a:pt x="524786" y="1640809"/>
                  <a:pt x="524786" y="1642631"/>
                  <a:pt x="524786" y="1644453"/>
                </a:cubicBezTo>
                <a:lnTo>
                  <a:pt x="525040" y="1644283"/>
                </a:lnTo>
                <a:lnTo>
                  <a:pt x="523160" y="1646209"/>
                </a:lnTo>
                <a:lnTo>
                  <a:pt x="522964" y="1646275"/>
                </a:lnTo>
                <a:lnTo>
                  <a:pt x="522054" y="1643542"/>
                </a:lnTo>
                <a:lnTo>
                  <a:pt x="522964" y="1644453"/>
                </a:lnTo>
                <a:cubicBezTo>
                  <a:pt x="522964" y="1642631"/>
                  <a:pt x="524786" y="1642631"/>
                  <a:pt x="524786" y="1640809"/>
                </a:cubicBezTo>
                <a:lnTo>
                  <a:pt x="521662" y="1642371"/>
                </a:lnTo>
                <a:lnTo>
                  <a:pt x="521142" y="1640809"/>
                </a:lnTo>
                <a:cubicBezTo>
                  <a:pt x="521142" y="1640809"/>
                  <a:pt x="519320" y="1642631"/>
                  <a:pt x="519320" y="1642631"/>
                </a:cubicBezTo>
                <a:cubicBezTo>
                  <a:pt x="517498" y="1642631"/>
                  <a:pt x="515676" y="1642631"/>
                  <a:pt x="513853" y="1642631"/>
                </a:cubicBezTo>
                <a:cubicBezTo>
                  <a:pt x="515676" y="1642631"/>
                  <a:pt x="517498" y="1640809"/>
                  <a:pt x="519320" y="1640809"/>
                </a:cubicBezTo>
                <a:cubicBezTo>
                  <a:pt x="517498" y="1638987"/>
                  <a:pt x="515676" y="1638987"/>
                  <a:pt x="513853" y="1640809"/>
                </a:cubicBezTo>
                <a:cubicBezTo>
                  <a:pt x="513853" y="1640809"/>
                  <a:pt x="513853" y="1638987"/>
                  <a:pt x="513853" y="1637164"/>
                </a:cubicBezTo>
                <a:lnTo>
                  <a:pt x="519443" y="1633502"/>
                </a:lnTo>
                <a:lnTo>
                  <a:pt x="522508" y="1633064"/>
                </a:lnTo>
                <a:cubicBezTo>
                  <a:pt x="523419" y="1632153"/>
                  <a:pt x="523875" y="1630787"/>
                  <a:pt x="522964" y="1629876"/>
                </a:cubicBezTo>
                <a:lnTo>
                  <a:pt x="520651" y="1632188"/>
                </a:lnTo>
                <a:lnTo>
                  <a:pt x="522964" y="1624409"/>
                </a:lnTo>
                <a:cubicBezTo>
                  <a:pt x="521142" y="1631698"/>
                  <a:pt x="508387" y="1631698"/>
                  <a:pt x="508387" y="1640809"/>
                </a:cubicBezTo>
                <a:lnTo>
                  <a:pt x="510209" y="1640809"/>
                </a:lnTo>
                <a:cubicBezTo>
                  <a:pt x="506564" y="1645364"/>
                  <a:pt x="507475" y="1650831"/>
                  <a:pt x="508159" y="1656525"/>
                </a:cubicBezTo>
                <a:lnTo>
                  <a:pt x="508333" y="1662358"/>
                </a:lnTo>
                <a:lnTo>
                  <a:pt x="506604" y="1665128"/>
                </a:lnTo>
                <a:lnTo>
                  <a:pt x="506793" y="1664269"/>
                </a:lnTo>
                <a:cubicBezTo>
                  <a:pt x="507020" y="1660853"/>
                  <a:pt x="506565" y="1657208"/>
                  <a:pt x="504743" y="1653564"/>
                </a:cubicBezTo>
                <a:lnTo>
                  <a:pt x="493678" y="1677274"/>
                </a:lnTo>
                <a:lnTo>
                  <a:pt x="492443" y="1677480"/>
                </a:lnTo>
                <a:lnTo>
                  <a:pt x="489473" y="1678635"/>
                </a:lnTo>
                <a:lnTo>
                  <a:pt x="488343" y="1679075"/>
                </a:lnTo>
                <a:lnTo>
                  <a:pt x="488343" y="1680897"/>
                </a:lnTo>
                <a:lnTo>
                  <a:pt x="488343" y="1682719"/>
                </a:lnTo>
                <a:cubicBezTo>
                  <a:pt x="488343" y="1682719"/>
                  <a:pt x="490165" y="1682719"/>
                  <a:pt x="490165" y="1680897"/>
                </a:cubicBezTo>
                <a:lnTo>
                  <a:pt x="490165" y="1684541"/>
                </a:lnTo>
                <a:lnTo>
                  <a:pt x="485511" y="1686757"/>
                </a:lnTo>
                <a:lnTo>
                  <a:pt x="486521" y="1682719"/>
                </a:lnTo>
                <a:lnTo>
                  <a:pt x="478730" y="1689189"/>
                </a:lnTo>
                <a:lnTo>
                  <a:pt x="482876" y="1680897"/>
                </a:lnTo>
                <a:lnTo>
                  <a:pt x="479051" y="1684085"/>
                </a:lnTo>
                <a:lnTo>
                  <a:pt x="490036" y="1671075"/>
                </a:lnTo>
                <a:lnTo>
                  <a:pt x="488343" y="1675430"/>
                </a:lnTo>
                <a:cubicBezTo>
                  <a:pt x="499276" y="1668142"/>
                  <a:pt x="499276" y="1653564"/>
                  <a:pt x="504743" y="1644453"/>
                </a:cubicBezTo>
                <a:cubicBezTo>
                  <a:pt x="502920" y="1642631"/>
                  <a:pt x="502920" y="1644453"/>
                  <a:pt x="501098" y="1642631"/>
                </a:cubicBezTo>
                <a:lnTo>
                  <a:pt x="494957" y="1658422"/>
                </a:lnTo>
                <a:lnTo>
                  <a:pt x="499276" y="1638987"/>
                </a:lnTo>
                <a:cubicBezTo>
                  <a:pt x="495632" y="1640809"/>
                  <a:pt x="491987" y="1642631"/>
                  <a:pt x="491987" y="1649920"/>
                </a:cubicBezTo>
                <a:cubicBezTo>
                  <a:pt x="487431" y="1655386"/>
                  <a:pt x="482876" y="1661308"/>
                  <a:pt x="479687" y="1667686"/>
                </a:cubicBezTo>
                <a:lnTo>
                  <a:pt x="475879" y="1686727"/>
                </a:lnTo>
                <a:lnTo>
                  <a:pt x="471943" y="1690008"/>
                </a:lnTo>
                <a:lnTo>
                  <a:pt x="475564" y="1691818"/>
                </a:lnTo>
                <a:lnTo>
                  <a:pt x="473082" y="1693880"/>
                </a:lnTo>
                <a:lnTo>
                  <a:pt x="461751" y="1705638"/>
                </a:lnTo>
                <a:lnTo>
                  <a:pt x="459364" y="1705249"/>
                </a:lnTo>
                <a:lnTo>
                  <a:pt x="463516" y="1700029"/>
                </a:lnTo>
                <a:cubicBezTo>
                  <a:pt x="467388" y="1697752"/>
                  <a:pt x="471032" y="1695474"/>
                  <a:pt x="470121" y="1690008"/>
                </a:cubicBezTo>
                <a:cubicBezTo>
                  <a:pt x="466477" y="1692741"/>
                  <a:pt x="462833" y="1695019"/>
                  <a:pt x="459416" y="1697752"/>
                </a:cubicBezTo>
                <a:lnTo>
                  <a:pt x="455162" y="1702524"/>
                </a:lnTo>
                <a:lnTo>
                  <a:pt x="451900" y="1700485"/>
                </a:lnTo>
                <a:cubicBezTo>
                  <a:pt x="450533" y="1700485"/>
                  <a:pt x="449166" y="1700941"/>
                  <a:pt x="448256" y="1700941"/>
                </a:cubicBezTo>
                <a:cubicBezTo>
                  <a:pt x="448256" y="1700941"/>
                  <a:pt x="448256" y="1699118"/>
                  <a:pt x="450077" y="1699118"/>
                </a:cubicBezTo>
                <a:lnTo>
                  <a:pt x="445768" y="1701106"/>
                </a:lnTo>
                <a:lnTo>
                  <a:pt x="445237" y="1700228"/>
                </a:lnTo>
                <a:lnTo>
                  <a:pt x="443551" y="1702130"/>
                </a:lnTo>
                <a:lnTo>
                  <a:pt x="441194" y="1703218"/>
                </a:lnTo>
                <a:lnTo>
                  <a:pt x="440551" y="1707075"/>
                </a:lnTo>
                <a:lnTo>
                  <a:pt x="440340" y="1707460"/>
                </a:lnTo>
                <a:cubicBezTo>
                  <a:pt x="439258" y="1708229"/>
                  <a:pt x="437778" y="1707774"/>
                  <a:pt x="435500" y="1704585"/>
                </a:cubicBezTo>
                <a:cubicBezTo>
                  <a:pt x="439145" y="1704585"/>
                  <a:pt x="440966" y="1702763"/>
                  <a:pt x="442789" y="1700941"/>
                </a:cubicBezTo>
                <a:cubicBezTo>
                  <a:pt x="430034" y="1699118"/>
                  <a:pt x="424567" y="1713696"/>
                  <a:pt x="411812" y="1713696"/>
                </a:cubicBezTo>
                <a:cubicBezTo>
                  <a:pt x="420923" y="1710051"/>
                  <a:pt x="430034" y="1702763"/>
                  <a:pt x="428211" y="1693652"/>
                </a:cubicBezTo>
                <a:cubicBezTo>
                  <a:pt x="426389" y="1688185"/>
                  <a:pt x="419100" y="1691830"/>
                  <a:pt x="415456" y="1693652"/>
                </a:cubicBezTo>
                <a:cubicBezTo>
                  <a:pt x="426389" y="1690008"/>
                  <a:pt x="435500" y="1688185"/>
                  <a:pt x="442789" y="1682719"/>
                </a:cubicBezTo>
                <a:cubicBezTo>
                  <a:pt x="440966" y="1684541"/>
                  <a:pt x="439145" y="1684541"/>
                  <a:pt x="439145" y="1686363"/>
                </a:cubicBezTo>
                <a:cubicBezTo>
                  <a:pt x="440966" y="1686363"/>
                  <a:pt x="442789" y="1688185"/>
                  <a:pt x="444611" y="1686363"/>
                </a:cubicBezTo>
                <a:cubicBezTo>
                  <a:pt x="439145" y="1688185"/>
                  <a:pt x="446433" y="1688185"/>
                  <a:pt x="446433" y="1690008"/>
                </a:cubicBezTo>
                <a:cubicBezTo>
                  <a:pt x="448256" y="1686363"/>
                  <a:pt x="448256" y="1682719"/>
                  <a:pt x="444611" y="1680897"/>
                </a:cubicBezTo>
                <a:cubicBezTo>
                  <a:pt x="446433" y="1679075"/>
                  <a:pt x="448256" y="1677252"/>
                  <a:pt x="450077" y="1673608"/>
                </a:cubicBezTo>
                <a:cubicBezTo>
                  <a:pt x="450077" y="1675430"/>
                  <a:pt x="450077" y="1677252"/>
                  <a:pt x="450077" y="1679075"/>
                </a:cubicBezTo>
                <a:cubicBezTo>
                  <a:pt x="448256" y="1688185"/>
                  <a:pt x="457367" y="1680897"/>
                  <a:pt x="464655" y="1677252"/>
                </a:cubicBezTo>
                <a:cubicBezTo>
                  <a:pt x="464655" y="1677252"/>
                  <a:pt x="461010" y="1677252"/>
                  <a:pt x="461010" y="1677252"/>
                </a:cubicBezTo>
                <a:cubicBezTo>
                  <a:pt x="461010" y="1675430"/>
                  <a:pt x="462832" y="1677252"/>
                  <a:pt x="464655" y="1675430"/>
                </a:cubicBezTo>
                <a:cubicBezTo>
                  <a:pt x="457367" y="1669964"/>
                  <a:pt x="468299" y="1666319"/>
                  <a:pt x="464655" y="1664497"/>
                </a:cubicBezTo>
                <a:cubicBezTo>
                  <a:pt x="462832" y="1662675"/>
                  <a:pt x="462832" y="1662675"/>
                  <a:pt x="461010" y="1662675"/>
                </a:cubicBezTo>
                <a:cubicBezTo>
                  <a:pt x="468299" y="1659031"/>
                  <a:pt x="473766" y="1651742"/>
                  <a:pt x="473766" y="1644453"/>
                </a:cubicBezTo>
                <a:cubicBezTo>
                  <a:pt x="471943" y="1646275"/>
                  <a:pt x="470121" y="1646275"/>
                  <a:pt x="470121" y="1646275"/>
                </a:cubicBezTo>
                <a:cubicBezTo>
                  <a:pt x="471943" y="1644453"/>
                  <a:pt x="475589" y="1642631"/>
                  <a:pt x="475589" y="1638987"/>
                </a:cubicBezTo>
                <a:cubicBezTo>
                  <a:pt x="462832" y="1640809"/>
                  <a:pt x="461010" y="1653564"/>
                  <a:pt x="457367" y="1662675"/>
                </a:cubicBezTo>
                <a:cubicBezTo>
                  <a:pt x="453722" y="1662675"/>
                  <a:pt x="450077" y="1666319"/>
                  <a:pt x="448256" y="1669964"/>
                </a:cubicBezTo>
                <a:cubicBezTo>
                  <a:pt x="450077" y="1666319"/>
                  <a:pt x="450077" y="1664497"/>
                  <a:pt x="451899" y="1660853"/>
                </a:cubicBezTo>
                <a:cubicBezTo>
                  <a:pt x="455544" y="1662675"/>
                  <a:pt x="459188" y="1655386"/>
                  <a:pt x="459188" y="1651742"/>
                </a:cubicBezTo>
                <a:cubicBezTo>
                  <a:pt x="457367" y="1655386"/>
                  <a:pt x="453722" y="1657208"/>
                  <a:pt x="451899" y="1660853"/>
                </a:cubicBezTo>
                <a:cubicBezTo>
                  <a:pt x="453722" y="1655386"/>
                  <a:pt x="455544" y="1649920"/>
                  <a:pt x="461010" y="1642631"/>
                </a:cubicBezTo>
                <a:cubicBezTo>
                  <a:pt x="458277" y="1644453"/>
                  <a:pt x="456455" y="1646275"/>
                  <a:pt x="454405" y="1647414"/>
                </a:cubicBezTo>
                <a:lnTo>
                  <a:pt x="449583" y="1647827"/>
                </a:lnTo>
                <a:lnTo>
                  <a:pt x="452396" y="1646772"/>
                </a:lnTo>
                <a:lnTo>
                  <a:pt x="452583" y="1646731"/>
                </a:lnTo>
                <a:lnTo>
                  <a:pt x="452642" y="1646680"/>
                </a:lnTo>
                <a:lnTo>
                  <a:pt x="453722" y="1646275"/>
                </a:lnTo>
                <a:lnTo>
                  <a:pt x="453441" y="1645994"/>
                </a:lnTo>
                <a:lnTo>
                  <a:pt x="457367" y="1642631"/>
                </a:lnTo>
                <a:lnTo>
                  <a:pt x="452507" y="1645060"/>
                </a:lnTo>
                <a:lnTo>
                  <a:pt x="450760" y="1643314"/>
                </a:lnTo>
                <a:cubicBezTo>
                  <a:pt x="447800" y="1644453"/>
                  <a:pt x="443699" y="1646275"/>
                  <a:pt x="440966" y="1644453"/>
                </a:cubicBezTo>
                <a:cubicBezTo>
                  <a:pt x="440966" y="1646275"/>
                  <a:pt x="440966" y="1646275"/>
                  <a:pt x="442789" y="1648097"/>
                </a:cubicBezTo>
                <a:cubicBezTo>
                  <a:pt x="424567" y="1644453"/>
                  <a:pt x="397234" y="1646275"/>
                  <a:pt x="395412" y="1660853"/>
                </a:cubicBezTo>
                <a:cubicBezTo>
                  <a:pt x="395412" y="1666319"/>
                  <a:pt x="401335" y="1669964"/>
                  <a:pt x="408850" y="1671102"/>
                </a:cubicBezTo>
                <a:lnTo>
                  <a:pt x="421464" y="1668480"/>
                </a:lnTo>
                <a:lnTo>
                  <a:pt x="395412" y="1686363"/>
                </a:lnTo>
                <a:cubicBezTo>
                  <a:pt x="397234" y="1684541"/>
                  <a:pt x="397234" y="1684541"/>
                  <a:pt x="397234" y="1682719"/>
                </a:cubicBezTo>
                <a:cubicBezTo>
                  <a:pt x="393590" y="1686363"/>
                  <a:pt x="384479" y="1686363"/>
                  <a:pt x="380835" y="1684541"/>
                </a:cubicBezTo>
                <a:cubicBezTo>
                  <a:pt x="379012" y="1684541"/>
                  <a:pt x="382657" y="1679075"/>
                  <a:pt x="384479" y="1677252"/>
                </a:cubicBezTo>
                <a:cubicBezTo>
                  <a:pt x="384479" y="1675430"/>
                  <a:pt x="373546" y="1677252"/>
                  <a:pt x="377190" y="1675430"/>
                </a:cubicBezTo>
                <a:cubicBezTo>
                  <a:pt x="379012" y="1671786"/>
                  <a:pt x="386301" y="1679075"/>
                  <a:pt x="391768" y="1673608"/>
                </a:cubicBezTo>
                <a:cubicBezTo>
                  <a:pt x="389946" y="1671786"/>
                  <a:pt x="389946" y="1671786"/>
                  <a:pt x="389946" y="1671786"/>
                </a:cubicBezTo>
                <a:cubicBezTo>
                  <a:pt x="391768" y="1671786"/>
                  <a:pt x="393590" y="1671786"/>
                  <a:pt x="393590" y="1669964"/>
                </a:cubicBezTo>
                <a:cubicBezTo>
                  <a:pt x="391768" y="1668142"/>
                  <a:pt x="389946" y="1666319"/>
                  <a:pt x="388123" y="1668142"/>
                </a:cubicBezTo>
                <a:cubicBezTo>
                  <a:pt x="388123" y="1669964"/>
                  <a:pt x="388123" y="1669964"/>
                  <a:pt x="388123" y="1669964"/>
                </a:cubicBezTo>
                <a:cubicBezTo>
                  <a:pt x="382657" y="1666319"/>
                  <a:pt x="377190" y="1664497"/>
                  <a:pt x="368079" y="1666319"/>
                </a:cubicBezTo>
                <a:cubicBezTo>
                  <a:pt x="368079" y="1662675"/>
                  <a:pt x="375368" y="1664497"/>
                  <a:pt x="377190" y="1662675"/>
                </a:cubicBezTo>
                <a:cubicBezTo>
                  <a:pt x="377190" y="1659031"/>
                  <a:pt x="375368" y="1657208"/>
                  <a:pt x="373546" y="1657208"/>
                </a:cubicBezTo>
                <a:cubicBezTo>
                  <a:pt x="373546" y="1657208"/>
                  <a:pt x="373546" y="1655386"/>
                  <a:pt x="373546" y="1655386"/>
                </a:cubicBezTo>
                <a:cubicBezTo>
                  <a:pt x="375368" y="1655386"/>
                  <a:pt x="379012" y="1660853"/>
                  <a:pt x="382657" y="1657208"/>
                </a:cubicBezTo>
                <a:cubicBezTo>
                  <a:pt x="377190" y="1649920"/>
                  <a:pt x="368079" y="1649920"/>
                  <a:pt x="362613" y="1657208"/>
                </a:cubicBezTo>
                <a:cubicBezTo>
                  <a:pt x="364435" y="1657208"/>
                  <a:pt x="368079" y="1655386"/>
                  <a:pt x="369902" y="1657208"/>
                </a:cubicBezTo>
                <a:cubicBezTo>
                  <a:pt x="366257" y="1657208"/>
                  <a:pt x="360791" y="1660853"/>
                  <a:pt x="357146" y="1660853"/>
                </a:cubicBezTo>
                <a:cubicBezTo>
                  <a:pt x="360791" y="1649920"/>
                  <a:pt x="362613" y="1655386"/>
                  <a:pt x="371724" y="1651742"/>
                </a:cubicBezTo>
                <a:cubicBezTo>
                  <a:pt x="369902" y="1648097"/>
                  <a:pt x="371724" y="1646275"/>
                  <a:pt x="368079" y="1644453"/>
                </a:cubicBezTo>
                <a:cubicBezTo>
                  <a:pt x="369902" y="1644453"/>
                  <a:pt x="371724" y="1644453"/>
                  <a:pt x="375368" y="1644453"/>
                </a:cubicBezTo>
                <a:cubicBezTo>
                  <a:pt x="375368" y="1646275"/>
                  <a:pt x="373546" y="1644453"/>
                  <a:pt x="371724" y="1646275"/>
                </a:cubicBezTo>
                <a:cubicBezTo>
                  <a:pt x="373546" y="1648097"/>
                  <a:pt x="375368" y="1649920"/>
                  <a:pt x="377190" y="1651742"/>
                </a:cubicBezTo>
                <a:cubicBezTo>
                  <a:pt x="382657" y="1649920"/>
                  <a:pt x="384479" y="1644453"/>
                  <a:pt x="388123" y="1642631"/>
                </a:cubicBezTo>
                <a:cubicBezTo>
                  <a:pt x="384479" y="1644453"/>
                  <a:pt x="379012" y="1642631"/>
                  <a:pt x="375368" y="1638987"/>
                </a:cubicBezTo>
                <a:cubicBezTo>
                  <a:pt x="379012" y="1640809"/>
                  <a:pt x="382657" y="1642631"/>
                  <a:pt x="386301" y="1640809"/>
                </a:cubicBezTo>
                <a:cubicBezTo>
                  <a:pt x="384479" y="1637164"/>
                  <a:pt x="380835" y="1635342"/>
                  <a:pt x="379012" y="1631698"/>
                </a:cubicBezTo>
                <a:cubicBezTo>
                  <a:pt x="379012" y="1631698"/>
                  <a:pt x="380835" y="1629876"/>
                  <a:pt x="382657" y="1631698"/>
                </a:cubicBezTo>
                <a:cubicBezTo>
                  <a:pt x="380835" y="1629876"/>
                  <a:pt x="377190" y="1626231"/>
                  <a:pt x="373546" y="1624409"/>
                </a:cubicBezTo>
                <a:cubicBezTo>
                  <a:pt x="382657" y="1631698"/>
                  <a:pt x="393590" y="1624409"/>
                  <a:pt x="395412" y="1635342"/>
                </a:cubicBezTo>
                <a:cubicBezTo>
                  <a:pt x="395412" y="1635342"/>
                  <a:pt x="397234" y="1633520"/>
                  <a:pt x="397234" y="1633520"/>
                </a:cubicBezTo>
                <a:cubicBezTo>
                  <a:pt x="399056" y="1635342"/>
                  <a:pt x="400879" y="1637164"/>
                  <a:pt x="404523" y="1635342"/>
                </a:cubicBezTo>
                <a:cubicBezTo>
                  <a:pt x="402701" y="1635342"/>
                  <a:pt x="400879" y="1629876"/>
                  <a:pt x="399056" y="1629876"/>
                </a:cubicBezTo>
                <a:cubicBezTo>
                  <a:pt x="399056" y="1631698"/>
                  <a:pt x="397234" y="1631698"/>
                  <a:pt x="397234" y="1631698"/>
                </a:cubicBezTo>
                <a:cubicBezTo>
                  <a:pt x="398145" y="1629876"/>
                  <a:pt x="396323" y="1627143"/>
                  <a:pt x="395184" y="1624637"/>
                </a:cubicBezTo>
                <a:lnTo>
                  <a:pt x="396752" y="1620282"/>
                </a:lnTo>
                <a:lnTo>
                  <a:pt x="397234" y="1620764"/>
                </a:lnTo>
                <a:lnTo>
                  <a:pt x="397234" y="1623270"/>
                </a:lnTo>
                <a:cubicBezTo>
                  <a:pt x="396779" y="1625776"/>
                  <a:pt x="397234" y="1628053"/>
                  <a:pt x="402701" y="1626231"/>
                </a:cubicBezTo>
                <a:lnTo>
                  <a:pt x="397234" y="1620764"/>
                </a:lnTo>
                <a:lnTo>
                  <a:pt x="397234" y="1618943"/>
                </a:lnTo>
                <a:lnTo>
                  <a:pt x="396752" y="1620282"/>
                </a:lnTo>
                <a:lnTo>
                  <a:pt x="387759" y="1611290"/>
                </a:lnTo>
                <a:lnTo>
                  <a:pt x="388998" y="1610980"/>
                </a:lnTo>
                <a:lnTo>
                  <a:pt x="397006" y="1614387"/>
                </a:lnTo>
                <a:cubicBezTo>
                  <a:pt x="399967" y="1616210"/>
                  <a:pt x="402701" y="1618032"/>
                  <a:pt x="406345" y="1618943"/>
                </a:cubicBezTo>
                <a:lnTo>
                  <a:pt x="391207" y="1610427"/>
                </a:lnTo>
                <a:lnTo>
                  <a:pt x="393590" y="1609832"/>
                </a:lnTo>
                <a:cubicBezTo>
                  <a:pt x="393590" y="1604365"/>
                  <a:pt x="388123" y="1609832"/>
                  <a:pt x="389946" y="1606188"/>
                </a:cubicBezTo>
                <a:cubicBezTo>
                  <a:pt x="388123" y="1608010"/>
                  <a:pt x="384479" y="1611654"/>
                  <a:pt x="379012" y="1613476"/>
                </a:cubicBezTo>
                <a:lnTo>
                  <a:pt x="380107" y="1613202"/>
                </a:lnTo>
                <a:lnTo>
                  <a:pt x="369902" y="1618943"/>
                </a:lnTo>
                <a:cubicBezTo>
                  <a:pt x="371724" y="1617121"/>
                  <a:pt x="371724" y="1615298"/>
                  <a:pt x="373546" y="1613476"/>
                </a:cubicBezTo>
                <a:cubicBezTo>
                  <a:pt x="369902" y="1615298"/>
                  <a:pt x="369902" y="1617121"/>
                  <a:pt x="366257" y="1618943"/>
                </a:cubicBezTo>
                <a:cubicBezTo>
                  <a:pt x="371724" y="1618943"/>
                  <a:pt x="373546" y="1618943"/>
                  <a:pt x="373546" y="1624409"/>
                </a:cubicBezTo>
                <a:cubicBezTo>
                  <a:pt x="369902" y="1622587"/>
                  <a:pt x="368079" y="1618943"/>
                  <a:pt x="364435" y="1624409"/>
                </a:cubicBezTo>
                <a:cubicBezTo>
                  <a:pt x="362613" y="1620765"/>
                  <a:pt x="368079" y="1620765"/>
                  <a:pt x="366257" y="1617121"/>
                </a:cubicBezTo>
                <a:cubicBezTo>
                  <a:pt x="366257" y="1620765"/>
                  <a:pt x="360791" y="1622587"/>
                  <a:pt x="357146" y="1620765"/>
                </a:cubicBezTo>
                <a:cubicBezTo>
                  <a:pt x="358969" y="1618943"/>
                  <a:pt x="358969" y="1618943"/>
                  <a:pt x="358969" y="1617121"/>
                </a:cubicBezTo>
                <a:cubicBezTo>
                  <a:pt x="362613" y="1618943"/>
                  <a:pt x="366257" y="1617121"/>
                  <a:pt x="369902" y="1615298"/>
                </a:cubicBezTo>
                <a:cubicBezTo>
                  <a:pt x="371724" y="1613476"/>
                  <a:pt x="368079" y="1613476"/>
                  <a:pt x="369902" y="1611654"/>
                </a:cubicBezTo>
                <a:cubicBezTo>
                  <a:pt x="366257" y="1613476"/>
                  <a:pt x="362613" y="1615298"/>
                  <a:pt x="358969" y="1617121"/>
                </a:cubicBezTo>
                <a:cubicBezTo>
                  <a:pt x="358969" y="1613476"/>
                  <a:pt x="357146" y="1611654"/>
                  <a:pt x="364435" y="1609832"/>
                </a:cubicBezTo>
                <a:cubicBezTo>
                  <a:pt x="353502" y="1598899"/>
                  <a:pt x="346213" y="1617121"/>
                  <a:pt x="335280" y="1618943"/>
                </a:cubicBezTo>
                <a:cubicBezTo>
                  <a:pt x="337102" y="1618943"/>
                  <a:pt x="337102" y="1618943"/>
                  <a:pt x="338926" y="1617121"/>
                </a:cubicBezTo>
                <a:cubicBezTo>
                  <a:pt x="333458" y="1618943"/>
                  <a:pt x="329814" y="1624409"/>
                  <a:pt x="324347" y="1618943"/>
                </a:cubicBezTo>
                <a:cubicBezTo>
                  <a:pt x="329814" y="1617121"/>
                  <a:pt x="337102" y="1615298"/>
                  <a:pt x="340747" y="1611654"/>
                </a:cubicBezTo>
                <a:cubicBezTo>
                  <a:pt x="333458" y="1611654"/>
                  <a:pt x="327080" y="1615754"/>
                  <a:pt x="320702" y="1619398"/>
                </a:cubicBezTo>
                <a:lnTo>
                  <a:pt x="309771" y="1622131"/>
                </a:lnTo>
                <a:lnTo>
                  <a:pt x="318882" y="1617121"/>
                </a:lnTo>
                <a:lnTo>
                  <a:pt x="315236" y="1617121"/>
                </a:lnTo>
                <a:cubicBezTo>
                  <a:pt x="319792" y="1618032"/>
                  <a:pt x="323436" y="1617121"/>
                  <a:pt x="326852" y="1615526"/>
                </a:cubicBezTo>
                <a:lnTo>
                  <a:pt x="334830" y="1611094"/>
                </a:lnTo>
                <a:lnTo>
                  <a:pt x="324347" y="1613278"/>
                </a:lnTo>
                <a:cubicBezTo>
                  <a:pt x="318880" y="1614872"/>
                  <a:pt x="313414" y="1616239"/>
                  <a:pt x="307947" y="1615328"/>
                </a:cubicBezTo>
                <a:cubicBezTo>
                  <a:pt x="309769" y="1613506"/>
                  <a:pt x="311592" y="1613506"/>
                  <a:pt x="315236" y="1613506"/>
                </a:cubicBezTo>
                <a:cubicBezTo>
                  <a:pt x="313414" y="1611683"/>
                  <a:pt x="311592" y="1611683"/>
                  <a:pt x="307947" y="1611683"/>
                </a:cubicBezTo>
                <a:cubicBezTo>
                  <a:pt x="315236" y="1609862"/>
                  <a:pt x="324347" y="1615328"/>
                  <a:pt x="329813" y="1609862"/>
                </a:cubicBezTo>
                <a:cubicBezTo>
                  <a:pt x="329813" y="1606218"/>
                  <a:pt x="327991" y="1604396"/>
                  <a:pt x="327991" y="1600751"/>
                </a:cubicBezTo>
                <a:lnTo>
                  <a:pt x="337032" y="1607208"/>
                </a:lnTo>
                <a:lnTo>
                  <a:pt x="346213" y="1606188"/>
                </a:lnTo>
                <a:cubicBezTo>
                  <a:pt x="337102" y="1600721"/>
                  <a:pt x="329814" y="1591610"/>
                  <a:pt x="317059" y="1591610"/>
                </a:cubicBezTo>
                <a:cubicBezTo>
                  <a:pt x="318882" y="1586144"/>
                  <a:pt x="326169" y="1595255"/>
                  <a:pt x="327993" y="1587966"/>
                </a:cubicBezTo>
                <a:cubicBezTo>
                  <a:pt x="322525" y="1589788"/>
                  <a:pt x="318882" y="1587966"/>
                  <a:pt x="313414" y="1587966"/>
                </a:cubicBezTo>
                <a:cubicBezTo>
                  <a:pt x="313414" y="1589788"/>
                  <a:pt x="313414" y="1589788"/>
                  <a:pt x="315236" y="1591610"/>
                </a:cubicBezTo>
                <a:cubicBezTo>
                  <a:pt x="307948" y="1584321"/>
                  <a:pt x="295193" y="1584321"/>
                  <a:pt x="286082" y="1580677"/>
                </a:cubicBezTo>
                <a:cubicBezTo>
                  <a:pt x="289726" y="1580677"/>
                  <a:pt x="293370" y="1578855"/>
                  <a:pt x="295193" y="1580677"/>
                </a:cubicBezTo>
                <a:cubicBezTo>
                  <a:pt x="295193" y="1578855"/>
                  <a:pt x="295193" y="1578855"/>
                  <a:pt x="293370" y="1577033"/>
                </a:cubicBezTo>
                <a:cubicBezTo>
                  <a:pt x="306126" y="1587966"/>
                  <a:pt x="318882" y="1586144"/>
                  <a:pt x="333458" y="1587966"/>
                </a:cubicBezTo>
                <a:cubicBezTo>
                  <a:pt x="329814" y="1577033"/>
                  <a:pt x="313414" y="1578855"/>
                  <a:pt x="315236" y="1566100"/>
                </a:cubicBezTo>
                <a:cubicBezTo>
                  <a:pt x="326169" y="1571566"/>
                  <a:pt x="333458" y="1584321"/>
                  <a:pt x="346213" y="1587966"/>
                </a:cubicBezTo>
                <a:cubicBezTo>
                  <a:pt x="346213" y="1587966"/>
                  <a:pt x="346213" y="1586144"/>
                  <a:pt x="348037" y="1584321"/>
                </a:cubicBezTo>
                <a:cubicBezTo>
                  <a:pt x="346213" y="1584321"/>
                  <a:pt x="346213" y="1584321"/>
                  <a:pt x="342569" y="1584321"/>
                </a:cubicBezTo>
                <a:cubicBezTo>
                  <a:pt x="344391" y="1584321"/>
                  <a:pt x="344391" y="1584321"/>
                  <a:pt x="346213" y="1582499"/>
                </a:cubicBezTo>
                <a:cubicBezTo>
                  <a:pt x="338926" y="1582499"/>
                  <a:pt x="337102" y="1575211"/>
                  <a:pt x="335280" y="1569744"/>
                </a:cubicBezTo>
                <a:cubicBezTo>
                  <a:pt x="331636" y="1564278"/>
                  <a:pt x="337102" y="1569744"/>
                  <a:pt x="338926" y="1567922"/>
                </a:cubicBezTo>
                <a:cubicBezTo>
                  <a:pt x="338926" y="1558811"/>
                  <a:pt x="327993" y="1558811"/>
                  <a:pt x="326169" y="1549700"/>
                </a:cubicBezTo>
                <a:cubicBezTo>
                  <a:pt x="327993" y="1551522"/>
                  <a:pt x="329814" y="1555167"/>
                  <a:pt x="331636" y="1553345"/>
                </a:cubicBezTo>
                <a:cubicBezTo>
                  <a:pt x="333458" y="1551522"/>
                  <a:pt x="333458" y="1551522"/>
                  <a:pt x="333458" y="1549700"/>
                </a:cubicBezTo>
                <a:lnTo>
                  <a:pt x="350970" y="1563126"/>
                </a:lnTo>
                <a:lnTo>
                  <a:pt x="355979" y="1574356"/>
                </a:lnTo>
                <a:cubicBezTo>
                  <a:pt x="365119" y="1585460"/>
                  <a:pt x="382201" y="1588877"/>
                  <a:pt x="397234" y="1586144"/>
                </a:cubicBezTo>
                <a:cubicBezTo>
                  <a:pt x="394501" y="1582499"/>
                  <a:pt x="390401" y="1580222"/>
                  <a:pt x="386073" y="1578399"/>
                </a:cubicBezTo>
                <a:lnTo>
                  <a:pt x="385871" y="1578318"/>
                </a:lnTo>
                <a:lnTo>
                  <a:pt x="393590" y="1580677"/>
                </a:lnTo>
                <a:cubicBezTo>
                  <a:pt x="394501" y="1580677"/>
                  <a:pt x="393590" y="1577944"/>
                  <a:pt x="392452" y="1574527"/>
                </a:cubicBezTo>
                <a:lnTo>
                  <a:pt x="389958" y="1564327"/>
                </a:lnTo>
                <a:lnTo>
                  <a:pt x="389976" y="1564328"/>
                </a:lnTo>
                <a:lnTo>
                  <a:pt x="395412" y="1573388"/>
                </a:lnTo>
                <a:cubicBezTo>
                  <a:pt x="397234" y="1573388"/>
                  <a:pt x="398145" y="1574754"/>
                  <a:pt x="399056" y="1575894"/>
                </a:cubicBezTo>
                <a:lnTo>
                  <a:pt x="399271" y="1575961"/>
                </a:lnTo>
                <a:lnTo>
                  <a:pt x="402701" y="1577033"/>
                </a:lnTo>
                <a:cubicBezTo>
                  <a:pt x="404523" y="1575211"/>
                  <a:pt x="402701" y="1575211"/>
                  <a:pt x="402701" y="1571566"/>
                </a:cubicBezTo>
                <a:cubicBezTo>
                  <a:pt x="402701" y="1573388"/>
                  <a:pt x="399056" y="1573388"/>
                  <a:pt x="399056" y="1573388"/>
                </a:cubicBezTo>
                <a:cubicBezTo>
                  <a:pt x="397234" y="1571566"/>
                  <a:pt x="399056" y="1567922"/>
                  <a:pt x="399056" y="1566100"/>
                </a:cubicBezTo>
                <a:cubicBezTo>
                  <a:pt x="406345" y="1577033"/>
                  <a:pt x="415456" y="1562455"/>
                  <a:pt x="428211" y="1558811"/>
                </a:cubicBezTo>
                <a:cubicBezTo>
                  <a:pt x="419100" y="1560633"/>
                  <a:pt x="408167" y="1560633"/>
                  <a:pt x="399056" y="1558811"/>
                </a:cubicBezTo>
                <a:cubicBezTo>
                  <a:pt x="390856" y="1564278"/>
                  <a:pt x="397006" y="1564619"/>
                  <a:pt x="394444" y="1564449"/>
                </a:cubicBezTo>
                <a:lnTo>
                  <a:pt x="389976" y="1564328"/>
                </a:lnTo>
                <a:lnTo>
                  <a:pt x="389946" y="1564278"/>
                </a:lnTo>
                <a:lnTo>
                  <a:pt x="389958" y="1564327"/>
                </a:lnTo>
                <a:lnTo>
                  <a:pt x="388123" y="1564278"/>
                </a:lnTo>
                <a:cubicBezTo>
                  <a:pt x="377190" y="1564278"/>
                  <a:pt x="377190" y="1562455"/>
                  <a:pt x="369902" y="1560633"/>
                </a:cubicBezTo>
                <a:cubicBezTo>
                  <a:pt x="369902" y="1560633"/>
                  <a:pt x="368079" y="1560633"/>
                  <a:pt x="366257" y="1562455"/>
                </a:cubicBezTo>
                <a:cubicBezTo>
                  <a:pt x="366257" y="1560633"/>
                  <a:pt x="366257" y="1558811"/>
                  <a:pt x="366257" y="1558811"/>
                </a:cubicBezTo>
                <a:cubicBezTo>
                  <a:pt x="364435" y="1558811"/>
                  <a:pt x="362613" y="1556989"/>
                  <a:pt x="358969" y="1556989"/>
                </a:cubicBezTo>
                <a:cubicBezTo>
                  <a:pt x="358969" y="1555167"/>
                  <a:pt x="360791" y="1553345"/>
                  <a:pt x="360791" y="1551522"/>
                </a:cubicBezTo>
                <a:lnTo>
                  <a:pt x="357544" y="1546884"/>
                </a:lnTo>
                <a:lnTo>
                  <a:pt x="362613" y="1549700"/>
                </a:lnTo>
                <a:cubicBezTo>
                  <a:pt x="362613" y="1547878"/>
                  <a:pt x="362613" y="1547878"/>
                  <a:pt x="362613" y="1547878"/>
                </a:cubicBezTo>
                <a:cubicBezTo>
                  <a:pt x="362613" y="1546056"/>
                  <a:pt x="364435" y="1544234"/>
                  <a:pt x="364435" y="1542412"/>
                </a:cubicBezTo>
                <a:cubicBezTo>
                  <a:pt x="362613" y="1540589"/>
                  <a:pt x="358969" y="1540589"/>
                  <a:pt x="357146" y="1538767"/>
                </a:cubicBezTo>
                <a:cubicBezTo>
                  <a:pt x="358969" y="1538767"/>
                  <a:pt x="362613" y="1540589"/>
                  <a:pt x="364435" y="1540589"/>
                </a:cubicBezTo>
                <a:cubicBezTo>
                  <a:pt x="366257" y="1540589"/>
                  <a:pt x="366257" y="1538767"/>
                  <a:pt x="366257" y="1538767"/>
                </a:cubicBezTo>
                <a:cubicBezTo>
                  <a:pt x="364435" y="1535123"/>
                  <a:pt x="362613" y="1529656"/>
                  <a:pt x="362613" y="1526012"/>
                </a:cubicBezTo>
                <a:cubicBezTo>
                  <a:pt x="364435" y="1529656"/>
                  <a:pt x="366257" y="1533301"/>
                  <a:pt x="368079" y="1536945"/>
                </a:cubicBezTo>
                <a:cubicBezTo>
                  <a:pt x="369902" y="1535123"/>
                  <a:pt x="371724" y="1533301"/>
                  <a:pt x="373546" y="1529656"/>
                </a:cubicBezTo>
                <a:cubicBezTo>
                  <a:pt x="371724" y="1529656"/>
                  <a:pt x="371724" y="1527834"/>
                  <a:pt x="369902" y="1526012"/>
                </a:cubicBezTo>
                <a:cubicBezTo>
                  <a:pt x="379012" y="1526012"/>
                  <a:pt x="386301" y="1527834"/>
                  <a:pt x="391768" y="1520545"/>
                </a:cubicBezTo>
                <a:cubicBezTo>
                  <a:pt x="397234" y="1509612"/>
                  <a:pt x="382657" y="1507790"/>
                  <a:pt x="375368" y="1511434"/>
                </a:cubicBezTo>
                <a:cubicBezTo>
                  <a:pt x="375368" y="1505968"/>
                  <a:pt x="379012" y="1505968"/>
                  <a:pt x="380835" y="1504146"/>
                </a:cubicBezTo>
                <a:cubicBezTo>
                  <a:pt x="379012" y="1504146"/>
                  <a:pt x="379012" y="1504146"/>
                  <a:pt x="375368" y="1504146"/>
                </a:cubicBezTo>
                <a:cubicBezTo>
                  <a:pt x="380835" y="1502324"/>
                  <a:pt x="380835" y="1500501"/>
                  <a:pt x="384479" y="1498679"/>
                </a:cubicBezTo>
                <a:lnTo>
                  <a:pt x="348797" y="1504710"/>
                </a:lnTo>
                <a:lnTo>
                  <a:pt x="340519" y="1503463"/>
                </a:lnTo>
                <a:cubicBezTo>
                  <a:pt x="334369" y="1503690"/>
                  <a:pt x="327991" y="1505057"/>
                  <a:pt x="322525" y="1507790"/>
                </a:cubicBezTo>
                <a:lnTo>
                  <a:pt x="331475" y="1508813"/>
                </a:lnTo>
                <a:lnTo>
                  <a:pt x="291549" y="1526012"/>
                </a:lnTo>
                <a:cubicBezTo>
                  <a:pt x="297015" y="1516901"/>
                  <a:pt x="307948" y="1518723"/>
                  <a:pt x="313414" y="1509612"/>
                </a:cubicBezTo>
                <a:cubicBezTo>
                  <a:pt x="309771" y="1511434"/>
                  <a:pt x="306126" y="1511434"/>
                  <a:pt x="302481" y="1511434"/>
                </a:cubicBezTo>
                <a:cubicBezTo>
                  <a:pt x="307948" y="1511434"/>
                  <a:pt x="313414" y="1509612"/>
                  <a:pt x="317059" y="1507790"/>
                </a:cubicBezTo>
                <a:cubicBezTo>
                  <a:pt x="311592" y="1505968"/>
                  <a:pt x="306126" y="1504146"/>
                  <a:pt x="298837" y="1502324"/>
                </a:cubicBezTo>
                <a:lnTo>
                  <a:pt x="300640" y="1502324"/>
                </a:lnTo>
                <a:lnTo>
                  <a:pt x="297014" y="1496886"/>
                </a:lnTo>
                <a:lnTo>
                  <a:pt x="303811" y="1502324"/>
                </a:lnTo>
                <a:lnTo>
                  <a:pt x="309771" y="1502324"/>
                </a:lnTo>
                <a:cubicBezTo>
                  <a:pt x="307948" y="1500501"/>
                  <a:pt x="306126" y="1498679"/>
                  <a:pt x="304303" y="1496857"/>
                </a:cubicBezTo>
                <a:cubicBezTo>
                  <a:pt x="307948" y="1498679"/>
                  <a:pt x="311592" y="1498679"/>
                  <a:pt x="315236" y="1500501"/>
                </a:cubicBezTo>
                <a:cubicBezTo>
                  <a:pt x="320703" y="1502324"/>
                  <a:pt x="324347" y="1498679"/>
                  <a:pt x="329814" y="1498679"/>
                </a:cubicBezTo>
                <a:cubicBezTo>
                  <a:pt x="346213" y="1498679"/>
                  <a:pt x="366257" y="1504146"/>
                  <a:pt x="384479" y="1495035"/>
                </a:cubicBezTo>
                <a:cubicBezTo>
                  <a:pt x="380835" y="1495035"/>
                  <a:pt x="379012" y="1496857"/>
                  <a:pt x="377190" y="1493213"/>
                </a:cubicBezTo>
                <a:cubicBezTo>
                  <a:pt x="377190" y="1491391"/>
                  <a:pt x="380835" y="1491391"/>
                  <a:pt x="380835" y="1491391"/>
                </a:cubicBezTo>
                <a:cubicBezTo>
                  <a:pt x="380835" y="1487746"/>
                  <a:pt x="379012" y="1485924"/>
                  <a:pt x="377190" y="1484102"/>
                </a:cubicBezTo>
                <a:cubicBezTo>
                  <a:pt x="382657" y="1482280"/>
                  <a:pt x="386301" y="1489568"/>
                  <a:pt x="389946" y="1485924"/>
                </a:cubicBezTo>
                <a:cubicBezTo>
                  <a:pt x="388123" y="1485924"/>
                  <a:pt x="388123" y="1484102"/>
                  <a:pt x="386301" y="1482280"/>
                </a:cubicBezTo>
                <a:cubicBezTo>
                  <a:pt x="393590" y="1484102"/>
                  <a:pt x="397234" y="1491391"/>
                  <a:pt x="404523" y="1485924"/>
                </a:cubicBezTo>
                <a:cubicBezTo>
                  <a:pt x="399056" y="1485924"/>
                  <a:pt x="397234" y="1482280"/>
                  <a:pt x="395412" y="1478635"/>
                </a:cubicBezTo>
                <a:cubicBezTo>
                  <a:pt x="399056" y="1480458"/>
                  <a:pt x="400879" y="1480458"/>
                  <a:pt x="404523" y="1478635"/>
                </a:cubicBezTo>
                <a:lnTo>
                  <a:pt x="382667" y="1476251"/>
                </a:lnTo>
                <a:lnTo>
                  <a:pt x="393590" y="1471347"/>
                </a:lnTo>
                <a:cubicBezTo>
                  <a:pt x="386301" y="1473169"/>
                  <a:pt x="371724" y="1469525"/>
                  <a:pt x="369902" y="1478635"/>
                </a:cubicBezTo>
                <a:lnTo>
                  <a:pt x="370697" y="1478491"/>
                </a:lnTo>
                <a:lnTo>
                  <a:pt x="351680" y="1484102"/>
                </a:lnTo>
                <a:cubicBezTo>
                  <a:pt x="353502" y="1484102"/>
                  <a:pt x="353502" y="1484102"/>
                  <a:pt x="355324" y="1482280"/>
                </a:cubicBezTo>
                <a:cubicBezTo>
                  <a:pt x="338926" y="1474991"/>
                  <a:pt x="326169" y="1491391"/>
                  <a:pt x="309771" y="1489568"/>
                </a:cubicBezTo>
                <a:cubicBezTo>
                  <a:pt x="313414" y="1489568"/>
                  <a:pt x="318882" y="1489568"/>
                  <a:pt x="320703" y="1485924"/>
                </a:cubicBezTo>
                <a:cubicBezTo>
                  <a:pt x="317059" y="1485924"/>
                  <a:pt x="317059" y="1484102"/>
                  <a:pt x="315236" y="1482280"/>
                </a:cubicBezTo>
                <a:cubicBezTo>
                  <a:pt x="327993" y="1487746"/>
                  <a:pt x="338926" y="1480458"/>
                  <a:pt x="349858" y="1476813"/>
                </a:cubicBezTo>
                <a:cubicBezTo>
                  <a:pt x="346213" y="1473169"/>
                  <a:pt x="340747" y="1474991"/>
                  <a:pt x="337102" y="1473169"/>
                </a:cubicBezTo>
                <a:cubicBezTo>
                  <a:pt x="338926" y="1473169"/>
                  <a:pt x="342569" y="1474991"/>
                  <a:pt x="342569" y="1471347"/>
                </a:cubicBezTo>
                <a:cubicBezTo>
                  <a:pt x="342569" y="1471347"/>
                  <a:pt x="340747" y="1469525"/>
                  <a:pt x="340747" y="1469525"/>
                </a:cubicBezTo>
                <a:cubicBezTo>
                  <a:pt x="342569" y="1471347"/>
                  <a:pt x="344391" y="1471347"/>
                  <a:pt x="346213" y="1471347"/>
                </a:cubicBezTo>
                <a:cubicBezTo>
                  <a:pt x="349858" y="1467702"/>
                  <a:pt x="342569" y="1465880"/>
                  <a:pt x="344391" y="1462236"/>
                </a:cubicBezTo>
                <a:cubicBezTo>
                  <a:pt x="346213" y="1469525"/>
                  <a:pt x="355324" y="1478635"/>
                  <a:pt x="364435" y="1473169"/>
                </a:cubicBezTo>
                <a:cubicBezTo>
                  <a:pt x="362613" y="1474991"/>
                  <a:pt x="360791" y="1476813"/>
                  <a:pt x="357146" y="1476813"/>
                </a:cubicBezTo>
                <a:cubicBezTo>
                  <a:pt x="364435" y="1480458"/>
                  <a:pt x="364435" y="1471347"/>
                  <a:pt x="368079" y="1469525"/>
                </a:cubicBezTo>
                <a:cubicBezTo>
                  <a:pt x="364435" y="1469525"/>
                  <a:pt x="364435" y="1467702"/>
                  <a:pt x="360791" y="1467702"/>
                </a:cubicBezTo>
                <a:cubicBezTo>
                  <a:pt x="369902" y="1469525"/>
                  <a:pt x="382657" y="1471347"/>
                  <a:pt x="380835" y="1462236"/>
                </a:cubicBezTo>
                <a:cubicBezTo>
                  <a:pt x="379012" y="1453125"/>
                  <a:pt x="362613" y="1458592"/>
                  <a:pt x="351680" y="1460414"/>
                </a:cubicBezTo>
                <a:cubicBezTo>
                  <a:pt x="357146" y="1460414"/>
                  <a:pt x="360791" y="1453125"/>
                  <a:pt x="368079" y="1454947"/>
                </a:cubicBezTo>
                <a:cubicBezTo>
                  <a:pt x="366257" y="1445836"/>
                  <a:pt x="353502" y="1447658"/>
                  <a:pt x="353502" y="1438548"/>
                </a:cubicBezTo>
                <a:cubicBezTo>
                  <a:pt x="369902" y="1447658"/>
                  <a:pt x="384479" y="1462236"/>
                  <a:pt x="404523" y="1462236"/>
                </a:cubicBezTo>
                <a:cubicBezTo>
                  <a:pt x="400879" y="1460414"/>
                  <a:pt x="399056" y="1456769"/>
                  <a:pt x="397234" y="1453125"/>
                </a:cubicBezTo>
                <a:cubicBezTo>
                  <a:pt x="399056" y="1453125"/>
                  <a:pt x="402701" y="1453125"/>
                  <a:pt x="406345" y="1453125"/>
                </a:cubicBezTo>
                <a:cubicBezTo>
                  <a:pt x="404523" y="1453125"/>
                  <a:pt x="402701" y="1449481"/>
                  <a:pt x="399056" y="1449481"/>
                </a:cubicBezTo>
                <a:cubicBezTo>
                  <a:pt x="404523" y="1449481"/>
                  <a:pt x="409989" y="1451303"/>
                  <a:pt x="413634" y="1447658"/>
                </a:cubicBezTo>
                <a:cubicBezTo>
                  <a:pt x="409989" y="1444014"/>
                  <a:pt x="400879" y="1445836"/>
                  <a:pt x="397234" y="1438548"/>
                </a:cubicBezTo>
                <a:cubicBezTo>
                  <a:pt x="404523" y="1440370"/>
                  <a:pt x="408167" y="1436725"/>
                  <a:pt x="413634" y="1436725"/>
                </a:cubicBezTo>
                <a:cubicBezTo>
                  <a:pt x="411812" y="1436725"/>
                  <a:pt x="411812" y="1434903"/>
                  <a:pt x="409989" y="1433081"/>
                </a:cubicBezTo>
                <a:cubicBezTo>
                  <a:pt x="409989" y="1434903"/>
                  <a:pt x="411812" y="1433081"/>
                  <a:pt x="413634" y="1434903"/>
                </a:cubicBezTo>
                <a:cubicBezTo>
                  <a:pt x="408167" y="1429437"/>
                  <a:pt x="402701" y="1425792"/>
                  <a:pt x="395412" y="1423970"/>
                </a:cubicBezTo>
                <a:cubicBezTo>
                  <a:pt x="397234" y="1423970"/>
                  <a:pt x="399056" y="1423970"/>
                  <a:pt x="400879" y="1423970"/>
                </a:cubicBezTo>
                <a:cubicBezTo>
                  <a:pt x="391768" y="1416681"/>
                  <a:pt x="380835" y="1414859"/>
                  <a:pt x="368079" y="1414859"/>
                </a:cubicBezTo>
                <a:cubicBezTo>
                  <a:pt x="375368" y="1418504"/>
                  <a:pt x="382657" y="1422148"/>
                  <a:pt x="389946" y="1423970"/>
                </a:cubicBezTo>
                <a:cubicBezTo>
                  <a:pt x="380835" y="1423970"/>
                  <a:pt x="371724" y="1425792"/>
                  <a:pt x="364435" y="1431259"/>
                </a:cubicBezTo>
                <a:cubicBezTo>
                  <a:pt x="360791" y="1431259"/>
                  <a:pt x="357146" y="1429437"/>
                  <a:pt x="353502" y="1429437"/>
                </a:cubicBezTo>
                <a:cubicBezTo>
                  <a:pt x="362613" y="1429437"/>
                  <a:pt x="369902" y="1425792"/>
                  <a:pt x="377190" y="1422148"/>
                </a:cubicBezTo>
                <a:cubicBezTo>
                  <a:pt x="360791" y="1409393"/>
                  <a:pt x="340747" y="1405748"/>
                  <a:pt x="329814" y="1389349"/>
                </a:cubicBezTo>
                <a:cubicBezTo>
                  <a:pt x="335280" y="1391171"/>
                  <a:pt x="340747" y="1396638"/>
                  <a:pt x="346213" y="1400282"/>
                </a:cubicBezTo>
                <a:cubicBezTo>
                  <a:pt x="342569" y="1392993"/>
                  <a:pt x="333458" y="1391171"/>
                  <a:pt x="329814" y="1383882"/>
                </a:cubicBezTo>
                <a:cubicBezTo>
                  <a:pt x="342569" y="1391171"/>
                  <a:pt x="351680" y="1413037"/>
                  <a:pt x="368079" y="1409393"/>
                </a:cubicBezTo>
                <a:lnTo>
                  <a:pt x="366257" y="1407571"/>
                </a:lnTo>
                <a:cubicBezTo>
                  <a:pt x="369902" y="1413037"/>
                  <a:pt x="379012" y="1411215"/>
                  <a:pt x="384479" y="1414859"/>
                </a:cubicBezTo>
                <a:cubicBezTo>
                  <a:pt x="382657" y="1411215"/>
                  <a:pt x="384479" y="1407571"/>
                  <a:pt x="382657" y="1403926"/>
                </a:cubicBezTo>
                <a:cubicBezTo>
                  <a:pt x="388123" y="1420326"/>
                  <a:pt x="408167" y="1429437"/>
                  <a:pt x="420923" y="1425792"/>
                </a:cubicBezTo>
                <a:cubicBezTo>
                  <a:pt x="426389" y="1423970"/>
                  <a:pt x="413634" y="1422148"/>
                  <a:pt x="415456" y="1414859"/>
                </a:cubicBezTo>
                <a:cubicBezTo>
                  <a:pt x="417278" y="1414859"/>
                  <a:pt x="417278" y="1416681"/>
                  <a:pt x="419100" y="1418504"/>
                </a:cubicBezTo>
                <a:cubicBezTo>
                  <a:pt x="413634" y="1407571"/>
                  <a:pt x="406345" y="1394815"/>
                  <a:pt x="393590" y="1391171"/>
                </a:cubicBezTo>
                <a:cubicBezTo>
                  <a:pt x="397234" y="1392993"/>
                  <a:pt x="399056" y="1391171"/>
                  <a:pt x="397234" y="1389349"/>
                </a:cubicBezTo>
                <a:cubicBezTo>
                  <a:pt x="395412" y="1387527"/>
                  <a:pt x="393590" y="1387527"/>
                  <a:pt x="391768" y="1385705"/>
                </a:cubicBezTo>
                <a:cubicBezTo>
                  <a:pt x="393590" y="1385705"/>
                  <a:pt x="393590" y="1385705"/>
                  <a:pt x="395412" y="1385705"/>
                </a:cubicBezTo>
                <a:lnTo>
                  <a:pt x="390122" y="1378651"/>
                </a:lnTo>
                <a:lnTo>
                  <a:pt x="391768" y="1378416"/>
                </a:lnTo>
                <a:cubicBezTo>
                  <a:pt x="389946" y="1376594"/>
                  <a:pt x="388123" y="1376594"/>
                  <a:pt x="386301" y="1372949"/>
                </a:cubicBezTo>
                <a:cubicBezTo>
                  <a:pt x="384479" y="1372949"/>
                  <a:pt x="382657" y="1372949"/>
                  <a:pt x="379012" y="1374771"/>
                </a:cubicBezTo>
                <a:cubicBezTo>
                  <a:pt x="380834" y="1375683"/>
                  <a:pt x="383113" y="1377960"/>
                  <a:pt x="385390" y="1379327"/>
                </a:cubicBezTo>
                <a:lnTo>
                  <a:pt x="389218" y="1378780"/>
                </a:lnTo>
                <a:lnTo>
                  <a:pt x="386301" y="1380238"/>
                </a:lnTo>
                <a:cubicBezTo>
                  <a:pt x="386301" y="1382060"/>
                  <a:pt x="386301" y="1382060"/>
                  <a:pt x="388123" y="1383882"/>
                </a:cubicBezTo>
                <a:cubicBezTo>
                  <a:pt x="375368" y="1376594"/>
                  <a:pt x="362613" y="1380238"/>
                  <a:pt x="349858" y="1378416"/>
                </a:cubicBezTo>
                <a:cubicBezTo>
                  <a:pt x="355324" y="1378416"/>
                  <a:pt x="364435" y="1374771"/>
                  <a:pt x="369902" y="1372949"/>
                </a:cubicBezTo>
                <a:cubicBezTo>
                  <a:pt x="362613" y="1367483"/>
                  <a:pt x="349858" y="1356550"/>
                  <a:pt x="346213" y="1369305"/>
                </a:cubicBezTo>
                <a:cubicBezTo>
                  <a:pt x="348037" y="1369305"/>
                  <a:pt x="348037" y="1367483"/>
                  <a:pt x="346213" y="1365661"/>
                </a:cubicBezTo>
                <a:cubicBezTo>
                  <a:pt x="340747" y="1365661"/>
                  <a:pt x="338926" y="1371127"/>
                  <a:pt x="337102" y="1374771"/>
                </a:cubicBezTo>
                <a:cubicBezTo>
                  <a:pt x="338926" y="1376594"/>
                  <a:pt x="342569" y="1378416"/>
                  <a:pt x="344391" y="1378416"/>
                </a:cubicBezTo>
                <a:cubicBezTo>
                  <a:pt x="338926" y="1378416"/>
                  <a:pt x="333458" y="1378416"/>
                  <a:pt x="327993" y="1380238"/>
                </a:cubicBezTo>
                <a:cubicBezTo>
                  <a:pt x="329814" y="1378416"/>
                  <a:pt x="331636" y="1376594"/>
                  <a:pt x="333458" y="1374771"/>
                </a:cubicBezTo>
                <a:cubicBezTo>
                  <a:pt x="331636" y="1374771"/>
                  <a:pt x="331636" y="1372949"/>
                  <a:pt x="329814" y="1371127"/>
                </a:cubicBezTo>
                <a:cubicBezTo>
                  <a:pt x="338926" y="1378416"/>
                  <a:pt x="340747" y="1362016"/>
                  <a:pt x="348037" y="1362016"/>
                </a:cubicBezTo>
                <a:cubicBezTo>
                  <a:pt x="340747" y="1358372"/>
                  <a:pt x="331636" y="1351083"/>
                  <a:pt x="320703" y="1356550"/>
                </a:cubicBezTo>
                <a:cubicBezTo>
                  <a:pt x="322525" y="1354728"/>
                  <a:pt x="324347" y="1351083"/>
                  <a:pt x="324347" y="1351083"/>
                </a:cubicBezTo>
                <a:cubicBezTo>
                  <a:pt x="322525" y="1347439"/>
                  <a:pt x="317059" y="1343795"/>
                  <a:pt x="315236" y="1345617"/>
                </a:cubicBezTo>
                <a:lnTo>
                  <a:pt x="306605" y="1347055"/>
                </a:lnTo>
                <a:lnTo>
                  <a:pt x="293370" y="1349261"/>
                </a:lnTo>
                <a:cubicBezTo>
                  <a:pt x="286537" y="1349261"/>
                  <a:pt x="279704" y="1349261"/>
                  <a:pt x="271504" y="1352905"/>
                </a:cubicBezTo>
                <a:cubicBezTo>
                  <a:pt x="275149" y="1345617"/>
                  <a:pt x="267860" y="1343795"/>
                  <a:pt x="266038" y="1345617"/>
                </a:cubicBezTo>
                <a:cubicBezTo>
                  <a:pt x="256927" y="1352906"/>
                  <a:pt x="245994" y="1357461"/>
                  <a:pt x="234605" y="1358600"/>
                </a:cubicBezTo>
                <a:lnTo>
                  <a:pt x="233947" y="1358455"/>
                </a:lnTo>
                <a:lnTo>
                  <a:pt x="262393" y="1343795"/>
                </a:lnTo>
                <a:cubicBezTo>
                  <a:pt x="256927" y="1336506"/>
                  <a:pt x="245994" y="1334684"/>
                  <a:pt x="236883" y="1329217"/>
                </a:cubicBezTo>
                <a:cubicBezTo>
                  <a:pt x="238705" y="1329217"/>
                  <a:pt x="240527" y="1329217"/>
                  <a:pt x="240527" y="1329217"/>
                </a:cubicBezTo>
                <a:lnTo>
                  <a:pt x="240527" y="1325573"/>
                </a:lnTo>
                <a:cubicBezTo>
                  <a:pt x="253282" y="1334684"/>
                  <a:pt x="273327" y="1351083"/>
                  <a:pt x="286082" y="1332862"/>
                </a:cubicBezTo>
                <a:lnTo>
                  <a:pt x="282438" y="1332862"/>
                </a:lnTo>
                <a:cubicBezTo>
                  <a:pt x="284259" y="1331039"/>
                  <a:pt x="286082" y="1331039"/>
                  <a:pt x="286082" y="1327395"/>
                </a:cubicBezTo>
                <a:cubicBezTo>
                  <a:pt x="280615" y="1336506"/>
                  <a:pt x="271504" y="1331039"/>
                  <a:pt x="262393" y="1331039"/>
                </a:cubicBezTo>
                <a:cubicBezTo>
                  <a:pt x="264216" y="1320106"/>
                  <a:pt x="275149" y="1331039"/>
                  <a:pt x="275149" y="1327395"/>
                </a:cubicBezTo>
                <a:cubicBezTo>
                  <a:pt x="275149" y="1316462"/>
                  <a:pt x="262393" y="1320106"/>
                  <a:pt x="256927" y="1321929"/>
                </a:cubicBezTo>
                <a:cubicBezTo>
                  <a:pt x="253282" y="1321929"/>
                  <a:pt x="251460" y="1321929"/>
                  <a:pt x="249638" y="1318284"/>
                </a:cubicBezTo>
                <a:cubicBezTo>
                  <a:pt x="253282" y="1320106"/>
                  <a:pt x="258749" y="1323751"/>
                  <a:pt x="262393" y="1318284"/>
                </a:cubicBezTo>
                <a:cubicBezTo>
                  <a:pt x="220483" y="1303707"/>
                  <a:pt x="171285" y="1312818"/>
                  <a:pt x="131197" y="1287307"/>
                </a:cubicBezTo>
                <a:cubicBezTo>
                  <a:pt x="151241" y="1292774"/>
                  <a:pt x="169462" y="1305529"/>
                  <a:pt x="189506" y="1305529"/>
                </a:cubicBezTo>
                <a:cubicBezTo>
                  <a:pt x="182218" y="1300062"/>
                  <a:pt x="173107" y="1301885"/>
                  <a:pt x="165818" y="1298240"/>
                </a:cubicBezTo>
                <a:cubicBezTo>
                  <a:pt x="167640" y="1298240"/>
                  <a:pt x="167640" y="1298240"/>
                  <a:pt x="171285" y="1298240"/>
                </a:cubicBezTo>
                <a:cubicBezTo>
                  <a:pt x="169462" y="1292774"/>
                  <a:pt x="162174" y="1290951"/>
                  <a:pt x="156707" y="1287307"/>
                </a:cubicBezTo>
                <a:cubicBezTo>
                  <a:pt x="167640" y="1290951"/>
                  <a:pt x="180396" y="1298240"/>
                  <a:pt x="194973" y="1300062"/>
                </a:cubicBezTo>
                <a:cubicBezTo>
                  <a:pt x="193151" y="1298240"/>
                  <a:pt x="191329" y="1298240"/>
                  <a:pt x="189506" y="1296418"/>
                </a:cubicBezTo>
                <a:cubicBezTo>
                  <a:pt x="194973" y="1298240"/>
                  <a:pt x="202262" y="1305529"/>
                  <a:pt x="209550" y="1300062"/>
                </a:cubicBezTo>
                <a:cubicBezTo>
                  <a:pt x="202262" y="1300062"/>
                  <a:pt x="198617" y="1296418"/>
                  <a:pt x="191329" y="1296418"/>
                </a:cubicBezTo>
                <a:lnTo>
                  <a:pt x="210204" y="1298134"/>
                </a:lnTo>
                <a:lnTo>
                  <a:pt x="213878" y="1300746"/>
                </a:lnTo>
                <a:cubicBezTo>
                  <a:pt x="220939" y="1304162"/>
                  <a:pt x="227772" y="1305529"/>
                  <a:pt x="231416" y="1301885"/>
                </a:cubicBezTo>
                <a:cubicBezTo>
                  <a:pt x="218661" y="1294596"/>
                  <a:pt x="205906" y="1289129"/>
                  <a:pt x="194973" y="1287307"/>
                </a:cubicBezTo>
                <a:lnTo>
                  <a:pt x="207006" y="1295860"/>
                </a:lnTo>
                <a:lnTo>
                  <a:pt x="165818" y="1273413"/>
                </a:lnTo>
                <a:lnTo>
                  <a:pt x="162174" y="1270535"/>
                </a:lnTo>
                <a:lnTo>
                  <a:pt x="180396" y="1278196"/>
                </a:lnTo>
                <a:cubicBezTo>
                  <a:pt x="174929" y="1276374"/>
                  <a:pt x="173107" y="1274552"/>
                  <a:pt x="171285" y="1270908"/>
                </a:cubicBezTo>
                <a:cubicBezTo>
                  <a:pt x="185862" y="1280018"/>
                  <a:pt x="202262" y="1287307"/>
                  <a:pt x="218661" y="1290951"/>
                </a:cubicBezTo>
                <a:lnTo>
                  <a:pt x="199991" y="1280060"/>
                </a:lnTo>
                <a:lnTo>
                  <a:pt x="198617" y="1280060"/>
                </a:lnTo>
                <a:cubicBezTo>
                  <a:pt x="193150" y="1276416"/>
                  <a:pt x="187684" y="1272772"/>
                  <a:pt x="182217" y="1267305"/>
                </a:cubicBezTo>
                <a:lnTo>
                  <a:pt x="197775" y="1278196"/>
                </a:lnTo>
                <a:lnTo>
                  <a:pt x="198617" y="1278196"/>
                </a:lnTo>
                <a:cubicBezTo>
                  <a:pt x="207728" y="1283663"/>
                  <a:pt x="215017" y="1285485"/>
                  <a:pt x="225950" y="1285485"/>
                </a:cubicBezTo>
                <a:cubicBezTo>
                  <a:pt x="222306" y="1283663"/>
                  <a:pt x="220483" y="1281841"/>
                  <a:pt x="218661" y="1280018"/>
                </a:cubicBezTo>
                <a:cubicBezTo>
                  <a:pt x="225950" y="1283663"/>
                  <a:pt x="233239" y="1287307"/>
                  <a:pt x="242349" y="1287307"/>
                </a:cubicBezTo>
                <a:cubicBezTo>
                  <a:pt x="231416" y="1279107"/>
                  <a:pt x="219117" y="1275008"/>
                  <a:pt x="207045" y="1270680"/>
                </a:cubicBezTo>
                <a:lnTo>
                  <a:pt x="196187" y="1264923"/>
                </a:lnTo>
                <a:lnTo>
                  <a:pt x="215017" y="1269085"/>
                </a:lnTo>
                <a:cubicBezTo>
                  <a:pt x="211372" y="1265441"/>
                  <a:pt x="207728" y="1261797"/>
                  <a:pt x="202262" y="1259975"/>
                </a:cubicBezTo>
                <a:cubicBezTo>
                  <a:pt x="216839" y="1265441"/>
                  <a:pt x="231416" y="1272730"/>
                  <a:pt x="245994" y="1280018"/>
                </a:cubicBezTo>
                <a:cubicBezTo>
                  <a:pt x="245994" y="1278196"/>
                  <a:pt x="245994" y="1276374"/>
                  <a:pt x="244172" y="1274552"/>
                </a:cubicBezTo>
                <a:cubicBezTo>
                  <a:pt x="245994" y="1281841"/>
                  <a:pt x="253282" y="1283663"/>
                  <a:pt x="260571" y="1283663"/>
                </a:cubicBezTo>
                <a:cubicBezTo>
                  <a:pt x="255105" y="1281841"/>
                  <a:pt x="253282" y="1276374"/>
                  <a:pt x="251460" y="1270908"/>
                </a:cubicBezTo>
                <a:cubicBezTo>
                  <a:pt x="253282" y="1274552"/>
                  <a:pt x="258749" y="1278196"/>
                  <a:pt x="262393" y="1280018"/>
                </a:cubicBezTo>
                <a:cubicBezTo>
                  <a:pt x="262393" y="1280018"/>
                  <a:pt x="260571" y="1280018"/>
                  <a:pt x="260571" y="1280018"/>
                </a:cubicBezTo>
                <a:cubicBezTo>
                  <a:pt x="264216" y="1287307"/>
                  <a:pt x="271504" y="1285485"/>
                  <a:pt x="275149" y="1287307"/>
                </a:cubicBezTo>
                <a:cubicBezTo>
                  <a:pt x="273327" y="1285485"/>
                  <a:pt x="271504" y="1283663"/>
                  <a:pt x="269682" y="1281841"/>
                </a:cubicBezTo>
                <a:cubicBezTo>
                  <a:pt x="275149" y="1283663"/>
                  <a:pt x="280615" y="1283663"/>
                  <a:pt x="286082" y="1283663"/>
                </a:cubicBezTo>
                <a:cubicBezTo>
                  <a:pt x="284259" y="1280018"/>
                  <a:pt x="280615" y="1278196"/>
                  <a:pt x="278793" y="1276374"/>
                </a:cubicBezTo>
                <a:lnTo>
                  <a:pt x="266762" y="1270532"/>
                </a:lnTo>
                <a:lnTo>
                  <a:pt x="266038" y="1269085"/>
                </a:lnTo>
                <a:cubicBezTo>
                  <a:pt x="269682" y="1269085"/>
                  <a:pt x="273327" y="1269085"/>
                  <a:pt x="276971" y="1267263"/>
                </a:cubicBezTo>
                <a:cubicBezTo>
                  <a:pt x="286082" y="1261797"/>
                  <a:pt x="262393" y="1263619"/>
                  <a:pt x="275149" y="1258152"/>
                </a:cubicBezTo>
                <a:cubicBezTo>
                  <a:pt x="269682" y="1259975"/>
                  <a:pt x="264216" y="1261797"/>
                  <a:pt x="258749" y="1259975"/>
                </a:cubicBezTo>
                <a:cubicBezTo>
                  <a:pt x="257838" y="1261797"/>
                  <a:pt x="256017" y="1261797"/>
                  <a:pt x="254421" y="1261797"/>
                </a:cubicBezTo>
                <a:lnTo>
                  <a:pt x="251929" y="1263330"/>
                </a:lnTo>
                <a:lnTo>
                  <a:pt x="239388" y="1257241"/>
                </a:lnTo>
                <a:lnTo>
                  <a:pt x="234684" y="1255664"/>
                </a:lnTo>
                <a:lnTo>
                  <a:pt x="233239" y="1254508"/>
                </a:lnTo>
                <a:lnTo>
                  <a:pt x="231236" y="1254508"/>
                </a:lnTo>
                <a:lnTo>
                  <a:pt x="198617" y="1243575"/>
                </a:lnTo>
                <a:cubicBezTo>
                  <a:pt x="202262" y="1245397"/>
                  <a:pt x="207728" y="1243575"/>
                  <a:pt x="211372" y="1245397"/>
                </a:cubicBezTo>
                <a:cubicBezTo>
                  <a:pt x="205906" y="1243575"/>
                  <a:pt x="204084" y="1241753"/>
                  <a:pt x="202262" y="1238108"/>
                </a:cubicBezTo>
                <a:cubicBezTo>
                  <a:pt x="207728" y="1241753"/>
                  <a:pt x="211372" y="1243575"/>
                  <a:pt x="216839" y="1245397"/>
                </a:cubicBezTo>
                <a:cubicBezTo>
                  <a:pt x="215017" y="1241753"/>
                  <a:pt x="211372" y="1239931"/>
                  <a:pt x="209550" y="1236286"/>
                </a:cubicBezTo>
                <a:cubicBezTo>
                  <a:pt x="215017" y="1239931"/>
                  <a:pt x="218661" y="1249042"/>
                  <a:pt x="227772" y="1243575"/>
                </a:cubicBezTo>
                <a:cubicBezTo>
                  <a:pt x="216839" y="1238108"/>
                  <a:pt x="200439" y="1236286"/>
                  <a:pt x="196795" y="1221709"/>
                </a:cubicBezTo>
                <a:cubicBezTo>
                  <a:pt x="202262" y="1227175"/>
                  <a:pt x="209550" y="1230820"/>
                  <a:pt x="216839" y="1236286"/>
                </a:cubicBezTo>
                <a:cubicBezTo>
                  <a:pt x="215017" y="1232642"/>
                  <a:pt x="213195" y="1232642"/>
                  <a:pt x="211372" y="1228998"/>
                </a:cubicBezTo>
                <a:cubicBezTo>
                  <a:pt x="218661" y="1234464"/>
                  <a:pt x="224128" y="1236286"/>
                  <a:pt x="231416" y="1238108"/>
                </a:cubicBezTo>
                <a:cubicBezTo>
                  <a:pt x="231416" y="1239931"/>
                  <a:pt x="229594" y="1238108"/>
                  <a:pt x="227772" y="1239931"/>
                </a:cubicBezTo>
                <a:cubicBezTo>
                  <a:pt x="229594" y="1241753"/>
                  <a:pt x="231416" y="1243575"/>
                  <a:pt x="235061" y="1245397"/>
                </a:cubicBezTo>
                <a:cubicBezTo>
                  <a:pt x="235061" y="1241753"/>
                  <a:pt x="233239" y="1239931"/>
                  <a:pt x="231416" y="1238108"/>
                </a:cubicBezTo>
                <a:cubicBezTo>
                  <a:pt x="235061" y="1239931"/>
                  <a:pt x="238705" y="1239931"/>
                  <a:pt x="240527" y="1243575"/>
                </a:cubicBezTo>
                <a:lnTo>
                  <a:pt x="239589" y="1242261"/>
                </a:lnTo>
                <a:lnTo>
                  <a:pt x="251460" y="1245397"/>
                </a:lnTo>
                <a:cubicBezTo>
                  <a:pt x="247816" y="1243575"/>
                  <a:pt x="242349" y="1239931"/>
                  <a:pt x="238705" y="1238108"/>
                </a:cubicBezTo>
                <a:cubicBezTo>
                  <a:pt x="247816" y="1238108"/>
                  <a:pt x="255105" y="1245397"/>
                  <a:pt x="264216" y="1245397"/>
                </a:cubicBezTo>
                <a:cubicBezTo>
                  <a:pt x="258749" y="1241753"/>
                  <a:pt x="255105" y="1239931"/>
                  <a:pt x="251460" y="1236286"/>
                </a:cubicBezTo>
                <a:cubicBezTo>
                  <a:pt x="256927" y="1239931"/>
                  <a:pt x="260571" y="1241753"/>
                  <a:pt x="266038" y="1241753"/>
                </a:cubicBezTo>
                <a:cubicBezTo>
                  <a:pt x="262393" y="1239931"/>
                  <a:pt x="258749" y="1238108"/>
                  <a:pt x="256927" y="1234464"/>
                </a:cubicBezTo>
                <a:cubicBezTo>
                  <a:pt x="260571" y="1236286"/>
                  <a:pt x="264216" y="1239931"/>
                  <a:pt x="267860" y="1241753"/>
                </a:cubicBezTo>
                <a:cubicBezTo>
                  <a:pt x="269682" y="1241753"/>
                  <a:pt x="273327" y="1241753"/>
                  <a:pt x="271504" y="1238108"/>
                </a:cubicBezTo>
                <a:cubicBezTo>
                  <a:pt x="269682" y="1236286"/>
                  <a:pt x="269682" y="1236286"/>
                  <a:pt x="267860" y="1234464"/>
                </a:cubicBezTo>
                <a:cubicBezTo>
                  <a:pt x="273327" y="1238108"/>
                  <a:pt x="280615" y="1241753"/>
                  <a:pt x="289726" y="1239931"/>
                </a:cubicBezTo>
                <a:cubicBezTo>
                  <a:pt x="286082" y="1238108"/>
                  <a:pt x="276971" y="1232642"/>
                  <a:pt x="284259" y="1227175"/>
                </a:cubicBezTo>
                <a:cubicBezTo>
                  <a:pt x="289726" y="1241753"/>
                  <a:pt x="297015" y="1232642"/>
                  <a:pt x="307948" y="1234464"/>
                </a:cubicBezTo>
                <a:cubicBezTo>
                  <a:pt x="301571" y="1229909"/>
                  <a:pt x="294738" y="1226720"/>
                  <a:pt x="287677" y="1224442"/>
                </a:cubicBezTo>
                <a:lnTo>
                  <a:pt x="280877" y="1223011"/>
                </a:lnTo>
                <a:lnTo>
                  <a:pt x="266038" y="1219887"/>
                </a:lnTo>
                <a:cubicBezTo>
                  <a:pt x="267860" y="1219887"/>
                  <a:pt x="269682" y="1218065"/>
                  <a:pt x="267860" y="1214420"/>
                </a:cubicBezTo>
                <a:cubicBezTo>
                  <a:pt x="267860" y="1212598"/>
                  <a:pt x="266038" y="1212598"/>
                  <a:pt x="266038" y="1212598"/>
                </a:cubicBezTo>
                <a:cubicBezTo>
                  <a:pt x="264216" y="1212598"/>
                  <a:pt x="264216" y="1210776"/>
                  <a:pt x="262393" y="1208954"/>
                </a:cubicBezTo>
                <a:cubicBezTo>
                  <a:pt x="266038" y="1212598"/>
                  <a:pt x="271504" y="1216242"/>
                  <a:pt x="275149" y="1214420"/>
                </a:cubicBezTo>
                <a:cubicBezTo>
                  <a:pt x="273327" y="1212598"/>
                  <a:pt x="269682" y="1210776"/>
                  <a:pt x="271504" y="1208954"/>
                </a:cubicBezTo>
                <a:cubicBezTo>
                  <a:pt x="273327" y="1208954"/>
                  <a:pt x="275149" y="1210776"/>
                  <a:pt x="276971" y="1210776"/>
                </a:cubicBezTo>
                <a:cubicBezTo>
                  <a:pt x="273327" y="1210776"/>
                  <a:pt x="273327" y="1208954"/>
                  <a:pt x="271504" y="1207132"/>
                </a:cubicBezTo>
                <a:cubicBezTo>
                  <a:pt x="271504" y="1208954"/>
                  <a:pt x="271504" y="1208954"/>
                  <a:pt x="271504" y="1208954"/>
                </a:cubicBezTo>
                <a:cubicBezTo>
                  <a:pt x="260571" y="1205309"/>
                  <a:pt x="251460" y="1199843"/>
                  <a:pt x="240527" y="1207132"/>
                </a:cubicBezTo>
                <a:cubicBezTo>
                  <a:pt x="245994" y="1210776"/>
                  <a:pt x="249638" y="1208954"/>
                  <a:pt x="255105" y="1212598"/>
                </a:cubicBezTo>
                <a:cubicBezTo>
                  <a:pt x="251460" y="1214420"/>
                  <a:pt x="249638" y="1212598"/>
                  <a:pt x="247816" y="1210776"/>
                </a:cubicBezTo>
                <a:cubicBezTo>
                  <a:pt x="249638" y="1214420"/>
                  <a:pt x="251460" y="1219887"/>
                  <a:pt x="255105" y="1223531"/>
                </a:cubicBezTo>
                <a:cubicBezTo>
                  <a:pt x="247816" y="1218065"/>
                  <a:pt x="238705" y="1212598"/>
                  <a:pt x="229594" y="1208954"/>
                </a:cubicBezTo>
                <a:cubicBezTo>
                  <a:pt x="229594" y="1207132"/>
                  <a:pt x="225950" y="1205309"/>
                  <a:pt x="229594" y="1205309"/>
                </a:cubicBezTo>
                <a:cubicBezTo>
                  <a:pt x="225950" y="1203487"/>
                  <a:pt x="220483" y="1203487"/>
                  <a:pt x="215017" y="1199843"/>
                </a:cubicBezTo>
                <a:cubicBezTo>
                  <a:pt x="225950" y="1192554"/>
                  <a:pt x="224128" y="1208954"/>
                  <a:pt x="238705" y="1205309"/>
                </a:cubicBezTo>
                <a:cubicBezTo>
                  <a:pt x="235061" y="1201665"/>
                  <a:pt x="231416" y="1196199"/>
                  <a:pt x="225950" y="1196199"/>
                </a:cubicBezTo>
                <a:cubicBezTo>
                  <a:pt x="207728" y="1188910"/>
                  <a:pt x="194973" y="1196199"/>
                  <a:pt x="185862" y="1210776"/>
                </a:cubicBezTo>
                <a:cubicBezTo>
                  <a:pt x="185862" y="1208954"/>
                  <a:pt x="185862" y="1208954"/>
                  <a:pt x="185862" y="1205309"/>
                </a:cubicBezTo>
                <a:cubicBezTo>
                  <a:pt x="184040" y="1208954"/>
                  <a:pt x="180396" y="1207132"/>
                  <a:pt x="176751" y="1207132"/>
                </a:cubicBezTo>
                <a:cubicBezTo>
                  <a:pt x="180396" y="1199843"/>
                  <a:pt x="185862" y="1205309"/>
                  <a:pt x="191329" y="1198021"/>
                </a:cubicBezTo>
                <a:cubicBezTo>
                  <a:pt x="191329" y="1196199"/>
                  <a:pt x="189506" y="1198021"/>
                  <a:pt x="187684" y="1196199"/>
                </a:cubicBezTo>
                <a:cubicBezTo>
                  <a:pt x="189506" y="1196199"/>
                  <a:pt x="191329" y="1196199"/>
                  <a:pt x="193151" y="1194376"/>
                </a:cubicBezTo>
                <a:cubicBezTo>
                  <a:pt x="185862" y="1188910"/>
                  <a:pt x="176751" y="1185266"/>
                  <a:pt x="167640" y="1190732"/>
                </a:cubicBezTo>
                <a:cubicBezTo>
                  <a:pt x="173107" y="1190732"/>
                  <a:pt x="176751" y="1196199"/>
                  <a:pt x="184040" y="1198021"/>
                </a:cubicBezTo>
                <a:cubicBezTo>
                  <a:pt x="178573" y="1201665"/>
                  <a:pt x="171285" y="1198021"/>
                  <a:pt x="165818" y="1199843"/>
                </a:cubicBezTo>
                <a:cubicBezTo>
                  <a:pt x="169462" y="1199843"/>
                  <a:pt x="171285" y="1198021"/>
                  <a:pt x="174929" y="1198021"/>
                </a:cubicBezTo>
                <a:lnTo>
                  <a:pt x="170857" y="1197378"/>
                </a:lnTo>
                <a:lnTo>
                  <a:pt x="176751" y="1196199"/>
                </a:lnTo>
                <a:lnTo>
                  <a:pt x="164710" y="1189318"/>
                </a:lnTo>
                <a:lnTo>
                  <a:pt x="176751" y="1188910"/>
                </a:lnTo>
                <a:cubicBezTo>
                  <a:pt x="151241" y="1176155"/>
                  <a:pt x="122086" y="1168866"/>
                  <a:pt x="94753" y="1168866"/>
                </a:cubicBezTo>
                <a:cubicBezTo>
                  <a:pt x="96576" y="1167044"/>
                  <a:pt x="102042" y="1168866"/>
                  <a:pt x="105686" y="1167044"/>
                </a:cubicBezTo>
                <a:cubicBezTo>
                  <a:pt x="102042" y="1163399"/>
                  <a:pt x="100220" y="1161577"/>
                  <a:pt x="96576" y="1159755"/>
                </a:cubicBezTo>
                <a:cubicBezTo>
                  <a:pt x="100220" y="1159755"/>
                  <a:pt x="103864" y="1161577"/>
                  <a:pt x="107509" y="1161577"/>
                </a:cubicBezTo>
                <a:lnTo>
                  <a:pt x="99627" y="1156158"/>
                </a:lnTo>
                <a:lnTo>
                  <a:pt x="96576" y="1156158"/>
                </a:lnTo>
                <a:cubicBezTo>
                  <a:pt x="96576" y="1156158"/>
                  <a:pt x="94753" y="1156158"/>
                  <a:pt x="94753" y="1156158"/>
                </a:cubicBezTo>
                <a:lnTo>
                  <a:pt x="93304" y="1151811"/>
                </a:lnTo>
                <a:lnTo>
                  <a:pt x="78354" y="1141533"/>
                </a:lnTo>
                <a:cubicBezTo>
                  <a:pt x="80176" y="1141533"/>
                  <a:pt x="80176" y="1143355"/>
                  <a:pt x="81998" y="1145178"/>
                </a:cubicBezTo>
                <a:cubicBezTo>
                  <a:pt x="80176" y="1143355"/>
                  <a:pt x="78354" y="1143355"/>
                  <a:pt x="76532" y="1141533"/>
                </a:cubicBezTo>
                <a:cubicBezTo>
                  <a:pt x="72887" y="1128778"/>
                  <a:pt x="60132" y="1126956"/>
                  <a:pt x="56488" y="1114201"/>
                </a:cubicBezTo>
                <a:cubicBezTo>
                  <a:pt x="60132" y="1117845"/>
                  <a:pt x="63776" y="1121489"/>
                  <a:pt x="65599" y="1125134"/>
                </a:cubicBezTo>
                <a:cubicBezTo>
                  <a:pt x="63776" y="1121489"/>
                  <a:pt x="61954" y="1117845"/>
                  <a:pt x="60132" y="1114201"/>
                </a:cubicBezTo>
                <a:cubicBezTo>
                  <a:pt x="78354" y="1137889"/>
                  <a:pt x="103864" y="1156111"/>
                  <a:pt x="131197" y="1165222"/>
                </a:cubicBezTo>
                <a:cubicBezTo>
                  <a:pt x="127552" y="1163399"/>
                  <a:pt x="123908" y="1161577"/>
                  <a:pt x="120264" y="1157933"/>
                </a:cubicBezTo>
                <a:cubicBezTo>
                  <a:pt x="122086" y="1159755"/>
                  <a:pt x="125730" y="1161577"/>
                  <a:pt x="129375" y="1159755"/>
                </a:cubicBezTo>
                <a:cubicBezTo>
                  <a:pt x="112975" y="1145178"/>
                  <a:pt x="98398" y="1132422"/>
                  <a:pt x="83820" y="1117845"/>
                </a:cubicBezTo>
                <a:cubicBezTo>
                  <a:pt x="87465" y="1117845"/>
                  <a:pt x="89287" y="1119667"/>
                  <a:pt x="91109" y="1121489"/>
                </a:cubicBezTo>
                <a:cubicBezTo>
                  <a:pt x="91109" y="1119667"/>
                  <a:pt x="91109" y="1117845"/>
                  <a:pt x="89287" y="1116023"/>
                </a:cubicBezTo>
                <a:cubicBezTo>
                  <a:pt x="92931" y="1120578"/>
                  <a:pt x="96120" y="1125134"/>
                  <a:pt x="99992" y="1129917"/>
                </a:cubicBezTo>
                <a:lnTo>
                  <a:pt x="100794" y="1130743"/>
                </a:lnTo>
                <a:lnTo>
                  <a:pt x="100220" y="1130600"/>
                </a:lnTo>
                <a:lnTo>
                  <a:pt x="101656" y="1131632"/>
                </a:lnTo>
                <a:lnTo>
                  <a:pt x="114797" y="1145178"/>
                </a:lnTo>
                <a:cubicBezTo>
                  <a:pt x="113886" y="1139711"/>
                  <a:pt x="110697" y="1137434"/>
                  <a:pt x="107508" y="1135839"/>
                </a:cubicBezTo>
                <a:lnTo>
                  <a:pt x="101656" y="1131632"/>
                </a:lnTo>
                <a:lnTo>
                  <a:pt x="100794" y="1130743"/>
                </a:lnTo>
                <a:lnTo>
                  <a:pt x="107509" y="1132422"/>
                </a:lnTo>
                <a:cubicBezTo>
                  <a:pt x="105686" y="1128778"/>
                  <a:pt x="103864" y="1125134"/>
                  <a:pt x="102042" y="1121489"/>
                </a:cubicBezTo>
                <a:cubicBezTo>
                  <a:pt x="111153" y="1137889"/>
                  <a:pt x="123908" y="1152466"/>
                  <a:pt x="138486" y="1163399"/>
                </a:cubicBezTo>
                <a:lnTo>
                  <a:pt x="138486" y="1159755"/>
                </a:lnTo>
                <a:cubicBezTo>
                  <a:pt x="142130" y="1161577"/>
                  <a:pt x="145774" y="1165222"/>
                  <a:pt x="149419" y="1167044"/>
                </a:cubicBezTo>
                <a:cubicBezTo>
                  <a:pt x="134841" y="1147000"/>
                  <a:pt x="118442" y="1130600"/>
                  <a:pt x="105686" y="1110556"/>
                </a:cubicBezTo>
                <a:cubicBezTo>
                  <a:pt x="112975" y="1119667"/>
                  <a:pt x="120264" y="1130600"/>
                  <a:pt x="129375" y="1139711"/>
                </a:cubicBezTo>
                <a:cubicBezTo>
                  <a:pt x="129375" y="1139711"/>
                  <a:pt x="129375" y="1137889"/>
                  <a:pt x="129375" y="1137889"/>
                </a:cubicBezTo>
                <a:cubicBezTo>
                  <a:pt x="131197" y="1134245"/>
                  <a:pt x="133019" y="1143355"/>
                  <a:pt x="136663" y="1141533"/>
                </a:cubicBezTo>
                <a:cubicBezTo>
                  <a:pt x="134841" y="1141533"/>
                  <a:pt x="134841" y="1139711"/>
                  <a:pt x="133019" y="1137889"/>
                </a:cubicBezTo>
                <a:cubicBezTo>
                  <a:pt x="142130" y="1147000"/>
                  <a:pt x="153063" y="1157933"/>
                  <a:pt x="163996" y="1165222"/>
                </a:cubicBezTo>
                <a:cubicBezTo>
                  <a:pt x="162174" y="1156111"/>
                  <a:pt x="154885" y="1150644"/>
                  <a:pt x="153063" y="1141533"/>
                </a:cubicBezTo>
                <a:cubicBezTo>
                  <a:pt x="165818" y="1156111"/>
                  <a:pt x="176751" y="1190732"/>
                  <a:pt x="204084" y="1183443"/>
                </a:cubicBezTo>
                <a:cubicBezTo>
                  <a:pt x="194973" y="1176155"/>
                  <a:pt x="185862" y="1170688"/>
                  <a:pt x="176751" y="1163399"/>
                </a:cubicBezTo>
                <a:cubicBezTo>
                  <a:pt x="178573" y="1163399"/>
                  <a:pt x="178573" y="1163399"/>
                  <a:pt x="182218" y="1163399"/>
                </a:cubicBezTo>
                <a:lnTo>
                  <a:pt x="146768" y="1134410"/>
                </a:lnTo>
                <a:lnTo>
                  <a:pt x="184040" y="1159755"/>
                </a:lnTo>
                <a:lnTo>
                  <a:pt x="187684" y="1163399"/>
                </a:lnTo>
                <a:cubicBezTo>
                  <a:pt x="189962" y="1164310"/>
                  <a:pt x="192240" y="1164310"/>
                  <a:pt x="193151" y="1163399"/>
                </a:cubicBezTo>
                <a:lnTo>
                  <a:pt x="183259" y="1158453"/>
                </a:lnTo>
                <a:lnTo>
                  <a:pt x="178573" y="1150644"/>
                </a:lnTo>
                <a:cubicBezTo>
                  <a:pt x="185862" y="1157933"/>
                  <a:pt x="191329" y="1161577"/>
                  <a:pt x="200439" y="1163399"/>
                </a:cubicBezTo>
                <a:cubicBezTo>
                  <a:pt x="194973" y="1159755"/>
                  <a:pt x="193151" y="1157933"/>
                  <a:pt x="187684" y="1154288"/>
                </a:cubicBezTo>
                <a:cubicBezTo>
                  <a:pt x="187684" y="1154288"/>
                  <a:pt x="191329" y="1152466"/>
                  <a:pt x="191329" y="1152466"/>
                </a:cubicBezTo>
                <a:cubicBezTo>
                  <a:pt x="185862" y="1145178"/>
                  <a:pt x="176751" y="1145178"/>
                  <a:pt x="169462" y="1141533"/>
                </a:cubicBezTo>
                <a:cubicBezTo>
                  <a:pt x="173107" y="1141533"/>
                  <a:pt x="174929" y="1141533"/>
                  <a:pt x="178573" y="1141533"/>
                </a:cubicBezTo>
                <a:cubicBezTo>
                  <a:pt x="169462" y="1134245"/>
                  <a:pt x="158529" y="1126956"/>
                  <a:pt x="151241" y="1117845"/>
                </a:cubicBezTo>
                <a:cubicBezTo>
                  <a:pt x="167640" y="1126956"/>
                  <a:pt x="180396" y="1141533"/>
                  <a:pt x="200439" y="1143355"/>
                </a:cubicBezTo>
                <a:cubicBezTo>
                  <a:pt x="193151" y="1137889"/>
                  <a:pt x="187684" y="1130600"/>
                  <a:pt x="180396" y="1125134"/>
                </a:cubicBezTo>
                <a:cubicBezTo>
                  <a:pt x="184040" y="1123312"/>
                  <a:pt x="185862" y="1128778"/>
                  <a:pt x="189506" y="1126956"/>
                </a:cubicBezTo>
                <a:cubicBezTo>
                  <a:pt x="183129" y="1121490"/>
                  <a:pt x="174929" y="1118301"/>
                  <a:pt x="166729" y="1114884"/>
                </a:cubicBezTo>
                <a:lnTo>
                  <a:pt x="160113" y="1110981"/>
                </a:lnTo>
                <a:lnTo>
                  <a:pt x="173107" y="1116023"/>
                </a:lnTo>
                <a:cubicBezTo>
                  <a:pt x="174929" y="1114201"/>
                  <a:pt x="169462" y="1110556"/>
                  <a:pt x="173107" y="1108734"/>
                </a:cubicBezTo>
                <a:cubicBezTo>
                  <a:pt x="167640" y="1105090"/>
                  <a:pt x="160352" y="1099623"/>
                  <a:pt x="154885" y="1095979"/>
                </a:cubicBezTo>
                <a:cubicBezTo>
                  <a:pt x="156707" y="1095979"/>
                  <a:pt x="158529" y="1097801"/>
                  <a:pt x="158529" y="1097801"/>
                </a:cubicBezTo>
                <a:cubicBezTo>
                  <a:pt x="156707" y="1095979"/>
                  <a:pt x="151241" y="1094157"/>
                  <a:pt x="149419" y="1092335"/>
                </a:cubicBezTo>
                <a:cubicBezTo>
                  <a:pt x="151241" y="1092335"/>
                  <a:pt x="151241" y="1094157"/>
                  <a:pt x="151241" y="1094157"/>
                </a:cubicBezTo>
                <a:cubicBezTo>
                  <a:pt x="127552" y="1075935"/>
                  <a:pt x="103864" y="1057713"/>
                  <a:pt x="87465" y="1032203"/>
                </a:cubicBezTo>
                <a:cubicBezTo>
                  <a:pt x="107509" y="1061358"/>
                  <a:pt x="134841" y="1081402"/>
                  <a:pt x="163996" y="1101445"/>
                </a:cubicBezTo>
                <a:cubicBezTo>
                  <a:pt x="163996" y="1099623"/>
                  <a:pt x="163996" y="1097801"/>
                  <a:pt x="160352" y="1095979"/>
                </a:cubicBezTo>
                <a:cubicBezTo>
                  <a:pt x="171285" y="1101445"/>
                  <a:pt x="176751" y="1112378"/>
                  <a:pt x="187684" y="1110556"/>
                </a:cubicBezTo>
                <a:cubicBezTo>
                  <a:pt x="178573" y="1103268"/>
                  <a:pt x="167640" y="1097801"/>
                  <a:pt x="156707" y="1090512"/>
                </a:cubicBezTo>
                <a:cubicBezTo>
                  <a:pt x="158529" y="1092335"/>
                  <a:pt x="160352" y="1094157"/>
                  <a:pt x="162174" y="1095979"/>
                </a:cubicBezTo>
                <a:cubicBezTo>
                  <a:pt x="145774" y="1079579"/>
                  <a:pt x="127552" y="1068646"/>
                  <a:pt x="109331" y="1052247"/>
                </a:cubicBezTo>
                <a:cubicBezTo>
                  <a:pt x="118442" y="1061358"/>
                  <a:pt x="129375" y="1068646"/>
                  <a:pt x="140308" y="1075935"/>
                </a:cubicBezTo>
                <a:cubicBezTo>
                  <a:pt x="138486" y="1072291"/>
                  <a:pt x="134841" y="1070469"/>
                  <a:pt x="133019" y="1066824"/>
                </a:cubicBezTo>
                <a:cubicBezTo>
                  <a:pt x="138486" y="1066824"/>
                  <a:pt x="138486" y="1074113"/>
                  <a:pt x="143952" y="1074113"/>
                </a:cubicBezTo>
                <a:cubicBezTo>
                  <a:pt x="140308" y="1070469"/>
                  <a:pt x="138486" y="1068646"/>
                  <a:pt x="136663" y="1066824"/>
                </a:cubicBezTo>
                <a:cubicBezTo>
                  <a:pt x="138486" y="1066824"/>
                  <a:pt x="140308" y="1068646"/>
                  <a:pt x="142130" y="1066824"/>
                </a:cubicBezTo>
                <a:cubicBezTo>
                  <a:pt x="140308" y="1059535"/>
                  <a:pt x="133019" y="1057713"/>
                  <a:pt x="127552" y="1054069"/>
                </a:cubicBezTo>
                <a:lnTo>
                  <a:pt x="129375" y="1052247"/>
                </a:lnTo>
                <a:lnTo>
                  <a:pt x="94756" y="1028561"/>
                </a:lnTo>
                <a:lnTo>
                  <a:pt x="87465" y="1021270"/>
                </a:lnTo>
                <a:cubicBezTo>
                  <a:pt x="92931" y="1023092"/>
                  <a:pt x="98398" y="1026736"/>
                  <a:pt x="103864" y="1030381"/>
                </a:cubicBezTo>
                <a:cubicBezTo>
                  <a:pt x="100220" y="1024914"/>
                  <a:pt x="96576" y="1021270"/>
                  <a:pt x="89287" y="1015803"/>
                </a:cubicBezTo>
                <a:cubicBezTo>
                  <a:pt x="89287" y="1015803"/>
                  <a:pt x="89287" y="1013981"/>
                  <a:pt x="91109" y="1013981"/>
                </a:cubicBezTo>
                <a:cubicBezTo>
                  <a:pt x="95664" y="1019447"/>
                  <a:pt x="100220" y="1024003"/>
                  <a:pt x="105231" y="1027192"/>
                </a:cubicBezTo>
                <a:lnTo>
                  <a:pt x="119520" y="1031440"/>
                </a:lnTo>
                <a:lnTo>
                  <a:pt x="120264" y="1032203"/>
                </a:lnTo>
                <a:lnTo>
                  <a:pt x="120135" y="1031623"/>
                </a:lnTo>
                <a:lnTo>
                  <a:pt x="120875" y="1031842"/>
                </a:lnTo>
                <a:lnTo>
                  <a:pt x="125730" y="1037669"/>
                </a:lnTo>
                <a:cubicBezTo>
                  <a:pt x="133019" y="1039492"/>
                  <a:pt x="136663" y="1037669"/>
                  <a:pt x="142130" y="1039492"/>
                </a:cubicBezTo>
                <a:cubicBezTo>
                  <a:pt x="142130" y="1035847"/>
                  <a:pt x="138486" y="1035847"/>
                  <a:pt x="136663" y="1034025"/>
                </a:cubicBezTo>
                <a:cubicBezTo>
                  <a:pt x="134841" y="1035847"/>
                  <a:pt x="138486" y="1035847"/>
                  <a:pt x="138486" y="1037669"/>
                </a:cubicBezTo>
                <a:cubicBezTo>
                  <a:pt x="129375" y="1029469"/>
                  <a:pt x="120719" y="1023092"/>
                  <a:pt x="112064" y="1016486"/>
                </a:cubicBezTo>
                <a:lnTo>
                  <a:pt x="95368" y="1002238"/>
                </a:lnTo>
                <a:lnTo>
                  <a:pt x="78581" y="981865"/>
                </a:lnTo>
                <a:cubicBezTo>
                  <a:pt x="71976" y="971615"/>
                  <a:pt x="65598" y="961138"/>
                  <a:pt x="56488" y="952026"/>
                </a:cubicBezTo>
                <a:cubicBezTo>
                  <a:pt x="58310" y="953848"/>
                  <a:pt x="61954" y="955672"/>
                  <a:pt x="63776" y="957494"/>
                </a:cubicBezTo>
                <a:cubicBezTo>
                  <a:pt x="52843" y="941094"/>
                  <a:pt x="38266" y="926516"/>
                  <a:pt x="29155" y="908295"/>
                </a:cubicBezTo>
                <a:cubicBezTo>
                  <a:pt x="47377" y="933804"/>
                  <a:pt x="67421" y="964782"/>
                  <a:pt x="96576" y="981182"/>
                </a:cubicBezTo>
                <a:cubicBezTo>
                  <a:pt x="92931" y="970249"/>
                  <a:pt x="85642" y="962960"/>
                  <a:pt x="78354" y="953848"/>
                </a:cubicBezTo>
                <a:cubicBezTo>
                  <a:pt x="80176" y="955672"/>
                  <a:pt x="83820" y="959316"/>
                  <a:pt x="87465" y="961138"/>
                </a:cubicBezTo>
                <a:cubicBezTo>
                  <a:pt x="81998" y="953848"/>
                  <a:pt x="80176" y="948383"/>
                  <a:pt x="78354" y="942916"/>
                </a:cubicBezTo>
                <a:cubicBezTo>
                  <a:pt x="88376" y="960227"/>
                  <a:pt x="98853" y="977082"/>
                  <a:pt x="110698" y="992798"/>
                </a:cubicBezTo>
                <a:lnTo>
                  <a:pt x="149131" y="1033606"/>
                </a:lnTo>
                <a:lnTo>
                  <a:pt x="151696" y="1037897"/>
                </a:lnTo>
                <a:cubicBezTo>
                  <a:pt x="158074" y="1044958"/>
                  <a:pt x="165818" y="1051335"/>
                  <a:pt x="173107" y="1055891"/>
                </a:cubicBezTo>
                <a:cubicBezTo>
                  <a:pt x="163996" y="1043136"/>
                  <a:pt x="147596" y="1028559"/>
                  <a:pt x="138486" y="1015803"/>
                </a:cubicBezTo>
                <a:lnTo>
                  <a:pt x="143772" y="1024644"/>
                </a:lnTo>
                <a:lnTo>
                  <a:pt x="133019" y="1008515"/>
                </a:lnTo>
                <a:cubicBezTo>
                  <a:pt x="133019" y="1010337"/>
                  <a:pt x="134841" y="1008515"/>
                  <a:pt x="136663" y="1010337"/>
                </a:cubicBezTo>
                <a:cubicBezTo>
                  <a:pt x="134841" y="1006692"/>
                  <a:pt x="133019" y="1006692"/>
                  <a:pt x="131197" y="1003047"/>
                </a:cubicBezTo>
                <a:cubicBezTo>
                  <a:pt x="139396" y="1012159"/>
                  <a:pt x="146685" y="1020814"/>
                  <a:pt x="154202" y="1029241"/>
                </a:cubicBezTo>
                <a:lnTo>
                  <a:pt x="175081" y="1050512"/>
                </a:lnTo>
                <a:lnTo>
                  <a:pt x="174929" y="1050425"/>
                </a:lnTo>
                <a:cubicBezTo>
                  <a:pt x="176751" y="1052247"/>
                  <a:pt x="176751" y="1054069"/>
                  <a:pt x="178573" y="1054069"/>
                </a:cubicBezTo>
                <a:lnTo>
                  <a:pt x="175081" y="1050512"/>
                </a:lnTo>
                <a:lnTo>
                  <a:pt x="182901" y="1054980"/>
                </a:lnTo>
                <a:cubicBezTo>
                  <a:pt x="184951" y="1057257"/>
                  <a:pt x="186773" y="1059535"/>
                  <a:pt x="189506" y="1059535"/>
                </a:cubicBezTo>
                <a:cubicBezTo>
                  <a:pt x="185862" y="1059535"/>
                  <a:pt x="187684" y="1052247"/>
                  <a:pt x="182218" y="1048602"/>
                </a:cubicBezTo>
                <a:cubicBezTo>
                  <a:pt x="184040" y="1048602"/>
                  <a:pt x="184040" y="1048602"/>
                  <a:pt x="187684" y="1048602"/>
                </a:cubicBezTo>
                <a:lnTo>
                  <a:pt x="177777" y="1040346"/>
                </a:lnTo>
                <a:lnTo>
                  <a:pt x="170373" y="1032658"/>
                </a:lnTo>
                <a:lnTo>
                  <a:pt x="158534" y="1023096"/>
                </a:lnTo>
                <a:lnTo>
                  <a:pt x="149418" y="1013981"/>
                </a:lnTo>
                <a:cubicBezTo>
                  <a:pt x="144407" y="1010336"/>
                  <a:pt x="139396" y="1006692"/>
                  <a:pt x="136663" y="1001226"/>
                </a:cubicBezTo>
                <a:cubicBezTo>
                  <a:pt x="149419" y="1008515"/>
                  <a:pt x="156707" y="1019448"/>
                  <a:pt x="169462" y="1024914"/>
                </a:cubicBezTo>
                <a:cubicBezTo>
                  <a:pt x="169462" y="1019448"/>
                  <a:pt x="163996" y="1017625"/>
                  <a:pt x="163996" y="1012159"/>
                </a:cubicBezTo>
                <a:cubicBezTo>
                  <a:pt x="168551" y="1017625"/>
                  <a:pt x="174018" y="1023092"/>
                  <a:pt x="179257" y="1028558"/>
                </a:cubicBezTo>
                <a:lnTo>
                  <a:pt x="190242" y="1041524"/>
                </a:lnTo>
                <a:lnTo>
                  <a:pt x="189506" y="1041314"/>
                </a:lnTo>
                <a:cubicBezTo>
                  <a:pt x="191329" y="1044958"/>
                  <a:pt x="194973" y="1044958"/>
                  <a:pt x="194973" y="1046780"/>
                </a:cubicBezTo>
                <a:cubicBezTo>
                  <a:pt x="196795" y="1046780"/>
                  <a:pt x="195884" y="1044502"/>
                  <a:pt x="194290" y="1042680"/>
                </a:cubicBezTo>
                <a:lnTo>
                  <a:pt x="191007" y="1041742"/>
                </a:lnTo>
                <a:lnTo>
                  <a:pt x="171285" y="1012159"/>
                </a:lnTo>
                <a:cubicBezTo>
                  <a:pt x="178573" y="1021270"/>
                  <a:pt x="184040" y="1030381"/>
                  <a:pt x="193151" y="1035847"/>
                </a:cubicBezTo>
                <a:lnTo>
                  <a:pt x="185866" y="1026740"/>
                </a:lnTo>
                <a:lnTo>
                  <a:pt x="196795" y="1037669"/>
                </a:lnTo>
                <a:lnTo>
                  <a:pt x="185865" y="1026739"/>
                </a:lnTo>
                <a:lnTo>
                  <a:pt x="178573" y="1019448"/>
                </a:lnTo>
                <a:cubicBezTo>
                  <a:pt x="182218" y="1021270"/>
                  <a:pt x="184040" y="1021270"/>
                  <a:pt x="185862" y="1019448"/>
                </a:cubicBezTo>
                <a:cubicBezTo>
                  <a:pt x="174929" y="1015803"/>
                  <a:pt x="173107" y="999403"/>
                  <a:pt x="158529" y="999403"/>
                </a:cubicBezTo>
                <a:cubicBezTo>
                  <a:pt x="163996" y="1003047"/>
                  <a:pt x="163996" y="1008515"/>
                  <a:pt x="160352" y="1013981"/>
                </a:cubicBezTo>
                <a:cubicBezTo>
                  <a:pt x="156707" y="1008515"/>
                  <a:pt x="153063" y="1006692"/>
                  <a:pt x="147596" y="1004870"/>
                </a:cubicBezTo>
                <a:cubicBezTo>
                  <a:pt x="149419" y="1006692"/>
                  <a:pt x="151241" y="1006692"/>
                  <a:pt x="153063" y="1006692"/>
                </a:cubicBezTo>
                <a:cubicBezTo>
                  <a:pt x="154885" y="1004870"/>
                  <a:pt x="158529" y="1003047"/>
                  <a:pt x="156707" y="1001226"/>
                </a:cubicBezTo>
                <a:cubicBezTo>
                  <a:pt x="151241" y="997582"/>
                  <a:pt x="145774" y="1004870"/>
                  <a:pt x="142130" y="997582"/>
                </a:cubicBezTo>
                <a:cubicBezTo>
                  <a:pt x="145774" y="999403"/>
                  <a:pt x="149419" y="997582"/>
                  <a:pt x="153063" y="995759"/>
                </a:cubicBezTo>
                <a:lnTo>
                  <a:pt x="106930" y="962352"/>
                </a:lnTo>
                <a:lnTo>
                  <a:pt x="93387" y="948155"/>
                </a:lnTo>
                <a:cubicBezTo>
                  <a:pt x="88375" y="943827"/>
                  <a:pt x="83820" y="939272"/>
                  <a:pt x="81998" y="931983"/>
                </a:cubicBezTo>
                <a:cubicBezTo>
                  <a:pt x="94753" y="946560"/>
                  <a:pt x="105686" y="962960"/>
                  <a:pt x="122086" y="972071"/>
                </a:cubicBezTo>
                <a:cubicBezTo>
                  <a:pt x="120264" y="970249"/>
                  <a:pt x="120264" y="970249"/>
                  <a:pt x="120264" y="966604"/>
                </a:cubicBezTo>
                <a:cubicBezTo>
                  <a:pt x="127552" y="975715"/>
                  <a:pt x="136663" y="983004"/>
                  <a:pt x="147596" y="986649"/>
                </a:cubicBezTo>
                <a:cubicBezTo>
                  <a:pt x="133019" y="973893"/>
                  <a:pt x="123908" y="962960"/>
                  <a:pt x="114797" y="946560"/>
                </a:cubicBezTo>
                <a:cubicBezTo>
                  <a:pt x="129830" y="961593"/>
                  <a:pt x="142814" y="981751"/>
                  <a:pt x="161434" y="993197"/>
                </a:cubicBezTo>
                <a:lnTo>
                  <a:pt x="181771" y="1001053"/>
                </a:lnTo>
                <a:lnTo>
                  <a:pt x="189506" y="1010337"/>
                </a:lnTo>
                <a:lnTo>
                  <a:pt x="186364" y="1002874"/>
                </a:lnTo>
                <a:lnTo>
                  <a:pt x="188140" y="1005326"/>
                </a:lnTo>
                <a:cubicBezTo>
                  <a:pt x="191784" y="1008514"/>
                  <a:pt x="195884" y="1010337"/>
                  <a:pt x="200439" y="1010337"/>
                </a:cubicBezTo>
                <a:cubicBezTo>
                  <a:pt x="193151" y="999403"/>
                  <a:pt x="185862" y="997582"/>
                  <a:pt x="178573" y="992115"/>
                </a:cubicBezTo>
                <a:lnTo>
                  <a:pt x="182050" y="996916"/>
                </a:lnTo>
                <a:lnTo>
                  <a:pt x="176751" y="990293"/>
                </a:lnTo>
                <a:cubicBezTo>
                  <a:pt x="174929" y="992115"/>
                  <a:pt x="174929" y="993937"/>
                  <a:pt x="176751" y="995759"/>
                </a:cubicBezTo>
                <a:cubicBezTo>
                  <a:pt x="171285" y="992115"/>
                  <a:pt x="165818" y="992115"/>
                  <a:pt x="162174" y="988471"/>
                </a:cubicBezTo>
                <a:cubicBezTo>
                  <a:pt x="165818" y="990293"/>
                  <a:pt x="169462" y="992115"/>
                  <a:pt x="173107" y="990293"/>
                </a:cubicBezTo>
                <a:cubicBezTo>
                  <a:pt x="169462" y="986649"/>
                  <a:pt x="163996" y="983004"/>
                  <a:pt x="156707" y="981182"/>
                </a:cubicBezTo>
                <a:cubicBezTo>
                  <a:pt x="160352" y="983004"/>
                  <a:pt x="165818" y="984826"/>
                  <a:pt x="169462" y="983004"/>
                </a:cubicBezTo>
                <a:lnTo>
                  <a:pt x="165589" y="980237"/>
                </a:lnTo>
                <a:lnTo>
                  <a:pt x="171285" y="983004"/>
                </a:lnTo>
                <a:cubicBezTo>
                  <a:pt x="169462" y="977538"/>
                  <a:pt x="162174" y="977538"/>
                  <a:pt x="160352" y="972071"/>
                </a:cubicBezTo>
                <a:cubicBezTo>
                  <a:pt x="173107" y="973893"/>
                  <a:pt x="178573" y="992115"/>
                  <a:pt x="193151" y="990293"/>
                </a:cubicBezTo>
                <a:cubicBezTo>
                  <a:pt x="184951" y="983916"/>
                  <a:pt x="175840" y="978905"/>
                  <a:pt x="166957" y="973438"/>
                </a:cubicBezTo>
                <a:lnTo>
                  <a:pt x="146696" y="957451"/>
                </a:lnTo>
                <a:lnTo>
                  <a:pt x="154885" y="962960"/>
                </a:lnTo>
                <a:cubicBezTo>
                  <a:pt x="151241" y="961138"/>
                  <a:pt x="145774" y="957494"/>
                  <a:pt x="142130" y="953848"/>
                </a:cubicBezTo>
                <a:lnTo>
                  <a:pt x="146696" y="957451"/>
                </a:lnTo>
                <a:lnTo>
                  <a:pt x="142358" y="954532"/>
                </a:lnTo>
                <a:cubicBezTo>
                  <a:pt x="138486" y="951116"/>
                  <a:pt x="134842" y="947471"/>
                  <a:pt x="131197" y="944738"/>
                </a:cubicBezTo>
                <a:cubicBezTo>
                  <a:pt x="134841" y="942916"/>
                  <a:pt x="140308" y="944738"/>
                  <a:pt x="142130" y="948383"/>
                </a:cubicBezTo>
                <a:cubicBezTo>
                  <a:pt x="140308" y="942916"/>
                  <a:pt x="134841" y="941094"/>
                  <a:pt x="131197" y="937450"/>
                </a:cubicBezTo>
                <a:cubicBezTo>
                  <a:pt x="134841" y="939272"/>
                  <a:pt x="140308" y="937450"/>
                  <a:pt x="143952" y="939272"/>
                </a:cubicBezTo>
                <a:cubicBezTo>
                  <a:pt x="143952" y="941094"/>
                  <a:pt x="145774" y="941094"/>
                  <a:pt x="145774" y="942916"/>
                </a:cubicBezTo>
                <a:cubicBezTo>
                  <a:pt x="145774" y="942916"/>
                  <a:pt x="145774" y="941094"/>
                  <a:pt x="145774" y="941094"/>
                </a:cubicBezTo>
                <a:cubicBezTo>
                  <a:pt x="142130" y="937450"/>
                  <a:pt x="140308" y="935628"/>
                  <a:pt x="140308" y="931983"/>
                </a:cubicBezTo>
                <a:cubicBezTo>
                  <a:pt x="145774" y="944738"/>
                  <a:pt x="158529" y="950204"/>
                  <a:pt x="167640" y="957494"/>
                </a:cubicBezTo>
                <a:cubicBezTo>
                  <a:pt x="167640" y="962960"/>
                  <a:pt x="178573" y="972071"/>
                  <a:pt x="182218" y="968427"/>
                </a:cubicBezTo>
                <a:cubicBezTo>
                  <a:pt x="176751" y="964782"/>
                  <a:pt x="171285" y="959316"/>
                  <a:pt x="167640" y="957494"/>
                </a:cubicBezTo>
                <a:cubicBezTo>
                  <a:pt x="165818" y="952026"/>
                  <a:pt x="160352" y="946560"/>
                  <a:pt x="154885" y="942916"/>
                </a:cubicBezTo>
                <a:cubicBezTo>
                  <a:pt x="156707" y="942916"/>
                  <a:pt x="156707" y="942916"/>
                  <a:pt x="160352" y="942916"/>
                </a:cubicBezTo>
                <a:cubicBezTo>
                  <a:pt x="156707" y="937450"/>
                  <a:pt x="153063" y="933804"/>
                  <a:pt x="149419" y="930160"/>
                </a:cubicBezTo>
                <a:cubicBezTo>
                  <a:pt x="153063" y="931983"/>
                  <a:pt x="154885" y="933804"/>
                  <a:pt x="158529" y="935628"/>
                </a:cubicBezTo>
                <a:cubicBezTo>
                  <a:pt x="160352" y="933804"/>
                  <a:pt x="160352" y="931983"/>
                  <a:pt x="158529" y="928339"/>
                </a:cubicBezTo>
                <a:cubicBezTo>
                  <a:pt x="160352" y="928339"/>
                  <a:pt x="160352" y="931983"/>
                  <a:pt x="162174" y="933804"/>
                </a:cubicBezTo>
                <a:cubicBezTo>
                  <a:pt x="163996" y="931983"/>
                  <a:pt x="160352" y="928339"/>
                  <a:pt x="160352" y="926516"/>
                </a:cubicBezTo>
                <a:cubicBezTo>
                  <a:pt x="149419" y="919227"/>
                  <a:pt x="138486" y="915583"/>
                  <a:pt x="127552" y="910117"/>
                </a:cubicBezTo>
                <a:cubicBezTo>
                  <a:pt x="127552" y="913761"/>
                  <a:pt x="129375" y="913761"/>
                  <a:pt x="131197" y="915583"/>
                </a:cubicBezTo>
                <a:cubicBezTo>
                  <a:pt x="120264" y="906473"/>
                  <a:pt x="107509" y="901005"/>
                  <a:pt x="96576" y="893717"/>
                </a:cubicBezTo>
                <a:cubicBezTo>
                  <a:pt x="100220" y="895539"/>
                  <a:pt x="102042" y="895539"/>
                  <a:pt x="105686" y="897361"/>
                </a:cubicBezTo>
                <a:cubicBezTo>
                  <a:pt x="89287" y="888250"/>
                  <a:pt x="74709" y="877317"/>
                  <a:pt x="61954" y="864562"/>
                </a:cubicBezTo>
                <a:cubicBezTo>
                  <a:pt x="74709" y="877317"/>
                  <a:pt x="89287" y="886428"/>
                  <a:pt x="105686" y="893717"/>
                </a:cubicBezTo>
                <a:cubicBezTo>
                  <a:pt x="100220" y="888250"/>
                  <a:pt x="92931" y="884606"/>
                  <a:pt x="89287" y="877317"/>
                </a:cubicBezTo>
                <a:cubicBezTo>
                  <a:pt x="94753" y="877317"/>
                  <a:pt x="94753" y="884606"/>
                  <a:pt x="100220" y="884606"/>
                </a:cubicBezTo>
                <a:cubicBezTo>
                  <a:pt x="100220" y="882784"/>
                  <a:pt x="100220" y="880961"/>
                  <a:pt x="98398" y="879139"/>
                </a:cubicBezTo>
                <a:cubicBezTo>
                  <a:pt x="100220" y="884606"/>
                  <a:pt x="102953" y="890072"/>
                  <a:pt x="107053" y="894628"/>
                </a:cubicBezTo>
                <a:lnTo>
                  <a:pt x="123826" y="904602"/>
                </a:lnTo>
                <a:lnTo>
                  <a:pt x="124136" y="905333"/>
                </a:lnTo>
                <a:cubicBezTo>
                  <a:pt x="127097" y="908750"/>
                  <a:pt x="131196" y="911027"/>
                  <a:pt x="136663" y="911939"/>
                </a:cubicBezTo>
                <a:cubicBezTo>
                  <a:pt x="133019" y="908295"/>
                  <a:pt x="127552" y="904651"/>
                  <a:pt x="127552" y="899183"/>
                </a:cubicBezTo>
                <a:cubicBezTo>
                  <a:pt x="134841" y="910117"/>
                  <a:pt x="143952" y="919227"/>
                  <a:pt x="156707" y="922872"/>
                </a:cubicBezTo>
                <a:cubicBezTo>
                  <a:pt x="145774" y="906473"/>
                  <a:pt x="127552" y="901005"/>
                  <a:pt x="116619" y="884606"/>
                </a:cubicBezTo>
                <a:cubicBezTo>
                  <a:pt x="120264" y="884606"/>
                  <a:pt x="120264" y="886428"/>
                  <a:pt x="123908" y="886428"/>
                </a:cubicBezTo>
                <a:cubicBezTo>
                  <a:pt x="123908" y="884606"/>
                  <a:pt x="122086" y="884606"/>
                  <a:pt x="122086" y="882784"/>
                </a:cubicBezTo>
                <a:cubicBezTo>
                  <a:pt x="123908" y="884606"/>
                  <a:pt x="127552" y="886428"/>
                  <a:pt x="129375" y="888250"/>
                </a:cubicBezTo>
                <a:cubicBezTo>
                  <a:pt x="114797" y="868206"/>
                  <a:pt x="94753" y="851807"/>
                  <a:pt x="80176" y="833585"/>
                </a:cubicBezTo>
                <a:cubicBezTo>
                  <a:pt x="87465" y="835407"/>
                  <a:pt x="87465" y="842696"/>
                  <a:pt x="94753" y="844518"/>
                </a:cubicBezTo>
                <a:cubicBezTo>
                  <a:pt x="85642" y="837229"/>
                  <a:pt x="78354" y="826296"/>
                  <a:pt x="74709" y="815363"/>
                </a:cubicBezTo>
                <a:lnTo>
                  <a:pt x="102799" y="850845"/>
                </a:lnTo>
                <a:lnTo>
                  <a:pt x="100220" y="849985"/>
                </a:lnTo>
                <a:lnTo>
                  <a:pt x="105913" y="856818"/>
                </a:lnTo>
                <a:lnTo>
                  <a:pt x="103864" y="855451"/>
                </a:lnTo>
                <a:cubicBezTo>
                  <a:pt x="105686" y="862740"/>
                  <a:pt x="114797" y="871851"/>
                  <a:pt x="120264" y="870028"/>
                </a:cubicBezTo>
                <a:cubicBezTo>
                  <a:pt x="116619" y="866384"/>
                  <a:pt x="112975" y="862740"/>
                  <a:pt x="109331" y="860918"/>
                </a:cubicBezTo>
                <a:lnTo>
                  <a:pt x="105913" y="856818"/>
                </a:lnTo>
                <a:lnTo>
                  <a:pt x="109331" y="859095"/>
                </a:lnTo>
                <a:lnTo>
                  <a:pt x="102799" y="850845"/>
                </a:lnTo>
                <a:lnTo>
                  <a:pt x="105686" y="851807"/>
                </a:lnTo>
                <a:cubicBezTo>
                  <a:pt x="92931" y="835407"/>
                  <a:pt x="80176" y="820830"/>
                  <a:pt x="67421" y="802608"/>
                </a:cubicBezTo>
                <a:cubicBezTo>
                  <a:pt x="80176" y="815363"/>
                  <a:pt x="91109" y="833585"/>
                  <a:pt x="105686" y="846340"/>
                </a:cubicBezTo>
                <a:cubicBezTo>
                  <a:pt x="98398" y="837229"/>
                  <a:pt x="92931" y="831763"/>
                  <a:pt x="87465" y="824474"/>
                </a:cubicBezTo>
                <a:cubicBezTo>
                  <a:pt x="105686" y="839051"/>
                  <a:pt x="116619" y="860918"/>
                  <a:pt x="138486" y="871851"/>
                </a:cubicBezTo>
                <a:cubicBezTo>
                  <a:pt x="131197" y="859095"/>
                  <a:pt x="127552" y="844518"/>
                  <a:pt x="116619" y="833585"/>
                </a:cubicBezTo>
                <a:cubicBezTo>
                  <a:pt x="118442" y="835407"/>
                  <a:pt x="120264" y="835407"/>
                  <a:pt x="122086" y="837229"/>
                </a:cubicBezTo>
                <a:cubicBezTo>
                  <a:pt x="120264" y="835407"/>
                  <a:pt x="118442" y="829941"/>
                  <a:pt x="120264" y="826296"/>
                </a:cubicBezTo>
                <a:cubicBezTo>
                  <a:pt x="123908" y="839052"/>
                  <a:pt x="128008" y="850896"/>
                  <a:pt x="133702" y="861601"/>
                </a:cubicBezTo>
                <a:lnTo>
                  <a:pt x="154570" y="887427"/>
                </a:lnTo>
                <a:lnTo>
                  <a:pt x="156707" y="899183"/>
                </a:lnTo>
                <a:cubicBezTo>
                  <a:pt x="158529" y="901005"/>
                  <a:pt x="158529" y="901005"/>
                  <a:pt x="160352" y="902827"/>
                </a:cubicBezTo>
                <a:cubicBezTo>
                  <a:pt x="160352" y="899183"/>
                  <a:pt x="160352" y="899183"/>
                  <a:pt x="160352" y="897361"/>
                </a:cubicBezTo>
                <a:cubicBezTo>
                  <a:pt x="163996" y="908295"/>
                  <a:pt x="173107" y="917405"/>
                  <a:pt x="180396" y="926516"/>
                </a:cubicBezTo>
                <a:lnTo>
                  <a:pt x="177297" y="916532"/>
                </a:lnTo>
                <a:lnTo>
                  <a:pt x="184040" y="929933"/>
                </a:lnTo>
                <a:cubicBezTo>
                  <a:pt x="190873" y="941549"/>
                  <a:pt x="199528" y="952026"/>
                  <a:pt x="213195" y="959316"/>
                </a:cubicBezTo>
                <a:cubicBezTo>
                  <a:pt x="213195" y="962960"/>
                  <a:pt x="218661" y="962960"/>
                  <a:pt x="220483" y="966604"/>
                </a:cubicBezTo>
                <a:lnTo>
                  <a:pt x="218562" y="963797"/>
                </a:lnTo>
                <a:lnTo>
                  <a:pt x="217523" y="962277"/>
                </a:lnTo>
                <a:cubicBezTo>
                  <a:pt x="215928" y="960682"/>
                  <a:pt x="214106" y="959316"/>
                  <a:pt x="213195" y="959316"/>
                </a:cubicBezTo>
                <a:cubicBezTo>
                  <a:pt x="211372" y="950204"/>
                  <a:pt x="205906" y="944738"/>
                  <a:pt x="200439" y="939272"/>
                </a:cubicBezTo>
                <a:cubicBezTo>
                  <a:pt x="209550" y="946560"/>
                  <a:pt x="216839" y="955672"/>
                  <a:pt x="222306" y="966604"/>
                </a:cubicBezTo>
                <a:cubicBezTo>
                  <a:pt x="225950" y="966604"/>
                  <a:pt x="229594" y="968427"/>
                  <a:pt x="231416" y="970249"/>
                </a:cubicBezTo>
                <a:cubicBezTo>
                  <a:pt x="218661" y="950204"/>
                  <a:pt x="204084" y="931983"/>
                  <a:pt x="189506" y="911939"/>
                </a:cubicBezTo>
                <a:cubicBezTo>
                  <a:pt x="189506" y="913761"/>
                  <a:pt x="191329" y="913761"/>
                  <a:pt x="194973" y="913761"/>
                </a:cubicBezTo>
                <a:cubicBezTo>
                  <a:pt x="191329" y="906473"/>
                  <a:pt x="184040" y="902827"/>
                  <a:pt x="182218" y="893717"/>
                </a:cubicBezTo>
                <a:lnTo>
                  <a:pt x="203886" y="915385"/>
                </a:lnTo>
                <a:lnTo>
                  <a:pt x="194972" y="904689"/>
                </a:lnTo>
                <a:cubicBezTo>
                  <a:pt x="198617" y="910156"/>
                  <a:pt x="204083" y="913800"/>
                  <a:pt x="207727" y="917444"/>
                </a:cubicBezTo>
                <a:lnTo>
                  <a:pt x="204526" y="915843"/>
                </a:lnTo>
                <a:lnTo>
                  <a:pt x="235061" y="933804"/>
                </a:lnTo>
                <a:cubicBezTo>
                  <a:pt x="231416" y="931983"/>
                  <a:pt x="231416" y="928339"/>
                  <a:pt x="231416" y="922872"/>
                </a:cubicBezTo>
                <a:cubicBezTo>
                  <a:pt x="235061" y="928339"/>
                  <a:pt x="236883" y="931983"/>
                  <a:pt x="240527" y="935628"/>
                </a:cubicBezTo>
                <a:cubicBezTo>
                  <a:pt x="242349" y="926516"/>
                  <a:pt x="233239" y="919227"/>
                  <a:pt x="224128" y="919227"/>
                </a:cubicBezTo>
                <a:cubicBezTo>
                  <a:pt x="227772" y="919227"/>
                  <a:pt x="229594" y="919227"/>
                  <a:pt x="233239" y="919227"/>
                </a:cubicBezTo>
                <a:cubicBezTo>
                  <a:pt x="224128" y="902827"/>
                  <a:pt x="205906" y="910117"/>
                  <a:pt x="194973" y="899183"/>
                </a:cubicBezTo>
                <a:cubicBezTo>
                  <a:pt x="202262" y="897361"/>
                  <a:pt x="205906" y="904651"/>
                  <a:pt x="213195" y="904651"/>
                </a:cubicBezTo>
                <a:cubicBezTo>
                  <a:pt x="211372" y="902827"/>
                  <a:pt x="211372" y="902827"/>
                  <a:pt x="209550" y="901005"/>
                </a:cubicBezTo>
                <a:cubicBezTo>
                  <a:pt x="213195" y="902827"/>
                  <a:pt x="218661" y="904651"/>
                  <a:pt x="222306" y="906473"/>
                </a:cubicBezTo>
                <a:cubicBezTo>
                  <a:pt x="220483" y="904651"/>
                  <a:pt x="220483" y="901005"/>
                  <a:pt x="218661" y="899183"/>
                </a:cubicBezTo>
                <a:cubicBezTo>
                  <a:pt x="222306" y="902827"/>
                  <a:pt x="224128" y="908295"/>
                  <a:pt x="225950" y="904651"/>
                </a:cubicBezTo>
                <a:cubicBezTo>
                  <a:pt x="225950" y="901005"/>
                  <a:pt x="225950" y="901005"/>
                  <a:pt x="225950" y="899183"/>
                </a:cubicBezTo>
                <a:cubicBezTo>
                  <a:pt x="231416" y="902827"/>
                  <a:pt x="236883" y="906473"/>
                  <a:pt x="244172" y="906473"/>
                </a:cubicBezTo>
                <a:cubicBezTo>
                  <a:pt x="240527" y="901005"/>
                  <a:pt x="235061" y="897361"/>
                  <a:pt x="229594" y="897361"/>
                </a:cubicBezTo>
                <a:cubicBezTo>
                  <a:pt x="231416" y="897361"/>
                  <a:pt x="231416" y="897361"/>
                  <a:pt x="235061" y="897361"/>
                </a:cubicBezTo>
                <a:cubicBezTo>
                  <a:pt x="216839" y="884606"/>
                  <a:pt x="198617" y="877317"/>
                  <a:pt x="180396" y="866384"/>
                </a:cubicBezTo>
                <a:cubicBezTo>
                  <a:pt x="185862" y="866384"/>
                  <a:pt x="193151" y="866384"/>
                  <a:pt x="196795" y="870028"/>
                </a:cubicBezTo>
                <a:lnTo>
                  <a:pt x="180605" y="850146"/>
                </a:lnTo>
                <a:lnTo>
                  <a:pt x="204084" y="868206"/>
                </a:lnTo>
                <a:cubicBezTo>
                  <a:pt x="205906" y="866384"/>
                  <a:pt x="204084" y="866384"/>
                  <a:pt x="204084" y="864562"/>
                </a:cubicBezTo>
                <a:cubicBezTo>
                  <a:pt x="205906" y="866384"/>
                  <a:pt x="209550" y="870028"/>
                  <a:pt x="215017" y="871851"/>
                </a:cubicBezTo>
                <a:cubicBezTo>
                  <a:pt x="213195" y="870028"/>
                  <a:pt x="213195" y="868206"/>
                  <a:pt x="211372" y="866384"/>
                </a:cubicBezTo>
                <a:cubicBezTo>
                  <a:pt x="215017" y="868206"/>
                  <a:pt x="218661" y="870028"/>
                  <a:pt x="222306" y="871851"/>
                </a:cubicBezTo>
                <a:cubicBezTo>
                  <a:pt x="216839" y="865473"/>
                  <a:pt x="210006" y="860007"/>
                  <a:pt x="202717" y="856135"/>
                </a:cubicBezTo>
                <a:lnTo>
                  <a:pt x="180497" y="850013"/>
                </a:lnTo>
                <a:lnTo>
                  <a:pt x="157846" y="822197"/>
                </a:lnTo>
                <a:cubicBezTo>
                  <a:pt x="144863" y="806253"/>
                  <a:pt x="131196" y="790764"/>
                  <a:pt x="114797" y="777098"/>
                </a:cubicBezTo>
                <a:cubicBezTo>
                  <a:pt x="127552" y="782564"/>
                  <a:pt x="131197" y="793497"/>
                  <a:pt x="142130" y="800786"/>
                </a:cubicBezTo>
                <a:cubicBezTo>
                  <a:pt x="138486" y="797141"/>
                  <a:pt x="134841" y="791675"/>
                  <a:pt x="131197" y="788031"/>
                </a:cubicBezTo>
                <a:cubicBezTo>
                  <a:pt x="151241" y="806252"/>
                  <a:pt x="163996" y="835407"/>
                  <a:pt x="194973" y="840874"/>
                </a:cubicBezTo>
                <a:cubicBezTo>
                  <a:pt x="180396" y="829941"/>
                  <a:pt x="169462" y="813541"/>
                  <a:pt x="153063" y="804430"/>
                </a:cubicBezTo>
                <a:cubicBezTo>
                  <a:pt x="153063" y="802608"/>
                  <a:pt x="154885" y="804430"/>
                  <a:pt x="156707" y="802608"/>
                </a:cubicBezTo>
                <a:cubicBezTo>
                  <a:pt x="153063" y="798964"/>
                  <a:pt x="151241" y="797141"/>
                  <a:pt x="149419" y="793497"/>
                </a:cubicBezTo>
                <a:cubicBezTo>
                  <a:pt x="162174" y="809897"/>
                  <a:pt x="178573" y="822652"/>
                  <a:pt x="196795" y="831763"/>
                </a:cubicBezTo>
                <a:cubicBezTo>
                  <a:pt x="194973" y="826296"/>
                  <a:pt x="185862" y="824474"/>
                  <a:pt x="184040" y="819008"/>
                </a:cubicBezTo>
                <a:cubicBezTo>
                  <a:pt x="187684" y="820830"/>
                  <a:pt x="191329" y="824474"/>
                  <a:pt x="194973" y="826296"/>
                </a:cubicBezTo>
                <a:cubicBezTo>
                  <a:pt x="194973" y="824474"/>
                  <a:pt x="194973" y="822652"/>
                  <a:pt x="193151" y="820830"/>
                </a:cubicBezTo>
                <a:cubicBezTo>
                  <a:pt x="200439" y="828118"/>
                  <a:pt x="205906" y="835407"/>
                  <a:pt x="215017" y="840874"/>
                </a:cubicBezTo>
                <a:cubicBezTo>
                  <a:pt x="211372" y="829941"/>
                  <a:pt x="196795" y="824474"/>
                  <a:pt x="193151" y="811719"/>
                </a:cubicBezTo>
                <a:cubicBezTo>
                  <a:pt x="196795" y="817185"/>
                  <a:pt x="200439" y="824474"/>
                  <a:pt x="207728" y="828118"/>
                </a:cubicBezTo>
                <a:cubicBezTo>
                  <a:pt x="209550" y="829941"/>
                  <a:pt x="213195" y="831763"/>
                  <a:pt x="215017" y="829941"/>
                </a:cubicBezTo>
                <a:cubicBezTo>
                  <a:pt x="202262" y="809897"/>
                  <a:pt x="182218" y="800786"/>
                  <a:pt x="162174" y="789853"/>
                </a:cubicBezTo>
                <a:cubicBezTo>
                  <a:pt x="173107" y="791675"/>
                  <a:pt x="178573" y="800786"/>
                  <a:pt x="189506" y="802608"/>
                </a:cubicBezTo>
                <a:cubicBezTo>
                  <a:pt x="187684" y="800786"/>
                  <a:pt x="185862" y="798964"/>
                  <a:pt x="184040" y="797141"/>
                </a:cubicBezTo>
                <a:cubicBezTo>
                  <a:pt x="187684" y="798964"/>
                  <a:pt x="191329" y="798964"/>
                  <a:pt x="193151" y="802608"/>
                </a:cubicBezTo>
                <a:cubicBezTo>
                  <a:pt x="182218" y="788031"/>
                  <a:pt x="167640" y="778920"/>
                  <a:pt x="149419" y="775275"/>
                </a:cubicBezTo>
                <a:lnTo>
                  <a:pt x="153063" y="775275"/>
                </a:lnTo>
                <a:cubicBezTo>
                  <a:pt x="149419" y="769809"/>
                  <a:pt x="145774" y="767987"/>
                  <a:pt x="140308" y="767987"/>
                </a:cubicBezTo>
                <a:cubicBezTo>
                  <a:pt x="138486" y="769809"/>
                  <a:pt x="142130" y="771631"/>
                  <a:pt x="143952" y="771631"/>
                </a:cubicBezTo>
                <a:cubicBezTo>
                  <a:pt x="142130" y="771631"/>
                  <a:pt x="140308" y="771631"/>
                  <a:pt x="138486" y="773453"/>
                </a:cubicBezTo>
                <a:cubicBezTo>
                  <a:pt x="138486" y="771631"/>
                  <a:pt x="136663" y="771631"/>
                  <a:pt x="136663" y="769809"/>
                </a:cubicBezTo>
                <a:cubicBezTo>
                  <a:pt x="134841" y="769809"/>
                  <a:pt x="131197" y="769809"/>
                  <a:pt x="129375" y="771631"/>
                </a:cubicBezTo>
                <a:cubicBezTo>
                  <a:pt x="131197" y="769809"/>
                  <a:pt x="133019" y="769809"/>
                  <a:pt x="136663" y="764342"/>
                </a:cubicBezTo>
                <a:cubicBezTo>
                  <a:pt x="129375" y="757054"/>
                  <a:pt x="118442" y="762520"/>
                  <a:pt x="109331" y="764342"/>
                </a:cubicBezTo>
                <a:cubicBezTo>
                  <a:pt x="111153" y="762520"/>
                  <a:pt x="114797" y="760698"/>
                  <a:pt x="116619" y="758876"/>
                </a:cubicBezTo>
                <a:cubicBezTo>
                  <a:pt x="114797" y="758876"/>
                  <a:pt x="114797" y="758876"/>
                  <a:pt x="112975" y="758876"/>
                </a:cubicBezTo>
                <a:cubicBezTo>
                  <a:pt x="83820" y="747943"/>
                  <a:pt x="45555" y="757054"/>
                  <a:pt x="23689" y="729721"/>
                </a:cubicBezTo>
                <a:cubicBezTo>
                  <a:pt x="45555" y="747943"/>
                  <a:pt x="74709" y="746121"/>
                  <a:pt x="100220" y="753409"/>
                </a:cubicBezTo>
                <a:lnTo>
                  <a:pt x="98398" y="751587"/>
                </a:lnTo>
                <a:cubicBezTo>
                  <a:pt x="107509" y="755231"/>
                  <a:pt x="118442" y="758876"/>
                  <a:pt x="127552" y="760698"/>
                </a:cubicBezTo>
                <a:cubicBezTo>
                  <a:pt x="127552" y="758876"/>
                  <a:pt x="127552" y="755231"/>
                  <a:pt x="125730" y="753409"/>
                </a:cubicBezTo>
                <a:cubicBezTo>
                  <a:pt x="129375" y="762520"/>
                  <a:pt x="138486" y="764342"/>
                  <a:pt x="147596" y="766164"/>
                </a:cubicBezTo>
                <a:cubicBezTo>
                  <a:pt x="102042" y="716966"/>
                  <a:pt x="32799" y="693278"/>
                  <a:pt x="1822" y="631324"/>
                </a:cubicBezTo>
                <a:cubicBezTo>
                  <a:pt x="21866" y="662301"/>
                  <a:pt x="45555" y="689633"/>
                  <a:pt x="78354" y="706033"/>
                </a:cubicBezTo>
                <a:cubicBezTo>
                  <a:pt x="63776" y="691455"/>
                  <a:pt x="41910" y="682345"/>
                  <a:pt x="30977" y="664123"/>
                </a:cubicBezTo>
                <a:cubicBezTo>
                  <a:pt x="40088" y="675056"/>
                  <a:pt x="52843" y="685989"/>
                  <a:pt x="65599" y="689633"/>
                </a:cubicBezTo>
                <a:cubicBezTo>
                  <a:pt x="47377" y="673234"/>
                  <a:pt x="34622" y="651368"/>
                  <a:pt x="21866" y="631324"/>
                </a:cubicBezTo>
                <a:cubicBezTo>
                  <a:pt x="36444" y="655012"/>
                  <a:pt x="54666" y="676878"/>
                  <a:pt x="72887" y="696922"/>
                </a:cubicBezTo>
                <a:cubicBezTo>
                  <a:pt x="43732" y="656834"/>
                  <a:pt x="18222" y="616746"/>
                  <a:pt x="0" y="571192"/>
                </a:cubicBezTo>
                <a:cubicBezTo>
                  <a:pt x="27333" y="633146"/>
                  <a:pt x="63776" y="698744"/>
                  <a:pt x="127552" y="729721"/>
                </a:cubicBezTo>
                <a:cubicBezTo>
                  <a:pt x="127552" y="727899"/>
                  <a:pt x="125730" y="724254"/>
                  <a:pt x="123908" y="724254"/>
                </a:cubicBezTo>
                <a:cubicBezTo>
                  <a:pt x="129375" y="731543"/>
                  <a:pt x="134841" y="738832"/>
                  <a:pt x="140308" y="738832"/>
                </a:cubicBezTo>
                <a:cubicBezTo>
                  <a:pt x="133019" y="726077"/>
                  <a:pt x="123908" y="713321"/>
                  <a:pt x="114797" y="707855"/>
                </a:cubicBezTo>
                <a:cubicBezTo>
                  <a:pt x="114797" y="711499"/>
                  <a:pt x="118442" y="715144"/>
                  <a:pt x="120264" y="718788"/>
                </a:cubicBezTo>
                <a:cubicBezTo>
                  <a:pt x="112975" y="708766"/>
                  <a:pt x="102953" y="701478"/>
                  <a:pt x="92703" y="693961"/>
                </a:cubicBezTo>
                <a:lnTo>
                  <a:pt x="83488" y="685617"/>
                </a:lnTo>
                <a:lnTo>
                  <a:pt x="105686" y="700566"/>
                </a:lnTo>
                <a:lnTo>
                  <a:pt x="77721" y="662445"/>
                </a:lnTo>
                <a:lnTo>
                  <a:pt x="105686" y="693278"/>
                </a:lnTo>
                <a:cubicBezTo>
                  <a:pt x="107509" y="696922"/>
                  <a:pt x="105686" y="706033"/>
                  <a:pt x="112975" y="702388"/>
                </a:cubicBezTo>
                <a:cubicBezTo>
                  <a:pt x="111153" y="700566"/>
                  <a:pt x="107509" y="696922"/>
                  <a:pt x="105686" y="693278"/>
                </a:cubicBezTo>
                <a:cubicBezTo>
                  <a:pt x="98398" y="682345"/>
                  <a:pt x="91109" y="669589"/>
                  <a:pt x="80176" y="662301"/>
                </a:cubicBezTo>
                <a:cubicBezTo>
                  <a:pt x="67421" y="647723"/>
                  <a:pt x="58310" y="629501"/>
                  <a:pt x="45555" y="609459"/>
                </a:cubicBezTo>
                <a:lnTo>
                  <a:pt x="65787" y="646176"/>
                </a:lnTo>
                <a:lnTo>
                  <a:pt x="57399" y="634741"/>
                </a:lnTo>
                <a:cubicBezTo>
                  <a:pt x="43732" y="611280"/>
                  <a:pt x="31888" y="586681"/>
                  <a:pt x="20044" y="562081"/>
                </a:cubicBezTo>
                <a:lnTo>
                  <a:pt x="68723" y="639157"/>
                </a:lnTo>
                <a:lnTo>
                  <a:pt x="61954" y="631324"/>
                </a:lnTo>
                <a:cubicBezTo>
                  <a:pt x="71065" y="642257"/>
                  <a:pt x="80176" y="653190"/>
                  <a:pt x="85642" y="665945"/>
                </a:cubicBezTo>
                <a:lnTo>
                  <a:pt x="68723" y="639157"/>
                </a:lnTo>
                <a:lnTo>
                  <a:pt x="77898" y="649774"/>
                </a:lnTo>
                <a:cubicBezTo>
                  <a:pt x="82453" y="656379"/>
                  <a:pt x="86553" y="663212"/>
                  <a:pt x="91109" y="669589"/>
                </a:cubicBezTo>
                <a:lnTo>
                  <a:pt x="74707" y="620385"/>
                </a:lnTo>
                <a:lnTo>
                  <a:pt x="65599" y="587591"/>
                </a:lnTo>
                <a:lnTo>
                  <a:pt x="78055" y="607686"/>
                </a:lnTo>
                <a:lnTo>
                  <a:pt x="71065" y="596702"/>
                </a:lnTo>
                <a:cubicBezTo>
                  <a:pt x="83820" y="642257"/>
                  <a:pt x="98398" y="693278"/>
                  <a:pt x="138486" y="724254"/>
                </a:cubicBezTo>
                <a:cubicBezTo>
                  <a:pt x="136663" y="718788"/>
                  <a:pt x="134841" y="715144"/>
                  <a:pt x="133019" y="711499"/>
                </a:cubicBezTo>
                <a:cubicBezTo>
                  <a:pt x="139396" y="722432"/>
                  <a:pt x="146230" y="733365"/>
                  <a:pt x="154657" y="742932"/>
                </a:cubicBezTo>
                <a:lnTo>
                  <a:pt x="180248" y="761985"/>
                </a:lnTo>
                <a:lnTo>
                  <a:pt x="184951" y="766165"/>
                </a:lnTo>
                <a:cubicBezTo>
                  <a:pt x="187229" y="769354"/>
                  <a:pt x="189506" y="772542"/>
                  <a:pt x="193151" y="773453"/>
                </a:cubicBezTo>
                <a:cubicBezTo>
                  <a:pt x="182218" y="758876"/>
                  <a:pt x="173107" y="746121"/>
                  <a:pt x="158529" y="737010"/>
                </a:cubicBezTo>
                <a:cubicBezTo>
                  <a:pt x="156707" y="733365"/>
                  <a:pt x="154885" y="729721"/>
                  <a:pt x="153063" y="727899"/>
                </a:cubicBezTo>
                <a:cubicBezTo>
                  <a:pt x="160352" y="729721"/>
                  <a:pt x="165818" y="742476"/>
                  <a:pt x="173107" y="742476"/>
                </a:cubicBezTo>
                <a:cubicBezTo>
                  <a:pt x="160352" y="724254"/>
                  <a:pt x="145774" y="706033"/>
                  <a:pt x="133019" y="689633"/>
                </a:cubicBezTo>
                <a:cubicBezTo>
                  <a:pt x="138486" y="695100"/>
                  <a:pt x="143952" y="700566"/>
                  <a:pt x="149419" y="704211"/>
                </a:cubicBezTo>
                <a:cubicBezTo>
                  <a:pt x="136663" y="667767"/>
                  <a:pt x="122086" y="631324"/>
                  <a:pt x="94753" y="602169"/>
                </a:cubicBezTo>
                <a:lnTo>
                  <a:pt x="101564" y="621555"/>
                </a:lnTo>
                <a:lnTo>
                  <a:pt x="89742" y="596019"/>
                </a:lnTo>
                <a:cubicBezTo>
                  <a:pt x="78809" y="573925"/>
                  <a:pt x="67420" y="552060"/>
                  <a:pt x="60132" y="529282"/>
                </a:cubicBezTo>
                <a:cubicBezTo>
                  <a:pt x="69243" y="543860"/>
                  <a:pt x="72887" y="562081"/>
                  <a:pt x="85642" y="576658"/>
                </a:cubicBezTo>
                <a:cubicBezTo>
                  <a:pt x="83820" y="571192"/>
                  <a:pt x="81998" y="565725"/>
                  <a:pt x="81998" y="560260"/>
                </a:cubicBezTo>
                <a:cubicBezTo>
                  <a:pt x="83820" y="585769"/>
                  <a:pt x="102042" y="603991"/>
                  <a:pt x="118442" y="624035"/>
                </a:cubicBezTo>
                <a:cubicBezTo>
                  <a:pt x="107509" y="596702"/>
                  <a:pt x="92931" y="567548"/>
                  <a:pt x="89287" y="538393"/>
                </a:cubicBezTo>
                <a:cubicBezTo>
                  <a:pt x="91109" y="551148"/>
                  <a:pt x="96576" y="565725"/>
                  <a:pt x="112975" y="576658"/>
                </a:cubicBezTo>
                <a:cubicBezTo>
                  <a:pt x="112975" y="565725"/>
                  <a:pt x="107509" y="556616"/>
                  <a:pt x="107509" y="547504"/>
                </a:cubicBezTo>
                <a:cubicBezTo>
                  <a:pt x="116619" y="573014"/>
                  <a:pt x="118442" y="602169"/>
                  <a:pt x="138486" y="624035"/>
                </a:cubicBezTo>
                <a:cubicBezTo>
                  <a:pt x="136663" y="618568"/>
                  <a:pt x="134841" y="613103"/>
                  <a:pt x="134841" y="607635"/>
                </a:cubicBezTo>
                <a:cubicBezTo>
                  <a:pt x="136663" y="625857"/>
                  <a:pt x="153063" y="636790"/>
                  <a:pt x="162174" y="651368"/>
                </a:cubicBezTo>
                <a:cubicBezTo>
                  <a:pt x="147596" y="620391"/>
                  <a:pt x="123908" y="593058"/>
                  <a:pt x="114797" y="560260"/>
                </a:cubicBezTo>
                <a:cubicBezTo>
                  <a:pt x="120263" y="578481"/>
                  <a:pt x="129830" y="593969"/>
                  <a:pt x="140535" y="609002"/>
                </a:cubicBezTo>
                <a:lnTo>
                  <a:pt x="168325" y="648257"/>
                </a:lnTo>
                <a:lnTo>
                  <a:pt x="182218" y="671411"/>
                </a:lnTo>
                <a:cubicBezTo>
                  <a:pt x="180396" y="662301"/>
                  <a:pt x="174929" y="653190"/>
                  <a:pt x="169462" y="645901"/>
                </a:cubicBezTo>
                <a:lnTo>
                  <a:pt x="169132" y="645736"/>
                </a:lnTo>
                <a:lnTo>
                  <a:pt x="162174" y="629501"/>
                </a:lnTo>
                <a:lnTo>
                  <a:pt x="163996" y="633147"/>
                </a:lnTo>
                <a:lnTo>
                  <a:pt x="163997" y="633149"/>
                </a:lnTo>
                <a:lnTo>
                  <a:pt x="167640" y="640435"/>
                </a:lnTo>
                <a:lnTo>
                  <a:pt x="165477" y="635749"/>
                </a:lnTo>
                <a:lnTo>
                  <a:pt x="179940" y="661162"/>
                </a:lnTo>
                <a:cubicBezTo>
                  <a:pt x="185406" y="671867"/>
                  <a:pt x="191328" y="682345"/>
                  <a:pt x="198617" y="687811"/>
                </a:cubicBezTo>
                <a:cubicBezTo>
                  <a:pt x="198617" y="685989"/>
                  <a:pt x="196795" y="684167"/>
                  <a:pt x="196795" y="682345"/>
                </a:cubicBezTo>
                <a:cubicBezTo>
                  <a:pt x="198617" y="684167"/>
                  <a:pt x="200439" y="685989"/>
                  <a:pt x="202262" y="687811"/>
                </a:cubicBezTo>
                <a:cubicBezTo>
                  <a:pt x="200439" y="675967"/>
                  <a:pt x="195884" y="665490"/>
                  <a:pt x="189279" y="656379"/>
                </a:cubicBezTo>
                <a:lnTo>
                  <a:pt x="164482" y="633593"/>
                </a:lnTo>
                <a:lnTo>
                  <a:pt x="156707" y="616746"/>
                </a:lnTo>
                <a:cubicBezTo>
                  <a:pt x="158529" y="616746"/>
                  <a:pt x="158529" y="616746"/>
                  <a:pt x="162174" y="616746"/>
                </a:cubicBezTo>
                <a:cubicBezTo>
                  <a:pt x="160352" y="609459"/>
                  <a:pt x="154885" y="602169"/>
                  <a:pt x="154885" y="593058"/>
                </a:cubicBezTo>
                <a:cubicBezTo>
                  <a:pt x="158529" y="613103"/>
                  <a:pt x="169462" y="633146"/>
                  <a:pt x="191329" y="640435"/>
                </a:cubicBezTo>
                <a:cubicBezTo>
                  <a:pt x="185862" y="634968"/>
                  <a:pt x="182218" y="629501"/>
                  <a:pt x="176751" y="624035"/>
                </a:cubicBezTo>
                <a:cubicBezTo>
                  <a:pt x="180396" y="624035"/>
                  <a:pt x="180396" y="629501"/>
                  <a:pt x="184040" y="629501"/>
                </a:cubicBezTo>
                <a:cubicBezTo>
                  <a:pt x="184040" y="633146"/>
                  <a:pt x="185862" y="636790"/>
                  <a:pt x="191329" y="631324"/>
                </a:cubicBezTo>
                <a:lnTo>
                  <a:pt x="178288" y="615178"/>
                </a:lnTo>
                <a:lnTo>
                  <a:pt x="177340" y="609961"/>
                </a:lnTo>
                <a:lnTo>
                  <a:pt x="178573" y="611280"/>
                </a:lnTo>
                <a:cubicBezTo>
                  <a:pt x="180396" y="603991"/>
                  <a:pt x="167640" y="602169"/>
                  <a:pt x="173107" y="594880"/>
                </a:cubicBezTo>
                <a:cubicBezTo>
                  <a:pt x="173107" y="600347"/>
                  <a:pt x="176751" y="602169"/>
                  <a:pt x="178573" y="605813"/>
                </a:cubicBezTo>
                <a:cubicBezTo>
                  <a:pt x="171285" y="589414"/>
                  <a:pt x="165818" y="573014"/>
                  <a:pt x="160352" y="554792"/>
                </a:cubicBezTo>
                <a:cubicBezTo>
                  <a:pt x="167640" y="571192"/>
                  <a:pt x="174929" y="587591"/>
                  <a:pt x="184040" y="603991"/>
                </a:cubicBezTo>
                <a:cubicBezTo>
                  <a:pt x="180396" y="598524"/>
                  <a:pt x="180396" y="591236"/>
                  <a:pt x="182218" y="583947"/>
                </a:cubicBezTo>
                <a:cubicBezTo>
                  <a:pt x="187684" y="602169"/>
                  <a:pt x="185862" y="631324"/>
                  <a:pt x="205906" y="640435"/>
                </a:cubicBezTo>
                <a:cubicBezTo>
                  <a:pt x="205906" y="624035"/>
                  <a:pt x="205906" y="607635"/>
                  <a:pt x="204084" y="591236"/>
                </a:cubicBezTo>
                <a:cubicBezTo>
                  <a:pt x="205906" y="603991"/>
                  <a:pt x="207728" y="614924"/>
                  <a:pt x="209550" y="627679"/>
                </a:cubicBezTo>
                <a:cubicBezTo>
                  <a:pt x="209550" y="625857"/>
                  <a:pt x="207728" y="624035"/>
                  <a:pt x="207728" y="633146"/>
                </a:cubicBezTo>
                <a:cubicBezTo>
                  <a:pt x="207728" y="638613"/>
                  <a:pt x="210006" y="642257"/>
                  <a:pt x="212511" y="645674"/>
                </a:cubicBezTo>
                <a:lnTo>
                  <a:pt x="218587" y="656700"/>
                </a:lnTo>
                <a:lnTo>
                  <a:pt x="218588" y="656762"/>
                </a:lnTo>
                <a:lnTo>
                  <a:pt x="215017" y="653190"/>
                </a:lnTo>
                <a:cubicBezTo>
                  <a:pt x="216839" y="655012"/>
                  <a:pt x="216839" y="658656"/>
                  <a:pt x="218661" y="660478"/>
                </a:cubicBezTo>
                <a:lnTo>
                  <a:pt x="218588" y="656762"/>
                </a:lnTo>
                <a:lnTo>
                  <a:pt x="218661" y="656834"/>
                </a:lnTo>
                <a:lnTo>
                  <a:pt x="218587" y="656700"/>
                </a:lnTo>
                <a:lnTo>
                  <a:pt x="218433" y="648863"/>
                </a:lnTo>
                <a:cubicBezTo>
                  <a:pt x="216383" y="645446"/>
                  <a:pt x="213194" y="642257"/>
                  <a:pt x="211372" y="638612"/>
                </a:cubicBezTo>
                <a:cubicBezTo>
                  <a:pt x="215017" y="640435"/>
                  <a:pt x="218661" y="645901"/>
                  <a:pt x="220483" y="649545"/>
                </a:cubicBezTo>
                <a:lnTo>
                  <a:pt x="219298" y="639799"/>
                </a:lnTo>
                <a:lnTo>
                  <a:pt x="220028" y="639068"/>
                </a:lnTo>
                <a:lnTo>
                  <a:pt x="218739" y="635202"/>
                </a:lnTo>
                <a:lnTo>
                  <a:pt x="218433" y="632690"/>
                </a:lnTo>
                <a:cubicBezTo>
                  <a:pt x="215472" y="628135"/>
                  <a:pt x="211372" y="624035"/>
                  <a:pt x="209550" y="618568"/>
                </a:cubicBezTo>
                <a:cubicBezTo>
                  <a:pt x="213195" y="620391"/>
                  <a:pt x="215017" y="627679"/>
                  <a:pt x="216839" y="624035"/>
                </a:cubicBezTo>
                <a:lnTo>
                  <a:pt x="217448" y="622810"/>
                </a:lnTo>
                <a:lnTo>
                  <a:pt x="216839" y="625857"/>
                </a:lnTo>
                <a:cubicBezTo>
                  <a:pt x="224128" y="631324"/>
                  <a:pt x="220483" y="645901"/>
                  <a:pt x="235061" y="645901"/>
                </a:cubicBezTo>
                <a:cubicBezTo>
                  <a:pt x="229594" y="638613"/>
                  <a:pt x="228228" y="630413"/>
                  <a:pt x="227316" y="622213"/>
                </a:cubicBezTo>
                <a:lnTo>
                  <a:pt x="223350" y="603459"/>
                </a:lnTo>
                <a:lnTo>
                  <a:pt x="224128" y="600347"/>
                </a:lnTo>
                <a:cubicBezTo>
                  <a:pt x="211372" y="525638"/>
                  <a:pt x="162174" y="461862"/>
                  <a:pt x="162174" y="385331"/>
                </a:cubicBezTo>
                <a:cubicBezTo>
                  <a:pt x="163996" y="425419"/>
                  <a:pt x="176751" y="467328"/>
                  <a:pt x="194973" y="505594"/>
                </a:cubicBezTo>
                <a:cubicBezTo>
                  <a:pt x="202262" y="500127"/>
                  <a:pt x="196795" y="494662"/>
                  <a:pt x="198617" y="487373"/>
                </a:cubicBezTo>
                <a:cubicBezTo>
                  <a:pt x="202262" y="542037"/>
                  <a:pt x="229594" y="593058"/>
                  <a:pt x="245994" y="645901"/>
                </a:cubicBezTo>
                <a:cubicBezTo>
                  <a:pt x="244172" y="640435"/>
                  <a:pt x="242349" y="634968"/>
                  <a:pt x="244172" y="631324"/>
                </a:cubicBezTo>
                <a:cubicBezTo>
                  <a:pt x="247816" y="638612"/>
                  <a:pt x="249638" y="649545"/>
                  <a:pt x="255105" y="656834"/>
                </a:cubicBezTo>
                <a:cubicBezTo>
                  <a:pt x="255105" y="647723"/>
                  <a:pt x="245994" y="638612"/>
                  <a:pt x="247816" y="629501"/>
                </a:cubicBezTo>
                <a:cubicBezTo>
                  <a:pt x="256927" y="642257"/>
                  <a:pt x="255105" y="658656"/>
                  <a:pt x="266038" y="669589"/>
                </a:cubicBezTo>
                <a:cubicBezTo>
                  <a:pt x="266038" y="667767"/>
                  <a:pt x="266038" y="665945"/>
                  <a:pt x="266038" y="662301"/>
                </a:cubicBezTo>
                <a:cubicBezTo>
                  <a:pt x="266038" y="665034"/>
                  <a:pt x="267404" y="666857"/>
                  <a:pt x="268771" y="668679"/>
                </a:cubicBezTo>
                <a:lnTo>
                  <a:pt x="268941" y="669076"/>
                </a:lnTo>
                <a:lnTo>
                  <a:pt x="268088" y="676878"/>
                </a:lnTo>
                <a:lnTo>
                  <a:pt x="270998" y="684978"/>
                </a:lnTo>
                <a:lnTo>
                  <a:pt x="269682" y="682345"/>
                </a:lnTo>
                <a:cubicBezTo>
                  <a:pt x="269682" y="685989"/>
                  <a:pt x="273327" y="689633"/>
                  <a:pt x="273327" y="691455"/>
                </a:cubicBezTo>
                <a:lnTo>
                  <a:pt x="270998" y="684978"/>
                </a:lnTo>
                <a:lnTo>
                  <a:pt x="273327" y="689633"/>
                </a:lnTo>
                <a:cubicBezTo>
                  <a:pt x="275148" y="685989"/>
                  <a:pt x="275148" y="681434"/>
                  <a:pt x="274237" y="676651"/>
                </a:cubicBezTo>
                <a:lnTo>
                  <a:pt x="270019" y="663365"/>
                </a:lnTo>
                <a:lnTo>
                  <a:pt x="269682" y="660707"/>
                </a:lnTo>
                <a:cubicBezTo>
                  <a:pt x="270138" y="655924"/>
                  <a:pt x="272415" y="652279"/>
                  <a:pt x="278793" y="653190"/>
                </a:cubicBezTo>
                <a:cubicBezTo>
                  <a:pt x="269682" y="642257"/>
                  <a:pt x="258749" y="636790"/>
                  <a:pt x="249638" y="625857"/>
                </a:cubicBezTo>
                <a:cubicBezTo>
                  <a:pt x="253282" y="625857"/>
                  <a:pt x="253282" y="627679"/>
                  <a:pt x="255105" y="629501"/>
                </a:cubicBezTo>
                <a:cubicBezTo>
                  <a:pt x="255105" y="625857"/>
                  <a:pt x="260571" y="625857"/>
                  <a:pt x="258749" y="622213"/>
                </a:cubicBezTo>
                <a:cubicBezTo>
                  <a:pt x="258749" y="636790"/>
                  <a:pt x="273327" y="645901"/>
                  <a:pt x="284259" y="653190"/>
                </a:cubicBezTo>
                <a:cubicBezTo>
                  <a:pt x="280615" y="649545"/>
                  <a:pt x="278793" y="645901"/>
                  <a:pt x="276971" y="644079"/>
                </a:cubicBezTo>
                <a:cubicBezTo>
                  <a:pt x="278793" y="645901"/>
                  <a:pt x="278793" y="645901"/>
                  <a:pt x="280615" y="645901"/>
                </a:cubicBezTo>
                <a:cubicBezTo>
                  <a:pt x="278793" y="644079"/>
                  <a:pt x="276971" y="642257"/>
                  <a:pt x="280615" y="640435"/>
                </a:cubicBezTo>
                <a:lnTo>
                  <a:pt x="283463" y="646129"/>
                </a:lnTo>
                <a:lnTo>
                  <a:pt x="284259" y="649545"/>
                </a:lnTo>
                <a:lnTo>
                  <a:pt x="283803" y="646813"/>
                </a:lnTo>
                <a:lnTo>
                  <a:pt x="284259" y="647723"/>
                </a:lnTo>
                <a:lnTo>
                  <a:pt x="284902" y="639801"/>
                </a:lnTo>
                <a:lnTo>
                  <a:pt x="286082" y="647723"/>
                </a:lnTo>
                <a:cubicBezTo>
                  <a:pt x="287904" y="658656"/>
                  <a:pt x="286082" y="664123"/>
                  <a:pt x="297015" y="669589"/>
                </a:cubicBezTo>
                <a:cubicBezTo>
                  <a:pt x="295193" y="665945"/>
                  <a:pt x="291549" y="664123"/>
                  <a:pt x="293370" y="660478"/>
                </a:cubicBezTo>
                <a:cubicBezTo>
                  <a:pt x="298837" y="667767"/>
                  <a:pt x="306126" y="673234"/>
                  <a:pt x="313414" y="678700"/>
                </a:cubicBezTo>
                <a:cubicBezTo>
                  <a:pt x="311592" y="678700"/>
                  <a:pt x="309771" y="676878"/>
                  <a:pt x="311592" y="675056"/>
                </a:cubicBezTo>
                <a:cubicBezTo>
                  <a:pt x="317059" y="676878"/>
                  <a:pt x="320703" y="678700"/>
                  <a:pt x="324347" y="680522"/>
                </a:cubicBezTo>
                <a:cubicBezTo>
                  <a:pt x="324347" y="676878"/>
                  <a:pt x="324347" y="675056"/>
                  <a:pt x="322525" y="675056"/>
                </a:cubicBezTo>
                <a:cubicBezTo>
                  <a:pt x="320703" y="665034"/>
                  <a:pt x="316147" y="655923"/>
                  <a:pt x="309543" y="648635"/>
                </a:cubicBezTo>
                <a:lnTo>
                  <a:pt x="285385" y="633837"/>
                </a:lnTo>
                <a:lnTo>
                  <a:pt x="285626" y="630868"/>
                </a:lnTo>
                <a:cubicBezTo>
                  <a:pt x="285171" y="625402"/>
                  <a:pt x="283348" y="620391"/>
                  <a:pt x="278793" y="616746"/>
                </a:cubicBezTo>
                <a:lnTo>
                  <a:pt x="282171" y="617591"/>
                </a:lnTo>
                <a:lnTo>
                  <a:pt x="284942" y="624263"/>
                </a:lnTo>
                <a:cubicBezTo>
                  <a:pt x="286992" y="629046"/>
                  <a:pt x="289726" y="633146"/>
                  <a:pt x="295193" y="634968"/>
                </a:cubicBezTo>
                <a:cubicBezTo>
                  <a:pt x="297015" y="633146"/>
                  <a:pt x="291549" y="629501"/>
                  <a:pt x="295193" y="627679"/>
                </a:cubicBezTo>
                <a:cubicBezTo>
                  <a:pt x="298837" y="636790"/>
                  <a:pt x="306126" y="644079"/>
                  <a:pt x="313414" y="649545"/>
                </a:cubicBezTo>
                <a:cubicBezTo>
                  <a:pt x="304303" y="629501"/>
                  <a:pt x="289726" y="613103"/>
                  <a:pt x="278793" y="593058"/>
                </a:cubicBezTo>
                <a:cubicBezTo>
                  <a:pt x="276059" y="589414"/>
                  <a:pt x="271959" y="586681"/>
                  <a:pt x="267859" y="583947"/>
                </a:cubicBezTo>
                <a:lnTo>
                  <a:pt x="263958" y="580696"/>
                </a:lnTo>
                <a:lnTo>
                  <a:pt x="258749" y="571876"/>
                </a:lnTo>
                <a:cubicBezTo>
                  <a:pt x="251460" y="560715"/>
                  <a:pt x="243260" y="550237"/>
                  <a:pt x="233239" y="542037"/>
                </a:cubicBezTo>
                <a:cubicBezTo>
                  <a:pt x="235061" y="543860"/>
                  <a:pt x="236883" y="542037"/>
                  <a:pt x="236883" y="543860"/>
                </a:cubicBezTo>
                <a:lnTo>
                  <a:pt x="227690" y="528667"/>
                </a:lnTo>
                <a:lnTo>
                  <a:pt x="238705" y="540215"/>
                </a:lnTo>
                <a:cubicBezTo>
                  <a:pt x="236883" y="521993"/>
                  <a:pt x="225950" y="503771"/>
                  <a:pt x="224128" y="485550"/>
                </a:cubicBezTo>
                <a:cubicBezTo>
                  <a:pt x="236883" y="507417"/>
                  <a:pt x="231416" y="534749"/>
                  <a:pt x="247816" y="554792"/>
                </a:cubicBezTo>
                <a:cubicBezTo>
                  <a:pt x="245994" y="547504"/>
                  <a:pt x="240527" y="543860"/>
                  <a:pt x="242349" y="536571"/>
                </a:cubicBezTo>
                <a:cubicBezTo>
                  <a:pt x="245994" y="556616"/>
                  <a:pt x="262393" y="573014"/>
                  <a:pt x="278793" y="583947"/>
                </a:cubicBezTo>
                <a:lnTo>
                  <a:pt x="271889" y="566622"/>
                </a:lnTo>
                <a:lnTo>
                  <a:pt x="291549" y="587591"/>
                </a:lnTo>
                <a:cubicBezTo>
                  <a:pt x="289726" y="580303"/>
                  <a:pt x="284259" y="573014"/>
                  <a:pt x="280615" y="565725"/>
                </a:cubicBezTo>
                <a:cubicBezTo>
                  <a:pt x="280615" y="565725"/>
                  <a:pt x="278793" y="565725"/>
                  <a:pt x="278793" y="567548"/>
                </a:cubicBezTo>
                <a:cubicBezTo>
                  <a:pt x="276971" y="560260"/>
                  <a:pt x="266038" y="547504"/>
                  <a:pt x="264216" y="538393"/>
                </a:cubicBezTo>
                <a:lnTo>
                  <a:pt x="263953" y="549819"/>
                </a:lnTo>
                <a:lnTo>
                  <a:pt x="247816" y="527461"/>
                </a:lnTo>
                <a:cubicBezTo>
                  <a:pt x="249638" y="529282"/>
                  <a:pt x="251460" y="532926"/>
                  <a:pt x="255105" y="532926"/>
                </a:cubicBezTo>
                <a:cubicBezTo>
                  <a:pt x="251460" y="525638"/>
                  <a:pt x="247816" y="518349"/>
                  <a:pt x="244172" y="507417"/>
                </a:cubicBezTo>
                <a:cubicBezTo>
                  <a:pt x="246906" y="511972"/>
                  <a:pt x="249182" y="516983"/>
                  <a:pt x="251915" y="521766"/>
                </a:cubicBezTo>
                <a:lnTo>
                  <a:pt x="258033" y="529346"/>
                </a:lnTo>
                <a:lnTo>
                  <a:pt x="260571" y="542037"/>
                </a:lnTo>
                <a:lnTo>
                  <a:pt x="261420" y="533544"/>
                </a:lnTo>
                <a:lnTo>
                  <a:pt x="262393" y="534749"/>
                </a:lnTo>
                <a:cubicBezTo>
                  <a:pt x="256927" y="505594"/>
                  <a:pt x="256927" y="474618"/>
                  <a:pt x="240527" y="447284"/>
                </a:cubicBezTo>
                <a:cubicBezTo>
                  <a:pt x="213195" y="403552"/>
                  <a:pt x="194973" y="356176"/>
                  <a:pt x="185862" y="308800"/>
                </a:cubicBezTo>
                <a:cubicBezTo>
                  <a:pt x="198617" y="354354"/>
                  <a:pt x="216839" y="398085"/>
                  <a:pt x="238705" y="439995"/>
                </a:cubicBezTo>
                <a:cubicBezTo>
                  <a:pt x="236883" y="434530"/>
                  <a:pt x="231416" y="425419"/>
                  <a:pt x="233239" y="418129"/>
                </a:cubicBezTo>
                <a:cubicBezTo>
                  <a:pt x="251460" y="478262"/>
                  <a:pt x="267860" y="540215"/>
                  <a:pt x="304303" y="593058"/>
                </a:cubicBezTo>
                <a:cubicBezTo>
                  <a:pt x="306126" y="578481"/>
                  <a:pt x="297015" y="563904"/>
                  <a:pt x="287904" y="552970"/>
                </a:cubicBezTo>
                <a:cubicBezTo>
                  <a:pt x="294281" y="555704"/>
                  <a:pt x="297470" y="560259"/>
                  <a:pt x="300204" y="565043"/>
                </a:cubicBezTo>
                <a:lnTo>
                  <a:pt x="308421" y="576587"/>
                </a:lnTo>
                <a:lnTo>
                  <a:pt x="307948" y="578481"/>
                </a:lnTo>
                <a:cubicBezTo>
                  <a:pt x="308403" y="581214"/>
                  <a:pt x="309771" y="583947"/>
                  <a:pt x="311592" y="585769"/>
                </a:cubicBezTo>
                <a:cubicBezTo>
                  <a:pt x="309771" y="582125"/>
                  <a:pt x="311592" y="576658"/>
                  <a:pt x="309771" y="571192"/>
                </a:cubicBezTo>
                <a:lnTo>
                  <a:pt x="308999" y="574276"/>
                </a:lnTo>
                <a:lnTo>
                  <a:pt x="307265" y="564815"/>
                </a:lnTo>
                <a:cubicBezTo>
                  <a:pt x="307037" y="560260"/>
                  <a:pt x="307037" y="555704"/>
                  <a:pt x="306126" y="551148"/>
                </a:cubicBezTo>
                <a:cubicBezTo>
                  <a:pt x="306126" y="554792"/>
                  <a:pt x="309771" y="560260"/>
                  <a:pt x="309771" y="565725"/>
                </a:cubicBezTo>
                <a:cubicBezTo>
                  <a:pt x="313414" y="543860"/>
                  <a:pt x="297015" y="527461"/>
                  <a:pt x="295193" y="505594"/>
                </a:cubicBezTo>
                <a:cubicBezTo>
                  <a:pt x="302481" y="520171"/>
                  <a:pt x="304303" y="536571"/>
                  <a:pt x="311592" y="551148"/>
                </a:cubicBezTo>
                <a:cubicBezTo>
                  <a:pt x="324347" y="542037"/>
                  <a:pt x="307948" y="529282"/>
                  <a:pt x="307948" y="520171"/>
                </a:cubicBezTo>
                <a:cubicBezTo>
                  <a:pt x="315236" y="534749"/>
                  <a:pt x="326169" y="547504"/>
                  <a:pt x="331636" y="563904"/>
                </a:cubicBezTo>
                <a:cubicBezTo>
                  <a:pt x="327993" y="551148"/>
                  <a:pt x="318882" y="540215"/>
                  <a:pt x="318882" y="527461"/>
                </a:cubicBezTo>
                <a:cubicBezTo>
                  <a:pt x="326169" y="549326"/>
                  <a:pt x="335280" y="573014"/>
                  <a:pt x="353502" y="585769"/>
                </a:cubicBezTo>
                <a:cubicBezTo>
                  <a:pt x="348037" y="569370"/>
                  <a:pt x="327993" y="558437"/>
                  <a:pt x="326169" y="540215"/>
                </a:cubicBezTo>
                <a:cubicBezTo>
                  <a:pt x="333458" y="560260"/>
                  <a:pt x="346213" y="565725"/>
                  <a:pt x="353502" y="583947"/>
                </a:cubicBezTo>
                <a:cubicBezTo>
                  <a:pt x="353502" y="574836"/>
                  <a:pt x="351680" y="567548"/>
                  <a:pt x="348037" y="562081"/>
                </a:cubicBezTo>
                <a:cubicBezTo>
                  <a:pt x="349858" y="563904"/>
                  <a:pt x="349858" y="563904"/>
                  <a:pt x="351680" y="563904"/>
                </a:cubicBezTo>
                <a:cubicBezTo>
                  <a:pt x="351680" y="560260"/>
                  <a:pt x="351680" y="558437"/>
                  <a:pt x="351680" y="554792"/>
                </a:cubicBezTo>
                <a:cubicBezTo>
                  <a:pt x="355324" y="569370"/>
                  <a:pt x="353502" y="585769"/>
                  <a:pt x="368079" y="594880"/>
                </a:cubicBezTo>
                <a:cubicBezTo>
                  <a:pt x="366257" y="591236"/>
                  <a:pt x="366257" y="587591"/>
                  <a:pt x="369902" y="587591"/>
                </a:cubicBezTo>
                <a:cubicBezTo>
                  <a:pt x="373546" y="591236"/>
                  <a:pt x="366257" y="598524"/>
                  <a:pt x="373546" y="603991"/>
                </a:cubicBezTo>
                <a:cubicBezTo>
                  <a:pt x="379012" y="596702"/>
                  <a:pt x="371724" y="589414"/>
                  <a:pt x="371724" y="582125"/>
                </a:cubicBezTo>
                <a:cubicBezTo>
                  <a:pt x="371724" y="583947"/>
                  <a:pt x="373546" y="582125"/>
                  <a:pt x="375368" y="583947"/>
                </a:cubicBezTo>
                <a:cubicBezTo>
                  <a:pt x="371724" y="574836"/>
                  <a:pt x="375368" y="569370"/>
                  <a:pt x="375368" y="560260"/>
                </a:cubicBezTo>
                <a:cubicBezTo>
                  <a:pt x="377190" y="571192"/>
                  <a:pt x="373546" y="583947"/>
                  <a:pt x="386301" y="591236"/>
                </a:cubicBezTo>
                <a:cubicBezTo>
                  <a:pt x="384479" y="549326"/>
                  <a:pt x="379012" y="507417"/>
                  <a:pt x="358969" y="470972"/>
                </a:cubicBezTo>
                <a:cubicBezTo>
                  <a:pt x="340747" y="443640"/>
                  <a:pt x="322525" y="418129"/>
                  <a:pt x="309771" y="387152"/>
                </a:cubicBezTo>
                <a:cubicBezTo>
                  <a:pt x="326169" y="414485"/>
                  <a:pt x="340747" y="443640"/>
                  <a:pt x="360791" y="467328"/>
                </a:cubicBezTo>
                <a:cubicBezTo>
                  <a:pt x="360791" y="465506"/>
                  <a:pt x="360791" y="463684"/>
                  <a:pt x="360791" y="461862"/>
                </a:cubicBezTo>
                <a:cubicBezTo>
                  <a:pt x="366257" y="476439"/>
                  <a:pt x="373546" y="491017"/>
                  <a:pt x="384479" y="501949"/>
                </a:cubicBezTo>
                <a:cubicBezTo>
                  <a:pt x="386301" y="480083"/>
                  <a:pt x="366257" y="469150"/>
                  <a:pt x="362613" y="449107"/>
                </a:cubicBezTo>
                <a:cubicBezTo>
                  <a:pt x="382657" y="483728"/>
                  <a:pt x="399056" y="521993"/>
                  <a:pt x="424567" y="552970"/>
                </a:cubicBezTo>
                <a:cubicBezTo>
                  <a:pt x="419100" y="534749"/>
                  <a:pt x="406345" y="523815"/>
                  <a:pt x="399056" y="505594"/>
                </a:cubicBezTo>
                <a:cubicBezTo>
                  <a:pt x="409989" y="520171"/>
                  <a:pt x="415456" y="536571"/>
                  <a:pt x="426389" y="549326"/>
                </a:cubicBezTo>
                <a:cubicBezTo>
                  <a:pt x="389946" y="480083"/>
                  <a:pt x="355324" y="409019"/>
                  <a:pt x="337102" y="332488"/>
                </a:cubicBezTo>
                <a:cubicBezTo>
                  <a:pt x="362613" y="407196"/>
                  <a:pt x="389946" y="481906"/>
                  <a:pt x="431856" y="549326"/>
                </a:cubicBezTo>
                <a:cubicBezTo>
                  <a:pt x="430034" y="547504"/>
                  <a:pt x="428211" y="543860"/>
                  <a:pt x="426389" y="545681"/>
                </a:cubicBezTo>
                <a:cubicBezTo>
                  <a:pt x="426389" y="556616"/>
                  <a:pt x="428211" y="569370"/>
                  <a:pt x="440966" y="574836"/>
                </a:cubicBezTo>
                <a:lnTo>
                  <a:pt x="437309" y="568740"/>
                </a:lnTo>
                <a:lnTo>
                  <a:pt x="437095" y="558437"/>
                </a:lnTo>
                <a:cubicBezTo>
                  <a:pt x="435501" y="554792"/>
                  <a:pt x="433678" y="551148"/>
                  <a:pt x="435500" y="547504"/>
                </a:cubicBezTo>
                <a:cubicBezTo>
                  <a:pt x="440966" y="565725"/>
                  <a:pt x="440966" y="594880"/>
                  <a:pt x="466478" y="596702"/>
                </a:cubicBezTo>
                <a:cubicBezTo>
                  <a:pt x="464655" y="585769"/>
                  <a:pt x="453722" y="580303"/>
                  <a:pt x="446433" y="574836"/>
                </a:cubicBezTo>
                <a:cubicBezTo>
                  <a:pt x="448256" y="574836"/>
                  <a:pt x="450077" y="578481"/>
                  <a:pt x="453722" y="578481"/>
                </a:cubicBezTo>
                <a:cubicBezTo>
                  <a:pt x="450077" y="573014"/>
                  <a:pt x="448256" y="569370"/>
                  <a:pt x="444611" y="565725"/>
                </a:cubicBezTo>
                <a:cubicBezTo>
                  <a:pt x="455544" y="563904"/>
                  <a:pt x="450077" y="576658"/>
                  <a:pt x="461010" y="580303"/>
                </a:cubicBezTo>
                <a:lnTo>
                  <a:pt x="459796" y="576660"/>
                </a:lnTo>
                <a:lnTo>
                  <a:pt x="461010" y="578481"/>
                </a:lnTo>
                <a:cubicBezTo>
                  <a:pt x="459188" y="576658"/>
                  <a:pt x="459188" y="576658"/>
                  <a:pt x="459188" y="574836"/>
                </a:cubicBezTo>
                <a:lnTo>
                  <a:pt x="459796" y="576660"/>
                </a:lnTo>
                <a:lnTo>
                  <a:pt x="453266" y="566865"/>
                </a:lnTo>
                <a:lnTo>
                  <a:pt x="444594" y="558381"/>
                </a:lnTo>
                <a:lnTo>
                  <a:pt x="441650" y="548643"/>
                </a:lnTo>
                <a:cubicBezTo>
                  <a:pt x="440055" y="545682"/>
                  <a:pt x="438233" y="542948"/>
                  <a:pt x="437322" y="540215"/>
                </a:cubicBezTo>
                <a:cubicBezTo>
                  <a:pt x="440966" y="545681"/>
                  <a:pt x="442789" y="551148"/>
                  <a:pt x="450077" y="552970"/>
                </a:cubicBezTo>
                <a:cubicBezTo>
                  <a:pt x="450077" y="551148"/>
                  <a:pt x="448256" y="551148"/>
                  <a:pt x="448256" y="547504"/>
                </a:cubicBezTo>
                <a:cubicBezTo>
                  <a:pt x="453722" y="556616"/>
                  <a:pt x="459188" y="565725"/>
                  <a:pt x="462832" y="576658"/>
                </a:cubicBezTo>
                <a:cubicBezTo>
                  <a:pt x="462832" y="567548"/>
                  <a:pt x="459188" y="560260"/>
                  <a:pt x="455544" y="552970"/>
                </a:cubicBezTo>
                <a:lnTo>
                  <a:pt x="455544" y="556616"/>
                </a:lnTo>
                <a:cubicBezTo>
                  <a:pt x="455544" y="554792"/>
                  <a:pt x="455544" y="552970"/>
                  <a:pt x="453722" y="551148"/>
                </a:cubicBezTo>
                <a:lnTo>
                  <a:pt x="457367" y="551148"/>
                </a:lnTo>
                <a:cubicBezTo>
                  <a:pt x="453722" y="536571"/>
                  <a:pt x="446433" y="516527"/>
                  <a:pt x="431856" y="511061"/>
                </a:cubicBezTo>
                <a:cubicBezTo>
                  <a:pt x="435500" y="511061"/>
                  <a:pt x="437322" y="511061"/>
                  <a:pt x="439145" y="512882"/>
                </a:cubicBezTo>
                <a:cubicBezTo>
                  <a:pt x="435500" y="509238"/>
                  <a:pt x="433678" y="503771"/>
                  <a:pt x="431856" y="500127"/>
                </a:cubicBezTo>
                <a:cubicBezTo>
                  <a:pt x="440966" y="509238"/>
                  <a:pt x="450077" y="518349"/>
                  <a:pt x="455544" y="529282"/>
                </a:cubicBezTo>
                <a:cubicBezTo>
                  <a:pt x="453722" y="527461"/>
                  <a:pt x="453722" y="523815"/>
                  <a:pt x="453722" y="520171"/>
                </a:cubicBezTo>
                <a:cubicBezTo>
                  <a:pt x="461010" y="543860"/>
                  <a:pt x="477410" y="567548"/>
                  <a:pt x="501098" y="574836"/>
                </a:cubicBezTo>
                <a:cubicBezTo>
                  <a:pt x="490165" y="571192"/>
                  <a:pt x="488343" y="560260"/>
                  <a:pt x="482876" y="552970"/>
                </a:cubicBezTo>
                <a:cubicBezTo>
                  <a:pt x="491987" y="558437"/>
                  <a:pt x="493809" y="569370"/>
                  <a:pt x="502920" y="571192"/>
                </a:cubicBezTo>
                <a:cubicBezTo>
                  <a:pt x="501098" y="569370"/>
                  <a:pt x="499276" y="567548"/>
                  <a:pt x="502920" y="567548"/>
                </a:cubicBezTo>
                <a:cubicBezTo>
                  <a:pt x="504743" y="569370"/>
                  <a:pt x="504743" y="571192"/>
                  <a:pt x="508387" y="571192"/>
                </a:cubicBezTo>
                <a:lnTo>
                  <a:pt x="496707" y="557668"/>
                </a:lnTo>
                <a:lnTo>
                  <a:pt x="491071" y="544988"/>
                </a:lnTo>
                <a:lnTo>
                  <a:pt x="491987" y="545681"/>
                </a:lnTo>
                <a:lnTo>
                  <a:pt x="488204" y="538536"/>
                </a:lnTo>
                <a:lnTo>
                  <a:pt x="486521" y="534749"/>
                </a:lnTo>
                <a:cubicBezTo>
                  <a:pt x="491987" y="536571"/>
                  <a:pt x="493809" y="543860"/>
                  <a:pt x="497454" y="542037"/>
                </a:cubicBezTo>
                <a:cubicBezTo>
                  <a:pt x="499276" y="542037"/>
                  <a:pt x="497454" y="536571"/>
                  <a:pt x="497454" y="532926"/>
                </a:cubicBezTo>
                <a:cubicBezTo>
                  <a:pt x="502920" y="538393"/>
                  <a:pt x="501098" y="545681"/>
                  <a:pt x="506565" y="551148"/>
                </a:cubicBezTo>
                <a:cubicBezTo>
                  <a:pt x="504743" y="549326"/>
                  <a:pt x="501098" y="547504"/>
                  <a:pt x="499276" y="545681"/>
                </a:cubicBezTo>
                <a:cubicBezTo>
                  <a:pt x="495632" y="552970"/>
                  <a:pt x="499276" y="562081"/>
                  <a:pt x="506565" y="563904"/>
                </a:cubicBezTo>
                <a:cubicBezTo>
                  <a:pt x="504743" y="562081"/>
                  <a:pt x="506565" y="560260"/>
                  <a:pt x="506565" y="560260"/>
                </a:cubicBezTo>
                <a:cubicBezTo>
                  <a:pt x="509298" y="562081"/>
                  <a:pt x="510664" y="564815"/>
                  <a:pt x="512259" y="567320"/>
                </a:cubicBezTo>
                <a:lnTo>
                  <a:pt x="512802" y="567758"/>
                </a:lnTo>
                <a:lnTo>
                  <a:pt x="516587" y="575748"/>
                </a:lnTo>
                <a:cubicBezTo>
                  <a:pt x="518864" y="581215"/>
                  <a:pt x="521142" y="586681"/>
                  <a:pt x="524786" y="593058"/>
                </a:cubicBezTo>
                <a:cubicBezTo>
                  <a:pt x="528431" y="587591"/>
                  <a:pt x="519320" y="585769"/>
                  <a:pt x="519320" y="580303"/>
                </a:cubicBezTo>
                <a:cubicBezTo>
                  <a:pt x="519320" y="582125"/>
                  <a:pt x="522964" y="574836"/>
                  <a:pt x="519320" y="573014"/>
                </a:cubicBezTo>
                <a:cubicBezTo>
                  <a:pt x="524786" y="574836"/>
                  <a:pt x="521142" y="582125"/>
                  <a:pt x="526609" y="585769"/>
                </a:cubicBezTo>
                <a:cubicBezTo>
                  <a:pt x="528431" y="580303"/>
                  <a:pt x="527520" y="573925"/>
                  <a:pt x="524331" y="568687"/>
                </a:cubicBezTo>
                <a:lnTo>
                  <a:pt x="514427" y="562320"/>
                </a:lnTo>
                <a:lnTo>
                  <a:pt x="506565" y="552970"/>
                </a:lnTo>
                <a:cubicBezTo>
                  <a:pt x="508387" y="554792"/>
                  <a:pt x="510209" y="554792"/>
                  <a:pt x="512031" y="556616"/>
                </a:cubicBezTo>
                <a:cubicBezTo>
                  <a:pt x="512031" y="551148"/>
                  <a:pt x="510209" y="545681"/>
                  <a:pt x="508387" y="540215"/>
                </a:cubicBezTo>
                <a:lnTo>
                  <a:pt x="512031" y="540215"/>
                </a:lnTo>
                <a:cubicBezTo>
                  <a:pt x="512031" y="531105"/>
                  <a:pt x="506565" y="523815"/>
                  <a:pt x="501098" y="514705"/>
                </a:cubicBezTo>
                <a:cubicBezTo>
                  <a:pt x="502920" y="516527"/>
                  <a:pt x="504743" y="518349"/>
                  <a:pt x="508387" y="520171"/>
                </a:cubicBezTo>
                <a:cubicBezTo>
                  <a:pt x="506565" y="512882"/>
                  <a:pt x="504743" y="501949"/>
                  <a:pt x="497454" y="496483"/>
                </a:cubicBezTo>
                <a:cubicBezTo>
                  <a:pt x="501098" y="498306"/>
                  <a:pt x="502920" y="500127"/>
                  <a:pt x="504743" y="501949"/>
                </a:cubicBezTo>
                <a:cubicBezTo>
                  <a:pt x="491987" y="481906"/>
                  <a:pt x="488343" y="460039"/>
                  <a:pt x="475589" y="439995"/>
                </a:cubicBezTo>
                <a:cubicBezTo>
                  <a:pt x="482876" y="447284"/>
                  <a:pt x="486521" y="456395"/>
                  <a:pt x="495632" y="461862"/>
                </a:cubicBezTo>
                <a:lnTo>
                  <a:pt x="500985" y="469222"/>
                </a:lnTo>
                <a:lnTo>
                  <a:pt x="501554" y="470973"/>
                </a:lnTo>
                <a:cubicBezTo>
                  <a:pt x="504288" y="477350"/>
                  <a:pt x="507476" y="483728"/>
                  <a:pt x="510209" y="489194"/>
                </a:cubicBezTo>
                <a:cubicBezTo>
                  <a:pt x="511120" y="486461"/>
                  <a:pt x="508842" y="482817"/>
                  <a:pt x="506337" y="479173"/>
                </a:cubicBezTo>
                <a:lnTo>
                  <a:pt x="501520" y="469958"/>
                </a:lnTo>
                <a:lnTo>
                  <a:pt x="512452" y="484990"/>
                </a:lnTo>
                <a:lnTo>
                  <a:pt x="520811" y="496484"/>
                </a:lnTo>
                <a:lnTo>
                  <a:pt x="524786" y="511061"/>
                </a:lnTo>
                <a:cubicBezTo>
                  <a:pt x="522964" y="518349"/>
                  <a:pt x="522964" y="525638"/>
                  <a:pt x="526609" y="532926"/>
                </a:cubicBezTo>
                <a:lnTo>
                  <a:pt x="528431" y="531105"/>
                </a:lnTo>
                <a:cubicBezTo>
                  <a:pt x="532075" y="538393"/>
                  <a:pt x="532075" y="545681"/>
                  <a:pt x="537542" y="551148"/>
                </a:cubicBezTo>
                <a:cubicBezTo>
                  <a:pt x="546653" y="542037"/>
                  <a:pt x="530253" y="520171"/>
                  <a:pt x="524786" y="511061"/>
                </a:cubicBezTo>
                <a:cubicBezTo>
                  <a:pt x="526609" y="509238"/>
                  <a:pt x="524786" y="507417"/>
                  <a:pt x="526609" y="507417"/>
                </a:cubicBezTo>
                <a:cubicBezTo>
                  <a:pt x="528431" y="507417"/>
                  <a:pt x="526609" y="509238"/>
                  <a:pt x="528431" y="511061"/>
                </a:cubicBezTo>
                <a:cubicBezTo>
                  <a:pt x="531165" y="507416"/>
                  <a:pt x="530253" y="503316"/>
                  <a:pt x="527975" y="499672"/>
                </a:cubicBezTo>
                <a:lnTo>
                  <a:pt x="523571" y="495268"/>
                </a:lnTo>
                <a:lnTo>
                  <a:pt x="521142" y="481906"/>
                </a:lnTo>
                <a:cubicBezTo>
                  <a:pt x="521142" y="481906"/>
                  <a:pt x="522964" y="481906"/>
                  <a:pt x="524786" y="480083"/>
                </a:cubicBezTo>
                <a:cubicBezTo>
                  <a:pt x="515676" y="465506"/>
                  <a:pt x="501098" y="458218"/>
                  <a:pt x="495632" y="441819"/>
                </a:cubicBezTo>
                <a:cubicBezTo>
                  <a:pt x="502920" y="450928"/>
                  <a:pt x="506565" y="458218"/>
                  <a:pt x="517498" y="465506"/>
                </a:cubicBezTo>
                <a:cubicBezTo>
                  <a:pt x="512943" y="453663"/>
                  <a:pt x="505198" y="445463"/>
                  <a:pt x="497226" y="437491"/>
                </a:cubicBezTo>
                <a:lnTo>
                  <a:pt x="487454" y="425455"/>
                </a:lnTo>
                <a:lnTo>
                  <a:pt x="497454" y="434530"/>
                </a:lnTo>
                <a:cubicBezTo>
                  <a:pt x="490165" y="423596"/>
                  <a:pt x="484700" y="410841"/>
                  <a:pt x="475589" y="399908"/>
                </a:cubicBezTo>
                <a:cubicBezTo>
                  <a:pt x="490165" y="414485"/>
                  <a:pt x="491987" y="434530"/>
                  <a:pt x="510209" y="445463"/>
                </a:cubicBezTo>
                <a:cubicBezTo>
                  <a:pt x="508387" y="432707"/>
                  <a:pt x="501098" y="419952"/>
                  <a:pt x="497454" y="407196"/>
                </a:cubicBezTo>
                <a:cubicBezTo>
                  <a:pt x="499276" y="416308"/>
                  <a:pt x="506565" y="421775"/>
                  <a:pt x="508387" y="430886"/>
                </a:cubicBezTo>
                <a:lnTo>
                  <a:pt x="510209" y="429063"/>
                </a:lnTo>
                <a:cubicBezTo>
                  <a:pt x="512031" y="432707"/>
                  <a:pt x="513853" y="438174"/>
                  <a:pt x="517498" y="441819"/>
                </a:cubicBezTo>
                <a:cubicBezTo>
                  <a:pt x="519320" y="449107"/>
                  <a:pt x="521142" y="454574"/>
                  <a:pt x="522964" y="460039"/>
                </a:cubicBezTo>
                <a:cubicBezTo>
                  <a:pt x="515676" y="454574"/>
                  <a:pt x="517498" y="439995"/>
                  <a:pt x="512031" y="434530"/>
                </a:cubicBezTo>
                <a:cubicBezTo>
                  <a:pt x="508387" y="450928"/>
                  <a:pt x="521142" y="465506"/>
                  <a:pt x="530253" y="478262"/>
                </a:cubicBezTo>
                <a:cubicBezTo>
                  <a:pt x="532075" y="465506"/>
                  <a:pt x="526609" y="456395"/>
                  <a:pt x="519320" y="445463"/>
                </a:cubicBezTo>
                <a:cubicBezTo>
                  <a:pt x="522964" y="449107"/>
                  <a:pt x="524786" y="452751"/>
                  <a:pt x="528431" y="454574"/>
                </a:cubicBezTo>
                <a:cubicBezTo>
                  <a:pt x="528431" y="452751"/>
                  <a:pt x="528431" y="450928"/>
                  <a:pt x="528431" y="447284"/>
                </a:cubicBezTo>
                <a:cubicBezTo>
                  <a:pt x="535719" y="452751"/>
                  <a:pt x="533897" y="458218"/>
                  <a:pt x="533897" y="465506"/>
                </a:cubicBezTo>
                <a:lnTo>
                  <a:pt x="533897" y="467328"/>
                </a:lnTo>
                <a:cubicBezTo>
                  <a:pt x="535719" y="469150"/>
                  <a:pt x="534808" y="471884"/>
                  <a:pt x="534125" y="474845"/>
                </a:cubicBezTo>
                <a:lnTo>
                  <a:pt x="534199" y="475260"/>
                </a:lnTo>
                <a:lnTo>
                  <a:pt x="532075" y="472795"/>
                </a:lnTo>
                <a:cubicBezTo>
                  <a:pt x="528431" y="480083"/>
                  <a:pt x="532075" y="487373"/>
                  <a:pt x="539364" y="487373"/>
                </a:cubicBezTo>
                <a:cubicBezTo>
                  <a:pt x="546653" y="483728"/>
                  <a:pt x="543008" y="472795"/>
                  <a:pt x="552119" y="474618"/>
                </a:cubicBezTo>
                <a:cubicBezTo>
                  <a:pt x="544830" y="480083"/>
                  <a:pt x="539364" y="489194"/>
                  <a:pt x="543008" y="500127"/>
                </a:cubicBezTo>
                <a:cubicBezTo>
                  <a:pt x="544830" y="500127"/>
                  <a:pt x="543008" y="498306"/>
                  <a:pt x="544830" y="496483"/>
                </a:cubicBezTo>
                <a:lnTo>
                  <a:pt x="547948" y="506228"/>
                </a:lnTo>
                <a:lnTo>
                  <a:pt x="543691" y="526094"/>
                </a:lnTo>
                <a:cubicBezTo>
                  <a:pt x="544375" y="533838"/>
                  <a:pt x="547563" y="541126"/>
                  <a:pt x="553941" y="545681"/>
                </a:cubicBezTo>
                <a:cubicBezTo>
                  <a:pt x="555763" y="540215"/>
                  <a:pt x="552119" y="534749"/>
                  <a:pt x="550297" y="529282"/>
                </a:cubicBezTo>
                <a:cubicBezTo>
                  <a:pt x="559408" y="531105"/>
                  <a:pt x="555763" y="542037"/>
                  <a:pt x="557586" y="547504"/>
                </a:cubicBezTo>
                <a:cubicBezTo>
                  <a:pt x="559408" y="551148"/>
                  <a:pt x="559408" y="547504"/>
                  <a:pt x="557586" y="545681"/>
                </a:cubicBezTo>
                <a:cubicBezTo>
                  <a:pt x="559408" y="547504"/>
                  <a:pt x="561230" y="549326"/>
                  <a:pt x="561230" y="552970"/>
                </a:cubicBezTo>
                <a:lnTo>
                  <a:pt x="559303" y="541706"/>
                </a:lnTo>
                <a:lnTo>
                  <a:pt x="559408" y="542037"/>
                </a:lnTo>
                <a:cubicBezTo>
                  <a:pt x="564874" y="540215"/>
                  <a:pt x="561230" y="536571"/>
                  <a:pt x="559408" y="532926"/>
                </a:cubicBezTo>
                <a:lnTo>
                  <a:pt x="563052" y="532926"/>
                </a:lnTo>
                <a:cubicBezTo>
                  <a:pt x="564874" y="532926"/>
                  <a:pt x="564874" y="531105"/>
                  <a:pt x="564874" y="531105"/>
                </a:cubicBezTo>
                <a:cubicBezTo>
                  <a:pt x="564874" y="531105"/>
                  <a:pt x="566697" y="529282"/>
                  <a:pt x="566697" y="527461"/>
                </a:cubicBezTo>
                <a:cubicBezTo>
                  <a:pt x="566697" y="527461"/>
                  <a:pt x="566697" y="525638"/>
                  <a:pt x="566697" y="525638"/>
                </a:cubicBezTo>
                <a:cubicBezTo>
                  <a:pt x="570341" y="527461"/>
                  <a:pt x="572163" y="531105"/>
                  <a:pt x="575808" y="532926"/>
                </a:cubicBezTo>
                <a:cubicBezTo>
                  <a:pt x="575808" y="525638"/>
                  <a:pt x="573985" y="518349"/>
                  <a:pt x="573985" y="511061"/>
                </a:cubicBezTo>
                <a:cubicBezTo>
                  <a:pt x="575808" y="521993"/>
                  <a:pt x="578540" y="532471"/>
                  <a:pt x="580135" y="542948"/>
                </a:cubicBezTo>
                <a:lnTo>
                  <a:pt x="579492" y="572974"/>
                </a:lnTo>
                <a:lnTo>
                  <a:pt x="577630" y="574836"/>
                </a:lnTo>
                <a:lnTo>
                  <a:pt x="579460" y="574470"/>
                </a:lnTo>
                <a:lnTo>
                  <a:pt x="579452" y="574836"/>
                </a:lnTo>
                <a:lnTo>
                  <a:pt x="579623" y="574438"/>
                </a:lnTo>
                <a:lnTo>
                  <a:pt x="581046" y="574153"/>
                </a:lnTo>
                <a:cubicBezTo>
                  <a:pt x="582185" y="573470"/>
                  <a:pt x="583096" y="573015"/>
                  <a:pt x="583096" y="574836"/>
                </a:cubicBezTo>
                <a:cubicBezTo>
                  <a:pt x="584919" y="574836"/>
                  <a:pt x="588562" y="569370"/>
                  <a:pt x="584919" y="567548"/>
                </a:cubicBezTo>
                <a:lnTo>
                  <a:pt x="580819" y="571647"/>
                </a:lnTo>
                <a:lnTo>
                  <a:pt x="584919" y="562081"/>
                </a:lnTo>
                <a:cubicBezTo>
                  <a:pt x="583096" y="567548"/>
                  <a:pt x="584919" y="571192"/>
                  <a:pt x="588562" y="573014"/>
                </a:cubicBezTo>
                <a:cubicBezTo>
                  <a:pt x="588562" y="571192"/>
                  <a:pt x="590385" y="569370"/>
                  <a:pt x="592207" y="571192"/>
                </a:cubicBezTo>
                <a:cubicBezTo>
                  <a:pt x="594030" y="576658"/>
                  <a:pt x="588562" y="578481"/>
                  <a:pt x="590385" y="583947"/>
                </a:cubicBezTo>
                <a:lnTo>
                  <a:pt x="591959" y="581462"/>
                </a:lnTo>
                <a:lnTo>
                  <a:pt x="590840" y="586681"/>
                </a:lnTo>
                <a:cubicBezTo>
                  <a:pt x="591296" y="588959"/>
                  <a:pt x="592207" y="591236"/>
                  <a:pt x="592207" y="593058"/>
                </a:cubicBezTo>
                <a:cubicBezTo>
                  <a:pt x="594030" y="591236"/>
                  <a:pt x="594030" y="593058"/>
                  <a:pt x="595852" y="591236"/>
                </a:cubicBezTo>
                <a:lnTo>
                  <a:pt x="592374" y="580805"/>
                </a:lnTo>
                <a:lnTo>
                  <a:pt x="595267" y="576236"/>
                </a:lnTo>
                <a:lnTo>
                  <a:pt x="594030" y="580303"/>
                </a:lnTo>
                <a:cubicBezTo>
                  <a:pt x="595852" y="580303"/>
                  <a:pt x="597673" y="580303"/>
                  <a:pt x="595852" y="576658"/>
                </a:cubicBezTo>
                <a:cubicBezTo>
                  <a:pt x="601318" y="583947"/>
                  <a:pt x="604963" y="587591"/>
                  <a:pt x="608606" y="594880"/>
                </a:cubicBezTo>
                <a:cubicBezTo>
                  <a:pt x="608606" y="596702"/>
                  <a:pt x="608606" y="598524"/>
                  <a:pt x="608606" y="600347"/>
                </a:cubicBezTo>
                <a:cubicBezTo>
                  <a:pt x="617717" y="594880"/>
                  <a:pt x="608606" y="587591"/>
                  <a:pt x="603140" y="582125"/>
                </a:cubicBezTo>
                <a:cubicBezTo>
                  <a:pt x="608606" y="582125"/>
                  <a:pt x="608606" y="585769"/>
                  <a:pt x="610429" y="587591"/>
                </a:cubicBezTo>
                <a:cubicBezTo>
                  <a:pt x="610429" y="583947"/>
                  <a:pt x="608606" y="582125"/>
                  <a:pt x="608606" y="578481"/>
                </a:cubicBezTo>
                <a:cubicBezTo>
                  <a:pt x="612251" y="580303"/>
                  <a:pt x="612251" y="582125"/>
                  <a:pt x="614074" y="585769"/>
                </a:cubicBezTo>
                <a:lnTo>
                  <a:pt x="614074" y="582125"/>
                </a:lnTo>
                <a:cubicBezTo>
                  <a:pt x="617717" y="585769"/>
                  <a:pt x="614074" y="594880"/>
                  <a:pt x="621362" y="598524"/>
                </a:cubicBezTo>
                <a:cubicBezTo>
                  <a:pt x="623185" y="585769"/>
                  <a:pt x="612251" y="573014"/>
                  <a:pt x="603140" y="562081"/>
                </a:cubicBezTo>
                <a:lnTo>
                  <a:pt x="602576" y="562819"/>
                </a:lnTo>
                <a:lnTo>
                  <a:pt x="604279" y="544543"/>
                </a:lnTo>
                <a:cubicBezTo>
                  <a:pt x="602684" y="530649"/>
                  <a:pt x="595852" y="516527"/>
                  <a:pt x="586741" y="503771"/>
                </a:cubicBezTo>
                <a:cubicBezTo>
                  <a:pt x="592207" y="503771"/>
                  <a:pt x="594030" y="507417"/>
                  <a:pt x="595852" y="511061"/>
                </a:cubicBezTo>
                <a:cubicBezTo>
                  <a:pt x="595852" y="507417"/>
                  <a:pt x="594030" y="505594"/>
                  <a:pt x="594030" y="501949"/>
                </a:cubicBezTo>
                <a:cubicBezTo>
                  <a:pt x="601318" y="507417"/>
                  <a:pt x="601318" y="523815"/>
                  <a:pt x="608606" y="518349"/>
                </a:cubicBezTo>
                <a:cubicBezTo>
                  <a:pt x="604963" y="520171"/>
                  <a:pt x="608606" y="529282"/>
                  <a:pt x="608606" y="534749"/>
                </a:cubicBezTo>
                <a:cubicBezTo>
                  <a:pt x="610429" y="531105"/>
                  <a:pt x="608606" y="523815"/>
                  <a:pt x="608606" y="518349"/>
                </a:cubicBezTo>
                <a:lnTo>
                  <a:pt x="609584" y="513543"/>
                </a:lnTo>
                <a:lnTo>
                  <a:pt x="612251" y="540215"/>
                </a:lnTo>
                <a:lnTo>
                  <a:pt x="620922" y="523634"/>
                </a:lnTo>
                <a:lnTo>
                  <a:pt x="618144" y="534009"/>
                </a:lnTo>
                <a:cubicBezTo>
                  <a:pt x="611567" y="545796"/>
                  <a:pt x="598584" y="557070"/>
                  <a:pt x="612251" y="569370"/>
                </a:cubicBezTo>
                <a:cubicBezTo>
                  <a:pt x="612251" y="565725"/>
                  <a:pt x="614074" y="565725"/>
                  <a:pt x="615895" y="563904"/>
                </a:cubicBezTo>
                <a:cubicBezTo>
                  <a:pt x="614074" y="573014"/>
                  <a:pt x="621362" y="573014"/>
                  <a:pt x="625006" y="580303"/>
                </a:cubicBezTo>
                <a:cubicBezTo>
                  <a:pt x="630472" y="571192"/>
                  <a:pt x="619539" y="563904"/>
                  <a:pt x="621362" y="554792"/>
                </a:cubicBezTo>
                <a:cubicBezTo>
                  <a:pt x="623185" y="558437"/>
                  <a:pt x="623185" y="560260"/>
                  <a:pt x="626828" y="562081"/>
                </a:cubicBezTo>
                <a:cubicBezTo>
                  <a:pt x="626828" y="560260"/>
                  <a:pt x="621362" y="552970"/>
                  <a:pt x="628650" y="552970"/>
                </a:cubicBezTo>
                <a:cubicBezTo>
                  <a:pt x="626828" y="554792"/>
                  <a:pt x="626828" y="556616"/>
                  <a:pt x="628650" y="558437"/>
                </a:cubicBezTo>
                <a:cubicBezTo>
                  <a:pt x="635939" y="549326"/>
                  <a:pt x="625006" y="543860"/>
                  <a:pt x="623185" y="534749"/>
                </a:cubicBezTo>
                <a:cubicBezTo>
                  <a:pt x="625006" y="538393"/>
                  <a:pt x="628650" y="540215"/>
                  <a:pt x="630472" y="543860"/>
                </a:cubicBezTo>
                <a:lnTo>
                  <a:pt x="630028" y="535861"/>
                </a:lnTo>
                <a:lnTo>
                  <a:pt x="630472" y="536571"/>
                </a:lnTo>
                <a:cubicBezTo>
                  <a:pt x="628650" y="534749"/>
                  <a:pt x="628650" y="531105"/>
                  <a:pt x="626828" y="527461"/>
                </a:cubicBezTo>
                <a:cubicBezTo>
                  <a:pt x="627739" y="530193"/>
                  <a:pt x="629106" y="532927"/>
                  <a:pt x="630017" y="535660"/>
                </a:cubicBezTo>
                <a:lnTo>
                  <a:pt x="630028" y="535861"/>
                </a:lnTo>
                <a:lnTo>
                  <a:pt x="621590" y="522358"/>
                </a:lnTo>
                <a:lnTo>
                  <a:pt x="621732" y="522087"/>
                </a:lnTo>
                <a:cubicBezTo>
                  <a:pt x="624125" y="515659"/>
                  <a:pt x="625234" y="509039"/>
                  <a:pt x="623526" y="502804"/>
                </a:cubicBezTo>
                <a:lnTo>
                  <a:pt x="620803" y="498599"/>
                </a:lnTo>
                <a:lnTo>
                  <a:pt x="615895" y="491017"/>
                </a:lnTo>
                <a:cubicBezTo>
                  <a:pt x="612251" y="483728"/>
                  <a:pt x="612251" y="474618"/>
                  <a:pt x="604963" y="467328"/>
                </a:cubicBezTo>
                <a:lnTo>
                  <a:pt x="608008" y="497784"/>
                </a:lnTo>
                <a:lnTo>
                  <a:pt x="603140" y="487373"/>
                </a:lnTo>
                <a:lnTo>
                  <a:pt x="606784" y="487373"/>
                </a:lnTo>
                <a:cubicBezTo>
                  <a:pt x="606784" y="470972"/>
                  <a:pt x="601318" y="458218"/>
                  <a:pt x="594030" y="443640"/>
                </a:cubicBezTo>
                <a:cubicBezTo>
                  <a:pt x="595852" y="447284"/>
                  <a:pt x="599496" y="449107"/>
                  <a:pt x="601318" y="452751"/>
                </a:cubicBezTo>
                <a:cubicBezTo>
                  <a:pt x="597673" y="443640"/>
                  <a:pt x="594030" y="432707"/>
                  <a:pt x="595852" y="421775"/>
                </a:cubicBezTo>
                <a:cubicBezTo>
                  <a:pt x="597673" y="447284"/>
                  <a:pt x="610429" y="470972"/>
                  <a:pt x="621362" y="494662"/>
                </a:cubicBezTo>
                <a:cubicBezTo>
                  <a:pt x="626828" y="489194"/>
                  <a:pt x="614074" y="485550"/>
                  <a:pt x="619539" y="478262"/>
                </a:cubicBezTo>
                <a:cubicBezTo>
                  <a:pt x="617717" y="483728"/>
                  <a:pt x="619539" y="487373"/>
                  <a:pt x="623185" y="489194"/>
                </a:cubicBezTo>
                <a:cubicBezTo>
                  <a:pt x="623185" y="485550"/>
                  <a:pt x="623185" y="483728"/>
                  <a:pt x="625006" y="481906"/>
                </a:cubicBezTo>
                <a:cubicBezTo>
                  <a:pt x="625006" y="494662"/>
                  <a:pt x="625006" y="509238"/>
                  <a:pt x="635939" y="520171"/>
                </a:cubicBezTo>
                <a:cubicBezTo>
                  <a:pt x="639583" y="514705"/>
                  <a:pt x="635939" y="507417"/>
                  <a:pt x="639583" y="501949"/>
                </a:cubicBezTo>
                <a:cubicBezTo>
                  <a:pt x="641407" y="505594"/>
                  <a:pt x="643228" y="505594"/>
                  <a:pt x="645050" y="509238"/>
                </a:cubicBezTo>
                <a:lnTo>
                  <a:pt x="645050" y="505594"/>
                </a:lnTo>
                <a:lnTo>
                  <a:pt x="646302" y="508096"/>
                </a:lnTo>
                <a:lnTo>
                  <a:pt x="647778" y="515353"/>
                </a:lnTo>
                <a:lnTo>
                  <a:pt x="641178" y="533154"/>
                </a:lnTo>
                <a:cubicBezTo>
                  <a:pt x="640495" y="540215"/>
                  <a:pt x="641406" y="547504"/>
                  <a:pt x="643228" y="554792"/>
                </a:cubicBezTo>
                <a:cubicBezTo>
                  <a:pt x="644139" y="546593"/>
                  <a:pt x="648239" y="537026"/>
                  <a:pt x="650289" y="527688"/>
                </a:cubicBezTo>
                <a:lnTo>
                  <a:pt x="647778" y="515353"/>
                </a:lnTo>
                <a:lnTo>
                  <a:pt x="648694" y="512882"/>
                </a:lnTo>
                <a:lnTo>
                  <a:pt x="646302" y="508096"/>
                </a:lnTo>
                <a:lnTo>
                  <a:pt x="645050" y="501949"/>
                </a:lnTo>
                <a:lnTo>
                  <a:pt x="646872" y="503771"/>
                </a:lnTo>
                <a:cubicBezTo>
                  <a:pt x="646872" y="501949"/>
                  <a:pt x="646872" y="500127"/>
                  <a:pt x="645050" y="498306"/>
                </a:cubicBezTo>
                <a:cubicBezTo>
                  <a:pt x="646872" y="500127"/>
                  <a:pt x="648694" y="501949"/>
                  <a:pt x="652339" y="503771"/>
                </a:cubicBezTo>
                <a:lnTo>
                  <a:pt x="652339" y="507417"/>
                </a:lnTo>
                <a:cubicBezTo>
                  <a:pt x="659627" y="503771"/>
                  <a:pt x="654161" y="496483"/>
                  <a:pt x="655983" y="492838"/>
                </a:cubicBezTo>
                <a:cubicBezTo>
                  <a:pt x="655983" y="494662"/>
                  <a:pt x="655983" y="494662"/>
                  <a:pt x="655983" y="494662"/>
                </a:cubicBezTo>
                <a:cubicBezTo>
                  <a:pt x="657805" y="478262"/>
                  <a:pt x="657805" y="461862"/>
                  <a:pt x="654161" y="445463"/>
                </a:cubicBezTo>
                <a:cubicBezTo>
                  <a:pt x="657805" y="452751"/>
                  <a:pt x="655983" y="460039"/>
                  <a:pt x="661449" y="465506"/>
                </a:cubicBezTo>
                <a:cubicBezTo>
                  <a:pt x="661449" y="463684"/>
                  <a:pt x="661449" y="463684"/>
                  <a:pt x="661449" y="461862"/>
                </a:cubicBezTo>
                <a:lnTo>
                  <a:pt x="663854" y="488313"/>
                </a:lnTo>
                <a:lnTo>
                  <a:pt x="661449" y="476439"/>
                </a:lnTo>
                <a:cubicBezTo>
                  <a:pt x="661449" y="487373"/>
                  <a:pt x="657805" y="498306"/>
                  <a:pt x="663272" y="511061"/>
                </a:cubicBezTo>
                <a:lnTo>
                  <a:pt x="664720" y="497841"/>
                </a:lnTo>
                <a:lnTo>
                  <a:pt x="665094" y="501949"/>
                </a:lnTo>
                <a:cubicBezTo>
                  <a:pt x="672383" y="489194"/>
                  <a:pt x="672383" y="472795"/>
                  <a:pt x="683316" y="461862"/>
                </a:cubicBezTo>
                <a:cubicBezTo>
                  <a:pt x="685138" y="470972"/>
                  <a:pt x="676027" y="474618"/>
                  <a:pt x="676027" y="483728"/>
                </a:cubicBezTo>
                <a:lnTo>
                  <a:pt x="674205" y="481906"/>
                </a:lnTo>
                <a:cubicBezTo>
                  <a:pt x="673294" y="488283"/>
                  <a:pt x="670560" y="495230"/>
                  <a:pt x="667400" y="502348"/>
                </a:cubicBezTo>
                <a:lnTo>
                  <a:pt x="660350" y="518504"/>
                </a:lnTo>
                <a:lnTo>
                  <a:pt x="657805" y="505594"/>
                </a:lnTo>
                <a:cubicBezTo>
                  <a:pt x="657805" y="507417"/>
                  <a:pt x="657805" y="511061"/>
                  <a:pt x="654161" y="512882"/>
                </a:cubicBezTo>
                <a:cubicBezTo>
                  <a:pt x="654161" y="521993"/>
                  <a:pt x="646872" y="532926"/>
                  <a:pt x="652339" y="542037"/>
                </a:cubicBezTo>
                <a:cubicBezTo>
                  <a:pt x="654161" y="538393"/>
                  <a:pt x="654161" y="536571"/>
                  <a:pt x="654161" y="532926"/>
                </a:cubicBezTo>
                <a:lnTo>
                  <a:pt x="655830" y="536263"/>
                </a:lnTo>
                <a:lnTo>
                  <a:pt x="654474" y="543917"/>
                </a:lnTo>
                <a:lnTo>
                  <a:pt x="654567" y="544059"/>
                </a:lnTo>
                <a:lnTo>
                  <a:pt x="665094" y="560260"/>
                </a:lnTo>
                <a:cubicBezTo>
                  <a:pt x="665094" y="556616"/>
                  <a:pt x="661449" y="554792"/>
                  <a:pt x="659627" y="551148"/>
                </a:cubicBezTo>
                <a:cubicBezTo>
                  <a:pt x="661449" y="552970"/>
                  <a:pt x="663272" y="552970"/>
                  <a:pt x="665094" y="554792"/>
                </a:cubicBezTo>
                <a:cubicBezTo>
                  <a:pt x="663272" y="552970"/>
                  <a:pt x="665094" y="552970"/>
                  <a:pt x="666916" y="551148"/>
                </a:cubicBezTo>
                <a:cubicBezTo>
                  <a:pt x="666916" y="552970"/>
                  <a:pt x="666916" y="554792"/>
                  <a:pt x="668738" y="556616"/>
                </a:cubicBezTo>
                <a:lnTo>
                  <a:pt x="666202" y="566252"/>
                </a:lnTo>
                <a:lnTo>
                  <a:pt x="661449" y="560260"/>
                </a:lnTo>
                <a:cubicBezTo>
                  <a:pt x="660539" y="562992"/>
                  <a:pt x="660994" y="566181"/>
                  <a:pt x="661905" y="568914"/>
                </a:cubicBezTo>
                <a:lnTo>
                  <a:pt x="664321" y="573401"/>
                </a:lnTo>
                <a:lnTo>
                  <a:pt x="664183" y="573926"/>
                </a:lnTo>
                <a:lnTo>
                  <a:pt x="664289" y="575946"/>
                </a:lnTo>
                <a:lnTo>
                  <a:pt x="663272" y="574836"/>
                </a:lnTo>
                <a:lnTo>
                  <a:pt x="664411" y="578253"/>
                </a:lnTo>
                <a:lnTo>
                  <a:pt x="664533" y="580584"/>
                </a:lnTo>
                <a:lnTo>
                  <a:pt x="663744" y="580978"/>
                </a:lnTo>
                <a:lnTo>
                  <a:pt x="662360" y="572331"/>
                </a:lnTo>
                <a:cubicBezTo>
                  <a:pt x="660083" y="567093"/>
                  <a:pt x="656894" y="562082"/>
                  <a:pt x="654161" y="556616"/>
                </a:cubicBezTo>
                <a:lnTo>
                  <a:pt x="653522" y="557896"/>
                </a:lnTo>
                <a:lnTo>
                  <a:pt x="652339" y="554792"/>
                </a:lnTo>
                <a:lnTo>
                  <a:pt x="650972" y="562994"/>
                </a:lnTo>
                <a:lnTo>
                  <a:pt x="648580" y="567777"/>
                </a:lnTo>
                <a:lnTo>
                  <a:pt x="648694" y="565725"/>
                </a:lnTo>
                <a:cubicBezTo>
                  <a:pt x="646872" y="567548"/>
                  <a:pt x="648694" y="569370"/>
                  <a:pt x="646872" y="571192"/>
                </a:cubicBezTo>
                <a:cubicBezTo>
                  <a:pt x="655983" y="580303"/>
                  <a:pt x="657805" y="587591"/>
                  <a:pt x="661449" y="598524"/>
                </a:cubicBezTo>
                <a:cubicBezTo>
                  <a:pt x="663272" y="593058"/>
                  <a:pt x="668738" y="594880"/>
                  <a:pt x="661449" y="589414"/>
                </a:cubicBezTo>
                <a:lnTo>
                  <a:pt x="664998" y="589414"/>
                </a:lnTo>
                <a:lnTo>
                  <a:pt x="665094" y="591236"/>
                </a:lnTo>
                <a:cubicBezTo>
                  <a:pt x="665094" y="594880"/>
                  <a:pt x="668738" y="594880"/>
                  <a:pt x="672383" y="594880"/>
                </a:cubicBezTo>
                <a:cubicBezTo>
                  <a:pt x="670560" y="591236"/>
                  <a:pt x="665094" y="587591"/>
                  <a:pt x="668738" y="587591"/>
                </a:cubicBezTo>
                <a:cubicBezTo>
                  <a:pt x="672383" y="582125"/>
                  <a:pt x="670560" y="594880"/>
                  <a:pt x="676027" y="593058"/>
                </a:cubicBezTo>
                <a:cubicBezTo>
                  <a:pt x="676027" y="593058"/>
                  <a:pt x="676027" y="594880"/>
                  <a:pt x="677849" y="596702"/>
                </a:cubicBezTo>
                <a:cubicBezTo>
                  <a:pt x="679671" y="594880"/>
                  <a:pt x="677849" y="594880"/>
                  <a:pt x="679671" y="593058"/>
                </a:cubicBezTo>
                <a:cubicBezTo>
                  <a:pt x="679671" y="593058"/>
                  <a:pt x="677849" y="591236"/>
                  <a:pt x="676027" y="591236"/>
                </a:cubicBezTo>
                <a:cubicBezTo>
                  <a:pt x="676027" y="591236"/>
                  <a:pt x="676027" y="589414"/>
                  <a:pt x="674205" y="587591"/>
                </a:cubicBezTo>
                <a:lnTo>
                  <a:pt x="664687" y="583513"/>
                </a:lnTo>
                <a:lnTo>
                  <a:pt x="664533" y="580584"/>
                </a:lnTo>
                <a:lnTo>
                  <a:pt x="665094" y="580303"/>
                </a:lnTo>
                <a:lnTo>
                  <a:pt x="664411" y="578253"/>
                </a:lnTo>
                <a:lnTo>
                  <a:pt x="664289" y="575946"/>
                </a:lnTo>
                <a:lnTo>
                  <a:pt x="668282" y="580303"/>
                </a:lnTo>
                <a:cubicBezTo>
                  <a:pt x="669650" y="581670"/>
                  <a:pt x="670560" y="582126"/>
                  <a:pt x="670560" y="580303"/>
                </a:cubicBezTo>
                <a:cubicBezTo>
                  <a:pt x="674205" y="578481"/>
                  <a:pt x="665094" y="574836"/>
                  <a:pt x="674205" y="573014"/>
                </a:cubicBezTo>
                <a:cubicBezTo>
                  <a:pt x="670560" y="578481"/>
                  <a:pt x="670560" y="585769"/>
                  <a:pt x="674205" y="585769"/>
                </a:cubicBezTo>
                <a:cubicBezTo>
                  <a:pt x="688782" y="583947"/>
                  <a:pt x="677849" y="563904"/>
                  <a:pt x="679671" y="552970"/>
                </a:cubicBezTo>
                <a:cubicBezTo>
                  <a:pt x="679671" y="554792"/>
                  <a:pt x="679671" y="556616"/>
                  <a:pt x="681493" y="558437"/>
                </a:cubicBezTo>
                <a:cubicBezTo>
                  <a:pt x="686960" y="562081"/>
                  <a:pt x="688782" y="558437"/>
                  <a:pt x="688782" y="552970"/>
                </a:cubicBezTo>
                <a:cubicBezTo>
                  <a:pt x="688782" y="558437"/>
                  <a:pt x="686960" y="562081"/>
                  <a:pt x="688782" y="567548"/>
                </a:cubicBezTo>
                <a:cubicBezTo>
                  <a:pt x="701537" y="560260"/>
                  <a:pt x="699715" y="551148"/>
                  <a:pt x="694249" y="545681"/>
                </a:cubicBezTo>
                <a:cubicBezTo>
                  <a:pt x="694249" y="542037"/>
                  <a:pt x="688782" y="536571"/>
                  <a:pt x="681493" y="536571"/>
                </a:cubicBezTo>
                <a:cubicBezTo>
                  <a:pt x="683316" y="538393"/>
                  <a:pt x="686960" y="543860"/>
                  <a:pt x="688782" y="547504"/>
                </a:cubicBezTo>
                <a:cubicBezTo>
                  <a:pt x="681493" y="538393"/>
                  <a:pt x="674205" y="527461"/>
                  <a:pt x="666916" y="518349"/>
                </a:cubicBezTo>
                <a:cubicBezTo>
                  <a:pt x="677849" y="529282"/>
                  <a:pt x="690604" y="536571"/>
                  <a:pt x="701537" y="547504"/>
                </a:cubicBezTo>
                <a:cubicBezTo>
                  <a:pt x="703359" y="542037"/>
                  <a:pt x="697893" y="542037"/>
                  <a:pt x="699715" y="538393"/>
                </a:cubicBezTo>
                <a:cubicBezTo>
                  <a:pt x="701537" y="540215"/>
                  <a:pt x="703359" y="540215"/>
                  <a:pt x="705182" y="542037"/>
                </a:cubicBezTo>
                <a:cubicBezTo>
                  <a:pt x="705182" y="520171"/>
                  <a:pt x="703359" y="498306"/>
                  <a:pt x="697893" y="474618"/>
                </a:cubicBezTo>
                <a:cubicBezTo>
                  <a:pt x="701537" y="481906"/>
                  <a:pt x="701537" y="491017"/>
                  <a:pt x="710648" y="496483"/>
                </a:cubicBezTo>
                <a:lnTo>
                  <a:pt x="711739" y="508768"/>
                </a:lnTo>
                <a:lnTo>
                  <a:pt x="711646" y="519887"/>
                </a:lnTo>
                <a:lnTo>
                  <a:pt x="713076" y="525230"/>
                </a:lnTo>
                <a:lnTo>
                  <a:pt x="708826" y="552970"/>
                </a:lnTo>
                <a:lnTo>
                  <a:pt x="715139" y="532928"/>
                </a:lnTo>
                <a:lnTo>
                  <a:pt x="716115" y="536571"/>
                </a:lnTo>
                <a:lnTo>
                  <a:pt x="726953" y="527539"/>
                </a:lnTo>
                <a:lnTo>
                  <a:pt x="727322" y="528553"/>
                </a:lnTo>
                <a:lnTo>
                  <a:pt x="729035" y="535412"/>
                </a:lnTo>
                <a:lnTo>
                  <a:pt x="727048" y="538393"/>
                </a:lnTo>
                <a:cubicBezTo>
                  <a:pt x="723404" y="549326"/>
                  <a:pt x="725226" y="556616"/>
                  <a:pt x="725226" y="567548"/>
                </a:cubicBezTo>
                <a:cubicBezTo>
                  <a:pt x="723404" y="574836"/>
                  <a:pt x="723404" y="583947"/>
                  <a:pt x="730692" y="589414"/>
                </a:cubicBezTo>
                <a:cubicBezTo>
                  <a:pt x="734336" y="578481"/>
                  <a:pt x="736159" y="565725"/>
                  <a:pt x="728870" y="556616"/>
                </a:cubicBezTo>
                <a:cubicBezTo>
                  <a:pt x="730692" y="558437"/>
                  <a:pt x="732515" y="562081"/>
                  <a:pt x="734336" y="563904"/>
                </a:cubicBezTo>
                <a:lnTo>
                  <a:pt x="735237" y="553813"/>
                </a:lnTo>
                <a:lnTo>
                  <a:pt x="736158" y="560260"/>
                </a:lnTo>
                <a:lnTo>
                  <a:pt x="739739" y="562306"/>
                </a:lnTo>
                <a:lnTo>
                  <a:pt x="737525" y="570054"/>
                </a:lnTo>
                <a:cubicBezTo>
                  <a:pt x="737981" y="572103"/>
                  <a:pt x="739803" y="573925"/>
                  <a:pt x="743447" y="576658"/>
                </a:cubicBezTo>
                <a:cubicBezTo>
                  <a:pt x="745269" y="573925"/>
                  <a:pt x="744814" y="571648"/>
                  <a:pt x="743675" y="569370"/>
                </a:cubicBezTo>
                <a:lnTo>
                  <a:pt x="740002" y="562456"/>
                </a:lnTo>
                <a:lnTo>
                  <a:pt x="743581" y="564501"/>
                </a:lnTo>
                <a:lnTo>
                  <a:pt x="743903" y="565498"/>
                </a:lnTo>
                <a:cubicBezTo>
                  <a:pt x="746181" y="567548"/>
                  <a:pt x="748914" y="569371"/>
                  <a:pt x="748914" y="571192"/>
                </a:cubicBezTo>
                <a:cubicBezTo>
                  <a:pt x="748914" y="569370"/>
                  <a:pt x="750737" y="567548"/>
                  <a:pt x="752558" y="565725"/>
                </a:cubicBezTo>
                <a:lnTo>
                  <a:pt x="747370" y="562915"/>
                </a:lnTo>
                <a:lnTo>
                  <a:pt x="747092" y="562081"/>
                </a:lnTo>
                <a:cubicBezTo>
                  <a:pt x="750737" y="563904"/>
                  <a:pt x="752558" y="567548"/>
                  <a:pt x="756203" y="562081"/>
                </a:cubicBezTo>
                <a:cubicBezTo>
                  <a:pt x="753469" y="566637"/>
                  <a:pt x="752103" y="569370"/>
                  <a:pt x="752331" y="572104"/>
                </a:cubicBezTo>
                <a:lnTo>
                  <a:pt x="752345" y="572129"/>
                </a:lnTo>
                <a:lnTo>
                  <a:pt x="748914" y="576204"/>
                </a:lnTo>
                <a:cubicBezTo>
                  <a:pt x="747547" y="579848"/>
                  <a:pt x="747092" y="583947"/>
                  <a:pt x="747092" y="587591"/>
                </a:cubicBezTo>
                <a:cubicBezTo>
                  <a:pt x="748003" y="591236"/>
                  <a:pt x="750281" y="593514"/>
                  <a:pt x="753014" y="594880"/>
                </a:cubicBezTo>
                <a:lnTo>
                  <a:pt x="757249" y="595772"/>
                </a:lnTo>
                <a:lnTo>
                  <a:pt x="754380" y="605813"/>
                </a:lnTo>
                <a:cubicBezTo>
                  <a:pt x="756203" y="603991"/>
                  <a:pt x="756203" y="603991"/>
                  <a:pt x="758025" y="602169"/>
                </a:cubicBezTo>
                <a:cubicBezTo>
                  <a:pt x="756203" y="603991"/>
                  <a:pt x="756203" y="605813"/>
                  <a:pt x="754380" y="607635"/>
                </a:cubicBezTo>
                <a:cubicBezTo>
                  <a:pt x="758025" y="609459"/>
                  <a:pt x="761670" y="605813"/>
                  <a:pt x="765313" y="603991"/>
                </a:cubicBezTo>
                <a:cubicBezTo>
                  <a:pt x="758025" y="609459"/>
                  <a:pt x="745269" y="618568"/>
                  <a:pt x="758025" y="627679"/>
                </a:cubicBezTo>
                <a:cubicBezTo>
                  <a:pt x="758025" y="624035"/>
                  <a:pt x="756203" y="620391"/>
                  <a:pt x="758025" y="618568"/>
                </a:cubicBezTo>
                <a:lnTo>
                  <a:pt x="759900" y="618193"/>
                </a:lnTo>
                <a:lnTo>
                  <a:pt x="765183" y="620261"/>
                </a:lnTo>
                <a:lnTo>
                  <a:pt x="767136" y="622213"/>
                </a:lnTo>
                <a:lnTo>
                  <a:pt x="767524" y="621177"/>
                </a:lnTo>
                <a:lnTo>
                  <a:pt x="768046" y="621381"/>
                </a:lnTo>
                <a:lnTo>
                  <a:pt x="769641" y="626313"/>
                </a:lnTo>
                <a:cubicBezTo>
                  <a:pt x="770325" y="629047"/>
                  <a:pt x="771691" y="631324"/>
                  <a:pt x="776246" y="631324"/>
                </a:cubicBezTo>
                <a:cubicBezTo>
                  <a:pt x="776246" y="633146"/>
                  <a:pt x="774424" y="634968"/>
                  <a:pt x="772602" y="633146"/>
                </a:cubicBezTo>
                <a:cubicBezTo>
                  <a:pt x="778070" y="642257"/>
                  <a:pt x="778070" y="655012"/>
                  <a:pt x="787179" y="656834"/>
                </a:cubicBezTo>
                <a:cubicBezTo>
                  <a:pt x="789003" y="658656"/>
                  <a:pt x="787179" y="653190"/>
                  <a:pt x="785357" y="651368"/>
                </a:cubicBezTo>
                <a:cubicBezTo>
                  <a:pt x="785357" y="653190"/>
                  <a:pt x="787179" y="655012"/>
                  <a:pt x="789003" y="653190"/>
                </a:cubicBezTo>
                <a:cubicBezTo>
                  <a:pt x="787179" y="647723"/>
                  <a:pt x="785357" y="647723"/>
                  <a:pt x="783535" y="644079"/>
                </a:cubicBezTo>
                <a:cubicBezTo>
                  <a:pt x="789003" y="644079"/>
                  <a:pt x="794468" y="645901"/>
                  <a:pt x="796290" y="645901"/>
                </a:cubicBezTo>
                <a:cubicBezTo>
                  <a:pt x="796290" y="647723"/>
                  <a:pt x="796290" y="647723"/>
                  <a:pt x="794468" y="649545"/>
                </a:cubicBezTo>
                <a:lnTo>
                  <a:pt x="798372" y="652149"/>
                </a:lnTo>
                <a:lnTo>
                  <a:pt x="799935" y="653190"/>
                </a:lnTo>
                <a:cubicBezTo>
                  <a:pt x="799935" y="651368"/>
                  <a:pt x="799935" y="647723"/>
                  <a:pt x="799935" y="645901"/>
                </a:cubicBezTo>
                <a:cubicBezTo>
                  <a:pt x="799935" y="644079"/>
                  <a:pt x="799935" y="642257"/>
                  <a:pt x="799935" y="640435"/>
                </a:cubicBezTo>
                <a:cubicBezTo>
                  <a:pt x="798112" y="640435"/>
                  <a:pt x="796290" y="642257"/>
                  <a:pt x="796290" y="644079"/>
                </a:cubicBezTo>
                <a:cubicBezTo>
                  <a:pt x="792646" y="642257"/>
                  <a:pt x="787179" y="640435"/>
                  <a:pt x="792646" y="640435"/>
                </a:cubicBezTo>
                <a:cubicBezTo>
                  <a:pt x="790824" y="638612"/>
                  <a:pt x="790824" y="638612"/>
                  <a:pt x="789003" y="638612"/>
                </a:cubicBezTo>
                <a:cubicBezTo>
                  <a:pt x="790824" y="638612"/>
                  <a:pt x="792646" y="638612"/>
                  <a:pt x="794468" y="636790"/>
                </a:cubicBezTo>
                <a:cubicBezTo>
                  <a:pt x="790824" y="634968"/>
                  <a:pt x="789003" y="634968"/>
                  <a:pt x="787179" y="631324"/>
                </a:cubicBezTo>
                <a:cubicBezTo>
                  <a:pt x="790824" y="631324"/>
                  <a:pt x="794468" y="636790"/>
                  <a:pt x="798112" y="633146"/>
                </a:cubicBezTo>
                <a:lnTo>
                  <a:pt x="768046" y="621381"/>
                </a:lnTo>
                <a:lnTo>
                  <a:pt x="767769" y="620525"/>
                </a:lnTo>
                <a:lnTo>
                  <a:pt x="767819" y="620391"/>
                </a:lnTo>
                <a:cubicBezTo>
                  <a:pt x="767135" y="619936"/>
                  <a:pt x="766224" y="619480"/>
                  <a:pt x="767136" y="618568"/>
                </a:cubicBezTo>
                <a:lnTo>
                  <a:pt x="767769" y="620525"/>
                </a:lnTo>
                <a:lnTo>
                  <a:pt x="767524" y="621177"/>
                </a:lnTo>
                <a:lnTo>
                  <a:pt x="765183" y="620261"/>
                </a:lnTo>
                <a:lnTo>
                  <a:pt x="762580" y="617658"/>
                </a:lnTo>
                <a:lnTo>
                  <a:pt x="759900" y="618193"/>
                </a:lnTo>
                <a:lnTo>
                  <a:pt x="756203" y="616746"/>
                </a:lnTo>
                <a:cubicBezTo>
                  <a:pt x="763491" y="616746"/>
                  <a:pt x="770781" y="614924"/>
                  <a:pt x="776246" y="618568"/>
                </a:cubicBezTo>
                <a:cubicBezTo>
                  <a:pt x="772602" y="614924"/>
                  <a:pt x="774424" y="609459"/>
                  <a:pt x="772602" y="605813"/>
                </a:cubicBezTo>
                <a:cubicBezTo>
                  <a:pt x="778070" y="611280"/>
                  <a:pt x="778070" y="622213"/>
                  <a:pt x="787179" y="624035"/>
                </a:cubicBezTo>
                <a:cubicBezTo>
                  <a:pt x="787179" y="624035"/>
                  <a:pt x="787179" y="622213"/>
                  <a:pt x="785357" y="620391"/>
                </a:cubicBezTo>
                <a:cubicBezTo>
                  <a:pt x="789003" y="622213"/>
                  <a:pt x="792646" y="618568"/>
                  <a:pt x="796290" y="622213"/>
                </a:cubicBezTo>
                <a:cubicBezTo>
                  <a:pt x="796290" y="616746"/>
                  <a:pt x="790824" y="614924"/>
                  <a:pt x="789003" y="611280"/>
                </a:cubicBezTo>
                <a:cubicBezTo>
                  <a:pt x="776246" y="603991"/>
                  <a:pt x="763491" y="596702"/>
                  <a:pt x="758025" y="602169"/>
                </a:cubicBezTo>
                <a:cubicBezTo>
                  <a:pt x="758025" y="600347"/>
                  <a:pt x="759848" y="598524"/>
                  <a:pt x="761670" y="596702"/>
                </a:cubicBezTo>
                <a:cubicBezTo>
                  <a:pt x="754380" y="593058"/>
                  <a:pt x="761670" y="587591"/>
                  <a:pt x="761670" y="578481"/>
                </a:cubicBezTo>
                <a:cubicBezTo>
                  <a:pt x="758025" y="574836"/>
                  <a:pt x="759848" y="571192"/>
                  <a:pt x="756203" y="567548"/>
                </a:cubicBezTo>
                <a:cubicBezTo>
                  <a:pt x="758025" y="569370"/>
                  <a:pt x="759848" y="573014"/>
                  <a:pt x="761670" y="571192"/>
                </a:cubicBezTo>
                <a:cubicBezTo>
                  <a:pt x="761670" y="571192"/>
                  <a:pt x="761670" y="569370"/>
                  <a:pt x="761670" y="569370"/>
                </a:cubicBezTo>
                <a:cubicBezTo>
                  <a:pt x="761670" y="574836"/>
                  <a:pt x="763491" y="578481"/>
                  <a:pt x="767136" y="580303"/>
                </a:cubicBezTo>
                <a:cubicBezTo>
                  <a:pt x="768959" y="574836"/>
                  <a:pt x="767136" y="565725"/>
                  <a:pt x="765313" y="562081"/>
                </a:cubicBezTo>
                <a:cubicBezTo>
                  <a:pt x="765313" y="562081"/>
                  <a:pt x="765313" y="563904"/>
                  <a:pt x="765313" y="563904"/>
                </a:cubicBezTo>
                <a:cubicBezTo>
                  <a:pt x="768959" y="542037"/>
                  <a:pt x="737981" y="529282"/>
                  <a:pt x="728870" y="507417"/>
                </a:cubicBezTo>
                <a:cubicBezTo>
                  <a:pt x="739803" y="518349"/>
                  <a:pt x="747092" y="531105"/>
                  <a:pt x="759848" y="540215"/>
                </a:cubicBezTo>
                <a:cubicBezTo>
                  <a:pt x="759848" y="531105"/>
                  <a:pt x="748914" y="523815"/>
                  <a:pt x="750737" y="512882"/>
                </a:cubicBezTo>
                <a:cubicBezTo>
                  <a:pt x="756202" y="521082"/>
                  <a:pt x="759848" y="530649"/>
                  <a:pt x="764630" y="539304"/>
                </a:cubicBezTo>
                <a:lnTo>
                  <a:pt x="779087" y="553920"/>
                </a:lnTo>
                <a:lnTo>
                  <a:pt x="778791" y="554174"/>
                </a:lnTo>
                <a:lnTo>
                  <a:pt x="778070" y="552970"/>
                </a:lnTo>
                <a:lnTo>
                  <a:pt x="778457" y="554460"/>
                </a:lnTo>
                <a:lnTo>
                  <a:pt x="778070" y="554792"/>
                </a:lnTo>
                <a:lnTo>
                  <a:pt x="778659" y="555236"/>
                </a:lnTo>
                <a:lnTo>
                  <a:pt x="779436" y="558210"/>
                </a:lnTo>
                <a:cubicBezTo>
                  <a:pt x="780802" y="559804"/>
                  <a:pt x="782624" y="561171"/>
                  <a:pt x="783535" y="562081"/>
                </a:cubicBezTo>
                <a:lnTo>
                  <a:pt x="780056" y="556284"/>
                </a:lnTo>
                <a:lnTo>
                  <a:pt x="785357" y="560260"/>
                </a:lnTo>
                <a:lnTo>
                  <a:pt x="779087" y="553920"/>
                </a:lnTo>
                <a:lnTo>
                  <a:pt x="781257" y="552059"/>
                </a:lnTo>
                <a:cubicBezTo>
                  <a:pt x="782168" y="551148"/>
                  <a:pt x="782624" y="550237"/>
                  <a:pt x="781713" y="549326"/>
                </a:cubicBezTo>
                <a:cubicBezTo>
                  <a:pt x="779892" y="547504"/>
                  <a:pt x="779892" y="547504"/>
                  <a:pt x="779892" y="547504"/>
                </a:cubicBezTo>
                <a:cubicBezTo>
                  <a:pt x="779892" y="547504"/>
                  <a:pt x="779892" y="549326"/>
                  <a:pt x="781713" y="547504"/>
                </a:cubicBezTo>
                <a:cubicBezTo>
                  <a:pt x="784446" y="545682"/>
                  <a:pt x="783079" y="543404"/>
                  <a:pt x="781257" y="540671"/>
                </a:cubicBezTo>
                <a:lnTo>
                  <a:pt x="779906" y="536615"/>
                </a:lnTo>
                <a:lnTo>
                  <a:pt x="779890" y="536596"/>
                </a:lnTo>
                <a:lnTo>
                  <a:pt x="779902" y="536603"/>
                </a:lnTo>
                <a:lnTo>
                  <a:pt x="778070" y="531105"/>
                </a:lnTo>
                <a:lnTo>
                  <a:pt x="781830" y="537831"/>
                </a:lnTo>
                <a:lnTo>
                  <a:pt x="784901" y="539785"/>
                </a:lnTo>
                <a:cubicBezTo>
                  <a:pt x="785812" y="542062"/>
                  <a:pt x="786268" y="544796"/>
                  <a:pt x="787179" y="545707"/>
                </a:cubicBezTo>
                <a:lnTo>
                  <a:pt x="784044" y="541788"/>
                </a:lnTo>
                <a:lnTo>
                  <a:pt x="785585" y="544543"/>
                </a:lnTo>
                <a:cubicBezTo>
                  <a:pt x="787635" y="549327"/>
                  <a:pt x="789912" y="553882"/>
                  <a:pt x="794468" y="556616"/>
                </a:cubicBezTo>
                <a:cubicBezTo>
                  <a:pt x="794468" y="554792"/>
                  <a:pt x="794468" y="552970"/>
                  <a:pt x="798112" y="552970"/>
                </a:cubicBezTo>
                <a:cubicBezTo>
                  <a:pt x="792646" y="562081"/>
                  <a:pt x="796290" y="569370"/>
                  <a:pt x="798112" y="578481"/>
                </a:cubicBezTo>
                <a:cubicBezTo>
                  <a:pt x="798112" y="574836"/>
                  <a:pt x="799935" y="574836"/>
                  <a:pt x="801757" y="573014"/>
                </a:cubicBezTo>
                <a:cubicBezTo>
                  <a:pt x="803579" y="574836"/>
                  <a:pt x="803579" y="576658"/>
                  <a:pt x="807223" y="576658"/>
                </a:cubicBezTo>
                <a:cubicBezTo>
                  <a:pt x="805401" y="580303"/>
                  <a:pt x="809046" y="583947"/>
                  <a:pt x="810868" y="583947"/>
                </a:cubicBezTo>
                <a:cubicBezTo>
                  <a:pt x="816334" y="580303"/>
                  <a:pt x="810868" y="576658"/>
                  <a:pt x="807223" y="576658"/>
                </a:cubicBezTo>
                <a:cubicBezTo>
                  <a:pt x="807223" y="574836"/>
                  <a:pt x="807223" y="573014"/>
                  <a:pt x="805401" y="571192"/>
                </a:cubicBezTo>
                <a:cubicBezTo>
                  <a:pt x="803579" y="571192"/>
                  <a:pt x="803579" y="571192"/>
                  <a:pt x="801757" y="573014"/>
                </a:cubicBezTo>
                <a:cubicBezTo>
                  <a:pt x="810868" y="558437"/>
                  <a:pt x="807223" y="540215"/>
                  <a:pt x="794468" y="531105"/>
                </a:cubicBezTo>
                <a:cubicBezTo>
                  <a:pt x="798112" y="531105"/>
                  <a:pt x="799935" y="538393"/>
                  <a:pt x="803579" y="536571"/>
                </a:cubicBezTo>
                <a:cubicBezTo>
                  <a:pt x="794468" y="525638"/>
                  <a:pt x="805401" y="512882"/>
                  <a:pt x="796290" y="500127"/>
                </a:cubicBezTo>
                <a:cubicBezTo>
                  <a:pt x="812690" y="509238"/>
                  <a:pt x="807223" y="532926"/>
                  <a:pt x="818156" y="545681"/>
                </a:cubicBezTo>
                <a:cubicBezTo>
                  <a:pt x="819979" y="542037"/>
                  <a:pt x="819979" y="536571"/>
                  <a:pt x="821801" y="532926"/>
                </a:cubicBezTo>
                <a:lnTo>
                  <a:pt x="820202" y="546426"/>
                </a:lnTo>
                <a:lnTo>
                  <a:pt x="819979" y="545681"/>
                </a:lnTo>
                <a:cubicBezTo>
                  <a:pt x="816334" y="545681"/>
                  <a:pt x="821801" y="551148"/>
                  <a:pt x="819979" y="554792"/>
                </a:cubicBezTo>
                <a:lnTo>
                  <a:pt x="820340" y="553589"/>
                </a:lnTo>
                <a:lnTo>
                  <a:pt x="821032" y="557526"/>
                </a:lnTo>
                <a:cubicBezTo>
                  <a:pt x="822142" y="559576"/>
                  <a:pt x="824079" y="561170"/>
                  <a:pt x="827267" y="562081"/>
                </a:cubicBezTo>
                <a:cubicBezTo>
                  <a:pt x="827267" y="560260"/>
                  <a:pt x="827267" y="558437"/>
                  <a:pt x="823623" y="558437"/>
                </a:cubicBezTo>
                <a:lnTo>
                  <a:pt x="828144" y="558437"/>
                </a:lnTo>
                <a:lnTo>
                  <a:pt x="827495" y="560943"/>
                </a:lnTo>
                <a:cubicBezTo>
                  <a:pt x="827723" y="562992"/>
                  <a:pt x="829089" y="564815"/>
                  <a:pt x="832734" y="565725"/>
                </a:cubicBezTo>
                <a:cubicBezTo>
                  <a:pt x="834556" y="563904"/>
                  <a:pt x="832734" y="563904"/>
                  <a:pt x="834556" y="562081"/>
                </a:cubicBezTo>
                <a:cubicBezTo>
                  <a:pt x="834556" y="565725"/>
                  <a:pt x="836378" y="571192"/>
                  <a:pt x="840022" y="565725"/>
                </a:cubicBezTo>
                <a:cubicBezTo>
                  <a:pt x="838200" y="565725"/>
                  <a:pt x="836378" y="562081"/>
                  <a:pt x="834556" y="562081"/>
                </a:cubicBezTo>
                <a:lnTo>
                  <a:pt x="829187" y="554923"/>
                </a:lnTo>
                <a:lnTo>
                  <a:pt x="829317" y="550237"/>
                </a:lnTo>
                <a:cubicBezTo>
                  <a:pt x="827723" y="547504"/>
                  <a:pt x="825445" y="544771"/>
                  <a:pt x="825445" y="542037"/>
                </a:cubicBezTo>
                <a:cubicBezTo>
                  <a:pt x="827267" y="543860"/>
                  <a:pt x="830912" y="549326"/>
                  <a:pt x="832734" y="547504"/>
                </a:cubicBezTo>
                <a:cubicBezTo>
                  <a:pt x="836378" y="540215"/>
                  <a:pt x="823623" y="536571"/>
                  <a:pt x="825445" y="529282"/>
                </a:cubicBezTo>
                <a:cubicBezTo>
                  <a:pt x="827267" y="531105"/>
                  <a:pt x="830912" y="534749"/>
                  <a:pt x="834556" y="536571"/>
                </a:cubicBezTo>
                <a:cubicBezTo>
                  <a:pt x="834556" y="534749"/>
                  <a:pt x="832734" y="531105"/>
                  <a:pt x="830912" y="529282"/>
                </a:cubicBezTo>
                <a:cubicBezTo>
                  <a:pt x="832734" y="529282"/>
                  <a:pt x="832734" y="529282"/>
                  <a:pt x="834556" y="529282"/>
                </a:cubicBezTo>
                <a:cubicBezTo>
                  <a:pt x="834556" y="527461"/>
                  <a:pt x="834556" y="525638"/>
                  <a:pt x="834556" y="521993"/>
                </a:cubicBezTo>
                <a:cubicBezTo>
                  <a:pt x="838200" y="523815"/>
                  <a:pt x="840022" y="525638"/>
                  <a:pt x="841845" y="527461"/>
                </a:cubicBezTo>
                <a:lnTo>
                  <a:pt x="843170" y="524148"/>
                </a:lnTo>
                <a:lnTo>
                  <a:pt x="842755" y="532016"/>
                </a:lnTo>
                <a:cubicBezTo>
                  <a:pt x="841389" y="537938"/>
                  <a:pt x="840022" y="543860"/>
                  <a:pt x="841845" y="549326"/>
                </a:cubicBezTo>
                <a:cubicBezTo>
                  <a:pt x="847311" y="542037"/>
                  <a:pt x="849133" y="536571"/>
                  <a:pt x="849133" y="527461"/>
                </a:cubicBezTo>
                <a:cubicBezTo>
                  <a:pt x="849133" y="531105"/>
                  <a:pt x="850956" y="532926"/>
                  <a:pt x="850956" y="536571"/>
                </a:cubicBezTo>
                <a:cubicBezTo>
                  <a:pt x="852778" y="532926"/>
                  <a:pt x="858244" y="525638"/>
                  <a:pt x="850956" y="523815"/>
                </a:cubicBezTo>
                <a:cubicBezTo>
                  <a:pt x="850956" y="521993"/>
                  <a:pt x="854600" y="521993"/>
                  <a:pt x="854600" y="521993"/>
                </a:cubicBezTo>
                <a:cubicBezTo>
                  <a:pt x="856422" y="516527"/>
                  <a:pt x="849133" y="514705"/>
                  <a:pt x="850956" y="507417"/>
                </a:cubicBezTo>
                <a:cubicBezTo>
                  <a:pt x="852778" y="507417"/>
                  <a:pt x="852778" y="509238"/>
                  <a:pt x="854600" y="511061"/>
                </a:cubicBezTo>
                <a:cubicBezTo>
                  <a:pt x="856422" y="503771"/>
                  <a:pt x="850956" y="500127"/>
                  <a:pt x="845489" y="496483"/>
                </a:cubicBezTo>
                <a:cubicBezTo>
                  <a:pt x="847311" y="498306"/>
                  <a:pt x="845489" y="498306"/>
                  <a:pt x="843667" y="500127"/>
                </a:cubicBezTo>
                <a:cubicBezTo>
                  <a:pt x="843667" y="496483"/>
                  <a:pt x="843667" y="494662"/>
                  <a:pt x="843667" y="491017"/>
                </a:cubicBezTo>
                <a:cubicBezTo>
                  <a:pt x="849133" y="494662"/>
                  <a:pt x="854600" y="503771"/>
                  <a:pt x="858244" y="496483"/>
                </a:cubicBezTo>
                <a:cubicBezTo>
                  <a:pt x="856422" y="492838"/>
                  <a:pt x="850956" y="491017"/>
                  <a:pt x="850956" y="485550"/>
                </a:cubicBezTo>
                <a:cubicBezTo>
                  <a:pt x="854600" y="489194"/>
                  <a:pt x="856422" y="494662"/>
                  <a:pt x="860066" y="496483"/>
                </a:cubicBezTo>
                <a:cubicBezTo>
                  <a:pt x="861889" y="497394"/>
                  <a:pt x="863711" y="496483"/>
                  <a:pt x="865305" y="496028"/>
                </a:cubicBezTo>
                <a:lnTo>
                  <a:pt x="867611" y="497384"/>
                </a:lnTo>
                <a:lnTo>
                  <a:pt x="869177" y="500811"/>
                </a:lnTo>
                <a:cubicBezTo>
                  <a:pt x="871456" y="502861"/>
                  <a:pt x="874643" y="503772"/>
                  <a:pt x="878288" y="501949"/>
                </a:cubicBezTo>
                <a:lnTo>
                  <a:pt x="868635" y="495054"/>
                </a:lnTo>
                <a:lnTo>
                  <a:pt x="867355" y="487373"/>
                </a:lnTo>
                <a:cubicBezTo>
                  <a:pt x="869177" y="489194"/>
                  <a:pt x="871000" y="492838"/>
                  <a:pt x="874644" y="492838"/>
                </a:cubicBezTo>
                <a:cubicBezTo>
                  <a:pt x="872822" y="491017"/>
                  <a:pt x="874644" y="491017"/>
                  <a:pt x="876466" y="489194"/>
                </a:cubicBezTo>
                <a:cubicBezTo>
                  <a:pt x="876466" y="491017"/>
                  <a:pt x="876466" y="492839"/>
                  <a:pt x="877149" y="494206"/>
                </a:cubicBezTo>
                <a:lnTo>
                  <a:pt x="879863" y="495498"/>
                </a:lnTo>
                <a:lnTo>
                  <a:pt x="880111" y="496483"/>
                </a:lnTo>
                <a:lnTo>
                  <a:pt x="880460" y="495782"/>
                </a:lnTo>
                <a:lnTo>
                  <a:pt x="881933" y="496483"/>
                </a:lnTo>
                <a:lnTo>
                  <a:pt x="881132" y="494438"/>
                </a:lnTo>
                <a:lnTo>
                  <a:pt x="881932" y="492839"/>
                </a:lnTo>
                <a:lnTo>
                  <a:pt x="880040" y="490947"/>
                </a:lnTo>
                <a:lnTo>
                  <a:pt x="881933" y="487373"/>
                </a:lnTo>
                <a:cubicBezTo>
                  <a:pt x="883755" y="488284"/>
                  <a:pt x="884210" y="491017"/>
                  <a:pt x="884894" y="493978"/>
                </a:cubicBezTo>
                <a:lnTo>
                  <a:pt x="887058" y="497964"/>
                </a:lnTo>
                <a:lnTo>
                  <a:pt x="883755" y="494662"/>
                </a:lnTo>
                <a:cubicBezTo>
                  <a:pt x="883755" y="498306"/>
                  <a:pt x="885577" y="503771"/>
                  <a:pt x="889222" y="505594"/>
                </a:cubicBezTo>
                <a:lnTo>
                  <a:pt x="888712" y="501012"/>
                </a:lnTo>
                <a:lnTo>
                  <a:pt x="889222" y="501949"/>
                </a:lnTo>
                <a:cubicBezTo>
                  <a:pt x="889222" y="500127"/>
                  <a:pt x="889222" y="500127"/>
                  <a:pt x="889222" y="496483"/>
                </a:cubicBezTo>
                <a:cubicBezTo>
                  <a:pt x="889222" y="498306"/>
                  <a:pt x="889222" y="498306"/>
                  <a:pt x="891043" y="500127"/>
                </a:cubicBezTo>
                <a:lnTo>
                  <a:pt x="891043" y="496483"/>
                </a:lnTo>
                <a:lnTo>
                  <a:pt x="891043" y="492838"/>
                </a:lnTo>
                <a:cubicBezTo>
                  <a:pt x="889222" y="492838"/>
                  <a:pt x="889222" y="492838"/>
                  <a:pt x="887399" y="494662"/>
                </a:cubicBezTo>
                <a:cubicBezTo>
                  <a:pt x="889222" y="492838"/>
                  <a:pt x="889222" y="487373"/>
                  <a:pt x="889222" y="483728"/>
                </a:cubicBezTo>
                <a:cubicBezTo>
                  <a:pt x="891043" y="489194"/>
                  <a:pt x="892866" y="489194"/>
                  <a:pt x="894688" y="492838"/>
                </a:cubicBezTo>
                <a:cubicBezTo>
                  <a:pt x="892866" y="483728"/>
                  <a:pt x="892866" y="472795"/>
                  <a:pt x="887399" y="465506"/>
                </a:cubicBezTo>
                <a:cubicBezTo>
                  <a:pt x="889222" y="465506"/>
                  <a:pt x="891043" y="465506"/>
                  <a:pt x="892866" y="463684"/>
                </a:cubicBezTo>
                <a:cubicBezTo>
                  <a:pt x="898333" y="458218"/>
                  <a:pt x="885577" y="452751"/>
                  <a:pt x="891043" y="447284"/>
                </a:cubicBezTo>
                <a:cubicBezTo>
                  <a:pt x="892866" y="452751"/>
                  <a:pt x="892866" y="460039"/>
                  <a:pt x="894688" y="465506"/>
                </a:cubicBezTo>
                <a:cubicBezTo>
                  <a:pt x="896510" y="467328"/>
                  <a:pt x="896510" y="467328"/>
                  <a:pt x="898333" y="469150"/>
                </a:cubicBezTo>
                <a:cubicBezTo>
                  <a:pt x="897421" y="475528"/>
                  <a:pt x="896054" y="481906"/>
                  <a:pt x="895599" y="488283"/>
                </a:cubicBezTo>
                <a:lnTo>
                  <a:pt x="897492" y="501538"/>
                </a:lnTo>
                <a:lnTo>
                  <a:pt x="897421" y="501722"/>
                </a:lnTo>
                <a:lnTo>
                  <a:pt x="897560" y="502011"/>
                </a:lnTo>
                <a:lnTo>
                  <a:pt x="898333" y="507417"/>
                </a:lnTo>
                <a:lnTo>
                  <a:pt x="899261" y="505557"/>
                </a:lnTo>
                <a:lnTo>
                  <a:pt x="899904" y="506896"/>
                </a:lnTo>
                <a:lnTo>
                  <a:pt x="898561" y="511288"/>
                </a:lnTo>
                <a:cubicBezTo>
                  <a:pt x="896054" y="514705"/>
                  <a:pt x="893776" y="518349"/>
                  <a:pt x="896510" y="523815"/>
                </a:cubicBezTo>
                <a:cubicBezTo>
                  <a:pt x="896510" y="520171"/>
                  <a:pt x="896510" y="518349"/>
                  <a:pt x="898333" y="516527"/>
                </a:cubicBezTo>
                <a:cubicBezTo>
                  <a:pt x="901976" y="522905"/>
                  <a:pt x="902887" y="526549"/>
                  <a:pt x="902659" y="530193"/>
                </a:cubicBezTo>
                <a:lnTo>
                  <a:pt x="902251" y="532426"/>
                </a:lnTo>
                <a:lnTo>
                  <a:pt x="900154" y="543860"/>
                </a:lnTo>
                <a:cubicBezTo>
                  <a:pt x="900154" y="547504"/>
                  <a:pt x="905621" y="551148"/>
                  <a:pt x="909265" y="549326"/>
                </a:cubicBezTo>
                <a:lnTo>
                  <a:pt x="909845" y="546676"/>
                </a:lnTo>
                <a:lnTo>
                  <a:pt x="911087" y="556616"/>
                </a:lnTo>
                <a:cubicBezTo>
                  <a:pt x="912909" y="552970"/>
                  <a:pt x="912909" y="551148"/>
                  <a:pt x="916555" y="547504"/>
                </a:cubicBezTo>
                <a:lnTo>
                  <a:pt x="910635" y="543065"/>
                </a:lnTo>
                <a:lnTo>
                  <a:pt x="910859" y="542037"/>
                </a:lnTo>
                <a:cubicBezTo>
                  <a:pt x="909721" y="539304"/>
                  <a:pt x="907444" y="536571"/>
                  <a:pt x="905621" y="534749"/>
                </a:cubicBezTo>
                <a:cubicBezTo>
                  <a:pt x="912909" y="532926"/>
                  <a:pt x="911087" y="542037"/>
                  <a:pt x="912909" y="540215"/>
                </a:cubicBezTo>
                <a:cubicBezTo>
                  <a:pt x="920198" y="536571"/>
                  <a:pt x="909265" y="525638"/>
                  <a:pt x="916555" y="520171"/>
                </a:cubicBezTo>
                <a:lnTo>
                  <a:pt x="918376" y="521993"/>
                </a:lnTo>
                <a:cubicBezTo>
                  <a:pt x="920198" y="520171"/>
                  <a:pt x="922020" y="520171"/>
                  <a:pt x="922020" y="516527"/>
                </a:cubicBezTo>
                <a:lnTo>
                  <a:pt x="927487" y="518870"/>
                </a:lnTo>
                <a:lnTo>
                  <a:pt x="934777" y="521993"/>
                </a:lnTo>
                <a:lnTo>
                  <a:pt x="932624" y="526204"/>
                </a:lnTo>
                <a:lnTo>
                  <a:pt x="931131" y="523815"/>
                </a:lnTo>
                <a:cubicBezTo>
                  <a:pt x="927487" y="532926"/>
                  <a:pt x="920198" y="532926"/>
                  <a:pt x="925666" y="542037"/>
                </a:cubicBezTo>
                <a:cubicBezTo>
                  <a:pt x="922020" y="542037"/>
                  <a:pt x="920198" y="543860"/>
                  <a:pt x="918376" y="545681"/>
                </a:cubicBezTo>
                <a:cubicBezTo>
                  <a:pt x="916555" y="549326"/>
                  <a:pt x="918376" y="554792"/>
                  <a:pt x="922020" y="556616"/>
                </a:cubicBezTo>
                <a:cubicBezTo>
                  <a:pt x="925666" y="554792"/>
                  <a:pt x="927487" y="549326"/>
                  <a:pt x="925666" y="545681"/>
                </a:cubicBezTo>
                <a:cubicBezTo>
                  <a:pt x="931131" y="551148"/>
                  <a:pt x="920198" y="558437"/>
                  <a:pt x="925666" y="565725"/>
                </a:cubicBezTo>
                <a:cubicBezTo>
                  <a:pt x="929309" y="556616"/>
                  <a:pt x="936598" y="545681"/>
                  <a:pt x="940242" y="534749"/>
                </a:cubicBezTo>
                <a:lnTo>
                  <a:pt x="937371" y="534749"/>
                </a:lnTo>
                <a:lnTo>
                  <a:pt x="938192" y="530877"/>
                </a:lnTo>
                <a:cubicBezTo>
                  <a:pt x="937964" y="527004"/>
                  <a:pt x="938419" y="522904"/>
                  <a:pt x="943886" y="521993"/>
                </a:cubicBezTo>
                <a:cubicBezTo>
                  <a:pt x="936598" y="514705"/>
                  <a:pt x="940242" y="518349"/>
                  <a:pt x="940242" y="509238"/>
                </a:cubicBezTo>
                <a:cubicBezTo>
                  <a:pt x="938420" y="503771"/>
                  <a:pt x="934777" y="498306"/>
                  <a:pt x="927487" y="496483"/>
                </a:cubicBezTo>
                <a:cubicBezTo>
                  <a:pt x="929309" y="496483"/>
                  <a:pt x="932953" y="498306"/>
                  <a:pt x="932953" y="494662"/>
                </a:cubicBezTo>
                <a:cubicBezTo>
                  <a:pt x="931131" y="485550"/>
                  <a:pt x="925666" y="480083"/>
                  <a:pt x="923843" y="470972"/>
                </a:cubicBezTo>
                <a:cubicBezTo>
                  <a:pt x="932953" y="478262"/>
                  <a:pt x="927487" y="492838"/>
                  <a:pt x="940242" y="498306"/>
                </a:cubicBezTo>
                <a:cubicBezTo>
                  <a:pt x="942064" y="491017"/>
                  <a:pt x="942064" y="483728"/>
                  <a:pt x="938420" y="476439"/>
                </a:cubicBezTo>
                <a:cubicBezTo>
                  <a:pt x="940242" y="478262"/>
                  <a:pt x="947531" y="474618"/>
                  <a:pt x="947531" y="483728"/>
                </a:cubicBezTo>
                <a:lnTo>
                  <a:pt x="948779" y="478736"/>
                </a:lnTo>
                <a:lnTo>
                  <a:pt x="951133" y="480059"/>
                </a:lnTo>
                <a:lnTo>
                  <a:pt x="951160" y="480146"/>
                </a:lnTo>
                <a:lnTo>
                  <a:pt x="948669" y="490561"/>
                </a:lnTo>
                <a:cubicBezTo>
                  <a:pt x="947986" y="493294"/>
                  <a:pt x="948441" y="495572"/>
                  <a:pt x="952997" y="498306"/>
                </a:cubicBezTo>
                <a:cubicBezTo>
                  <a:pt x="952997" y="494661"/>
                  <a:pt x="953453" y="490561"/>
                  <a:pt x="953225" y="486461"/>
                </a:cubicBezTo>
                <a:lnTo>
                  <a:pt x="951160" y="480146"/>
                </a:lnTo>
                <a:lnTo>
                  <a:pt x="951175" y="480083"/>
                </a:lnTo>
                <a:cubicBezTo>
                  <a:pt x="956642" y="472795"/>
                  <a:pt x="947531" y="469150"/>
                  <a:pt x="949353" y="461862"/>
                </a:cubicBezTo>
                <a:cubicBezTo>
                  <a:pt x="952997" y="467328"/>
                  <a:pt x="954819" y="461862"/>
                  <a:pt x="958464" y="461862"/>
                </a:cubicBezTo>
                <a:cubicBezTo>
                  <a:pt x="951175" y="467328"/>
                  <a:pt x="954819" y="478262"/>
                  <a:pt x="958464" y="485550"/>
                </a:cubicBezTo>
                <a:cubicBezTo>
                  <a:pt x="958464" y="478262"/>
                  <a:pt x="965753" y="476439"/>
                  <a:pt x="965753" y="467328"/>
                </a:cubicBezTo>
                <a:cubicBezTo>
                  <a:pt x="965753" y="469150"/>
                  <a:pt x="965753" y="469150"/>
                  <a:pt x="965753" y="472795"/>
                </a:cubicBezTo>
                <a:cubicBezTo>
                  <a:pt x="966664" y="470973"/>
                  <a:pt x="968030" y="471429"/>
                  <a:pt x="969397" y="472112"/>
                </a:cubicBezTo>
                <a:lnTo>
                  <a:pt x="970872" y="472389"/>
                </a:lnTo>
                <a:lnTo>
                  <a:pt x="961880" y="478262"/>
                </a:lnTo>
                <a:cubicBezTo>
                  <a:pt x="959375" y="482817"/>
                  <a:pt x="958464" y="488284"/>
                  <a:pt x="960286" y="491017"/>
                </a:cubicBezTo>
                <a:lnTo>
                  <a:pt x="972004" y="472601"/>
                </a:lnTo>
                <a:lnTo>
                  <a:pt x="973041" y="472795"/>
                </a:lnTo>
                <a:lnTo>
                  <a:pt x="972642" y="471599"/>
                </a:lnTo>
                <a:lnTo>
                  <a:pt x="973041" y="470972"/>
                </a:lnTo>
                <a:lnTo>
                  <a:pt x="972542" y="471298"/>
                </a:lnTo>
                <a:lnTo>
                  <a:pt x="970308" y="464595"/>
                </a:lnTo>
                <a:cubicBezTo>
                  <a:pt x="968941" y="461862"/>
                  <a:pt x="967575" y="459129"/>
                  <a:pt x="967575" y="456395"/>
                </a:cubicBezTo>
                <a:cubicBezTo>
                  <a:pt x="971219" y="460039"/>
                  <a:pt x="971219" y="460039"/>
                  <a:pt x="973041" y="458218"/>
                </a:cubicBezTo>
                <a:lnTo>
                  <a:pt x="973952" y="459129"/>
                </a:lnTo>
                <a:lnTo>
                  <a:pt x="978508" y="463684"/>
                </a:lnTo>
                <a:cubicBezTo>
                  <a:pt x="976685" y="469151"/>
                  <a:pt x="976685" y="474618"/>
                  <a:pt x="978508" y="479628"/>
                </a:cubicBezTo>
                <a:lnTo>
                  <a:pt x="980330" y="481830"/>
                </a:lnTo>
                <a:lnTo>
                  <a:pt x="980330" y="489194"/>
                </a:lnTo>
                <a:lnTo>
                  <a:pt x="980330" y="492838"/>
                </a:lnTo>
                <a:cubicBezTo>
                  <a:pt x="983974" y="491017"/>
                  <a:pt x="978508" y="491017"/>
                  <a:pt x="980330" y="489194"/>
                </a:cubicBezTo>
                <a:cubicBezTo>
                  <a:pt x="983974" y="489194"/>
                  <a:pt x="982152" y="492838"/>
                  <a:pt x="983974" y="494662"/>
                </a:cubicBezTo>
                <a:lnTo>
                  <a:pt x="984637" y="487035"/>
                </a:lnTo>
                <a:lnTo>
                  <a:pt x="989441" y="492838"/>
                </a:lnTo>
                <a:cubicBezTo>
                  <a:pt x="989441" y="491017"/>
                  <a:pt x="987619" y="487373"/>
                  <a:pt x="987619" y="487373"/>
                </a:cubicBezTo>
                <a:cubicBezTo>
                  <a:pt x="989441" y="487373"/>
                  <a:pt x="991263" y="485550"/>
                  <a:pt x="991263" y="485550"/>
                </a:cubicBezTo>
                <a:cubicBezTo>
                  <a:pt x="991263" y="487373"/>
                  <a:pt x="989441" y="487373"/>
                  <a:pt x="989441" y="489194"/>
                </a:cubicBezTo>
                <a:cubicBezTo>
                  <a:pt x="989441" y="489194"/>
                  <a:pt x="993085" y="483728"/>
                  <a:pt x="991263" y="485550"/>
                </a:cubicBezTo>
                <a:cubicBezTo>
                  <a:pt x="998552" y="470972"/>
                  <a:pt x="1002196" y="456395"/>
                  <a:pt x="1002196" y="441819"/>
                </a:cubicBezTo>
                <a:cubicBezTo>
                  <a:pt x="1002196" y="436351"/>
                  <a:pt x="991263" y="443640"/>
                  <a:pt x="994907" y="432707"/>
                </a:cubicBezTo>
                <a:lnTo>
                  <a:pt x="998916" y="434044"/>
                </a:lnTo>
                <a:lnTo>
                  <a:pt x="998552" y="434530"/>
                </a:lnTo>
                <a:cubicBezTo>
                  <a:pt x="1000374" y="436351"/>
                  <a:pt x="1002196" y="436351"/>
                  <a:pt x="1005840" y="436351"/>
                </a:cubicBezTo>
                <a:lnTo>
                  <a:pt x="998916" y="434044"/>
                </a:lnTo>
                <a:lnTo>
                  <a:pt x="1004018" y="427240"/>
                </a:lnTo>
                <a:lnTo>
                  <a:pt x="1005840" y="429063"/>
                </a:lnTo>
                <a:cubicBezTo>
                  <a:pt x="998552" y="414485"/>
                  <a:pt x="993085" y="387152"/>
                  <a:pt x="971219" y="388976"/>
                </a:cubicBezTo>
                <a:cubicBezTo>
                  <a:pt x="974863" y="388976"/>
                  <a:pt x="976686" y="387152"/>
                  <a:pt x="980330" y="387152"/>
                </a:cubicBezTo>
                <a:cubicBezTo>
                  <a:pt x="976686" y="387152"/>
                  <a:pt x="976686" y="385331"/>
                  <a:pt x="974863" y="383509"/>
                </a:cubicBezTo>
                <a:cubicBezTo>
                  <a:pt x="983974" y="381687"/>
                  <a:pt x="985796" y="394441"/>
                  <a:pt x="989441" y="388976"/>
                </a:cubicBezTo>
                <a:cubicBezTo>
                  <a:pt x="991263" y="385331"/>
                  <a:pt x="985796" y="381687"/>
                  <a:pt x="980330" y="378041"/>
                </a:cubicBezTo>
                <a:cubicBezTo>
                  <a:pt x="983974" y="378041"/>
                  <a:pt x="987619" y="379865"/>
                  <a:pt x="989441" y="376220"/>
                </a:cubicBezTo>
                <a:cubicBezTo>
                  <a:pt x="991263" y="390797"/>
                  <a:pt x="996729" y="405375"/>
                  <a:pt x="1007663" y="416308"/>
                </a:cubicBezTo>
                <a:cubicBezTo>
                  <a:pt x="1005840" y="409019"/>
                  <a:pt x="1007663" y="401731"/>
                  <a:pt x="1007663" y="394441"/>
                </a:cubicBezTo>
                <a:cubicBezTo>
                  <a:pt x="1004018" y="392620"/>
                  <a:pt x="1000374" y="392620"/>
                  <a:pt x="1000374" y="388976"/>
                </a:cubicBezTo>
                <a:cubicBezTo>
                  <a:pt x="1004018" y="388976"/>
                  <a:pt x="1005840" y="388976"/>
                  <a:pt x="1009485" y="388976"/>
                </a:cubicBezTo>
                <a:lnTo>
                  <a:pt x="1010516" y="386052"/>
                </a:lnTo>
                <a:lnTo>
                  <a:pt x="1012673" y="398997"/>
                </a:lnTo>
                <a:cubicBezTo>
                  <a:pt x="1012218" y="405375"/>
                  <a:pt x="1011307" y="411752"/>
                  <a:pt x="1013129" y="418129"/>
                </a:cubicBezTo>
                <a:cubicBezTo>
                  <a:pt x="1022240" y="398085"/>
                  <a:pt x="1024062" y="378041"/>
                  <a:pt x="1024062" y="357998"/>
                </a:cubicBezTo>
                <a:cubicBezTo>
                  <a:pt x="1024062" y="357998"/>
                  <a:pt x="1025884" y="357998"/>
                  <a:pt x="1025884" y="361642"/>
                </a:cubicBezTo>
                <a:cubicBezTo>
                  <a:pt x="1025884" y="357998"/>
                  <a:pt x="1025884" y="356176"/>
                  <a:pt x="1027707" y="354354"/>
                </a:cubicBezTo>
                <a:cubicBezTo>
                  <a:pt x="1031351" y="383509"/>
                  <a:pt x="1011307" y="410841"/>
                  <a:pt x="1018596" y="434530"/>
                </a:cubicBezTo>
                <a:cubicBezTo>
                  <a:pt x="1018596" y="432707"/>
                  <a:pt x="1018596" y="429063"/>
                  <a:pt x="1022240" y="430886"/>
                </a:cubicBezTo>
                <a:cubicBezTo>
                  <a:pt x="1019507" y="432707"/>
                  <a:pt x="1018027" y="434757"/>
                  <a:pt x="1017458" y="436807"/>
                </a:cubicBezTo>
                <a:lnTo>
                  <a:pt x="1017766" y="439484"/>
                </a:lnTo>
                <a:lnTo>
                  <a:pt x="1013129" y="436351"/>
                </a:lnTo>
                <a:cubicBezTo>
                  <a:pt x="1004018" y="449107"/>
                  <a:pt x="1000374" y="465506"/>
                  <a:pt x="1005840" y="476439"/>
                </a:cubicBezTo>
                <a:cubicBezTo>
                  <a:pt x="1014951" y="467328"/>
                  <a:pt x="1022240" y="458218"/>
                  <a:pt x="1025884" y="449107"/>
                </a:cubicBezTo>
                <a:lnTo>
                  <a:pt x="1024625" y="447053"/>
                </a:lnTo>
                <a:lnTo>
                  <a:pt x="1027707" y="449107"/>
                </a:lnTo>
                <a:cubicBezTo>
                  <a:pt x="1033173" y="449107"/>
                  <a:pt x="1024062" y="441819"/>
                  <a:pt x="1024062" y="436351"/>
                </a:cubicBezTo>
                <a:cubicBezTo>
                  <a:pt x="1025884" y="439995"/>
                  <a:pt x="1025884" y="443640"/>
                  <a:pt x="1029529" y="443640"/>
                </a:cubicBezTo>
                <a:cubicBezTo>
                  <a:pt x="1031351" y="443640"/>
                  <a:pt x="1031351" y="443640"/>
                  <a:pt x="1033173" y="441819"/>
                </a:cubicBezTo>
                <a:cubicBezTo>
                  <a:pt x="1029529" y="445463"/>
                  <a:pt x="1027707" y="450928"/>
                  <a:pt x="1027707" y="454574"/>
                </a:cubicBezTo>
                <a:cubicBezTo>
                  <a:pt x="1034995" y="445463"/>
                  <a:pt x="1038639" y="438174"/>
                  <a:pt x="1042284" y="430886"/>
                </a:cubicBezTo>
                <a:cubicBezTo>
                  <a:pt x="1038639" y="430886"/>
                  <a:pt x="1036818" y="436351"/>
                  <a:pt x="1033173" y="439995"/>
                </a:cubicBezTo>
                <a:cubicBezTo>
                  <a:pt x="1034995" y="436351"/>
                  <a:pt x="1036818" y="430886"/>
                  <a:pt x="1038639" y="427240"/>
                </a:cubicBezTo>
                <a:lnTo>
                  <a:pt x="1038639" y="430886"/>
                </a:lnTo>
                <a:cubicBezTo>
                  <a:pt x="1044106" y="425419"/>
                  <a:pt x="1049573" y="416308"/>
                  <a:pt x="1044106" y="407196"/>
                </a:cubicBezTo>
                <a:cubicBezTo>
                  <a:pt x="1053217" y="412664"/>
                  <a:pt x="1040462" y="394441"/>
                  <a:pt x="1051395" y="401731"/>
                </a:cubicBezTo>
                <a:cubicBezTo>
                  <a:pt x="1047750" y="399908"/>
                  <a:pt x="1047750" y="396264"/>
                  <a:pt x="1047750" y="390797"/>
                </a:cubicBezTo>
                <a:cubicBezTo>
                  <a:pt x="1047750" y="394441"/>
                  <a:pt x="1049573" y="396264"/>
                  <a:pt x="1051395" y="398085"/>
                </a:cubicBezTo>
                <a:cubicBezTo>
                  <a:pt x="1056861" y="392620"/>
                  <a:pt x="1055040" y="385331"/>
                  <a:pt x="1053217" y="379865"/>
                </a:cubicBezTo>
                <a:cubicBezTo>
                  <a:pt x="1053217" y="379865"/>
                  <a:pt x="1053217" y="379865"/>
                  <a:pt x="1055040" y="379865"/>
                </a:cubicBezTo>
                <a:cubicBezTo>
                  <a:pt x="1060506" y="379865"/>
                  <a:pt x="1053217" y="368932"/>
                  <a:pt x="1058683" y="374397"/>
                </a:cubicBezTo>
                <a:cubicBezTo>
                  <a:pt x="1060506" y="378041"/>
                  <a:pt x="1055040" y="388976"/>
                  <a:pt x="1058683" y="387152"/>
                </a:cubicBezTo>
                <a:cubicBezTo>
                  <a:pt x="1064151" y="387152"/>
                  <a:pt x="1065972" y="385331"/>
                  <a:pt x="1067794" y="381687"/>
                </a:cubicBezTo>
                <a:cubicBezTo>
                  <a:pt x="1064151" y="390798"/>
                  <a:pt x="1058683" y="399453"/>
                  <a:pt x="1054128" y="408336"/>
                </a:cubicBezTo>
                <a:lnTo>
                  <a:pt x="1046811" y="433333"/>
                </a:lnTo>
                <a:lnTo>
                  <a:pt x="1042284" y="436351"/>
                </a:lnTo>
                <a:cubicBezTo>
                  <a:pt x="1044106" y="434530"/>
                  <a:pt x="1045929" y="432707"/>
                  <a:pt x="1044106" y="432707"/>
                </a:cubicBezTo>
                <a:cubicBezTo>
                  <a:pt x="1040462" y="436351"/>
                  <a:pt x="1042284" y="438174"/>
                  <a:pt x="1040462" y="439995"/>
                </a:cubicBezTo>
                <a:cubicBezTo>
                  <a:pt x="1040462" y="439995"/>
                  <a:pt x="1042284" y="439995"/>
                  <a:pt x="1042284" y="439995"/>
                </a:cubicBezTo>
                <a:cubicBezTo>
                  <a:pt x="1038639" y="443640"/>
                  <a:pt x="1038639" y="449107"/>
                  <a:pt x="1038639" y="456395"/>
                </a:cubicBezTo>
                <a:cubicBezTo>
                  <a:pt x="1036818" y="454574"/>
                  <a:pt x="1034995" y="450928"/>
                  <a:pt x="1034995" y="449107"/>
                </a:cubicBezTo>
                <a:cubicBezTo>
                  <a:pt x="1024062" y="460039"/>
                  <a:pt x="1005840" y="470972"/>
                  <a:pt x="1005840" y="485550"/>
                </a:cubicBezTo>
                <a:cubicBezTo>
                  <a:pt x="1007663" y="483728"/>
                  <a:pt x="1009485" y="481906"/>
                  <a:pt x="1009485" y="480083"/>
                </a:cubicBezTo>
                <a:cubicBezTo>
                  <a:pt x="1009485" y="481906"/>
                  <a:pt x="1007663" y="485550"/>
                  <a:pt x="1007663" y="489194"/>
                </a:cubicBezTo>
                <a:lnTo>
                  <a:pt x="1009485" y="487373"/>
                </a:lnTo>
                <a:lnTo>
                  <a:pt x="1005577" y="498193"/>
                </a:lnTo>
                <a:lnTo>
                  <a:pt x="1002196" y="487373"/>
                </a:lnTo>
                <a:cubicBezTo>
                  <a:pt x="994907" y="490106"/>
                  <a:pt x="993541" y="494205"/>
                  <a:pt x="994452" y="498988"/>
                </a:cubicBezTo>
                <a:lnTo>
                  <a:pt x="999986" y="513676"/>
                </a:lnTo>
                <a:lnTo>
                  <a:pt x="995004" y="527471"/>
                </a:lnTo>
                <a:lnTo>
                  <a:pt x="967575" y="556616"/>
                </a:lnTo>
                <a:lnTo>
                  <a:pt x="971636" y="555120"/>
                </a:lnTo>
                <a:lnTo>
                  <a:pt x="962336" y="561854"/>
                </a:lnTo>
                <a:cubicBezTo>
                  <a:pt x="955731" y="566181"/>
                  <a:pt x="950264" y="571192"/>
                  <a:pt x="949353" y="580303"/>
                </a:cubicBezTo>
                <a:lnTo>
                  <a:pt x="964088" y="568420"/>
                </a:lnTo>
                <a:lnTo>
                  <a:pt x="958920" y="573014"/>
                </a:lnTo>
                <a:cubicBezTo>
                  <a:pt x="948442" y="582125"/>
                  <a:pt x="940242" y="591236"/>
                  <a:pt x="943886" y="598524"/>
                </a:cubicBezTo>
                <a:cubicBezTo>
                  <a:pt x="945709" y="593058"/>
                  <a:pt x="949353" y="589414"/>
                  <a:pt x="954819" y="587591"/>
                </a:cubicBezTo>
                <a:cubicBezTo>
                  <a:pt x="954819" y="587591"/>
                  <a:pt x="954819" y="589414"/>
                  <a:pt x="956642" y="591236"/>
                </a:cubicBezTo>
                <a:cubicBezTo>
                  <a:pt x="963476" y="578936"/>
                  <a:pt x="977483" y="571762"/>
                  <a:pt x="984060" y="560487"/>
                </a:cubicBezTo>
                <a:lnTo>
                  <a:pt x="986333" y="552194"/>
                </a:lnTo>
                <a:lnTo>
                  <a:pt x="1018596" y="505594"/>
                </a:lnTo>
                <a:cubicBezTo>
                  <a:pt x="1020418" y="500127"/>
                  <a:pt x="1024062" y="494662"/>
                  <a:pt x="1025884" y="489194"/>
                </a:cubicBezTo>
                <a:lnTo>
                  <a:pt x="1032551" y="480774"/>
                </a:lnTo>
                <a:lnTo>
                  <a:pt x="1038639" y="463726"/>
                </a:lnTo>
                <a:cubicBezTo>
                  <a:pt x="1038639" y="468281"/>
                  <a:pt x="1037272" y="472381"/>
                  <a:pt x="1035450" y="476482"/>
                </a:cubicBezTo>
                <a:lnTo>
                  <a:pt x="1035130" y="477171"/>
                </a:lnTo>
                <a:lnTo>
                  <a:pt x="1040462" y="467328"/>
                </a:lnTo>
                <a:cubicBezTo>
                  <a:pt x="1040462" y="470972"/>
                  <a:pt x="1040462" y="472795"/>
                  <a:pt x="1040462" y="476439"/>
                </a:cubicBezTo>
                <a:cubicBezTo>
                  <a:pt x="1044106" y="470972"/>
                  <a:pt x="1047750" y="465506"/>
                  <a:pt x="1049573" y="458218"/>
                </a:cubicBezTo>
                <a:cubicBezTo>
                  <a:pt x="1049573" y="458218"/>
                  <a:pt x="1049573" y="460039"/>
                  <a:pt x="1049573" y="461862"/>
                </a:cubicBezTo>
                <a:cubicBezTo>
                  <a:pt x="1052306" y="458218"/>
                  <a:pt x="1055040" y="452751"/>
                  <a:pt x="1056406" y="447740"/>
                </a:cubicBezTo>
                <a:lnTo>
                  <a:pt x="1055561" y="440699"/>
                </a:lnTo>
                <a:lnTo>
                  <a:pt x="1056634" y="441818"/>
                </a:lnTo>
                <a:cubicBezTo>
                  <a:pt x="1058684" y="443185"/>
                  <a:pt x="1060506" y="444551"/>
                  <a:pt x="1060506" y="447284"/>
                </a:cubicBezTo>
                <a:cubicBezTo>
                  <a:pt x="1062328" y="445463"/>
                  <a:pt x="1065972" y="443640"/>
                  <a:pt x="1065972" y="439995"/>
                </a:cubicBezTo>
                <a:cubicBezTo>
                  <a:pt x="1060506" y="460039"/>
                  <a:pt x="1053217" y="480083"/>
                  <a:pt x="1042284" y="496483"/>
                </a:cubicBezTo>
                <a:cubicBezTo>
                  <a:pt x="1056861" y="481906"/>
                  <a:pt x="1067794" y="469150"/>
                  <a:pt x="1069616" y="449107"/>
                </a:cubicBezTo>
                <a:lnTo>
                  <a:pt x="1069616" y="452751"/>
                </a:lnTo>
                <a:cubicBezTo>
                  <a:pt x="1076905" y="452751"/>
                  <a:pt x="1067794" y="445463"/>
                  <a:pt x="1071439" y="443640"/>
                </a:cubicBezTo>
                <a:lnTo>
                  <a:pt x="1074368" y="449498"/>
                </a:lnTo>
                <a:lnTo>
                  <a:pt x="1072578" y="456395"/>
                </a:lnTo>
                <a:cubicBezTo>
                  <a:pt x="1067795" y="463684"/>
                  <a:pt x="1062328" y="470973"/>
                  <a:pt x="1062328" y="480083"/>
                </a:cubicBezTo>
                <a:cubicBezTo>
                  <a:pt x="1067794" y="476439"/>
                  <a:pt x="1073262" y="472795"/>
                  <a:pt x="1078727" y="467328"/>
                </a:cubicBezTo>
                <a:lnTo>
                  <a:pt x="1078727" y="469150"/>
                </a:lnTo>
                <a:cubicBezTo>
                  <a:pt x="1065972" y="478262"/>
                  <a:pt x="1047750" y="487373"/>
                  <a:pt x="1049573" y="498306"/>
                </a:cubicBezTo>
                <a:cubicBezTo>
                  <a:pt x="1051395" y="507417"/>
                  <a:pt x="1056861" y="514705"/>
                  <a:pt x="1062328" y="521993"/>
                </a:cubicBezTo>
                <a:cubicBezTo>
                  <a:pt x="1055040" y="516527"/>
                  <a:pt x="1049573" y="509238"/>
                  <a:pt x="1044106" y="501949"/>
                </a:cubicBezTo>
                <a:cubicBezTo>
                  <a:pt x="1038639" y="507417"/>
                  <a:pt x="1034995" y="514705"/>
                  <a:pt x="1031351" y="520171"/>
                </a:cubicBezTo>
                <a:cubicBezTo>
                  <a:pt x="1033173" y="516527"/>
                  <a:pt x="1034995" y="512882"/>
                  <a:pt x="1036818" y="511061"/>
                </a:cubicBezTo>
                <a:cubicBezTo>
                  <a:pt x="1025884" y="518349"/>
                  <a:pt x="1024062" y="527461"/>
                  <a:pt x="1018596" y="534749"/>
                </a:cubicBezTo>
                <a:cubicBezTo>
                  <a:pt x="1022240" y="532926"/>
                  <a:pt x="1024062" y="531105"/>
                  <a:pt x="1025884" y="529282"/>
                </a:cubicBezTo>
                <a:cubicBezTo>
                  <a:pt x="1022240" y="536571"/>
                  <a:pt x="1018596" y="543860"/>
                  <a:pt x="1014951" y="549326"/>
                </a:cubicBezTo>
                <a:cubicBezTo>
                  <a:pt x="1014951" y="547504"/>
                  <a:pt x="1016774" y="547504"/>
                  <a:pt x="1018596" y="545681"/>
                </a:cubicBezTo>
                <a:cubicBezTo>
                  <a:pt x="998552" y="565725"/>
                  <a:pt x="976686" y="585769"/>
                  <a:pt x="958464" y="607635"/>
                </a:cubicBezTo>
                <a:cubicBezTo>
                  <a:pt x="962108" y="616746"/>
                  <a:pt x="949353" y="614924"/>
                  <a:pt x="949353" y="620391"/>
                </a:cubicBezTo>
                <a:cubicBezTo>
                  <a:pt x="951175" y="618568"/>
                  <a:pt x="951175" y="618568"/>
                  <a:pt x="952997" y="618568"/>
                </a:cubicBezTo>
                <a:cubicBezTo>
                  <a:pt x="947530" y="621302"/>
                  <a:pt x="941608" y="623580"/>
                  <a:pt x="937053" y="626769"/>
                </a:cubicBezTo>
                <a:lnTo>
                  <a:pt x="936504" y="627737"/>
                </a:lnTo>
                <a:lnTo>
                  <a:pt x="926576" y="633830"/>
                </a:lnTo>
                <a:cubicBezTo>
                  <a:pt x="922931" y="634513"/>
                  <a:pt x="919287" y="634968"/>
                  <a:pt x="916555" y="638612"/>
                </a:cubicBezTo>
                <a:cubicBezTo>
                  <a:pt x="914732" y="644079"/>
                  <a:pt x="912909" y="647723"/>
                  <a:pt x="914732" y="653190"/>
                </a:cubicBezTo>
                <a:cubicBezTo>
                  <a:pt x="916555" y="653190"/>
                  <a:pt x="918376" y="651368"/>
                  <a:pt x="918376" y="651368"/>
                </a:cubicBezTo>
                <a:cubicBezTo>
                  <a:pt x="918376" y="651368"/>
                  <a:pt x="918376" y="653190"/>
                  <a:pt x="918376" y="653190"/>
                </a:cubicBezTo>
                <a:cubicBezTo>
                  <a:pt x="922020" y="649545"/>
                  <a:pt x="922020" y="642257"/>
                  <a:pt x="927487" y="640435"/>
                </a:cubicBezTo>
                <a:cubicBezTo>
                  <a:pt x="927487" y="642257"/>
                  <a:pt x="923843" y="644079"/>
                  <a:pt x="923843" y="647723"/>
                </a:cubicBezTo>
                <a:cubicBezTo>
                  <a:pt x="927487" y="647723"/>
                  <a:pt x="927487" y="649545"/>
                  <a:pt x="929309" y="651368"/>
                </a:cubicBezTo>
                <a:cubicBezTo>
                  <a:pt x="931131" y="647724"/>
                  <a:pt x="934321" y="644535"/>
                  <a:pt x="936370" y="640890"/>
                </a:cubicBezTo>
                <a:lnTo>
                  <a:pt x="936442" y="636691"/>
                </a:lnTo>
                <a:lnTo>
                  <a:pt x="943886" y="627679"/>
                </a:lnTo>
                <a:cubicBezTo>
                  <a:pt x="941153" y="630413"/>
                  <a:pt x="941153" y="632691"/>
                  <a:pt x="941608" y="635196"/>
                </a:cubicBezTo>
                <a:lnTo>
                  <a:pt x="941812" y="639144"/>
                </a:lnTo>
                <a:lnTo>
                  <a:pt x="940242" y="636790"/>
                </a:lnTo>
                <a:cubicBezTo>
                  <a:pt x="936598" y="642257"/>
                  <a:pt x="934777" y="644079"/>
                  <a:pt x="934777" y="649545"/>
                </a:cubicBezTo>
                <a:cubicBezTo>
                  <a:pt x="938420" y="647723"/>
                  <a:pt x="938875" y="645901"/>
                  <a:pt x="939331" y="644535"/>
                </a:cubicBezTo>
                <a:lnTo>
                  <a:pt x="942018" y="643191"/>
                </a:lnTo>
                <a:lnTo>
                  <a:pt x="942064" y="644079"/>
                </a:lnTo>
                <a:cubicBezTo>
                  <a:pt x="942064" y="647723"/>
                  <a:pt x="945709" y="647723"/>
                  <a:pt x="947531" y="647723"/>
                </a:cubicBezTo>
                <a:lnTo>
                  <a:pt x="949244" y="664852"/>
                </a:lnTo>
                <a:lnTo>
                  <a:pt x="948670" y="668679"/>
                </a:lnTo>
                <a:cubicBezTo>
                  <a:pt x="947986" y="670501"/>
                  <a:pt x="947531" y="672323"/>
                  <a:pt x="949353" y="673234"/>
                </a:cubicBezTo>
                <a:cubicBezTo>
                  <a:pt x="951175" y="676878"/>
                  <a:pt x="949353" y="678700"/>
                  <a:pt x="947531" y="682345"/>
                </a:cubicBezTo>
                <a:cubicBezTo>
                  <a:pt x="945709" y="678700"/>
                  <a:pt x="947531" y="684167"/>
                  <a:pt x="947531" y="685989"/>
                </a:cubicBezTo>
                <a:cubicBezTo>
                  <a:pt x="947531" y="684167"/>
                  <a:pt x="947531" y="684167"/>
                  <a:pt x="947531" y="682345"/>
                </a:cubicBezTo>
                <a:cubicBezTo>
                  <a:pt x="947531" y="682345"/>
                  <a:pt x="949353" y="682345"/>
                  <a:pt x="949353" y="684167"/>
                </a:cubicBezTo>
                <a:cubicBezTo>
                  <a:pt x="949353" y="685989"/>
                  <a:pt x="947531" y="687811"/>
                  <a:pt x="945709" y="689633"/>
                </a:cubicBezTo>
                <a:cubicBezTo>
                  <a:pt x="958464" y="687811"/>
                  <a:pt x="963930" y="673234"/>
                  <a:pt x="954819" y="664123"/>
                </a:cubicBezTo>
                <a:cubicBezTo>
                  <a:pt x="954819" y="665945"/>
                  <a:pt x="954819" y="667767"/>
                  <a:pt x="952997" y="669589"/>
                </a:cubicBezTo>
                <a:cubicBezTo>
                  <a:pt x="954819" y="665945"/>
                  <a:pt x="952997" y="660478"/>
                  <a:pt x="949353" y="658656"/>
                </a:cubicBezTo>
                <a:cubicBezTo>
                  <a:pt x="952997" y="658656"/>
                  <a:pt x="952997" y="660478"/>
                  <a:pt x="954819" y="662301"/>
                </a:cubicBezTo>
                <a:cubicBezTo>
                  <a:pt x="956642" y="655012"/>
                  <a:pt x="951175" y="647723"/>
                  <a:pt x="947531" y="644079"/>
                </a:cubicBezTo>
                <a:cubicBezTo>
                  <a:pt x="951175" y="645901"/>
                  <a:pt x="954819" y="649545"/>
                  <a:pt x="954819" y="653190"/>
                </a:cubicBezTo>
                <a:cubicBezTo>
                  <a:pt x="954819" y="651368"/>
                  <a:pt x="954819" y="651368"/>
                  <a:pt x="954819" y="651368"/>
                </a:cubicBezTo>
                <a:cubicBezTo>
                  <a:pt x="962108" y="644079"/>
                  <a:pt x="960286" y="658656"/>
                  <a:pt x="965753" y="656834"/>
                </a:cubicBezTo>
                <a:lnTo>
                  <a:pt x="962381" y="671798"/>
                </a:lnTo>
                <a:lnTo>
                  <a:pt x="962108" y="671411"/>
                </a:lnTo>
                <a:cubicBezTo>
                  <a:pt x="956642" y="675056"/>
                  <a:pt x="960286" y="684167"/>
                  <a:pt x="967575" y="680522"/>
                </a:cubicBezTo>
                <a:lnTo>
                  <a:pt x="966769" y="678979"/>
                </a:lnTo>
                <a:lnTo>
                  <a:pt x="969397" y="682345"/>
                </a:lnTo>
                <a:lnTo>
                  <a:pt x="971197" y="680781"/>
                </a:lnTo>
                <a:lnTo>
                  <a:pt x="969397" y="686673"/>
                </a:lnTo>
                <a:cubicBezTo>
                  <a:pt x="969397" y="692367"/>
                  <a:pt x="972131" y="698745"/>
                  <a:pt x="974863" y="704211"/>
                </a:cubicBezTo>
                <a:cubicBezTo>
                  <a:pt x="974863" y="706033"/>
                  <a:pt x="976686" y="698744"/>
                  <a:pt x="980330" y="696922"/>
                </a:cubicBezTo>
                <a:lnTo>
                  <a:pt x="976686" y="696922"/>
                </a:lnTo>
                <a:cubicBezTo>
                  <a:pt x="978508" y="695100"/>
                  <a:pt x="978508" y="693278"/>
                  <a:pt x="982152" y="693278"/>
                </a:cubicBezTo>
                <a:cubicBezTo>
                  <a:pt x="982152" y="693278"/>
                  <a:pt x="980330" y="693278"/>
                  <a:pt x="982152" y="689633"/>
                </a:cubicBezTo>
                <a:cubicBezTo>
                  <a:pt x="982152" y="689633"/>
                  <a:pt x="983974" y="691455"/>
                  <a:pt x="983974" y="691455"/>
                </a:cubicBezTo>
                <a:cubicBezTo>
                  <a:pt x="985796" y="689633"/>
                  <a:pt x="991263" y="687811"/>
                  <a:pt x="989441" y="684167"/>
                </a:cubicBezTo>
                <a:cubicBezTo>
                  <a:pt x="989441" y="685989"/>
                  <a:pt x="987619" y="685989"/>
                  <a:pt x="985796" y="687811"/>
                </a:cubicBezTo>
                <a:cubicBezTo>
                  <a:pt x="985796" y="685078"/>
                  <a:pt x="987163" y="683256"/>
                  <a:pt x="988529" y="682117"/>
                </a:cubicBezTo>
                <a:lnTo>
                  <a:pt x="989197" y="681728"/>
                </a:lnTo>
                <a:lnTo>
                  <a:pt x="989498" y="681804"/>
                </a:lnTo>
                <a:lnTo>
                  <a:pt x="989612" y="681486"/>
                </a:lnTo>
                <a:lnTo>
                  <a:pt x="991263" y="680522"/>
                </a:lnTo>
                <a:lnTo>
                  <a:pt x="990123" y="680058"/>
                </a:lnTo>
                <a:lnTo>
                  <a:pt x="991263" y="676878"/>
                </a:lnTo>
                <a:cubicBezTo>
                  <a:pt x="991263" y="675056"/>
                  <a:pt x="987619" y="673234"/>
                  <a:pt x="983974" y="671411"/>
                </a:cubicBezTo>
                <a:cubicBezTo>
                  <a:pt x="991263" y="669589"/>
                  <a:pt x="994907" y="678700"/>
                  <a:pt x="1002196" y="678700"/>
                </a:cubicBezTo>
                <a:cubicBezTo>
                  <a:pt x="1000374" y="680522"/>
                  <a:pt x="998552" y="682345"/>
                  <a:pt x="996729" y="678700"/>
                </a:cubicBezTo>
                <a:lnTo>
                  <a:pt x="999332" y="683907"/>
                </a:lnTo>
                <a:lnTo>
                  <a:pt x="996729" y="687811"/>
                </a:lnTo>
                <a:cubicBezTo>
                  <a:pt x="998552" y="687811"/>
                  <a:pt x="998552" y="685989"/>
                  <a:pt x="1000374" y="687811"/>
                </a:cubicBezTo>
                <a:lnTo>
                  <a:pt x="1000374" y="685989"/>
                </a:lnTo>
                <a:lnTo>
                  <a:pt x="1005203" y="681307"/>
                </a:lnTo>
                <a:lnTo>
                  <a:pt x="1002879" y="684167"/>
                </a:lnTo>
                <a:cubicBezTo>
                  <a:pt x="1003107" y="685078"/>
                  <a:pt x="1004018" y="685989"/>
                  <a:pt x="1004018" y="687811"/>
                </a:cubicBezTo>
                <a:lnTo>
                  <a:pt x="1005785" y="680742"/>
                </a:lnTo>
                <a:lnTo>
                  <a:pt x="1007891" y="678701"/>
                </a:lnTo>
                <a:cubicBezTo>
                  <a:pt x="1009029" y="674601"/>
                  <a:pt x="1008573" y="669590"/>
                  <a:pt x="1005840" y="665945"/>
                </a:cubicBezTo>
                <a:cubicBezTo>
                  <a:pt x="1011307" y="664123"/>
                  <a:pt x="1013129" y="667767"/>
                  <a:pt x="1011307" y="671411"/>
                </a:cubicBezTo>
                <a:cubicBezTo>
                  <a:pt x="1014951" y="665945"/>
                  <a:pt x="1009485" y="664123"/>
                  <a:pt x="1007663" y="660478"/>
                </a:cubicBezTo>
                <a:cubicBezTo>
                  <a:pt x="1007663" y="662301"/>
                  <a:pt x="1009485" y="660478"/>
                  <a:pt x="1011307" y="662301"/>
                </a:cubicBezTo>
                <a:cubicBezTo>
                  <a:pt x="1009485" y="656834"/>
                  <a:pt x="1009485" y="655012"/>
                  <a:pt x="1007663" y="651368"/>
                </a:cubicBezTo>
                <a:cubicBezTo>
                  <a:pt x="1011307" y="653190"/>
                  <a:pt x="1013129" y="655012"/>
                  <a:pt x="1014951" y="656834"/>
                </a:cubicBezTo>
                <a:cubicBezTo>
                  <a:pt x="1020418" y="658656"/>
                  <a:pt x="1013129" y="647723"/>
                  <a:pt x="1020418" y="649545"/>
                </a:cubicBezTo>
                <a:cubicBezTo>
                  <a:pt x="1020418" y="642257"/>
                  <a:pt x="1014951" y="638612"/>
                  <a:pt x="1009485" y="638612"/>
                </a:cubicBezTo>
                <a:cubicBezTo>
                  <a:pt x="1011307" y="636790"/>
                  <a:pt x="1013129" y="634968"/>
                  <a:pt x="1014951" y="638612"/>
                </a:cubicBezTo>
                <a:cubicBezTo>
                  <a:pt x="1014951" y="638612"/>
                  <a:pt x="1014951" y="636790"/>
                  <a:pt x="1013129" y="634968"/>
                </a:cubicBezTo>
                <a:cubicBezTo>
                  <a:pt x="1018596" y="636790"/>
                  <a:pt x="1022240" y="640435"/>
                  <a:pt x="1024062" y="644079"/>
                </a:cubicBezTo>
                <a:cubicBezTo>
                  <a:pt x="1025884" y="638612"/>
                  <a:pt x="1020418" y="636790"/>
                  <a:pt x="1018596" y="633146"/>
                </a:cubicBezTo>
                <a:cubicBezTo>
                  <a:pt x="1018596" y="631324"/>
                  <a:pt x="1024062" y="629501"/>
                  <a:pt x="1025884" y="633146"/>
                </a:cubicBezTo>
                <a:cubicBezTo>
                  <a:pt x="1029529" y="627679"/>
                  <a:pt x="1022240" y="624035"/>
                  <a:pt x="1022240" y="618568"/>
                </a:cubicBezTo>
                <a:cubicBezTo>
                  <a:pt x="1024062" y="620391"/>
                  <a:pt x="1025884" y="624035"/>
                  <a:pt x="1029529" y="624035"/>
                </a:cubicBezTo>
                <a:cubicBezTo>
                  <a:pt x="1031351" y="624035"/>
                  <a:pt x="1031351" y="624035"/>
                  <a:pt x="1031351" y="622213"/>
                </a:cubicBezTo>
                <a:cubicBezTo>
                  <a:pt x="1031351" y="625857"/>
                  <a:pt x="1030440" y="628135"/>
                  <a:pt x="1030895" y="629957"/>
                </a:cubicBezTo>
                <a:lnTo>
                  <a:pt x="1038200" y="634684"/>
                </a:lnTo>
                <a:lnTo>
                  <a:pt x="1038184" y="634741"/>
                </a:lnTo>
                <a:lnTo>
                  <a:pt x="1042578" y="640318"/>
                </a:lnTo>
                <a:lnTo>
                  <a:pt x="1040462" y="647723"/>
                </a:lnTo>
                <a:lnTo>
                  <a:pt x="1043359" y="641309"/>
                </a:lnTo>
                <a:lnTo>
                  <a:pt x="1044106" y="642257"/>
                </a:lnTo>
                <a:lnTo>
                  <a:pt x="1043821" y="638539"/>
                </a:lnTo>
                <a:lnTo>
                  <a:pt x="1044106" y="634968"/>
                </a:lnTo>
                <a:lnTo>
                  <a:pt x="1043665" y="636515"/>
                </a:lnTo>
                <a:lnTo>
                  <a:pt x="1042284" y="618568"/>
                </a:lnTo>
                <a:cubicBezTo>
                  <a:pt x="1045929" y="618568"/>
                  <a:pt x="1045929" y="620391"/>
                  <a:pt x="1047750" y="622213"/>
                </a:cubicBezTo>
                <a:cubicBezTo>
                  <a:pt x="1045929" y="616746"/>
                  <a:pt x="1045929" y="614924"/>
                  <a:pt x="1044106" y="611280"/>
                </a:cubicBezTo>
                <a:cubicBezTo>
                  <a:pt x="1049573" y="614924"/>
                  <a:pt x="1049573" y="622213"/>
                  <a:pt x="1049573" y="627679"/>
                </a:cubicBezTo>
                <a:cubicBezTo>
                  <a:pt x="1045929" y="629501"/>
                  <a:pt x="1047750" y="631324"/>
                  <a:pt x="1047750" y="634968"/>
                </a:cubicBezTo>
                <a:cubicBezTo>
                  <a:pt x="1047750" y="634968"/>
                  <a:pt x="1049573" y="633146"/>
                  <a:pt x="1051395" y="633146"/>
                </a:cubicBezTo>
                <a:cubicBezTo>
                  <a:pt x="1053217" y="631324"/>
                  <a:pt x="1051395" y="629501"/>
                  <a:pt x="1049573" y="627679"/>
                </a:cubicBezTo>
                <a:lnTo>
                  <a:pt x="1052611" y="621606"/>
                </a:lnTo>
                <a:lnTo>
                  <a:pt x="1053824" y="620999"/>
                </a:lnTo>
                <a:lnTo>
                  <a:pt x="1054431" y="621606"/>
                </a:lnTo>
                <a:lnTo>
                  <a:pt x="1051395" y="627679"/>
                </a:lnTo>
                <a:cubicBezTo>
                  <a:pt x="1055040" y="631324"/>
                  <a:pt x="1056861" y="625857"/>
                  <a:pt x="1060506" y="624035"/>
                </a:cubicBezTo>
                <a:lnTo>
                  <a:pt x="1055950" y="620999"/>
                </a:lnTo>
                <a:lnTo>
                  <a:pt x="1056477" y="620295"/>
                </a:lnTo>
                <a:lnTo>
                  <a:pt x="1058456" y="620163"/>
                </a:lnTo>
                <a:cubicBezTo>
                  <a:pt x="1060050" y="620391"/>
                  <a:pt x="1061417" y="620391"/>
                  <a:pt x="1060506" y="618568"/>
                </a:cubicBezTo>
                <a:lnTo>
                  <a:pt x="1058757" y="617257"/>
                </a:lnTo>
                <a:lnTo>
                  <a:pt x="1060506" y="614924"/>
                </a:lnTo>
                <a:cubicBezTo>
                  <a:pt x="1060506" y="616746"/>
                  <a:pt x="1060506" y="618568"/>
                  <a:pt x="1062328" y="620391"/>
                </a:cubicBezTo>
                <a:cubicBezTo>
                  <a:pt x="1064151" y="620391"/>
                  <a:pt x="1062328" y="618568"/>
                  <a:pt x="1064151" y="616746"/>
                </a:cubicBezTo>
                <a:cubicBezTo>
                  <a:pt x="1064151" y="618568"/>
                  <a:pt x="1065972" y="622213"/>
                  <a:pt x="1065972" y="622213"/>
                </a:cubicBezTo>
                <a:cubicBezTo>
                  <a:pt x="1075083" y="614924"/>
                  <a:pt x="1064151" y="607635"/>
                  <a:pt x="1056861" y="603991"/>
                </a:cubicBezTo>
                <a:cubicBezTo>
                  <a:pt x="1064151" y="602169"/>
                  <a:pt x="1067794" y="609459"/>
                  <a:pt x="1071439" y="607635"/>
                </a:cubicBezTo>
                <a:cubicBezTo>
                  <a:pt x="1076905" y="605813"/>
                  <a:pt x="1076905" y="596702"/>
                  <a:pt x="1069616" y="591236"/>
                </a:cubicBezTo>
                <a:cubicBezTo>
                  <a:pt x="1071439" y="591236"/>
                  <a:pt x="1073262" y="591236"/>
                  <a:pt x="1075083" y="589414"/>
                </a:cubicBezTo>
                <a:cubicBezTo>
                  <a:pt x="1076905" y="591236"/>
                  <a:pt x="1076905" y="594880"/>
                  <a:pt x="1078727" y="598524"/>
                </a:cubicBezTo>
                <a:cubicBezTo>
                  <a:pt x="1076905" y="598524"/>
                  <a:pt x="1076905" y="598524"/>
                  <a:pt x="1076905" y="598524"/>
                </a:cubicBezTo>
                <a:cubicBezTo>
                  <a:pt x="1075083" y="600347"/>
                  <a:pt x="1075083" y="602169"/>
                  <a:pt x="1075083" y="603991"/>
                </a:cubicBezTo>
                <a:lnTo>
                  <a:pt x="1079288" y="606795"/>
                </a:lnTo>
                <a:lnTo>
                  <a:pt x="1075083" y="613103"/>
                </a:lnTo>
                <a:cubicBezTo>
                  <a:pt x="1082373" y="616746"/>
                  <a:pt x="1084194" y="609459"/>
                  <a:pt x="1087838" y="603991"/>
                </a:cubicBezTo>
                <a:cubicBezTo>
                  <a:pt x="1087838" y="602169"/>
                  <a:pt x="1084194" y="600347"/>
                  <a:pt x="1082373" y="602169"/>
                </a:cubicBezTo>
                <a:lnTo>
                  <a:pt x="1084419" y="600197"/>
                </a:lnTo>
                <a:lnTo>
                  <a:pt x="1090913" y="593941"/>
                </a:lnTo>
                <a:lnTo>
                  <a:pt x="1090397" y="590991"/>
                </a:lnTo>
                <a:lnTo>
                  <a:pt x="1093760" y="588275"/>
                </a:lnTo>
                <a:lnTo>
                  <a:pt x="1095935" y="584080"/>
                </a:lnTo>
                <a:lnTo>
                  <a:pt x="1096949" y="585769"/>
                </a:lnTo>
                <a:cubicBezTo>
                  <a:pt x="1098771" y="580303"/>
                  <a:pt x="1102416" y="576658"/>
                  <a:pt x="1102416" y="573014"/>
                </a:cubicBezTo>
                <a:cubicBezTo>
                  <a:pt x="1098771" y="569370"/>
                  <a:pt x="1093305" y="569370"/>
                  <a:pt x="1089660" y="567548"/>
                </a:cubicBezTo>
                <a:cubicBezTo>
                  <a:pt x="1093305" y="563904"/>
                  <a:pt x="1096949" y="571192"/>
                  <a:pt x="1100593" y="569370"/>
                </a:cubicBezTo>
                <a:cubicBezTo>
                  <a:pt x="1098771" y="567548"/>
                  <a:pt x="1096949" y="565725"/>
                  <a:pt x="1095127" y="563904"/>
                </a:cubicBezTo>
                <a:cubicBezTo>
                  <a:pt x="1098771" y="565725"/>
                  <a:pt x="1100593" y="565725"/>
                  <a:pt x="1102416" y="569370"/>
                </a:cubicBezTo>
                <a:cubicBezTo>
                  <a:pt x="1102416" y="565725"/>
                  <a:pt x="1107882" y="562081"/>
                  <a:pt x="1104238" y="560260"/>
                </a:cubicBezTo>
                <a:cubicBezTo>
                  <a:pt x="1100593" y="563904"/>
                  <a:pt x="1100593" y="567548"/>
                  <a:pt x="1102416" y="569370"/>
                </a:cubicBezTo>
                <a:cubicBezTo>
                  <a:pt x="1106060" y="563904"/>
                  <a:pt x="1100593" y="562081"/>
                  <a:pt x="1098771" y="558437"/>
                </a:cubicBezTo>
                <a:cubicBezTo>
                  <a:pt x="1098771" y="560260"/>
                  <a:pt x="1100593" y="558437"/>
                  <a:pt x="1102416" y="560260"/>
                </a:cubicBezTo>
                <a:cubicBezTo>
                  <a:pt x="1098771" y="542037"/>
                  <a:pt x="1078727" y="545681"/>
                  <a:pt x="1067794" y="538393"/>
                </a:cubicBezTo>
                <a:cubicBezTo>
                  <a:pt x="1073262" y="534749"/>
                  <a:pt x="1078727" y="542037"/>
                  <a:pt x="1082373" y="540215"/>
                </a:cubicBezTo>
                <a:cubicBezTo>
                  <a:pt x="1078727" y="536571"/>
                  <a:pt x="1076905" y="532926"/>
                  <a:pt x="1073262" y="529282"/>
                </a:cubicBezTo>
                <a:cubicBezTo>
                  <a:pt x="1082373" y="538393"/>
                  <a:pt x="1091484" y="545681"/>
                  <a:pt x="1102416" y="551148"/>
                </a:cubicBezTo>
                <a:cubicBezTo>
                  <a:pt x="1100593" y="538393"/>
                  <a:pt x="1095127" y="525638"/>
                  <a:pt x="1093305" y="514705"/>
                </a:cubicBezTo>
                <a:cubicBezTo>
                  <a:pt x="1095127" y="520171"/>
                  <a:pt x="1096949" y="520171"/>
                  <a:pt x="1098771" y="523815"/>
                </a:cubicBezTo>
                <a:cubicBezTo>
                  <a:pt x="1098771" y="521993"/>
                  <a:pt x="1098771" y="521993"/>
                  <a:pt x="1098771" y="518349"/>
                </a:cubicBezTo>
                <a:cubicBezTo>
                  <a:pt x="1098771" y="521993"/>
                  <a:pt x="1100593" y="523815"/>
                  <a:pt x="1102416" y="525638"/>
                </a:cubicBezTo>
                <a:cubicBezTo>
                  <a:pt x="1098771" y="505594"/>
                  <a:pt x="1100593" y="483728"/>
                  <a:pt x="1086016" y="469150"/>
                </a:cubicBezTo>
                <a:cubicBezTo>
                  <a:pt x="1106060" y="478262"/>
                  <a:pt x="1096949" y="503771"/>
                  <a:pt x="1104238" y="521993"/>
                </a:cubicBezTo>
                <a:cubicBezTo>
                  <a:pt x="1102416" y="520171"/>
                  <a:pt x="1104238" y="520171"/>
                  <a:pt x="1106060" y="518349"/>
                </a:cubicBezTo>
                <a:cubicBezTo>
                  <a:pt x="1103326" y="524727"/>
                  <a:pt x="1103782" y="527916"/>
                  <a:pt x="1105604" y="530649"/>
                </a:cubicBezTo>
                <a:lnTo>
                  <a:pt x="1111659" y="538128"/>
                </a:lnTo>
                <a:lnTo>
                  <a:pt x="1111526" y="538393"/>
                </a:lnTo>
                <a:lnTo>
                  <a:pt x="1111774" y="538270"/>
                </a:lnTo>
                <a:lnTo>
                  <a:pt x="1113349" y="540215"/>
                </a:lnTo>
                <a:lnTo>
                  <a:pt x="1113450" y="537431"/>
                </a:lnTo>
                <a:lnTo>
                  <a:pt x="1113804" y="537254"/>
                </a:lnTo>
                <a:lnTo>
                  <a:pt x="1113515" y="535660"/>
                </a:lnTo>
                <a:lnTo>
                  <a:pt x="1113804" y="527687"/>
                </a:lnTo>
                <a:lnTo>
                  <a:pt x="1115171" y="522904"/>
                </a:lnTo>
                <a:lnTo>
                  <a:pt x="1115171" y="527461"/>
                </a:lnTo>
                <a:lnTo>
                  <a:pt x="1116993" y="523613"/>
                </a:lnTo>
                <a:lnTo>
                  <a:pt x="1116993" y="523815"/>
                </a:lnTo>
                <a:cubicBezTo>
                  <a:pt x="1118815" y="521993"/>
                  <a:pt x="1120637" y="521993"/>
                  <a:pt x="1120637" y="518349"/>
                </a:cubicBezTo>
                <a:cubicBezTo>
                  <a:pt x="1122459" y="523815"/>
                  <a:pt x="1120637" y="531105"/>
                  <a:pt x="1120637" y="536571"/>
                </a:cubicBezTo>
                <a:cubicBezTo>
                  <a:pt x="1122459" y="536571"/>
                  <a:pt x="1120637" y="534749"/>
                  <a:pt x="1122459" y="532926"/>
                </a:cubicBezTo>
                <a:cubicBezTo>
                  <a:pt x="1124282" y="534749"/>
                  <a:pt x="1126104" y="536571"/>
                  <a:pt x="1127926" y="538393"/>
                </a:cubicBezTo>
                <a:cubicBezTo>
                  <a:pt x="1131570" y="536571"/>
                  <a:pt x="1129748" y="531105"/>
                  <a:pt x="1133393" y="529282"/>
                </a:cubicBezTo>
                <a:cubicBezTo>
                  <a:pt x="1131570" y="531105"/>
                  <a:pt x="1131570" y="532926"/>
                  <a:pt x="1131570" y="536571"/>
                </a:cubicBezTo>
                <a:cubicBezTo>
                  <a:pt x="1135215" y="534749"/>
                  <a:pt x="1138859" y="532926"/>
                  <a:pt x="1140681" y="529282"/>
                </a:cubicBezTo>
                <a:cubicBezTo>
                  <a:pt x="1137037" y="534749"/>
                  <a:pt x="1133393" y="540215"/>
                  <a:pt x="1129748" y="545681"/>
                </a:cubicBezTo>
                <a:cubicBezTo>
                  <a:pt x="1132937" y="547959"/>
                  <a:pt x="1135100" y="548301"/>
                  <a:pt x="1136723" y="547504"/>
                </a:cubicBezTo>
                <a:lnTo>
                  <a:pt x="1137529" y="546421"/>
                </a:lnTo>
                <a:lnTo>
                  <a:pt x="1140681" y="551148"/>
                </a:lnTo>
                <a:lnTo>
                  <a:pt x="1142503" y="548530"/>
                </a:lnTo>
                <a:lnTo>
                  <a:pt x="1142503" y="551148"/>
                </a:lnTo>
                <a:cubicBezTo>
                  <a:pt x="1142503" y="551148"/>
                  <a:pt x="1144326" y="549326"/>
                  <a:pt x="1144326" y="549326"/>
                </a:cubicBezTo>
                <a:cubicBezTo>
                  <a:pt x="1143414" y="552971"/>
                  <a:pt x="1144325" y="555704"/>
                  <a:pt x="1145920" y="557299"/>
                </a:cubicBezTo>
                <a:lnTo>
                  <a:pt x="1147060" y="557526"/>
                </a:lnTo>
                <a:lnTo>
                  <a:pt x="1151614" y="558437"/>
                </a:lnTo>
                <a:cubicBezTo>
                  <a:pt x="1158903" y="554792"/>
                  <a:pt x="1146148" y="552970"/>
                  <a:pt x="1147970" y="551148"/>
                </a:cubicBezTo>
                <a:cubicBezTo>
                  <a:pt x="1155259" y="543860"/>
                  <a:pt x="1153436" y="560260"/>
                  <a:pt x="1158903" y="563904"/>
                </a:cubicBezTo>
                <a:cubicBezTo>
                  <a:pt x="1164370" y="556616"/>
                  <a:pt x="1158903" y="552970"/>
                  <a:pt x="1155259" y="549326"/>
                </a:cubicBezTo>
                <a:cubicBezTo>
                  <a:pt x="1158903" y="549326"/>
                  <a:pt x="1158903" y="551148"/>
                  <a:pt x="1160725" y="552970"/>
                </a:cubicBezTo>
                <a:cubicBezTo>
                  <a:pt x="1157992" y="550237"/>
                  <a:pt x="1157081" y="547049"/>
                  <a:pt x="1156397" y="543632"/>
                </a:cubicBezTo>
                <a:lnTo>
                  <a:pt x="1153733" y="534002"/>
                </a:lnTo>
                <a:lnTo>
                  <a:pt x="1153896" y="533820"/>
                </a:lnTo>
                <a:lnTo>
                  <a:pt x="1161636" y="548871"/>
                </a:lnTo>
                <a:lnTo>
                  <a:pt x="1163545" y="561910"/>
                </a:lnTo>
                <a:lnTo>
                  <a:pt x="1163003" y="562992"/>
                </a:lnTo>
                <a:lnTo>
                  <a:pt x="1163993" y="564971"/>
                </a:lnTo>
                <a:lnTo>
                  <a:pt x="1164370" y="567548"/>
                </a:lnTo>
                <a:cubicBezTo>
                  <a:pt x="1168014" y="562081"/>
                  <a:pt x="1169836" y="558437"/>
                  <a:pt x="1168014" y="552970"/>
                </a:cubicBezTo>
                <a:cubicBezTo>
                  <a:pt x="1172569" y="556615"/>
                  <a:pt x="1169836" y="561171"/>
                  <a:pt x="1167103" y="565954"/>
                </a:cubicBezTo>
                <a:lnTo>
                  <a:pt x="1164048" y="572909"/>
                </a:lnTo>
                <a:lnTo>
                  <a:pt x="1164370" y="571192"/>
                </a:lnTo>
                <a:cubicBezTo>
                  <a:pt x="1164370" y="569370"/>
                  <a:pt x="1162547" y="569370"/>
                  <a:pt x="1162547" y="567548"/>
                </a:cubicBezTo>
                <a:cubicBezTo>
                  <a:pt x="1158903" y="571192"/>
                  <a:pt x="1164370" y="578481"/>
                  <a:pt x="1157081" y="578481"/>
                </a:cubicBezTo>
                <a:cubicBezTo>
                  <a:pt x="1164370" y="571192"/>
                  <a:pt x="1157081" y="556616"/>
                  <a:pt x="1146148" y="560260"/>
                </a:cubicBezTo>
                <a:cubicBezTo>
                  <a:pt x="1144326" y="567548"/>
                  <a:pt x="1149792" y="574836"/>
                  <a:pt x="1155259" y="578481"/>
                </a:cubicBezTo>
                <a:cubicBezTo>
                  <a:pt x="1155259" y="576658"/>
                  <a:pt x="1155259" y="574836"/>
                  <a:pt x="1155259" y="574836"/>
                </a:cubicBezTo>
                <a:cubicBezTo>
                  <a:pt x="1157081" y="573014"/>
                  <a:pt x="1153436" y="578481"/>
                  <a:pt x="1157081" y="578481"/>
                </a:cubicBezTo>
                <a:lnTo>
                  <a:pt x="1162345" y="581991"/>
                </a:lnTo>
                <a:lnTo>
                  <a:pt x="1162320" y="582125"/>
                </a:lnTo>
                <a:lnTo>
                  <a:pt x="1161834" y="583684"/>
                </a:lnTo>
                <a:lnTo>
                  <a:pt x="1160042" y="587592"/>
                </a:lnTo>
                <a:cubicBezTo>
                  <a:pt x="1158903" y="589414"/>
                  <a:pt x="1157992" y="591236"/>
                  <a:pt x="1158903" y="593058"/>
                </a:cubicBezTo>
                <a:lnTo>
                  <a:pt x="1161834" y="583684"/>
                </a:lnTo>
                <a:lnTo>
                  <a:pt x="1162547" y="582125"/>
                </a:lnTo>
                <a:lnTo>
                  <a:pt x="1162345" y="581991"/>
                </a:lnTo>
                <a:lnTo>
                  <a:pt x="1163962" y="573365"/>
                </a:lnTo>
                <a:lnTo>
                  <a:pt x="1166192" y="580303"/>
                </a:lnTo>
                <a:cubicBezTo>
                  <a:pt x="1169836" y="574836"/>
                  <a:pt x="1171658" y="569370"/>
                  <a:pt x="1169836" y="562081"/>
                </a:cubicBezTo>
                <a:cubicBezTo>
                  <a:pt x="1171658" y="560260"/>
                  <a:pt x="1169836" y="563904"/>
                  <a:pt x="1171658" y="563904"/>
                </a:cubicBezTo>
                <a:cubicBezTo>
                  <a:pt x="1175303" y="562081"/>
                  <a:pt x="1175303" y="560260"/>
                  <a:pt x="1173481" y="558437"/>
                </a:cubicBezTo>
                <a:cubicBezTo>
                  <a:pt x="1175303" y="558437"/>
                  <a:pt x="1178947" y="560260"/>
                  <a:pt x="1177125" y="558437"/>
                </a:cubicBezTo>
                <a:cubicBezTo>
                  <a:pt x="1178947" y="554792"/>
                  <a:pt x="1175303" y="551148"/>
                  <a:pt x="1173481" y="547504"/>
                </a:cubicBezTo>
                <a:cubicBezTo>
                  <a:pt x="1177125" y="547504"/>
                  <a:pt x="1177125" y="551148"/>
                  <a:pt x="1178947" y="552970"/>
                </a:cubicBezTo>
                <a:cubicBezTo>
                  <a:pt x="1180769" y="545681"/>
                  <a:pt x="1171658" y="540215"/>
                  <a:pt x="1168014" y="532926"/>
                </a:cubicBezTo>
                <a:cubicBezTo>
                  <a:pt x="1171658" y="532926"/>
                  <a:pt x="1173481" y="536571"/>
                  <a:pt x="1175303" y="540215"/>
                </a:cubicBezTo>
                <a:cubicBezTo>
                  <a:pt x="1171658" y="532926"/>
                  <a:pt x="1169836" y="527461"/>
                  <a:pt x="1164370" y="521993"/>
                </a:cubicBezTo>
                <a:cubicBezTo>
                  <a:pt x="1163458" y="524727"/>
                  <a:pt x="1160725" y="527005"/>
                  <a:pt x="1157764" y="529510"/>
                </a:cubicBezTo>
                <a:lnTo>
                  <a:pt x="1153896" y="533820"/>
                </a:lnTo>
                <a:lnTo>
                  <a:pt x="1153436" y="532926"/>
                </a:lnTo>
                <a:lnTo>
                  <a:pt x="1153733" y="534002"/>
                </a:lnTo>
                <a:lnTo>
                  <a:pt x="1149792" y="538393"/>
                </a:lnTo>
                <a:cubicBezTo>
                  <a:pt x="1149792" y="536571"/>
                  <a:pt x="1149792" y="536571"/>
                  <a:pt x="1149792" y="536571"/>
                </a:cubicBezTo>
                <a:cubicBezTo>
                  <a:pt x="1147970" y="534749"/>
                  <a:pt x="1147970" y="540215"/>
                  <a:pt x="1146148" y="538393"/>
                </a:cubicBezTo>
                <a:cubicBezTo>
                  <a:pt x="1144325" y="539304"/>
                  <a:pt x="1144325" y="540215"/>
                  <a:pt x="1144098" y="541354"/>
                </a:cubicBezTo>
                <a:lnTo>
                  <a:pt x="1142897" y="542875"/>
                </a:lnTo>
                <a:lnTo>
                  <a:pt x="1142503" y="542037"/>
                </a:lnTo>
                <a:lnTo>
                  <a:pt x="1139107" y="544301"/>
                </a:lnTo>
                <a:lnTo>
                  <a:pt x="1140453" y="542493"/>
                </a:lnTo>
                <a:lnTo>
                  <a:pt x="1147697" y="533659"/>
                </a:lnTo>
                <a:lnTo>
                  <a:pt x="1147970" y="534749"/>
                </a:lnTo>
                <a:lnTo>
                  <a:pt x="1147930" y="533986"/>
                </a:lnTo>
                <a:lnTo>
                  <a:pt x="1148824" y="535432"/>
                </a:lnTo>
                <a:cubicBezTo>
                  <a:pt x="1150361" y="535432"/>
                  <a:pt x="1149336" y="525182"/>
                  <a:pt x="1153436" y="529282"/>
                </a:cubicBezTo>
                <a:cubicBezTo>
                  <a:pt x="1156169" y="526549"/>
                  <a:pt x="1156625" y="524271"/>
                  <a:pt x="1156397" y="522221"/>
                </a:cubicBezTo>
                <a:lnTo>
                  <a:pt x="1155935" y="519901"/>
                </a:lnTo>
                <a:lnTo>
                  <a:pt x="1157288" y="517531"/>
                </a:lnTo>
                <a:lnTo>
                  <a:pt x="1157081" y="520171"/>
                </a:lnTo>
                <a:cubicBezTo>
                  <a:pt x="1158903" y="520171"/>
                  <a:pt x="1158903" y="520171"/>
                  <a:pt x="1160725" y="518349"/>
                </a:cubicBezTo>
                <a:cubicBezTo>
                  <a:pt x="1157081" y="520171"/>
                  <a:pt x="1157081" y="523815"/>
                  <a:pt x="1155259" y="527461"/>
                </a:cubicBezTo>
                <a:cubicBezTo>
                  <a:pt x="1162547" y="525638"/>
                  <a:pt x="1164370" y="518349"/>
                  <a:pt x="1160725" y="514705"/>
                </a:cubicBezTo>
                <a:cubicBezTo>
                  <a:pt x="1162547" y="514705"/>
                  <a:pt x="1164370" y="518349"/>
                  <a:pt x="1164370" y="518349"/>
                </a:cubicBezTo>
                <a:cubicBezTo>
                  <a:pt x="1168014" y="516528"/>
                  <a:pt x="1168469" y="513794"/>
                  <a:pt x="1167558" y="511061"/>
                </a:cubicBezTo>
                <a:lnTo>
                  <a:pt x="1163969" y="505840"/>
                </a:lnTo>
                <a:lnTo>
                  <a:pt x="1164066" y="505670"/>
                </a:lnTo>
                <a:lnTo>
                  <a:pt x="1169836" y="512882"/>
                </a:lnTo>
                <a:cubicBezTo>
                  <a:pt x="1173481" y="511061"/>
                  <a:pt x="1177125" y="511061"/>
                  <a:pt x="1177125" y="507417"/>
                </a:cubicBezTo>
                <a:cubicBezTo>
                  <a:pt x="1175303" y="501949"/>
                  <a:pt x="1169836" y="500127"/>
                  <a:pt x="1164370" y="498306"/>
                </a:cubicBezTo>
                <a:lnTo>
                  <a:pt x="1162746" y="500916"/>
                </a:lnTo>
                <a:lnTo>
                  <a:pt x="1158903" y="499763"/>
                </a:lnTo>
                <a:lnTo>
                  <a:pt x="1162547" y="500127"/>
                </a:lnTo>
                <a:cubicBezTo>
                  <a:pt x="1162547" y="476439"/>
                  <a:pt x="1151614" y="450928"/>
                  <a:pt x="1126104" y="443640"/>
                </a:cubicBezTo>
                <a:lnTo>
                  <a:pt x="1140759" y="446897"/>
                </a:lnTo>
                <a:lnTo>
                  <a:pt x="1149337" y="451840"/>
                </a:lnTo>
                <a:cubicBezTo>
                  <a:pt x="1157081" y="459129"/>
                  <a:pt x="1164370" y="467329"/>
                  <a:pt x="1173481" y="472795"/>
                </a:cubicBezTo>
                <a:cubicBezTo>
                  <a:pt x="1173481" y="474618"/>
                  <a:pt x="1173481" y="474618"/>
                  <a:pt x="1173481" y="476439"/>
                </a:cubicBezTo>
                <a:cubicBezTo>
                  <a:pt x="1175303" y="480083"/>
                  <a:pt x="1180769" y="487373"/>
                  <a:pt x="1184414" y="487373"/>
                </a:cubicBezTo>
                <a:cubicBezTo>
                  <a:pt x="1182592" y="478262"/>
                  <a:pt x="1182592" y="465506"/>
                  <a:pt x="1173481" y="458218"/>
                </a:cubicBezTo>
                <a:cubicBezTo>
                  <a:pt x="1173481" y="460039"/>
                  <a:pt x="1171658" y="460039"/>
                  <a:pt x="1171658" y="461862"/>
                </a:cubicBezTo>
                <a:cubicBezTo>
                  <a:pt x="1173481" y="454574"/>
                  <a:pt x="1162547" y="450928"/>
                  <a:pt x="1157081" y="447284"/>
                </a:cubicBezTo>
                <a:cubicBezTo>
                  <a:pt x="1160725" y="449107"/>
                  <a:pt x="1166192" y="452751"/>
                  <a:pt x="1169836" y="450928"/>
                </a:cubicBezTo>
                <a:cubicBezTo>
                  <a:pt x="1169836" y="449107"/>
                  <a:pt x="1168014" y="449107"/>
                  <a:pt x="1168014" y="445463"/>
                </a:cubicBezTo>
                <a:cubicBezTo>
                  <a:pt x="1169836" y="447284"/>
                  <a:pt x="1173481" y="450928"/>
                  <a:pt x="1177125" y="452751"/>
                </a:cubicBezTo>
                <a:cubicBezTo>
                  <a:pt x="1177125" y="449107"/>
                  <a:pt x="1177125" y="447284"/>
                  <a:pt x="1178947" y="445463"/>
                </a:cubicBezTo>
                <a:cubicBezTo>
                  <a:pt x="1177125" y="452751"/>
                  <a:pt x="1175303" y="461862"/>
                  <a:pt x="1186236" y="469150"/>
                </a:cubicBezTo>
                <a:cubicBezTo>
                  <a:pt x="1184414" y="449107"/>
                  <a:pt x="1182592" y="429063"/>
                  <a:pt x="1162547" y="419952"/>
                </a:cubicBezTo>
                <a:cubicBezTo>
                  <a:pt x="1166192" y="418129"/>
                  <a:pt x="1162547" y="414485"/>
                  <a:pt x="1164370" y="412664"/>
                </a:cubicBezTo>
                <a:cubicBezTo>
                  <a:pt x="1168014" y="419952"/>
                  <a:pt x="1173481" y="429063"/>
                  <a:pt x="1182592" y="430886"/>
                </a:cubicBezTo>
                <a:cubicBezTo>
                  <a:pt x="1180769" y="414485"/>
                  <a:pt x="1180769" y="398085"/>
                  <a:pt x="1171658" y="383509"/>
                </a:cubicBezTo>
                <a:cubicBezTo>
                  <a:pt x="1191703" y="390797"/>
                  <a:pt x="1177125" y="432707"/>
                  <a:pt x="1189880" y="450928"/>
                </a:cubicBezTo>
                <a:cubicBezTo>
                  <a:pt x="1191703" y="450928"/>
                  <a:pt x="1189880" y="443640"/>
                  <a:pt x="1191703" y="447284"/>
                </a:cubicBezTo>
                <a:cubicBezTo>
                  <a:pt x="1189880" y="450928"/>
                  <a:pt x="1189880" y="458218"/>
                  <a:pt x="1193525" y="456395"/>
                </a:cubicBezTo>
                <a:cubicBezTo>
                  <a:pt x="1193525" y="458217"/>
                  <a:pt x="1193069" y="460040"/>
                  <a:pt x="1193297" y="461634"/>
                </a:cubicBezTo>
                <a:lnTo>
                  <a:pt x="1193525" y="461862"/>
                </a:lnTo>
                <a:lnTo>
                  <a:pt x="1193525" y="472795"/>
                </a:lnTo>
                <a:cubicBezTo>
                  <a:pt x="1195346" y="470972"/>
                  <a:pt x="1195346" y="469150"/>
                  <a:pt x="1197169" y="467328"/>
                </a:cubicBezTo>
                <a:lnTo>
                  <a:pt x="1193525" y="461863"/>
                </a:lnTo>
                <a:lnTo>
                  <a:pt x="1197169" y="465506"/>
                </a:lnTo>
                <a:cubicBezTo>
                  <a:pt x="1198991" y="461862"/>
                  <a:pt x="1197169" y="458218"/>
                  <a:pt x="1198991" y="454574"/>
                </a:cubicBezTo>
                <a:cubicBezTo>
                  <a:pt x="1200814" y="460039"/>
                  <a:pt x="1197169" y="463684"/>
                  <a:pt x="1198991" y="469150"/>
                </a:cubicBezTo>
                <a:cubicBezTo>
                  <a:pt x="1204457" y="467328"/>
                  <a:pt x="1198991" y="474618"/>
                  <a:pt x="1202636" y="476439"/>
                </a:cubicBezTo>
                <a:cubicBezTo>
                  <a:pt x="1204457" y="474618"/>
                  <a:pt x="1202636" y="472795"/>
                  <a:pt x="1204457" y="470972"/>
                </a:cubicBezTo>
                <a:cubicBezTo>
                  <a:pt x="1206279" y="472795"/>
                  <a:pt x="1204457" y="476439"/>
                  <a:pt x="1206279" y="474618"/>
                </a:cubicBezTo>
                <a:cubicBezTo>
                  <a:pt x="1209925" y="474618"/>
                  <a:pt x="1208102" y="472795"/>
                  <a:pt x="1208102" y="470972"/>
                </a:cubicBezTo>
                <a:cubicBezTo>
                  <a:pt x="1209925" y="470972"/>
                  <a:pt x="1209925" y="472795"/>
                  <a:pt x="1211747" y="470972"/>
                </a:cubicBezTo>
                <a:cubicBezTo>
                  <a:pt x="1211747" y="467328"/>
                  <a:pt x="1208102" y="467328"/>
                  <a:pt x="1209925" y="465506"/>
                </a:cubicBezTo>
                <a:lnTo>
                  <a:pt x="1212146" y="465284"/>
                </a:lnTo>
                <a:lnTo>
                  <a:pt x="1213568" y="470972"/>
                </a:lnTo>
                <a:cubicBezTo>
                  <a:pt x="1213568" y="470972"/>
                  <a:pt x="1215390" y="467328"/>
                  <a:pt x="1217213" y="469150"/>
                </a:cubicBezTo>
                <a:cubicBezTo>
                  <a:pt x="1217213" y="469150"/>
                  <a:pt x="1213568" y="470972"/>
                  <a:pt x="1211747" y="472795"/>
                </a:cubicBezTo>
                <a:cubicBezTo>
                  <a:pt x="1211747" y="478262"/>
                  <a:pt x="1208102" y="483728"/>
                  <a:pt x="1211747" y="489194"/>
                </a:cubicBezTo>
                <a:cubicBezTo>
                  <a:pt x="1213568" y="487373"/>
                  <a:pt x="1213568" y="485550"/>
                  <a:pt x="1215390" y="487373"/>
                </a:cubicBezTo>
                <a:cubicBezTo>
                  <a:pt x="1215390" y="492838"/>
                  <a:pt x="1213568" y="496483"/>
                  <a:pt x="1215390" y="500127"/>
                </a:cubicBezTo>
                <a:cubicBezTo>
                  <a:pt x="1211747" y="496483"/>
                  <a:pt x="1215390" y="494662"/>
                  <a:pt x="1211747" y="491017"/>
                </a:cubicBezTo>
                <a:cubicBezTo>
                  <a:pt x="1211747" y="494662"/>
                  <a:pt x="1211747" y="500127"/>
                  <a:pt x="1213568" y="503771"/>
                </a:cubicBezTo>
                <a:cubicBezTo>
                  <a:pt x="1211747" y="507417"/>
                  <a:pt x="1213568" y="509238"/>
                  <a:pt x="1213568" y="509238"/>
                </a:cubicBezTo>
                <a:cubicBezTo>
                  <a:pt x="1215390" y="511061"/>
                  <a:pt x="1215390" y="505594"/>
                  <a:pt x="1213568" y="503771"/>
                </a:cubicBezTo>
                <a:cubicBezTo>
                  <a:pt x="1215390" y="501949"/>
                  <a:pt x="1213568" y="498306"/>
                  <a:pt x="1215390" y="500127"/>
                </a:cubicBezTo>
                <a:cubicBezTo>
                  <a:pt x="1217213" y="503771"/>
                  <a:pt x="1215390" y="509238"/>
                  <a:pt x="1217213" y="512882"/>
                </a:cubicBezTo>
                <a:lnTo>
                  <a:pt x="1225986" y="504334"/>
                </a:lnTo>
                <a:lnTo>
                  <a:pt x="1223590" y="508327"/>
                </a:lnTo>
                <a:cubicBezTo>
                  <a:pt x="1221312" y="512882"/>
                  <a:pt x="1219946" y="517438"/>
                  <a:pt x="1220858" y="521993"/>
                </a:cubicBezTo>
                <a:cubicBezTo>
                  <a:pt x="1219036" y="520171"/>
                  <a:pt x="1217213" y="516527"/>
                  <a:pt x="1219036" y="514705"/>
                </a:cubicBezTo>
                <a:cubicBezTo>
                  <a:pt x="1213568" y="518349"/>
                  <a:pt x="1219036" y="525638"/>
                  <a:pt x="1217213" y="527461"/>
                </a:cubicBezTo>
                <a:cubicBezTo>
                  <a:pt x="1224501" y="531105"/>
                  <a:pt x="1219036" y="538393"/>
                  <a:pt x="1222679" y="543860"/>
                </a:cubicBezTo>
                <a:cubicBezTo>
                  <a:pt x="1224501" y="542037"/>
                  <a:pt x="1228146" y="540215"/>
                  <a:pt x="1226323" y="536571"/>
                </a:cubicBezTo>
                <a:cubicBezTo>
                  <a:pt x="1233612" y="534749"/>
                  <a:pt x="1233612" y="523815"/>
                  <a:pt x="1240901" y="520171"/>
                </a:cubicBezTo>
                <a:cubicBezTo>
                  <a:pt x="1237256" y="511061"/>
                  <a:pt x="1240901" y="503771"/>
                  <a:pt x="1231790" y="494662"/>
                </a:cubicBezTo>
                <a:lnTo>
                  <a:pt x="1226115" y="504119"/>
                </a:lnTo>
                <a:lnTo>
                  <a:pt x="1228146" y="492838"/>
                </a:lnTo>
                <a:cubicBezTo>
                  <a:pt x="1228146" y="489194"/>
                  <a:pt x="1231790" y="492838"/>
                  <a:pt x="1231790" y="492838"/>
                </a:cubicBezTo>
                <a:cubicBezTo>
                  <a:pt x="1229969" y="483728"/>
                  <a:pt x="1219036" y="487373"/>
                  <a:pt x="1213568" y="483728"/>
                </a:cubicBezTo>
                <a:cubicBezTo>
                  <a:pt x="1217213" y="480083"/>
                  <a:pt x="1220858" y="487373"/>
                  <a:pt x="1226323" y="485550"/>
                </a:cubicBezTo>
                <a:cubicBezTo>
                  <a:pt x="1226323" y="483728"/>
                  <a:pt x="1219036" y="481906"/>
                  <a:pt x="1220858" y="480083"/>
                </a:cubicBezTo>
                <a:cubicBezTo>
                  <a:pt x="1222679" y="481906"/>
                  <a:pt x="1224501" y="481906"/>
                  <a:pt x="1226323" y="481906"/>
                </a:cubicBezTo>
                <a:cubicBezTo>
                  <a:pt x="1224501" y="478262"/>
                  <a:pt x="1220858" y="478262"/>
                  <a:pt x="1224501" y="470972"/>
                </a:cubicBezTo>
                <a:cubicBezTo>
                  <a:pt x="1224501" y="470972"/>
                  <a:pt x="1226323" y="474618"/>
                  <a:pt x="1228146" y="472795"/>
                </a:cubicBezTo>
                <a:cubicBezTo>
                  <a:pt x="1229969" y="465506"/>
                  <a:pt x="1219036" y="456395"/>
                  <a:pt x="1219036" y="449107"/>
                </a:cubicBezTo>
                <a:cubicBezTo>
                  <a:pt x="1229969" y="463684"/>
                  <a:pt x="1229969" y="483728"/>
                  <a:pt x="1240901" y="492838"/>
                </a:cubicBezTo>
                <a:cubicBezTo>
                  <a:pt x="1240901" y="489194"/>
                  <a:pt x="1242723" y="483728"/>
                  <a:pt x="1237256" y="483728"/>
                </a:cubicBezTo>
                <a:cubicBezTo>
                  <a:pt x="1237256" y="481906"/>
                  <a:pt x="1239080" y="478262"/>
                  <a:pt x="1240901" y="478262"/>
                </a:cubicBezTo>
                <a:cubicBezTo>
                  <a:pt x="1240901" y="481906"/>
                  <a:pt x="1240901" y="483728"/>
                  <a:pt x="1244545" y="483728"/>
                </a:cubicBezTo>
                <a:cubicBezTo>
                  <a:pt x="1244545" y="487373"/>
                  <a:pt x="1246367" y="492838"/>
                  <a:pt x="1246367" y="492838"/>
                </a:cubicBezTo>
                <a:cubicBezTo>
                  <a:pt x="1251834" y="489194"/>
                  <a:pt x="1248189" y="481906"/>
                  <a:pt x="1250012" y="478262"/>
                </a:cubicBezTo>
                <a:cubicBezTo>
                  <a:pt x="1250012" y="478262"/>
                  <a:pt x="1250012" y="480083"/>
                  <a:pt x="1251834" y="480083"/>
                </a:cubicBezTo>
                <a:cubicBezTo>
                  <a:pt x="1253656" y="474618"/>
                  <a:pt x="1251834" y="470972"/>
                  <a:pt x="1255478" y="467328"/>
                </a:cubicBezTo>
                <a:cubicBezTo>
                  <a:pt x="1251834" y="454574"/>
                  <a:pt x="1259123" y="439995"/>
                  <a:pt x="1253656" y="425419"/>
                </a:cubicBezTo>
                <a:cubicBezTo>
                  <a:pt x="1246367" y="410841"/>
                  <a:pt x="1239080" y="396264"/>
                  <a:pt x="1228146" y="381687"/>
                </a:cubicBezTo>
                <a:cubicBezTo>
                  <a:pt x="1229969" y="383509"/>
                  <a:pt x="1229969" y="383509"/>
                  <a:pt x="1231790" y="383509"/>
                </a:cubicBezTo>
                <a:cubicBezTo>
                  <a:pt x="1229969" y="379865"/>
                  <a:pt x="1228146" y="376220"/>
                  <a:pt x="1228146" y="372576"/>
                </a:cubicBezTo>
                <a:cubicBezTo>
                  <a:pt x="1235434" y="390797"/>
                  <a:pt x="1246367" y="412664"/>
                  <a:pt x="1257300" y="429063"/>
                </a:cubicBezTo>
                <a:cubicBezTo>
                  <a:pt x="1264589" y="421775"/>
                  <a:pt x="1257300" y="412664"/>
                  <a:pt x="1262767" y="409019"/>
                </a:cubicBezTo>
                <a:cubicBezTo>
                  <a:pt x="1260945" y="414485"/>
                  <a:pt x="1262767" y="421775"/>
                  <a:pt x="1262767" y="427240"/>
                </a:cubicBezTo>
                <a:cubicBezTo>
                  <a:pt x="1262767" y="425419"/>
                  <a:pt x="1260945" y="425419"/>
                  <a:pt x="1260945" y="425419"/>
                </a:cubicBezTo>
                <a:cubicBezTo>
                  <a:pt x="1253656" y="443640"/>
                  <a:pt x="1257300" y="461862"/>
                  <a:pt x="1257300" y="480083"/>
                </a:cubicBezTo>
                <a:lnTo>
                  <a:pt x="1260945" y="468208"/>
                </a:lnTo>
                <a:lnTo>
                  <a:pt x="1260945" y="472795"/>
                </a:lnTo>
                <a:cubicBezTo>
                  <a:pt x="1261856" y="473706"/>
                  <a:pt x="1262311" y="472795"/>
                  <a:pt x="1262311" y="471429"/>
                </a:cubicBezTo>
                <a:lnTo>
                  <a:pt x="1261085" y="467750"/>
                </a:lnTo>
                <a:lnTo>
                  <a:pt x="1263451" y="460043"/>
                </a:lnTo>
                <a:lnTo>
                  <a:pt x="1266411" y="469150"/>
                </a:lnTo>
                <a:cubicBezTo>
                  <a:pt x="1264589" y="472795"/>
                  <a:pt x="1260945" y="476439"/>
                  <a:pt x="1262767" y="480083"/>
                </a:cubicBezTo>
                <a:cubicBezTo>
                  <a:pt x="1266411" y="480083"/>
                  <a:pt x="1266411" y="474618"/>
                  <a:pt x="1268233" y="474618"/>
                </a:cubicBezTo>
                <a:cubicBezTo>
                  <a:pt x="1268233" y="480083"/>
                  <a:pt x="1255478" y="489194"/>
                  <a:pt x="1264589" y="491017"/>
                </a:cubicBezTo>
                <a:cubicBezTo>
                  <a:pt x="1264589" y="487373"/>
                  <a:pt x="1270056" y="489194"/>
                  <a:pt x="1266411" y="485550"/>
                </a:cubicBezTo>
                <a:lnTo>
                  <a:pt x="1281232" y="470729"/>
                </a:lnTo>
                <a:lnTo>
                  <a:pt x="1266867" y="490106"/>
                </a:lnTo>
                <a:cubicBezTo>
                  <a:pt x="1260033" y="498761"/>
                  <a:pt x="1253656" y="507416"/>
                  <a:pt x="1250012" y="516527"/>
                </a:cubicBezTo>
                <a:cubicBezTo>
                  <a:pt x="1251834" y="521993"/>
                  <a:pt x="1257300" y="529282"/>
                  <a:pt x="1262767" y="532926"/>
                </a:cubicBezTo>
                <a:cubicBezTo>
                  <a:pt x="1262767" y="534749"/>
                  <a:pt x="1262767" y="540215"/>
                  <a:pt x="1266411" y="540215"/>
                </a:cubicBezTo>
                <a:cubicBezTo>
                  <a:pt x="1268233" y="558437"/>
                  <a:pt x="1273700" y="578481"/>
                  <a:pt x="1275522" y="596702"/>
                </a:cubicBezTo>
                <a:cubicBezTo>
                  <a:pt x="1279166" y="598524"/>
                  <a:pt x="1282811" y="602169"/>
                  <a:pt x="1286455" y="600347"/>
                </a:cubicBezTo>
                <a:cubicBezTo>
                  <a:pt x="1286455" y="598524"/>
                  <a:pt x="1284633" y="594880"/>
                  <a:pt x="1286455" y="593058"/>
                </a:cubicBezTo>
                <a:cubicBezTo>
                  <a:pt x="1290100" y="596702"/>
                  <a:pt x="1284633" y="602169"/>
                  <a:pt x="1288277" y="605813"/>
                </a:cubicBezTo>
                <a:cubicBezTo>
                  <a:pt x="1291922" y="602169"/>
                  <a:pt x="1295566" y="596702"/>
                  <a:pt x="1293744" y="591236"/>
                </a:cubicBezTo>
                <a:cubicBezTo>
                  <a:pt x="1293744" y="587591"/>
                  <a:pt x="1288277" y="583947"/>
                  <a:pt x="1291922" y="569370"/>
                </a:cubicBezTo>
                <a:cubicBezTo>
                  <a:pt x="1293744" y="571192"/>
                  <a:pt x="1293744" y="574836"/>
                  <a:pt x="1295566" y="574836"/>
                </a:cubicBezTo>
                <a:cubicBezTo>
                  <a:pt x="1299210" y="571192"/>
                  <a:pt x="1290100" y="565725"/>
                  <a:pt x="1291922" y="560260"/>
                </a:cubicBezTo>
                <a:cubicBezTo>
                  <a:pt x="1293744" y="562081"/>
                  <a:pt x="1293744" y="565725"/>
                  <a:pt x="1295566" y="565725"/>
                </a:cubicBezTo>
                <a:cubicBezTo>
                  <a:pt x="1295566" y="562081"/>
                  <a:pt x="1293744" y="558437"/>
                  <a:pt x="1291922" y="554792"/>
                </a:cubicBezTo>
                <a:cubicBezTo>
                  <a:pt x="1295566" y="552970"/>
                  <a:pt x="1286455" y="542037"/>
                  <a:pt x="1290100" y="540215"/>
                </a:cubicBezTo>
                <a:cubicBezTo>
                  <a:pt x="1293744" y="551148"/>
                  <a:pt x="1295566" y="563904"/>
                  <a:pt x="1297388" y="573014"/>
                </a:cubicBezTo>
                <a:cubicBezTo>
                  <a:pt x="1291922" y="574836"/>
                  <a:pt x="1299210" y="589414"/>
                  <a:pt x="1295566" y="583947"/>
                </a:cubicBezTo>
                <a:cubicBezTo>
                  <a:pt x="1297388" y="587591"/>
                  <a:pt x="1293744" y="587591"/>
                  <a:pt x="1295566" y="591236"/>
                </a:cubicBezTo>
                <a:cubicBezTo>
                  <a:pt x="1299210" y="589414"/>
                  <a:pt x="1297388" y="585769"/>
                  <a:pt x="1301033" y="585769"/>
                </a:cubicBezTo>
                <a:cubicBezTo>
                  <a:pt x="1304677" y="580303"/>
                  <a:pt x="1301033" y="573014"/>
                  <a:pt x="1302855" y="567548"/>
                </a:cubicBezTo>
                <a:cubicBezTo>
                  <a:pt x="1304677" y="569370"/>
                  <a:pt x="1302855" y="569370"/>
                  <a:pt x="1306499" y="571192"/>
                </a:cubicBezTo>
                <a:cubicBezTo>
                  <a:pt x="1302855" y="574836"/>
                  <a:pt x="1302855" y="576658"/>
                  <a:pt x="1304677" y="580303"/>
                </a:cubicBezTo>
                <a:cubicBezTo>
                  <a:pt x="1308321" y="574836"/>
                  <a:pt x="1311966" y="569370"/>
                  <a:pt x="1310143" y="562081"/>
                </a:cubicBezTo>
                <a:cubicBezTo>
                  <a:pt x="1315610" y="563904"/>
                  <a:pt x="1313788" y="554792"/>
                  <a:pt x="1315610" y="554792"/>
                </a:cubicBezTo>
                <a:cubicBezTo>
                  <a:pt x="1315610" y="563904"/>
                  <a:pt x="1308321" y="574836"/>
                  <a:pt x="1308321" y="583947"/>
                </a:cubicBezTo>
                <a:cubicBezTo>
                  <a:pt x="1313788" y="580303"/>
                  <a:pt x="1315610" y="573014"/>
                  <a:pt x="1317432" y="571192"/>
                </a:cubicBezTo>
                <a:cubicBezTo>
                  <a:pt x="1319254" y="576658"/>
                  <a:pt x="1315610" y="582125"/>
                  <a:pt x="1310143" y="585769"/>
                </a:cubicBezTo>
                <a:cubicBezTo>
                  <a:pt x="1311966" y="587591"/>
                  <a:pt x="1308321" y="591236"/>
                  <a:pt x="1311966" y="591236"/>
                </a:cubicBezTo>
                <a:cubicBezTo>
                  <a:pt x="1315610" y="585769"/>
                  <a:pt x="1317432" y="580303"/>
                  <a:pt x="1319254" y="574836"/>
                </a:cubicBezTo>
                <a:cubicBezTo>
                  <a:pt x="1321077" y="576658"/>
                  <a:pt x="1319254" y="576658"/>
                  <a:pt x="1321077" y="576658"/>
                </a:cubicBezTo>
                <a:cubicBezTo>
                  <a:pt x="1326543" y="569370"/>
                  <a:pt x="1324721" y="562081"/>
                  <a:pt x="1321077" y="552970"/>
                </a:cubicBezTo>
                <a:cubicBezTo>
                  <a:pt x="1321077" y="552970"/>
                  <a:pt x="1322899" y="554792"/>
                  <a:pt x="1322899" y="552970"/>
                </a:cubicBezTo>
                <a:cubicBezTo>
                  <a:pt x="1321077" y="558437"/>
                  <a:pt x="1328365" y="574836"/>
                  <a:pt x="1324721" y="558437"/>
                </a:cubicBezTo>
                <a:cubicBezTo>
                  <a:pt x="1324721" y="556616"/>
                  <a:pt x="1322899" y="554792"/>
                  <a:pt x="1322899" y="552970"/>
                </a:cubicBezTo>
                <a:cubicBezTo>
                  <a:pt x="1321077" y="549326"/>
                  <a:pt x="1321077" y="545681"/>
                  <a:pt x="1319254" y="542037"/>
                </a:cubicBezTo>
                <a:cubicBezTo>
                  <a:pt x="1321077" y="545681"/>
                  <a:pt x="1324721" y="545681"/>
                  <a:pt x="1326543" y="549326"/>
                </a:cubicBezTo>
                <a:cubicBezTo>
                  <a:pt x="1328365" y="552970"/>
                  <a:pt x="1326543" y="558437"/>
                  <a:pt x="1330188" y="562081"/>
                </a:cubicBezTo>
                <a:cubicBezTo>
                  <a:pt x="1326543" y="574836"/>
                  <a:pt x="1330188" y="587591"/>
                  <a:pt x="1328365" y="600347"/>
                </a:cubicBezTo>
                <a:lnTo>
                  <a:pt x="1318343" y="617658"/>
                </a:lnTo>
                <a:lnTo>
                  <a:pt x="1317432" y="614924"/>
                </a:lnTo>
                <a:cubicBezTo>
                  <a:pt x="1321077" y="614924"/>
                  <a:pt x="1322899" y="609459"/>
                  <a:pt x="1321077" y="607635"/>
                </a:cubicBezTo>
                <a:cubicBezTo>
                  <a:pt x="1322899" y="605813"/>
                  <a:pt x="1322899" y="607635"/>
                  <a:pt x="1324721" y="605813"/>
                </a:cubicBezTo>
                <a:cubicBezTo>
                  <a:pt x="1326543" y="594880"/>
                  <a:pt x="1326543" y="582125"/>
                  <a:pt x="1324721" y="571192"/>
                </a:cubicBezTo>
                <a:cubicBezTo>
                  <a:pt x="1322899" y="574836"/>
                  <a:pt x="1321077" y="585769"/>
                  <a:pt x="1313788" y="591236"/>
                </a:cubicBezTo>
                <a:cubicBezTo>
                  <a:pt x="1315610" y="594880"/>
                  <a:pt x="1315610" y="600347"/>
                  <a:pt x="1317432" y="603991"/>
                </a:cubicBezTo>
                <a:cubicBezTo>
                  <a:pt x="1315610" y="602169"/>
                  <a:pt x="1315610" y="596702"/>
                  <a:pt x="1313788" y="593058"/>
                </a:cubicBezTo>
                <a:cubicBezTo>
                  <a:pt x="1310143" y="598524"/>
                  <a:pt x="1308321" y="600347"/>
                  <a:pt x="1304677" y="609459"/>
                </a:cubicBezTo>
                <a:cubicBezTo>
                  <a:pt x="1310143" y="614924"/>
                  <a:pt x="1304677" y="624035"/>
                  <a:pt x="1299210" y="631324"/>
                </a:cubicBezTo>
                <a:cubicBezTo>
                  <a:pt x="1301033" y="633146"/>
                  <a:pt x="1301033" y="631324"/>
                  <a:pt x="1302855" y="633146"/>
                </a:cubicBezTo>
                <a:cubicBezTo>
                  <a:pt x="1297388" y="634968"/>
                  <a:pt x="1301033" y="640435"/>
                  <a:pt x="1302855" y="642257"/>
                </a:cubicBezTo>
                <a:cubicBezTo>
                  <a:pt x="1306499" y="640435"/>
                  <a:pt x="1302855" y="638612"/>
                  <a:pt x="1304677" y="636790"/>
                </a:cubicBezTo>
                <a:lnTo>
                  <a:pt x="1310293" y="631562"/>
                </a:lnTo>
                <a:lnTo>
                  <a:pt x="1308321" y="634968"/>
                </a:lnTo>
                <a:cubicBezTo>
                  <a:pt x="1310143" y="638612"/>
                  <a:pt x="1308321" y="645901"/>
                  <a:pt x="1313788" y="647723"/>
                </a:cubicBezTo>
                <a:cubicBezTo>
                  <a:pt x="1315610" y="645901"/>
                  <a:pt x="1315610" y="642257"/>
                  <a:pt x="1313788" y="640435"/>
                </a:cubicBezTo>
                <a:cubicBezTo>
                  <a:pt x="1315610" y="640435"/>
                  <a:pt x="1315610" y="638612"/>
                  <a:pt x="1317432" y="638612"/>
                </a:cubicBezTo>
                <a:cubicBezTo>
                  <a:pt x="1315610" y="640435"/>
                  <a:pt x="1315610" y="640435"/>
                  <a:pt x="1317432" y="642257"/>
                </a:cubicBezTo>
                <a:cubicBezTo>
                  <a:pt x="1326543" y="634968"/>
                  <a:pt x="1330188" y="620391"/>
                  <a:pt x="1333832" y="609459"/>
                </a:cubicBezTo>
                <a:cubicBezTo>
                  <a:pt x="1330188" y="603991"/>
                  <a:pt x="1333832" y="600347"/>
                  <a:pt x="1330188" y="596702"/>
                </a:cubicBezTo>
                <a:cubicBezTo>
                  <a:pt x="1333832" y="596702"/>
                  <a:pt x="1333832" y="593058"/>
                  <a:pt x="1335654" y="593058"/>
                </a:cubicBezTo>
                <a:cubicBezTo>
                  <a:pt x="1333832" y="596702"/>
                  <a:pt x="1332009" y="603991"/>
                  <a:pt x="1335654" y="605813"/>
                </a:cubicBezTo>
                <a:cubicBezTo>
                  <a:pt x="1339299" y="600347"/>
                  <a:pt x="1339299" y="594880"/>
                  <a:pt x="1339299" y="589414"/>
                </a:cubicBezTo>
                <a:cubicBezTo>
                  <a:pt x="1344764" y="587592"/>
                  <a:pt x="1345220" y="581670"/>
                  <a:pt x="1344764" y="575292"/>
                </a:cubicBezTo>
                <a:lnTo>
                  <a:pt x="1344765" y="568277"/>
                </a:lnTo>
                <a:lnTo>
                  <a:pt x="1346587" y="574836"/>
                </a:lnTo>
                <a:cubicBezTo>
                  <a:pt x="1350231" y="573014"/>
                  <a:pt x="1350231" y="567548"/>
                  <a:pt x="1353876" y="567548"/>
                </a:cubicBezTo>
                <a:cubicBezTo>
                  <a:pt x="1352053" y="574836"/>
                  <a:pt x="1341120" y="582125"/>
                  <a:pt x="1346587" y="591236"/>
                </a:cubicBezTo>
                <a:cubicBezTo>
                  <a:pt x="1350231" y="591236"/>
                  <a:pt x="1348410" y="587591"/>
                  <a:pt x="1350231" y="589414"/>
                </a:cubicBezTo>
                <a:cubicBezTo>
                  <a:pt x="1346587" y="598524"/>
                  <a:pt x="1339299" y="605813"/>
                  <a:pt x="1342942" y="614924"/>
                </a:cubicBezTo>
                <a:cubicBezTo>
                  <a:pt x="1357521" y="603991"/>
                  <a:pt x="1366632" y="583947"/>
                  <a:pt x="1368453" y="573014"/>
                </a:cubicBezTo>
                <a:cubicBezTo>
                  <a:pt x="1368453" y="576658"/>
                  <a:pt x="1366632" y="580303"/>
                  <a:pt x="1368453" y="583947"/>
                </a:cubicBezTo>
                <a:cubicBezTo>
                  <a:pt x="1372097" y="580303"/>
                  <a:pt x="1373920" y="574836"/>
                  <a:pt x="1375743" y="574836"/>
                </a:cubicBezTo>
                <a:cubicBezTo>
                  <a:pt x="1370275" y="585769"/>
                  <a:pt x="1359342" y="594880"/>
                  <a:pt x="1355698" y="605813"/>
                </a:cubicBezTo>
                <a:cubicBezTo>
                  <a:pt x="1341120" y="618568"/>
                  <a:pt x="1339299" y="629501"/>
                  <a:pt x="1332009" y="642257"/>
                </a:cubicBezTo>
                <a:cubicBezTo>
                  <a:pt x="1333832" y="644079"/>
                  <a:pt x="1333832" y="649545"/>
                  <a:pt x="1335654" y="649545"/>
                </a:cubicBezTo>
                <a:cubicBezTo>
                  <a:pt x="1339299" y="647723"/>
                  <a:pt x="1339299" y="642257"/>
                  <a:pt x="1341120" y="642257"/>
                </a:cubicBezTo>
                <a:cubicBezTo>
                  <a:pt x="1341120" y="645901"/>
                  <a:pt x="1339299" y="649545"/>
                  <a:pt x="1337476" y="653190"/>
                </a:cubicBezTo>
                <a:cubicBezTo>
                  <a:pt x="1344765" y="645901"/>
                  <a:pt x="1353876" y="647723"/>
                  <a:pt x="1357521" y="636790"/>
                </a:cubicBezTo>
                <a:cubicBezTo>
                  <a:pt x="1357521" y="636790"/>
                  <a:pt x="1357521" y="638612"/>
                  <a:pt x="1359342" y="638612"/>
                </a:cubicBezTo>
                <a:cubicBezTo>
                  <a:pt x="1359342" y="638612"/>
                  <a:pt x="1359342" y="634968"/>
                  <a:pt x="1361164" y="634968"/>
                </a:cubicBezTo>
                <a:cubicBezTo>
                  <a:pt x="1361164" y="634968"/>
                  <a:pt x="1361164" y="638612"/>
                  <a:pt x="1362987" y="636790"/>
                </a:cubicBezTo>
                <a:cubicBezTo>
                  <a:pt x="1364809" y="631324"/>
                  <a:pt x="1362987" y="624035"/>
                  <a:pt x="1362987" y="618568"/>
                </a:cubicBezTo>
                <a:cubicBezTo>
                  <a:pt x="1366632" y="624035"/>
                  <a:pt x="1364809" y="629501"/>
                  <a:pt x="1366632" y="633146"/>
                </a:cubicBezTo>
                <a:cubicBezTo>
                  <a:pt x="1370275" y="627679"/>
                  <a:pt x="1368453" y="618568"/>
                  <a:pt x="1364809" y="613103"/>
                </a:cubicBezTo>
                <a:cubicBezTo>
                  <a:pt x="1364809" y="613103"/>
                  <a:pt x="1364809" y="614924"/>
                  <a:pt x="1366632" y="614924"/>
                </a:cubicBezTo>
                <a:cubicBezTo>
                  <a:pt x="1368453" y="613103"/>
                  <a:pt x="1362987" y="609459"/>
                  <a:pt x="1362987" y="605813"/>
                </a:cubicBezTo>
                <a:cubicBezTo>
                  <a:pt x="1362987" y="605813"/>
                  <a:pt x="1364809" y="609459"/>
                  <a:pt x="1366632" y="607635"/>
                </a:cubicBezTo>
                <a:cubicBezTo>
                  <a:pt x="1365720" y="608547"/>
                  <a:pt x="1366176" y="610369"/>
                  <a:pt x="1367314" y="612191"/>
                </a:cubicBezTo>
                <a:lnTo>
                  <a:pt x="1371410" y="616092"/>
                </a:lnTo>
                <a:lnTo>
                  <a:pt x="1370275" y="624035"/>
                </a:lnTo>
                <a:cubicBezTo>
                  <a:pt x="1368453" y="622213"/>
                  <a:pt x="1370275" y="618568"/>
                  <a:pt x="1372097" y="616746"/>
                </a:cubicBezTo>
                <a:lnTo>
                  <a:pt x="1371410" y="616092"/>
                </a:lnTo>
                <a:lnTo>
                  <a:pt x="1372097" y="611280"/>
                </a:lnTo>
                <a:cubicBezTo>
                  <a:pt x="1372097" y="614924"/>
                  <a:pt x="1373920" y="613103"/>
                  <a:pt x="1375743" y="613103"/>
                </a:cubicBezTo>
                <a:cubicBezTo>
                  <a:pt x="1372097" y="616746"/>
                  <a:pt x="1375743" y="620391"/>
                  <a:pt x="1373920" y="624035"/>
                </a:cubicBezTo>
                <a:cubicBezTo>
                  <a:pt x="1379386" y="620391"/>
                  <a:pt x="1381208" y="613103"/>
                  <a:pt x="1384854" y="611280"/>
                </a:cubicBezTo>
                <a:cubicBezTo>
                  <a:pt x="1381208" y="614924"/>
                  <a:pt x="1379386" y="620391"/>
                  <a:pt x="1375743" y="624035"/>
                </a:cubicBezTo>
                <a:cubicBezTo>
                  <a:pt x="1377564" y="633146"/>
                  <a:pt x="1373920" y="642257"/>
                  <a:pt x="1377564" y="651368"/>
                </a:cubicBezTo>
                <a:cubicBezTo>
                  <a:pt x="1379386" y="649545"/>
                  <a:pt x="1384854" y="647723"/>
                  <a:pt x="1383030" y="644079"/>
                </a:cubicBezTo>
                <a:cubicBezTo>
                  <a:pt x="1377564" y="638612"/>
                  <a:pt x="1375743" y="634968"/>
                  <a:pt x="1377564" y="631324"/>
                </a:cubicBezTo>
                <a:cubicBezTo>
                  <a:pt x="1381208" y="634968"/>
                  <a:pt x="1379386" y="638612"/>
                  <a:pt x="1383030" y="642257"/>
                </a:cubicBezTo>
                <a:cubicBezTo>
                  <a:pt x="1386676" y="642257"/>
                  <a:pt x="1388497" y="640435"/>
                  <a:pt x="1388497" y="636790"/>
                </a:cubicBezTo>
                <a:cubicBezTo>
                  <a:pt x="1384854" y="634968"/>
                  <a:pt x="1386676" y="633146"/>
                  <a:pt x="1384854" y="631324"/>
                </a:cubicBezTo>
                <a:cubicBezTo>
                  <a:pt x="1386676" y="627679"/>
                  <a:pt x="1384854" y="634968"/>
                  <a:pt x="1388497" y="633146"/>
                </a:cubicBezTo>
                <a:cubicBezTo>
                  <a:pt x="1397608" y="624035"/>
                  <a:pt x="1393963" y="614924"/>
                  <a:pt x="1386676" y="605813"/>
                </a:cubicBezTo>
                <a:cubicBezTo>
                  <a:pt x="1383030" y="605813"/>
                  <a:pt x="1384854" y="609459"/>
                  <a:pt x="1383030" y="607635"/>
                </a:cubicBezTo>
                <a:cubicBezTo>
                  <a:pt x="1388497" y="602169"/>
                  <a:pt x="1379386" y="594880"/>
                  <a:pt x="1381208" y="589414"/>
                </a:cubicBezTo>
                <a:cubicBezTo>
                  <a:pt x="1386676" y="594880"/>
                  <a:pt x="1384854" y="609459"/>
                  <a:pt x="1392141" y="609459"/>
                </a:cubicBezTo>
                <a:lnTo>
                  <a:pt x="1392141" y="602169"/>
                </a:lnTo>
                <a:cubicBezTo>
                  <a:pt x="1392141" y="602169"/>
                  <a:pt x="1390319" y="603991"/>
                  <a:pt x="1390319" y="602169"/>
                </a:cubicBezTo>
                <a:cubicBezTo>
                  <a:pt x="1390319" y="602169"/>
                  <a:pt x="1392141" y="600347"/>
                  <a:pt x="1392141" y="600347"/>
                </a:cubicBezTo>
                <a:cubicBezTo>
                  <a:pt x="1390319" y="594880"/>
                  <a:pt x="1383030" y="587591"/>
                  <a:pt x="1377564" y="582125"/>
                </a:cubicBezTo>
                <a:lnTo>
                  <a:pt x="1377341" y="578776"/>
                </a:lnTo>
                <a:lnTo>
                  <a:pt x="1384169" y="587820"/>
                </a:lnTo>
                <a:cubicBezTo>
                  <a:pt x="1386676" y="592603"/>
                  <a:pt x="1389408" y="597614"/>
                  <a:pt x="1393963" y="600347"/>
                </a:cubicBezTo>
                <a:cubicBezTo>
                  <a:pt x="1393963" y="598524"/>
                  <a:pt x="1392141" y="591236"/>
                  <a:pt x="1393963" y="591236"/>
                </a:cubicBezTo>
                <a:cubicBezTo>
                  <a:pt x="1395787" y="594880"/>
                  <a:pt x="1393963" y="602169"/>
                  <a:pt x="1395787" y="603991"/>
                </a:cubicBezTo>
                <a:cubicBezTo>
                  <a:pt x="1397608" y="603991"/>
                  <a:pt x="1397608" y="603991"/>
                  <a:pt x="1397608" y="603991"/>
                </a:cubicBezTo>
                <a:cubicBezTo>
                  <a:pt x="1395787" y="605813"/>
                  <a:pt x="1395787" y="605813"/>
                  <a:pt x="1395787" y="605813"/>
                </a:cubicBezTo>
                <a:cubicBezTo>
                  <a:pt x="1397608" y="607635"/>
                  <a:pt x="1397608" y="607635"/>
                  <a:pt x="1399430" y="609459"/>
                </a:cubicBezTo>
                <a:cubicBezTo>
                  <a:pt x="1397608" y="613103"/>
                  <a:pt x="1397608" y="605813"/>
                  <a:pt x="1395787" y="607635"/>
                </a:cubicBezTo>
                <a:cubicBezTo>
                  <a:pt x="1393963" y="611280"/>
                  <a:pt x="1395787" y="616746"/>
                  <a:pt x="1397608" y="618568"/>
                </a:cubicBezTo>
                <a:cubicBezTo>
                  <a:pt x="1399430" y="616746"/>
                  <a:pt x="1397608" y="614924"/>
                  <a:pt x="1399430" y="613103"/>
                </a:cubicBezTo>
                <a:cubicBezTo>
                  <a:pt x="1401252" y="613103"/>
                  <a:pt x="1401252" y="616746"/>
                  <a:pt x="1403074" y="614924"/>
                </a:cubicBezTo>
                <a:cubicBezTo>
                  <a:pt x="1403074" y="609459"/>
                  <a:pt x="1406719" y="611280"/>
                  <a:pt x="1406719" y="605813"/>
                </a:cubicBezTo>
                <a:lnTo>
                  <a:pt x="1405807" y="605813"/>
                </a:lnTo>
                <a:lnTo>
                  <a:pt x="1408313" y="600802"/>
                </a:lnTo>
                <a:lnTo>
                  <a:pt x="1406117" y="594655"/>
                </a:lnTo>
                <a:lnTo>
                  <a:pt x="1406719" y="594880"/>
                </a:lnTo>
                <a:cubicBezTo>
                  <a:pt x="1408541" y="582125"/>
                  <a:pt x="1397608" y="569370"/>
                  <a:pt x="1386676" y="554792"/>
                </a:cubicBezTo>
                <a:cubicBezTo>
                  <a:pt x="1384854" y="556616"/>
                  <a:pt x="1383030" y="560260"/>
                  <a:pt x="1381208" y="558437"/>
                </a:cubicBezTo>
                <a:cubicBezTo>
                  <a:pt x="1384854" y="554792"/>
                  <a:pt x="1381208" y="549326"/>
                  <a:pt x="1381208" y="547504"/>
                </a:cubicBezTo>
                <a:cubicBezTo>
                  <a:pt x="1388497" y="554792"/>
                  <a:pt x="1393963" y="567548"/>
                  <a:pt x="1401252" y="567548"/>
                </a:cubicBezTo>
                <a:cubicBezTo>
                  <a:pt x="1408541" y="576658"/>
                  <a:pt x="1408541" y="589414"/>
                  <a:pt x="1414007" y="598524"/>
                </a:cubicBezTo>
                <a:cubicBezTo>
                  <a:pt x="1417652" y="594880"/>
                  <a:pt x="1414007" y="589414"/>
                  <a:pt x="1414007" y="585769"/>
                </a:cubicBezTo>
                <a:cubicBezTo>
                  <a:pt x="1414007" y="587591"/>
                  <a:pt x="1415829" y="591236"/>
                  <a:pt x="1417652" y="589414"/>
                </a:cubicBezTo>
                <a:cubicBezTo>
                  <a:pt x="1414007" y="583947"/>
                  <a:pt x="1412185" y="578481"/>
                  <a:pt x="1412185" y="573014"/>
                </a:cubicBezTo>
                <a:cubicBezTo>
                  <a:pt x="1415829" y="573014"/>
                  <a:pt x="1414007" y="580303"/>
                  <a:pt x="1417652" y="580303"/>
                </a:cubicBezTo>
                <a:cubicBezTo>
                  <a:pt x="1415829" y="576658"/>
                  <a:pt x="1417652" y="574836"/>
                  <a:pt x="1414007" y="571192"/>
                </a:cubicBezTo>
                <a:cubicBezTo>
                  <a:pt x="1417652" y="569370"/>
                  <a:pt x="1415829" y="574836"/>
                  <a:pt x="1417652" y="573014"/>
                </a:cubicBezTo>
                <a:cubicBezTo>
                  <a:pt x="1419474" y="569370"/>
                  <a:pt x="1419474" y="563904"/>
                  <a:pt x="1419474" y="560260"/>
                </a:cubicBezTo>
                <a:lnTo>
                  <a:pt x="1426886" y="548947"/>
                </a:lnTo>
                <a:lnTo>
                  <a:pt x="1426307" y="555020"/>
                </a:lnTo>
                <a:cubicBezTo>
                  <a:pt x="1422663" y="562992"/>
                  <a:pt x="1418563" y="571192"/>
                  <a:pt x="1421296" y="580303"/>
                </a:cubicBezTo>
                <a:cubicBezTo>
                  <a:pt x="1421296" y="580303"/>
                  <a:pt x="1423118" y="578481"/>
                  <a:pt x="1423118" y="580303"/>
                </a:cubicBezTo>
                <a:cubicBezTo>
                  <a:pt x="1421296" y="580303"/>
                  <a:pt x="1423118" y="585769"/>
                  <a:pt x="1421296" y="583947"/>
                </a:cubicBezTo>
                <a:cubicBezTo>
                  <a:pt x="1421296" y="582125"/>
                  <a:pt x="1419474" y="582125"/>
                  <a:pt x="1419474" y="582125"/>
                </a:cubicBezTo>
                <a:cubicBezTo>
                  <a:pt x="1419474" y="583947"/>
                  <a:pt x="1421296" y="587591"/>
                  <a:pt x="1423118" y="587591"/>
                </a:cubicBezTo>
                <a:cubicBezTo>
                  <a:pt x="1430407" y="574836"/>
                  <a:pt x="1434051" y="560260"/>
                  <a:pt x="1441340" y="547504"/>
                </a:cubicBezTo>
                <a:lnTo>
                  <a:pt x="1442001" y="541554"/>
                </a:lnTo>
                <a:lnTo>
                  <a:pt x="1443162" y="545681"/>
                </a:lnTo>
                <a:cubicBezTo>
                  <a:pt x="1437696" y="556616"/>
                  <a:pt x="1430407" y="569370"/>
                  <a:pt x="1428585" y="582125"/>
                </a:cubicBezTo>
                <a:cubicBezTo>
                  <a:pt x="1430407" y="582125"/>
                  <a:pt x="1432229" y="583947"/>
                  <a:pt x="1434051" y="583947"/>
                </a:cubicBezTo>
                <a:cubicBezTo>
                  <a:pt x="1431318" y="585769"/>
                  <a:pt x="1429496" y="588502"/>
                  <a:pt x="1428130" y="591008"/>
                </a:cubicBezTo>
                <a:lnTo>
                  <a:pt x="1426104" y="594625"/>
                </a:lnTo>
                <a:lnTo>
                  <a:pt x="1426763" y="587591"/>
                </a:lnTo>
                <a:cubicBezTo>
                  <a:pt x="1423118" y="593058"/>
                  <a:pt x="1415829" y="596702"/>
                  <a:pt x="1421296" y="602169"/>
                </a:cubicBezTo>
                <a:lnTo>
                  <a:pt x="1425269" y="596116"/>
                </a:lnTo>
                <a:lnTo>
                  <a:pt x="1424940" y="596702"/>
                </a:lnTo>
                <a:cubicBezTo>
                  <a:pt x="1423118" y="600347"/>
                  <a:pt x="1423118" y="602169"/>
                  <a:pt x="1426763" y="605813"/>
                </a:cubicBezTo>
                <a:cubicBezTo>
                  <a:pt x="1428585" y="605813"/>
                  <a:pt x="1428585" y="603991"/>
                  <a:pt x="1430407" y="603991"/>
                </a:cubicBezTo>
                <a:cubicBezTo>
                  <a:pt x="1428585" y="609459"/>
                  <a:pt x="1428585" y="614924"/>
                  <a:pt x="1434051" y="622213"/>
                </a:cubicBezTo>
                <a:cubicBezTo>
                  <a:pt x="1439518" y="618568"/>
                  <a:pt x="1434051" y="611280"/>
                  <a:pt x="1434051" y="603991"/>
                </a:cubicBezTo>
                <a:cubicBezTo>
                  <a:pt x="1437696" y="607635"/>
                  <a:pt x="1434051" y="609459"/>
                  <a:pt x="1437696" y="613103"/>
                </a:cubicBezTo>
                <a:cubicBezTo>
                  <a:pt x="1439518" y="611280"/>
                  <a:pt x="1437696" y="611280"/>
                  <a:pt x="1439518" y="609459"/>
                </a:cubicBezTo>
                <a:cubicBezTo>
                  <a:pt x="1441340" y="611280"/>
                  <a:pt x="1441340" y="613103"/>
                  <a:pt x="1441340" y="614924"/>
                </a:cubicBezTo>
                <a:cubicBezTo>
                  <a:pt x="1441340" y="614924"/>
                  <a:pt x="1439518" y="618568"/>
                  <a:pt x="1439518" y="618568"/>
                </a:cubicBezTo>
                <a:cubicBezTo>
                  <a:pt x="1443162" y="614924"/>
                  <a:pt x="1441340" y="620391"/>
                  <a:pt x="1443162" y="620391"/>
                </a:cubicBezTo>
                <a:cubicBezTo>
                  <a:pt x="1444984" y="616746"/>
                  <a:pt x="1444984" y="611280"/>
                  <a:pt x="1444984" y="607635"/>
                </a:cubicBezTo>
                <a:cubicBezTo>
                  <a:pt x="1446806" y="609459"/>
                  <a:pt x="1444984" y="613103"/>
                  <a:pt x="1446806" y="611280"/>
                </a:cubicBezTo>
                <a:cubicBezTo>
                  <a:pt x="1446806" y="605813"/>
                  <a:pt x="1446806" y="605813"/>
                  <a:pt x="1441340" y="600347"/>
                </a:cubicBezTo>
                <a:cubicBezTo>
                  <a:pt x="1446806" y="598524"/>
                  <a:pt x="1444984" y="605813"/>
                  <a:pt x="1448629" y="611280"/>
                </a:cubicBezTo>
                <a:cubicBezTo>
                  <a:pt x="1448629" y="611280"/>
                  <a:pt x="1454095" y="607635"/>
                  <a:pt x="1452273" y="609459"/>
                </a:cubicBezTo>
                <a:cubicBezTo>
                  <a:pt x="1450451" y="613103"/>
                  <a:pt x="1448629" y="614924"/>
                  <a:pt x="1448629" y="616746"/>
                </a:cubicBezTo>
                <a:cubicBezTo>
                  <a:pt x="1448629" y="616746"/>
                  <a:pt x="1450451" y="618568"/>
                  <a:pt x="1452273" y="618568"/>
                </a:cubicBezTo>
                <a:cubicBezTo>
                  <a:pt x="1450451" y="622213"/>
                  <a:pt x="1448629" y="620391"/>
                  <a:pt x="1446806" y="620391"/>
                </a:cubicBezTo>
                <a:cubicBezTo>
                  <a:pt x="1446806" y="624035"/>
                  <a:pt x="1444984" y="625857"/>
                  <a:pt x="1446806" y="627679"/>
                </a:cubicBezTo>
                <a:cubicBezTo>
                  <a:pt x="1448629" y="625857"/>
                  <a:pt x="1446806" y="624035"/>
                  <a:pt x="1448629" y="622213"/>
                </a:cubicBezTo>
                <a:cubicBezTo>
                  <a:pt x="1450451" y="622213"/>
                  <a:pt x="1448629" y="625857"/>
                  <a:pt x="1450451" y="625857"/>
                </a:cubicBezTo>
                <a:cubicBezTo>
                  <a:pt x="1455917" y="624035"/>
                  <a:pt x="1455917" y="616746"/>
                  <a:pt x="1457739" y="614924"/>
                </a:cubicBezTo>
                <a:cubicBezTo>
                  <a:pt x="1455917" y="616746"/>
                  <a:pt x="1455917" y="620391"/>
                  <a:pt x="1457739" y="620391"/>
                </a:cubicBezTo>
                <a:cubicBezTo>
                  <a:pt x="1461384" y="618568"/>
                  <a:pt x="1459562" y="614924"/>
                  <a:pt x="1463206" y="614924"/>
                </a:cubicBezTo>
                <a:cubicBezTo>
                  <a:pt x="1461384" y="625857"/>
                  <a:pt x="1448629" y="625857"/>
                  <a:pt x="1444984" y="638612"/>
                </a:cubicBezTo>
                <a:cubicBezTo>
                  <a:pt x="1443162" y="634968"/>
                  <a:pt x="1439518" y="640435"/>
                  <a:pt x="1441340" y="642257"/>
                </a:cubicBezTo>
                <a:cubicBezTo>
                  <a:pt x="1443162" y="642257"/>
                  <a:pt x="1443162" y="640435"/>
                  <a:pt x="1444984" y="640435"/>
                </a:cubicBezTo>
                <a:cubicBezTo>
                  <a:pt x="1443162" y="642257"/>
                  <a:pt x="1441340" y="647723"/>
                  <a:pt x="1444984" y="647723"/>
                </a:cubicBezTo>
                <a:cubicBezTo>
                  <a:pt x="1441340" y="649545"/>
                  <a:pt x="1441340" y="651368"/>
                  <a:pt x="1443162" y="655012"/>
                </a:cubicBezTo>
                <a:lnTo>
                  <a:pt x="1448365" y="650676"/>
                </a:lnTo>
                <a:lnTo>
                  <a:pt x="1442934" y="658657"/>
                </a:lnTo>
                <a:cubicBezTo>
                  <a:pt x="1438151" y="664123"/>
                  <a:pt x="1433140" y="669590"/>
                  <a:pt x="1430407" y="675056"/>
                </a:cubicBezTo>
                <a:cubicBezTo>
                  <a:pt x="1434051" y="675056"/>
                  <a:pt x="1437696" y="671411"/>
                  <a:pt x="1441340" y="669589"/>
                </a:cubicBezTo>
                <a:cubicBezTo>
                  <a:pt x="1441340" y="669589"/>
                  <a:pt x="1441340" y="671411"/>
                  <a:pt x="1443162" y="673234"/>
                </a:cubicBezTo>
                <a:cubicBezTo>
                  <a:pt x="1446806" y="673234"/>
                  <a:pt x="1450451" y="669589"/>
                  <a:pt x="1450451" y="665945"/>
                </a:cubicBezTo>
                <a:cubicBezTo>
                  <a:pt x="1454095" y="667767"/>
                  <a:pt x="1454095" y="664123"/>
                  <a:pt x="1457739" y="662301"/>
                </a:cubicBezTo>
                <a:cubicBezTo>
                  <a:pt x="1459562" y="667767"/>
                  <a:pt x="1450451" y="667767"/>
                  <a:pt x="1450451" y="673234"/>
                </a:cubicBezTo>
                <a:cubicBezTo>
                  <a:pt x="1455917" y="675056"/>
                  <a:pt x="1455917" y="665945"/>
                  <a:pt x="1461384" y="667767"/>
                </a:cubicBezTo>
                <a:cubicBezTo>
                  <a:pt x="1459562" y="669589"/>
                  <a:pt x="1459562" y="671411"/>
                  <a:pt x="1459562" y="673234"/>
                </a:cubicBezTo>
                <a:cubicBezTo>
                  <a:pt x="1454095" y="671411"/>
                  <a:pt x="1450451" y="678700"/>
                  <a:pt x="1454095" y="682345"/>
                </a:cubicBezTo>
                <a:cubicBezTo>
                  <a:pt x="1457739" y="680522"/>
                  <a:pt x="1461384" y="678700"/>
                  <a:pt x="1463206" y="675056"/>
                </a:cubicBezTo>
                <a:cubicBezTo>
                  <a:pt x="1465028" y="680522"/>
                  <a:pt x="1457739" y="680522"/>
                  <a:pt x="1454095" y="684167"/>
                </a:cubicBezTo>
                <a:cubicBezTo>
                  <a:pt x="1455006" y="690545"/>
                  <a:pt x="1452273" y="696467"/>
                  <a:pt x="1448857" y="702389"/>
                </a:cubicBezTo>
                <a:lnTo>
                  <a:pt x="1440216" y="719248"/>
                </a:lnTo>
                <a:lnTo>
                  <a:pt x="1435873" y="720610"/>
                </a:lnTo>
                <a:lnTo>
                  <a:pt x="1435873" y="725622"/>
                </a:lnTo>
                <a:lnTo>
                  <a:pt x="1435670" y="725673"/>
                </a:lnTo>
                <a:lnTo>
                  <a:pt x="1434051" y="722432"/>
                </a:lnTo>
                <a:lnTo>
                  <a:pt x="1425853" y="727898"/>
                </a:lnTo>
                <a:lnTo>
                  <a:pt x="1419474" y="731543"/>
                </a:lnTo>
                <a:cubicBezTo>
                  <a:pt x="1424940" y="731543"/>
                  <a:pt x="1428585" y="731543"/>
                  <a:pt x="1434051" y="726077"/>
                </a:cubicBezTo>
                <a:lnTo>
                  <a:pt x="1435670" y="725673"/>
                </a:lnTo>
                <a:lnTo>
                  <a:pt x="1435873" y="726077"/>
                </a:lnTo>
                <a:lnTo>
                  <a:pt x="1435873" y="725622"/>
                </a:lnTo>
                <a:lnTo>
                  <a:pt x="1445895" y="723116"/>
                </a:lnTo>
                <a:cubicBezTo>
                  <a:pt x="1449995" y="719700"/>
                  <a:pt x="1454095" y="715144"/>
                  <a:pt x="1457739" y="713321"/>
                </a:cubicBezTo>
                <a:lnTo>
                  <a:pt x="1456187" y="713873"/>
                </a:lnTo>
                <a:lnTo>
                  <a:pt x="1465028" y="706033"/>
                </a:lnTo>
                <a:cubicBezTo>
                  <a:pt x="1465028" y="704211"/>
                  <a:pt x="1459562" y="704211"/>
                  <a:pt x="1461384" y="702388"/>
                </a:cubicBezTo>
                <a:cubicBezTo>
                  <a:pt x="1463206" y="704211"/>
                  <a:pt x="1463206" y="700566"/>
                  <a:pt x="1463206" y="698744"/>
                </a:cubicBezTo>
                <a:cubicBezTo>
                  <a:pt x="1465028" y="700566"/>
                  <a:pt x="1465028" y="706033"/>
                  <a:pt x="1466850" y="706033"/>
                </a:cubicBezTo>
                <a:cubicBezTo>
                  <a:pt x="1470495" y="698744"/>
                  <a:pt x="1475961" y="691455"/>
                  <a:pt x="1472317" y="684167"/>
                </a:cubicBezTo>
                <a:cubicBezTo>
                  <a:pt x="1474139" y="684167"/>
                  <a:pt x="1472317" y="685989"/>
                  <a:pt x="1474139" y="687811"/>
                </a:cubicBezTo>
                <a:cubicBezTo>
                  <a:pt x="1475961" y="685989"/>
                  <a:pt x="1475961" y="682345"/>
                  <a:pt x="1477784" y="684167"/>
                </a:cubicBezTo>
                <a:cubicBezTo>
                  <a:pt x="1472317" y="693278"/>
                  <a:pt x="1470495" y="704211"/>
                  <a:pt x="1466850" y="709677"/>
                </a:cubicBezTo>
                <a:cubicBezTo>
                  <a:pt x="1466850" y="709677"/>
                  <a:pt x="1468673" y="707855"/>
                  <a:pt x="1468673" y="709677"/>
                </a:cubicBezTo>
                <a:cubicBezTo>
                  <a:pt x="1465028" y="715144"/>
                  <a:pt x="1465028" y="720610"/>
                  <a:pt x="1465028" y="726077"/>
                </a:cubicBezTo>
                <a:cubicBezTo>
                  <a:pt x="1472317" y="723344"/>
                  <a:pt x="1475961" y="717877"/>
                  <a:pt x="1478695" y="712183"/>
                </a:cubicBezTo>
                <a:lnTo>
                  <a:pt x="1481401" y="707146"/>
                </a:lnTo>
                <a:lnTo>
                  <a:pt x="1481326" y="710197"/>
                </a:lnTo>
                <a:lnTo>
                  <a:pt x="1478012" y="714233"/>
                </a:lnTo>
                <a:cubicBezTo>
                  <a:pt x="1476872" y="716511"/>
                  <a:pt x="1475961" y="718788"/>
                  <a:pt x="1474139" y="720610"/>
                </a:cubicBezTo>
                <a:cubicBezTo>
                  <a:pt x="1476872" y="720610"/>
                  <a:pt x="1479606" y="718333"/>
                  <a:pt x="1481200" y="715372"/>
                </a:cubicBezTo>
                <a:lnTo>
                  <a:pt x="1481326" y="710197"/>
                </a:lnTo>
                <a:lnTo>
                  <a:pt x="1483250" y="707855"/>
                </a:lnTo>
                <a:lnTo>
                  <a:pt x="1483084" y="704377"/>
                </a:lnTo>
                <a:lnTo>
                  <a:pt x="1484161" y="703300"/>
                </a:lnTo>
                <a:cubicBezTo>
                  <a:pt x="1484616" y="701933"/>
                  <a:pt x="1485072" y="700566"/>
                  <a:pt x="1486895" y="700566"/>
                </a:cubicBezTo>
                <a:cubicBezTo>
                  <a:pt x="1483250" y="706033"/>
                  <a:pt x="1485072" y="709677"/>
                  <a:pt x="1485072" y="715144"/>
                </a:cubicBezTo>
                <a:cubicBezTo>
                  <a:pt x="1486895" y="713321"/>
                  <a:pt x="1488716" y="713321"/>
                  <a:pt x="1488716" y="713321"/>
                </a:cubicBezTo>
                <a:cubicBezTo>
                  <a:pt x="1488716" y="715144"/>
                  <a:pt x="1486895" y="716966"/>
                  <a:pt x="1486895" y="718788"/>
                </a:cubicBezTo>
                <a:cubicBezTo>
                  <a:pt x="1488716" y="716966"/>
                  <a:pt x="1490539" y="715144"/>
                  <a:pt x="1492361" y="716966"/>
                </a:cubicBezTo>
                <a:cubicBezTo>
                  <a:pt x="1490539" y="718788"/>
                  <a:pt x="1486895" y="718788"/>
                  <a:pt x="1486895" y="720610"/>
                </a:cubicBezTo>
                <a:cubicBezTo>
                  <a:pt x="1488716" y="722432"/>
                  <a:pt x="1492361" y="716966"/>
                  <a:pt x="1496006" y="716966"/>
                </a:cubicBezTo>
                <a:cubicBezTo>
                  <a:pt x="1492361" y="718788"/>
                  <a:pt x="1494183" y="720610"/>
                  <a:pt x="1492361" y="722432"/>
                </a:cubicBezTo>
                <a:cubicBezTo>
                  <a:pt x="1488716" y="720610"/>
                  <a:pt x="1485072" y="722432"/>
                  <a:pt x="1481428" y="722432"/>
                </a:cubicBezTo>
                <a:cubicBezTo>
                  <a:pt x="1475961" y="733366"/>
                  <a:pt x="1462295" y="728924"/>
                  <a:pt x="1455803" y="733707"/>
                </a:cubicBezTo>
                <a:lnTo>
                  <a:pt x="1452273" y="742476"/>
                </a:lnTo>
                <a:lnTo>
                  <a:pt x="1446806" y="747943"/>
                </a:lnTo>
                <a:cubicBezTo>
                  <a:pt x="1448629" y="749765"/>
                  <a:pt x="1448629" y="746121"/>
                  <a:pt x="1450451" y="747943"/>
                </a:cubicBezTo>
                <a:cubicBezTo>
                  <a:pt x="1441340" y="751587"/>
                  <a:pt x="1428585" y="760698"/>
                  <a:pt x="1423118" y="764342"/>
                </a:cubicBezTo>
                <a:cubicBezTo>
                  <a:pt x="1424940" y="762520"/>
                  <a:pt x="1428585" y="760698"/>
                  <a:pt x="1426763" y="758876"/>
                </a:cubicBezTo>
                <a:cubicBezTo>
                  <a:pt x="1424940" y="757054"/>
                  <a:pt x="1423118" y="758876"/>
                  <a:pt x="1421296" y="758876"/>
                </a:cubicBezTo>
                <a:cubicBezTo>
                  <a:pt x="1421296" y="769809"/>
                  <a:pt x="1412185" y="778920"/>
                  <a:pt x="1408541" y="788031"/>
                </a:cubicBezTo>
                <a:cubicBezTo>
                  <a:pt x="1414007" y="788031"/>
                  <a:pt x="1426763" y="780742"/>
                  <a:pt x="1424940" y="773453"/>
                </a:cubicBezTo>
                <a:cubicBezTo>
                  <a:pt x="1426763" y="771631"/>
                  <a:pt x="1430407" y="775275"/>
                  <a:pt x="1430407" y="769809"/>
                </a:cubicBezTo>
                <a:cubicBezTo>
                  <a:pt x="1432229" y="775275"/>
                  <a:pt x="1423118" y="778920"/>
                  <a:pt x="1426763" y="784386"/>
                </a:cubicBezTo>
                <a:cubicBezTo>
                  <a:pt x="1428585" y="782564"/>
                  <a:pt x="1432229" y="780742"/>
                  <a:pt x="1434051" y="782564"/>
                </a:cubicBezTo>
                <a:cubicBezTo>
                  <a:pt x="1432229" y="786208"/>
                  <a:pt x="1428585" y="782564"/>
                  <a:pt x="1424940" y="786208"/>
                </a:cubicBezTo>
                <a:cubicBezTo>
                  <a:pt x="1426763" y="788031"/>
                  <a:pt x="1424940" y="788031"/>
                  <a:pt x="1426763" y="789853"/>
                </a:cubicBezTo>
                <a:cubicBezTo>
                  <a:pt x="1428585" y="788031"/>
                  <a:pt x="1432229" y="786208"/>
                  <a:pt x="1434051" y="786208"/>
                </a:cubicBezTo>
                <a:cubicBezTo>
                  <a:pt x="1432229" y="789853"/>
                  <a:pt x="1424940" y="791675"/>
                  <a:pt x="1424940" y="795319"/>
                </a:cubicBezTo>
                <a:cubicBezTo>
                  <a:pt x="1426763" y="793497"/>
                  <a:pt x="1426763" y="793497"/>
                  <a:pt x="1424940" y="791675"/>
                </a:cubicBezTo>
                <a:cubicBezTo>
                  <a:pt x="1412185" y="795319"/>
                  <a:pt x="1397608" y="793497"/>
                  <a:pt x="1383030" y="808074"/>
                </a:cubicBezTo>
                <a:cubicBezTo>
                  <a:pt x="1381208" y="808074"/>
                  <a:pt x="1379386" y="808074"/>
                  <a:pt x="1377564" y="808074"/>
                </a:cubicBezTo>
                <a:cubicBezTo>
                  <a:pt x="1375743" y="806252"/>
                  <a:pt x="1375743" y="804430"/>
                  <a:pt x="1373920" y="802608"/>
                </a:cubicBezTo>
                <a:cubicBezTo>
                  <a:pt x="1362987" y="800786"/>
                  <a:pt x="1350231" y="802608"/>
                  <a:pt x="1339299" y="813541"/>
                </a:cubicBezTo>
                <a:cubicBezTo>
                  <a:pt x="1339299" y="815363"/>
                  <a:pt x="1342942" y="815363"/>
                  <a:pt x="1341120" y="817185"/>
                </a:cubicBezTo>
                <a:cubicBezTo>
                  <a:pt x="1337476" y="817185"/>
                  <a:pt x="1335654" y="820830"/>
                  <a:pt x="1335654" y="822652"/>
                </a:cubicBezTo>
                <a:cubicBezTo>
                  <a:pt x="1339299" y="826296"/>
                  <a:pt x="1335654" y="828118"/>
                  <a:pt x="1337476" y="831763"/>
                </a:cubicBezTo>
                <a:cubicBezTo>
                  <a:pt x="1341120" y="831763"/>
                  <a:pt x="1341120" y="826296"/>
                  <a:pt x="1342942" y="828118"/>
                </a:cubicBezTo>
                <a:cubicBezTo>
                  <a:pt x="1342942" y="828118"/>
                  <a:pt x="1341120" y="829941"/>
                  <a:pt x="1341120" y="831763"/>
                </a:cubicBezTo>
                <a:cubicBezTo>
                  <a:pt x="1348410" y="831763"/>
                  <a:pt x="1355698" y="831763"/>
                  <a:pt x="1364809" y="826296"/>
                </a:cubicBezTo>
                <a:cubicBezTo>
                  <a:pt x="1364809" y="820830"/>
                  <a:pt x="1366632" y="820830"/>
                  <a:pt x="1368453" y="815363"/>
                </a:cubicBezTo>
                <a:cubicBezTo>
                  <a:pt x="1372097" y="819008"/>
                  <a:pt x="1366632" y="820830"/>
                  <a:pt x="1368453" y="824474"/>
                </a:cubicBezTo>
                <a:cubicBezTo>
                  <a:pt x="1375743" y="820830"/>
                  <a:pt x="1377564" y="817185"/>
                  <a:pt x="1372097" y="824474"/>
                </a:cubicBezTo>
                <a:cubicBezTo>
                  <a:pt x="1383030" y="826296"/>
                  <a:pt x="1393963" y="815363"/>
                  <a:pt x="1401252" y="808074"/>
                </a:cubicBezTo>
                <a:cubicBezTo>
                  <a:pt x="1399430" y="809897"/>
                  <a:pt x="1403074" y="806252"/>
                  <a:pt x="1403074" y="808074"/>
                </a:cubicBezTo>
                <a:cubicBezTo>
                  <a:pt x="1401252" y="811719"/>
                  <a:pt x="1393963" y="815363"/>
                  <a:pt x="1390319" y="820830"/>
                </a:cubicBezTo>
                <a:cubicBezTo>
                  <a:pt x="1395787" y="820830"/>
                  <a:pt x="1390319" y="822652"/>
                  <a:pt x="1390319" y="824474"/>
                </a:cubicBezTo>
                <a:cubicBezTo>
                  <a:pt x="1404896" y="829941"/>
                  <a:pt x="1414007" y="828118"/>
                  <a:pt x="1423118" y="813541"/>
                </a:cubicBezTo>
                <a:cubicBezTo>
                  <a:pt x="1424940" y="808074"/>
                  <a:pt x="1417652" y="802608"/>
                  <a:pt x="1417652" y="797141"/>
                </a:cubicBezTo>
                <a:lnTo>
                  <a:pt x="1423212" y="804092"/>
                </a:lnTo>
                <a:lnTo>
                  <a:pt x="1423118" y="806252"/>
                </a:lnTo>
                <a:cubicBezTo>
                  <a:pt x="1424940" y="806252"/>
                  <a:pt x="1423118" y="808074"/>
                  <a:pt x="1424940" y="809897"/>
                </a:cubicBezTo>
                <a:lnTo>
                  <a:pt x="1424940" y="806252"/>
                </a:lnTo>
                <a:lnTo>
                  <a:pt x="1423212" y="804092"/>
                </a:lnTo>
                <a:lnTo>
                  <a:pt x="1423346" y="801014"/>
                </a:lnTo>
                <a:cubicBezTo>
                  <a:pt x="1423118" y="799420"/>
                  <a:pt x="1423118" y="798053"/>
                  <a:pt x="1424940" y="797141"/>
                </a:cubicBezTo>
                <a:cubicBezTo>
                  <a:pt x="1426763" y="795319"/>
                  <a:pt x="1424940" y="798964"/>
                  <a:pt x="1428585" y="798964"/>
                </a:cubicBezTo>
                <a:cubicBezTo>
                  <a:pt x="1428585" y="795319"/>
                  <a:pt x="1432229" y="798964"/>
                  <a:pt x="1434051" y="797141"/>
                </a:cubicBezTo>
                <a:cubicBezTo>
                  <a:pt x="1432229" y="798964"/>
                  <a:pt x="1432229" y="800786"/>
                  <a:pt x="1434051" y="802608"/>
                </a:cubicBezTo>
                <a:cubicBezTo>
                  <a:pt x="1437696" y="800786"/>
                  <a:pt x="1435873" y="795319"/>
                  <a:pt x="1437696" y="798964"/>
                </a:cubicBezTo>
                <a:cubicBezTo>
                  <a:pt x="1437696" y="798964"/>
                  <a:pt x="1439518" y="798964"/>
                  <a:pt x="1439518" y="798964"/>
                </a:cubicBezTo>
                <a:cubicBezTo>
                  <a:pt x="1437696" y="802608"/>
                  <a:pt x="1430407" y="804430"/>
                  <a:pt x="1430407" y="809897"/>
                </a:cubicBezTo>
                <a:lnTo>
                  <a:pt x="1443855" y="801369"/>
                </a:lnTo>
                <a:lnTo>
                  <a:pt x="1434507" y="808986"/>
                </a:lnTo>
                <a:cubicBezTo>
                  <a:pt x="1430407" y="811719"/>
                  <a:pt x="1426762" y="814453"/>
                  <a:pt x="1424940" y="819008"/>
                </a:cubicBezTo>
                <a:cubicBezTo>
                  <a:pt x="1432229" y="819008"/>
                  <a:pt x="1439518" y="817185"/>
                  <a:pt x="1446806" y="815363"/>
                </a:cubicBezTo>
                <a:cubicBezTo>
                  <a:pt x="1448629" y="815363"/>
                  <a:pt x="1446806" y="809897"/>
                  <a:pt x="1448629" y="811719"/>
                </a:cubicBezTo>
                <a:cubicBezTo>
                  <a:pt x="1448629" y="811719"/>
                  <a:pt x="1450451" y="817185"/>
                  <a:pt x="1450451" y="815363"/>
                </a:cubicBezTo>
                <a:cubicBezTo>
                  <a:pt x="1461384" y="811719"/>
                  <a:pt x="1472317" y="802608"/>
                  <a:pt x="1483250" y="791675"/>
                </a:cubicBezTo>
                <a:cubicBezTo>
                  <a:pt x="1486895" y="780742"/>
                  <a:pt x="1477784" y="766164"/>
                  <a:pt x="1481428" y="757054"/>
                </a:cubicBezTo>
                <a:lnTo>
                  <a:pt x="1486752" y="781902"/>
                </a:lnTo>
                <a:lnTo>
                  <a:pt x="1483250" y="788031"/>
                </a:lnTo>
                <a:cubicBezTo>
                  <a:pt x="1488716" y="788031"/>
                  <a:pt x="1494183" y="778920"/>
                  <a:pt x="1490539" y="775275"/>
                </a:cubicBezTo>
                <a:lnTo>
                  <a:pt x="1488455" y="778922"/>
                </a:lnTo>
                <a:lnTo>
                  <a:pt x="1492361" y="769809"/>
                </a:lnTo>
                <a:cubicBezTo>
                  <a:pt x="1494183" y="771631"/>
                  <a:pt x="1492361" y="775275"/>
                  <a:pt x="1494183" y="775275"/>
                </a:cubicBezTo>
                <a:cubicBezTo>
                  <a:pt x="1497827" y="775275"/>
                  <a:pt x="1494183" y="773453"/>
                  <a:pt x="1496006" y="771631"/>
                </a:cubicBezTo>
                <a:cubicBezTo>
                  <a:pt x="1497827" y="775275"/>
                  <a:pt x="1494183" y="777098"/>
                  <a:pt x="1496006" y="778920"/>
                </a:cubicBezTo>
                <a:cubicBezTo>
                  <a:pt x="1497827" y="777098"/>
                  <a:pt x="1499650" y="771631"/>
                  <a:pt x="1499650" y="773453"/>
                </a:cubicBezTo>
                <a:cubicBezTo>
                  <a:pt x="1499650" y="775275"/>
                  <a:pt x="1496006" y="777098"/>
                  <a:pt x="1497827" y="778920"/>
                </a:cubicBezTo>
                <a:cubicBezTo>
                  <a:pt x="1503294" y="777098"/>
                  <a:pt x="1505117" y="769809"/>
                  <a:pt x="1499650" y="766164"/>
                </a:cubicBezTo>
                <a:cubicBezTo>
                  <a:pt x="1503294" y="766164"/>
                  <a:pt x="1505117" y="766164"/>
                  <a:pt x="1506938" y="767987"/>
                </a:cubicBezTo>
                <a:cubicBezTo>
                  <a:pt x="1503294" y="771631"/>
                  <a:pt x="1503294" y="777098"/>
                  <a:pt x="1503294" y="780742"/>
                </a:cubicBezTo>
                <a:cubicBezTo>
                  <a:pt x="1505117" y="778920"/>
                  <a:pt x="1506938" y="778920"/>
                  <a:pt x="1506938" y="778920"/>
                </a:cubicBezTo>
                <a:cubicBezTo>
                  <a:pt x="1506938" y="780742"/>
                  <a:pt x="1503294" y="780742"/>
                  <a:pt x="1505117" y="782564"/>
                </a:cubicBezTo>
                <a:cubicBezTo>
                  <a:pt x="1510583" y="778920"/>
                  <a:pt x="1512405" y="771631"/>
                  <a:pt x="1516049" y="775275"/>
                </a:cubicBezTo>
                <a:cubicBezTo>
                  <a:pt x="1508760" y="780742"/>
                  <a:pt x="1497827" y="789853"/>
                  <a:pt x="1494183" y="795319"/>
                </a:cubicBezTo>
                <a:cubicBezTo>
                  <a:pt x="1501472" y="795319"/>
                  <a:pt x="1508760" y="789853"/>
                  <a:pt x="1514228" y="786208"/>
                </a:cubicBezTo>
                <a:cubicBezTo>
                  <a:pt x="1510583" y="789853"/>
                  <a:pt x="1510583" y="791675"/>
                  <a:pt x="1508760" y="795319"/>
                </a:cubicBezTo>
                <a:cubicBezTo>
                  <a:pt x="1501472" y="791675"/>
                  <a:pt x="1490539" y="797141"/>
                  <a:pt x="1494183" y="804430"/>
                </a:cubicBezTo>
                <a:lnTo>
                  <a:pt x="1499606" y="802227"/>
                </a:lnTo>
                <a:lnTo>
                  <a:pt x="1492361" y="806252"/>
                </a:lnTo>
                <a:cubicBezTo>
                  <a:pt x="1496006" y="808074"/>
                  <a:pt x="1488716" y="811719"/>
                  <a:pt x="1490539" y="815363"/>
                </a:cubicBezTo>
                <a:cubicBezTo>
                  <a:pt x="1492361" y="815363"/>
                  <a:pt x="1494183" y="817185"/>
                  <a:pt x="1496006" y="819008"/>
                </a:cubicBezTo>
                <a:cubicBezTo>
                  <a:pt x="1492361" y="822652"/>
                  <a:pt x="1494183" y="824474"/>
                  <a:pt x="1492361" y="826296"/>
                </a:cubicBezTo>
                <a:cubicBezTo>
                  <a:pt x="1486895" y="824474"/>
                  <a:pt x="1483250" y="835407"/>
                  <a:pt x="1485072" y="839051"/>
                </a:cubicBezTo>
                <a:cubicBezTo>
                  <a:pt x="1490539" y="835407"/>
                  <a:pt x="1496006" y="831763"/>
                  <a:pt x="1499650" y="831763"/>
                </a:cubicBezTo>
                <a:cubicBezTo>
                  <a:pt x="1494183" y="835407"/>
                  <a:pt x="1488716" y="839051"/>
                  <a:pt x="1483250" y="842696"/>
                </a:cubicBezTo>
                <a:cubicBezTo>
                  <a:pt x="1485072" y="844518"/>
                  <a:pt x="1485072" y="842696"/>
                  <a:pt x="1485072" y="844518"/>
                </a:cubicBezTo>
                <a:cubicBezTo>
                  <a:pt x="1472317" y="844518"/>
                  <a:pt x="1461384" y="851807"/>
                  <a:pt x="1450451" y="855451"/>
                </a:cubicBezTo>
                <a:lnTo>
                  <a:pt x="1448157" y="859353"/>
                </a:lnTo>
                <a:lnTo>
                  <a:pt x="1437695" y="860007"/>
                </a:lnTo>
                <a:lnTo>
                  <a:pt x="1424472" y="865792"/>
                </a:lnTo>
                <a:lnTo>
                  <a:pt x="1416513" y="864107"/>
                </a:lnTo>
                <a:cubicBezTo>
                  <a:pt x="1409907" y="862284"/>
                  <a:pt x="1403074" y="860918"/>
                  <a:pt x="1395787" y="862740"/>
                </a:cubicBezTo>
                <a:lnTo>
                  <a:pt x="1405803" y="868204"/>
                </a:lnTo>
                <a:lnTo>
                  <a:pt x="1393963" y="862740"/>
                </a:lnTo>
                <a:cubicBezTo>
                  <a:pt x="1387585" y="860007"/>
                  <a:pt x="1382575" y="856362"/>
                  <a:pt x="1377792" y="853174"/>
                </a:cubicBezTo>
                <a:lnTo>
                  <a:pt x="1365207" y="847365"/>
                </a:lnTo>
                <a:lnTo>
                  <a:pt x="1366632" y="844518"/>
                </a:lnTo>
                <a:cubicBezTo>
                  <a:pt x="1364809" y="842696"/>
                  <a:pt x="1362987" y="840874"/>
                  <a:pt x="1359342" y="844518"/>
                </a:cubicBezTo>
                <a:cubicBezTo>
                  <a:pt x="1359342" y="844518"/>
                  <a:pt x="1361164" y="842696"/>
                  <a:pt x="1361164" y="842696"/>
                </a:cubicBezTo>
                <a:cubicBezTo>
                  <a:pt x="1361164" y="839051"/>
                  <a:pt x="1359342" y="839051"/>
                  <a:pt x="1357521" y="842696"/>
                </a:cubicBezTo>
                <a:cubicBezTo>
                  <a:pt x="1357521" y="842696"/>
                  <a:pt x="1359342" y="844518"/>
                  <a:pt x="1359342" y="844518"/>
                </a:cubicBezTo>
                <a:lnTo>
                  <a:pt x="1362529" y="846643"/>
                </a:lnTo>
                <a:lnTo>
                  <a:pt x="1359694" y="848514"/>
                </a:lnTo>
                <a:lnTo>
                  <a:pt x="1359342" y="848162"/>
                </a:lnTo>
                <a:cubicBezTo>
                  <a:pt x="1357521" y="846340"/>
                  <a:pt x="1353876" y="849985"/>
                  <a:pt x="1353876" y="851807"/>
                </a:cubicBezTo>
                <a:lnTo>
                  <a:pt x="1355209" y="851474"/>
                </a:lnTo>
                <a:lnTo>
                  <a:pt x="1351598" y="853857"/>
                </a:lnTo>
                <a:lnTo>
                  <a:pt x="1348763" y="856767"/>
                </a:lnTo>
                <a:lnTo>
                  <a:pt x="1346131" y="856362"/>
                </a:lnTo>
                <a:cubicBezTo>
                  <a:pt x="1344765" y="856818"/>
                  <a:pt x="1343853" y="857273"/>
                  <a:pt x="1342942" y="855451"/>
                </a:cubicBezTo>
                <a:cubicBezTo>
                  <a:pt x="1333832" y="859095"/>
                  <a:pt x="1324721" y="864562"/>
                  <a:pt x="1317432" y="873673"/>
                </a:cubicBezTo>
                <a:lnTo>
                  <a:pt x="1320342" y="872634"/>
                </a:lnTo>
                <a:lnTo>
                  <a:pt x="1308321" y="886428"/>
                </a:lnTo>
                <a:cubicBezTo>
                  <a:pt x="1308321" y="888250"/>
                  <a:pt x="1308321" y="886428"/>
                  <a:pt x="1310143" y="888250"/>
                </a:cubicBezTo>
                <a:lnTo>
                  <a:pt x="1303267" y="889969"/>
                </a:lnTo>
                <a:lnTo>
                  <a:pt x="1304221" y="885517"/>
                </a:lnTo>
                <a:cubicBezTo>
                  <a:pt x="1303767" y="883240"/>
                  <a:pt x="1302855" y="880962"/>
                  <a:pt x="1302855" y="879139"/>
                </a:cubicBezTo>
                <a:cubicBezTo>
                  <a:pt x="1301033" y="880961"/>
                  <a:pt x="1299210" y="880961"/>
                  <a:pt x="1299210" y="879139"/>
                </a:cubicBezTo>
                <a:cubicBezTo>
                  <a:pt x="1299210" y="879139"/>
                  <a:pt x="1299210" y="880961"/>
                  <a:pt x="1297388" y="880961"/>
                </a:cubicBezTo>
                <a:cubicBezTo>
                  <a:pt x="1295566" y="875495"/>
                  <a:pt x="1291922" y="875495"/>
                  <a:pt x="1288277" y="871851"/>
                </a:cubicBezTo>
                <a:cubicBezTo>
                  <a:pt x="1279166" y="880961"/>
                  <a:pt x="1277344" y="893717"/>
                  <a:pt x="1270056" y="899183"/>
                </a:cubicBezTo>
                <a:cubicBezTo>
                  <a:pt x="1277344" y="899183"/>
                  <a:pt x="1284633" y="897361"/>
                  <a:pt x="1291922" y="895539"/>
                </a:cubicBezTo>
                <a:cubicBezTo>
                  <a:pt x="1291922" y="893717"/>
                  <a:pt x="1291922" y="890072"/>
                  <a:pt x="1291922" y="888250"/>
                </a:cubicBezTo>
                <a:cubicBezTo>
                  <a:pt x="1295566" y="890072"/>
                  <a:pt x="1295566" y="888250"/>
                  <a:pt x="1295566" y="886428"/>
                </a:cubicBezTo>
                <a:cubicBezTo>
                  <a:pt x="1299210" y="886428"/>
                  <a:pt x="1291922" y="891894"/>
                  <a:pt x="1295566" y="893717"/>
                </a:cubicBezTo>
                <a:cubicBezTo>
                  <a:pt x="1297388" y="891894"/>
                  <a:pt x="1299210" y="891894"/>
                  <a:pt x="1297388" y="890072"/>
                </a:cubicBezTo>
                <a:cubicBezTo>
                  <a:pt x="1299210" y="890072"/>
                  <a:pt x="1301033" y="893717"/>
                  <a:pt x="1301033" y="890072"/>
                </a:cubicBezTo>
                <a:lnTo>
                  <a:pt x="1302490" y="891530"/>
                </a:lnTo>
                <a:lnTo>
                  <a:pt x="1301033" y="897361"/>
                </a:lnTo>
                <a:cubicBezTo>
                  <a:pt x="1302855" y="899183"/>
                  <a:pt x="1304677" y="901005"/>
                  <a:pt x="1306499" y="899183"/>
                </a:cubicBezTo>
                <a:cubicBezTo>
                  <a:pt x="1311966" y="911939"/>
                  <a:pt x="1332009" y="893717"/>
                  <a:pt x="1322899" y="882784"/>
                </a:cubicBezTo>
                <a:lnTo>
                  <a:pt x="1325983" y="898202"/>
                </a:lnTo>
                <a:lnTo>
                  <a:pt x="1322899" y="902827"/>
                </a:lnTo>
                <a:cubicBezTo>
                  <a:pt x="1323810" y="903739"/>
                  <a:pt x="1325177" y="902828"/>
                  <a:pt x="1326088" y="901461"/>
                </a:cubicBezTo>
                <a:lnTo>
                  <a:pt x="1326283" y="899704"/>
                </a:lnTo>
                <a:lnTo>
                  <a:pt x="1326543" y="901005"/>
                </a:lnTo>
                <a:cubicBezTo>
                  <a:pt x="1328365" y="904651"/>
                  <a:pt x="1332009" y="902827"/>
                  <a:pt x="1335654" y="901005"/>
                </a:cubicBezTo>
                <a:cubicBezTo>
                  <a:pt x="1335654" y="899183"/>
                  <a:pt x="1332009" y="895539"/>
                  <a:pt x="1333832" y="897361"/>
                </a:cubicBezTo>
                <a:cubicBezTo>
                  <a:pt x="1333832" y="899183"/>
                  <a:pt x="1335654" y="899183"/>
                  <a:pt x="1337476" y="899183"/>
                </a:cubicBezTo>
                <a:cubicBezTo>
                  <a:pt x="1339299" y="899183"/>
                  <a:pt x="1341120" y="897361"/>
                  <a:pt x="1342942" y="895539"/>
                </a:cubicBezTo>
                <a:cubicBezTo>
                  <a:pt x="1342942" y="893717"/>
                  <a:pt x="1341120" y="890072"/>
                  <a:pt x="1341120" y="888250"/>
                </a:cubicBezTo>
                <a:cubicBezTo>
                  <a:pt x="1344765" y="890072"/>
                  <a:pt x="1346587" y="891894"/>
                  <a:pt x="1344765" y="895539"/>
                </a:cubicBezTo>
                <a:cubicBezTo>
                  <a:pt x="1346587" y="897361"/>
                  <a:pt x="1348410" y="893717"/>
                  <a:pt x="1350231" y="895539"/>
                </a:cubicBezTo>
                <a:cubicBezTo>
                  <a:pt x="1344765" y="899183"/>
                  <a:pt x="1346587" y="904651"/>
                  <a:pt x="1350231" y="906473"/>
                </a:cubicBezTo>
                <a:cubicBezTo>
                  <a:pt x="1357521" y="899183"/>
                  <a:pt x="1362987" y="891894"/>
                  <a:pt x="1359342" y="882784"/>
                </a:cubicBezTo>
                <a:cubicBezTo>
                  <a:pt x="1361164" y="888250"/>
                  <a:pt x="1361164" y="882784"/>
                  <a:pt x="1362987" y="882784"/>
                </a:cubicBezTo>
                <a:cubicBezTo>
                  <a:pt x="1361164" y="884606"/>
                  <a:pt x="1361164" y="886428"/>
                  <a:pt x="1362987" y="886428"/>
                </a:cubicBezTo>
                <a:cubicBezTo>
                  <a:pt x="1364809" y="884606"/>
                  <a:pt x="1364809" y="880961"/>
                  <a:pt x="1366632" y="879139"/>
                </a:cubicBezTo>
                <a:cubicBezTo>
                  <a:pt x="1366632" y="882784"/>
                  <a:pt x="1368453" y="884606"/>
                  <a:pt x="1381208" y="901005"/>
                </a:cubicBezTo>
                <a:cubicBezTo>
                  <a:pt x="1379386" y="906473"/>
                  <a:pt x="1377564" y="913761"/>
                  <a:pt x="1379386" y="917405"/>
                </a:cubicBezTo>
                <a:cubicBezTo>
                  <a:pt x="1373920" y="919227"/>
                  <a:pt x="1366632" y="922872"/>
                  <a:pt x="1364809" y="926516"/>
                </a:cubicBezTo>
                <a:cubicBezTo>
                  <a:pt x="1366631" y="927428"/>
                  <a:pt x="1369820" y="926061"/>
                  <a:pt x="1372781" y="924922"/>
                </a:cubicBezTo>
                <a:lnTo>
                  <a:pt x="1375965" y="924813"/>
                </a:lnTo>
                <a:lnTo>
                  <a:pt x="1373920" y="926516"/>
                </a:lnTo>
                <a:cubicBezTo>
                  <a:pt x="1368453" y="928339"/>
                  <a:pt x="1362987" y="928339"/>
                  <a:pt x="1357521" y="928339"/>
                </a:cubicBezTo>
                <a:cubicBezTo>
                  <a:pt x="1355698" y="937450"/>
                  <a:pt x="1353876" y="946560"/>
                  <a:pt x="1352053" y="955672"/>
                </a:cubicBezTo>
                <a:cubicBezTo>
                  <a:pt x="1355698" y="955672"/>
                  <a:pt x="1355698" y="948383"/>
                  <a:pt x="1359342" y="953848"/>
                </a:cubicBezTo>
                <a:cubicBezTo>
                  <a:pt x="1359342" y="955672"/>
                  <a:pt x="1353876" y="953848"/>
                  <a:pt x="1357521" y="957494"/>
                </a:cubicBezTo>
                <a:cubicBezTo>
                  <a:pt x="1368453" y="953848"/>
                  <a:pt x="1373920" y="942916"/>
                  <a:pt x="1368453" y="937450"/>
                </a:cubicBezTo>
                <a:cubicBezTo>
                  <a:pt x="1370275" y="939272"/>
                  <a:pt x="1370275" y="942916"/>
                  <a:pt x="1372097" y="942916"/>
                </a:cubicBezTo>
                <a:lnTo>
                  <a:pt x="1375924" y="939089"/>
                </a:lnTo>
                <a:lnTo>
                  <a:pt x="1375743" y="941094"/>
                </a:lnTo>
                <a:cubicBezTo>
                  <a:pt x="1379386" y="939272"/>
                  <a:pt x="1379386" y="933804"/>
                  <a:pt x="1381208" y="933804"/>
                </a:cubicBezTo>
                <a:cubicBezTo>
                  <a:pt x="1381208" y="935628"/>
                  <a:pt x="1381208" y="935628"/>
                  <a:pt x="1381208" y="937450"/>
                </a:cubicBezTo>
                <a:cubicBezTo>
                  <a:pt x="1384854" y="935628"/>
                  <a:pt x="1386676" y="933804"/>
                  <a:pt x="1388497" y="935628"/>
                </a:cubicBezTo>
                <a:cubicBezTo>
                  <a:pt x="1375743" y="942916"/>
                  <a:pt x="1370275" y="948383"/>
                  <a:pt x="1368453" y="959316"/>
                </a:cubicBezTo>
                <a:cubicBezTo>
                  <a:pt x="1370275" y="961138"/>
                  <a:pt x="1368453" y="955672"/>
                  <a:pt x="1372097" y="957494"/>
                </a:cubicBezTo>
                <a:cubicBezTo>
                  <a:pt x="1372097" y="957494"/>
                  <a:pt x="1372097" y="959316"/>
                  <a:pt x="1372097" y="959316"/>
                </a:cubicBezTo>
                <a:cubicBezTo>
                  <a:pt x="1386676" y="957494"/>
                  <a:pt x="1401252" y="937450"/>
                  <a:pt x="1403074" y="928339"/>
                </a:cubicBezTo>
                <a:cubicBezTo>
                  <a:pt x="1403074" y="933804"/>
                  <a:pt x="1397608" y="941094"/>
                  <a:pt x="1401252" y="942916"/>
                </a:cubicBezTo>
                <a:cubicBezTo>
                  <a:pt x="1392141" y="952026"/>
                  <a:pt x="1372097" y="961138"/>
                  <a:pt x="1368453" y="968427"/>
                </a:cubicBezTo>
                <a:cubicBezTo>
                  <a:pt x="1372097" y="968427"/>
                  <a:pt x="1377564" y="968427"/>
                  <a:pt x="1377564" y="970249"/>
                </a:cubicBezTo>
                <a:cubicBezTo>
                  <a:pt x="1373920" y="970249"/>
                  <a:pt x="1370275" y="968427"/>
                  <a:pt x="1366632" y="970249"/>
                </a:cubicBezTo>
                <a:cubicBezTo>
                  <a:pt x="1370275" y="975715"/>
                  <a:pt x="1381208" y="977538"/>
                  <a:pt x="1383030" y="968427"/>
                </a:cubicBezTo>
                <a:cubicBezTo>
                  <a:pt x="1381208" y="968427"/>
                  <a:pt x="1379386" y="968427"/>
                  <a:pt x="1377564" y="968427"/>
                </a:cubicBezTo>
                <a:cubicBezTo>
                  <a:pt x="1381208" y="968427"/>
                  <a:pt x="1384854" y="962960"/>
                  <a:pt x="1384854" y="962960"/>
                </a:cubicBezTo>
                <a:cubicBezTo>
                  <a:pt x="1384854" y="968427"/>
                  <a:pt x="1390319" y="964782"/>
                  <a:pt x="1390319" y="966604"/>
                </a:cubicBezTo>
                <a:cubicBezTo>
                  <a:pt x="1386676" y="968427"/>
                  <a:pt x="1381208" y="975715"/>
                  <a:pt x="1377564" y="977538"/>
                </a:cubicBezTo>
                <a:cubicBezTo>
                  <a:pt x="1379386" y="979360"/>
                  <a:pt x="1381208" y="977538"/>
                  <a:pt x="1381208" y="977538"/>
                </a:cubicBezTo>
                <a:cubicBezTo>
                  <a:pt x="1379386" y="977538"/>
                  <a:pt x="1379386" y="977538"/>
                  <a:pt x="1379386" y="979360"/>
                </a:cubicBezTo>
                <a:cubicBezTo>
                  <a:pt x="1372097" y="972071"/>
                  <a:pt x="1359342" y="970249"/>
                  <a:pt x="1348410" y="972071"/>
                </a:cubicBezTo>
                <a:cubicBezTo>
                  <a:pt x="1350231" y="973893"/>
                  <a:pt x="1348410" y="975715"/>
                  <a:pt x="1350231" y="977538"/>
                </a:cubicBezTo>
                <a:cubicBezTo>
                  <a:pt x="1352053" y="975715"/>
                  <a:pt x="1350231" y="977538"/>
                  <a:pt x="1352053" y="979360"/>
                </a:cubicBezTo>
                <a:cubicBezTo>
                  <a:pt x="1353876" y="977538"/>
                  <a:pt x="1353876" y="975715"/>
                  <a:pt x="1355698" y="977538"/>
                </a:cubicBezTo>
                <a:cubicBezTo>
                  <a:pt x="1353876" y="977538"/>
                  <a:pt x="1355698" y="979360"/>
                  <a:pt x="1353876" y="981182"/>
                </a:cubicBezTo>
                <a:cubicBezTo>
                  <a:pt x="1348410" y="975715"/>
                  <a:pt x="1337476" y="983004"/>
                  <a:pt x="1333832" y="988471"/>
                </a:cubicBezTo>
                <a:cubicBezTo>
                  <a:pt x="1339299" y="993937"/>
                  <a:pt x="1348410" y="986649"/>
                  <a:pt x="1352053" y="990293"/>
                </a:cubicBezTo>
                <a:cubicBezTo>
                  <a:pt x="1352053" y="990293"/>
                  <a:pt x="1352053" y="992115"/>
                  <a:pt x="1352053" y="992115"/>
                </a:cubicBezTo>
                <a:cubicBezTo>
                  <a:pt x="1344765" y="992115"/>
                  <a:pt x="1337476" y="990293"/>
                  <a:pt x="1330188" y="988471"/>
                </a:cubicBezTo>
                <a:cubicBezTo>
                  <a:pt x="1324721" y="993937"/>
                  <a:pt x="1317432" y="999403"/>
                  <a:pt x="1315610" y="1004870"/>
                </a:cubicBezTo>
                <a:cubicBezTo>
                  <a:pt x="1324721" y="1010337"/>
                  <a:pt x="1335654" y="1008515"/>
                  <a:pt x="1346587" y="1006692"/>
                </a:cubicBezTo>
                <a:cubicBezTo>
                  <a:pt x="1357521" y="1010337"/>
                  <a:pt x="1368453" y="1004870"/>
                  <a:pt x="1379386" y="1004870"/>
                </a:cubicBezTo>
                <a:lnTo>
                  <a:pt x="1391796" y="990687"/>
                </a:lnTo>
                <a:lnTo>
                  <a:pt x="1388952" y="995987"/>
                </a:lnTo>
                <a:cubicBezTo>
                  <a:pt x="1385764" y="999403"/>
                  <a:pt x="1382119" y="1003047"/>
                  <a:pt x="1381208" y="1006692"/>
                </a:cubicBezTo>
                <a:cubicBezTo>
                  <a:pt x="1381208" y="1008515"/>
                  <a:pt x="1384854" y="1006692"/>
                  <a:pt x="1383030" y="1008515"/>
                </a:cubicBezTo>
                <a:cubicBezTo>
                  <a:pt x="1370275" y="1006692"/>
                  <a:pt x="1357521" y="1010337"/>
                  <a:pt x="1344765" y="1012159"/>
                </a:cubicBezTo>
                <a:cubicBezTo>
                  <a:pt x="1346587" y="1012159"/>
                  <a:pt x="1348410" y="1015803"/>
                  <a:pt x="1346587" y="1013981"/>
                </a:cubicBezTo>
                <a:cubicBezTo>
                  <a:pt x="1344765" y="1012159"/>
                  <a:pt x="1344765" y="1012159"/>
                  <a:pt x="1342942" y="1010337"/>
                </a:cubicBezTo>
                <a:cubicBezTo>
                  <a:pt x="1332009" y="1012159"/>
                  <a:pt x="1319254" y="1006692"/>
                  <a:pt x="1308321" y="1008515"/>
                </a:cubicBezTo>
                <a:cubicBezTo>
                  <a:pt x="1302855" y="1008515"/>
                  <a:pt x="1290100" y="1013981"/>
                  <a:pt x="1290100" y="1017625"/>
                </a:cubicBezTo>
                <a:cubicBezTo>
                  <a:pt x="1275522" y="1021270"/>
                  <a:pt x="1264589" y="1017625"/>
                  <a:pt x="1251834" y="1023092"/>
                </a:cubicBezTo>
                <a:cubicBezTo>
                  <a:pt x="1250012" y="1024914"/>
                  <a:pt x="1251834" y="1026736"/>
                  <a:pt x="1250012" y="1026736"/>
                </a:cubicBezTo>
                <a:cubicBezTo>
                  <a:pt x="1250012" y="1026736"/>
                  <a:pt x="1246367" y="1026736"/>
                  <a:pt x="1246367" y="1026736"/>
                </a:cubicBezTo>
                <a:lnTo>
                  <a:pt x="1234916" y="1033280"/>
                </a:lnTo>
                <a:lnTo>
                  <a:pt x="1219036" y="1030381"/>
                </a:lnTo>
                <a:cubicBezTo>
                  <a:pt x="1215390" y="1032203"/>
                  <a:pt x="1211747" y="1034025"/>
                  <a:pt x="1211747" y="1037669"/>
                </a:cubicBezTo>
                <a:cubicBezTo>
                  <a:pt x="1208102" y="1037669"/>
                  <a:pt x="1206279" y="1041314"/>
                  <a:pt x="1200814" y="1044958"/>
                </a:cubicBezTo>
                <a:cubicBezTo>
                  <a:pt x="1202636" y="1044958"/>
                  <a:pt x="1202636" y="1044958"/>
                  <a:pt x="1204457" y="1044958"/>
                </a:cubicBezTo>
                <a:cubicBezTo>
                  <a:pt x="1201724" y="1047691"/>
                  <a:pt x="1190791" y="1051449"/>
                  <a:pt x="1187801" y="1056232"/>
                </a:cubicBezTo>
                <a:lnTo>
                  <a:pt x="1187882" y="1057845"/>
                </a:lnTo>
                <a:lnTo>
                  <a:pt x="1185324" y="1059763"/>
                </a:lnTo>
                <a:cubicBezTo>
                  <a:pt x="1184869" y="1060902"/>
                  <a:pt x="1184414" y="1062269"/>
                  <a:pt x="1182592" y="1063180"/>
                </a:cubicBezTo>
                <a:lnTo>
                  <a:pt x="1186738" y="1064562"/>
                </a:lnTo>
                <a:lnTo>
                  <a:pt x="1186236" y="1065002"/>
                </a:lnTo>
                <a:lnTo>
                  <a:pt x="1187374" y="1064774"/>
                </a:lnTo>
                <a:lnTo>
                  <a:pt x="1188058" y="1065002"/>
                </a:lnTo>
                <a:lnTo>
                  <a:pt x="1188122" y="1064625"/>
                </a:lnTo>
                <a:lnTo>
                  <a:pt x="1195346" y="1063180"/>
                </a:lnTo>
                <a:cubicBezTo>
                  <a:pt x="1197169" y="1061358"/>
                  <a:pt x="1193525" y="1061358"/>
                  <a:pt x="1195346" y="1059535"/>
                </a:cubicBezTo>
                <a:cubicBezTo>
                  <a:pt x="1195346" y="1059535"/>
                  <a:pt x="1197169" y="1061358"/>
                  <a:pt x="1197169" y="1061358"/>
                </a:cubicBezTo>
                <a:cubicBezTo>
                  <a:pt x="1200814" y="1055891"/>
                  <a:pt x="1206279" y="1050425"/>
                  <a:pt x="1204457" y="1044958"/>
                </a:cubicBezTo>
                <a:cubicBezTo>
                  <a:pt x="1204457" y="1044958"/>
                  <a:pt x="1206279" y="1044958"/>
                  <a:pt x="1206279" y="1044958"/>
                </a:cubicBezTo>
                <a:cubicBezTo>
                  <a:pt x="1209925" y="1046780"/>
                  <a:pt x="1204457" y="1052247"/>
                  <a:pt x="1202636" y="1055891"/>
                </a:cubicBezTo>
                <a:lnTo>
                  <a:pt x="1204064" y="1054660"/>
                </a:lnTo>
                <a:lnTo>
                  <a:pt x="1200814" y="1059535"/>
                </a:lnTo>
                <a:cubicBezTo>
                  <a:pt x="1202636" y="1059535"/>
                  <a:pt x="1206279" y="1059535"/>
                  <a:pt x="1208102" y="1059535"/>
                </a:cubicBezTo>
                <a:cubicBezTo>
                  <a:pt x="1209925" y="1057713"/>
                  <a:pt x="1209925" y="1057713"/>
                  <a:pt x="1208102" y="1055891"/>
                </a:cubicBezTo>
                <a:cubicBezTo>
                  <a:pt x="1211747" y="1055891"/>
                  <a:pt x="1213568" y="1055891"/>
                  <a:pt x="1215390" y="1052247"/>
                </a:cubicBezTo>
                <a:cubicBezTo>
                  <a:pt x="1217213" y="1055891"/>
                  <a:pt x="1211747" y="1057713"/>
                  <a:pt x="1211747" y="1059535"/>
                </a:cubicBezTo>
                <a:cubicBezTo>
                  <a:pt x="1219036" y="1057713"/>
                  <a:pt x="1235434" y="1048602"/>
                  <a:pt x="1231790" y="1039492"/>
                </a:cubicBezTo>
                <a:cubicBezTo>
                  <a:pt x="1233612" y="1039492"/>
                  <a:pt x="1235434" y="1043136"/>
                  <a:pt x="1237256" y="1039492"/>
                </a:cubicBezTo>
                <a:cubicBezTo>
                  <a:pt x="1237256" y="1046780"/>
                  <a:pt x="1224501" y="1055891"/>
                  <a:pt x="1215390" y="1061358"/>
                </a:cubicBezTo>
                <a:cubicBezTo>
                  <a:pt x="1220858" y="1063180"/>
                  <a:pt x="1226323" y="1070469"/>
                  <a:pt x="1235434" y="1066824"/>
                </a:cubicBezTo>
                <a:cubicBezTo>
                  <a:pt x="1237256" y="1068646"/>
                  <a:pt x="1233612" y="1068646"/>
                  <a:pt x="1233612" y="1070469"/>
                </a:cubicBezTo>
                <a:cubicBezTo>
                  <a:pt x="1239080" y="1074113"/>
                  <a:pt x="1244545" y="1072291"/>
                  <a:pt x="1250012" y="1072291"/>
                </a:cubicBezTo>
                <a:cubicBezTo>
                  <a:pt x="1253656" y="1066824"/>
                  <a:pt x="1250012" y="1059535"/>
                  <a:pt x="1251834" y="1054069"/>
                </a:cubicBezTo>
                <a:cubicBezTo>
                  <a:pt x="1257300" y="1055891"/>
                  <a:pt x="1250012" y="1065002"/>
                  <a:pt x="1257300" y="1065002"/>
                </a:cubicBezTo>
                <a:cubicBezTo>
                  <a:pt x="1259123" y="1065002"/>
                  <a:pt x="1255478" y="1068646"/>
                  <a:pt x="1255478" y="1066824"/>
                </a:cubicBezTo>
                <a:cubicBezTo>
                  <a:pt x="1253656" y="1066824"/>
                  <a:pt x="1253656" y="1068646"/>
                  <a:pt x="1253656" y="1068646"/>
                </a:cubicBezTo>
                <a:cubicBezTo>
                  <a:pt x="1257300" y="1068646"/>
                  <a:pt x="1259123" y="1072291"/>
                  <a:pt x="1260945" y="1072291"/>
                </a:cubicBezTo>
                <a:cubicBezTo>
                  <a:pt x="1266411" y="1066824"/>
                  <a:pt x="1271878" y="1061358"/>
                  <a:pt x="1273700" y="1054069"/>
                </a:cubicBezTo>
                <a:cubicBezTo>
                  <a:pt x="1277344" y="1052247"/>
                  <a:pt x="1273700" y="1055891"/>
                  <a:pt x="1275522" y="1057713"/>
                </a:cubicBezTo>
                <a:cubicBezTo>
                  <a:pt x="1280077" y="1054980"/>
                  <a:pt x="1284177" y="1050880"/>
                  <a:pt x="1286911" y="1046325"/>
                </a:cubicBezTo>
                <a:lnTo>
                  <a:pt x="1287391" y="1044197"/>
                </a:lnTo>
                <a:lnTo>
                  <a:pt x="1287594" y="1044275"/>
                </a:lnTo>
                <a:cubicBezTo>
                  <a:pt x="1288733" y="1043591"/>
                  <a:pt x="1290099" y="1042225"/>
                  <a:pt x="1291922" y="1041314"/>
                </a:cubicBezTo>
                <a:cubicBezTo>
                  <a:pt x="1293744" y="1039492"/>
                  <a:pt x="1291922" y="1037669"/>
                  <a:pt x="1291922" y="1035847"/>
                </a:cubicBezTo>
                <a:cubicBezTo>
                  <a:pt x="1295566" y="1037669"/>
                  <a:pt x="1295566" y="1034025"/>
                  <a:pt x="1297388" y="1034025"/>
                </a:cubicBezTo>
                <a:cubicBezTo>
                  <a:pt x="1310143" y="1054069"/>
                  <a:pt x="1270056" y="1072291"/>
                  <a:pt x="1259123" y="1094157"/>
                </a:cubicBezTo>
                <a:cubicBezTo>
                  <a:pt x="1262767" y="1095979"/>
                  <a:pt x="1268233" y="1092335"/>
                  <a:pt x="1273700" y="1094157"/>
                </a:cubicBezTo>
                <a:cubicBezTo>
                  <a:pt x="1268233" y="1097801"/>
                  <a:pt x="1259123" y="1090512"/>
                  <a:pt x="1255478" y="1097801"/>
                </a:cubicBezTo>
                <a:cubicBezTo>
                  <a:pt x="1248189" y="1095979"/>
                  <a:pt x="1239080" y="1101445"/>
                  <a:pt x="1231790" y="1103268"/>
                </a:cubicBezTo>
                <a:cubicBezTo>
                  <a:pt x="1233612" y="1105090"/>
                  <a:pt x="1233612" y="1106912"/>
                  <a:pt x="1233612" y="1106912"/>
                </a:cubicBezTo>
                <a:cubicBezTo>
                  <a:pt x="1224501" y="1097801"/>
                  <a:pt x="1213568" y="1099623"/>
                  <a:pt x="1202636" y="1106912"/>
                </a:cubicBezTo>
                <a:lnTo>
                  <a:pt x="1198385" y="1113998"/>
                </a:lnTo>
                <a:lnTo>
                  <a:pt x="1182592" y="1108734"/>
                </a:lnTo>
                <a:cubicBezTo>
                  <a:pt x="1180769" y="1110556"/>
                  <a:pt x="1180769" y="1110556"/>
                  <a:pt x="1178947" y="1112378"/>
                </a:cubicBezTo>
                <a:cubicBezTo>
                  <a:pt x="1182592" y="1116023"/>
                  <a:pt x="1184414" y="1116023"/>
                  <a:pt x="1182592" y="1119667"/>
                </a:cubicBezTo>
                <a:cubicBezTo>
                  <a:pt x="1182592" y="1121489"/>
                  <a:pt x="1177125" y="1117845"/>
                  <a:pt x="1175303" y="1119667"/>
                </a:cubicBezTo>
                <a:lnTo>
                  <a:pt x="1174087" y="1117237"/>
                </a:lnTo>
                <a:lnTo>
                  <a:pt x="1175303" y="1117845"/>
                </a:lnTo>
                <a:lnTo>
                  <a:pt x="1174027" y="1117116"/>
                </a:lnTo>
                <a:lnTo>
                  <a:pt x="1173481" y="1116023"/>
                </a:lnTo>
                <a:cubicBezTo>
                  <a:pt x="1172569" y="1116934"/>
                  <a:pt x="1173025" y="1116934"/>
                  <a:pt x="1173709" y="1116934"/>
                </a:cubicBezTo>
                <a:lnTo>
                  <a:pt x="1174027" y="1117116"/>
                </a:lnTo>
                <a:lnTo>
                  <a:pt x="1174087" y="1117237"/>
                </a:lnTo>
                <a:lnTo>
                  <a:pt x="1172569" y="1116478"/>
                </a:lnTo>
                <a:cubicBezTo>
                  <a:pt x="1171658" y="1116023"/>
                  <a:pt x="1170747" y="1116023"/>
                  <a:pt x="1169836" y="1117845"/>
                </a:cubicBezTo>
                <a:cubicBezTo>
                  <a:pt x="1168014" y="1116023"/>
                  <a:pt x="1169836" y="1116023"/>
                  <a:pt x="1168014" y="1114201"/>
                </a:cubicBezTo>
                <a:cubicBezTo>
                  <a:pt x="1157081" y="1112378"/>
                  <a:pt x="1146148" y="1114201"/>
                  <a:pt x="1135215" y="1112378"/>
                </a:cubicBezTo>
                <a:cubicBezTo>
                  <a:pt x="1135215" y="1114201"/>
                  <a:pt x="1133393" y="1116023"/>
                  <a:pt x="1131570" y="1117845"/>
                </a:cubicBezTo>
                <a:cubicBezTo>
                  <a:pt x="1130659" y="1118756"/>
                  <a:pt x="1131115" y="1118756"/>
                  <a:pt x="1131798" y="1118984"/>
                </a:cubicBezTo>
                <a:lnTo>
                  <a:pt x="1132513" y="1120107"/>
                </a:lnTo>
                <a:lnTo>
                  <a:pt x="1130963" y="1120882"/>
                </a:lnTo>
                <a:lnTo>
                  <a:pt x="1129748" y="1119667"/>
                </a:lnTo>
                <a:cubicBezTo>
                  <a:pt x="1127926" y="1121489"/>
                  <a:pt x="1129748" y="1125134"/>
                  <a:pt x="1127926" y="1128778"/>
                </a:cubicBezTo>
                <a:cubicBezTo>
                  <a:pt x="1129748" y="1130600"/>
                  <a:pt x="1131570" y="1128778"/>
                  <a:pt x="1133393" y="1130600"/>
                </a:cubicBezTo>
                <a:cubicBezTo>
                  <a:pt x="1131570" y="1132422"/>
                  <a:pt x="1129748" y="1126956"/>
                  <a:pt x="1127926" y="1130600"/>
                </a:cubicBezTo>
                <a:lnTo>
                  <a:pt x="1138003" y="1136898"/>
                </a:lnTo>
                <a:lnTo>
                  <a:pt x="1138859" y="1139711"/>
                </a:lnTo>
                <a:cubicBezTo>
                  <a:pt x="1142503" y="1143355"/>
                  <a:pt x="1144326" y="1143355"/>
                  <a:pt x="1147970" y="1145178"/>
                </a:cubicBezTo>
                <a:cubicBezTo>
                  <a:pt x="1149792" y="1143355"/>
                  <a:pt x="1149792" y="1139711"/>
                  <a:pt x="1146148" y="1136067"/>
                </a:cubicBezTo>
                <a:cubicBezTo>
                  <a:pt x="1151614" y="1134245"/>
                  <a:pt x="1149792" y="1139711"/>
                  <a:pt x="1151614" y="1141533"/>
                </a:cubicBezTo>
                <a:cubicBezTo>
                  <a:pt x="1153436" y="1139711"/>
                  <a:pt x="1155259" y="1136067"/>
                  <a:pt x="1155259" y="1134245"/>
                </a:cubicBezTo>
                <a:cubicBezTo>
                  <a:pt x="1162547" y="1134245"/>
                  <a:pt x="1168014" y="1123312"/>
                  <a:pt x="1169836" y="1117845"/>
                </a:cubicBezTo>
                <a:cubicBezTo>
                  <a:pt x="1173481" y="1123312"/>
                  <a:pt x="1160725" y="1134245"/>
                  <a:pt x="1157081" y="1137889"/>
                </a:cubicBezTo>
                <a:cubicBezTo>
                  <a:pt x="1155259" y="1141533"/>
                  <a:pt x="1160725" y="1143355"/>
                  <a:pt x="1158903" y="1145178"/>
                </a:cubicBezTo>
                <a:cubicBezTo>
                  <a:pt x="1157081" y="1145178"/>
                  <a:pt x="1157081" y="1141533"/>
                  <a:pt x="1155259" y="1139711"/>
                </a:cubicBezTo>
                <a:cubicBezTo>
                  <a:pt x="1149792" y="1145178"/>
                  <a:pt x="1151614" y="1148822"/>
                  <a:pt x="1157081" y="1152466"/>
                </a:cubicBezTo>
                <a:lnTo>
                  <a:pt x="1154803" y="1153984"/>
                </a:lnTo>
                <a:lnTo>
                  <a:pt x="1149792" y="1150644"/>
                </a:lnTo>
                <a:cubicBezTo>
                  <a:pt x="1147970" y="1150644"/>
                  <a:pt x="1149792" y="1152466"/>
                  <a:pt x="1147970" y="1152466"/>
                </a:cubicBezTo>
                <a:cubicBezTo>
                  <a:pt x="1147970" y="1154288"/>
                  <a:pt x="1149792" y="1156111"/>
                  <a:pt x="1149792" y="1156111"/>
                </a:cubicBezTo>
                <a:lnTo>
                  <a:pt x="1153437" y="1154895"/>
                </a:lnTo>
                <a:lnTo>
                  <a:pt x="1151614" y="1156111"/>
                </a:lnTo>
                <a:lnTo>
                  <a:pt x="1154264" y="1157933"/>
                </a:lnTo>
                <a:lnTo>
                  <a:pt x="1151614" y="1157933"/>
                </a:lnTo>
                <a:cubicBezTo>
                  <a:pt x="1149792" y="1159755"/>
                  <a:pt x="1147970" y="1163399"/>
                  <a:pt x="1147970" y="1165222"/>
                </a:cubicBezTo>
                <a:cubicBezTo>
                  <a:pt x="1149792" y="1167044"/>
                  <a:pt x="1149792" y="1167044"/>
                  <a:pt x="1151614" y="1168866"/>
                </a:cubicBezTo>
                <a:cubicBezTo>
                  <a:pt x="1151614" y="1165222"/>
                  <a:pt x="1155259" y="1167044"/>
                  <a:pt x="1155259" y="1163399"/>
                </a:cubicBezTo>
                <a:cubicBezTo>
                  <a:pt x="1157081" y="1163399"/>
                  <a:pt x="1155259" y="1165222"/>
                  <a:pt x="1157081" y="1165222"/>
                </a:cubicBezTo>
                <a:cubicBezTo>
                  <a:pt x="1157081" y="1163399"/>
                  <a:pt x="1158903" y="1161577"/>
                  <a:pt x="1160725" y="1157933"/>
                </a:cubicBezTo>
                <a:lnTo>
                  <a:pt x="1155834" y="1157933"/>
                </a:lnTo>
                <a:lnTo>
                  <a:pt x="1158903" y="1154288"/>
                </a:lnTo>
                <a:cubicBezTo>
                  <a:pt x="1160725" y="1154288"/>
                  <a:pt x="1162547" y="1156111"/>
                  <a:pt x="1164370" y="1157933"/>
                </a:cubicBezTo>
                <a:cubicBezTo>
                  <a:pt x="1168014" y="1156111"/>
                  <a:pt x="1171658" y="1154288"/>
                  <a:pt x="1173481" y="1150644"/>
                </a:cubicBezTo>
                <a:cubicBezTo>
                  <a:pt x="1175303" y="1152466"/>
                  <a:pt x="1171658" y="1152466"/>
                  <a:pt x="1175303" y="1154288"/>
                </a:cubicBezTo>
                <a:cubicBezTo>
                  <a:pt x="1177125" y="1152466"/>
                  <a:pt x="1178947" y="1152466"/>
                  <a:pt x="1178947" y="1148822"/>
                </a:cubicBezTo>
                <a:cubicBezTo>
                  <a:pt x="1182592" y="1150644"/>
                  <a:pt x="1178947" y="1154288"/>
                  <a:pt x="1180769" y="1156111"/>
                </a:cubicBezTo>
                <a:cubicBezTo>
                  <a:pt x="1178947" y="1156111"/>
                  <a:pt x="1178947" y="1152466"/>
                  <a:pt x="1178947" y="1152466"/>
                </a:cubicBezTo>
                <a:cubicBezTo>
                  <a:pt x="1171658" y="1152466"/>
                  <a:pt x="1173481" y="1157933"/>
                  <a:pt x="1171658" y="1161577"/>
                </a:cubicBezTo>
                <a:lnTo>
                  <a:pt x="1173481" y="1163399"/>
                </a:lnTo>
                <a:lnTo>
                  <a:pt x="1175303" y="1165222"/>
                </a:lnTo>
                <a:cubicBezTo>
                  <a:pt x="1177125" y="1165222"/>
                  <a:pt x="1175303" y="1163399"/>
                  <a:pt x="1177125" y="1161577"/>
                </a:cubicBezTo>
                <a:cubicBezTo>
                  <a:pt x="1178947" y="1163399"/>
                  <a:pt x="1177125" y="1165222"/>
                  <a:pt x="1178947" y="1167044"/>
                </a:cubicBezTo>
                <a:cubicBezTo>
                  <a:pt x="1182592" y="1163399"/>
                  <a:pt x="1178947" y="1161577"/>
                  <a:pt x="1180769" y="1157933"/>
                </a:cubicBezTo>
                <a:cubicBezTo>
                  <a:pt x="1182592" y="1159755"/>
                  <a:pt x="1180769" y="1163399"/>
                  <a:pt x="1182592" y="1165222"/>
                </a:cubicBezTo>
                <a:cubicBezTo>
                  <a:pt x="1182592" y="1163399"/>
                  <a:pt x="1184414" y="1165222"/>
                  <a:pt x="1184414" y="1165222"/>
                </a:cubicBezTo>
                <a:cubicBezTo>
                  <a:pt x="1191703" y="1157933"/>
                  <a:pt x="1209925" y="1152466"/>
                  <a:pt x="1200814" y="1141533"/>
                </a:cubicBezTo>
                <a:cubicBezTo>
                  <a:pt x="1204457" y="1143355"/>
                  <a:pt x="1208102" y="1145178"/>
                  <a:pt x="1206279" y="1147000"/>
                </a:cubicBezTo>
                <a:cubicBezTo>
                  <a:pt x="1209925" y="1148822"/>
                  <a:pt x="1209925" y="1145178"/>
                  <a:pt x="1209925" y="1143355"/>
                </a:cubicBezTo>
                <a:cubicBezTo>
                  <a:pt x="1211747" y="1146088"/>
                  <a:pt x="1210835" y="1147911"/>
                  <a:pt x="1209923" y="1149505"/>
                </a:cubicBezTo>
                <a:lnTo>
                  <a:pt x="1209925" y="1150644"/>
                </a:lnTo>
                <a:lnTo>
                  <a:pt x="1201496" y="1157249"/>
                </a:lnTo>
                <a:cubicBezTo>
                  <a:pt x="1198991" y="1160210"/>
                  <a:pt x="1196257" y="1163399"/>
                  <a:pt x="1191703" y="1165222"/>
                </a:cubicBezTo>
                <a:cubicBezTo>
                  <a:pt x="1195346" y="1164310"/>
                  <a:pt x="1199446" y="1162033"/>
                  <a:pt x="1202864" y="1159299"/>
                </a:cubicBezTo>
                <a:lnTo>
                  <a:pt x="1209925" y="1150644"/>
                </a:lnTo>
                <a:lnTo>
                  <a:pt x="1209925" y="1154288"/>
                </a:lnTo>
                <a:cubicBezTo>
                  <a:pt x="1211747" y="1152466"/>
                  <a:pt x="1213568" y="1148822"/>
                  <a:pt x="1215390" y="1150644"/>
                </a:cubicBezTo>
                <a:cubicBezTo>
                  <a:pt x="1208102" y="1152466"/>
                  <a:pt x="1208102" y="1161577"/>
                  <a:pt x="1208102" y="1167044"/>
                </a:cubicBezTo>
                <a:cubicBezTo>
                  <a:pt x="1213568" y="1168866"/>
                  <a:pt x="1220858" y="1163399"/>
                  <a:pt x="1219036" y="1157933"/>
                </a:cubicBezTo>
                <a:cubicBezTo>
                  <a:pt x="1220858" y="1157933"/>
                  <a:pt x="1219036" y="1161577"/>
                  <a:pt x="1219036" y="1163399"/>
                </a:cubicBezTo>
                <a:cubicBezTo>
                  <a:pt x="1220858" y="1163399"/>
                  <a:pt x="1222679" y="1163399"/>
                  <a:pt x="1224501" y="1161577"/>
                </a:cubicBezTo>
                <a:cubicBezTo>
                  <a:pt x="1226323" y="1159755"/>
                  <a:pt x="1224501" y="1156111"/>
                  <a:pt x="1226323" y="1154288"/>
                </a:cubicBezTo>
                <a:cubicBezTo>
                  <a:pt x="1231790" y="1156111"/>
                  <a:pt x="1235434" y="1150644"/>
                  <a:pt x="1235434" y="1147000"/>
                </a:cubicBezTo>
                <a:cubicBezTo>
                  <a:pt x="1237256" y="1147000"/>
                  <a:pt x="1235434" y="1150644"/>
                  <a:pt x="1235434" y="1152466"/>
                </a:cubicBezTo>
                <a:cubicBezTo>
                  <a:pt x="1237256" y="1154288"/>
                  <a:pt x="1240901" y="1150644"/>
                  <a:pt x="1242723" y="1148822"/>
                </a:cubicBezTo>
                <a:cubicBezTo>
                  <a:pt x="1240901" y="1145178"/>
                  <a:pt x="1240901" y="1137889"/>
                  <a:pt x="1237256" y="1136067"/>
                </a:cubicBezTo>
                <a:cubicBezTo>
                  <a:pt x="1237256" y="1134245"/>
                  <a:pt x="1239080" y="1134245"/>
                  <a:pt x="1239080" y="1132422"/>
                </a:cubicBezTo>
                <a:cubicBezTo>
                  <a:pt x="1242723" y="1134245"/>
                  <a:pt x="1239080" y="1141533"/>
                  <a:pt x="1246367" y="1148822"/>
                </a:cubicBezTo>
                <a:cubicBezTo>
                  <a:pt x="1250012" y="1147000"/>
                  <a:pt x="1250012" y="1145178"/>
                  <a:pt x="1248189" y="1143355"/>
                </a:cubicBezTo>
                <a:cubicBezTo>
                  <a:pt x="1251834" y="1143355"/>
                  <a:pt x="1253656" y="1137889"/>
                  <a:pt x="1250012" y="1136067"/>
                </a:cubicBezTo>
                <a:cubicBezTo>
                  <a:pt x="1248189" y="1136067"/>
                  <a:pt x="1246367" y="1137889"/>
                  <a:pt x="1244545" y="1136067"/>
                </a:cubicBezTo>
                <a:cubicBezTo>
                  <a:pt x="1244545" y="1134245"/>
                  <a:pt x="1244545" y="1132422"/>
                  <a:pt x="1244545" y="1130600"/>
                </a:cubicBezTo>
                <a:cubicBezTo>
                  <a:pt x="1240901" y="1126956"/>
                  <a:pt x="1237256" y="1126956"/>
                  <a:pt x="1231790" y="1125134"/>
                </a:cubicBezTo>
                <a:lnTo>
                  <a:pt x="1226655" y="1123422"/>
                </a:lnTo>
                <a:lnTo>
                  <a:pt x="1233384" y="1123767"/>
                </a:lnTo>
                <a:cubicBezTo>
                  <a:pt x="1235890" y="1122400"/>
                  <a:pt x="1238168" y="1120578"/>
                  <a:pt x="1240901" y="1121489"/>
                </a:cubicBezTo>
                <a:cubicBezTo>
                  <a:pt x="1239080" y="1123312"/>
                  <a:pt x="1239080" y="1121489"/>
                  <a:pt x="1237256" y="1123312"/>
                </a:cubicBezTo>
                <a:cubicBezTo>
                  <a:pt x="1239080" y="1125134"/>
                  <a:pt x="1239080" y="1123312"/>
                  <a:pt x="1240901" y="1125134"/>
                </a:cubicBezTo>
                <a:cubicBezTo>
                  <a:pt x="1242723" y="1126956"/>
                  <a:pt x="1240901" y="1126956"/>
                  <a:pt x="1242723" y="1128778"/>
                </a:cubicBezTo>
                <a:lnTo>
                  <a:pt x="1248953" y="1127458"/>
                </a:lnTo>
                <a:lnTo>
                  <a:pt x="1257984" y="1130828"/>
                </a:lnTo>
                <a:cubicBezTo>
                  <a:pt x="1263222" y="1132422"/>
                  <a:pt x="1268233" y="1132422"/>
                  <a:pt x="1271878" y="1126956"/>
                </a:cubicBezTo>
                <a:cubicBezTo>
                  <a:pt x="1273700" y="1126956"/>
                  <a:pt x="1271878" y="1128778"/>
                  <a:pt x="1273700" y="1128778"/>
                </a:cubicBezTo>
                <a:cubicBezTo>
                  <a:pt x="1275522" y="1126045"/>
                  <a:pt x="1278255" y="1125134"/>
                  <a:pt x="1280761" y="1123995"/>
                </a:cubicBezTo>
                <a:lnTo>
                  <a:pt x="1283776" y="1120739"/>
                </a:lnTo>
                <a:lnTo>
                  <a:pt x="1287873" y="1120072"/>
                </a:lnTo>
                <a:lnTo>
                  <a:pt x="1286455" y="1121489"/>
                </a:lnTo>
                <a:lnTo>
                  <a:pt x="1291440" y="1119828"/>
                </a:lnTo>
                <a:lnTo>
                  <a:pt x="1297388" y="1119667"/>
                </a:lnTo>
                <a:cubicBezTo>
                  <a:pt x="1299210" y="1117845"/>
                  <a:pt x="1297388" y="1116023"/>
                  <a:pt x="1299210" y="1114201"/>
                </a:cubicBezTo>
                <a:cubicBezTo>
                  <a:pt x="1301033" y="1116023"/>
                  <a:pt x="1299210" y="1119667"/>
                  <a:pt x="1301033" y="1121489"/>
                </a:cubicBezTo>
                <a:cubicBezTo>
                  <a:pt x="1310143" y="1116023"/>
                  <a:pt x="1315610" y="1110556"/>
                  <a:pt x="1319254" y="1099623"/>
                </a:cubicBezTo>
                <a:cubicBezTo>
                  <a:pt x="1319254" y="1099623"/>
                  <a:pt x="1313788" y="1092335"/>
                  <a:pt x="1315610" y="1094157"/>
                </a:cubicBezTo>
                <a:cubicBezTo>
                  <a:pt x="1317432" y="1095979"/>
                  <a:pt x="1319254" y="1097801"/>
                  <a:pt x="1321077" y="1097801"/>
                </a:cubicBezTo>
                <a:cubicBezTo>
                  <a:pt x="1322899" y="1095979"/>
                  <a:pt x="1326543" y="1088690"/>
                  <a:pt x="1328365" y="1086868"/>
                </a:cubicBezTo>
                <a:cubicBezTo>
                  <a:pt x="1328365" y="1088690"/>
                  <a:pt x="1328365" y="1088690"/>
                  <a:pt x="1328365" y="1090512"/>
                </a:cubicBezTo>
                <a:lnTo>
                  <a:pt x="1337826" y="1084880"/>
                </a:lnTo>
                <a:lnTo>
                  <a:pt x="1331554" y="1089146"/>
                </a:lnTo>
                <a:cubicBezTo>
                  <a:pt x="1327910" y="1092334"/>
                  <a:pt x="1324721" y="1095979"/>
                  <a:pt x="1322899" y="1099623"/>
                </a:cubicBezTo>
                <a:lnTo>
                  <a:pt x="1326090" y="1101639"/>
                </a:lnTo>
                <a:lnTo>
                  <a:pt x="1331554" y="1105090"/>
                </a:lnTo>
                <a:cubicBezTo>
                  <a:pt x="1335654" y="1104178"/>
                  <a:pt x="1340209" y="1101445"/>
                  <a:pt x="1342942" y="1099623"/>
                </a:cubicBezTo>
                <a:cubicBezTo>
                  <a:pt x="1342942" y="1101445"/>
                  <a:pt x="1339299" y="1101445"/>
                  <a:pt x="1341120" y="1103268"/>
                </a:cubicBezTo>
                <a:cubicBezTo>
                  <a:pt x="1344765" y="1101445"/>
                  <a:pt x="1348410" y="1105090"/>
                  <a:pt x="1352053" y="1101445"/>
                </a:cubicBezTo>
                <a:cubicBezTo>
                  <a:pt x="1352053" y="1099623"/>
                  <a:pt x="1348410" y="1095979"/>
                  <a:pt x="1346587" y="1095979"/>
                </a:cubicBezTo>
                <a:cubicBezTo>
                  <a:pt x="1350231" y="1095979"/>
                  <a:pt x="1348410" y="1094157"/>
                  <a:pt x="1348410" y="1092335"/>
                </a:cubicBezTo>
                <a:cubicBezTo>
                  <a:pt x="1353876" y="1095979"/>
                  <a:pt x="1352053" y="1103268"/>
                  <a:pt x="1357521" y="1101445"/>
                </a:cubicBezTo>
                <a:cubicBezTo>
                  <a:pt x="1350231" y="1108734"/>
                  <a:pt x="1344765" y="1103268"/>
                  <a:pt x="1337476" y="1106912"/>
                </a:cubicBezTo>
                <a:cubicBezTo>
                  <a:pt x="1335654" y="1108734"/>
                  <a:pt x="1339299" y="1108734"/>
                  <a:pt x="1337476" y="1110556"/>
                </a:cubicBezTo>
                <a:cubicBezTo>
                  <a:pt x="1326543" y="1112378"/>
                  <a:pt x="1315610" y="1116023"/>
                  <a:pt x="1306499" y="1123312"/>
                </a:cubicBezTo>
                <a:cubicBezTo>
                  <a:pt x="1313788" y="1125134"/>
                  <a:pt x="1330188" y="1121489"/>
                  <a:pt x="1333832" y="1112378"/>
                </a:cubicBezTo>
                <a:cubicBezTo>
                  <a:pt x="1333832" y="1114201"/>
                  <a:pt x="1330188" y="1116023"/>
                  <a:pt x="1332009" y="1117845"/>
                </a:cubicBezTo>
                <a:cubicBezTo>
                  <a:pt x="1337476" y="1116023"/>
                  <a:pt x="1348410" y="1114201"/>
                  <a:pt x="1350231" y="1108734"/>
                </a:cubicBezTo>
                <a:lnTo>
                  <a:pt x="1360908" y="1106641"/>
                </a:lnTo>
                <a:lnTo>
                  <a:pt x="1321077" y="1125134"/>
                </a:lnTo>
                <a:cubicBezTo>
                  <a:pt x="1315610" y="1126956"/>
                  <a:pt x="1310143" y="1125134"/>
                  <a:pt x="1311966" y="1128778"/>
                </a:cubicBezTo>
                <a:cubicBezTo>
                  <a:pt x="1308321" y="1125134"/>
                  <a:pt x="1304677" y="1125134"/>
                  <a:pt x="1301033" y="1126956"/>
                </a:cubicBezTo>
                <a:cubicBezTo>
                  <a:pt x="1297388" y="1134245"/>
                  <a:pt x="1286455" y="1137889"/>
                  <a:pt x="1279166" y="1141533"/>
                </a:cubicBezTo>
                <a:cubicBezTo>
                  <a:pt x="1282811" y="1143355"/>
                  <a:pt x="1286455" y="1143355"/>
                  <a:pt x="1291922" y="1143355"/>
                </a:cubicBezTo>
                <a:cubicBezTo>
                  <a:pt x="1291922" y="1148822"/>
                  <a:pt x="1301033" y="1147000"/>
                  <a:pt x="1301033" y="1150644"/>
                </a:cubicBezTo>
                <a:cubicBezTo>
                  <a:pt x="1291922" y="1145178"/>
                  <a:pt x="1280989" y="1141533"/>
                  <a:pt x="1271878" y="1141533"/>
                </a:cubicBezTo>
                <a:cubicBezTo>
                  <a:pt x="1264589" y="1145178"/>
                  <a:pt x="1257300" y="1150644"/>
                  <a:pt x="1253656" y="1156111"/>
                </a:cubicBezTo>
                <a:cubicBezTo>
                  <a:pt x="1248189" y="1156111"/>
                  <a:pt x="1237256" y="1163399"/>
                  <a:pt x="1235434" y="1168866"/>
                </a:cubicBezTo>
                <a:cubicBezTo>
                  <a:pt x="1244545" y="1165222"/>
                  <a:pt x="1251834" y="1168866"/>
                  <a:pt x="1260945" y="1163399"/>
                </a:cubicBezTo>
                <a:cubicBezTo>
                  <a:pt x="1259123" y="1165222"/>
                  <a:pt x="1259123" y="1165222"/>
                  <a:pt x="1260945" y="1167044"/>
                </a:cubicBezTo>
                <a:cubicBezTo>
                  <a:pt x="1264589" y="1168866"/>
                  <a:pt x="1266411" y="1165222"/>
                  <a:pt x="1270056" y="1167044"/>
                </a:cubicBezTo>
                <a:cubicBezTo>
                  <a:pt x="1257300" y="1167044"/>
                  <a:pt x="1244545" y="1168866"/>
                  <a:pt x="1229969" y="1170688"/>
                </a:cubicBezTo>
                <a:cubicBezTo>
                  <a:pt x="1226323" y="1174332"/>
                  <a:pt x="1228146" y="1176155"/>
                  <a:pt x="1228146" y="1179799"/>
                </a:cubicBezTo>
                <a:cubicBezTo>
                  <a:pt x="1231790" y="1179799"/>
                  <a:pt x="1229969" y="1176155"/>
                  <a:pt x="1231790" y="1177977"/>
                </a:cubicBezTo>
                <a:cubicBezTo>
                  <a:pt x="1229969" y="1179799"/>
                  <a:pt x="1229969" y="1179799"/>
                  <a:pt x="1228146" y="1181621"/>
                </a:cubicBezTo>
                <a:cubicBezTo>
                  <a:pt x="1226323" y="1181621"/>
                  <a:pt x="1228146" y="1179799"/>
                  <a:pt x="1226323" y="1179799"/>
                </a:cubicBezTo>
                <a:cubicBezTo>
                  <a:pt x="1225412" y="1182532"/>
                  <a:pt x="1223134" y="1183899"/>
                  <a:pt x="1220630" y="1185266"/>
                </a:cubicBezTo>
                <a:lnTo>
                  <a:pt x="1214753" y="1189815"/>
                </a:lnTo>
                <a:lnTo>
                  <a:pt x="1205596" y="1186404"/>
                </a:lnTo>
                <a:cubicBezTo>
                  <a:pt x="1201724" y="1185721"/>
                  <a:pt x="1198079" y="1186176"/>
                  <a:pt x="1195346" y="1188910"/>
                </a:cubicBezTo>
                <a:cubicBezTo>
                  <a:pt x="1197169" y="1192554"/>
                  <a:pt x="1198991" y="1192554"/>
                  <a:pt x="1200814" y="1192554"/>
                </a:cubicBezTo>
                <a:cubicBezTo>
                  <a:pt x="1195346" y="1194376"/>
                  <a:pt x="1200814" y="1198021"/>
                  <a:pt x="1200814" y="1201665"/>
                </a:cubicBezTo>
                <a:cubicBezTo>
                  <a:pt x="1204457" y="1201665"/>
                  <a:pt x="1209925" y="1198021"/>
                  <a:pt x="1213568" y="1198021"/>
                </a:cubicBezTo>
                <a:lnTo>
                  <a:pt x="1216808" y="1191542"/>
                </a:lnTo>
                <a:lnTo>
                  <a:pt x="1221768" y="1192782"/>
                </a:lnTo>
                <a:cubicBezTo>
                  <a:pt x="1224501" y="1193010"/>
                  <a:pt x="1227234" y="1193465"/>
                  <a:pt x="1229969" y="1196199"/>
                </a:cubicBezTo>
                <a:cubicBezTo>
                  <a:pt x="1228146" y="1198021"/>
                  <a:pt x="1228146" y="1198021"/>
                  <a:pt x="1228146" y="1198021"/>
                </a:cubicBezTo>
                <a:cubicBezTo>
                  <a:pt x="1226323" y="1199843"/>
                  <a:pt x="1228146" y="1199843"/>
                  <a:pt x="1226323" y="1199843"/>
                </a:cubicBezTo>
                <a:cubicBezTo>
                  <a:pt x="1226323" y="1199843"/>
                  <a:pt x="1222679" y="1198021"/>
                  <a:pt x="1222679" y="1198021"/>
                </a:cubicBezTo>
                <a:cubicBezTo>
                  <a:pt x="1219036" y="1199843"/>
                  <a:pt x="1219036" y="1203487"/>
                  <a:pt x="1219036" y="1205309"/>
                </a:cubicBezTo>
                <a:lnTo>
                  <a:pt x="1208102" y="1210776"/>
                </a:lnTo>
                <a:cubicBezTo>
                  <a:pt x="1217213" y="1219887"/>
                  <a:pt x="1226323" y="1208954"/>
                  <a:pt x="1235434" y="1207132"/>
                </a:cubicBezTo>
                <a:lnTo>
                  <a:pt x="1234601" y="1205466"/>
                </a:lnTo>
                <a:lnTo>
                  <a:pt x="1238368" y="1206066"/>
                </a:lnTo>
                <a:lnTo>
                  <a:pt x="1239080" y="1207132"/>
                </a:lnTo>
                <a:lnTo>
                  <a:pt x="1240783" y="1206450"/>
                </a:lnTo>
                <a:lnTo>
                  <a:pt x="1243634" y="1206904"/>
                </a:lnTo>
                <a:lnTo>
                  <a:pt x="1246833" y="1206976"/>
                </a:lnTo>
                <a:lnTo>
                  <a:pt x="1246367" y="1207132"/>
                </a:lnTo>
                <a:cubicBezTo>
                  <a:pt x="1248189" y="1207132"/>
                  <a:pt x="1250012" y="1207132"/>
                  <a:pt x="1251834" y="1207132"/>
                </a:cubicBezTo>
                <a:cubicBezTo>
                  <a:pt x="1251834" y="1210776"/>
                  <a:pt x="1235434" y="1205309"/>
                  <a:pt x="1244545" y="1214420"/>
                </a:cubicBezTo>
                <a:cubicBezTo>
                  <a:pt x="1251834" y="1208954"/>
                  <a:pt x="1262767" y="1214420"/>
                  <a:pt x="1268233" y="1205309"/>
                </a:cubicBezTo>
                <a:lnTo>
                  <a:pt x="1257466" y="1203515"/>
                </a:lnTo>
                <a:lnTo>
                  <a:pt x="1262440" y="1198794"/>
                </a:lnTo>
                <a:lnTo>
                  <a:pt x="1271878" y="1199843"/>
                </a:lnTo>
                <a:cubicBezTo>
                  <a:pt x="1275522" y="1196199"/>
                  <a:pt x="1275522" y="1190732"/>
                  <a:pt x="1277344" y="1187088"/>
                </a:cubicBezTo>
                <a:cubicBezTo>
                  <a:pt x="1279166" y="1187088"/>
                  <a:pt x="1275522" y="1190732"/>
                  <a:pt x="1279166" y="1192554"/>
                </a:cubicBezTo>
                <a:lnTo>
                  <a:pt x="1280939" y="1187827"/>
                </a:lnTo>
                <a:lnTo>
                  <a:pt x="1282360" y="1192798"/>
                </a:lnTo>
                <a:lnTo>
                  <a:pt x="1277344" y="1195515"/>
                </a:lnTo>
                <a:cubicBezTo>
                  <a:pt x="1275978" y="1196654"/>
                  <a:pt x="1275522" y="1198021"/>
                  <a:pt x="1277344" y="1199843"/>
                </a:cubicBezTo>
                <a:cubicBezTo>
                  <a:pt x="1279166" y="1198932"/>
                  <a:pt x="1280989" y="1198021"/>
                  <a:pt x="1282127" y="1196882"/>
                </a:cubicBezTo>
                <a:lnTo>
                  <a:pt x="1282626" y="1193727"/>
                </a:lnTo>
                <a:lnTo>
                  <a:pt x="1282811" y="1194376"/>
                </a:lnTo>
                <a:cubicBezTo>
                  <a:pt x="1284633" y="1190732"/>
                  <a:pt x="1286455" y="1190732"/>
                  <a:pt x="1290100" y="1187088"/>
                </a:cubicBezTo>
                <a:cubicBezTo>
                  <a:pt x="1288277" y="1181621"/>
                  <a:pt x="1290100" y="1172510"/>
                  <a:pt x="1293744" y="1170688"/>
                </a:cubicBezTo>
                <a:cubicBezTo>
                  <a:pt x="1293744" y="1174332"/>
                  <a:pt x="1290100" y="1176155"/>
                  <a:pt x="1291922" y="1179799"/>
                </a:cubicBezTo>
                <a:cubicBezTo>
                  <a:pt x="1293744" y="1183443"/>
                  <a:pt x="1295566" y="1177977"/>
                  <a:pt x="1297388" y="1179799"/>
                </a:cubicBezTo>
                <a:cubicBezTo>
                  <a:pt x="1295566" y="1181621"/>
                  <a:pt x="1295566" y="1181621"/>
                  <a:pt x="1297388" y="1183443"/>
                </a:cubicBezTo>
                <a:cubicBezTo>
                  <a:pt x="1296477" y="1185265"/>
                  <a:pt x="1294200" y="1186632"/>
                  <a:pt x="1292149" y="1188226"/>
                </a:cubicBezTo>
                <a:lnTo>
                  <a:pt x="1288547" y="1193948"/>
                </a:lnTo>
                <a:lnTo>
                  <a:pt x="1286455" y="1192554"/>
                </a:lnTo>
                <a:cubicBezTo>
                  <a:pt x="1282811" y="1196199"/>
                  <a:pt x="1284633" y="1199843"/>
                  <a:pt x="1284633" y="1203487"/>
                </a:cubicBezTo>
                <a:lnTo>
                  <a:pt x="1282811" y="1203487"/>
                </a:lnTo>
                <a:cubicBezTo>
                  <a:pt x="1282811" y="1208954"/>
                  <a:pt x="1290100" y="1208954"/>
                  <a:pt x="1288277" y="1203487"/>
                </a:cubicBezTo>
                <a:lnTo>
                  <a:pt x="1284633" y="1203487"/>
                </a:lnTo>
                <a:cubicBezTo>
                  <a:pt x="1288277" y="1203487"/>
                  <a:pt x="1286455" y="1198021"/>
                  <a:pt x="1290100" y="1198021"/>
                </a:cubicBezTo>
                <a:cubicBezTo>
                  <a:pt x="1288277" y="1199843"/>
                  <a:pt x="1290100" y="1199843"/>
                  <a:pt x="1288277" y="1201665"/>
                </a:cubicBezTo>
                <a:lnTo>
                  <a:pt x="1300239" y="1201993"/>
                </a:lnTo>
                <a:lnTo>
                  <a:pt x="1302855" y="1203487"/>
                </a:lnTo>
                <a:cubicBezTo>
                  <a:pt x="1306499" y="1199843"/>
                  <a:pt x="1306499" y="1207132"/>
                  <a:pt x="1310143" y="1203487"/>
                </a:cubicBezTo>
                <a:lnTo>
                  <a:pt x="1310143" y="1205309"/>
                </a:lnTo>
                <a:cubicBezTo>
                  <a:pt x="1315610" y="1207132"/>
                  <a:pt x="1322899" y="1208954"/>
                  <a:pt x="1324721" y="1203487"/>
                </a:cubicBezTo>
                <a:cubicBezTo>
                  <a:pt x="1319254" y="1201665"/>
                  <a:pt x="1315610" y="1203487"/>
                  <a:pt x="1310143" y="1201665"/>
                </a:cubicBezTo>
                <a:lnTo>
                  <a:pt x="1309436" y="1201547"/>
                </a:lnTo>
                <a:lnTo>
                  <a:pt x="1322899" y="1199843"/>
                </a:lnTo>
                <a:cubicBezTo>
                  <a:pt x="1321077" y="1196199"/>
                  <a:pt x="1319254" y="1192554"/>
                  <a:pt x="1317432" y="1188910"/>
                </a:cubicBezTo>
                <a:cubicBezTo>
                  <a:pt x="1319254" y="1190732"/>
                  <a:pt x="1321077" y="1190732"/>
                  <a:pt x="1322899" y="1190732"/>
                </a:cubicBezTo>
                <a:cubicBezTo>
                  <a:pt x="1322899" y="1194376"/>
                  <a:pt x="1324721" y="1196199"/>
                  <a:pt x="1324721" y="1199843"/>
                </a:cubicBezTo>
                <a:cubicBezTo>
                  <a:pt x="1328365" y="1196199"/>
                  <a:pt x="1333832" y="1198021"/>
                  <a:pt x="1339299" y="1194376"/>
                </a:cubicBezTo>
                <a:cubicBezTo>
                  <a:pt x="1341120" y="1192554"/>
                  <a:pt x="1339299" y="1190732"/>
                  <a:pt x="1341120" y="1188910"/>
                </a:cubicBezTo>
                <a:cubicBezTo>
                  <a:pt x="1342942" y="1188910"/>
                  <a:pt x="1341120" y="1192554"/>
                  <a:pt x="1342942" y="1192554"/>
                </a:cubicBezTo>
                <a:cubicBezTo>
                  <a:pt x="1344765" y="1192554"/>
                  <a:pt x="1342942" y="1188910"/>
                  <a:pt x="1344765" y="1188910"/>
                </a:cubicBezTo>
                <a:cubicBezTo>
                  <a:pt x="1342942" y="1190732"/>
                  <a:pt x="1344765" y="1194376"/>
                  <a:pt x="1346587" y="1192554"/>
                </a:cubicBezTo>
                <a:cubicBezTo>
                  <a:pt x="1348410" y="1185266"/>
                  <a:pt x="1357521" y="1185266"/>
                  <a:pt x="1357521" y="1176155"/>
                </a:cubicBezTo>
                <a:cubicBezTo>
                  <a:pt x="1357521" y="1177977"/>
                  <a:pt x="1357521" y="1176155"/>
                  <a:pt x="1359342" y="1176155"/>
                </a:cubicBezTo>
                <a:cubicBezTo>
                  <a:pt x="1359342" y="1181621"/>
                  <a:pt x="1353876" y="1185266"/>
                  <a:pt x="1352053" y="1190732"/>
                </a:cubicBezTo>
                <a:cubicBezTo>
                  <a:pt x="1366632" y="1187088"/>
                  <a:pt x="1379386" y="1168866"/>
                  <a:pt x="1375743" y="1157933"/>
                </a:cubicBezTo>
                <a:cubicBezTo>
                  <a:pt x="1383030" y="1159755"/>
                  <a:pt x="1377564" y="1150644"/>
                  <a:pt x="1381208" y="1150644"/>
                </a:cubicBezTo>
                <a:cubicBezTo>
                  <a:pt x="1384854" y="1159755"/>
                  <a:pt x="1375743" y="1163399"/>
                  <a:pt x="1377564" y="1170688"/>
                </a:cubicBezTo>
                <a:cubicBezTo>
                  <a:pt x="1381208" y="1168866"/>
                  <a:pt x="1377564" y="1163399"/>
                  <a:pt x="1381208" y="1163399"/>
                </a:cubicBezTo>
                <a:cubicBezTo>
                  <a:pt x="1381208" y="1163399"/>
                  <a:pt x="1379386" y="1168866"/>
                  <a:pt x="1381208" y="1168866"/>
                </a:cubicBezTo>
                <a:cubicBezTo>
                  <a:pt x="1384854" y="1167044"/>
                  <a:pt x="1384854" y="1161577"/>
                  <a:pt x="1386676" y="1161577"/>
                </a:cubicBezTo>
                <a:cubicBezTo>
                  <a:pt x="1384854" y="1165222"/>
                  <a:pt x="1386676" y="1167044"/>
                  <a:pt x="1384854" y="1168866"/>
                </a:cubicBezTo>
                <a:lnTo>
                  <a:pt x="1379893" y="1174032"/>
                </a:lnTo>
                <a:lnTo>
                  <a:pt x="1379386" y="1172510"/>
                </a:lnTo>
                <a:cubicBezTo>
                  <a:pt x="1373920" y="1176155"/>
                  <a:pt x="1373920" y="1176155"/>
                  <a:pt x="1372097" y="1181621"/>
                </a:cubicBezTo>
                <a:lnTo>
                  <a:pt x="1379386" y="1178705"/>
                </a:lnTo>
                <a:lnTo>
                  <a:pt x="1379386" y="1181621"/>
                </a:lnTo>
                <a:lnTo>
                  <a:pt x="1386365" y="1179682"/>
                </a:lnTo>
                <a:lnTo>
                  <a:pt x="1379386" y="1185266"/>
                </a:lnTo>
                <a:lnTo>
                  <a:pt x="1379386" y="1187088"/>
                </a:lnTo>
                <a:lnTo>
                  <a:pt x="1377564" y="1188910"/>
                </a:lnTo>
                <a:cubicBezTo>
                  <a:pt x="1377564" y="1190732"/>
                  <a:pt x="1379386" y="1190732"/>
                  <a:pt x="1379386" y="1190732"/>
                </a:cubicBezTo>
                <a:cubicBezTo>
                  <a:pt x="1373920" y="1192554"/>
                  <a:pt x="1375743" y="1196199"/>
                  <a:pt x="1373920" y="1199843"/>
                </a:cubicBezTo>
                <a:cubicBezTo>
                  <a:pt x="1366632" y="1196199"/>
                  <a:pt x="1359342" y="1208954"/>
                  <a:pt x="1359342" y="1214420"/>
                </a:cubicBezTo>
                <a:cubicBezTo>
                  <a:pt x="1366632" y="1212598"/>
                  <a:pt x="1368453" y="1205309"/>
                  <a:pt x="1373920" y="1199843"/>
                </a:cubicBezTo>
                <a:cubicBezTo>
                  <a:pt x="1375743" y="1201665"/>
                  <a:pt x="1386676" y="1194376"/>
                  <a:pt x="1384854" y="1190732"/>
                </a:cubicBezTo>
                <a:cubicBezTo>
                  <a:pt x="1383030" y="1188910"/>
                  <a:pt x="1381208" y="1190732"/>
                  <a:pt x="1379386" y="1190732"/>
                </a:cubicBezTo>
                <a:cubicBezTo>
                  <a:pt x="1379386" y="1187088"/>
                  <a:pt x="1383030" y="1187088"/>
                  <a:pt x="1384854" y="1187088"/>
                </a:cubicBezTo>
                <a:cubicBezTo>
                  <a:pt x="1386676" y="1187088"/>
                  <a:pt x="1384854" y="1190732"/>
                  <a:pt x="1386676" y="1188910"/>
                </a:cubicBezTo>
                <a:cubicBezTo>
                  <a:pt x="1388497" y="1185266"/>
                  <a:pt x="1393963" y="1179799"/>
                  <a:pt x="1401252" y="1174332"/>
                </a:cubicBezTo>
                <a:lnTo>
                  <a:pt x="1406507" y="1170741"/>
                </a:lnTo>
                <a:lnTo>
                  <a:pt x="1414918" y="1164994"/>
                </a:lnTo>
                <a:cubicBezTo>
                  <a:pt x="1419474" y="1159755"/>
                  <a:pt x="1423118" y="1153377"/>
                  <a:pt x="1423118" y="1148822"/>
                </a:cubicBezTo>
                <a:cubicBezTo>
                  <a:pt x="1428585" y="1147000"/>
                  <a:pt x="1423118" y="1134245"/>
                  <a:pt x="1421296" y="1130600"/>
                </a:cubicBezTo>
                <a:cubicBezTo>
                  <a:pt x="1424940" y="1136067"/>
                  <a:pt x="1426763" y="1134245"/>
                  <a:pt x="1428585" y="1136067"/>
                </a:cubicBezTo>
                <a:cubicBezTo>
                  <a:pt x="1430407" y="1134245"/>
                  <a:pt x="1432229" y="1130600"/>
                  <a:pt x="1432229" y="1132422"/>
                </a:cubicBezTo>
                <a:cubicBezTo>
                  <a:pt x="1426763" y="1139711"/>
                  <a:pt x="1423118" y="1145178"/>
                  <a:pt x="1426763" y="1152466"/>
                </a:cubicBezTo>
                <a:cubicBezTo>
                  <a:pt x="1428585" y="1152466"/>
                  <a:pt x="1434051" y="1148822"/>
                  <a:pt x="1432229" y="1152466"/>
                </a:cubicBezTo>
                <a:cubicBezTo>
                  <a:pt x="1421296" y="1154288"/>
                  <a:pt x="1419474" y="1165222"/>
                  <a:pt x="1408541" y="1172510"/>
                </a:cubicBezTo>
                <a:cubicBezTo>
                  <a:pt x="1406719" y="1174332"/>
                  <a:pt x="1410363" y="1174332"/>
                  <a:pt x="1408541" y="1176155"/>
                </a:cubicBezTo>
                <a:cubicBezTo>
                  <a:pt x="1406719" y="1174332"/>
                  <a:pt x="1404896" y="1176155"/>
                  <a:pt x="1403074" y="1177977"/>
                </a:cubicBezTo>
                <a:cubicBezTo>
                  <a:pt x="1403074" y="1177977"/>
                  <a:pt x="1406719" y="1177977"/>
                  <a:pt x="1404896" y="1179799"/>
                </a:cubicBezTo>
                <a:cubicBezTo>
                  <a:pt x="1401252" y="1179799"/>
                  <a:pt x="1392141" y="1188910"/>
                  <a:pt x="1388497" y="1192554"/>
                </a:cubicBezTo>
                <a:lnTo>
                  <a:pt x="1397089" y="1188071"/>
                </a:lnTo>
                <a:lnTo>
                  <a:pt x="1381208" y="1198021"/>
                </a:lnTo>
                <a:lnTo>
                  <a:pt x="1381208" y="1199843"/>
                </a:lnTo>
                <a:cubicBezTo>
                  <a:pt x="1377564" y="1198021"/>
                  <a:pt x="1375743" y="1205309"/>
                  <a:pt x="1372097" y="1207132"/>
                </a:cubicBezTo>
                <a:cubicBezTo>
                  <a:pt x="1375743" y="1207132"/>
                  <a:pt x="1381208" y="1203487"/>
                  <a:pt x="1381208" y="1199843"/>
                </a:cubicBezTo>
                <a:lnTo>
                  <a:pt x="1381208" y="1203487"/>
                </a:lnTo>
                <a:cubicBezTo>
                  <a:pt x="1390319" y="1201665"/>
                  <a:pt x="1401252" y="1198021"/>
                  <a:pt x="1412185" y="1196199"/>
                </a:cubicBezTo>
                <a:cubicBezTo>
                  <a:pt x="1414007" y="1194376"/>
                  <a:pt x="1414007" y="1188910"/>
                  <a:pt x="1415829" y="1188910"/>
                </a:cubicBezTo>
                <a:cubicBezTo>
                  <a:pt x="1415829" y="1190732"/>
                  <a:pt x="1415829" y="1192554"/>
                  <a:pt x="1417652" y="1194376"/>
                </a:cubicBezTo>
                <a:cubicBezTo>
                  <a:pt x="1424940" y="1192554"/>
                  <a:pt x="1432229" y="1188910"/>
                  <a:pt x="1424940" y="1179799"/>
                </a:cubicBezTo>
                <a:cubicBezTo>
                  <a:pt x="1428585" y="1179799"/>
                  <a:pt x="1428585" y="1183443"/>
                  <a:pt x="1430407" y="1185266"/>
                </a:cubicBezTo>
                <a:cubicBezTo>
                  <a:pt x="1432229" y="1183443"/>
                  <a:pt x="1430407" y="1179799"/>
                  <a:pt x="1434051" y="1179799"/>
                </a:cubicBezTo>
                <a:cubicBezTo>
                  <a:pt x="1432229" y="1185266"/>
                  <a:pt x="1430407" y="1187088"/>
                  <a:pt x="1430407" y="1190732"/>
                </a:cubicBezTo>
                <a:lnTo>
                  <a:pt x="1450761" y="1181827"/>
                </a:lnTo>
                <a:lnTo>
                  <a:pt x="1452501" y="1182988"/>
                </a:lnTo>
                <a:cubicBezTo>
                  <a:pt x="1453639" y="1182532"/>
                  <a:pt x="1455006" y="1181621"/>
                  <a:pt x="1455917" y="1181621"/>
                </a:cubicBezTo>
                <a:cubicBezTo>
                  <a:pt x="1456828" y="1179799"/>
                  <a:pt x="1455917" y="1180254"/>
                  <a:pt x="1454550" y="1180938"/>
                </a:cubicBezTo>
                <a:lnTo>
                  <a:pt x="1451714" y="1181410"/>
                </a:lnTo>
                <a:lnTo>
                  <a:pt x="1458158" y="1178591"/>
                </a:lnTo>
                <a:lnTo>
                  <a:pt x="1457933" y="1185112"/>
                </a:lnTo>
                <a:lnTo>
                  <a:pt x="1457739" y="1190732"/>
                </a:lnTo>
                <a:cubicBezTo>
                  <a:pt x="1459562" y="1190732"/>
                  <a:pt x="1461384" y="1187088"/>
                  <a:pt x="1461384" y="1188910"/>
                </a:cubicBezTo>
                <a:cubicBezTo>
                  <a:pt x="1461384" y="1190732"/>
                  <a:pt x="1455917" y="1192554"/>
                  <a:pt x="1457739" y="1194376"/>
                </a:cubicBezTo>
                <a:cubicBezTo>
                  <a:pt x="1468673" y="1190732"/>
                  <a:pt x="1481428" y="1177977"/>
                  <a:pt x="1492361" y="1176155"/>
                </a:cubicBezTo>
                <a:lnTo>
                  <a:pt x="1490734" y="1179409"/>
                </a:lnTo>
                <a:lnTo>
                  <a:pt x="1477784" y="1183443"/>
                </a:lnTo>
                <a:cubicBezTo>
                  <a:pt x="1475961" y="1185266"/>
                  <a:pt x="1481428" y="1188910"/>
                  <a:pt x="1477784" y="1188910"/>
                </a:cubicBezTo>
                <a:cubicBezTo>
                  <a:pt x="1475961" y="1187088"/>
                  <a:pt x="1472317" y="1192554"/>
                  <a:pt x="1472317" y="1196199"/>
                </a:cubicBezTo>
                <a:cubicBezTo>
                  <a:pt x="1475961" y="1194376"/>
                  <a:pt x="1472317" y="1190732"/>
                  <a:pt x="1475961" y="1192554"/>
                </a:cubicBezTo>
                <a:cubicBezTo>
                  <a:pt x="1475961" y="1192554"/>
                  <a:pt x="1474139" y="1194376"/>
                  <a:pt x="1475961" y="1194376"/>
                </a:cubicBezTo>
                <a:cubicBezTo>
                  <a:pt x="1468673" y="1203487"/>
                  <a:pt x="1457739" y="1198021"/>
                  <a:pt x="1452273" y="1208954"/>
                </a:cubicBezTo>
                <a:cubicBezTo>
                  <a:pt x="1450451" y="1207132"/>
                  <a:pt x="1452273" y="1207132"/>
                  <a:pt x="1450451" y="1205309"/>
                </a:cubicBezTo>
                <a:cubicBezTo>
                  <a:pt x="1437696" y="1210776"/>
                  <a:pt x="1423118" y="1207132"/>
                  <a:pt x="1412185" y="1218065"/>
                </a:cubicBezTo>
                <a:lnTo>
                  <a:pt x="1412185" y="1220201"/>
                </a:lnTo>
                <a:lnTo>
                  <a:pt x="1407402" y="1221026"/>
                </a:lnTo>
                <a:cubicBezTo>
                  <a:pt x="1404896" y="1222164"/>
                  <a:pt x="1402163" y="1223531"/>
                  <a:pt x="1399430" y="1223531"/>
                </a:cubicBezTo>
                <a:cubicBezTo>
                  <a:pt x="1399430" y="1223531"/>
                  <a:pt x="1399430" y="1225353"/>
                  <a:pt x="1399430" y="1225353"/>
                </a:cubicBezTo>
                <a:lnTo>
                  <a:pt x="1412185" y="1220570"/>
                </a:lnTo>
                <a:lnTo>
                  <a:pt x="1412185" y="1225353"/>
                </a:lnTo>
                <a:cubicBezTo>
                  <a:pt x="1406719" y="1228998"/>
                  <a:pt x="1395787" y="1227175"/>
                  <a:pt x="1393963" y="1234464"/>
                </a:cubicBezTo>
                <a:cubicBezTo>
                  <a:pt x="1392141" y="1236286"/>
                  <a:pt x="1390319" y="1230820"/>
                  <a:pt x="1388497" y="1234464"/>
                </a:cubicBezTo>
                <a:cubicBezTo>
                  <a:pt x="1388497" y="1234464"/>
                  <a:pt x="1388497" y="1236286"/>
                  <a:pt x="1390319" y="1238108"/>
                </a:cubicBezTo>
                <a:cubicBezTo>
                  <a:pt x="1392141" y="1238108"/>
                  <a:pt x="1390319" y="1234464"/>
                  <a:pt x="1392141" y="1236286"/>
                </a:cubicBezTo>
                <a:cubicBezTo>
                  <a:pt x="1390319" y="1238108"/>
                  <a:pt x="1390319" y="1238108"/>
                  <a:pt x="1392141" y="1239931"/>
                </a:cubicBezTo>
                <a:cubicBezTo>
                  <a:pt x="1397608" y="1241753"/>
                  <a:pt x="1401252" y="1241753"/>
                  <a:pt x="1406719" y="1236286"/>
                </a:cubicBezTo>
                <a:cubicBezTo>
                  <a:pt x="1406719" y="1238108"/>
                  <a:pt x="1408541" y="1238108"/>
                  <a:pt x="1410363" y="1238108"/>
                </a:cubicBezTo>
                <a:cubicBezTo>
                  <a:pt x="1412185" y="1235375"/>
                  <a:pt x="1415374" y="1233097"/>
                  <a:pt x="1417879" y="1230820"/>
                </a:cubicBezTo>
                <a:lnTo>
                  <a:pt x="1419579" y="1227192"/>
                </a:lnTo>
                <a:lnTo>
                  <a:pt x="1423422" y="1227833"/>
                </a:lnTo>
                <a:lnTo>
                  <a:pt x="1406719" y="1241753"/>
                </a:lnTo>
                <a:cubicBezTo>
                  <a:pt x="1415829" y="1247219"/>
                  <a:pt x="1430407" y="1236286"/>
                  <a:pt x="1437696" y="1230820"/>
                </a:cubicBezTo>
                <a:cubicBezTo>
                  <a:pt x="1439518" y="1228998"/>
                  <a:pt x="1439518" y="1223531"/>
                  <a:pt x="1441340" y="1225353"/>
                </a:cubicBezTo>
                <a:cubicBezTo>
                  <a:pt x="1443162" y="1228998"/>
                  <a:pt x="1437696" y="1230820"/>
                  <a:pt x="1439518" y="1232642"/>
                </a:cubicBezTo>
                <a:cubicBezTo>
                  <a:pt x="1443162" y="1230820"/>
                  <a:pt x="1443162" y="1225353"/>
                  <a:pt x="1446806" y="1227175"/>
                </a:cubicBezTo>
                <a:lnTo>
                  <a:pt x="1446806" y="1230820"/>
                </a:lnTo>
                <a:cubicBezTo>
                  <a:pt x="1444984" y="1230820"/>
                  <a:pt x="1446806" y="1227175"/>
                  <a:pt x="1444984" y="1228998"/>
                </a:cubicBezTo>
                <a:cubicBezTo>
                  <a:pt x="1443162" y="1228998"/>
                  <a:pt x="1444984" y="1230820"/>
                  <a:pt x="1443162" y="1232642"/>
                </a:cubicBezTo>
                <a:cubicBezTo>
                  <a:pt x="1441340" y="1230820"/>
                  <a:pt x="1439518" y="1232642"/>
                  <a:pt x="1435873" y="1234464"/>
                </a:cubicBezTo>
                <a:cubicBezTo>
                  <a:pt x="1435873" y="1236286"/>
                  <a:pt x="1434051" y="1238108"/>
                  <a:pt x="1435873" y="1241753"/>
                </a:cubicBezTo>
                <a:cubicBezTo>
                  <a:pt x="1439518" y="1241753"/>
                  <a:pt x="1444984" y="1238108"/>
                  <a:pt x="1446806" y="1236286"/>
                </a:cubicBezTo>
                <a:cubicBezTo>
                  <a:pt x="1443162" y="1239931"/>
                  <a:pt x="1446806" y="1241753"/>
                  <a:pt x="1446806" y="1241753"/>
                </a:cubicBezTo>
                <a:cubicBezTo>
                  <a:pt x="1437696" y="1243575"/>
                  <a:pt x="1426763" y="1247219"/>
                  <a:pt x="1417652" y="1247219"/>
                </a:cubicBezTo>
                <a:cubicBezTo>
                  <a:pt x="1415829" y="1247219"/>
                  <a:pt x="1419474" y="1249042"/>
                  <a:pt x="1417652" y="1250864"/>
                </a:cubicBezTo>
                <a:cubicBezTo>
                  <a:pt x="1415829" y="1250864"/>
                  <a:pt x="1412185" y="1245397"/>
                  <a:pt x="1415829" y="1247219"/>
                </a:cubicBezTo>
                <a:cubicBezTo>
                  <a:pt x="1417652" y="1247219"/>
                  <a:pt x="1412185" y="1243575"/>
                  <a:pt x="1410363" y="1247219"/>
                </a:cubicBezTo>
                <a:cubicBezTo>
                  <a:pt x="1412185" y="1245397"/>
                  <a:pt x="1408541" y="1247219"/>
                  <a:pt x="1408541" y="1245397"/>
                </a:cubicBezTo>
                <a:cubicBezTo>
                  <a:pt x="1395787" y="1247219"/>
                  <a:pt x="1383030" y="1243575"/>
                  <a:pt x="1370275" y="1245397"/>
                </a:cubicBezTo>
                <a:cubicBezTo>
                  <a:pt x="1372097" y="1249042"/>
                  <a:pt x="1373920" y="1249042"/>
                  <a:pt x="1375743" y="1250864"/>
                </a:cubicBezTo>
                <a:cubicBezTo>
                  <a:pt x="1375743" y="1250864"/>
                  <a:pt x="1373920" y="1254508"/>
                  <a:pt x="1372097" y="1252686"/>
                </a:cubicBezTo>
                <a:cubicBezTo>
                  <a:pt x="1373920" y="1250864"/>
                  <a:pt x="1373920" y="1250864"/>
                  <a:pt x="1372097" y="1249042"/>
                </a:cubicBezTo>
                <a:cubicBezTo>
                  <a:pt x="1368453" y="1249042"/>
                  <a:pt x="1362987" y="1249042"/>
                  <a:pt x="1361164" y="1254508"/>
                </a:cubicBezTo>
                <a:cubicBezTo>
                  <a:pt x="1364809" y="1256330"/>
                  <a:pt x="1366632" y="1254508"/>
                  <a:pt x="1370275" y="1254508"/>
                </a:cubicBezTo>
                <a:cubicBezTo>
                  <a:pt x="1362987" y="1259975"/>
                  <a:pt x="1350231" y="1252686"/>
                  <a:pt x="1344765" y="1258152"/>
                </a:cubicBezTo>
                <a:cubicBezTo>
                  <a:pt x="1346587" y="1256330"/>
                  <a:pt x="1344765" y="1254508"/>
                  <a:pt x="1342942" y="1252686"/>
                </a:cubicBezTo>
                <a:lnTo>
                  <a:pt x="1328034" y="1260140"/>
                </a:lnTo>
                <a:lnTo>
                  <a:pt x="1326543" y="1252686"/>
                </a:lnTo>
                <a:cubicBezTo>
                  <a:pt x="1324721" y="1252686"/>
                  <a:pt x="1324721" y="1258152"/>
                  <a:pt x="1321077" y="1259975"/>
                </a:cubicBezTo>
                <a:cubicBezTo>
                  <a:pt x="1321077" y="1261797"/>
                  <a:pt x="1322899" y="1261797"/>
                  <a:pt x="1324721" y="1261797"/>
                </a:cubicBezTo>
                <a:lnTo>
                  <a:pt x="1325326" y="1270475"/>
                </a:lnTo>
                <a:lnTo>
                  <a:pt x="1320165" y="1276374"/>
                </a:lnTo>
                <a:cubicBezTo>
                  <a:pt x="1318343" y="1278652"/>
                  <a:pt x="1317432" y="1280929"/>
                  <a:pt x="1319254" y="1283663"/>
                </a:cubicBezTo>
                <a:cubicBezTo>
                  <a:pt x="1321077" y="1282752"/>
                  <a:pt x="1323354" y="1281385"/>
                  <a:pt x="1324948" y="1279107"/>
                </a:cubicBezTo>
                <a:lnTo>
                  <a:pt x="1325148" y="1277854"/>
                </a:lnTo>
                <a:lnTo>
                  <a:pt x="1327769" y="1275758"/>
                </a:lnTo>
                <a:lnTo>
                  <a:pt x="1329708" y="1279174"/>
                </a:lnTo>
                <a:lnTo>
                  <a:pt x="1324721" y="1283663"/>
                </a:lnTo>
                <a:cubicBezTo>
                  <a:pt x="1328365" y="1285485"/>
                  <a:pt x="1332009" y="1283663"/>
                  <a:pt x="1332009" y="1280018"/>
                </a:cubicBezTo>
                <a:lnTo>
                  <a:pt x="1332579" y="1281158"/>
                </a:lnTo>
                <a:lnTo>
                  <a:pt x="1333089" y="1283663"/>
                </a:lnTo>
                <a:lnTo>
                  <a:pt x="1333832" y="1287307"/>
                </a:lnTo>
                <a:lnTo>
                  <a:pt x="1332009" y="1287307"/>
                </a:lnTo>
                <a:cubicBezTo>
                  <a:pt x="1330188" y="1290951"/>
                  <a:pt x="1333832" y="1292774"/>
                  <a:pt x="1330188" y="1294596"/>
                </a:cubicBezTo>
                <a:cubicBezTo>
                  <a:pt x="1332009" y="1296418"/>
                  <a:pt x="1332009" y="1294596"/>
                  <a:pt x="1333832" y="1294596"/>
                </a:cubicBezTo>
                <a:cubicBezTo>
                  <a:pt x="1335654" y="1290951"/>
                  <a:pt x="1335654" y="1287307"/>
                  <a:pt x="1337476" y="1283663"/>
                </a:cubicBezTo>
                <a:cubicBezTo>
                  <a:pt x="1335654" y="1287307"/>
                  <a:pt x="1337476" y="1290951"/>
                  <a:pt x="1335654" y="1294596"/>
                </a:cubicBezTo>
                <a:lnTo>
                  <a:pt x="1339546" y="1294596"/>
                </a:lnTo>
                <a:lnTo>
                  <a:pt x="1337476" y="1298240"/>
                </a:lnTo>
                <a:cubicBezTo>
                  <a:pt x="1339299" y="1301885"/>
                  <a:pt x="1339299" y="1309173"/>
                  <a:pt x="1341120" y="1310995"/>
                </a:cubicBezTo>
                <a:cubicBezTo>
                  <a:pt x="1346587" y="1307351"/>
                  <a:pt x="1341120" y="1301885"/>
                  <a:pt x="1341120" y="1300062"/>
                </a:cubicBezTo>
                <a:cubicBezTo>
                  <a:pt x="1342942" y="1300062"/>
                  <a:pt x="1342942" y="1303707"/>
                  <a:pt x="1344765" y="1301885"/>
                </a:cubicBezTo>
                <a:lnTo>
                  <a:pt x="1345044" y="1299697"/>
                </a:lnTo>
                <a:lnTo>
                  <a:pt x="1346587" y="1309173"/>
                </a:lnTo>
                <a:cubicBezTo>
                  <a:pt x="1346587" y="1310995"/>
                  <a:pt x="1342942" y="1310995"/>
                  <a:pt x="1342942" y="1312818"/>
                </a:cubicBezTo>
                <a:cubicBezTo>
                  <a:pt x="1348410" y="1314640"/>
                  <a:pt x="1346587" y="1303707"/>
                  <a:pt x="1350231" y="1307351"/>
                </a:cubicBezTo>
                <a:cubicBezTo>
                  <a:pt x="1352053" y="1305529"/>
                  <a:pt x="1346587" y="1301885"/>
                  <a:pt x="1348410" y="1300062"/>
                </a:cubicBezTo>
                <a:cubicBezTo>
                  <a:pt x="1350231" y="1300062"/>
                  <a:pt x="1350231" y="1303707"/>
                  <a:pt x="1352053" y="1303707"/>
                </a:cubicBezTo>
                <a:cubicBezTo>
                  <a:pt x="1353876" y="1300062"/>
                  <a:pt x="1355698" y="1296418"/>
                  <a:pt x="1353876" y="1292774"/>
                </a:cubicBezTo>
                <a:cubicBezTo>
                  <a:pt x="1355698" y="1294596"/>
                  <a:pt x="1357521" y="1290951"/>
                  <a:pt x="1359342" y="1292774"/>
                </a:cubicBezTo>
                <a:cubicBezTo>
                  <a:pt x="1355698" y="1296418"/>
                  <a:pt x="1361164" y="1301885"/>
                  <a:pt x="1357521" y="1305529"/>
                </a:cubicBezTo>
                <a:cubicBezTo>
                  <a:pt x="1357521" y="1303707"/>
                  <a:pt x="1357521" y="1303707"/>
                  <a:pt x="1355698" y="1303707"/>
                </a:cubicBezTo>
                <a:lnTo>
                  <a:pt x="1355881" y="1307364"/>
                </a:lnTo>
                <a:lnTo>
                  <a:pt x="1355698" y="1307351"/>
                </a:lnTo>
                <a:lnTo>
                  <a:pt x="1355885" y="1307444"/>
                </a:lnTo>
                <a:lnTo>
                  <a:pt x="1355926" y="1308262"/>
                </a:lnTo>
                <a:cubicBezTo>
                  <a:pt x="1356609" y="1309629"/>
                  <a:pt x="1357521" y="1310995"/>
                  <a:pt x="1357521" y="1312818"/>
                </a:cubicBezTo>
                <a:cubicBezTo>
                  <a:pt x="1372097" y="1312818"/>
                  <a:pt x="1377564" y="1296418"/>
                  <a:pt x="1375743" y="1285485"/>
                </a:cubicBezTo>
                <a:cubicBezTo>
                  <a:pt x="1377564" y="1283663"/>
                  <a:pt x="1375743" y="1280018"/>
                  <a:pt x="1377564" y="1280018"/>
                </a:cubicBezTo>
                <a:cubicBezTo>
                  <a:pt x="1381208" y="1290951"/>
                  <a:pt x="1373920" y="1300062"/>
                  <a:pt x="1372097" y="1309173"/>
                </a:cubicBezTo>
                <a:cubicBezTo>
                  <a:pt x="1379386" y="1309173"/>
                  <a:pt x="1379386" y="1301885"/>
                  <a:pt x="1381208" y="1298240"/>
                </a:cubicBezTo>
                <a:cubicBezTo>
                  <a:pt x="1384854" y="1301885"/>
                  <a:pt x="1377564" y="1303707"/>
                  <a:pt x="1379386" y="1307351"/>
                </a:cubicBezTo>
                <a:cubicBezTo>
                  <a:pt x="1390319" y="1301885"/>
                  <a:pt x="1386676" y="1292774"/>
                  <a:pt x="1379386" y="1290951"/>
                </a:cubicBezTo>
                <a:cubicBezTo>
                  <a:pt x="1383030" y="1289129"/>
                  <a:pt x="1381208" y="1285485"/>
                  <a:pt x="1383030" y="1285485"/>
                </a:cubicBezTo>
                <a:cubicBezTo>
                  <a:pt x="1379386" y="1287307"/>
                  <a:pt x="1384854" y="1294596"/>
                  <a:pt x="1388497" y="1296418"/>
                </a:cubicBezTo>
                <a:cubicBezTo>
                  <a:pt x="1390319" y="1290951"/>
                  <a:pt x="1384854" y="1281841"/>
                  <a:pt x="1388497" y="1280018"/>
                </a:cubicBezTo>
                <a:cubicBezTo>
                  <a:pt x="1388497" y="1285485"/>
                  <a:pt x="1388497" y="1292774"/>
                  <a:pt x="1390319" y="1296418"/>
                </a:cubicBezTo>
                <a:cubicBezTo>
                  <a:pt x="1406719" y="1283663"/>
                  <a:pt x="1403074" y="1267263"/>
                  <a:pt x="1408541" y="1256330"/>
                </a:cubicBezTo>
                <a:cubicBezTo>
                  <a:pt x="1404896" y="1265441"/>
                  <a:pt x="1408541" y="1276374"/>
                  <a:pt x="1404896" y="1285485"/>
                </a:cubicBezTo>
                <a:lnTo>
                  <a:pt x="1406116" y="1283830"/>
                </a:lnTo>
                <a:lnTo>
                  <a:pt x="1395787" y="1300062"/>
                </a:lnTo>
                <a:cubicBezTo>
                  <a:pt x="1401252" y="1300062"/>
                  <a:pt x="1401252" y="1294596"/>
                  <a:pt x="1404896" y="1296418"/>
                </a:cubicBezTo>
                <a:cubicBezTo>
                  <a:pt x="1399430" y="1301885"/>
                  <a:pt x="1392141" y="1298240"/>
                  <a:pt x="1388497" y="1305529"/>
                </a:cubicBezTo>
                <a:cubicBezTo>
                  <a:pt x="1390319" y="1307351"/>
                  <a:pt x="1390319" y="1307351"/>
                  <a:pt x="1390319" y="1307351"/>
                </a:cubicBezTo>
                <a:cubicBezTo>
                  <a:pt x="1384854" y="1309173"/>
                  <a:pt x="1379386" y="1309173"/>
                  <a:pt x="1375743" y="1314640"/>
                </a:cubicBezTo>
                <a:cubicBezTo>
                  <a:pt x="1377564" y="1316462"/>
                  <a:pt x="1384854" y="1312818"/>
                  <a:pt x="1384854" y="1316462"/>
                </a:cubicBezTo>
                <a:cubicBezTo>
                  <a:pt x="1381208" y="1316462"/>
                  <a:pt x="1377564" y="1314640"/>
                  <a:pt x="1373920" y="1314640"/>
                </a:cubicBezTo>
                <a:cubicBezTo>
                  <a:pt x="1372097" y="1318284"/>
                  <a:pt x="1370275" y="1316462"/>
                  <a:pt x="1370275" y="1314640"/>
                </a:cubicBezTo>
                <a:cubicBezTo>
                  <a:pt x="1370275" y="1312818"/>
                  <a:pt x="1366632" y="1314640"/>
                  <a:pt x="1366632" y="1316462"/>
                </a:cubicBezTo>
                <a:cubicBezTo>
                  <a:pt x="1372097" y="1316462"/>
                  <a:pt x="1373920" y="1318284"/>
                  <a:pt x="1377564" y="1318284"/>
                </a:cubicBezTo>
                <a:cubicBezTo>
                  <a:pt x="1373920" y="1321929"/>
                  <a:pt x="1372097" y="1316462"/>
                  <a:pt x="1368453" y="1318284"/>
                </a:cubicBezTo>
                <a:cubicBezTo>
                  <a:pt x="1370275" y="1321929"/>
                  <a:pt x="1368453" y="1320106"/>
                  <a:pt x="1366632" y="1320106"/>
                </a:cubicBezTo>
                <a:cubicBezTo>
                  <a:pt x="1366632" y="1320106"/>
                  <a:pt x="1368453" y="1321929"/>
                  <a:pt x="1368453" y="1321929"/>
                </a:cubicBezTo>
                <a:cubicBezTo>
                  <a:pt x="1364809" y="1321929"/>
                  <a:pt x="1362987" y="1323751"/>
                  <a:pt x="1359342" y="1323751"/>
                </a:cubicBezTo>
                <a:cubicBezTo>
                  <a:pt x="1355698" y="1321929"/>
                  <a:pt x="1357521" y="1321929"/>
                  <a:pt x="1355698" y="1318284"/>
                </a:cubicBezTo>
                <a:cubicBezTo>
                  <a:pt x="1353876" y="1318284"/>
                  <a:pt x="1352053" y="1318284"/>
                  <a:pt x="1350231" y="1321929"/>
                </a:cubicBezTo>
                <a:cubicBezTo>
                  <a:pt x="1346587" y="1320106"/>
                  <a:pt x="1333832" y="1321929"/>
                  <a:pt x="1335654" y="1316462"/>
                </a:cubicBezTo>
                <a:cubicBezTo>
                  <a:pt x="1333832" y="1318284"/>
                  <a:pt x="1333832" y="1318284"/>
                  <a:pt x="1332009" y="1320106"/>
                </a:cubicBezTo>
                <a:cubicBezTo>
                  <a:pt x="1330188" y="1314640"/>
                  <a:pt x="1328365" y="1320106"/>
                  <a:pt x="1328365" y="1320106"/>
                </a:cubicBezTo>
                <a:cubicBezTo>
                  <a:pt x="1326543" y="1320106"/>
                  <a:pt x="1324721" y="1316462"/>
                  <a:pt x="1321077" y="1318284"/>
                </a:cubicBezTo>
                <a:cubicBezTo>
                  <a:pt x="1308321" y="1307351"/>
                  <a:pt x="1295566" y="1296418"/>
                  <a:pt x="1280989" y="1309173"/>
                </a:cubicBezTo>
                <a:cubicBezTo>
                  <a:pt x="1280989" y="1307351"/>
                  <a:pt x="1280989" y="1307351"/>
                  <a:pt x="1280989" y="1305529"/>
                </a:cubicBezTo>
                <a:cubicBezTo>
                  <a:pt x="1279166" y="1309173"/>
                  <a:pt x="1277344" y="1303707"/>
                  <a:pt x="1275522" y="1305529"/>
                </a:cubicBezTo>
                <a:cubicBezTo>
                  <a:pt x="1270056" y="1309173"/>
                  <a:pt x="1262767" y="1307351"/>
                  <a:pt x="1255478" y="1309173"/>
                </a:cubicBezTo>
                <a:cubicBezTo>
                  <a:pt x="1255478" y="1312818"/>
                  <a:pt x="1251834" y="1318284"/>
                  <a:pt x="1255478" y="1323751"/>
                </a:cubicBezTo>
                <a:cubicBezTo>
                  <a:pt x="1251834" y="1327395"/>
                  <a:pt x="1253656" y="1336506"/>
                  <a:pt x="1255478" y="1343795"/>
                </a:cubicBezTo>
                <a:lnTo>
                  <a:pt x="1255953" y="1341576"/>
                </a:lnTo>
                <a:lnTo>
                  <a:pt x="1256846" y="1344250"/>
                </a:lnTo>
                <a:lnTo>
                  <a:pt x="1257606" y="1344504"/>
                </a:lnTo>
                <a:lnTo>
                  <a:pt x="1257300" y="1347439"/>
                </a:lnTo>
                <a:cubicBezTo>
                  <a:pt x="1260945" y="1349261"/>
                  <a:pt x="1260945" y="1343795"/>
                  <a:pt x="1264589" y="1347439"/>
                </a:cubicBezTo>
                <a:cubicBezTo>
                  <a:pt x="1264589" y="1351083"/>
                  <a:pt x="1260945" y="1347439"/>
                  <a:pt x="1260945" y="1351083"/>
                </a:cubicBezTo>
                <a:cubicBezTo>
                  <a:pt x="1264589" y="1354728"/>
                  <a:pt x="1264589" y="1352905"/>
                  <a:pt x="1266411" y="1356550"/>
                </a:cubicBezTo>
                <a:cubicBezTo>
                  <a:pt x="1262767" y="1360194"/>
                  <a:pt x="1257300" y="1354728"/>
                  <a:pt x="1253656" y="1354728"/>
                </a:cubicBezTo>
                <a:cubicBezTo>
                  <a:pt x="1255478" y="1358372"/>
                  <a:pt x="1259123" y="1356550"/>
                  <a:pt x="1259123" y="1360194"/>
                </a:cubicBezTo>
                <a:cubicBezTo>
                  <a:pt x="1257300" y="1360194"/>
                  <a:pt x="1255478" y="1358372"/>
                  <a:pt x="1253656" y="1358372"/>
                </a:cubicBezTo>
                <a:cubicBezTo>
                  <a:pt x="1253656" y="1360194"/>
                  <a:pt x="1253656" y="1360194"/>
                  <a:pt x="1253656" y="1362016"/>
                </a:cubicBezTo>
                <a:cubicBezTo>
                  <a:pt x="1250012" y="1358372"/>
                  <a:pt x="1253656" y="1356550"/>
                  <a:pt x="1251834" y="1354728"/>
                </a:cubicBezTo>
                <a:cubicBezTo>
                  <a:pt x="1250012" y="1354728"/>
                  <a:pt x="1250012" y="1354728"/>
                  <a:pt x="1248189" y="1356550"/>
                </a:cubicBezTo>
                <a:cubicBezTo>
                  <a:pt x="1246367" y="1354728"/>
                  <a:pt x="1246367" y="1352905"/>
                  <a:pt x="1246367" y="1351083"/>
                </a:cubicBezTo>
                <a:cubicBezTo>
                  <a:pt x="1239080" y="1351083"/>
                  <a:pt x="1233612" y="1347439"/>
                  <a:pt x="1226323" y="1349261"/>
                </a:cubicBezTo>
                <a:cubicBezTo>
                  <a:pt x="1224501" y="1343795"/>
                  <a:pt x="1219036" y="1343795"/>
                  <a:pt x="1213568" y="1341972"/>
                </a:cubicBezTo>
                <a:cubicBezTo>
                  <a:pt x="1209925" y="1341972"/>
                  <a:pt x="1206279" y="1338328"/>
                  <a:pt x="1202636" y="1336506"/>
                </a:cubicBezTo>
                <a:cubicBezTo>
                  <a:pt x="1202636" y="1334684"/>
                  <a:pt x="1200814" y="1336506"/>
                  <a:pt x="1200814" y="1336506"/>
                </a:cubicBezTo>
                <a:cubicBezTo>
                  <a:pt x="1195346" y="1332862"/>
                  <a:pt x="1193525" y="1327395"/>
                  <a:pt x="1189880" y="1325573"/>
                </a:cubicBezTo>
                <a:cubicBezTo>
                  <a:pt x="1191703" y="1325573"/>
                  <a:pt x="1189880" y="1327395"/>
                  <a:pt x="1189880" y="1327395"/>
                </a:cubicBezTo>
                <a:cubicBezTo>
                  <a:pt x="1188058" y="1325573"/>
                  <a:pt x="1178947" y="1320106"/>
                  <a:pt x="1180769" y="1325573"/>
                </a:cubicBezTo>
                <a:cubicBezTo>
                  <a:pt x="1182592" y="1329217"/>
                  <a:pt x="1177125" y="1321929"/>
                  <a:pt x="1177125" y="1325573"/>
                </a:cubicBezTo>
                <a:cubicBezTo>
                  <a:pt x="1175303" y="1327395"/>
                  <a:pt x="1180769" y="1329217"/>
                  <a:pt x="1178947" y="1331039"/>
                </a:cubicBezTo>
                <a:cubicBezTo>
                  <a:pt x="1177125" y="1329217"/>
                  <a:pt x="1177125" y="1331039"/>
                  <a:pt x="1175303" y="1331039"/>
                </a:cubicBezTo>
                <a:cubicBezTo>
                  <a:pt x="1171658" y="1321929"/>
                  <a:pt x="1164370" y="1321929"/>
                  <a:pt x="1158903" y="1320106"/>
                </a:cubicBezTo>
                <a:cubicBezTo>
                  <a:pt x="1157081" y="1323751"/>
                  <a:pt x="1151614" y="1327395"/>
                  <a:pt x="1149792" y="1331039"/>
                </a:cubicBezTo>
                <a:cubicBezTo>
                  <a:pt x="1155259" y="1345617"/>
                  <a:pt x="1160725" y="1362016"/>
                  <a:pt x="1164370" y="1378416"/>
                </a:cubicBezTo>
                <a:cubicBezTo>
                  <a:pt x="1164370" y="1378416"/>
                  <a:pt x="1164370" y="1374771"/>
                  <a:pt x="1166192" y="1374771"/>
                </a:cubicBezTo>
                <a:cubicBezTo>
                  <a:pt x="1160725" y="1378416"/>
                  <a:pt x="1164370" y="1391171"/>
                  <a:pt x="1171658" y="1392993"/>
                </a:cubicBezTo>
                <a:lnTo>
                  <a:pt x="1176404" y="1403671"/>
                </a:lnTo>
                <a:lnTo>
                  <a:pt x="1168014" y="1392993"/>
                </a:lnTo>
                <a:cubicBezTo>
                  <a:pt x="1168014" y="1391171"/>
                  <a:pt x="1169836" y="1392993"/>
                  <a:pt x="1169836" y="1391171"/>
                </a:cubicBezTo>
                <a:cubicBezTo>
                  <a:pt x="1168014" y="1389349"/>
                  <a:pt x="1166192" y="1387527"/>
                  <a:pt x="1164370" y="1385705"/>
                </a:cubicBezTo>
                <a:cubicBezTo>
                  <a:pt x="1165281" y="1387527"/>
                  <a:pt x="1165281" y="1388894"/>
                  <a:pt x="1165054" y="1390716"/>
                </a:cubicBezTo>
                <a:lnTo>
                  <a:pt x="1164370" y="1398460"/>
                </a:lnTo>
                <a:lnTo>
                  <a:pt x="1162547" y="1400282"/>
                </a:lnTo>
                <a:lnTo>
                  <a:pt x="1171771" y="1414004"/>
                </a:lnTo>
                <a:lnTo>
                  <a:pt x="1169836" y="1413037"/>
                </a:lnTo>
                <a:lnTo>
                  <a:pt x="1170255" y="1419727"/>
                </a:lnTo>
                <a:lnTo>
                  <a:pt x="1166192" y="1411215"/>
                </a:lnTo>
                <a:cubicBezTo>
                  <a:pt x="1164370" y="1416681"/>
                  <a:pt x="1168014" y="1425792"/>
                  <a:pt x="1171658" y="1431259"/>
                </a:cubicBezTo>
                <a:lnTo>
                  <a:pt x="1171027" y="1422008"/>
                </a:lnTo>
                <a:lnTo>
                  <a:pt x="1173481" y="1427615"/>
                </a:lnTo>
                <a:cubicBezTo>
                  <a:pt x="1177125" y="1427615"/>
                  <a:pt x="1180769" y="1422148"/>
                  <a:pt x="1184414" y="1420326"/>
                </a:cubicBezTo>
                <a:lnTo>
                  <a:pt x="1172376" y="1414307"/>
                </a:lnTo>
                <a:lnTo>
                  <a:pt x="1188058" y="1418504"/>
                </a:lnTo>
                <a:lnTo>
                  <a:pt x="1187067" y="1417241"/>
                </a:lnTo>
                <a:lnTo>
                  <a:pt x="1189880" y="1420326"/>
                </a:lnTo>
                <a:cubicBezTo>
                  <a:pt x="1195346" y="1420326"/>
                  <a:pt x="1198991" y="1411215"/>
                  <a:pt x="1202636" y="1409393"/>
                </a:cubicBezTo>
                <a:cubicBezTo>
                  <a:pt x="1202636" y="1409393"/>
                  <a:pt x="1204457" y="1411215"/>
                  <a:pt x="1204457" y="1411215"/>
                </a:cubicBezTo>
                <a:cubicBezTo>
                  <a:pt x="1208102" y="1409393"/>
                  <a:pt x="1220858" y="1403926"/>
                  <a:pt x="1217213" y="1405748"/>
                </a:cubicBezTo>
                <a:cubicBezTo>
                  <a:pt x="1215390" y="1407571"/>
                  <a:pt x="1209925" y="1409393"/>
                  <a:pt x="1208102" y="1413037"/>
                </a:cubicBezTo>
                <a:cubicBezTo>
                  <a:pt x="1202636" y="1413037"/>
                  <a:pt x="1193525" y="1420326"/>
                  <a:pt x="1193525" y="1423970"/>
                </a:cubicBezTo>
                <a:cubicBezTo>
                  <a:pt x="1197169" y="1423970"/>
                  <a:pt x="1202636" y="1418504"/>
                  <a:pt x="1202636" y="1416681"/>
                </a:cubicBezTo>
                <a:cubicBezTo>
                  <a:pt x="1206279" y="1414859"/>
                  <a:pt x="1202636" y="1418504"/>
                  <a:pt x="1204457" y="1420326"/>
                </a:cubicBezTo>
                <a:cubicBezTo>
                  <a:pt x="1206279" y="1418504"/>
                  <a:pt x="1209925" y="1418504"/>
                  <a:pt x="1211747" y="1418504"/>
                </a:cubicBezTo>
                <a:cubicBezTo>
                  <a:pt x="1208102" y="1420326"/>
                  <a:pt x="1204457" y="1420326"/>
                  <a:pt x="1200814" y="1422148"/>
                </a:cubicBezTo>
                <a:cubicBezTo>
                  <a:pt x="1204457" y="1425792"/>
                  <a:pt x="1204457" y="1429437"/>
                  <a:pt x="1202636" y="1431259"/>
                </a:cubicBezTo>
                <a:cubicBezTo>
                  <a:pt x="1197169" y="1423970"/>
                  <a:pt x="1191703" y="1425792"/>
                  <a:pt x="1188058" y="1425792"/>
                </a:cubicBezTo>
                <a:cubicBezTo>
                  <a:pt x="1184414" y="1427615"/>
                  <a:pt x="1180769" y="1429437"/>
                  <a:pt x="1177125" y="1433081"/>
                </a:cubicBezTo>
                <a:cubicBezTo>
                  <a:pt x="1175303" y="1438548"/>
                  <a:pt x="1180769" y="1436725"/>
                  <a:pt x="1182592" y="1440370"/>
                </a:cubicBezTo>
                <a:cubicBezTo>
                  <a:pt x="1180769" y="1438548"/>
                  <a:pt x="1178947" y="1440370"/>
                  <a:pt x="1178947" y="1438548"/>
                </a:cubicBezTo>
                <a:cubicBezTo>
                  <a:pt x="1177125" y="1442192"/>
                  <a:pt x="1180769" y="1444014"/>
                  <a:pt x="1180769" y="1447658"/>
                </a:cubicBezTo>
                <a:cubicBezTo>
                  <a:pt x="1182592" y="1447658"/>
                  <a:pt x="1180769" y="1442192"/>
                  <a:pt x="1182592" y="1440370"/>
                </a:cubicBezTo>
                <a:cubicBezTo>
                  <a:pt x="1188058" y="1436725"/>
                  <a:pt x="1191703" y="1436725"/>
                  <a:pt x="1197169" y="1433081"/>
                </a:cubicBezTo>
                <a:cubicBezTo>
                  <a:pt x="1197169" y="1431259"/>
                  <a:pt x="1193525" y="1431259"/>
                  <a:pt x="1195346" y="1429437"/>
                </a:cubicBezTo>
                <a:cubicBezTo>
                  <a:pt x="1195346" y="1431259"/>
                  <a:pt x="1197169" y="1431259"/>
                  <a:pt x="1198991" y="1429437"/>
                </a:cubicBezTo>
                <a:cubicBezTo>
                  <a:pt x="1200814" y="1431259"/>
                  <a:pt x="1202636" y="1431259"/>
                  <a:pt x="1202636" y="1434903"/>
                </a:cubicBezTo>
                <a:cubicBezTo>
                  <a:pt x="1198991" y="1436725"/>
                  <a:pt x="1198991" y="1440370"/>
                  <a:pt x="1195346" y="1440370"/>
                </a:cubicBezTo>
                <a:cubicBezTo>
                  <a:pt x="1197169" y="1442192"/>
                  <a:pt x="1197169" y="1440370"/>
                  <a:pt x="1198991" y="1442192"/>
                </a:cubicBezTo>
                <a:cubicBezTo>
                  <a:pt x="1193525" y="1445836"/>
                  <a:pt x="1189880" y="1438548"/>
                  <a:pt x="1186236" y="1442192"/>
                </a:cubicBezTo>
                <a:cubicBezTo>
                  <a:pt x="1189880" y="1444014"/>
                  <a:pt x="1195346" y="1447658"/>
                  <a:pt x="1197169" y="1445836"/>
                </a:cubicBezTo>
                <a:cubicBezTo>
                  <a:pt x="1195346" y="1451303"/>
                  <a:pt x="1206279" y="1453125"/>
                  <a:pt x="1209925" y="1456769"/>
                </a:cubicBezTo>
                <a:cubicBezTo>
                  <a:pt x="1209925" y="1454947"/>
                  <a:pt x="1208102" y="1451303"/>
                  <a:pt x="1209925" y="1451303"/>
                </a:cubicBezTo>
                <a:cubicBezTo>
                  <a:pt x="1209925" y="1453125"/>
                  <a:pt x="1209925" y="1456769"/>
                  <a:pt x="1211747" y="1458592"/>
                </a:cubicBezTo>
                <a:cubicBezTo>
                  <a:pt x="1213568" y="1458592"/>
                  <a:pt x="1213568" y="1460414"/>
                  <a:pt x="1213568" y="1458592"/>
                </a:cubicBezTo>
                <a:cubicBezTo>
                  <a:pt x="1213568" y="1458592"/>
                  <a:pt x="1213568" y="1460414"/>
                  <a:pt x="1215390" y="1462236"/>
                </a:cubicBezTo>
                <a:cubicBezTo>
                  <a:pt x="1211747" y="1465880"/>
                  <a:pt x="1211747" y="1467702"/>
                  <a:pt x="1213568" y="1471347"/>
                </a:cubicBezTo>
                <a:cubicBezTo>
                  <a:pt x="1211747" y="1473169"/>
                  <a:pt x="1213568" y="1474991"/>
                  <a:pt x="1213568" y="1476813"/>
                </a:cubicBezTo>
                <a:cubicBezTo>
                  <a:pt x="1215390" y="1475902"/>
                  <a:pt x="1215846" y="1474991"/>
                  <a:pt x="1215618" y="1474080"/>
                </a:cubicBezTo>
                <a:lnTo>
                  <a:pt x="1214769" y="1472947"/>
                </a:lnTo>
                <a:lnTo>
                  <a:pt x="1217213" y="1473169"/>
                </a:lnTo>
                <a:cubicBezTo>
                  <a:pt x="1217213" y="1476813"/>
                  <a:pt x="1217213" y="1482280"/>
                  <a:pt x="1220858" y="1482280"/>
                </a:cubicBezTo>
                <a:cubicBezTo>
                  <a:pt x="1213568" y="1484102"/>
                  <a:pt x="1213568" y="1493213"/>
                  <a:pt x="1209925" y="1493213"/>
                </a:cubicBezTo>
                <a:cubicBezTo>
                  <a:pt x="1215390" y="1496857"/>
                  <a:pt x="1220858" y="1495035"/>
                  <a:pt x="1224501" y="1493213"/>
                </a:cubicBezTo>
                <a:cubicBezTo>
                  <a:pt x="1222679" y="1495035"/>
                  <a:pt x="1226323" y="1496857"/>
                  <a:pt x="1224501" y="1498679"/>
                </a:cubicBezTo>
                <a:cubicBezTo>
                  <a:pt x="1222679" y="1496857"/>
                  <a:pt x="1222679" y="1496857"/>
                  <a:pt x="1220858" y="1498679"/>
                </a:cubicBezTo>
                <a:cubicBezTo>
                  <a:pt x="1222679" y="1498679"/>
                  <a:pt x="1226323" y="1498679"/>
                  <a:pt x="1228146" y="1502324"/>
                </a:cubicBezTo>
                <a:cubicBezTo>
                  <a:pt x="1224501" y="1500501"/>
                  <a:pt x="1217213" y="1496857"/>
                  <a:pt x="1215390" y="1498679"/>
                </a:cubicBezTo>
                <a:cubicBezTo>
                  <a:pt x="1219036" y="1504146"/>
                  <a:pt x="1228146" y="1504146"/>
                  <a:pt x="1231790" y="1509612"/>
                </a:cubicBezTo>
                <a:cubicBezTo>
                  <a:pt x="1226323" y="1507790"/>
                  <a:pt x="1220858" y="1502324"/>
                  <a:pt x="1215390" y="1502324"/>
                </a:cubicBezTo>
                <a:cubicBezTo>
                  <a:pt x="1215390" y="1504146"/>
                  <a:pt x="1215390" y="1507790"/>
                  <a:pt x="1219036" y="1507790"/>
                </a:cubicBezTo>
                <a:cubicBezTo>
                  <a:pt x="1219036" y="1505968"/>
                  <a:pt x="1219036" y="1505968"/>
                  <a:pt x="1219036" y="1504146"/>
                </a:cubicBezTo>
                <a:cubicBezTo>
                  <a:pt x="1220858" y="1509612"/>
                  <a:pt x="1229969" y="1505968"/>
                  <a:pt x="1231790" y="1511434"/>
                </a:cubicBezTo>
                <a:cubicBezTo>
                  <a:pt x="1228146" y="1511434"/>
                  <a:pt x="1224501" y="1509612"/>
                  <a:pt x="1220858" y="1511434"/>
                </a:cubicBezTo>
                <a:cubicBezTo>
                  <a:pt x="1222679" y="1516901"/>
                  <a:pt x="1224501" y="1522368"/>
                  <a:pt x="1226323" y="1527834"/>
                </a:cubicBezTo>
                <a:cubicBezTo>
                  <a:pt x="1228146" y="1526012"/>
                  <a:pt x="1231790" y="1526012"/>
                  <a:pt x="1233612" y="1526012"/>
                </a:cubicBezTo>
                <a:cubicBezTo>
                  <a:pt x="1229969" y="1529656"/>
                  <a:pt x="1228146" y="1527834"/>
                  <a:pt x="1224501" y="1529656"/>
                </a:cubicBezTo>
                <a:cubicBezTo>
                  <a:pt x="1224501" y="1531478"/>
                  <a:pt x="1222679" y="1533301"/>
                  <a:pt x="1222679" y="1535123"/>
                </a:cubicBezTo>
                <a:cubicBezTo>
                  <a:pt x="1228146" y="1544234"/>
                  <a:pt x="1237256" y="1558811"/>
                  <a:pt x="1244545" y="1569744"/>
                </a:cubicBezTo>
                <a:cubicBezTo>
                  <a:pt x="1250012" y="1567922"/>
                  <a:pt x="1248189" y="1564278"/>
                  <a:pt x="1251834" y="1560633"/>
                </a:cubicBezTo>
                <a:lnTo>
                  <a:pt x="1251663" y="1563544"/>
                </a:lnTo>
                <a:lnTo>
                  <a:pt x="1250012" y="1564278"/>
                </a:lnTo>
                <a:lnTo>
                  <a:pt x="1251154" y="1565991"/>
                </a:lnTo>
                <a:lnTo>
                  <a:pt x="1250012" y="1569744"/>
                </a:lnTo>
                <a:cubicBezTo>
                  <a:pt x="1250012" y="1573388"/>
                  <a:pt x="1251834" y="1577033"/>
                  <a:pt x="1253656" y="1578855"/>
                </a:cubicBezTo>
                <a:lnTo>
                  <a:pt x="1259123" y="1578855"/>
                </a:lnTo>
                <a:cubicBezTo>
                  <a:pt x="1259123" y="1582499"/>
                  <a:pt x="1260945" y="1584321"/>
                  <a:pt x="1264589" y="1586144"/>
                </a:cubicBezTo>
                <a:cubicBezTo>
                  <a:pt x="1264589" y="1586144"/>
                  <a:pt x="1264589" y="1584321"/>
                  <a:pt x="1266411" y="1582499"/>
                </a:cubicBezTo>
                <a:cubicBezTo>
                  <a:pt x="1268233" y="1584321"/>
                  <a:pt x="1266411" y="1584321"/>
                  <a:pt x="1268233" y="1586144"/>
                </a:cubicBezTo>
                <a:cubicBezTo>
                  <a:pt x="1271878" y="1586144"/>
                  <a:pt x="1273700" y="1584321"/>
                  <a:pt x="1275522" y="1586144"/>
                </a:cubicBezTo>
                <a:cubicBezTo>
                  <a:pt x="1273700" y="1587966"/>
                  <a:pt x="1273700" y="1587966"/>
                  <a:pt x="1273700" y="1587966"/>
                </a:cubicBezTo>
                <a:cubicBezTo>
                  <a:pt x="1282811" y="1587966"/>
                  <a:pt x="1291922" y="1584321"/>
                  <a:pt x="1297388" y="1578855"/>
                </a:cubicBezTo>
                <a:lnTo>
                  <a:pt x="1321077" y="1577033"/>
                </a:lnTo>
                <a:lnTo>
                  <a:pt x="1304677" y="1564278"/>
                </a:lnTo>
                <a:lnTo>
                  <a:pt x="1297388" y="1578855"/>
                </a:lnTo>
                <a:lnTo>
                  <a:pt x="1280989" y="1571566"/>
                </a:lnTo>
                <a:lnTo>
                  <a:pt x="1288277" y="1556989"/>
                </a:lnTo>
                <a:lnTo>
                  <a:pt x="1266411" y="1556989"/>
                </a:lnTo>
                <a:cubicBezTo>
                  <a:pt x="1297388" y="1535123"/>
                  <a:pt x="1324721" y="1549700"/>
                  <a:pt x="1311966" y="1518723"/>
                </a:cubicBezTo>
                <a:lnTo>
                  <a:pt x="1332009" y="1518723"/>
                </a:lnTo>
                <a:lnTo>
                  <a:pt x="1332009" y="1504146"/>
                </a:lnTo>
                <a:lnTo>
                  <a:pt x="1353876" y="1504146"/>
                </a:lnTo>
                <a:lnTo>
                  <a:pt x="1346587" y="1518723"/>
                </a:lnTo>
                <a:lnTo>
                  <a:pt x="1368453" y="1518723"/>
                </a:lnTo>
                <a:lnTo>
                  <a:pt x="1368453" y="1526012"/>
                </a:lnTo>
                <a:lnTo>
                  <a:pt x="1346587" y="1526012"/>
                </a:lnTo>
                <a:lnTo>
                  <a:pt x="1346587" y="1531478"/>
                </a:lnTo>
                <a:lnTo>
                  <a:pt x="1375743" y="1540589"/>
                </a:lnTo>
                <a:cubicBezTo>
                  <a:pt x="1379386" y="1535123"/>
                  <a:pt x="1390319" y="1522368"/>
                  <a:pt x="1390319" y="1518723"/>
                </a:cubicBezTo>
                <a:cubicBezTo>
                  <a:pt x="1390319" y="1489568"/>
                  <a:pt x="1393963" y="1515079"/>
                  <a:pt x="1383030" y="1495035"/>
                </a:cubicBezTo>
                <a:lnTo>
                  <a:pt x="1353876" y="1504146"/>
                </a:lnTo>
                <a:lnTo>
                  <a:pt x="1346587" y="1471347"/>
                </a:lnTo>
                <a:lnTo>
                  <a:pt x="1383030" y="1487746"/>
                </a:lnTo>
                <a:cubicBezTo>
                  <a:pt x="1390319" y="1474991"/>
                  <a:pt x="1383030" y="1473169"/>
                  <a:pt x="1404896" y="1473169"/>
                </a:cubicBezTo>
                <a:cubicBezTo>
                  <a:pt x="1435873" y="1473169"/>
                  <a:pt x="1419474" y="1473169"/>
                  <a:pt x="1426763" y="1465880"/>
                </a:cubicBezTo>
                <a:cubicBezTo>
                  <a:pt x="1437696" y="1456769"/>
                  <a:pt x="1454095" y="1451303"/>
                  <a:pt x="1434051" y="1434903"/>
                </a:cubicBezTo>
                <a:lnTo>
                  <a:pt x="1448629" y="1420326"/>
                </a:lnTo>
                <a:lnTo>
                  <a:pt x="1448629" y="1451303"/>
                </a:lnTo>
                <a:lnTo>
                  <a:pt x="1463206" y="1451303"/>
                </a:lnTo>
                <a:lnTo>
                  <a:pt x="1477784" y="1465880"/>
                </a:lnTo>
                <a:lnTo>
                  <a:pt x="1477784" y="1451303"/>
                </a:lnTo>
                <a:lnTo>
                  <a:pt x="1463206" y="1451303"/>
                </a:lnTo>
                <a:lnTo>
                  <a:pt x="1468673" y="1444014"/>
                </a:lnTo>
                <a:lnTo>
                  <a:pt x="1461384" y="1414859"/>
                </a:lnTo>
                <a:lnTo>
                  <a:pt x="1448629" y="1398460"/>
                </a:lnTo>
                <a:lnTo>
                  <a:pt x="1486895" y="1398460"/>
                </a:lnTo>
                <a:lnTo>
                  <a:pt x="1479606" y="1383882"/>
                </a:lnTo>
                <a:cubicBezTo>
                  <a:pt x="1516049" y="1382060"/>
                  <a:pt x="1494183" y="1392993"/>
                  <a:pt x="1510583" y="1369305"/>
                </a:cubicBezTo>
                <a:cubicBezTo>
                  <a:pt x="1530626" y="1382060"/>
                  <a:pt x="1517871" y="1372949"/>
                  <a:pt x="1525160" y="1369305"/>
                </a:cubicBezTo>
                <a:cubicBezTo>
                  <a:pt x="1526982" y="1365661"/>
                  <a:pt x="1528804" y="1363838"/>
                  <a:pt x="1530626" y="1363838"/>
                </a:cubicBezTo>
                <a:cubicBezTo>
                  <a:pt x="1528804" y="1362016"/>
                  <a:pt x="1526982" y="1360194"/>
                  <a:pt x="1525160" y="1354728"/>
                </a:cubicBezTo>
                <a:lnTo>
                  <a:pt x="1539737" y="1354728"/>
                </a:lnTo>
                <a:lnTo>
                  <a:pt x="1539737" y="1340150"/>
                </a:lnTo>
                <a:cubicBezTo>
                  <a:pt x="1559781" y="1354728"/>
                  <a:pt x="1556137" y="1341972"/>
                  <a:pt x="1548848" y="1362016"/>
                </a:cubicBezTo>
                <a:lnTo>
                  <a:pt x="1570714" y="1385705"/>
                </a:lnTo>
                <a:cubicBezTo>
                  <a:pt x="1588936" y="1376594"/>
                  <a:pt x="1572537" y="1378416"/>
                  <a:pt x="1592580" y="1385705"/>
                </a:cubicBezTo>
                <a:cubicBezTo>
                  <a:pt x="1610802" y="1363838"/>
                  <a:pt x="1588936" y="1374771"/>
                  <a:pt x="1623558" y="1371127"/>
                </a:cubicBezTo>
                <a:lnTo>
                  <a:pt x="1623558" y="1385705"/>
                </a:lnTo>
                <a:cubicBezTo>
                  <a:pt x="1645423" y="1378416"/>
                  <a:pt x="1638135" y="1387527"/>
                  <a:pt x="1630846" y="1371127"/>
                </a:cubicBezTo>
                <a:lnTo>
                  <a:pt x="1652713" y="1362016"/>
                </a:lnTo>
                <a:lnTo>
                  <a:pt x="1667289" y="1360194"/>
                </a:lnTo>
                <a:lnTo>
                  <a:pt x="1698266" y="1352905"/>
                </a:lnTo>
                <a:lnTo>
                  <a:pt x="1690978" y="1338328"/>
                </a:lnTo>
                <a:lnTo>
                  <a:pt x="1707377" y="1329217"/>
                </a:lnTo>
                <a:lnTo>
                  <a:pt x="1690978" y="1307351"/>
                </a:lnTo>
                <a:lnTo>
                  <a:pt x="1714666" y="1307351"/>
                </a:lnTo>
                <a:lnTo>
                  <a:pt x="1705555" y="1278196"/>
                </a:lnTo>
                <a:cubicBezTo>
                  <a:pt x="1734710" y="1281841"/>
                  <a:pt x="1736532" y="1281841"/>
                  <a:pt x="1729243" y="1300062"/>
                </a:cubicBezTo>
                <a:lnTo>
                  <a:pt x="1741999" y="1316462"/>
                </a:lnTo>
                <a:cubicBezTo>
                  <a:pt x="1716488" y="1325573"/>
                  <a:pt x="1731066" y="1329217"/>
                  <a:pt x="1703733" y="1347439"/>
                </a:cubicBezTo>
                <a:lnTo>
                  <a:pt x="1711022" y="1362016"/>
                </a:lnTo>
                <a:lnTo>
                  <a:pt x="1689157" y="1362016"/>
                </a:lnTo>
                <a:cubicBezTo>
                  <a:pt x="1711022" y="1391171"/>
                  <a:pt x="1689157" y="1363838"/>
                  <a:pt x="1720133" y="1376594"/>
                </a:cubicBezTo>
                <a:lnTo>
                  <a:pt x="1721955" y="1354728"/>
                </a:lnTo>
                <a:lnTo>
                  <a:pt x="1734710" y="1338328"/>
                </a:lnTo>
                <a:lnTo>
                  <a:pt x="1749287" y="1338328"/>
                </a:lnTo>
                <a:lnTo>
                  <a:pt x="1772976" y="1338328"/>
                </a:lnTo>
                <a:lnTo>
                  <a:pt x="1765687" y="1325573"/>
                </a:lnTo>
                <a:lnTo>
                  <a:pt x="1778442" y="1309173"/>
                </a:lnTo>
                <a:lnTo>
                  <a:pt x="1763865" y="1300062"/>
                </a:lnTo>
                <a:lnTo>
                  <a:pt x="1771154" y="1283663"/>
                </a:lnTo>
                <a:lnTo>
                  <a:pt x="1785731" y="1290951"/>
                </a:lnTo>
                <a:lnTo>
                  <a:pt x="1785731" y="1281841"/>
                </a:lnTo>
                <a:cubicBezTo>
                  <a:pt x="1783909" y="1281841"/>
                  <a:pt x="1782087" y="1281841"/>
                  <a:pt x="1780265" y="1281841"/>
                </a:cubicBezTo>
                <a:cubicBezTo>
                  <a:pt x="1782087" y="1278196"/>
                  <a:pt x="1783909" y="1276374"/>
                  <a:pt x="1785731" y="1276374"/>
                </a:cubicBezTo>
                <a:lnTo>
                  <a:pt x="1785731" y="1270996"/>
                </a:lnTo>
                <a:lnTo>
                  <a:pt x="1763864" y="1270996"/>
                </a:lnTo>
                <a:lnTo>
                  <a:pt x="1778070" y="1255017"/>
                </a:lnTo>
                <a:lnTo>
                  <a:pt x="1729243" y="1179799"/>
                </a:lnTo>
                <a:cubicBezTo>
                  <a:pt x="1727421" y="1177977"/>
                  <a:pt x="1729243" y="1174332"/>
                  <a:pt x="1729243" y="1172510"/>
                </a:cubicBezTo>
                <a:cubicBezTo>
                  <a:pt x="1732888" y="1172510"/>
                  <a:pt x="1736532" y="1177977"/>
                  <a:pt x="1738354" y="1179799"/>
                </a:cubicBezTo>
                <a:cubicBezTo>
                  <a:pt x="1749287" y="1214420"/>
                  <a:pt x="1772976" y="1239931"/>
                  <a:pt x="1796664" y="1267263"/>
                </a:cubicBezTo>
                <a:cubicBezTo>
                  <a:pt x="1794842" y="1267263"/>
                  <a:pt x="1793020" y="1267263"/>
                  <a:pt x="1793020" y="1269085"/>
                </a:cubicBezTo>
                <a:cubicBezTo>
                  <a:pt x="1795753" y="1273641"/>
                  <a:pt x="1798031" y="1278651"/>
                  <a:pt x="1800991" y="1282979"/>
                </a:cubicBezTo>
                <a:lnTo>
                  <a:pt x="1811901" y="1291831"/>
                </a:lnTo>
                <a:lnTo>
                  <a:pt x="1816709" y="1298240"/>
                </a:lnTo>
                <a:lnTo>
                  <a:pt x="1834929" y="1289129"/>
                </a:lnTo>
                <a:lnTo>
                  <a:pt x="1842218" y="1289129"/>
                </a:lnTo>
                <a:lnTo>
                  <a:pt x="1845864" y="1289129"/>
                </a:lnTo>
                <a:cubicBezTo>
                  <a:pt x="1847685" y="1283663"/>
                  <a:pt x="1834929" y="1290951"/>
                  <a:pt x="1836753" y="1281841"/>
                </a:cubicBezTo>
                <a:cubicBezTo>
                  <a:pt x="1840396" y="1283663"/>
                  <a:pt x="1844040" y="1283663"/>
                  <a:pt x="1847685" y="1283663"/>
                </a:cubicBezTo>
                <a:cubicBezTo>
                  <a:pt x="1847685" y="1276374"/>
                  <a:pt x="1833107" y="1276374"/>
                  <a:pt x="1831285" y="1269085"/>
                </a:cubicBezTo>
                <a:cubicBezTo>
                  <a:pt x="1833107" y="1272730"/>
                  <a:pt x="1836753" y="1274552"/>
                  <a:pt x="1842218" y="1274552"/>
                </a:cubicBezTo>
                <a:cubicBezTo>
                  <a:pt x="1836753" y="1269085"/>
                  <a:pt x="1833107" y="1261797"/>
                  <a:pt x="1823996" y="1259975"/>
                </a:cubicBezTo>
                <a:cubicBezTo>
                  <a:pt x="1823996" y="1261797"/>
                  <a:pt x="1823996" y="1263619"/>
                  <a:pt x="1825820" y="1265441"/>
                </a:cubicBezTo>
                <a:cubicBezTo>
                  <a:pt x="1820352" y="1259975"/>
                  <a:pt x="1813063" y="1261797"/>
                  <a:pt x="1805775" y="1258152"/>
                </a:cubicBezTo>
                <a:cubicBezTo>
                  <a:pt x="1809420" y="1258152"/>
                  <a:pt x="1814886" y="1259975"/>
                  <a:pt x="1818531" y="1256330"/>
                </a:cubicBezTo>
                <a:cubicBezTo>
                  <a:pt x="1820352" y="1252686"/>
                  <a:pt x="1823996" y="1259975"/>
                  <a:pt x="1827642" y="1259975"/>
                </a:cubicBezTo>
                <a:cubicBezTo>
                  <a:pt x="1822174" y="1247219"/>
                  <a:pt x="1813063" y="1234464"/>
                  <a:pt x="1803953" y="1221709"/>
                </a:cubicBezTo>
                <a:cubicBezTo>
                  <a:pt x="1805775" y="1223531"/>
                  <a:pt x="1805775" y="1223531"/>
                  <a:pt x="1807598" y="1225353"/>
                </a:cubicBezTo>
                <a:cubicBezTo>
                  <a:pt x="1807598" y="1223531"/>
                  <a:pt x="1807598" y="1223531"/>
                  <a:pt x="1807598" y="1221709"/>
                </a:cubicBezTo>
                <a:cubicBezTo>
                  <a:pt x="1811241" y="1227175"/>
                  <a:pt x="1814886" y="1232642"/>
                  <a:pt x="1818531" y="1236286"/>
                </a:cubicBezTo>
                <a:cubicBezTo>
                  <a:pt x="1816709" y="1228998"/>
                  <a:pt x="1809420" y="1221709"/>
                  <a:pt x="1811241" y="1214420"/>
                </a:cubicBezTo>
                <a:cubicBezTo>
                  <a:pt x="1816709" y="1221709"/>
                  <a:pt x="1813063" y="1232642"/>
                  <a:pt x="1823996" y="1238108"/>
                </a:cubicBezTo>
                <a:cubicBezTo>
                  <a:pt x="1822174" y="1227175"/>
                  <a:pt x="1825820" y="1218065"/>
                  <a:pt x="1818531" y="1208954"/>
                </a:cubicBezTo>
                <a:cubicBezTo>
                  <a:pt x="1823996" y="1208954"/>
                  <a:pt x="1822174" y="1214420"/>
                  <a:pt x="1827642" y="1216242"/>
                </a:cubicBezTo>
                <a:cubicBezTo>
                  <a:pt x="1827642" y="1210776"/>
                  <a:pt x="1827642" y="1205309"/>
                  <a:pt x="1825820" y="1199843"/>
                </a:cubicBezTo>
                <a:cubicBezTo>
                  <a:pt x="1834929" y="1201665"/>
                  <a:pt x="1827642" y="1210776"/>
                  <a:pt x="1833107" y="1216242"/>
                </a:cubicBezTo>
                <a:cubicBezTo>
                  <a:pt x="1831285" y="1216242"/>
                  <a:pt x="1829463" y="1214420"/>
                  <a:pt x="1829463" y="1214420"/>
                </a:cubicBezTo>
                <a:cubicBezTo>
                  <a:pt x="1813063" y="1239931"/>
                  <a:pt x="1836753" y="1263619"/>
                  <a:pt x="1853151" y="1281841"/>
                </a:cubicBezTo>
                <a:cubicBezTo>
                  <a:pt x="1856796" y="1276374"/>
                  <a:pt x="1860440" y="1267263"/>
                  <a:pt x="1853151" y="1261797"/>
                </a:cubicBezTo>
                <a:cubicBezTo>
                  <a:pt x="1853151" y="1261797"/>
                  <a:pt x="1853151" y="1263619"/>
                  <a:pt x="1854973" y="1263619"/>
                </a:cubicBezTo>
                <a:cubicBezTo>
                  <a:pt x="1854973" y="1259975"/>
                  <a:pt x="1854973" y="1258152"/>
                  <a:pt x="1854973" y="1256330"/>
                </a:cubicBezTo>
                <a:cubicBezTo>
                  <a:pt x="1865906" y="1263619"/>
                  <a:pt x="1856796" y="1274552"/>
                  <a:pt x="1862262" y="1283663"/>
                </a:cubicBezTo>
                <a:cubicBezTo>
                  <a:pt x="1867729" y="1278196"/>
                  <a:pt x="1873195" y="1270908"/>
                  <a:pt x="1875017" y="1263619"/>
                </a:cubicBezTo>
                <a:lnTo>
                  <a:pt x="1860440" y="1263619"/>
                </a:lnTo>
                <a:cubicBezTo>
                  <a:pt x="1867729" y="1245397"/>
                  <a:pt x="1865906" y="1258152"/>
                  <a:pt x="1860440" y="1234464"/>
                </a:cubicBezTo>
                <a:lnTo>
                  <a:pt x="1869795" y="1228617"/>
                </a:lnTo>
                <a:lnTo>
                  <a:pt x="1871373" y="1236286"/>
                </a:lnTo>
                <a:cubicBezTo>
                  <a:pt x="1875017" y="1236286"/>
                  <a:pt x="1876839" y="1238108"/>
                  <a:pt x="1878662" y="1238108"/>
                </a:cubicBezTo>
                <a:cubicBezTo>
                  <a:pt x="1878662" y="1236286"/>
                  <a:pt x="1878662" y="1236286"/>
                  <a:pt x="1878662" y="1236286"/>
                </a:cubicBezTo>
                <a:cubicBezTo>
                  <a:pt x="1878662" y="1234464"/>
                  <a:pt x="1875017" y="1234464"/>
                  <a:pt x="1875017" y="1232642"/>
                </a:cubicBezTo>
                <a:cubicBezTo>
                  <a:pt x="1878662" y="1232642"/>
                  <a:pt x="1880484" y="1234464"/>
                  <a:pt x="1882306" y="1236286"/>
                </a:cubicBezTo>
                <a:cubicBezTo>
                  <a:pt x="1884128" y="1234464"/>
                  <a:pt x="1884128" y="1234464"/>
                  <a:pt x="1893239" y="1239931"/>
                </a:cubicBezTo>
                <a:cubicBezTo>
                  <a:pt x="1900528" y="1254508"/>
                  <a:pt x="1895061" y="1245397"/>
                  <a:pt x="1900528" y="1270908"/>
                </a:cubicBezTo>
                <a:lnTo>
                  <a:pt x="1898706" y="1270908"/>
                </a:lnTo>
                <a:cubicBezTo>
                  <a:pt x="1900528" y="1272730"/>
                  <a:pt x="1904172" y="1274552"/>
                  <a:pt x="1907816" y="1272730"/>
                </a:cubicBezTo>
                <a:cubicBezTo>
                  <a:pt x="1907816" y="1276374"/>
                  <a:pt x="1902350" y="1280018"/>
                  <a:pt x="1900528" y="1274552"/>
                </a:cubicBezTo>
                <a:cubicBezTo>
                  <a:pt x="1898706" y="1276374"/>
                  <a:pt x="1896883" y="1278196"/>
                  <a:pt x="1898706" y="1280018"/>
                </a:cubicBezTo>
                <a:cubicBezTo>
                  <a:pt x="1898706" y="1281841"/>
                  <a:pt x="1900528" y="1281841"/>
                  <a:pt x="1902350" y="1283663"/>
                </a:cubicBezTo>
                <a:lnTo>
                  <a:pt x="1907816" y="1280018"/>
                </a:lnTo>
                <a:lnTo>
                  <a:pt x="1907816" y="1281841"/>
                </a:lnTo>
                <a:cubicBezTo>
                  <a:pt x="1911461" y="1280018"/>
                  <a:pt x="1913283" y="1276374"/>
                  <a:pt x="1913283" y="1272730"/>
                </a:cubicBezTo>
                <a:cubicBezTo>
                  <a:pt x="1915105" y="1274552"/>
                  <a:pt x="1916927" y="1276374"/>
                  <a:pt x="1916927" y="1278196"/>
                </a:cubicBezTo>
                <a:lnTo>
                  <a:pt x="1935149" y="1283663"/>
                </a:lnTo>
                <a:cubicBezTo>
                  <a:pt x="1931505" y="1274552"/>
                  <a:pt x="1924216" y="1265441"/>
                  <a:pt x="1918750" y="1256330"/>
                </a:cubicBezTo>
                <a:lnTo>
                  <a:pt x="1907816" y="1258152"/>
                </a:lnTo>
                <a:lnTo>
                  <a:pt x="1907816" y="1243575"/>
                </a:lnTo>
                <a:cubicBezTo>
                  <a:pt x="1900528" y="1234464"/>
                  <a:pt x="1893239" y="1225353"/>
                  <a:pt x="1887773" y="1216242"/>
                </a:cubicBezTo>
                <a:cubicBezTo>
                  <a:pt x="1889595" y="1218065"/>
                  <a:pt x="1893239" y="1221709"/>
                  <a:pt x="1895061" y="1223531"/>
                </a:cubicBezTo>
                <a:cubicBezTo>
                  <a:pt x="1888228" y="1209865"/>
                  <a:pt x="1886519" y="1191073"/>
                  <a:pt x="1876099" y="1179457"/>
                </a:cubicBezTo>
                <a:lnTo>
                  <a:pt x="1863809" y="1171668"/>
                </a:lnTo>
                <a:lnTo>
                  <a:pt x="1862946" y="1166816"/>
                </a:lnTo>
                <a:cubicBezTo>
                  <a:pt x="1862718" y="1161577"/>
                  <a:pt x="1864084" y="1157021"/>
                  <a:pt x="1869551" y="1154288"/>
                </a:cubicBezTo>
                <a:cubicBezTo>
                  <a:pt x="1871373" y="1156111"/>
                  <a:pt x="1873195" y="1157933"/>
                  <a:pt x="1875017" y="1157933"/>
                </a:cubicBezTo>
                <a:lnTo>
                  <a:pt x="1872983" y="1145516"/>
                </a:lnTo>
                <a:lnTo>
                  <a:pt x="1875017" y="1145178"/>
                </a:lnTo>
                <a:lnTo>
                  <a:pt x="1872144" y="1140388"/>
                </a:lnTo>
                <a:lnTo>
                  <a:pt x="1870690" y="1131511"/>
                </a:lnTo>
                <a:cubicBezTo>
                  <a:pt x="1870006" y="1122400"/>
                  <a:pt x="1870462" y="1113289"/>
                  <a:pt x="1873195" y="1105090"/>
                </a:cubicBezTo>
                <a:cubicBezTo>
                  <a:pt x="1871373" y="1108734"/>
                  <a:pt x="1871373" y="1112378"/>
                  <a:pt x="1873195" y="1116023"/>
                </a:cubicBezTo>
                <a:cubicBezTo>
                  <a:pt x="1875017" y="1117845"/>
                  <a:pt x="1878662" y="1117845"/>
                  <a:pt x="1880484" y="1117845"/>
                </a:cubicBezTo>
                <a:cubicBezTo>
                  <a:pt x="1875017" y="1123312"/>
                  <a:pt x="1884128" y="1130600"/>
                  <a:pt x="1882306" y="1134245"/>
                </a:cubicBezTo>
                <a:cubicBezTo>
                  <a:pt x="1873195" y="1159755"/>
                  <a:pt x="1898706" y="1187088"/>
                  <a:pt x="1907816" y="1210776"/>
                </a:cubicBezTo>
                <a:cubicBezTo>
                  <a:pt x="1907816" y="1207132"/>
                  <a:pt x="1911461" y="1203487"/>
                  <a:pt x="1913283" y="1201665"/>
                </a:cubicBezTo>
                <a:cubicBezTo>
                  <a:pt x="1913283" y="1210776"/>
                  <a:pt x="1902350" y="1216242"/>
                  <a:pt x="1909639" y="1223531"/>
                </a:cubicBezTo>
                <a:cubicBezTo>
                  <a:pt x="1913283" y="1227175"/>
                  <a:pt x="1916927" y="1225353"/>
                  <a:pt x="1920572" y="1225353"/>
                </a:cubicBezTo>
                <a:cubicBezTo>
                  <a:pt x="1920572" y="1230820"/>
                  <a:pt x="1922394" y="1236286"/>
                  <a:pt x="1924216" y="1239931"/>
                </a:cubicBezTo>
                <a:lnTo>
                  <a:pt x="1929683" y="1245397"/>
                </a:lnTo>
                <a:lnTo>
                  <a:pt x="1927861" y="1245397"/>
                </a:lnTo>
                <a:cubicBezTo>
                  <a:pt x="1931505" y="1249042"/>
                  <a:pt x="1933327" y="1252686"/>
                  <a:pt x="1935149" y="1256330"/>
                </a:cubicBezTo>
                <a:cubicBezTo>
                  <a:pt x="1935149" y="1259975"/>
                  <a:pt x="1940616" y="1261797"/>
                  <a:pt x="1942438" y="1263619"/>
                </a:cubicBezTo>
                <a:cubicBezTo>
                  <a:pt x="1942438" y="1267263"/>
                  <a:pt x="1944260" y="1270908"/>
                  <a:pt x="1946083" y="1274552"/>
                </a:cubicBezTo>
                <a:lnTo>
                  <a:pt x="1951549" y="1276374"/>
                </a:lnTo>
                <a:cubicBezTo>
                  <a:pt x="1949726" y="1272730"/>
                  <a:pt x="1946083" y="1267263"/>
                  <a:pt x="1946083" y="1263619"/>
                </a:cubicBezTo>
                <a:lnTo>
                  <a:pt x="1940616" y="1252686"/>
                </a:lnTo>
                <a:lnTo>
                  <a:pt x="1942438" y="1250864"/>
                </a:lnTo>
                <a:cubicBezTo>
                  <a:pt x="1942438" y="1245397"/>
                  <a:pt x="1940616" y="1241753"/>
                  <a:pt x="1935149" y="1241753"/>
                </a:cubicBezTo>
                <a:cubicBezTo>
                  <a:pt x="1940616" y="1214420"/>
                  <a:pt x="1911461" y="1194376"/>
                  <a:pt x="1905994" y="1168866"/>
                </a:cubicBezTo>
                <a:cubicBezTo>
                  <a:pt x="1915105" y="1170688"/>
                  <a:pt x="1909639" y="1183443"/>
                  <a:pt x="1916927" y="1185266"/>
                </a:cubicBezTo>
                <a:cubicBezTo>
                  <a:pt x="1929683" y="1190732"/>
                  <a:pt x="1920572" y="1168866"/>
                  <a:pt x="1927861" y="1161577"/>
                </a:cubicBezTo>
                <a:cubicBezTo>
                  <a:pt x="1926038" y="1167044"/>
                  <a:pt x="1935149" y="1163399"/>
                  <a:pt x="1933327" y="1168866"/>
                </a:cubicBezTo>
                <a:cubicBezTo>
                  <a:pt x="1922394" y="1194376"/>
                  <a:pt x="1935149" y="1221709"/>
                  <a:pt x="1947904" y="1245397"/>
                </a:cubicBezTo>
                <a:lnTo>
                  <a:pt x="1951549" y="1241753"/>
                </a:lnTo>
                <a:cubicBezTo>
                  <a:pt x="1951549" y="1236286"/>
                  <a:pt x="1951549" y="1228998"/>
                  <a:pt x="1944260" y="1225353"/>
                </a:cubicBezTo>
                <a:cubicBezTo>
                  <a:pt x="1946083" y="1227175"/>
                  <a:pt x="1949726" y="1230820"/>
                  <a:pt x="1951549" y="1225353"/>
                </a:cubicBezTo>
                <a:cubicBezTo>
                  <a:pt x="1949726" y="1225353"/>
                  <a:pt x="1949726" y="1225353"/>
                  <a:pt x="1947904" y="1225353"/>
                </a:cubicBezTo>
                <a:cubicBezTo>
                  <a:pt x="1947904" y="1221709"/>
                  <a:pt x="1951549" y="1218065"/>
                  <a:pt x="1955194" y="1219887"/>
                </a:cubicBezTo>
                <a:cubicBezTo>
                  <a:pt x="1957015" y="1221709"/>
                  <a:pt x="1955194" y="1225353"/>
                  <a:pt x="1955194" y="1227175"/>
                </a:cubicBezTo>
                <a:cubicBezTo>
                  <a:pt x="1955194" y="1228998"/>
                  <a:pt x="1957015" y="1230820"/>
                  <a:pt x="1958837" y="1228998"/>
                </a:cubicBezTo>
                <a:cubicBezTo>
                  <a:pt x="1960659" y="1227175"/>
                  <a:pt x="1958837" y="1225353"/>
                  <a:pt x="1957015" y="1225353"/>
                </a:cubicBezTo>
                <a:cubicBezTo>
                  <a:pt x="1960659" y="1225353"/>
                  <a:pt x="1962482" y="1225353"/>
                  <a:pt x="1962482" y="1227175"/>
                </a:cubicBezTo>
                <a:cubicBezTo>
                  <a:pt x="1962482" y="1228998"/>
                  <a:pt x="1958837" y="1230820"/>
                  <a:pt x="1957015" y="1230820"/>
                </a:cubicBezTo>
                <a:cubicBezTo>
                  <a:pt x="1958837" y="1232642"/>
                  <a:pt x="1958837" y="1234464"/>
                  <a:pt x="1960659" y="1236286"/>
                </a:cubicBezTo>
                <a:lnTo>
                  <a:pt x="1967948" y="1230820"/>
                </a:lnTo>
                <a:cubicBezTo>
                  <a:pt x="1964305" y="1227175"/>
                  <a:pt x="1964305" y="1223531"/>
                  <a:pt x="1962482" y="1221709"/>
                </a:cubicBezTo>
                <a:cubicBezTo>
                  <a:pt x="1962482" y="1221709"/>
                  <a:pt x="1960659" y="1218065"/>
                  <a:pt x="1960659" y="1216242"/>
                </a:cubicBezTo>
                <a:cubicBezTo>
                  <a:pt x="1960659" y="1216242"/>
                  <a:pt x="1960659" y="1216242"/>
                  <a:pt x="1962482" y="1214420"/>
                </a:cubicBezTo>
                <a:cubicBezTo>
                  <a:pt x="1962482" y="1216242"/>
                  <a:pt x="1962482" y="1216242"/>
                  <a:pt x="1962482" y="1218065"/>
                </a:cubicBezTo>
                <a:cubicBezTo>
                  <a:pt x="1964305" y="1218065"/>
                  <a:pt x="1964305" y="1218065"/>
                  <a:pt x="1966126" y="1218065"/>
                </a:cubicBezTo>
                <a:cubicBezTo>
                  <a:pt x="1966126" y="1212598"/>
                  <a:pt x="1966126" y="1207132"/>
                  <a:pt x="1967948" y="1205309"/>
                </a:cubicBezTo>
                <a:cubicBezTo>
                  <a:pt x="1971592" y="1203487"/>
                  <a:pt x="1967948" y="1210776"/>
                  <a:pt x="1971592" y="1212598"/>
                </a:cubicBezTo>
                <a:cubicBezTo>
                  <a:pt x="1973416" y="1212598"/>
                  <a:pt x="1973416" y="1212598"/>
                  <a:pt x="1973416" y="1212598"/>
                </a:cubicBezTo>
                <a:cubicBezTo>
                  <a:pt x="1977059" y="1210776"/>
                  <a:pt x="1978881" y="1210776"/>
                  <a:pt x="1980703" y="1207132"/>
                </a:cubicBezTo>
                <a:cubicBezTo>
                  <a:pt x="1982527" y="1203487"/>
                  <a:pt x="1982527" y="1199843"/>
                  <a:pt x="1984348" y="1196199"/>
                </a:cubicBezTo>
                <a:lnTo>
                  <a:pt x="1984348" y="1194376"/>
                </a:lnTo>
                <a:lnTo>
                  <a:pt x="1987478" y="1189290"/>
                </a:lnTo>
                <a:lnTo>
                  <a:pt x="1986170" y="1194376"/>
                </a:lnTo>
                <a:cubicBezTo>
                  <a:pt x="1987992" y="1196199"/>
                  <a:pt x="1989814" y="1196199"/>
                  <a:pt x="1991638" y="1196199"/>
                </a:cubicBezTo>
                <a:cubicBezTo>
                  <a:pt x="1991638" y="1196199"/>
                  <a:pt x="1989814" y="1198021"/>
                  <a:pt x="1989814" y="1198021"/>
                </a:cubicBezTo>
                <a:lnTo>
                  <a:pt x="2004392" y="1208954"/>
                </a:lnTo>
                <a:lnTo>
                  <a:pt x="2013503" y="1194376"/>
                </a:lnTo>
                <a:lnTo>
                  <a:pt x="2026258" y="1201665"/>
                </a:lnTo>
                <a:lnTo>
                  <a:pt x="2040835" y="1188910"/>
                </a:lnTo>
                <a:lnTo>
                  <a:pt x="2048124" y="1196199"/>
                </a:lnTo>
                <a:cubicBezTo>
                  <a:pt x="2048124" y="1194376"/>
                  <a:pt x="2046302" y="1192554"/>
                  <a:pt x="2046302" y="1190732"/>
                </a:cubicBezTo>
                <a:cubicBezTo>
                  <a:pt x="2049946" y="1190732"/>
                  <a:pt x="2051768" y="1190732"/>
                  <a:pt x="2051768" y="1188910"/>
                </a:cubicBezTo>
                <a:lnTo>
                  <a:pt x="2049946" y="1185266"/>
                </a:lnTo>
                <a:lnTo>
                  <a:pt x="2053590" y="1172510"/>
                </a:lnTo>
                <a:cubicBezTo>
                  <a:pt x="2051768" y="1174332"/>
                  <a:pt x="2049946" y="1174332"/>
                  <a:pt x="2049946" y="1170688"/>
                </a:cubicBezTo>
                <a:cubicBezTo>
                  <a:pt x="2044479" y="1170688"/>
                  <a:pt x="2049946" y="1174332"/>
                  <a:pt x="2049946" y="1176155"/>
                </a:cubicBezTo>
                <a:lnTo>
                  <a:pt x="2044529" y="1179992"/>
                </a:lnTo>
                <a:lnTo>
                  <a:pt x="2040835" y="1177977"/>
                </a:lnTo>
                <a:cubicBezTo>
                  <a:pt x="2044479" y="1185266"/>
                  <a:pt x="2028080" y="1187088"/>
                  <a:pt x="2033546" y="1194376"/>
                </a:cubicBezTo>
                <a:cubicBezTo>
                  <a:pt x="2025347" y="1192554"/>
                  <a:pt x="2024436" y="1187543"/>
                  <a:pt x="2026258" y="1182076"/>
                </a:cubicBezTo>
                <a:lnTo>
                  <a:pt x="2032595" y="1171620"/>
                </a:lnTo>
                <a:lnTo>
                  <a:pt x="2033546" y="1172510"/>
                </a:lnTo>
                <a:lnTo>
                  <a:pt x="2034427" y="1168600"/>
                </a:lnTo>
                <a:lnTo>
                  <a:pt x="2035369" y="1167044"/>
                </a:lnTo>
                <a:lnTo>
                  <a:pt x="2034802" y="1166930"/>
                </a:lnTo>
                <a:lnTo>
                  <a:pt x="2035597" y="1163399"/>
                </a:lnTo>
                <a:cubicBezTo>
                  <a:pt x="2034458" y="1161122"/>
                  <a:pt x="2031725" y="1159755"/>
                  <a:pt x="2028080" y="1159755"/>
                </a:cubicBezTo>
                <a:lnTo>
                  <a:pt x="2026310" y="1159755"/>
                </a:lnTo>
                <a:lnTo>
                  <a:pt x="2026258" y="1157933"/>
                </a:lnTo>
                <a:cubicBezTo>
                  <a:pt x="2026258" y="1157933"/>
                  <a:pt x="2026258" y="1157933"/>
                  <a:pt x="2026258" y="1159755"/>
                </a:cubicBezTo>
                <a:lnTo>
                  <a:pt x="2026310" y="1159755"/>
                </a:lnTo>
                <a:lnTo>
                  <a:pt x="2026468" y="1165264"/>
                </a:lnTo>
                <a:lnTo>
                  <a:pt x="2026258" y="1165222"/>
                </a:lnTo>
                <a:cubicBezTo>
                  <a:pt x="2026258" y="1168866"/>
                  <a:pt x="2022613" y="1174332"/>
                  <a:pt x="2024436" y="1179799"/>
                </a:cubicBezTo>
                <a:cubicBezTo>
                  <a:pt x="2017147" y="1179799"/>
                  <a:pt x="2009858" y="1187088"/>
                  <a:pt x="2011680" y="1194376"/>
                </a:cubicBezTo>
                <a:cubicBezTo>
                  <a:pt x="2008036" y="1190732"/>
                  <a:pt x="2013503" y="1181621"/>
                  <a:pt x="2004392" y="1183443"/>
                </a:cubicBezTo>
                <a:cubicBezTo>
                  <a:pt x="2013503" y="1181621"/>
                  <a:pt x="2013503" y="1168866"/>
                  <a:pt x="2006214" y="1167044"/>
                </a:cubicBezTo>
                <a:cubicBezTo>
                  <a:pt x="2004392" y="1165222"/>
                  <a:pt x="2002570" y="1168866"/>
                  <a:pt x="2000747" y="1170688"/>
                </a:cubicBezTo>
                <a:cubicBezTo>
                  <a:pt x="2004392" y="1163399"/>
                  <a:pt x="2008036" y="1157933"/>
                  <a:pt x="1997103" y="1156111"/>
                </a:cubicBezTo>
                <a:cubicBezTo>
                  <a:pt x="2000747" y="1145178"/>
                  <a:pt x="2011680" y="1154288"/>
                  <a:pt x="2018969" y="1152466"/>
                </a:cubicBezTo>
                <a:cubicBezTo>
                  <a:pt x="2018969" y="1159755"/>
                  <a:pt x="2013503" y="1156111"/>
                  <a:pt x="2009858" y="1159755"/>
                </a:cubicBezTo>
                <a:cubicBezTo>
                  <a:pt x="2015325" y="1163399"/>
                  <a:pt x="2018969" y="1156111"/>
                  <a:pt x="2024436" y="1157933"/>
                </a:cubicBezTo>
                <a:cubicBezTo>
                  <a:pt x="2024436" y="1156111"/>
                  <a:pt x="2022613" y="1152466"/>
                  <a:pt x="2022613" y="1150644"/>
                </a:cubicBezTo>
                <a:cubicBezTo>
                  <a:pt x="2024436" y="1148822"/>
                  <a:pt x="2028080" y="1147000"/>
                  <a:pt x="2031724" y="1147000"/>
                </a:cubicBezTo>
                <a:cubicBezTo>
                  <a:pt x="2018969" y="1132422"/>
                  <a:pt x="2018969" y="1139711"/>
                  <a:pt x="2011680" y="1114201"/>
                </a:cubicBezTo>
                <a:lnTo>
                  <a:pt x="1973416" y="1114201"/>
                </a:lnTo>
                <a:lnTo>
                  <a:pt x="1973416" y="1083224"/>
                </a:lnTo>
                <a:cubicBezTo>
                  <a:pt x="1967948" y="1086868"/>
                  <a:pt x="1955194" y="1097801"/>
                  <a:pt x="1951549" y="1097801"/>
                </a:cubicBezTo>
                <a:cubicBezTo>
                  <a:pt x="1931505" y="1097801"/>
                  <a:pt x="1933327" y="1092335"/>
                  <a:pt x="1929683" y="1075935"/>
                </a:cubicBezTo>
                <a:cubicBezTo>
                  <a:pt x="1964305" y="1066824"/>
                  <a:pt x="1936972" y="1065002"/>
                  <a:pt x="1975237" y="1061358"/>
                </a:cubicBezTo>
                <a:lnTo>
                  <a:pt x="1975237" y="1039492"/>
                </a:lnTo>
                <a:lnTo>
                  <a:pt x="1953371" y="1039492"/>
                </a:lnTo>
                <a:cubicBezTo>
                  <a:pt x="1924216" y="1039492"/>
                  <a:pt x="1951549" y="1035847"/>
                  <a:pt x="1929683" y="1046780"/>
                </a:cubicBezTo>
                <a:lnTo>
                  <a:pt x="1924216" y="1013981"/>
                </a:lnTo>
                <a:lnTo>
                  <a:pt x="1977059" y="1032203"/>
                </a:lnTo>
                <a:cubicBezTo>
                  <a:pt x="1982527" y="1023092"/>
                  <a:pt x="1984348" y="1024914"/>
                  <a:pt x="1984348" y="1010337"/>
                </a:cubicBezTo>
                <a:lnTo>
                  <a:pt x="1984348" y="1003047"/>
                </a:lnTo>
                <a:lnTo>
                  <a:pt x="1986170" y="990293"/>
                </a:lnTo>
                <a:lnTo>
                  <a:pt x="1998925" y="973893"/>
                </a:lnTo>
                <a:lnTo>
                  <a:pt x="2022613" y="973893"/>
                </a:lnTo>
                <a:lnTo>
                  <a:pt x="2015325" y="959316"/>
                </a:lnTo>
                <a:lnTo>
                  <a:pt x="2039013" y="959316"/>
                </a:lnTo>
                <a:lnTo>
                  <a:pt x="2029902" y="944738"/>
                </a:lnTo>
                <a:cubicBezTo>
                  <a:pt x="2048124" y="931983"/>
                  <a:pt x="2039013" y="935628"/>
                  <a:pt x="2059057" y="930160"/>
                </a:cubicBezTo>
                <a:lnTo>
                  <a:pt x="2068168" y="952026"/>
                </a:lnTo>
                <a:cubicBezTo>
                  <a:pt x="2088212" y="944738"/>
                  <a:pt x="2071812" y="944738"/>
                  <a:pt x="2090034" y="952026"/>
                </a:cubicBezTo>
                <a:lnTo>
                  <a:pt x="2097323" y="937450"/>
                </a:lnTo>
                <a:cubicBezTo>
                  <a:pt x="2115544" y="944738"/>
                  <a:pt x="2100967" y="944738"/>
                  <a:pt x="2115544" y="939272"/>
                </a:cubicBezTo>
                <a:cubicBezTo>
                  <a:pt x="2111900" y="933804"/>
                  <a:pt x="2108256" y="931983"/>
                  <a:pt x="2104611" y="926516"/>
                </a:cubicBezTo>
                <a:cubicBezTo>
                  <a:pt x="2119189" y="933804"/>
                  <a:pt x="2133766" y="941094"/>
                  <a:pt x="2150166" y="939272"/>
                </a:cubicBezTo>
                <a:cubicBezTo>
                  <a:pt x="2151988" y="939272"/>
                  <a:pt x="2151988" y="937450"/>
                  <a:pt x="2153810" y="935628"/>
                </a:cubicBezTo>
                <a:lnTo>
                  <a:pt x="2146521" y="935628"/>
                </a:lnTo>
                <a:lnTo>
                  <a:pt x="2155632" y="926517"/>
                </a:lnTo>
                <a:lnTo>
                  <a:pt x="2155632" y="931983"/>
                </a:lnTo>
                <a:cubicBezTo>
                  <a:pt x="2157454" y="931983"/>
                  <a:pt x="2159277" y="926516"/>
                  <a:pt x="2161099" y="930160"/>
                </a:cubicBezTo>
                <a:cubicBezTo>
                  <a:pt x="2159277" y="928339"/>
                  <a:pt x="2168387" y="915583"/>
                  <a:pt x="2161099" y="915583"/>
                </a:cubicBezTo>
                <a:cubicBezTo>
                  <a:pt x="2162921" y="910117"/>
                  <a:pt x="2168387" y="910117"/>
                  <a:pt x="2168387" y="902827"/>
                </a:cubicBezTo>
                <a:cubicBezTo>
                  <a:pt x="2162921" y="906473"/>
                  <a:pt x="2166565" y="893717"/>
                  <a:pt x="2164743" y="890072"/>
                </a:cubicBezTo>
                <a:cubicBezTo>
                  <a:pt x="2159277" y="893717"/>
                  <a:pt x="2155632" y="888250"/>
                  <a:pt x="2157454" y="882784"/>
                </a:cubicBezTo>
                <a:lnTo>
                  <a:pt x="2154682" y="914672"/>
                </a:lnTo>
                <a:lnTo>
                  <a:pt x="2148344" y="910117"/>
                </a:lnTo>
                <a:cubicBezTo>
                  <a:pt x="2148344" y="919227"/>
                  <a:pt x="2142877" y="917405"/>
                  <a:pt x="2137410" y="921049"/>
                </a:cubicBezTo>
                <a:cubicBezTo>
                  <a:pt x="2139233" y="913761"/>
                  <a:pt x="2139233" y="904651"/>
                  <a:pt x="2133766" y="902827"/>
                </a:cubicBezTo>
                <a:cubicBezTo>
                  <a:pt x="2128300" y="899183"/>
                  <a:pt x="2122833" y="902827"/>
                  <a:pt x="2124655" y="893717"/>
                </a:cubicBezTo>
                <a:cubicBezTo>
                  <a:pt x="2128300" y="895539"/>
                  <a:pt x="2128300" y="901005"/>
                  <a:pt x="2133766" y="895539"/>
                </a:cubicBezTo>
                <a:cubicBezTo>
                  <a:pt x="2133766" y="893717"/>
                  <a:pt x="2135588" y="890072"/>
                  <a:pt x="2135588" y="888250"/>
                </a:cubicBezTo>
                <a:cubicBezTo>
                  <a:pt x="2137410" y="891894"/>
                  <a:pt x="2137410" y="897361"/>
                  <a:pt x="2142877" y="893717"/>
                </a:cubicBezTo>
                <a:cubicBezTo>
                  <a:pt x="2142877" y="897361"/>
                  <a:pt x="2144699" y="902827"/>
                  <a:pt x="2139233" y="902827"/>
                </a:cubicBezTo>
                <a:cubicBezTo>
                  <a:pt x="2139233" y="902827"/>
                  <a:pt x="2137410" y="901005"/>
                  <a:pt x="2137410" y="899183"/>
                </a:cubicBezTo>
                <a:cubicBezTo>
                  <a:pt x="2135588" y="902827"/>
                  <a:pt x="2137410" y="906473"/>
                  <a:pt x="2139233" y="904651"/>
                </a:cubicBezTo>
                <a:cubicBezTo>
                  <a:pt x="2142877" y="904651"/>
                  <a:pt x="2144699" y="899183"/>
                  <a:pt x="2146521" y="895539"/>
                </a:cubicBezTo>
                <a:cubicBezTo>
                  <a:pt x="2146521" y="893717"/>
                  <a:pt x="2148344" y="901005"/>
                  <a:pt x="2148344" y="899183"/>
                </a:cubicBezTo>
                <a:cubicBezTo>
                  <a:pt x="2151988" y="890072"/>
                  <a:pt x="2161099" y="880961"/>
                  <a:pt x="2150166" y="873673"/>
                </a:cubicBezTo>
                <a:cubicBezTo>
                  <a:pt x="2146521" y="879139"/>
                  <a:pt x="2150166" y="886428"/>
                  <a:pt x="2144699" y="891894"/>
                </a:cubicBezTo>
                <a:cubicBezTo>
                  <a:pt x="2143788" y="884606"/>
                  <a:pt x="2146066" y="877773"/>
                  <a:pt x="2148799" y="870940"/>
                </a:cubicBezTo>
                <a:lnTo>
                  <a:pt x="2150302" y="866333"/>
                </a:lnTo>
                <a:lnTo>
                  <a:pt x="2161555" y="862057"/>
                </a:lnTo>
                <a:cubicBezTo>
                  <a:pt x="2164288" y="858184"/>
                  <a:pt x="2165654" y="852718"/>
                  <a:pt x="2164743" y="848162"/>
                </a:cubicBezTo>
                <a:lnTo>
                  <a:pt x="2157454" y="848162"/>
                </a:lnTo>
                <a:lnTo>
                  <a:pt x="2155051" y="851767"/>
                </a:lnTo>
                <a:lnTo>
                  <a:pt x="2155632" y="849985"/>
                </a:lnTo>
                <a:lnTo>
                  <a:pt x="2155061" y="848318"/>
                </a:lnTo>
                <a:lnTo>
                  <a:pt x="2155450" y="847798"/>
                </a:lnTo>
                <a:lnTo>
                  <a:pt x="2155632" y="848162"/>
                </a:lnTo>
                <a:lnTo>
                  <a:pt x="2159277" y="842696"/>
                </a:lnTo>
                <a:cubicBezTo>
                  <a:pt x="2159277" y="842696"/>
                  <a:pt x="2155632" y="842696"/>
                  <a:pt x="2153810" y="842696"/>
                </a:cubicBezTo>
                <a:lnTo>
                  <a:pt x="2153810" y="844518"/>
                </a:lnTo>
                <a:lnTo>
                  <a:pt x="2153810" y="844671"/>
                </a:lnTo>
                <a:lnTo>
                  <a:pt x="2152899" y="842013"/>
                </a:lnTo>
                <a:cubicBezTo>
                  <a:pt x="2151077" y="839963"/>
                  <a:pt x="2148344" y="839052"/>
                  <a:pt x="2144699" y="840874"/>
                </a:cubicBezTo>
                <a:cubicBezTo>
                  <a:pt x="2141055" y="844518"/>
                  <a:pt x="2146521" y="851807"/>
                  <a:pt x="2142877" y="851807"/>
                </a:cubicBezTo>
                <a:cubicBezTo>
                  <a:pt x="2135588" y="851807"/>
                  <a:pt x="2139233" y="833585"/>
                  <a:pt x="2128300" y="840874"/>
                </a:cubicBezTo>
                <a:cubicBezTo>
                  <a:pt x="2128300" y="840874"/>
                  <a:pt x="2124655" y="846340"/>
                  <a:pt x="2126477" y="848162"/>
                </a:cubicBezTo>
                <a:cubicBezTo>
                  <a:pt x="2119189" y="844518"/>
                  <a:pt x="2128300" y="842696"/>
                  <a:pt x="2126477" y="842696"/>
                </a:cubicBezTo>
                <a:cubicBezTo>
                  <a:pt x="2111900" y="842696"/>
                  <a:pt x="2097323" y="851807"/>
                  <a:pt x="2088212" y="862740"/>
                </a:cubicBezTo>
                <a:cubicBezTo>
                  <a:pt x="2088212" y="860918"/>
                  <a:pt x="2086390" y="860918"/>
                  <a:pt x="2086390" y="859095"/>
                </a:cubicBezTo>
                <a:cubicBezTo>
                  <a:pt x="2069990" y="875495"/>
                  <a:pt x="2069990" y="904651"/>
                  <a:pt x="2046302" y="911939"/>
                </a:cubicBezTo>
                <a:cubicBezTo>
                  <a:pt x="2060879" y="899183"/>
                  <a:pt x="2079101" y="880961"/>
                  <a:pt x="2073634" y="864562"/>
                </a:cubicBezTo>
                <a:cubicBezTo>
                  <a:pt x="2073634" y="859095"/>
                  <a:pt x="2060879" y="871851"/>
                  <a:pt x="2062701" y="866384"/>
                </a:cubicBezTo>
                <a:cubicBezTo>
                  <a:pt x="2071812" y="848162"/>
                  <a:pt x="2115544" y="849985"/>
                  <a:pt x="2119189" y="828118"/>
                </a:cubicBezTo>
                <a:cubicBezTo>
                  <a:pt x="2113722" y="829941"/>
                  <a:pt x="2108256" y="831763"/>
                  <a:pt x="2102790" y="833585"/>
                </a:cubicBezTo>
                <a:lnTo>
                  <a:pt x="2095500" y="842696"/>
                </a:lnTo>
                <a:lnTo>
                  <a:pt x="2095500" y="837229"/>
                </a:lnTo>
                <a:cubicBezTo>
                  <a:pt x="2069990" y="848162"/>
                  <a:pt x="2046302" y="866384"/>
                  <a:pt x="2026258" y="886428"/>
                </a:cubicBezTo>
                <a:cubicBezTo>
                  <a:pt x="2024436" y="886428"/>
                  <a:pt x="2022613" y="884606"/>
                  <a:pt x="2020791" y="882784"/>
                </a:cubicBezTo>
                <a:cubicBezTo>
                  <a:pt x="2017147" y="884606"/>
                  <a:pt x="2017147" y="888250"/>
                  <a:pt x="2018969" y="891894"/>
                </a:cubicBezTo>
                <a:cubicBezTo>
                  <a:pt x="2013503" y="891894"/>
                  <a:pt x="2017147" y="884606"/>
                  <a:pt x="2015325" y="884606"/>
                </a:cubicBezTo>
                <a:cubicBezTo>
                  <a:pt x="2009858" y="884606"/>
                  <a:pt x="2006214" y="890072"/>
                  <a:pt x="2004392" y="895539"/>
                </a:cubicBezTo>
                <a:cubicBezTo>
                  <a:pt x="2006214" y="888250"/>
                  <a:pt x="1998925" y="888250"/>
                  <a:pt x="1997103" y="884606"/>
                </a:cubicBezTo>
                <a:cubicBezTo>
                  <a:pt x="2001659" y="884606"/>
                  <a:pt x="2002569" y="881873"/>
                  <a:pt x="2002115" y="878684"/>
                </a:cubicBezTo>
                <a:lnTo>
                  <a:pt x="1998983" y="870186"/>
                </a:lnTo>
                <a:lnTo>
                  <a:pt x="2006214" y="864562"/>
                </a:lnTo>
                <a:cubicBezTo>
                  <a:pt x="2006214" y="871851"/>
                  <a:pt x="2000747" y="879139"/>
                  <a:pt x="2008036" y="884606"/>
                </a:cubicBezTo>
                <a:cubicBezTo>
                  <a:pt x="2008036" y="882784"/>
                  <a:pt x="2011680" y="879139"/>
                  <a:pt x="2009858" y="875495"/>
                </a:cubicBezTo>
                <a:cubicBezTo>
                  <a:pt x="2013503" y="877317"/>
                  <a:pt x="2013503" y="879139"/>
                  <a:pt x="2015325" y="880961"/>
                </a:cubicBezTo>
                <a:cubicBezTo>
                  <a:pt x="2017147" y="875495"/>
                  <a:pt x="2018969" y="870028"/>
                  <a:pt x="2024436" y="866384"/>
                </a:cubicBezTo>
                <a:cubicBezTo>
                  <a:pt x="2022613" y="868206"/>
                  <a:pt x="2024436" y="871851"/>
                  <a:pt x="2026258" y="873673"/>
                </a:cubicBezTo>
                <a:cubicBezTo>
                  <a:pt x="2028080" y="864562"/>
                  <a:pt x="2040835" y="868206"/>
                  <a:pt x="2040835" y="860918"/>
                </a:cubicBezTo>
                <a:cubicBezTo>
                  <a:pt x="2040835" y="857273"/>
                  <a:pt x="2035369" y="859095"/>
                  <a:pt x="2035369" y="855451"/>
                </a:cubicBezTo>
                <a:cubicBezTo>
                  <a:pt x="2039013" y="855451"/>
                  <a:pt x="2040835" y="855451"/>
                  <a:pt x="2042657" y="855451"/>
                </a:cubicBezTo>
                <a:cubicBezTo>
                  <a:pt x="2048124" y="857273"/>
                  <a:pt x="2039013" y="862740"/>
                  <a:pt x="2042657" y="860918"/>
                </a:cubicBezTo>
                <a:cubicBezTo>
                  <a:pt x="2048124" y="859095"/>
                  <a:pt x="2057235" y="857273"/>
                  <a:pt x="2059057" y="849985"/>
                </a:cubicBezTo>
                <a:cubicBezTo>
                  <a:pt x="2057235" y="849985"/>
                  <a:pt x="2057235" y="849985"/>
                  <a:pt x="2055413" y="849985"/>
                </a:cubicBezTo>
                <a:cubicBezTo>
                  <a:pt x="2055413" y="842696"/>
                  <a:pt x="2062701" y="848162"/>
                  <a:pt x="2066346" y="846340"/>
                </a:cubicBezTo>
                <a:cubicBezTo>
                  <a:pt x="2068168" y="846340"/>
                  <a:pt x="2068168" y="840874"/>
                  <a:pt x="2066346" y="839051"/>
                </a:cubicBezTo>
                <a:cubicBezTo>
                  <a:pt x="2069990" y="837229"/>
                  <a:pt x="2066346" y="844518"/>
                  <a:pt x="2068168" y="844518"/>
                </a:cubicBezTo>
                <a:cubicBezTo>
                  <a:pt x="2095500" y="840874"/>
                  <a:pt x="2091856" y="808074"/>
                  <a:pt x="2091856" y="786208"/>
                </a:cubicBezTo>
                <a:cubicBezTo>
                  <a:pt x="2091856" y="784386"/>
                  <a:pt x="2095500" y="782564"/>
                  <a:pt x="2097323" y="780742"/>
                </a:cubicBezTo>
                <a:cubicBezTo>
                  <a:pt x="2097323" y="773453"/>
                  <a:pt x="2100967" y="767987"/>
                  <a:pt x="2097323" y="760698"/>
                </a:cubicBezTo>
                <a:cubicBezTo>
                  <a:pt x="2077279" y="740654"/>
                  <a:pt x="2035369" y="718788"/>
                  <a:pt x="2015325" y="749765"/>
                </a:cubicBezTo>
                <a:cubicBezTo>
                  <a:pt x="2017147" y="737010"/>
                  <a:pt x="2028080" y="733365"/>
                  <a:pt x="2035369" y="726077"/>
                </a:cubicBezTo>
                <a:cubicBezTo>
                  <a:pt x="2030814" y="723344"/>
                  <a:pt x="2028536" y="718788"/>
                  <a:pt x="2026031" y="714689"/>
                </a:cubicBezTo>
                <a:lnTo>
                  <a:pt x="2015528" y="706198"/>
                </a:lnTo>
                <a:lnTo>
                  <a:pt x="2015553" y="705350"/>
                </a:lnTo>
                <a:cubicBezTo>
                  <a:pt x="2017603" y="703300"/>
                  <a:pt x="2020791" y="702389"/>
                  <a:pt x="2022613" y="704211"/>
                </a:cubicBezTo>
                <a:cubicBezTo>
                  <a:pt x="2029902" y="709677"/>
                  <a:pt x="2031724" y="720610"/>
                  <a:pt x="2040835" y="726077"/>
                </a:cubicBezTo>
                <a:cubicBezTo>
                  <a:pt x="2059057" y="733365"/>
                  <a:pt x="2077279" y="735188"/>
                  <a:pt x="2091856" y="749765"/>
                </a:cubicBezTo>
                <a:cubicBezTo>
                  <a:pt x="2093679" y="749765"/>
                  <a:pt x="2099145" y="749765"/>
                  <a:pt x="2100967" y="747943"/>
                </a:cubicBezTo>
                <a:cubicBezTo>
                  <a:pt x="2100967" y="751587"/>
                  <a:pt x="2100967" y="757054"/>
                  <a:pt x="2102790" y="760698"/>
                </a:cubicBezTo>
                <a:cubicBezTo>
                  <a:pt x="2104611" y="760698"/>
                  <a:pt x="2104611" y="760698"/>
                  <a:pt x="2106433" y="760698"/>
                </a:cubicBezTo>
                <a:cubicBezTo>
                  <a:pt x="2106433" y="775275"/>
                  <a:pt x="2088212" y="793497"/>
                  <a:pt x="2102790" y="804430"/>
                </a:cubicBezTo>
                <a:cubicBezTo>
                  <a:pt x="2102790" y="804430"/>
                  <a:pt x="2108256" y="802608"/>
                  <a:pt x="2110078" y="797141"/>
                </a:cubicBezTo>
                <a:cubicBezTo>
                  <a:pt x="2113722" y="769809"/>
                  <a:pt x="2135588" y="749765"/>
                  <a:pt x="2135588" y="724254"/>
                </a:cubicBezTo>
                <a:cubicBezTo>
                  <a:pt x="2135588" y="715144"/>
                  <a:pt x="2122833" y="702388"/>
                  <a:pt x="2115544" y="715144"/>
                </a:cubicBezTo>
                <a:cubicBezTo>
                  <a:pt x="2115544" y="716966"/>
                  <a:pt x="2115544" y="722432"/>
                  <a:pt x="2113722" y="724254"/>
                </a:cubicBezTo>
                <a:cubicBezTo>
                  <a:pt x="2110078" y="720610"/>
                  <a:pt x="2110078" y="726077"/>
                  <a:pt x="2106433" y="726077"/>
                </a:cubicBezTo>
                <a:cubicBezTo>
                  <a:pt x="2110078" y="711499"/>
                  <a:pt x="2133766" y="704211"/>
                  <a:pt x="2119189" y="687811"/>
                </a:cubicBezTo>
                <a:lnTo>
                  <a:pt x="2104803" y="667671"/>
                </a:lnTo>
                <a:lnTo>
                  <a:pt x="2108256" y="665945"/>
                </a:lnTo>
                <a:cubicBezTo>
                  <a:pt x="2111900" y="667767"/>
                  <a:pt x="2115544" y="673234"/>
                  <a:pt x="2115544" y="675056"/>
                </a:cubicBezTo>
                <a:cubicBezTo>
                  <a:pt x="2121011" y="691455"/>
                  <a:pt x="2126477" y="704211"/>
                  <a:pt x="2137410" y="716966"/>
                </a:cubicBezTo>
                <a:cubicBezTo>
                  <a:pt x="2144699" y="727899"/>
                  <a:pt x="2142877" y="740654"/>
                  <a:pt x="2137410" y="749765"/>
                </a:cubicBezTo>
                <a:cubicBezTo>
                  <a:pt x="2137410" y="753409"/>
                  <a:pt x="2130122" y="757054"/>
                  <a:pt x="2126477" y="760698"/>
                </a:cubicBezTo>
                <a:cubicBezTo>
                  <a:pt x="2115544" y="780742"/>
                  <a:pt x="2108256" y="813541"/>
                  <a:pt x="2130122" y="824474"/>
                </a:cubicBezTo>
                <a:cubicBezTo>
                  <a:pt x="2131944" y="813541"/>
                  <a:pt x="2139233" y="806252"/>
                  <a:pt x="2142877" y="798964"/>
                </a:cubicBezTo>
                <a:lnTo>
                  <a:pt x="2130122" y="788031"/>
                </a:lnTo>
                <a:lnTo>
                  <a:pt x="2146521" y="778920"/>
                </a:lnTo>
                <a:lnTo>
                  <a:pt x="2139233" y="764342"/>
                </a:lnTo>
                <a:lnTo>
                  <a:pt x="2162921" y="764342"/>
                </a:lnTo>
                <a:lnTo>
                  <a:pt x="2155632" y="749765"/>
                </a:lnTo>
                <a:lnTo>
                  <a:pt x="2164743" y="749765"/>
                </a:lnTo>
                <a:cubicBezTo>
                  <a:pt x="2175676" y="749765"/>
                  <a:pt x="2164743" y="742476"/>
                  <a:pt x="2172032" y="742476"/>
                </a:cubicBezTo>
                <a:cubicBezTo>
                  <a:pt x="2172032" y="740654"/>
                  <a:pt x="2170210" y="738832"/>
                  <a:pt x="2168387" y="738832"/>
                </a:cubicBezTo>
                <a:cubicBezTo>
                  <a:pt x="2170210" y="737010"/>
                  <a:pt x="2170210" y="737010"/>
                  <a:pt x="2172032" y="735188"/>
                </a:cubicBezTo>
                <a:lnTo>
                  <a:pt x="2172032" y="733365"/>
                </a:lnTo>
                <a:cubicBezTo>
                  <a:pt x="2172032" y="733365"/>
                  <a:pt x="2173854" y="733365"/>
                  <a:pt x="2173854" y="733365"/>
                </a:cubicBezTo>
                <a:cubicBezTo>
                  <a:pt x="2175676" y="731543"/>
                  <a:pt x="2177498" y="729721"/>
                  <a:pt x="2177498" y="726077"/>
                </a:cubicBezTo>
                <a:cubicBezTo>
                  <a:pt x="2177498" y="726077"/>
                  <a:pt x="2177498" y="726077"/>
                  <a:pt x="2179320" y="727899"/>
                </a:cubicBezTo>
                <a:cubicBezTo>
                  <a:pt x="2179320" y="718788"/>
                  <a:pt x="2172032" y="706033"/>
                  <a:pt x="2181143" y="700566"/>
                </a:cubicBezTo>
                <a:cubicBezTo>
                  <a:pt x="2182965" y="704211"/>
                  <a:pt x="2182965" y="706033"/>
                  <a:pt x="2184787" y="707855"/>
                </a:cubicBezTo>
                <a:cubicBezTo>
                  <a:pt x="2175676" y="711499"/>
                  <a:pt x="2184787" y="715144"/>
                  <a:pt x="2184787" y="722432"/>
                </a:cubicBezTo>
                <a:cubicBezTo>
                  <a:pt x="2193898" y="720610"/>
                  <a:pt x="2210297" y="716966"/>
                  <a:pt x="2203009" y="706033"/>
                </a:cubicBezTo>
                <a:cubicBezTo>
                  <a:pt x="2208475" y="715144"/>
                  <a:pt x="2217586" y="715144"/>
                  <a:pt x="2226697" y="709677"/>
                </a:cubicBezTo>
                <a:cubicBezTo>
                  <a:pt x="2226697" y="707855"/>
                  <a:pt x="2226697" y="706033"/>
                  <a:pt x="2226697" y="704211"/>
                </a:cubicBezTo>
                <a:cubicBezTo>
                  <a:pt x="2228519" y="707855"/>
                  <a:pt x="2233986" y="706033"/>
                  <a:pt x="2235808" y="706033"/>
                </a:cubicBezTo>
                <a:cubicBezTo>
                  <a:pt x="2233986" y="702388"/>
                  <a:pt x="2233986" y="698744"/>
                  <a:pt x="2232163" y="695100"/>
                </a:cubicBezTo>
                <a:cubicBezTo>
                  <a:pt x="2235808" y="698744"/>
                  <a:pt x="2233986" y="704211"/>
                  <a:pt x="2239452" y="706033"/>
                </a:cubicBezTo>
                <a:cubicBezTo>
                  <a:pt x="2239452" y="704211"/>
                  <a:pt x="2239452" y="702388"/>
                  <a:pt x="2239452" y="700566"/>
                </a:cubicBezTo>
                <a:cubicBezTo>
                  <a:pt x="2244919" y="707855"/>
                  <a:pt x="2255852" y="720610"/>
                  <a:pt x="2263140" y="709677"/>
                </a:cubicBezTo>
                <a:cubicBezTo>
                  <a:pt x="2266785" y="704211"/>
                  <a:pt x="2261318" y="700566"/>
                  <a:pt x="2259496" y="695100"/>
                </a:cubicBezTo>
                <a:cubicBezTo>
                  <a:pt x="2263140" y="696922"/>
                  <a:pt x="2268607" y="700566"/>
                  <a:pt x="2270429" y="698744"/>
                </a:cubicBezTo>
                <a:cubicBezTo>
                  <a:pt x="2275896" y="691455"/>
                  <a:pt x="2281362" y="693278"/>
                  <a:pt x="2286829" y="685989"/>
                </a:cubicBezTo>
                <a:cubicBezTo>
                  <a:pt x="2285007" y="689633"/>
                  <a:pt x="2283184" y="695100"/>
                  <a:pt x="2288651" y="696922"/>
                </a:cubicBezTo>
                <a:cubicBezTo>
                  <a:pt x="2294117" y="664123"/>
                  <a:pt x="2288651" y="634968"/>
                  <a:pt x="2255852" y="620391"/>
                </a:cubicBezTo>
                <a:cubicBezTo>
                  <a:pt x="2264963" y="611280"/>
                  <a:pt x="2266785" y="631324"/>
                  <a:pt x="2275896" y="631324"/>
                </a:cubicBezTo>
                <a:cubicBezTo>
                  <a:pt x="2281362" y="629501"/>
                  <a:pt x="2283184" y="627679"/>
                  <a:pt x="2283184" y="622213"/>
                </a:cubicBezTo>
                <a:cubicBezTo>
                  <a:pt x="2283184" y="616746"/>
                  <a:pt x="2277718" y="618568"/>
                  <a:pt x="2277718" y="614924"/>
                </a:cubicBezTo>
                <a:cubicBezTo>
                  <a:pt x="2277718" y="618568"/>
                  <a:pt x="2277718" y="620391"/>
                  <a:pt x="2275896" y="622213"/>
                </a:cubicBezTo>
                <a:cubicBezTo>
                  <a:pt x="2274074" y="587591"/>
                  <a:pt x="2248563" y="560260"/>
                  <a:pt x="2213942" y="558437"/>
                </a:cubicBezTo>
                <a:cubicBezTo>
                  <a:pt x="2213942" y="562081"/>
                  <a:pt x="2213942" y="563904"/>
                  <a:pt x="2213942" y="565725"/>
                </a:cubicBezTo>
                <a:cubicBezTo>
                  <a:pt x="2212120" y="563904"/>
                  <a:pt x="2210297" y="560260"/>
                  <a:pt x="2212120" y="558437"/>
                </a:cubicBezTo>
                <a:cubicBezTo>
                  <a:pt x="2210297" y="563904"/>
                  <a:pt x="2204831" y="560260"/>
                  <a:pt x="2203009" y="558437"/>
                </a:cubicBezTo>
                <a:cubicBezTo>
                  <a:pt x="2203009" y="560260"/>
                  <a:pt x="2203009" y="563904"/>
                  <a:pt x="2204831" y="565725"/>
                </a:cubicBezTo>
                <a:cubicBezTo>
                  <a:pt x="2201187" y="562081"/>
                  <a:pt x="2197542" y="558437"/>
                  <a:pt x="2195720" y="552970"/>
                </a:cubicBezTo>
                <a:cubicBezTo>
                  <a:pt x="2186609" y="560260"/>
                  <a:pt x="2199364" y="573014"/>
                  <a:pt x="2188431" y="576658"/>
                </a:cubicBezTo>
                <a:cubicBezTo>
                  <a:pt x="2184787" y="576658"/>
                  <a:pt x="2182965" y="574836"/>
                  <a:pt x="2182965" y="573014"/>
                </a:cubicBezTo>
                <a:cubicBezTo>
                  <a:pt x="2184787" y="563904"/>
                  <a:pt x="2179320" y="552970"/>
                  <a:pt x="2186609" y="543860"/>
                </a:cubicBezTo>
                <a:cubicBezTo>
                  <a:pt x="2188431" y="542037"/>
                  <a:pt x="2179320" y="542037"/>
                  <a:pt x="2177498" y="540215"/>
                </a:cubicBezTo>
                <a:cubicBezTo>
                  <a:pt x="2179320" y="547504"/>
                  <a:pt x="2182965" y="551148"/>
                  <a:pt x="2181143" y="558437"/>
                </a:cubicBezTo>
                <a:cubicBezTo>
                  <a:pt x="2179320" y="554792"/>
                  <a:pt x="2179320" y="552970"/>
                  <a:pt x="2177498" y="551148"/>
                </a:cubicBezTo>
                <a:cubicBezTo>
                  <a:pt x="2175676" y="552970"/>
                  <a:pt x="2175676" y="552970"/>
                  <a:pt x="2173854" y="552970"/>
                </a:cubicBezTo>
                <a:cubicBezTo>
                  <a:pt x="2175676" y="556616"/>
                  <a:pt x="2173854" y="563904"/>
                  <a:pt x="2175676" y="567548"/>
                </a:cubicBezTo>
                <a:cubicBezTo>
                  <a:pt x="2173854" y="562081"/>
                  <a:pt x="2168387" y="562081"/>
                  <a:pt x="2166565" y="554792"/>
                </a:cubicBezTo>
                <a:cubicBezTo>
                  <a:pt x="2161099" y="556616"/>
                  <a:pt x="2166565" y="562081"/>
                  <a:pt x="2166565" y="563904"/>
                </a:cubicBezTo>
                <a:cubicBezTo>
                  <a:pt x="2166565" y="563904"/>
                  <a:pt x="2168387" y="563904"/>
                  <a:pt x="2168387" y="562081"/>
                </a:cubicBezTo>
                <a:cubicBezTo>
                  <a:pt x="2168387" y="563904"/>
                  <a:pt x="2172032" y="567548"/>
                  <a:pt x="2170210" y="571192"/>
                </a:cubicBezTo>
                <a:cubicBezTo>
                  <a:pt x="2164743" y="567548"/>
                  <a:pt x="2164743" y="562081"/>
                  <a:pt x="2159277" y="565725"/>
                </a:cubicBezTo>
                <a:cubicBezTo>
                  <a:pt x="2159277" y="567548"/>
                  <a:pt x="2159277" y="571192"/>
                  <a:pt x="2161099" y="573014"/>
                </a:cubicBezTo>
                <a:cubicBezTo>
                  <a:pt x="2159277" y="571192"/>
                  <a:pt x="2157454" y="569370"/>
                  <a:pt x="2155632" y="571192"/>
                </a:cubicBezTo>
                <a:cubicBezTo>
                  <a:pt x="2155632" y="576658"/>
                  <a:pt x="2155632" y="582125"/>
                  <a:pt x="2157454" y="587591"/>
                </a:cubicBezTo>
                <a:cubicBezTo>
                  <a:pt x="2150166" y="591236"/>
                  <a:pt x="2157454" y="594880"/>
                  <a:pt x="2155632" y="596702"/>
                </a:cubicBezTo>
                <a:cubicBezTo>
                  <a:pt x="2146521" y="593058"/>
                  <a:pt x="2155632" y="582125"/>
                  <a:pt x="2146521" y="578481"/>
                </a:cubicBezTo>
                <a:cubicBezTo>
                  <a:pt x="2148344" y="582125"/>
                  <a:pt x="2148344" y="585769"/>
                  <a:pt x="2150166" y="587591"/>
                </a:cubicBezTo>
                <a:cubicBezTo>
                  <a:pt x="2150166" y="587591"/>
                  <a:pt x="2150166" y="589414"/>
                  <a:pt x="2150166" y="589414"/>
                </a:cubicBezTo>
                <a:cubicBezTo>
                  <a:pt x="2148344" y="587591"/>
                  <a:pt x="2146521" y="587591"/>
                  <a:pt x="2146521" y="587591"/>
                </a:cubicBezTo>
                <a:cubicBezTo>
                  <a:pt x="2146521" y="596702"/>
                  <a:pt x="2151988" y="605813"/>
                  <a:pt x="2144699" y="607635"/>
                </a:cubicBezTo>
                <a:cubicBezTo>
                  <a:pt x="2137410" y="609459"/>
                  <a:pt x="2142877" y="594880"/>
                  <a:pt x="2137410" y="587591"/>
                </a:cubicBezTo>
                <a:cubicBezTo>
                  <a:pt x="2137410" y="593058"/>
                  <a:pt x="2139233" y="602169"/>
                  <a:pt x="2135588" y="602169"/>
                </a:cubicBezTo>
                <a:cubicBezTo>
                  <a:pt x="2126477" y="602169"/>
                  <a:pt x="2137410" y="589414"/>
                  <a:pt x="2135588" y="582125"/>
                </a:cubicBezTo>
                <a:cubicBezTo>
                  <a:pt x="2135588" y="582125"/>
                  <a:pt x="2135588" y="582125"/>
                  <a:pt x="2133766" y="583947"/>
                </a:cubicBezTo>
                <a:cubicBezTo>
                  <a:pt x="2130122" y="576658"/>
                  <a:pt x="2130122" y="571192"/>
                  <a:pt x="2128300" y="563904"/>
                </a:cubicBezTo>
                <a:cubicBezTo>
                  <a:pt x="2124655" y="567548"/>
                  <a:pt x="2128300" y="571192"/>
                  <a:pt x="2128300" y="574836"/>
                </a:cubicBezTo>
                <a:lnTo>
                  <a:pt x="2126477" y="573014"/>
                </a:lnTo>
                <a:cubicBezTo>
                  <a:pt x="2128300" y="583947"/>
                  <a:pt x="2128300" y="594880"/>
                  <a:pt x="2131944" y="605813"/>
                </a:cubicBezTo>
                <a:cubicBezTo>
                  <a:pt x="2131944" y="607636"/>
                  <a:pt x="2134222" y="609458"/>
                  <a:pt x="2136272" y="611736"/>
                </a:cubicBezTo>
                <a:lnTo>
                  <a:pt x="2137376" y="614963"/>
                </a:lnTo>
                <a:lnTo>
                  <a:pt x="2134222" y="618569"/>
                </a:lnTo>
                <a:cubicBezTo>
                  <a:pt x="2133311" y="619936"/>
                  <a:pt x="2132855" y="621302"/>
                  <a:pt x="2133766" y="622213"/>
                </a:cubicBezTo>
                <a:cubicBezTo>
                  <a:pt x="2135588" y="624035"/>
                  <a:pt x="2137410" y="622213"/>
                  <a:pt x="2139233" y="620391"/>
                </a:cubicBezTo>
                <a:cubicBezTo>
                  <a:pt x="2137410" y="625857"/>
                  <a:pt x="2142877" y="629501"/>
                  <a:pt x="2139233" y="634968"/>
                </a:cubicBezTo>
                <a:cubicBezTo>
                  <a:pt x="2144699" y="631324"/>
                  <a:pt x="2148344" y="627679"/>
                  <a:pt x="2150166" y="620391"/>
                </a:cubicBezTo>
                <a:cubicBezTo>
                  <a:pt x="2153810" y="631324"/>
                  <a:pt x="2151988" y="640435"/>
                  <a:pt x="2151988" y="651368"/>
                </a:cubicBezTo>
                <a:cubicBezTo>
                  <a:pt x="2146521" y="651368"/>
                  <a:pt x="2148344" y="636790"/>
                  <a:pt x="2141055" y="644079"/>
                </a:cubicBezTo>
                <a:cubicBezTo>
                  <a:pt x="2137410" y="645901"/>
                  <a:pt x="2139233" y="644079"/>
                  <a:pt x="2139233" y="642257"/>
                </a:cubicBezTo>
                <a:cubicBezTo>
                  <a:pt x="2135588" y="644079"/>
                  <a:pt x="2137410" y="647723"/>
                  <a:pt x="2137410" y="649545"/>
                </a:cubicBezTo>
                <a:cubicBezTo>
                  <a:pt x="2135588" y="636790"/>
                  <a:pt x="2135588" y="624035"/>
                  <a:pt x="2128300" y="613103"/>
                </a:cubicBezTo>
                <a:cubicBezTo>
                  <a:pt x="2126477" y="611280"/>
                  <a:pt x="2128300" y="605813"/>
                  <a:pt x="2128300" y="605813"/>
                </a:cubicBezTo>
                <a:cubicBezTo>
                  <a:pt x="2119189" y="602169"/>
                  <a:pt x="2128300" y="611280"/>
                  <a:pt x="2121011" y="609459"/>
                </a:cubicBezTo>
                <a:cubicBezTo>
                  <a:pt x="2121011" y="609459"/>
                  <a:pt x="2121011" y="607635"/>
                  <a:pt x="2121011" y="605813"/>
                </a:cubicBezTo>
                <a:cubicBezTo>
                  <a:pt x="2115544" y="614924"/>
                  <a:pt x="2124655" y="620391"/>
                  <a:pt x="2122833" y="629501"/>
                </a:cubicBezTo>
                <a:cubicBezTo>
                  <a:pt x="2122833" y="629501"/>
                  <a:pt x="2122833" y="629501"/>
                  <a:pt x="2124655" y="627679"/>
                </a:cubicBezTo>
                <a:cubicBezTo>
                  <a:pt x="2126477" y="631324"/>
                  <a:pt x="2126477" y="634968"/>
                  <a:pt x="2126477" y="638612"/>
                </a:cubicBezTo>
                <a:cubicBezTo>
                  <a:pt x="2126477" y="638612"/>
                  <a:pt x="2126477" y="636790"/>
                  <a:pt x="2124655" y="636790"/>
                </a:cubicBezTo>
                <a:cubicBezTo>
                  <a:pt x="2121011" y="636790"/>
                  <a:pt x="2122833" y="638612"/>
                  <a:pt x="2122833" y="640435"/>
                </a:cubicBezTo>
                <a:cubicBezTo>
                  <a:pt x="2121011" y="634968"/>
                  <a:pt x="2119189" y="627679"/>
                  <a:pt x="2113722" y="625857"/>
                </a:cubicBezTo>
                <a:cubicBezTo>
                  <a:pt x="2113722" y="629501"/>
                  <a:pt x="2113722" y="631324"/>
                  <a:pt x="2113722" y="633146"/>
                </a:cubicBezTo>
                <a:cubicBezTo>
                  <a:pt x="2108256" y="629501"/>
                  <a:pt x="2111900" y="624035"/>
                  <a:pt x="2111900" y="618568"/>
                </a:cubicBezTo>
                <a:cubicBezTo>
                  <a:pt x="2113722" y="614924"/>
                  <a:pt x="2111900" y="611280"/>
                  <a:pt x="2108256" y="611280"/>
                </a:cubicBezTo>
                <a:cubicBezTo>
                  <a:pt x="2108256" y="611280"/>
                  <a:pt x="2108256" y="614924"/>
                  <a:pt x="2106433" y="613103"/>
                </a:cubicBezTo>
                <a:cubicBezTo>
                  <a:pt x="2104611" y="611280"/>
                  <a:pt x="2104611" y="611280"/>
                  <a:pt x="2102790" y="609459"/>
                </a:cubicBezTo>
                <a:cubicBezTo>
                  <a:pt x="2098234" y="619480"/>
                  <a:pt x="2099145" y="629046"/>
                  <a:pt x="2100967" y="638613"/>
                </a:cubicBezTo>
                <a:lnTo>
                  <a:pt x="2104556" y="667325"/>
                </a:lnTo>
                <a:lnTo>
                  <a:pt x="2104384" y="667084"/>
                </a:lnTo>
                <a:cubicBezTo>
                  <a:pt x="2100967" y="659568"/>
                  <a:pt x="2099145" y="651368"/>
                  <a:pt x="2099145" y="642257"/>
                </a:cubicBezTo>
                <a:cubicBezTo>
                  <a:pt x="2095500" y="645901"/>
                  <a:pt x="2091856" y="649545"/>
                  <a:pt x="2090034" y="655012"/>
                </a:cubicBezTo>
                <a:cubicBezTo>
                  <a:pt x="2084568" y="645901"/>
                  <a:pt x="2064524" y="656834"/>
                  <a:pt x="2069990" y="642257"/>
                </a:cubicBezTo>
                <a:cubicBezTo>
                  <a:pt x="2073634" y="647723"/>
                  <a:pt x="2082745" y="651368"/>
                  <a:pt x="2090034" y="644079"/>
                </a:cubicBezTo>
                <a:cubicBezTo>
                  <a:pt x="2093679" y="640435"/>
                  <a:pt x="2091856" y="636790"/>
                  <a:pt x="2091856" y="631324"/>
                </a:cubicBezTo>
                <a:cubicBezTo>
                  <a:pt x="2093679" y="631324"/>
                  <a:pt x="2093679" y="631324"/>
                  <a:pt x="2095500" y="633146"/>
                </a:cubicBezTo>
                <a:cubicBezTo>
                  <a:pt x="2099145" y="618568"/>
                  <a:pt x="2080923" y="622213"/>
                  <a:pt x="2071812" y="624035"/>
                </a:cubicBezTo>
                <a:cubicBezTo>
                  <a:pt x="2080923" y="620391"/>
                  <a:pt x="2084568" y="614924"/>
                  <a:pt x="2086390" y="605813"/>
                </a:cubicBezTo>
                <a:cubicBezTo>
                  <a:pt x="2088212" y="609459"/>
                  <a:pt x="2090034" y="614924"/>
                  <a:pt x="2091856" y="616746"/>
                </a:cubicBezTo>
                <a:cubicBezTo>
                  <a:pt x="2099145" y="620391"/>
                  <a:pt x="2097323" y="609459"/>
                  <a:pt x="2099145" y="607635"/>
                </a:cubicBezTo>
                <a:cubicBezTo>
                  <a:pt x="2099145" y="604903"/>
                  <a:pt x="2097779" y="602169"/>
                  <a:pt x="2095729" y="599891"/>
                </a:cubicBezTo>
                <a:lnTo>
                  <a:pt x="2094851" y="599306"/>
                </a:lnTo>
                <a:lnTo>
                  <a:pt x="2095500" y="596702"/>
                </a:lnTo>
                <a:cubicBezTo>
                  <a:pt x="2095500" y="596702"/>
                  <a:pt x="2093679" y="596702"/>
                  <a:pt x="2093679" y="594880"/>
                </a:cubicBezTo>
                <a:lnTo>
                  <a:pt x="2092252" y="597574"/>
                </a:lnTo>
                <a:lnTo>
                  <a:pt x="2088212" y="594880"/>
                </a:lnTo>
                <a:cubicBezTo>
                  <a:pt x="2086390" y="593058"/>
                  <a:pt x="2091856" y="600347"/>
                  <a:pt x="2086390" y="600347"/>
                </a:cubicBezTo>
                <a:cubicBezTo>
                  <a:pt x="2086390" y="598524"/>
                  <a:pt x="2086390" y="594880"/>
                  <a:pt x="2084568" y="593058"/>
                </a:cubicBezTo>
                <a:cubicBezTo>
                  <a:pt x="2080923" y="602169"/>
                  <a:pt x="2075457" y="605813"/>
                  <a:pt x="2073634" y="614924"/>
                </a:cubicBezTo>
                <a:cubicBezTo>
                  <a:pt x="2073634" y="613103"/>
                  <a:pt x="2071812" y="611280"/>
                  <a:pt x="2069990" y="611280"/>
                </a:cubicBezTo>
                <a:cubicBezTo>
                  <a:pt x="2066346" y="614924"/>
                  <a:pt x="2071812" y="620391"/>
                  <a:pt x="2069990" y="624035"/>
                </a:cubicBezTo>
                <a:cubicBezTo>
                  <a:pt x="2068168" y="622213"/>
                  <a:pt x="2066346" y="618568"/>
                  <a:pt x="2064524" y="620391"/>
                </a:cubicBezTo>
                <a:cubicBezTo>
                  <a:pt x="2062701" y="622213"/>
                  <a:pt x="2062701" y="625857"/>
                  <a:pt x="2064524" y="627679"/>
                </a:cubicBezTo>
                <a:cubicBezTo>
                  <a:pt x="2066346" y="629501"/>
                  <a:pt x="2069990" y="624035"/>
                  <a:pt x="2071812" y="627679"/>
                </a:cubicBezTo>
                <a:cubicBezTo>
                  <a:pt x="2062701" y="631324"/>
                  <a:pt x="2077279" y="642257"/>
                  <a:pt x="2066346" y="644079"/>
                </a:cubicBezTo>
                <a:cubicBezTo>
                  <a:pt x="2066346" y="640435"/>
                  <a:pt x="2068168" y="636790"/>
                  <a:pt x="2068168" y="633146"/>
                </a:cubicBezTo>
                <a:cubicBezTo>
                  <a:pt x="2068168" y="631324"/>
                  <a:pt x="2066346" y="629501"/>
                  <a:pt x="2064524" y="631324"/>
                </a:cubicBezTo>
                <a:cubicBezTo>
                  <a:pt x="2062701" y="634968"/>
                  <a:pt x="2062701" y="636790"/>
                  <a:pt x="2060879" y="638612"/>
                </a:cubicBezTo>
                <a:cubicBezTo>
                  <a:pt x="2060879" y="634968"/>
                  <a:pt x="2062701" y="629501"/>
                  <a:pt x="2060879" y="631324"/>
                </a:cubicBezTo>
                <a:cubicBezTo>
                  <a:pt x="2048124" y="634968"/>
                  <a:pt x="2059057" y="640435"/>
                  <a:pt x="2064524" y="645901"/>
                </a:cubicBezTo>
                <a:cubicBezTo>
                  <a:pt x="2059057" y="640435"/>
                  <a:pt x="2053590" y="645901"/>
                  <a:pt x="2053590" y="636790"/>
                </a:cubicBezTo>
                <a:cubicBezTo>
                  <a:pt x="2048124" y="638612"/>
                  <a:pt x="2049946" y="644079"/>
                  <a:pt x="2048124" y="647723"/>
                </a:cubicBezTo>
                <a:cubicBezTo>
                  <a:pt x="2044479" y="645901"/>
                  <a:pt x="2035369" y="645901"/>
                  <a:pt x="2037191" y="644079"/>
                </a:cubicBezTo>
                <a:cubicBezTo>
                  <a:pt x="2046302" y="634968"/>
                  <a:pt x="2059057" y="625857"/>
                  <a:pt x="2060879" y="611280"/>
                </a:cubicBezTo>
                <a:cubicBezTo>
                  <a:pt x="2060879" y="614924"/>
                  <a:pt x="2060879" y="616746"/>
                  <a:pt x="2060879" y="618568"/>
                </a:cubicBezTo>
                <a:cubicBezTo>
                  <a:pt x="2069990" y="614924"/>
                  <a:pt x="2064524" y="603991"/>
                  <a:pt x="2062701" y="596702"/>
                </a:cubicBezTo>
                <a:cubicBezTo>
                  <a:pt x="2068168" y="596702"/>
                  <a:pt x="2062701" y="605813"/>
                  <a:pt x="2069990" y="605813"/>
                </a:cubicBezTo>
                <a:cubicBezTo>
                  <a:pt x="2071812" y="605813"/>
                  <a:pt x="2075457" y="600347"/>
                  <a:pt x="2071812" y="596702"/>
                </a:cubicBezTo>
                <a:cubicBezTo>
                  <a:pt x="2069990" y="596702"/>
                  <a:pt x="2068168" y="596702"/>
                  <a:pt x="2066346" y="594880"/>
                </a:cubicBezTo>
                <a:cubicBezTo>
                  <a:pt x="2064524" y="589414"/>
                  <a:pt x="2066346" y="582125"/>
                  <a:pt x="2059057" y="578481"/>
                </a:cubicBezTo>
                <a:lnTo>
                  <a:pt x="2060879" y="577353"/>
                </a:lnTo>
                <a:lnTo>
                  <a:pt x="2060879" y="578481"/>
                </a:lnTo>
                <a:cubicBezTo>
                  <a:pt x="2062701" y="578481"/>
                  <a:pt x="2064524" y="582125"/>
                  <a:pt x="2066346" y="578481"/>
                </a:cubicBezTo>
                <a:lnTo>
                  <a:pt x="2066346" y="575984"/>
                </a:lnTo>
                <a:lnTo>
                  <a:pt x="2069990" y="576658"/>
                </a:lnTo>
                <a:lnTo>
                  <a:pt x="2066346" y="573925"/>
                </a:lnTo>
                <a:lnTo>
                  <a:pt x="2066346" y="573014"/>
                </a:lnTo>
                <a:lnTo>
                  <a:pt x="2065505" y="573295"/>
                </a:lnTo>
                <a:lnTo>
                  <a:pt x="2055413" y="565725"/>
                </a:lnTo>
                <a:cubicBezTo>
                  <a:pt x="2055413" y="567548"/>
                  <a:pt x="2053590" y="569370"/>
                  <a:pt x="2053590" y="571192"/>
                </a:cubicBezTo>
                <a:cubicBezTo>
                  <a:pt x="2053590" y="563904"/>
                  <a:pt x="2049946" y="560260"/>
                  <a:pt x="2040835" y="563904"/>
                </a:cubicBezTo>
                <a:cubicBezTo>
                  <a:pt x="2039013" y="565725"/>
                  <a:pt x="2039013" y="567548"/>
                  <a:pt x="2039013" y="569370"/>
                </a:cubicBezTo>
                <a:cubicBezTo>
                  <a:pt x="2033546" y="567548"/>
                  <a:pt x="2028080" y="565725"/>
                  <a:pt x="2022613" y="569370"/>
                </a:cubicBezTo>
                <a:cubicBezTo>
                  <a:pt x="1993459" y="580303"/>
                  <a:pt x="1953371" y="605813"/>
                  <a:pt x="1971592" y="642257"/>
                </a:cubicBezTo>
                <a:cubicBezTo>
                  <a:pt x="1971592" y="642257"/>
                  <a:pt x="1971592" y="642257"/>
                  <a:pt x="1973416" y="642257"/>
                </a:cubicBezTo>
                <a:cubicBezTo>
                  <a:pt x="1980703" y="645901"/>
                  <a:pt x="1973416" y="653190"/>
                  <a:pt x="1967948" y="656834"/>
                </a:cubicBezTo>
                <a:cubicBezTo>
                  <a:pt x="1973416" y="644079"/>
                  <a:pt x="1960659" y="631324"/>
                  <a:pt x="1966126" y="616746"/>
                </a:cubicBezTo>
                <a:cubicBezTo>
                  <a:pt x="1957015" y="616746"/>
                  <a:pt x="1957015" y="625857"/>
                  <a:pt x="1955194" y="634968"/>
                </a:cubicBezTo>
                <a:cubicBezTo>
                  <a:pt x="1953371" y="627680"/>
                  <a:pt x="1953826" y="620391"/>
                  <a:pt x="1956332" y="613558"/>
                </a:cubicBezTo>
                <a:lnTo>
                  <a:pt x="1960732" y="607442"/>
                </a:lnTo>
                <a:lnTo>
                  <a:pt x="1960659" y="607635"/>
                </a:lnTo>
                <a:cubicBezTo>
                  <a:pt x="1969770" y="609459"/>
                  <a:pt x="1967948" y="602169"/>
                  <a:pt x="1969770" y="594880"/>
                </a:cubicBezTo>
                <a:cubicBezTo>
                  <a:pt x="1971592" y="593058"/>
                  <a:pt x="1966126" y="591236"/>
                  <a:pt x="1964305" y="589414"/>
                </a:cubicBezTo>
                <a:cubicBezTo>
                  <a:pt x="1971592" y="589414"/>
                  <a:pt x="1977059" y="582125"/>
                  <a:pt x="1975237" y="574836"/>
                </a:cubicBezTo>
                <a:cubicBezTo>
                  <a:pt x="1975237" y="580303"/>
                  <a:pt x="1978881" y="574836"/>
                  <a:pt x="1980703" y="576658"/>
                </a:cubicBezTo>
                <a:cubicBezTo>
                  <a:pt x="1984348" y="569370"/>
                  <a:pt x="1980703" y="562081"/>
                  <a:pt x="1977059" y="558437"/>
                </a:cubicBezTo>
                <a:cubicBezTo>
                  <a:pt x="1975237" y="554792"/>
                  <a:pt x="1977059" y="562081"/>
                  <a:pt x="1975237" y="562081"/>
                </a:cubicBezTo>
                <a:cubicBezTo>
                  <a:pt x="1973416" y="554792"/>
                  <a:pt x="1975237" y="547504"/>
                  <a:pt x="1978881" y="542037"/>
                </a:cubicBezTo>
                <a:cubicBezTo>
                  <a:pt x="1980703" y="545681"/>
                  <a:pt x="1982527" y="547504"/>
                  <a:pt x="1984348" y="549326"/>
                </a:cubicBezTo>
                <a:lnTo>
                  <a:pt x="1986788" y="547806"/>
                </a:lnTo>
                <a:lnTo>
                  <a:pt x="1984120" y="552515"/>
                </a:lnTo>
                <a:cubicBezTo>
                  <a:pt x="1984803" y="555704"/>
                  <a:pt x="1986170" y="559348"/>
                  <a:pt x="1984348" y="562081"/>
                </a:cubicBezTo>
                <a:cubicBezTo>
                  <a:pt x="1987992" y="562081"/>
                  <a:pt x="1989359" y="558893"/>
                  <a:pt x="1989586" y="555248"/>
                </a:cubicBezTo>
                <a:lnTo>
                  <a:pt x="1988199" y="546927"/>
                </a:lnTo>
                <a:lnTo>
                  <a:pt x="1998242" y="540671"/>
                </a:lnTo>
                <a:cubicBezTo>
                  <a:pt x="2001203" y="535204"/>
                  <a:pt x="2003480" y="528371"/>
                  <a:pt x="2008036" y="523815"/>
                </a:cubicBezTo>
                <a:cubicBezTo>
                  <a:pt x="2000747" y="527461"/>
                  <a:pt x="2000747" y="518349"/>
                  <a:pt x="2002570" y="512882"/>
                </a:cubicBezTo>
                <a:cubicBezTo>
                  <a:pt x="2002570" y="518349"/>
                  <a:pt x="2006214" y="521993"/>
                  <a:pt x="2009858" y="523815"/>
                </a:cubicBezTo>
                <a:cubicBezTo>
                  <a:pt x="2009858" y="505594"/>
                  <a:pt x="2018969" y="480083"/>
                  <a:pt x="2008036" y="465506"/>
                </a:cubicBezTo>
                <a:cubicBezTo>
                  <a:pt x="2009858" y="467328"/>
                  <a:pt x="2009858" y="470972"/>
                  <a:pt x="2008036" y="472795"/>
                </a:cubicBezTo>
                <a:cubicBezTo>
                  <a:pt x="2008036" y="469150"/>
                  <a:pt x="2006214" y="465506"/>
                  <a:pt x="2004392" y="467328"/>
                </a:cubicBezTo>
                <a:cubicBezTo>
                  <a:pt x="1993459" y="470972"/>
                  <a:pt x="2006214" y="481906"/>
                  <a:pt x="2006214" y="489194"/>
                </a:cubicBezTo>
                <a:cubicBezTo>
                  <a:pt x="2006214" y="489194"/>
                  <a:pt x="2006214" y="487373"/>
                  <a:pt x="2004392" y="487373"/>
                </a:cubicBezTo>
                <a:cubicBezTo>
                  <a:pt x="2004392" y="489194"/>
                  <a:pt x="2004392" y="492838"/>
                  <a:pt x="2004392" y="494662"/>
                </a:cubicBezTo>
                <a:cubicBezTo>
                  <a:pt x="2000747" y="489194"/>
                  <a:pt x="1995281" y="483728"/>
                  <a:pt x="1993459" y="476439"/>
                </a:cubicBezTo>
                <a:lnTo>
                  <a:pt x="1969528" y="504738"/>
                </a:lnTo>
                <a:lnTo>
                  <a:pt x="1969770" y="503771"/>
                </a:lnTo>
                <a:cubicBezTo>
                  <a:pt x="1966126" y="507417"/>
                  <a:pt x="1957015" y="512882"/>
                  <a:pt x="1955194" y="505594"/>
                </a:cubicBezTo>
                <a:cubicBezTo>
                  <a:pt x="1958837" y="503771"/>
                  <a:pt x="1958837" y="500127"/>
                  <a:pt x="1960659" y="498306"/>
                </a:cubicBezTo>
                <a:cubicBezTo>
                  <a:pt x="1962482" y="498306"/>
                  <a:pt x="1960659" y="503771"/>
                  <a:pt x="1964305" y="503771"/>
                </a:cubicBezTo>
                <a:cubicBezTo>
                  <a:pt x="1971592" y="496483"/>
                  <a:pt x="1982527" y="491017"/>
                  <a:pt x="1984348" y="478262"/>
                </a:cubicBezTo>
                <a:cubicBezTo>
                  <a:pt x="1977059" y="481906"/>
                  <a:pt x="1971592" y="474618"/>
                  <a:pt x="1966126" y="474618"/>
                </a:cubicBezTo>
                <a:lnTo>
                  <a:pt x="1965303" y="481204"/>
                </a:lnTo>
                <a:lnTo>
                  <a:pt x="1953826" y="471428"/>
                </a:lnTo>
                <a:lnTo>
                  <a:pt x="1939186" y="479857"/>
                </a:lnTo>
                <a:lnTo>
                  <a:pt x="1936972" y="469150"/>
                </a:lnTo>
                <a:cubicBezTo>
                  <a:pt x="1938793" y="470972"/>
                  <a:pt x="1942438" y="469150"/>
                  <a:pt x="1946083" y="469150"/>
                </a:cubicBezTo>
                <a:cubicBezTo>
                  <a:pt x="1944260" y="461862"/>
                  <a:pt x="1942438" y="450928"/>
                  <a:pt x="1938793" y="443640"/>
                </a:cubicBezTo>
                <a:cubicBezTo>
                  <a:pt x="1942438" y="447284"/>
                  <a:pt x="1946083" y="441819"/>
                  <a:pt x="1947904" y="443640"/>
                </a:cubicBezTo>
                <a:cubicBezTo>
                  <a:pt x="1944260" y="450928"/>
                  <a:pt x="1944260" y="458218"/>
                  <a:pt x="1947904" y="465506"/>
                </a:cubicBezTo>
                <a:cubicBezTo>
                  <a:pt x="1947904" y="461862"/>
                  <a:pt x="1951549" y="461862"/>
                  <a:pt x="1953371" y="463684"/>
                </a:cubicBezTo>
                <a:cubicBezTo>
                  <a:pt x="1953371" y="461862"/>
                  <a:pt x="1953371" y="460039"/>
                  <a:pt x="1953371" y="458218"/>
                </a:cubicBezTo>
                <a:cubicBezTo>
                  <a:pt x="1966126" y="463684"/>
                  <a:pt x="1980703" y="485550"/>
                  <a:pt x="1989814" y="467328"/>
                </a:cubicBezTo>
                <a:cubicBezTo>
                  <a:pt x="1989814" y="467328"/>
                  <a:pt x="1987992" y="460039"/>
                  <a:pt x="1986170" y="456395"/>
                </a:cubicBezTo>
                <a:cubicBezTo>
                  <a:pt x="1986170" y="456395"/>
                  <a:pt x="1986170" y="458218"/>
                  <a:pt x="1984348" y="458218"/>
                </a:cubicBezTo>
                <a:lnTo>
                  <a:pt x="1985837" y="454591"/>
                </a:lnTo>
                <a:lnTo>
                  <a:pt x="1984347" y="454591"/>
                </a:lnTo>
                <a:cubicBezTo>
                  <a:pt x="1984347" y="450947"/>
                  <a:pt x="1984347" y="449124"/>
                  <a:pt x="1986169" y="447302"/>
                </a:cubicBezTo>
                <a:lnTo>
                  <a:pt x="1986169" y="453784"/>
                </a:lnTo>
                <a:lnTo>
                  <a:pt x="1989586" y="445463"/>
                </a:lnTo>
                <a:cubicBezTo>
                  <a:pt x="1991636" y="441363"/>
                  <a:pt x="1994369" y="439085"/>
                  <a:pt x="1998925" y="443640"/>
                </a:cubicBezTo>
                <a:cubicBezTo>
                  <a:pt x="1998925" y="445463"/>
                  <a:pt x="1998925" y="445463"/>
                  <a:pt x="1998925" y="447284"/>
                </a:cubicBezTo>
                <a:cubicBezTo>
                  <a:pt x="1997103" y="447284"/>
                  <a:pt x="1997103" y="445463"/>
                  <a:pt x="1997103" y="445463"/>
                </a:cubicBezTo>
                <a:cubicBezTo>
                  <a:pt x="1997103" y="445463"/>
                  <a:pt x="1995281" y="447284"/>
                  <a:pt x="1995281" y="447284"/>
                </a:cubicBezTo>
                <a:cubicBezTo>
                  <a:pt x="1993459" y="445463"/>
                  <a:pt x="1993459" y="445463"/>
                  <a:pt x="1993459" y="447284"/>
                </a:cubicBezTo>
                <a:cubicBezTo>
                  <a:pt x="1991638" y="447284"/>
                  <a:pt x="1989814" y="449107"/>
                  <a:pt x="1989814" y="452751"/>
                </a:cubicBezTo>
                <a:cubicBezTo>
                  <a:pt x="1991638" y="452751"/>
                  <a:pt x="1993459" y="452751"/>
                  <a:pt x="1993459" y="452751"/>
                </a:cubicBezTo>
                <a:cubicBezTo>
                  <a:pt x="1993459" y="456395"/>
                  <a:pt x="1993459" y="458218"/>
                  <a:pt x="1991638" y="456395"/>
                </a:cubicBezTo>
                <a:cubicBezTo>
                  <a:pt x="1989814" y="456395"/>
                  <a:pt x="1991638" y="461862"/>
                  <a:pt x="1991638" y="463684"/>
                </a:cubicBezTo>
                <a:cubicBezTo>
                  <a:pt x="1998925" y="467328"/>
                  <a:pt x="1995281" y="456395"/>
                  <a:pt x="2000747" y="461862"/>
                </a:cubicBezTo>
                <a:cubicBezTo>
                  <a:pt x="2002570" y="461862"/>
                  <a:pt x="2000747" y="456395"/>
                  <a:pt x="2000747" y="454574"/>
                </a:cubicBezTo>
                <a:cubicBezTo>
                  <a:pt x="1998925" y="454574"/>
                  <a:pt x="1997103" y="452751"/>
                  <a:pt x="1997103" y="450928"/>
                </a:cubicBezTo>
                <a:cubicBezTo>
                  <a:pt x="1997103" y="449107"/>
                  <a:pt x="1998925" y="449107"/>
                  <a:pt x="2002570" y="449107"/>
                </a:cubicBezTo>
                <a:cubicBezTo>
                  <a:pt x="2002570" y="447284"/>
                  <a:pt x="2002570" y="445463"/>
                  <a:pt x="2002570" y="443640"/>
                </a:cubicBezTo>
                <a:cubicBezTo>
                  <a:pt x="2002570" y="443640"/>
                  <a:pt x="2000747" y="443640"/>
                  <a:pt x="2000747" y="443640"/>
                </a:cubicBezTo>
                <a:cubicBezTo>
                  <a:pt x="1998925" y="439995"/>
                  <a:pt x="1998925" y="436351"/>
                  <a:pt x="1997103" y="432707"/>
                </a:cubicBezTo>
                <a:cubicBezTo>
                  <a:pt x="2006214" y="432707"/>
                  <a:pt x="2015325" y="432707"/>
                  <a:pt x="2026258" y="430886"/>
                </a:cubicBezTo>
                <a:cubicBezTo>
                  <a:pt x="2024436" y="425419"/>
                  <a:pt x="2018969" y="414485"/>
                  <a:pt x="2024436" y="407196"/>
                </a:cubicBezTo>
                <a:cubicBezTo>
                  <a:pt x="2024436" y="416308"/>
                  <a:pt x="2026258" y="421775"/>
                  <a:pt x="2029902" y="430886"/>
                </a:cubicBezTo>
                <a:cubicBezTo>
                  <a:pt x="2042657" y="429063"/>
                  <a:pt x="2055413" y="423596"/>
                  <a:pt x="2071812" y="423596"/>
                </a:cubicBezTo>
                <a:cubicBezTo>
                  <a:pt x="2073634" y="418129"/>
                  <a:pt x="2073634" y="416308"/>
                  <a:pt x="2079101" y="418129"/>
                </a:cubicBezTo>
                <a:lnTo>
                  <a:pt x="2081033" y="409128"/>
                </a:lnTo>
                <a:lnTo>
                  <a:pt x="2082745" y="410841"/>
                </a:lnTo>
                <a:lnTo>
                  <a:pt x="2081290" y="407930"/>
                </a:lnTo>
                <a:lnTo>
                  <a:pt x="2083145" y="399285"/>
                </a:lnTo>
                <a:lnTo>
                  <a:pt x="2086390" y="409019"/>
                </a:lnTo>
                <a:lnTo>
                  <a:pt x="2090034" y="410841"/>
                </a:lnTo>
                <a:cubicBezTo>
                  <a:pt x="2090034" y="407196"/>
                  <a:pt x="2091856" y="405375"/>
                  <a:pt x="2091856" y="401731"/>
                </a:cubicBezTo>
                <a:cubicBezTo>
                  <a:pt x="2091856" y="399908"/>
                  <a:pt x="2095500" y="401731"/>
                  <a:pt x="2099145" y="399908"/>
                </a:cubicBezTo>
                <a:cubicBezTo>
                  <a:pt x="2100967" y="396264"/>
                  <a:pt x="2102790" y="392620"/>
                  <a:pt x="2104611" y="388976"/>
                </a:cubicBezTo>
                <a:cubicBezTo>
                  <a:pt x="2106433" y="394441"/>
                  <a:pt x="2108256" y="401731"/>
                  <a:pt x="2115544" y="401731"/>
                </a:cubicBezTo>
                <a:cubicBezTo>
                  <a:pt x="2117366" y="394441"/>
                  <a:pt x="2115544" y="394441"/>
                  <a:pt x="2115544" y="388976"/>
                </a:cubicBezTo>
                <a:cubicBezTo>
                  <a:pt x="2119189" y="388976"/>
                  <a:pt x="2121011" y="396264"/>
                  <a:pt x="2117366" y="396264"/>
                </a:cubicBezTo>
                <a:cubicBezTo>
                  <a:pt x="2124655" y="396264"/>
                  <a:pt x="2124655" y="403552"/>
                  <a:pt x="2128300" y="407196"/>
                </a:cubicBezTo>
                <a:lnTo>
                  <a:pt x="2128374" y="405272"/>
                </a:lnTo>
                <a:lnTo>
                  <a:pt x="2131261" y="401275"/>
                </a:lnTo>
                <a:cubicBezTo>
                  <a:pt x="2131033" y="398997"/>
                  <a:pt x="2130122" y="396264"/>
                  <a:pt x="2130122" y="394441"/>
                </a:cubicBezTo>
                <a:lnTo>
                  <a:pt x="2128644" y="398241"/>
                </a:lnTo>
                <a:lnTo>
                  <a:pt x="2128755" y="395353"/>
                </a:lnTo>
                <a:cubicBezTo>
                  <a:pt x="2129667" y="391253"/>
                  <a:pt x="2131033" y="387153"/>
                  <a:pt x="2131944" y="383509"/>
                </a:cubicBezTo>
                <a:cubicBezTo>
                  <a:pt x="2131944" y="390797"/>
                  <a:pt x="2137410" y="399908"/>
                  <a:pt x="2142877" y="407196"/>
                </a:cubicBezTo>
                <a:cubicBezTo>
                  <a:pt x="2144699" y="405375"/>
                  <a:pt x="2144699" y="399908"/>
                  <a:pt x="2146521" y="405375"/>
                </a:cubicBezTo>
                <a:cubicBezTo>
                  <a:pt x="2150166" y="403552"/>
                  <a:pt x="2144699" y="398085"/>
                  <a:pt x="2146521" y="394441"/>
                </a:cubicBezTo>
                <a:cubicBezTo>
                  <a:pt x="2142877" y="396264"/>
                  <a:pt x="2141055" y="394441"/>
                  <a:pt x="2141055" y="392620"/>
                </a:cubicBezTo>
                <a:cubicBezTo>
                  <a:pt x="2137410" y="394441"/>
                  <a:pt x="2142877" y="396264"/>
                  <a:pt x="2141055" y="399908"/>
                </a:cubicBezTo>
                <a:cubicBezTo>
                  <a:pt x="2139233" y="398085"/>
                  <a:pt x="2137410" y="396264"/>
                  <a:pt x="2137410" y="392620"/>
                </a:cubicBezTo>
                <a:cubicBezTo>
                  <a:pt x="2137410" y="388976"/>
                  <a:pt x="2142877" y="388976"/>
                  <a:pt x="2142877" y="385331"/>
                </a:cubicBezTo>
                <a:cubicBezTo>
                  <a:pt x="2146521" y="387152"/>
                  <a:pt x="2148344" y="387152"/>
                  <a:pt x="2153810" y="385331"/>
                </a:cubicBezTo>
                <a:cubicBezTo>
                  <a:pt x="2153810" y="381687"/>
                  <a:pt x="2151988" y="379865"/>
                  <a:pt x="2148344" y="379865"/>
                </a:cubicBezTo>
                <a:cubicBezTo>
                  <a:pt x="2148344" y="374397"/>
                  <a:pt x="2150166" y="372576"/>
                  <a:pt x="2153810" y="370754"/>
                </a:cubicBezTo>
                <a:cubicBezTo>
                  <a:pt x="2151988" y="365287"/>
                  <a:pt x="2155632" y="363465"/>
                  <a:pt x="2155632" y="356176"/>
                </a:cubicBezTo>
                <a:cubicBezTo>
                  <a:pt x="2122833" y="348888"/>
                  <a:pt x="2082745" y="347066"/>
                  <a:pt x="2055413" y="356176"/>
                </a:cubicBezTo>
                <a:cubicBezTo>
                  <a:pt x="2061791" y="360731"/>
                  <a:pt x="2069079" y="364831"/>
                  <a:pt x="2074547" y="370981"/>
                </a:cubicBezTo>
                <a:lnTo>
                  <a:pt x="2075574" y="374376"/>
                </a:lnTo>
                <a:lnTo>
                  <a:pt x="2067570" y="366112"/>
                </a:lnTo>
                <a:cubicBezTo>
                  <a:pt x="2062018" y="363578"/>
                  <a:pt x="2054958" y="363009"/>
                  <a:pt x="2046302" y="365287"/>
                </a:cubicBezTo>
                <a:cubicBezTo>
                  <a:pt x="2046302" y="368932"/>
                  <a:pt x="2048124" y="368932"/>
                  <a:pt x="2048124" y="372576"/>
                </a:cubicBezTo>
                <a:cubicBezTo>
                  <a:pt x="2044479" y="374397"/>
                  <a:pt x="2042657" y="367109"/>
                  <a:pt x="2040835" y="365287"/>
                </a:cubicBezTo>
                <a:cubicBezTo>
                  <a:pt x="2039013" y="365287"/>
                  <a:pt x="2037191" y="365287"/>
                  <a:pt x="2035369" y="365287"/>
                </a:cubicBezTo>
                <a:cubicBezTo>
                  <a:pt x="2033546" y="368932"/>
                  <a:pt x="2035369" y="370754"/>
                  <a:pt x="2035369" y="376220"/>
                </a:cubicBezTo>
                <a:cubicBezTo>
                  <a:pt x="2033546" y="378041"/>
                  <a:pt x="2031724" y="376220"/>
                  <a:pt x="2033546" y="383509"/>
                </a:cubicBezTo>
                <a:cubicBezTo>
                  <a:pt x="2029902" y="381687"/>
                  <a:pt x="2031724" y="376220"/>
                  <a:pt x="2029902" y="374397"/>
                </a:cubicBezTo>
                <a:cubicBezTo>
                  <a:pt x="2017147" y="383509"/>
                  <a:pt x="1998925" y="381687"/>
                  <a:pt x="1993459" y="398085"/>
                </a:cubicBezTo>
                <a:cubicBezTo>
                  <a:pt x="1988903" y="396264"/>
                  <a:pt x="1984803" y="399908"/>
                  <a:pt x="1982071" y="405375"/>
                </a:cubicBezTo>
                <a:lnTo>
                  <a:pt x="1980519" y="414236"/>
                </a:lnTo>
                <a:lnTo>
                  <a:pt x="1986170" y="416329"/>
                </a:lnTo>
                <a:cubicBezTo>
                  <a:pt x="1982527" y="409041"/>
                  <a:pt x="1989814" y="407219"/>
                  <a:pt x="1993459" y="403574"/>
                </a:cubicBezTo>
                <a:cubicBezTo>
                  <a:pt x="1995281" y="410863"/>
                  <a:pt x="1991636" y="419974"/>
                  <a:pt x="1984348" y="425440"/>
                </a:cubicBezTo>
                <a:lnTo>
                  <a:pt x="1984348" y="425444"/>
                </a:lnTo>
                <a:lnTo>
                  <a:pt x="1984348" y="430907"/>
                </a:lnTo>
                <a:lnTo>
                  <a:pt x="1977236" y="426561"/>
                </a:lnTo>
                <a:lnTo>
                  <a:pt x="1977287" y="427924"/>
                </a:lnTo>
                <a:cubicBezTo>
                  <a:pt x="1978881" y="429974"/>
                  <a:pt x="1980703" y="431797"/>
                  <a:pt x="1978881" y="432707"/>
                </a:cubicBezTo>
                <a:lnTo>
                  <a:pt x="1974995" y="424934"/>
                </a:lnTo>
                <a:lnTo>
                  <a:pt x="1973416" y="423618"/>
                </a:lnTo>
                <a:lnTo>
                  <a:pt x="1971092" y="420133"/>
                </a:lnTo>
                <a:lnTo>
                  <a:pt x="1970130" y="423978"/>
                </a:lnTo>
                <a:lnTo>
                  <a:pt x="1971592" y="425440"/>
                </a:lnTo>
                <a:cubicBezTo>
                  <a:pt x="1971592" y="423618"/>
                  <a:pt x="1971592" y="423618"/>
                  <a:pt x="1971592" y="423618"/>
                </a:cubicBezTo>
                <a:cubicBezTo>
                  <a:pt x="1973416" y="427263"/>
                  <a:pt x="1975237" y="430907"/>
                  <a:pt x="1975237" y="434551"/>
                </a:cubicBezTo>
                <a:cubicBezTo>
                  <a:pt x="1975237" y="436373"/>
                  <a:pt x="1969770" y="436373"/>
                  <a:pt x="1971592" y="434551"/>
                </a:cubicBezTo>
                <a:lnTo>
                  <a:pt x="1969950" y="424698"/>
                </a:lnTo>
                <a:lnTo>
                  <a:pt x="1969770" y="425419"/>
                </a:lnTo>
                <a:cubicBezTo>
                  <a:pt x="1960659" y="419952"/>
                  <a:pt x="1957015" y="429063"/>
                  <a:pt x="1958837" y="436351"/>
                </a:cubicBezTo>
                <a:cubicBezTo>
                  <a:pt x="1955194" y="436351"/>
                  <a:pt x="1951549" y="436351"/>
                  <a:pt x="1947904" y="434530"/>
                </a:cubicBezTo>
                <a:cubicBezTo>
                  <a:pt x="1953371" y="423596"/>
                  <a:pt x="1966126" y="418129"/>
                  <a:pt x="1977059" y="414485"/>
                </a:cubicBezTo>
                <a:cubicBezTo>
                  <a:pt x="1973416" y="410841"/>
                  <a:pt x="1975237" y="403552"/>
                  <a:pt x="1973416" y="399908"/>
                </a:cubicBezTo>
                <a:cubicBezTo>
                  <a:pt x="1980703" y="398085"/>
                  <a:pt x="1980703" y="390797"/>
                  <a:pt x="1989814" y="390797"/>
                </a:cubicBezTo>
                <a:cubicBezTo>
                  <a:pt x="1987992" y="387152"/>
                  <a:pt x="1991638" y="385331"/>
                  <a:pt x="1991638" y="379865"/>
                </a:cubicBezTo>
                <a:cubicBezTo>
                  <a:pt x="1984348" y="385331"/>
                  <a:pt x="1975237" y="390797"/>
                  <a:pt x="1971592" y="399908"/>
                </a:cubicBezTo>
                <a:lnTo>
                  <a:pt x="1968859" y="397175"/>
                </a:lnTo>
                <a:lnTo>
                  <a:pt x="1987992" y="378041"/>
                </a:lnTo>
                <a:lnTo>
                  <a:pt x="2008036" y="368932"/>
                </a:lnTo>
                <a:cubicBezTo>
                  <a:pt x="2004391" y="369843"/>
                  <a:pt x="2000293" y="370298"/>
                  <a:pt x="1996647" y="371437"/>
                </a:cubicBezTo>
                <a:lnTo>
                  <a:pt x="1987992" y="378041"/>
                </a:lnTo>
                <a:lnTo>
                  <a:pt x="1989814" y="376220"/>
                </a:lnTo>
                <a:cubicBezTo>
                  <a:pt x="1984348" y="378041"/>
                  <a:pt x="1975237" y="379865"/>
                  <a:pt x="1973416" y="387152"/>
                </a:cubicBezTo>
                <a:cubicBezTo>
                  <a:pt x="1967948" y="385331"/>
                  <a:pt x="1967948" y="385331"/>
                  <a:pt x="1962482" y="387152"/>
                </a:cubicBezTo>
                <a:cubicBezTo>
                  <a:pt x="1962482" y="387152"/>
                  <a:pt x="1962482" y="388976"/>
                  <a:pt x="1962482" y="388976"/>
                </a:cubicBezTo>
                <a:cubicBezTo>
                  <a:pt x="1960659" y="388976"/>
                  <a:pt x="1960659" y="388976"/>
                  <a:pt x="1958837" y="388976"/>
                </a:cubicBezTo>
                <a:cubicBezTo>
                  <a:pt x="1957015" y="388976"/>
                  <a:pt x="1958837" y="390797"/>
                  <a:pt x="1958837" y="392620"/>
                </a:cubicBezTo>
                <a:cubicBezTo>
                  <a:pt x="1957015" y="392620"/>
                  <a:pt x="1955194" y="390797"/>
                  <a:pt x="1953371" y="390797"/>
                </a:cubicBezTo>
                <a:cubicBezTo>
                  <a:pt x="1953371" y="390797"/>
                  <a:pt x="1953371" y="392620"/>
                  <a:pt x="1953371" y="392620"/>
                </a:cubicBezTo>
                <a:lnTo>
                  <a:pt x="1949726" y="393986"/>
                </a:lnTo>
                <a:lnTo>
                  <a:pt x="1949726" y="394459"/>
                </a:lnTo>
                <a:cubicBezTo>
                  <a:pt x="1947904" y="396281"/>
                  <a:pt x="1947904" y="396281"/>
                  <a:pt x="1946083" y="398103"/>
                </a:cubicBezTo>
                <a:lnTo>
                  <a:pt x="1945266" y="395659"/>
                </a:lnTo>
                <a:lnTo>
                  <a:pt x="1942264" y="396784"/>
                </a:lnTo>
                <a:lnTo>
                  <a:pt x="1942209" y="398104"/>
                </a:lnTo>
                <a:cubicBezTo>
                  <a:pt x="1941981" y="399471"/>
                  <a:pt x="1941526" y="399926"/>
                  <a:pt x="1940615" y="398104"/>
                </a:cubicBezTo>
                <a:lnTo>
                  <a:pt x="1940615" y="397403"/>
                </a:lnTo>
                <a:lnTo>
                  <a:pt x="1938793" y="398086"/>
                </a:lnTo>
                <a:cubicBezTo>
                  <a:pt x="1934238" y="397175"/>
                  <a:pt x="1929682" y="394442"/>
                  <a:pt x="1924216" y="392620"/>
                </a:cubicBezTo>
                <a:cubicBezTo>
                  <a:pt x="1924216" y="394441"/>
                  <a:pt x="1924216" y="396264"/>
                  <a:pt x="1922394" y="398085"/>
                </a:cubicBezTo>
                <a:cubicBezTo>
                  <a:pt x="1920572" y="388976"/>
                  <a:pt x="1911461" y="390797"/>
                  <a:pt x="1904172" y="387152"/>
                </a:cubicBezTo>
                <a:lnTo>
                  <a:pt x="1905791" y="383913"/>
                </a:lnTo>
                <a:lnTo>
                  <a:pt x="1907816" y="387152"/>
                </a:lnTo>
                <a:cubicBezTo>
                  <a:pt x="1905994" y="387152"/>
                  <a:pt x="1904172" y="385331"/>
                  <a:pt x="1905994" y="383509"/>
                </a:cubicBezTo>
                <a:lnTo>
                  <a:pt x="1905791" y="383913"/>
                </a:lnTo>
                <a:lnTo>
                  <a:pt x="1902122" y="378042"/>
                </a:lnTo>
                <a:cubicBezTo>
                  <a:pt x="1900528" y="375309"/>
                  <a:pt x="1899618" y="372576"/>
                  <a:pt x="1900528" y="368932"/>
                </a:cubicBezTo>
                <a:cubicBezTo>
                  <a:pt x="1900528" y="368932"/>
                  <a:pt x="1898706" y="370754"/>
                  <a:pt x="1898706" y="370754"/>
                </a:cubicBezTo>
                <a:cubicBezTo>
                  <a:pt x="1895061" y="368932"/>
                  <a:pt x="1898706" y="363465"/>
                  <a:pt x="1896883" y="359821"/>
                </a:cubicBezTo>
                <a:cubicBezTo>
                  <a:pt x="1902350" y="359821"/>
                  <a:pt x="1904172" y="365287"/>
                  <a:pt x="1904172" y="367109"/>
                </a:cubicBezTo>
                <a:cubicBezTo>
                  <a:pt x="1904172" y="370754"/>
                  <a:pt x="1905994" y="374397"/>
                  <a:pt x="1905994" y="378041"/>
                </a:cubicBezTo>
                <a:cubicBezTo>
                  <a:pt x="1907816" y="381687"/>
                  <a:pt x="1913283" y="387152"/>
                  <a:pt x="1916927" y="388976"/>
                </a:cubicBezTo>
                <a:cubicBezTo>
                  <a:pt x="1921482" y="390798"/>
                  <a:pt x="1926493" y="392620"/>
                  <a:pt x="1931504" y="393531"/>
                </a:cubicBezTo>
                <a:lnTo>
                  <a:pt x="1940615" y="392961"/>
                </a:lnTo>
                <a:lnTo>
                  <a:pt x="1940615" y="390816"/>
                </a:lnTo>
                <a:cubicBezTo>
                  <a:pt x="1942437" y="390816"/>
                  <a:pt x="1944260" y="392637"/>
                  <a:pt x="1942437" y="392637"/>
                </a:cubicBezTo>
                <a:lnTo>
                  <a:pt x="1942428" y="392848"/>
                </a:lnTo>
                <a:lnTo>
                  <a:pt x="1944290" y="392731"/>
                </a:lnTo>
                <a:lnTo>
                  <a:pt x="1944259" y="392637"/>
                </a:lnTo>
                <a:lnTo>
                  <a:pt x="1944268" y="392620"/>
                </a:lnTo>
                <a:lnTo>
                  <a:pt x="1942438" y="392620"/>
                </a:lnTo>
                <a:cubicBezTo>
                  <a:pt x="1940616" y="387152"/>
                  <a:pt x="1944260" y="385331"/>
                  <a:pt x="1944260" y="381687"/>
                </a:cubicBezTo>
                <a:cubicBezTo>
                  <a:pt x="1944260" y="383509"/>
                  <a:pt x="1944260" y="383509"/>
                  <a:pt x="1946083" y="383509"/>
                </a:cubicBezTo>
                <a:cubicBezTo>
                  <a:pt x="1944260" y="381687"/>
                  <a:pt x="1944260" y="379865"/>
                  <a:pt x="1944260" y="379865"/>
                </a:cubicBezTo>
                <a:cubicBezTo>
                  <a:pt x="1944260" y="379865"/>
                  <a:pt x="1946083" y="379865"/>
                  <a:pt x="1946083" y="379865"/>
                </a:cubicBezTo>
                <a:cubicBezTo>
                  <a:pt x="1944260" y="379865"/>
                  <a:pt x="1944260" y="379865"/>
                  <a:pt x="1944260" y="378041"/>
                </a:cubicBezTo>
                <a:cubicBezTo>
                  <a:pt x="1946083" y="376220"/>
                  <a:pt x="1947904" y="374397"/>
                  <a:pt x="1947904" y="372576"/>
                </a:cubicBezTo>
                <a:cubicBezTo>
                  <a:pt x="1949726" y="372576"/>
                  <a:pt x="1947904" y="378041"/>
                  <a:pt x="1949726" y="378041"/>
                </a:cubicBezTo>
                <a:cubicBezTo>
                  <a:pt x="1955194" y="378041"/>
                  <a:pt x="1951549" y="374397"/>
                  <a:pt x="1951549" y="370754"/>
                </a:cubicBezTo>
                <a:cubicBezTo>
                  <a:pt x="1957015" y="372576"/>
                  <a:pt x="1958837" y="376220"/>
                  <a:pt x="1958837" y="381687"/>
                </a:cubicBezTo>
                <a:cubicBezTo>
                  <a:pt x="1964305" y="381687"/>
                  <a:pt x="1967948" y="379865"/>
                  <a:pt x="1966126" y="374397"/>
                </a:cubicBezTo>
                <a:cubicBezTo>
                  <a:pt x="1969770" y="374397"/>
                  <a:pt x="1969770" y="376220"/>
                  <a:pt x="1973416" y="376220"/>
                </a:cubicBezTo>
                <a:cubicBezTo>
                  <a:pt x="1975237" y="370754"/>
                  <a:pt x="1984348" y="372576"/>
                  <a:pt x="1986170" y="367109"/>
                </a:cubicBezTo>
                <a:cubicBezTo>
                  <a:pt x="1984348" y="368932"/>
                  <a:pt x="1975237" y="365287"/>
                  <a:pt x="1975237" y="370754"/>
                </a:cubicBezTo>
                <a:cubicBezTo>
                  <a:pt x="1971592" y="365287"/>
                  <a:pt x="1989814" y="359821"/>
                  <a:pt x="1995281" y="361642"/>
                </a:cubicBezTo>
                <a:cubicBezTo>
                  <a:pt x="1998925" y="359821"/>
                  <a:pt x="1997103" y="354354"/>
                  <a:pt x="2000747" y="354354"/>
                </a:cubicBezTo>
                <a:cubicBezTo>
                  <a:pt x="2002570" y="354354"/>
                  <a:pt x="2000747" y="359821"/>
                  <a:pt x="1998925" y="359821"/>
                </a:cubicBezTo>
                <a:cubicBezTo>
                  <a:pt x="2004392" y="368932"/>
                  <a:pt x="2011680" y="361642"/>
                  <a:pt x="2017147" y="365287"/>
                </a:cubicBezTo>
                <a:cubicBezTo>
                  <a:pt x="2017147" y="359821"/>
                  <a:pt x="2024436" y="363465"/>
                  <a:pt x="2028080" y="363465"/>
                </a:cubicBezTo>
                <a:lnTo>
                  <a:pt x="2020680" y="356064"/>
                </a:lnTo>
                <a:lnTo>
                  <a:pt x="2043341" y="354581"/>
                </a:lnTo>
                <a:cubicBezTo>
                  <a:pt x="2050402" y="352532"/>
                  <a:pt x="2055413" y="348887"/>
                  <a:pt x="2055413" y="343421"/>
                </a:cubicBezTo>
                <a:cubicBezTo>
                  <a:pt x="2064524" y="354354"/>
                  <a:pt x="2084568" y="336133"/>
                  <a:pt x="2090034" y="345242"/>
                </a:cubicBezTo>
                <a:cubicBezTo>
                  <a:pt x="2090034" y="339777"/>
                  <a:pt x="2091856" y="332488"/>
                  <a:pt x="2091856" y="327022"/>
                </a:cubicBezTo>
                <a:cubicBezTo>
                  <a:pt x="2082745" y="330666"/>
                  <a:pt x="2075457" y="337954"/>
                  <a:pt x="2066346" y="341598"/>
                </a:cubicBezTo>
                <a:cubicBezTo>
                  <a:pt x="2071812" y="330666"/>
                  <a:pt x="2084568" y="328844"/>
                  <a:pt x="2091856" y="321555"/>
                </a:cubicBezTo>
                <a:cubicBezTo>
                  <a:pt x="2093679" y="316089"/>
                  <a:pt x="2091856" y="312444"/>
                  <a:pt x="2090034" y="308800"/>
                </a:cubicBezTo>
                <a:cubicBezTo>
                  <a:pt x="2079101" y="308800"/>
                  <a:pt x="2064524" y="310622"/>
                  <a:pt x="2057235" y="306978"/>
                </a:cubicBezTo>
                <a:cubicBezTo>
                  <a:pt x="2057235" y="310622"/>
                  <a:pt x="2057235" y="312444"/>
                  <a:pt x="2059057" y="314266"/>
                </a:cubicBezTo>
                <a:cubicBezTo>
                  <a:pt x="2057235" y="317911"/>
                  <a:pt x="2055413" y="310622"/>
                  <a:pt x="2053590" y="310622"/>
                </a:cubicBezTo>
                <a:cubicBezTo>
                  <a:pt x="2051768" y="312444"/>
                  <a:pt x="2057235" y="314266"/>
                  <a:pt x="2055413" y="317911"/>
                </a:cubicBezTo>
                <a:cubicBezTo>
                  <a:pt x="2051768" y="319733"/>
                  <a:pt x="2048124" y="321555"/>
                  <a:pt x="2048124" y="325199"/>
                </a:cubicBezTo>
                <a:cubicBezTo>
                  <a:pt x="2044479" y="323377"/>
                  <a:pt x="2049946" y="319733"/>
                  <a:pt x="2046302" y="317911"/>
                </a:cubicBezTo>
                <a:cubicBezTo>
                  <a:pt x="2044479" y="319733"/>
                  <a:pt x="2042657" y="325199"/>
                  <a:pt x="2039013" y="319733"/>
                </a:cubicBezTo>
                <a:cubicBezTo>
                  <a:pt x="2035369" y="321555"/>
                  <a:pt x="2033546" y="323377"/>
                  <a:pt x="2031724" y="327022"/>
                </a:cubicBezTo>
                <a:cubicBezTo>
                  <a:pt x="2029902" y="325199"/>
                  <a:pt x="2028080" y="323377"/>
                  <a:pt x="2028080" y="317911"/>
                </a:cubicBezTo>
                <a:cubicBezTo>
                  <a:pt x="2024436" y="319733"/>
                  <a:pt x="2024436" y="314266"/>
                  <a:pt x="2017147" y="316089"/>
                </a:cubicBezTo>
                <a:cubicBezTo>
                  <a:pt x="2020791" y="310622"/>
                  <a:pt x="2020791" y="310622"/>
                  <a:pt x="2022613" y="305155"/>
                </a:cubicBezTo>
                <a:cubicBezTo>
                  <a:pt x="2024436" y="306978"/>
                  <a:pt x="2029902" y="305155"/>
                  <a:pt x="2029902" y="310622"/>
                </a:cubicBezTo>
                <a:cubicBezTo>
                  <a:pt x="2033546" y="305155"/>
                  <a:pt x="2048124" y="306978"/>
                  <a:pt x="2048124" y="314266"/>
                </a:cubicBezTo>
                <a:cubicBezTo>
                  <a:pt x="2049946" y="314266"/>
                  <a:pt x="2046302" y="305155"/>
                  <a:pt x="2051768" y="303333"/>
                </a:cubicBezTo>
                <a:cubicBezTo>
                  <a:pt x="2046302" y="294223"/>
                  <a:pt x="2039013" y="301511"/>
                  <a:pt x="2033546" y="294223"/>
                </a:cubicBezTo>
                <a:cubicBezTo>
                  <a:pt x="2033546" y="297867"/>
                  <a:pt x="2037191" y="297867"/>
                  <a:pt x="2035369" y="301511"/>
                </a:cubicBezTo>
                <a:cubicBezTo>
                  <a:pt x="2029902" y="303333"/>
                  <a:pt x="2029902" y="297867"/>
                  <a:pt x="2024436" y="297867"/>
                </a:cubicBezTo>
                <a:cubicBezTo>
                  <a:pt x="2024436" y="299689"/>
                  <a:pt x="2024436" y="299689"/>
                  <a:pt x="2024436" y="301511"/>
                </a:cubicBezTo>
                <a:cubicBezTo>
                  <a:pt x="2015325" y="296045"/>
                  <a:pt x="2004392" y="310622"/>
                  <a:pt x="1993459" y="314266"/>
                </a:cubicBezTo>
                <a:cubicBezTo>
                  <a:pt x="1995281" y="323377"/>
                  <a:pt x="1991638" y="327022"/>
                  <a:pt x="1987992" y="330666"/>
                </a:cubicBezTo>
                <a:cubicBezTo>
                  <a:pt x="1984348" y="330666"/>
                  <a:pt x="1984348" y="327022"/>
                  <a:pt x="1980703" y="328844"/>
                </a:cubicBezTo>
                <a:cubicBezTo>
                  <a:pt x="1984348" y="330666"/>
                  <a:pt x="1984348" y="336133"/>
                  <a:pt x="1982527" y="339777"/>
                </a:cubicBezTo>
                <a:cubicBezTo>
                  <a:pt x="1977059" y="339777"/>
                  <a:pt x="1973416" y="334310"/>
                  <a:pt x="1973416" y="328844"/>
                </a:cubicBezTo>
                <a:cubicBezTo>
                  <a:pt x="1967948" y="330666"/>
                  <a:pt x="1973416" y="345242"/>
                  <a:pt x="1969770" y="348888"/>
                </a:cubicBezTo>
                <a:cubicBezTo>
                  <a:pt x="1966126" y="347066"/>
                  <a:pt x="1966126" y="339777"/>
                  <a:pt x="1966126" y="334310"/>
                </a:cubicBezTo>
                <a:cubicBezTo>
                  <a:pt x="1951549" y="341598"/>
                  <a:pt x="1940616" y="345242"/>
                  <a:pt x="1931505" y="354354"/>
                </a:cubicBezTo>
                <a:cubicBezTo>
                  <a:pt x="1931505" y="352532"/>
                  <a:pt x="1931505" y="350710"/>
                  <a:pt x="1929683" y="348888"/>
                </a:cubicBezTo>
                <a:cubicBezTo>
                  <a:pt x="1929683" y="348888"/>
                  <a:pt x="1929683" y="347066"/>
                  <a:pt x="1929683" y="347066"/>
                </a:cubicBezTo>
                <a:cubicBezTo>
                  <a:pt x="1929683" y="347066"/>
                  <a:pt x="1927861" y="347066"/>
                  <a:pt x="1927861" y="347066"/>
                </a:cubicBezTo>
                <a:lnTo>
                  <a:pt x="1923991" y="343970"/>
                </a:lnTo>
                <a:lnTo>
                  <a:pt x="1922393" y="343438"/>
                </a:lnTo>
                <a:lnTo>
                  <a:pt x="1922717" y="342951"/>
                </a:lnTo>
                <a:lnTo>
                  <a:pt x="1918750" y="339777"/>
                </a:lnTo>
                <a:lnTo>
                  <a:pt x="1923553" y="341698"/>
                </a:lnTo>
                <a:lnTo>
                  <a:pt x="1926038" y="337971"/>
                </a:lnTo>
                <a:cubicBezTo>
                  <a:pt x="1927861" y="337971"/>
                  <a:pt x="1926038" y="341616"/>
                  <a:pt x="1927861" y="341616"/>
                </a:cubicBezTo>
                <a:cubicBezTo>
                  <a:pt x="1927861" y="339794"/>
                  <a:pt x="1927861" y="337971"/>
                  <a:pt x="1927861" y="336149"/>
                </a:cubicBezTo>
                <a:cubicBezTo>
                  <a:pt x="1927861" y="337971"/>
                  <a:pt x="1929682" y="339794"/>
                  <a:pt x="1931504" y="341616"/>
                </a:cubicBezTo>
                <a:lnTo>
                  <a:pt x="1930601" y="343421"/>
                </a:lnTo>
                <a:lnTo>
                  <a:pt x="1933327" y="343421"/>
                </a:lnTo>
                <a:cubicBezTo>
                  <a:pt x="1935149" y="343421"/>
                  <a:pt x="1936972" y="345242"/>
                  <a:pt x="1938793" y="345242"/>
                </a:cubicBezTo>
                <a:cubicBezTo>
                  <a:pt x="1940616" y="343421"/>
                  <a:pt x="1938793" y="341598"/>
                  <a:pt x="1938793" y="339777"/>
                </a:cubicBezTo>
                <a:cubicBezTo>
                  <a:pt x="1944260" y="330666"/>
                  <a:pt x="1947904" y="334310"/>
                  <a:pt x="1958837" y="332488"/>
                </a:cubicBezTo>
                <a:cubicBezTo>
                  <a:pt x="1958837" y="328844"/>
                  <a:pt x="1958837" y="325199"/>
                  <a:pt x="1957015" y="323377"/>
                </a:cubicBezTo>
                <a:cubicBezTo>
                  <a:pt x="1953371" y="323377"/>
                  <a:pt x="1953371" y="327022"/>
                  <a:pt x="1953371" y="330666"/>
                </a:cubicBezTo>
                <a:cubicBezTo>
                  <a:pt x="1951549" y="330666"/>
                  <a:pt x="1953371" y="325199"/>
                  <a:pt x="1951549" y="325199"/>
                </a:cubicBezTo>
                <a:cubicBezTo>
                  <a:pt x="1949726" y="325199"/>
                  <a:pt x="1951549" y="325199"/>
                  <a:pt x="1951549" y="327022"/>
                </a:cubicBezTo>
                <a:cubicBezTo>
                  <a:pt x="1947904" y="325199"/>
                  <a:pt x="1944260" y="321555"/>
                  <a:pt x="1940616" y="319733"/>
                </a:cubicBezTo>
                <a:cubicBezTo>
                  <a:pt x="1940616" y="316089"/>
                  <a:pt x="1942438" y="312444"/>
                  <a:pt x="1942438" y="308800"/>
                </a:cubicBezTo>
                <a:cubicBezTo>
                  <a:pt x="1944260" y="306978"/>
                  <a:pt x="1946083" y="312444"/>
                  <a:pt x="1947904" y="308800"/>
                </a:cubicBezTo>
                <a:cubicBezTo>
                  <a:pt x="1947904" y="306978"/>
                  <a:pt x="1944260" y="305155"/>
                  <a:pt x="1942438" y="305155"/>
                </a:cubicBezTo>
                <a:cubicBezTo>
                  <a:pt x="1938793" y="308800"/>
                  <a:pt x="1935149" y="314266"/>
                  <a:pt x="1940616" y="316089"/>
                </a:cubicBezTo>
                <a:cubicBezTo>
                  <a:pt x="1933327" y="317911"/>
                  <a:pt x="1931505" y="310622"/>
                  <a:pt x="1926038" y="310622"/>
                </a:cubicBezTo>
                <a:cubicBezTo>
                  <a:pt x="1926038" y="314266"/>
                  <a:pt x="1926038" y="317911"/>
                  <a:pt x="1927861" y="321555"/>
                </a:cubicBezTo>
                <a:cubicBezTo>
                  <a:pt x="1926038" y="319733"/>
                  <a:pt x="1926038" y="316089"/>
                  <a:pt x="1922394" y="314266"/>
                </a:cubicBezTo>
                <a:cubicBezTo>
                  <a:pt x="1922394" y="317911"/>
                  <a:pt x="1926038" y="321555"/>
                  <a:pt x="1924216" y="327022"/>
                </a:cubicBezTo>
                <a:cubicBezTo>
                  <a:pt x="1920572" y="321555"/>
                  <a:pt x="1918750" y="316089"/>
                  <a:pt x="1916927" y="310622"/>
                </a:cubicBezTo>
                <a:cubicBezTo>
                  <a:pt x="1919660" y="311533"/>
                  <a:pt x="1921027" y="308799"/>
                  <a:pt x="1921027" y="306066"/>
                </a:cubicBezTo>
                <a:lnTo>
                  <a:pt x="1920364" y="305329"/>
                </a:lnTo>
                <a:lnTo>
                  <a:pt x="1922394" y="299689"/>
                </a:lnTo>
                <a:lnTo>
                  <a:pt x="1919163" y="303996"/>
                </a:lnTo>
                <a:lnTo>
                  <a:pt x="1916927" y="301511"/>
                </a:lnTo>
                <a:cubicBezTo>
                  <a:pt x="1915105" y="301511"/>
                  <a:pt x="1916927" y="306978"/>
                  <a:pt x="1915105" y="308800"/>
                </a:cubicBezTo>
                <a:lnTo>
                  <a:pt x="1911786" y="304614"/>
                </a:lnTo>
                <a:lnTo>
                  <a:pt x="1916927" y="296045"/>
                </a:lnTo>
                <a:cubicBezTo>
                  <a:pt x="1916927" y="296045"/>
                  <a:pt x="1918750" y="296045"/>
                  <a:pt x="1918750" y="294223"/>
                </a:cubicBezTo>
                <a:cubicBezTo>
                  <a:pt x="1918750" y="294223"/>
                  <a:pt x="1916927" y="294223"/>
                  <a:pt x="1916927" y="294223"/>
                </a:cubicBezTo>
                <a:cubicBezTo>
                  <a:pt x="1916927" y="292400"/>
                  <a:pt x="1915105" y="288756"/>
                  <a:pt x="1913283" y="286934"/>
                </a:cubicBezTo>
                <a:cubicBezTo>
                  <a:pt x="1913283" y="288756"/>
                  <a:pt x="1913283" y="288756"/>
                  <a:pt x="1913283" y="290578"/>
                </a:cubicBezTo>
                <a:cubicBezTo>
                  <a:pt x="1913283" y="286934"/>
                  <a:pt x="1913283" y="283289"/>
                  <a:pt x="1911461" y="281467"/>
                </a:cubicBezTo>
                <a:cubicBezTo>
                  <a:pt x="1916927" y="279645"/>
                  <a:pt x="1920572" y="276001"/>
                  <a:pt x="1918750" y="270534"/>
                </a:cubicBezTo>
                <a:cubicBezTo>
                  <a:pt x="1915105" y="270534"/>
                  <a:pt x="1913283" y="274179"/>
                  <a:pt x="1911461" y="272356"/>
                </a:cubicBezTo>
                <a:cubicBezTo>
                  <a:pt x="1907816" y="263246"/>
                  <a:pt x="1918750" y="266890"/>
                  <a:pt x="1918750" y="261423"/>
                </a:cubicBezTo>
                <a:cubicBezTo>
                  <a:pt x="1922394" y="266890"/>
                  <a:pt x="1916927" y="274179"/>
                  <a:pt x="1920572" y="281467"/>
                </a:cubicBezTo>
                <a:cubicBezTo>
                  <a:pt x="1924216" y="276001"/>
                  <a:pt x="1924216" y="270534"/>
                  <a:pt x="1931505" y="268712"/>
                </a:cubicBezTo>
                <a:cubicBezTo>
                  <a:pt x="1929683" y="270534"/>
                  <a:pt x="1927861" y="276001"/>
                  <a:pt x="1933327" y="277823"/>
                </a:cubicBezTo>
                <a:cubicBezTo>
                  <a:pt x="1935149" y="274179"/>
                  <a:pt x="1938793" y="274179"/>
                  <a:pt x="1940616" y="272356"/>
                </a:cubicBezTo>
                <a:cubicBezTo>
                  <a:pt x="1940616" y="268712"/>
                  <a:pt x="1938793" y="265068"/>
                  <a:pt x="1938793" y="261423"/>
                </a:cubicBezTo>
                <a:cubicBezTo>
                  <a:pt x="1946083" y="261423"/>
                  <a:pt x="1951549" y="259601"/>
                  <a:pt x="1955194" y="261423"/>
                </a:cubicBezTo>
                <a:lnTo>
                  <a:pt x="1954972" y="259877"/>
                </a:lnTo>
                <a:lnTo>
                  <a:pt x="1958382" y="260057"/>
                </a:lnTo>
                <a:cubicBezTo>
                  <a:pt x="1961115" y="259601"/>
                  <a:pt x="1963393" y="259601"/>
                  <a:pt x="1964305" y="263246"/>
                </a:cubicBezTo>
                <a:cubicBezTo>
                  <a:pt x="1964305" y="268712"/>
                  <a:pt x="1957015" y="270534"/>
                  <a:pt x="1953371" y="268712"/>
                </a:cubicBezTo>
                <a:lnTo>
                  <a:pt x="1953371" y="272356"/>
                </a:lnTo>
                <a:cubicBezTo>
                  <a:pt x="1958837" y="265068"/>
                  <a:pt x="1966126" y="272356"/>
                  <a:pt x="1973416" y="270534"/>
                </a:cubicBezTo>
                <a:cubicBezTo>
                  <a:pt x="1973416" y="274179"/>
                  <a:pt x="1977059" y="272356"/>
                  <a:pt x="1978881" y="272356"/>
                </a:cubicBezTo>
                <a:lnTo>
                  <a:pt x="1978881" y="274179"/>
                </a:lnTo>
                <a:cubicBezTo>
                  <a:pt x="1980703" y="274179"/>
                  <a:pt x="1980703" y="276001"/>
                  <a:pt x="1980703" y="276001"/>
                </a:cubicBezTo>
                <a:cubicBezTo>
                  <a:pt x="1982527" y="276001"/>
                  <a:pt x="1982527" y="274179"/>
                  <a:pt x="1980703" y="274179"/>
                </a:cubicBezTo>
                <a:cubicBezTo>
                  <a:pt x="1980703" y="270534"/>
                  <a:pt x="1987992" y="272356"/>
                  <a:pt x="1987992" y="268712"/>
                </a:cubicBezTo>
                <a:cubicBezTo>
                  <a:pt x="1989814" y="270534"/>
                  <a:pt x="1995281" y="274179"/>
                  <a:pt x="1995281" y="268712"/>
                </a:cubicBezTo>
                <a:cubicBezTo>
                  <a:pt x="1998925" y="274179"/>
                  <a:pt x="2000747" y="270534"/>
                  <a:pt x="2002570" y="274179"/>
                </a:cubicBezTo>
                <a:cubicBezTo>
                  <a:pt x="2000747" y="274179"/>
                  <a:pt x="1995281" y="276001"/>
                  <a:pt x="1995281" y="276001"/>
                </a:cubicBezTo>
                <a:cubicBezTo>
                  <a:pt x="1991638" y="277823"/>
                  <a:pt x="1997103" y="281467"/>
                  <a:pt x="1997103" y="283289"/>
                </a:cubicBezTo>
                <a:cubicBezTo>
                  <a:pt x="1995281" y="283289"/>
                  <a:pt x="1993459" y="283289"/>
                  <a:pt x="1993459" y="281467"/>
                </a:cubicBezTo>
                <a:cubicBezTo>
                  <a:pt x="1989814" y="283289"/>
                  <a:pt x="1995281" y="285112"/>
                  <a:pt x="1993459" y="288756"/>
                </a:cubicBezTo>
                <a:cubicBezTo>
                  <a:pt x="1998925" y="288756"/>
                  <a:pt x="2006214" y="288756"/>
                  <a:pt x="2006214" y="281467"/>
                </a:cubicBezTo>
                <a:cubicBezTo>
                  <a:pt x="2008036" y="281467"/>
                  <a:pt x="2008036" y="283289"/>
                  <a:pt x="2009858" y="283289"/>
                </a:cubicBezTo>
                <a:cubicBezTo>
                  <a:pt x="2009858" y="285112"/>
                  <a:pt x="2009858" y="286934"/>
                  <a:pt x="2006214" y="286934"/>
                </a:cubicBezTo>
                <a:cubicBezTo>
                  <a:pt x="2008036" y="292400"/>
                  <a:pt x="2009858" y="296045"/>
                  <a:pt x="2009858" y="301511"/>
                </a:cubicBezTo>
                <a:cubicBezTo>
                  <a:pt x="2017147" y="301511"/>
                  <a:pt x="2020791" y="296045"/>
                  <a:pt x="2026258" y="296045"/>
                </a:cubicBezTo>
                <a:cubicBezTo>
                  <a:pt x="2028080" y="292400"/>
                  <a:pt x="2026258" y="286934"/>
                  <a:pt x="2024436" y="285112"/>
                </a:cubicBezTo>
                <a:cubicBezTo>
                  <a:pt x="2026258" y="283289"/>
                  <a:pt x="2029902" y="283289"/>
                  <a:pt x="2033546" y="283289"/>
                </a:cubicBezTo>
                <a:cubicBezTo>
                  <a:pt x="2029902" y="281467"/>
                  <a:pt x="2029902" y="290578"/>
                  <a:pt x="2028080" y="285112"/>
                </a:cubicBezTo>
                <a:cubicBezTo>
                  <a:pt x="2024436" y="285112"/>
                  <a:pt x="2029902" y="288756"/>
                  <a:pt x="2028080" y="290578"/>
                </a:cubicBezTo>
                <a:cubicBezTo>
                  <a:pt x="2029902" y="290578"/>
                  <a:pt x="2031724" y="290578"/>
                  <a:pt x="2033546" y="290578"/>
                </a:cubicBezTo>
                <a:cubicBezTo>
                  <a:pt x="2033546" y="288756"/>
                  <a:pt x="2033546" y="285112"/>
                  <a:pt x="2033546" y="283289"/>
                </a:cubicBezTo>
                <a:cubicBezTo>
                  <a:pt x="2031724" y="274179"/>
                  <a:pt x="2035369" y="266890"/>
                  <a:pt x="2040835" y="263246"/>
                </a:cubicBezTo>
                <a:cubicBezTo>
                  <a:pt x="2022613" y="263246"/>
                  <a:pt x="2002570" y="265068"/>
                  <a:pt x="1980703" y="266890"/>
                </a:cubicBezTo>
                <a:lnTo>
                  <a:pt x="1980703" y="265068"/>
                </a:lnTo>
                <a:cubicBezTo>
                  <a:pt x="1971592" y="265068"/>
                  <a:pt x="1978881" y="259601"/>
                  <a:pt x="1973416" y="257779"/>
                </a:cubicBezTo>
                <a:cubicBezTo>
                  <a:pt x="1973416" y="257779"/>
                  <a:pt x="1973416" y="257779"/>
                  <a:pt x="1973416" y="259601"/>
                </a:cubicBezTo>
                <a:cubicBezTo>
                  <a:pt x="1966126" y="259601"/>
                  <a:pt x="1971592" y="250490"/>
                  <a:pt x="1967948" y="248668"/>
                </a:cubicBezTo>
                <a:cubicBezTo>
                  <a:pt x="1964305" y="252313"/>
                  <a:pt x="1966126" y="255957"/>
                  <a:pt x="1966126" y="259601"/>
                </a:cubicBezTo>
                <a:cubicBezTo>
                  <a:pt x="1964305" y="254134"/>
                  <a:pt x="1962937" y="248668"/>
                  <a:pt x="1960659" y="243884"/>
                </a:cubicBezTo>
                <a:lnTo>
                  <a:pt x="1951435" y="234084"/>
                </a:lnTo>
                <a:lnTo>
                  <a:pt x="1947904" y="226802"/>
                </a:lnTo>
                <a:cubicBezTo>
                  <a:pt x="1946083" y="230446"/>
                  <a:pt x="1949726" y="232269"/>
                  <a:pt x="1949726" y="234091"/>
                </a:cubicBezTo>
                <a:cubicBezTo>
                  <a:pt x="1942438" y="230446"/>
                  <a:pt x="1942438" y="214047"/>
                  <a:pt x="1936972" y="219513"/>
                </a:cubicBezTo>
                <a:cubicBezTo>
                  <a:pt x="1931505" y="228624"/>
                  <a:pt x="1927861" y="219513"/>
                  <a:pt x="1926038" y="226802"/>
                </a:cubicBezTo>
                <a:cubicBezTo>
                  <a:pt x="1926038" y="223158"/>
                  <a:pt x="1922394" y="223158"/>
                  <a:pt x="1922394" y="221336"/>
                </a:cubicBezTo>
                <a:cubicBezTo>
                  <a:pt x="1927861" y="210403"/>
                  <a:pt x="1949726" y="223158"/>
                  <a:pt x="1944260" y="208580"/>
                </a:cubicBezTo>
                <a:cubicBezTo>
                  <a:pt x="1953371" y="212225"/>
                  <a:pt x="1953371" y="221336"/>
                  <a:pt x="1955194" y="228624"/>
                </a:cubicBezTo>
                <a:cubicBezTo>
                  <a:pt x="1955194" y="230446"/>
                  <a:pt x="1960659" y="234091"/>
                  <a:pt x="1962482" y="232269"/>
                </a:cubicBezTo>
                <a:cubicBezTo>
                  <a:pt x="1966126" y="230446"/>
                  <a:pt x="1962482" y="223158"/>
                  <a:pt x="1967948" y="221336"/>
                </a:cubicBezTo>
                <a:cubicBezTo>
                  <a:pt x="1967948" y="224980"/>
                  <a:pt x="1964305" y="232269"/>
                  <a:pt x="1971592" y="232269"/>
                </a:cubicBezTo>
                <a:cubicBezTo>
                  <a:pt x="1969770" y="230446"/>
                  <a:pt x="1969770" y="228624"/>
                  <a:pt x="1971592" y="228624"/>
                </a:cubicBezTo>
                <a:cubicBezTo>
                  <a:pt x="1975237" y="228624"/>
                  <a:pt x="1978881" y="230446"/>
                  <a:pt x="1982527" y="232269"/>
                </a:cubicBezTo>
                <a:cubicBezTo>
                  <a:pt x="1975237" y="224980"/>
                  <a:pt x="1984348" y="219513"/>
                  <a:pt x="1989814" y="214047"/>
                </a:cubicBezTo>
                <a:cubicBezTo>
                  <a:pt x="1989814" y="217691"/>
                  <a:pt x="1989814" y="219513"/>
                  <a:pt x="1991638" y="221336"/>
                </a:cubicBezTo>
                <a:cubicBezTo>
                  <a:pt x="1995281" y="221336"/>
                  <a:pt x="2002570" y="223158"/>
                  <a:pt x="1998925" y="224980"/>
                </a:cubicBezTo>
                <a:lnTo>
                  <a:pt x="1998925" y="232269"/>
                </a:lnTo>
                <a:lnTo>
                  <a:pt x="1998925" y="235913"/>
                </a:lnTo>
                <a:cubicBezTo>
                  <a:pt x="1995281" y="235913"/>
                  <a:pt x="1991638" y="230446"/>
                  <a:pt x="1989814" y="232269"/>
                </a:cubicBezTo>
                <a:cubicBezTo>
                  <a:pt x="1980703" y="239557"/>
                  <a:pt x="1997103" y="243202"/>
                  <a:pt x="2002570" y="239557"/>
                </a:cubicBezTo>
                <a:cubicBezTo>
                  <a:pt x="2006214" y="235913"/>
                  <a:pt x="1997103" y="234091"/>
                  <a:pt x="1998925" y="232269"/>
                </a:cubicBezTo>
                <a:cubicBezTo>
                  <a:pt x="2000747" y="228624"/>
                  <a:pt x="2004392" y="237735"/>
                  <a:pt x="2006214" y="235913"/>
                </a:cubicBezTo>
                <a:cubicBezTo>
                  <a:pt x="2009858" y="232269"/>
                  <a:pt x="2008036" y="223158"/>
                  <a:pt x="2000747" y="221336"/>
                </a:cubicBezTo>
                <a:cubicBezTo>
                  <a:pt x="2009858" y="221336"/>
                  <a:pt x="2011680" y="234091"/>
                  <a:pt x="2017147" y="241379"/>
                </a:cubicBezTo>
                <a:cubicBezTo>
                  <a:pt x="2020791" y="235913"/>
                  <a:pt x="2028080" y="241379"/>
                  <a:pt x="2029902" y="245024"/>
                </a:cubicBezTo>
                <a:cubicBezTo>
                  <a:pt x="2026258" y="245024"/>
                  <a:pt x="2020791" y="248668"/>
                  <a:pt x="2017147" y="243202"/>
                </a:cubicBezTo>
                <a:cubicBezTo>
                  <a:pt x="2018969" y="246846"/>
                  <a:pt x="2020791" y="252313"/>
                  <a:pt x="2024436" y="254135"/>
                </a:cubicBezTo>
                <a:cubicBezTo>
                  <a:pt x="2020791" y="252313"/>
                  <a:pt x="2018969" y="254135"/>
                  <a:pt x="2018969" y="255957"/>
                </a:cubicBezTo>
                <a:cubicBezTo>
                  <a:pt x="2018969" y="259601"/>
                  <a:pt x="2028080" y="259601"/>
                  <a:pt x="2029902" y="257779"/>
                </a:cubicBezTo>
                <a:cubicBezTo>
                  <a:pt x="2031724" y="255957"/>
                  <a:pt x="2031724" y="252313"/>
                  <a:pt x="2031724" y="250490"/>
                </a:cubicBezTo>
                <a:cubicBezTo>
                  <a:pt x="2031724" y="254135"/>
                  <a:pt x="2037191" y="257779"/>
                  <a:pt x="2039013" y="255957"/>
                </a:cubicBezTo>
                <a:cubicBezTo>
                  <a:pt x="2048124" y="243202"/>
                  <a:pt x="2035369" y="232269"/>
                  <a:pt x="2024436" y="223158"/>
                </a:cubicBezTo>
                <a:cubicBezTo>
                  <a:pt x="2028080" y="226802"/>
                  <a:pt x="2029902" y="226802"/>
                  <a:pt x="2035369" y="224980"/>
                </a:cubicBezTo>
                <a:cubicBezTo>
                  <a:pt x="2037191" y="223158"/>
                  <a:pt x="2039013" y="230446"/>
                  <a:pt x="2039013" y="228624"/>
                </a:cubicBezTo>
                <a:cubicBezTo>
                  <a:pt x="2042657" y="223158"/>
                  <a:pt x="2037191" y="212225"/>
                  <a:pt x="2028080" y="212225"/>
                </a:cubicBezTo>
                <a:cubicBezTo>
                  <a:pt x="2031724" y="206758"/>
                  <a:pt x="2028080" y="201292"/>
                  <a:pt x="2033546" y="195825"/>
                </a:cubicBezTo>
                <a:cubicBezTo>
                  <a:pt x="2035369" y="199469"/>
                  <a:pt x="2035369" y="204936"/>
                  <a:pt x="2040835" y="203114"/>
                </a:cubicBezTo>
                <a:cubicBezTo>
                  <a:pt x="2040835" y="203114"/>
                  <a:pt x="2040835" y="201292"/>
                  <a:pt x="2040835" y="199469"/>
                </a:cubicBezTo>
                <a:cubicBezTo>
                  <a:pt x="2042657" y="199469"/>
                  <a:pt x="2042657" y="203114"/>
                  <a:pt x="2044479" y="201292"/>
                </a:cubicBezTo>
                <a:cubicBezTo>
                  <a:pt x="2046302" y="197647"/>
                  <a:pt x="2040835" y="195825"/>
                  <a:pt x="2042657" y="194003"/>
                </a:cubicBezTo>
                <a:cubicBezTo>
                  <a:pt x="2046302" y="197647"/>
                  <a:pt x="2049946" y="201292"/>
                  <a:pt x="2048124" y="208580"/>
                </a:cubicBezTo>
                <a:cubicBezTo>
                  <a:pt x="2044479" y="206758"/>
                  <a:pt x="2044479" y="203114"/>
                  <a:pt x="2040835" y="204936"/>
                </a:cubicBezTo>
                <a:cubicBezTo>
                  <a:pt x="2042657" y="208580"/>
                  <a:pt x="2040835" y="208580"/>
                  <a:pt x="2039013" y="210403"/>
                </a:cubicBezTo>
                <a:cubicBezTo>
                  <a:pt x="2039013" y="206758"/>
                  <a:pt x="2037191" y="203114"/>
                  <a:pt x="2033546" y="204936"/>
                </a:cubicBezTo>
                <a:cubicBezTo>
                  <a:pt x="2044479" y="219513"/>
                  <a:pt x="2044479" y="237735"/>
                  <a:pt x="2042657" y="254135"/>
                </a:cubicBezTo>
                <a:cubicBezTo>
                  <a:pt x="2042657" y="257779"/>
                  <a:pt x="2051768" y="257779"/>
                  <a:pt x="2049946" y="263246"/>
                </a:cubicBezTo>
                <a:cubicBezTo>
                  <a:pt x="2044479" y="265068"/>
                  <a:pt x="2042657" y="277823"/>
                  <a:pt x="2048124" y="285112"/>
                </a:cubicBezTo>
                <a:cubicBezTo>
                  <a:pt x="2051768" y="283289"/>
                  <a:pt x="2049946" y="281467"/>
                  <a:pt x="2053590" y="283289"/>
                </a:cubicBezTo>
                <a:cubicBezTo>
                  <a:pt x="2060879" y="301511"/>
                  <a:pt x="2088212" y="308800"/>
                  <a:pt x="2102790" y="299689"/>
                </a:cubicBezTo>
                <a:cubicBezTo>
                  <a:pt x="2102790" y="306978"/>
                  <a:pt x="2113722" y="306978"/>
                  <a:pt x="2113722" y="301511"/>
                </a:cubicBezTo>
                <a:cubicBezTo>
                  <a:pt x="2113722" y="305155"/>
                  <a:pt x="2115544" y="305155"/>
                  <a:pt x="2117366" y="306978"/>
                </a:cubicBezTo>
                <a:cubicBezTo>
                  <a:pt x="2115544" y="299689"/>
                  <a:pt x="2121011" y="305155"/>
                  <a:pt x="2124655" y="305155"/>
                </a:cubicBezTo>
                <a:cubicBezTo>
                  <a:pt x="2124655" y="303333"/>
                  <a:pt x="2124655" y="299689"/>
                  <a:pt x="2128300" y="299689"/>
                </a:cubicBezTo>
                <a:cubicBezTo>
                  <a:pt x="2128300" y="303333"/>
                  <a:pt x="2128300" y="306978"/>
                  <a:pt x="2131944" y="305155"/>
                </a:cubicBezTo>
                <a:cubicBezTo>
                  <a:pt x="2128300" y="303333"/>
                  <a:pt x="2126477" y="292400"/>
                  <a:pt x="2128300" y="288756"/>
                </a:cubicBezTo>
                <a:cubicBezTo>
                  <a:pt x="2128300" y="294223"/>
                  <a:pt x="2131944" y="285112"/>
                  <a:pt x="2131944" y="290578"/>
                </a:cubicBezTo>
                <a:cubicBezTo>
                  <a:pt x="2124655" y="297867"/>
                  <a:pt x="2131944" y="306978"/>
                  <a:pt x="2139233" y="306978"/>
                </a:cubicBezTo>
                <a:cubicBezTo>
                  <a:pt x="2139233" y="297867"/>
                  <a:pt x="2137410" y="294223"/>
                  <a:pt x="2139233" y="286934"/>
                </a:cubicBezTo>
                <a:cubicBezTo>
                  <a:pt x="2142877" y="288756"/>
                  <a:pt x="2137410" y="296045"/>
                  <a:pt x="2141055" y="297867"/>
                </a:cubicBezTo>
                <a:cubicBezTo>
                  <a:pt x="2142877" y="292400"/>
                  <a:pt x="2146521" y="290578"/>
                  <a:pt x="2150166" y="290578"/>
                </a:cubicBezTo>
                <a:cubicBezTo>
                  <a:pt x="2157454" y="296045"/>
                  <a:pt x="2148344" y="305155"/>
                  <a:pt x="2153810" y="306978"/>
                </a:cubicBezTo>
                <a:cubicBezTo>
                  <a:pt x="2155632" y="305155"/>
                  <a:pt x="2153810" y="303333"/>
                  <a:pt x="2155632" y="303333"/>
                </a:cubicBezTo>
                <a:cubicBezTo>
                  <a:pt x="2157454" y="319733"/>
                  <a:pt x="2168387" y="332488"/>
                  <a:pt x="2181143" y="339777"/>
                </a:cubicBezTo>
                <a:cubicBezTo>
                  <a:pt x="2182965" y="334310"/>
                  <a:pt x="2172032" y="325199"/>
                  <a:pt x="2177498" y="319733"/>
                </a:cubicBezTo>
                <a:cubicBezTo>
                  <a:pt x="2177498" y="330666"/>
                  <a:pt x="2184787" y="332488"/>
                  <a:pt x="2186609" y="343421"/>
                </a:cubicBezTo>
                <a:cubicBezTo>
                  <a:pt x="2182965" y="345242"/>
                  <a:pt x="2181143" y="339777"/>
                  <a:pt x="2181143" y="343421"/>
                </a:cubicBezTo>
                <a:cubicBezTo>
                  <a:pt x="2184787" y="345242"/>
                  <a:pt x="2186609" y="350710"/>
                  <a:pt x="2190253" y="352532"/>
                </a:cubicBezTo>
                <a:cubicBezTo>
                  <a:pt x="2192076" y="345242"/>
                  <a:pt x="2192076" y="336133"/>
                  <a:pt x="2188431" y="327022"/>
                </a:cubicBezTo>
                <a:cubicBezTo>
                  <a:pt x="2197542" y="327022"/>
                  <a:pt x="2195720" y="308800"/>
                  <a:pt x="2192076" y="305155"/>
                </a:cubicBezTo>
                <a:cubicBezTo>
                  <a:pt x="2192076" y="308800"/>
                  <a:pt x="2192076" y="310622"/>
                  <a:pt x="2192076" y="314266"/>
                </a:cubicBezTo>
                <a:cubicBezTo>
                  <a:pt x="2188431" y="316089"/>
                  <a:pt x="2186609" y="312444"/>
                  <a:pt x="2184787" y="312444"/>
                </a:cubicBezTo>
                <a:cubicBezTo>
                  <a:pt x="2186609" y="306978"/>
                  <a:pt x="2184787" y="305155"/>
                  <a:pt x="2182965" y="299689"/>
                </a:cubicBezTo>
                <a:cubicBezTo>
                  <a:pt x="2186609" y="296045"/>
                  <a:pt x="2188431" y="303333"/>
                  <a:pt x="2193898" y="301511"/>
                </a:cubicBezTo>
                <a:cubicBezTo>
                  <a:pt x="2192076" y="292400"/>
                  <a:pt x="2199364" y="281467"/>
                  <a:pt x="2193898" y="276001"/>
                </a:cubicBezTo>
                <a:cubicBezTo>
                  <a:pt x="2195720" y="279645"/>
                  <a:pt x="2192076" y="277823"/>
                  <a:pt x="2190253" y="279645"/>
                </a:cubicBezTo>
                <a:cubicBezTo>
                  <a:pt x="2188431" y="272356"/>
                  <a:pt x="2197542" y="274179"/>
                  <a:pt x="2199364" y="268712"/>
                </a:cubicBezTo>
                <a:cubicBezTo>
                  <a:pt x="2204831" y="250490"/>
                  <a:pt x="2188431" y="241379"/>
                  <a:pt x="2173854" y="245024"/>
                </a:cubicBezTo>
                <a:cubicBezTo>
                  <a:pt x="2164743" y="241379"/>
                  <a:pt x="2142877" y="235913"/>
                  <a:pt x="2135588" y="243202"/>
                </a:cubicBezTo>
                <a:cubicBezTo>
                  <a:pt x="2137410" y="245024"/>
                  <a:pt x="2141055" y="250490"/>
                  <a:pt x="2137410" y="250490"/>
                </a:cubicBezTo>
                <a:cubicBezTo>
                  <a:pt x="2135588" y="246846"/>
                  <a:pt x="2130122" y="246846"/>
                  <a:pt x="2128300" y="243202"/>
                </a:cubicBezTo>
                <a:cubicBezTo>
                  <a:pt x="2135588" y="245024"/>
                  <a:pt x="2135588" y="241379"/>
                  <a:pt x="2137410" y="237735"/>
                </a:cubicBezTo>
                <a:cubicBezTo>
                  <a:pt x="2151988" y="239557"/>
                  <a:pt x="2166565" y="241379"/>
                  <a:pt x="2182965" y="241379"/>
                </a:cubicBezTo>
                <a:cubicBezTo>
                  <a:pt x="2182965" y="239557"/>
                  <a:pt x="2184787" y="239557"/>
                  <a:pt x="2184787" y="237735"/>
                </a:cubicBezTo>
                <a:cubicBezTo>
                  <a:pt x="2184787" y="232269"/>
                  <a:pt x="2184787" y="217691"/>
                  <a:pt x="2186609" y="230446"/>
                </a:cubicBezTo>
                <a:cubicBezTo>
                  <a:pt x="2184787" y="234091"/>
                  <a:pt x="2186609" y="237735"/>
                  <a:pt x="2184787" y="241379"/>
                </a:cubicBezTo>
                <a:cubicBezTo>
                  <a:pt x="2190253" y="245024"/>
                  <a:pt x="2195720" y="246846"/>
                  <a:pt x="2201187" y="250490"/>
                </a:cubicBezTo>
                <a:cubicBezTo>
                  <a:pt x="2201187" y="245024"/>
                  <a:pt x="2204831" y="248668"/>
                  <a:pt x="2204831" y="246846"/>
                </a:cubicBezTo>
                <a:cubicBezTo>
                  <a:pt x="2203009" y="230446"/>
                  <a:pt x="2210297" y="215869"/>
                  <a:pt x="2203009" y="203114"/>
                </a:cubicBezTo>
                <a:cubicBezTo>
                  <a:pt x="2195720" y="206758"/>
                  <a:pt x="2204831" y="210403"/>
                  <a:pt x="2203009" y="214047"/>
                </a:cubicBezTo>
                <a:cubicBezTo>
                  <a:pt x="2201187" y="206758"/>
                  <a:pt x="2193898" y="214047"/>
                  <a:pt x="2192076" y="212225"/>
                </a:cubicBezTo>
                <a:cubicBezTo>
                  <a:pt x="2201187" y="195825"/>
                  <a:pt x="2170210" y="197647"/>
                  <a:pt x="2162921" y="186714"/>
                </a:cubicBezTo>
                <a:cubicBezTo>
                  <a:pt x="2164743" y="194003"/>
                  <a:pt x="2157454" y="195825"/>
                  <a:pt x="2155632" y="201292"/>
                </a:cubicBezTo>
                <a:cubicBezTo>
                  <a:pt x="2157454" y="197647"/>
                  <a:pt x="2153810" y="194003"/>
                  <a:pt x="2155632" y="190359"/>
                </a:cubicBezTo>
                <a:cubicBezTo>
                  <a:pt x="2141055" y="190359"/>
                  <a:pt x="2141055" y="195825"/>
                  <a:pt x="2142877" y="208580"/>
                </a:cubicBezTo>
                <a:cubicBezTo>
                  <a:pt x="2142877" y="201292"/>
                  <a:pt x="2137410" y="195825"/>
                  <a:pt x="2131944" y="194003"/>
                </a:cubicBezTo>
                <a:cubicBezTo>
                  <a:pt x="2128300" y="194003"/>
                  <a:pt x="2128300" y="199469"/>
                  <a:pt x="2130122" y="201292"/>
                </a:cubicBezTo>
                <a:cubicBezTo>
                  <a:pt x="2126477" y="201292"/>
                  <a:pt x="2126477" y="197647"/>
                  <a:pt x="2126477" y="195825"/>
                </a:cubicBezTo>
                <a:cubicBezTo>
                  <a:pt x="2122833" y="201292"/>
                  <a:pt x="2128300" y="208580"/>
                  <a:pt x="2124655" y="214047"/>
                </a:cubicBezTo>
                <a:cubicBezTo>
                  <a:pt x="2121011" y="203114"/>
                  <a:pt x="2113722" y="217691"/>
                  <a:pt x="2106433" y="215869"/>
                </a:cubicBezTo>
                <a:cubicBezTo>
                  <a:pt x="2108256" y="212225"/>
                  <a:pt x="2121011" y="206758"/>
                  <a:pt x="2113722" y="201292"/>
                </a:cubicBezTo>
                <a:lnTo>
                  <a:pt x="2106434" y="201292"/>
                </a:lnTo>
                <a:lnTo>
                  <a:pt x="2104611" y="195825"/>
                </a:lnTo>
                <a:cubicBezTo>
                  <a:pt x="2102790" y="197647"/>
                  <a:pt x="2100967" y="201292"/>
                  <a:pt x="2100967" y="199469"/>
                </a:cubicBezTo>
                <a:cubicBezTo>
                  <a:pt x="2099145" y="195825"/>
                  <a:pt x="2095500" y="192181"/>
                  <a:pt x="2095500" y="188536"/>
                </a:cubicBezTo>
                <a:cubicBezTo>
                  <a:pt x="2093679" y="192181"/>
                  <a:pt x="2099145" y="195825"/>
                  <a:pt x="2097323" y="199469"/>
                </a:cubicBezTo>
                <a:cubicBezTo>
                  <a:pt x="2095500" y="199469"/>
                  <a:pt x="2093679" y="199469"/>
                  <a:pt x="2091856" y="197647"/>
                </a:cubicBezTo>
                <a:cubicBezTo>
                  <a:pt x="2091856" y="188536"/>
                  <a:pt x="2088212" y="183070"/>
                  <a:pt x="2077279" y="183070"/>
                </a:cubicBezTo>
                <a:cubicBezTo>
                  <a:pt x="2073634" y="183070"/>
                  <a:pt x="2084568" y="181248"/>
                  <a:pt x="2080923" y="175781"/>
                </a:cubicBezTo>
                <a:cubicBezTo>
                  <a:pt x="2079101" y="175781"/>
                  <a:pt x="2079101" y="175781"/>
                  <a:pt x="2077279" y="177603"/>
                </a:cubicBezTo>
                <a:cubicBezTo>
                  <a:pt x="2075457" y="173959"/>
                  <a:pt x="2077279" y="164848"/>
                  <a:pt x="2069990" y="166670"/>
                </a:cubicBezTo>
                <a:cubicBezTo>
                  <a:pt x="2071812" y="168493"/>
                  <a:pt x="2069990" y="170315"/>
                  <a:pt x="2069990" y="170315"/>
                </a:cubicBezTo>
                <a:cubicBezTo>
                  <a:pt x="2060879" y="168493"/>
                  <a:pt x="2055413" y="159382"/>
                  <a:pt x="2053590" y="153915"/>
                </a:cubicBezTo>
                <a:cubicBezTo>
                  <a:pt x="2049946" y="148449"/>
                  <a:pt x="2057235" y="155737"/>
                  <a:pt x="2059057" y="150271"/>
                </a:cubicBezTo>
                <a:cubicBezTo>
                  <a:pt x="2062701" y="150271"/>
                  <a:pt x="2059057" y="153915"/>
                  <a:pt x="2062701" y="159382"/>
                </a:cubicBezTo>
                <a:cubicBezTo>
                  <a:pt x="2060879" y="148449"/>
                  <a:pt x="2060879" y="137516"/>
                  <a:pt x="2053590" y="126583"/>
                </a:cubicBezTo>
                <a:cubicBezTo>
                  <a:pt x="2049946" y="121116"/>
                  <a:pt x="2040835" y="122938"/>
                  <a:pt x="2040835" y="112005"/>
                </a:cubicBezTo>
                <a:cubicBezTo>
                  <a:pt x="2044479" y="112005"/>
                  <a:pt x="2048124" y="112005"/>
                  <a:pt x="2049946" y="110183"/>
                </a:cubicBezTo>
                <a:cubicBezTo>
                  <a:pt x="2049946" y="112005"/>
                  <a:pt x="2049946" y="113827"/>
                  <a:pt x="2051768" y="115649"/>
                </a:cubicBezTo>
                <a:cubicBezTo>
                  <a:pt x="2053590" y="112005"/>
                  <a:pt x="2053590" y="110183"/>
                  <a:pt x="2055413" y="108361"/>
                </a:cubicBezTo>
                <a:cubicBezTo>
                  <a:pt x="2053590" y="112005"/>
                  <a:pt x="2059057" y="112005"/>
                  <a:pt x="2060879" y="113827"/>
                </a:cubicBezTo>
                <a:cubicBezTo>
                  <a:pt x="2057235" y="112005"/>
                  <a:pt x="2059057" y="110183"/>
                  <a:pt x="2059057" y="108361"/>
                </a:cubicBezTo>
                <a:cubicBezTo>
                  <a:pt x="2064524" y="110183"/>
                  <a:pt x="2073634" y="112005"/>
                  <a:pt x="2075457" y="104716"/>
                </a:cubicBezTo>
                <a:cubicBezTo>
                  <a:pt x="2075457" y="106539"/>
                  <a:pt x="2075457" y="108361"/>
                  <a:pt x="2073634" y="110183"/>
                </a:cubicBezTo>
                <a:cubicBezTo>
                  <a:pt x="2080923" y="110183"/>
                  <a:pt x="2077279" y="99250"/>
                  <a:pt x="2079101" y="101072"/>
                </a:cubicBezTo>
                <a:cubicBezTo>
                  <a:pt x="2086390" y="104716"/>
                  <a:pt x="2080923" y="113827"/>
                  <a:pt x="2079101" y="121116"/>
                </a:cubicBezTo>
                <a:cubicBezTo>
                  <a:pt x="2077279" y="119294"/>
                  <a:pt x="2073634" y="115649"/>
                  <a:pt x="2073634" y="119294"/>
                </a:cubicBezTo>
                <a:lnTo>
                  <a:pt x="2072935" y="122798"/>
                </a:lnTo>
                <a:lnTo>
                  <a:pt x="2072268" y="117471"/>
                </a:lnTo>
                <a:cubicBezTo>
                  <a:pt x="2070901" y="114738"/>
                  <a:pt x="2068168" y="112916"/>
                  <a:pt x="2062701" y="112005"/>
                </a:cubicBezTo>
                <a:cubicBezTo>
                  <a:pt x="2062701" y="113827"/>
                  <a:pt x="2062701" y="115649"/>
                  <a:pt x="2062701" y="117472"/>
                </a:cubicBezTo>
                <a:cubicBezTo>
                  <a:pt x="2060879" y="119294"/>
                  <a:pt x="2059057" y="110183"/>
                  <a:pt x="2055413" y="117472"/>
                </a:cubicBezTo>
                <a:cubicBezTo>
                  <a:pt x="2062701" y="122938"/>
                  <a:pt x="2055413" y="133871"/>
                  <a:pt x="2068168" y="133871"/>
                </a:cubicBezTo>
                <a:cubicBezTo>
                  <a:pt x="2069990" y="128405"/>
                  <a:pt x="2066346" y="124760"/>
                  <a:pt x="2064524" y="121116"/>
                </a:cubicBezTo>
                <a:cubicBezTo>
                  <a:pt x="2068168" y="121116"/>
                  <a:pt x="2069990" y="126583"/>
                  <a:pt x="2073634" y="128405"/>
                </a:cubicBezTo>
                <a:lnTo>
                  <a:pt x="2073114" y="124239"/>
                </a:lnTo>
                <a:lnTo>
                  <a:pt x="2077279" y="128405"/>
                </a:lnTo>
                <a:cubicBezTo>
                  <a:pt x="2073634" y="132049"/>
                  <a:pt x="2082745" y="139338"/>
                  <a:pt x="2084568" y="141160"/>
                </a:cubicBezTo>
                <a:cubicBezTo>
                  <a:pt x="2090034" y="139338"/>
                  <a:pt x="2088212" y="137516"/>
                  <a:pt x="2086390" y="132049"/>
                </a:cubicBezTo>
                <a:cubicBezTo>
                  <a:pt x="2084568" y="133871"/>
                  <a:pt x="2077279" y="133871"/>
                  <a:pt x="2077279" y="128405"/>
                </a:cubicBezTo>
                <a:cubicBezTo>
                  <a:pt x="2077279" y="124760"/>
                  <a:pt x="2077279" y="122938"/>
                  <a:pt x="2075457" y="121116"/>
                </a:cubicBezTo>
                <a:cubicBezTo>
                  <a:pt x="2077279" y="122938"/>
                  <a:pt x="2080923" y="124760"/>
                  <a:pt x="2082745" y="124760"/>
                </a:cubicBezTo>
                <a:cubicBezTo>
                  <a:pt x="2082745" y="115649"/>
                  <a:pt x="2090034" y="110183"/>
                  <a:pt x="2086390" y="101072"/>
                </a:cubicBezTo>
                <a:cubicBezTo>
                  <a:pt x="2090034" y="101072"/>
                  <a:pt x="2093679" y="95606"/>
                  <a:pt x="2091856" y="93783"/>
                </a:cubicBezTo>
                <a:cubicBezTo>
                  <a:pt x="2094590" y="93783"/>
                  <a:pt x="2095501" y="95605"/>
                  <a:pt x="2096184" y="97199"/>
                </a:cubicBezTo>
                <a:lnTo>
                  <a:pt x="2098523" y="98818"/>
                </a:lnTo>
                <a:lnTo>
                  <a:pt x="2095500" y="99250"/>
                </a:lnTo>
                <a:cubicBezTo>
                  <a:pt x="2093679" y="102894"/>
                  <a:pt x="2100967" y="104716"/>
                  <a:pt x="2106433" y="106539"/>
                </a:cubicBezTo>
                <a:cubicBezTo>
                  <a:pt x="2106433" y="106539"/>
                  <a:pt x="2104611" y="106539"/>
                  <a:pt x="2104611" y="104716"/>
                </a:cubicBezTo>
                <a:cubicBezTo>
                  <a:pt x="2108256" y="108361"/>
                  <a:pt x="2115544" y="106539"/>
                  <a:pt x="2113722" y="115649"/>
                </a:cubicBezTo>
                <a:cubicBezTo>
                  <a:pt x="2113722" y="118382"/>
                  <a:pt x="2115089" y="117471"/>
                  <a:pt x="2116684" y="116105"/>
                </a:cubicBezTo>
                <a:lnTo>
                  <a:pt x="2120779" y="113949"/>
                </a:lnTo>
                <a:lnTo>
                  <a:pt x="2121011" y="114348"/>
                </a:lnTo>
                <a:lnTo>
                  <a:pt x="2121011" y="119294"/>
                </a:lnTo>
                <a:cubicBezTo>
                  <a:pt x="2121011" y="119294"/>
                  <a:pt x="2122833" y="117472"/>
                  <a:pt x="2122833" y="117472"/>
                </a:cubicBezTo>
                <a:lnTo>
                  <a:pt x="2121011" y="114348"/>
                </a:lnTo>
                <a:lnTo>
                  <a:pt x="2121011" y="113827"/>
                </a:lnTo>
                <a:lnTo>
                  <a:pt x="2120779" y="113949"/>
                </a:lnTo>
                <a:lnTo>
                  <a:pt x="2119644" y="112005"/>
                </a:lnTo>
                <a:cubicBezTo>
                  <a:pt x="2117367" y="110638"/>
                  <a:pt x="2114633" y="109272"/>
                  <a:pt x="2113722" y="106539"/>
                </a:cubicBezTo>
                <a:cubicBezTo>
                  <a:pt x="2117367" y="108361"/>
                  <a:pt x="2119189" y="109272"/>
                  <a:pt x="2121239" y="109499"/>
                </a:cubicBezTo>
                <a:lnTo>
                  <a:pt x="2127659" y="108676"/>
                </a:lnTo>
                <a:lnTo>
                  <a:pt x="2128300" y="110183"/>
                </a:lnTo>
                <a:lnTo>
                  <a:pt x="2129149" y="108485"/>
                </a:lnTo>
                <a:lnTo>
                  <a:pt x="2130122" y="108361"/>
                </a:lnTo>
                <a:lnTo>
                  <a:pt x="2129758" y="107267"/>
                </a:lnTo>
                <a:lnTo>
                  <a:pt x="2130122" y="106539"/>
                </a:lnTo>
                <a:cubicBezTo>
                  <a:pt x="2137410" y="104716"/>
                  <a:pt x="2141055" y="106539"/>
                  <a:pt x="2141055" y="99250"/>
                </a:cubicBezTo>
                <a:cubicBezTo>
                  <a:pt x="2142877" y="91961"/>
                  <a:pt x="2137410" y="101072"/>
                  <a:pt x="2135588" y="99250"/>
                </a:cubicBezTo>
                <a:cubicBezTo>
                  <a:pt x="2133766" y="93783"/>
                  <a:pt x="2135588" y="84673"/>
                  <a:pt x="2130122" y="82850"/>
                </a:cubicBezTo>
                <a:cubicBezTo>
                  <a:pt x="2121011" y="81028"/>
                  <a:pt x="2122833" y="73739"/>
                  <a:pt x="2115544" y="73739"/>
                </a:cubicBezTo>
                <a:cubicBezTo>
                  <a:pt x="2113722" y="73739"/>
                  <a:pt x="2110078" y="73739"/>
                  <a:pt x="2108256" y="77384"/>
                </a:cubicBezTo>
                <a:cubicBezTo>
                  <a:pt x="2106433" y="75562"/>
                  <a:pt x="2102790" y="73739"/>
                  <a:pt x="2104611" y="73739"/>
                </a:cubicBezTo>
                <a:cubicBezTo>
                  <a:pt x="2115544" y="68273"/>
                  <a:pt x="2124655" y="64629"/>
                  <a:pt x="2131944" y="75562"/>
                </a:cubicBezTo>
                <a:cubicBezTo>
                  <a:pt x="2131944" y="71917"/>
                  <a:pt x="2131944" y="68273"/>
                  <a:pt x="2130122" y="64629"/>
                </a:cubicBezTo>
                <a:cubicBezTo>
                  <a:pt x="2137410" y="70095"/>
                  <a:pt x="2146521" y="88317"/>
                  <a:pt x="2153810" y="79206"/>
                </a:cubicBezTo>
                <a:cubicBezTo>
                  <a:pt x="2157454" y="75562"/>
                  <a:pt x="2142877" y="81028"/>
                  <a:pt x="2142877" y="73739"/>
                </a:cubicBezTo>
                <a:cubicBezTo>
                  <a:pt x="2141055" y="70095"/>
                  <a:pt x="2146521" y="71917"/>
                  <a:pt x="2148344" y="73739"/>
                </a:cubicBezTo>
                <a:cubicBezTo>
                  <a:pt x="2151988" y="70095"/>
                  <a:pt x="2144699" y="64629"/>
                  <a:pt x="2146521" y="62806"/>
                </a:cubicBezTo>
                <a:lnTo>
                  <a:pt x="2153427" y="63957"/>
                </a:lnTo>
                <a:lnTo>
                  <a:pt x="2151988" y="68273"/>
                </a:lnTo>
                <a:cubicBezTo>
                  <a:pt x="2155632" y="68273"/>
                  <a:pt x="2159277" y="68273"/>
                  <a:pt x="2162921" y="68273"/>
                </a:cubicBezTo>
                <a:cubicBezTo>
                  <a:pt x="2159277" y="64629"/>
                  <a:pt x="2168387" y="60984"/>
                  <a:pt x="2162921" y="57340"/>
                </a:cubicBezTo>
                <a:cubicBezTo>
                  <a:pt x="2164743" y="57340"/>
                  <a:pt x="2166565" y="57340"/>
                  <a:pt x="2168387" y="59162"/>
                </a:cubicBezTo>
                <a:cubicBezTo>
                  <a:pt x="2170210" y="60984"/>
                  <a:pt x="2168387" y="66451"/>
                  <a:pt x="2170210" y="68273"/>
                </a:cubicBezTo>
                <a:cubicBezTo>
                  <a:pt x="2173854" y="70095"/>
                  <a:pt x="2181143" y="66451"/>
                  <a:pt x="2182965" y="71917"/>
                </a:cubicBezTo>
                <a:cubicBezTo>
                  <a:pt x="2182965" y="73739"/>
                  <a:pt x="2182965" y="73739"/>
                  <a:pt x="2181143" y="75562"/>
                </a:cubicBezTo>
                <a:cubicBezTo>
                  <a:pt x="2181143" y="70095"/>
                  <a:pt x="2175676" y="75562"/>
                  <a:pt x="2173854" y="73739"/>
                </a:cubicBezTo>
                <a:cubicBezTo>
                  <a:pt x="2175676" y="77384"/>
                  <a:pt x="2177498" y="79206"/>
                  <a:pt x="2175676" y="81028"/>
                </a:cubicBezTo>
                <a:cubicBezTo>
                  <a:pt x="2172032" y="81028"/>
                  <a:pt x="2172032" y="73739"/>
                  <a:pt x="2166565" y="73739"/>
                </a:cubicBezTo>
                <a:cubicBezTo>
                  <a:pt x="2172032" y="82850"/>
                  <a:pt x="2179320" y="90139"/>
                  <a:pt x="2181143" y="101072"/>
                </a:cubicBezTo>
                <a:cubicBezTo>
                  <a:pt x="2182965" y="104716"/>
                  <a:pt x="2192076" y="104716"/>
                  <a:pt x="2197542" y="102894"/>
                </a:cubicBezTo>
                <a:cubicBezTo>
                  <a:pt x="2195720" y="108361"/>
                  <a:pt x="2188431" y="108361"/>
                  <a:pt x="2186609" y="112005"/>
                </a:cubicBezTo>
                <a:cubicBezTo>
                  <a:pt x="2195720" y="115649"/>
                  <a:pt x="2195720" y="124760"/>
                  <a:pt x="2203009" y="128405"/>
                </a:cubicBezTo>
                <a:cubicBezTo>
                  <a:pt x="2195720" y="122938"/>
                  <a:pt x="2188887" y="121571"/>
                  <a:pt x="2183648" y="123621"/>
                </a:cubicBezTo>
                <a:lnTo>
                  <a:pt x="2174764" y="137878"/>
                </a:lnTo>
                <a:lnTo>
                  <a:pt x="2172032" y="135693"/>
                </a:lnTo>
                <a:lnTo>
                  <a:pt x="2173854" y="139337"/>
                </a:lnTo>
                <a:lnTo>
                  <a:pt x="2173854" y="139338"/>
                </a:lnTo>
                <a:lnTo>
                  <a:pt x="2173855" y="139338"/>
                </a:lnTo>
                <a:lnTo>
                  <a:pt x="2174310" y="140248"/>
                </a:lnTo>
                <a:cubicBezTo>
                  <a:pt x="2174310" y="141615"/>
                  <a:pt x="2173854" y="142982"/>
                  <a:pt x="2173854" y="144804"/>
                </a:cubicBezTo>
                <a:lnTo>
                  <a:pt x="2175990" y="142290"/>
                </a:lnTo>
                <a:lnTo>
                  <a:pt x="2181598" y="150043"/>
                </a:lnTo>
                <a:cubicBezTo>
                  <a:pt x="2186609" y="151637"/>
                  <a:pt x="2192987" y="152093"/>
                  <a:pt x="2197542" y="153915"/>
                </a:cubicBezTo>
                <a:cubicBezTo>
                  <a:pt x="2195720" y="152093"/>
                  <a:pt x="2195720" y="150271"/>
                  <a:pt x="2195720" y="148449"/>
                </a:cubicBezTo>
                <a:cubicBezTo>
                  <a:pt x="2199364" y="157559"/>
                  <a:pt x="2210297" y="153915"/>
                  <a:pt x="2212120" y="146626"/>
                </a:cubicBezTo>
                <a:cubicBezTo>
                  <a:pt x="2215764" y="139338"/>
                  <a:pt x="2201187" y="142982"/>
                  <a:pt x="2199364" y="135693"/>
                </a:cubicBezTo>
                <a:cubicBezTo>
                  <a:pt x="2208475" y="133871"/>
                  <a:pt x="2210297" y="126583"/>
                  <a:pt x="2208475" y="119294"/>
                </a:cubicBezTo>
                <a:cubicBezTo>
                  <a:pt x="2213942" y="122938"/>
                  <a:pt x="2212120" y="128405"/>
                  <a:pt x="2215764" y="130227"/>
                </a:cubicBezTo>
                <a:cubicBezTo>
                  <a:pt x="2217586" y="124760"/>
                  <a:pt x="2219408" y="115649"/>
                  <a:pt x="2226697" y="115649"/>
                </a:cubicBezTo>
                <a:cubicBezTo>
                  <a:pt x="2226697" y="113827"/>
                  <a:pt x="2226697" y="112005"/>
                  <a:pt x="2224875" y="110183"/>
                </a:cubicBezTo>
                <a:cubicBezTo>
                  <a:pt x="2228519" y="108361"/>
                  <a:pt x="2228519" y="110183"/>
                  <a:pt x="2230341" y="112005"/>
                </a:cubicBezTo>
                <a:cubicBezTo>
                  <a:pt x="2232163" y="104716"/>
                  <a:pt x="2224875" y="104716"/>
                  <a:pt x="2223053" y="101072"/>
                </a:cubicBezTo>
                <a:cubicBezTo>
                  <a:pt x="2223053" y="101072"/>
                  <a:pt x="2221230" y="101072"/>
                  <a:pt x="2221230" y="99250"/>
                </a:cubicBezTo>
                <a:cubicBezTo>
                  <a:pt x="2224875" y="99250"/>
                  <a:pt x="2226697" y="99250"/>
                  <a:pt x="2228519" y="101072"/>
                </a:cubicBezTo>
                <a:cubicBezTo>
                  <a:pt x="2232163" y="93783"/>
                  <a:pt x="2235808" y="95606"/>
                  <a:pt x="2243096" y="91961"/>
                </a:cubicBezTo>
                <a:cubicBezTo>
                  <a:pt x="2237630" y="91961"/>
                  <a:pt x="2235808" y="88317"/>
                  <a:pt x="2233986" y="84673"/>
                </a:cubicBezTo>
                <a:cubicBezTo>
                  <a:pt x="2237630" y="90139"/>
                  <a:pt x="2246741" y="84673"/>
                  <a:pt x="2244919" y="82850"/>
                </a:cubicBezTo>
                <a:cubicBezTo>
                  <a:pt x="2241274" y="77384"/>
                  <a:pt x="2226697" y="88317"/>
                  <a:pt x="2224875" y="79206"/>
                </a:cubicBezTo>
                <a:cubicBezTo>
                  <a:pt x="2224875" y="75562"/>
                  <a:pt x="2224875" y="73739"/>
                  <a:pt x="2226697" y="71917"/>
                </a:cubicBezTo>
                <a:cubicBezTo>
                  <a:pt x="2224875" y="79206"/>
                  <a:pt x="2233986" y="73739"/>
                  <a:pt x="2233986" y="79206"/>
                </a:cubicBezTo>
                <a:cubicBezTo>
                  <a:pt x="2233986" y="77384"/>
                  <a:pt x="2233986" y="77384"/>
                  <a:pt x="2233986" y="75562"/>
                </a:cubicBezTo>
                <a:cubicBezTo>
                  <a:pt x="2235808" y="71917"/>
                  <a:pt x="2237630" y="75562"/>
                  <a:pt x="2239452" y="75562"/>
                </a:cubicBezTo>
                <a:cubicBezTo>
                  <a:pt x="2230341" y="68273"/>
                  <a:pt x="2221230" y="57340"/>
                  <a:pt x="2208475" y="59162"/>
                </a:cubicBezTo>
                <a:cubicBezTo>
                  <a:pt x="2210297" y="62806"/>
                  <a:pt x="2213942" y="64629"/>
                  <a:pt x="2212120" y="66451"/>
                </a:cubicBezTo>
                <a:cubicBezTo>
                  <a:pt x="2204831" y="75562"/>
                  <a:pt x="2201187" y="59162"/>
                  <a:pt x="2195720" y="55518"/>
                </a:cubicBezTo>
                <a:cubicBezTo>
                  <a:pt x="2197542" y="57340"/>
                  <a:pt x="2199364" y="60984"/>
                  <a:pt x="2199364" y="62806"/>
                </a:cubicBezTo>
                <a:cubicBezTo>
                  <a:pt x="2190253" y="68273"/>
                  <a:pt x="2195720" y="53696"/>
                  <a:pt x="2188431" y="51873"/>
                </a:cubicBezTo>
                <a:cubicBezTo>
                  <a:pt x="2188431" y="55518"/>
                  <a:pt x="2186609" y="60984"/>
                  <a:pt x="2190253" y="62806"/>
                </a:cubicBezTo>
                <a:cubicBezTo>
                  <a:pt x="2186609" y="60984"/>
                  <a:pt x="2186609" y="53696"/>
                  <a:pt x="2179320" y="51873"/>
                </a:cubicBezTo>
                <a:cubicBezTo>
                  <a:pt x="2184787" y="44585"/>
                  <a:pt x="2197542" y="44585"/>
                  <a:pt x="2204831" y="48229"/>
                </a:cubicBezTo>
                <a:cubicBezTo>
                  <a:pt x="2204831" y="48229"/>
                  <a:pt x="2203009" y="50051"/>
                  <a:pt x="2203009" y="50051"/>
                </a:cubicBezTo>
                <a:cubicBezTo>
                  <a:pt x="2208475" y="51873"/>
                  <a:pt x="2213942" y="55518"/>
                  <a:pt x="2219408" y="55518"/>
                </a:cubicBezTo>
                <a:cubicBezTo>
                  <a:pt x="2219408" y="51873"/>
                  <a:pt x="2219408" y="48229"/>
                  <a:pt x="2221230" y="48229"/>
                </a:cubicBezTo>
                <a:cubicBezTo>
                  <a:pt x="2228519" y="48229"/>
                  <a:pt x="2224875" y="39118"/>
                  <a:pt x="2230341" y="40940"/>
                </a:cubicBezTo>
                <a:cubicBezTo>
                  <a:pt x="2235808" y="44585"/>
                  <a:pt x="2226697" y="50051"/>
                  <a:pt x="2228519" y="55518"/>
                </a:cubicBezTo>
                <a:cubicBezTo>
                  <a:pt x="2226697" y="53696"/>
                  <a:pt x="2226697" y="50051"/>
                  <a:pt x="2224875" y="50051"/>
                </a:cubicBezTo>
                <a:cubicBezTo>
                  <a:pt x="2221230" y="50051"/>
                  <a:pt x="2223053" y="55518"/>
                  <a:pt x="2223053" y="57340"/>
                </a:cubicBezTo>
                <a:cubicBezTo>
                  <a:pt x="2224875" y="60984"/>
                  <a:pt x="2228519" y="57340"/>
                  <a:pt x="2230341" y="55518"/>
                </a:cubicBezTo>
                <a:cubicBezTo>
                  <a:pt x="2232163" y="62806"/>
                  <a:pt x="2235808" y="71917"/>
                  <a:pt x="2246741" y="70095"/>
                </a:cubicBezTo>
                <a:cubicBezTo>
                  <a:pt x="2248563" y="64629"/>
                  <a:pt x="2243096" y="57340"/>
                  <a:pt x="2246741" y="50051"/>
                </a:cubicBezTo>
                <a:cubicBezTo>
                  <a:pt x="2248563" y="51873"/>
                  <a:pt x="2250385" y="53696"/>
                  <a:pt x="2252207" y="55518"/>
                </a:cubicBezTo>
                <a:cubicBezTo>
                  <a:pt x="2250385" y="48229"/>
                  <a:pt x="2239452" y="42763"/>
                  <a:pt x="2244919" y="35474"/>
                </a:cubicBezTo>
                <a:cubicBezTo>
                  <a:pt x="2246741" y="35474"/>
                  <a:pt x="2248563" y="35474"/>
                  <a:pt x="2250385" y="37296"/>
                </a:cubicBezTo>
                <a:cubicBezTo>
                  <a:pt x="2250385" y="39118"/>
                  <a:pt x="2252207" y="42763"/>
                  <a:pt x="2252207" y="44585"/>
                </a:cubicBezTo>
                <a:cubicBezTo>
                  <a:pt x="2257674" y="39118"/>
                  <a:pt x="2261318" y="50051"/>
                  <a:pt x="2264963" y="51873"/>
                </a:cubicBezTo>
                <a:lnTo>
                  <a:pt x="2268894" y="50727"/>
                </a:lnTo>
                <a:lnTo>
                  <a:pt x="2268607" y="51873"/>
                </a:lnTo>
                <a:lnTo>
                  <a:pt x="2269083" y="50671"/>
                </a:lnTo>
                <a:lnTo>
                  <a:pt x="2270430" y="50279"/>
                </a:lnTo>
                <a:lnTo>
                  <a:pt x="2270429" y="47269"/>
                </a:lnTo>
                <a:lnTo>
                  <a:pt x="2272935" y="40940"/>
                </a:lnTo>
                <a:cubicBezTo>
                  <a:pt x="2275441" y="38206"/>
                  <a:pt x="2277718" y="35473"/>
                  <a:pt x="2275896" y="30007"/>
                </a:cubicBezTo>
                <a:cubicBezTo>
                  <a:pt x="2279540" y="31829"/>
                  <a:pt x="2281362" y="37296"/>
                  <a:pt x="2279540" y="42763"/>
                </a:cubicBezTo>
                <a:cubicBezTo>
                  <a:pt x="2279540" y="42763"/>
                  <a:pt x="2283184" y="46407"/>
                  <a:pt x="2285007" y="44585"/>
                </a:cubicBezTo>
                <a:cubicBezTo>
                  <a:pt x="2290473" y="35474"/>
                  <a:pt x="2294117" y="37296"/>
                  <a:pt x="2301406" y="42763"/>
                </a:cubicBezTo>
                <a:cubicBezTo>
                  <a:pt x="2295940" y="39118"/>
                  <a:pt x="2292295" y="53696"/>
                  <a:pt x="2285007" y="46407"/>
                </a:cubicBezTo>
                <a:cubicBezTo>
                  <a:pt x="2285007" y="51873"/>
                  <a:pt x="2294117" y="55518"/>
                  <a:pt x="2286829" y="60984"/>
                </a:cubicBezTo>
                <a:lnTo>
                  <a:pt x="2281806" y="59309"/>
                </a:lnTo>
                <a:lnTo>
                  <a:pt x="2279996" y="57112"/>
                </a:lnTo>
                <a:cubicBezTo>
                  <a:pt x="2279085" y="55973"/>
                  <a:pt x="2278629" y="54606"/>
                  <a:pt x="2279540" y="51873"/>
                </a:cubicBezTo>
                <a:cubicBezTo>
                  <a:pt x="2277718" y="51873"/>
                  <a:pt x="2274074" y="53696"/>
                  <a:pt x="2272251" y="53696"/>
                </a:cubicBezTo>
                <a:cubicBezTo>
                  <a:pt x="2274074" y="57340"/>
                  <a:pt x="2275896" y="66451"/>
                  <a:pt x="2283184" y="60984"/>
                </a:cubicBezTo>
                <a:lnTo>
                  <a:pt x="2281923" y="59451"/>
                </a:lnTo>
                <a:lnTo>
                  <a:pt x="2287968" y="62578"/>
                </a:lnTo>
                <a:cubicBezTo>
                  <a:pt x="2289107" y="64628"/>
                  <a:pt x="2289562" y="67362"/>
                  <a:pt x="2290473" y="70095"/>
                </a:cubicBezTo>
                <a:cubicBezTo>
                  <a:pt x="2288651" y="70095"/>
                  <a:pt x="2286829" y="70095"/>
                  <a:pt x="2285007" y="68273"/>
                </a:cubicBezTo>
                <a:cubicBezTo>
                  <a:pt x="2285007" y="71917"/>
                  <a:pt x="2285007" y="73739"/>
                  <a:pt x="2286829" y="75562"/>
                </a:cubicBezTo>
                <a:cubicBezTo>
                  <a:pt x="2283184" y="70095"/>
                  <a:pt x="2283184" y="62806"/>
                  <a:pt x="2275896" y="68273"/>
                </a:cubicBezTo>
                <a:cubicBezTo>
                  <a:pt x="2275896" y="70095"/>
                  <a:pt x="2275896" y="71917"/>
                  <a:pt x="2274074" y="73739"/>
                </a:cubicBezTo>
                <a:cubicBezTo>
                  <a:pt x="2270429" y="68273"/>
                  <a:pt x="2261318" y="68273"/>
                  <a:pt x="2263140" y="75562"/>
                </a:cubicBezTo>
                <a:cubicBezTo>
                  <a:pt x="2268607" y="91961"/>
                  <a:pt x="2285007" y="73739"/>
                  <a:pt x="2295940" y="77384"/>
                </a:cubicBezTo>
                <a:cubicBezTo>
                  <a:pt x="2295940" y="75562"/>
                  <a:pt x="2295940" y="73739"/>
                  <a:pt x="2294117" y="71917"/>
                </a:cubicBezTo>
                <a:cubicBezTo>
                  <a:pt x="2297762" y="77384"/>
                  <a:pt x="2301406" y="68273"/>
                  <a:pt x="2305050" y="70095"/>
                </a:cubicBezTo>
                <a:cubicBezTo>
                  <a:pt x="2319628" y="79206"/>
                  <a:pt x="2325094" y="66451"/>
                  <a:pt x="2339672" y="64629"/>
                </a:cubicBezTo>
                <a:cubicBezTo>
                  <a:pt x="2339672" y="66451"/>
                  <a:pt x="2339672" y="70095"/>
                  <a:pt x="2339672" y="71917"/>
                </a:cubicBezTo>
                <a:cubicBezTo>
                  <a:pt x="2343316" y="70095"/>
                  <a:pt x="2346960" y="70095"/>
                  <a:pt x="2346960" y="64629"/>
                </a:cubicBezTo>
                <a:cubicBezTo>
                  <a:pt x="2343316" y="66451"/>
                  <a:pt x="2341494" y="66451"/>
                  <a:pt x="2339672" y="64629"/>
                </a:cubicBezTo>
                <a:cubicBezTo>
                  <a:pt x="2348782" y="66451"/>
                  <a:pt x="2339672" y="55518"/>
                  <a:pt x="2346960" y="57340"/>
                </a:cubicBezTo>
                <a:cubicBezTo>
                  <a:pt x="2348782" y="57340"/>
                  <a:pt x="2350605" y="59162"/>
                  <a:pt x="2350605" y="60984"/>
                </a:cubicBezTo>
                <a:cubicBezTo>
                  <a:pt x="2350605" y="60984"/>
                  <a:pt x="2350605" y="60984"/>
                  <a:pt x="2348782" y="62806"/>
                </a:cubicBezTo>
                <a:cubicBezTo>
                  <a:pt x="2352427" y="62806"/>
                  <a:pt x="2356071" y="64629"/>
                  <a:pt x="2354249" y="60984"/>
                </a:cubicBezTo>
                <a:cubicBezTo>
                  <a:pt x="2350605" y="55518"/>
                  <a:pt x="2348782" y="48229"/>
                  <a:pt x="2357893" y="48229"/>
                </a:cubicBezTo>
                <a:cubicBezTo>
                  <a:pt x="2361538" y="48229"/>
                  <a:pt x="2363360" y="53696"/>
                  <a:pt x="2365182" y="55518"/>
                </a:cubicBezTo>
                <a:cubicBezTo>
                  <a:pt x="2365182" y="57340"/>
                  <a:pt x="2365182" y="59162"/>
                  <a:pt x="2363360" y="60984"/>
                </a:cubicBezTo>
                <a:cubicBezTo>
                  <a:pt x="2365182" y="60984"/>
                  <a:pt x="2368827" y="60984"/>
                  <a:pt x="2370649" y="60984"/>
                </a:cubicBezTo>
                <a:cubicBezTo>
                  <a:pt x="2367004" y="59162"/>
                  <a:pt x="2367004" y="53696"/>
                  <a:pt x="2368827" y="51873"/>
                </a:cubicBezTo>
                <a:cubicBezTo>
                  <a:pt x="2376115" y="46407"/>
                  <a:pt x="2387048" y="50051"/>
                  <a:pt x="2387048" y="57340"/>
                </a:cubicBezTo>
                <a:cubicBezTo>
                  <a:pt x="2392515" y="50051"/>
                  <a:pt x="2394337" y="50051"/>
                  <a:pt x="2403448" y="51873"/>
                </a:cubicBezTo>
                <a:cubicBezTo>
                  <a:pt x="2403448" y="50051"/>
                  <a:pt x="2399803" y="48229"/>
                  <a:pt x="2401626" y="44585"/>
                </a:cubicBezTo>
                <a:cubicBezTo>
                  <a:pt x="2407092" y="39118"/>
                  <a:pt x="2407092" y="44585"/>
                  <a:pt x="2408914" y="46407"/>
                </a:cubicBezTo>
                <a:cubicBezTo>
                  <a:pt x="2410737" y="42763"/>
                  <a:pt x="2405270" y="37296"/>
                  <a:pt x="2410737" y="33652"/>
                </a:cubicBezTo>
                <a:lnTo>
                  <a:pt x="2410312" y="33782"/>
                </a:lnTo>
                <a:lnTo>
                  <a:pt x="2416203" y="26363"/>
                </a:lnTo>
                <a:cubicBezTo>
                  <a:pt x="2421669" y="33652"/>
                  <a:pt x="2432603" y="30007"/>
                  <a:pt x="2436247" y="40940"/>
                </a:cubicBezTo>
                <a:cubicBezTo>
                  <a:pt x="2436247" y="37296"/>
                  <a:pt x="2432603" y="33652"/>
                  <a:pt x="2434425" y="31829"/>
                </a:cubicBezTo>
                <a:cubicBezTo>
                  <a:pt x="2439891" y="24541"/>
                  <a:pt x="2449002" y="28185"/>
                  <a:pt x="2456291" y="30007"/>
                </a:cubicBezTo>
                <a:cubicBezTo>
                  <a:pt x="2463580" y="33652"/>
                  <a:pt x="2472690" y="44585"/>
                  <a:pt x="2465402" y="53696"/>
                </a:cubicBezTo>
                <a:cubicBezTo>
                  <a:pt x="2463580" y="53696"/>
                  <a:pt x="2458113" y="57340"/>
                  <a:pt x="2456291" y="51873"/>
                </a:cubicBezTo>
                <a:cubicBezTo>
                  <a:pt x="2458113" y="51873"/>
                  <a:pt x="2458113" y="51873"/>
                  <a:pt x="2459935" y="50051"/>
                </a:cubicBezTo>
                <a:lnTo>
                  <a:pt x="2453414" y="46790"/>
                </a:lnTo>
                <a:lnTo>
                  <a:pt x="2461757" y="48229"/>
                </a:lnTo>
                <a:cubicBezTo>
                  <a:pt x="2465402" y="40940"/>
                  <a:pt x="2461757" y="39118"/>
                  <a:pt x="2458113" y="35474"/>
                </a:cubicBezTo>
                <a:cubicBezTo>
                  <a:pt x="2454469" y="37296"/>
                  <a:pt x="2459935" y="39118"/>
                  <a:pt x="2456291" y="40940"/>
                </a:cubicBezTo>
                <a:cubicBezTo>
                  <a:pt x="2452647" y="40940"/>
                  <a:pt x="2452647" y="37296"/>
                  <a:pt x="2452647" y="33652"/>
                </a:cubicBezTo>
                <a:cubicBezTo>
                  <a:pt x="2449002" y="35474"/>
                  <a:pt x="2447180" y="35474"/>
                  <a:pt x="2445358" y="33652"/>
                </a:cubicBezTo>
                <a:cubicBezTo>
                  <a:pt x="2439891" y="39118"/>
                  <a:pt x="2447180" y="42763"/>
                  <a:pt x="2438069" y="46407"/>
                </a:cubicBezTo>
                <a:lnTo>
                  <a:pt x="2438938" y="46369"/>
                </a:lnTo>
                <a:lnTo>
                  <a:pt x="2438525" y="46634"/>
                </a:lnTo>
                <a:cubicBezTo>
                  <a:pt x="2437614" y="47773"/>
                  <a:pt x="2437158" y="49140"/>
                  <a:pt x="2438069" y="50051"/>
                </a:cubicBezTo>
                <a:cubicBezTo>
                  <a:pt x="2439891" y="53696"/>
                  <a:pt x="2443536" y="55518"/>
                  <a:pt x="2445358" y="57340"/>
                </a:cubicBezTo>
                <a:cubicBezTo>
                  <a:pt x="2441713" y="60984"/>
                  <a:pt x="2438069" y="62806"/>
                  <a:pt x="2439891" y="64629"/>
                </a:cubicBezTo>
                <a:cubicBezTo>
                  <a:pt x="2445358" y="71917"/>
                  <a:pt x="2447180" y="59162"/>
                  <a:pt x="2452647" y="57340"/>
                </a:cubicBezTo>
                <a:cubicBezTo>
                  <a:pt x="2450824" y="60984"/>
                  <a:pt x="2452647" y="62806"/>
                  <a:pt x="2454469" y="64629"/>
                </a:cubicBezTo>
                <a:cubicBezTo>
                  <a:pt x="2456291" y="64629"/>
                  <a:pt x="2458113" y="64629"/>
                  <a:pt x="2459935" y="62806"/>
                </a:cubicBezTo>
                <a:cubicBezTo>
                  <a:pt x="2459935" y="60984"/>
                  <a:pt x="2459935" y="59162"/>
                  <a:pt x="2458113" y="57340"/>
                </a:cubicBezTo>
                <a:cubicBezTo>
                  <a:pt x="2459935" y="57340"/>
                  <a:pt x="2459935" y="57340"/>
                  <a:pt x="2461757" y="59162"/>
                </a:cubicBezTo>
                <a:cubicBezTo>
                  <a:pt x="2463580" y="62806"/>
                  <a:pt x="2458113" y="66451"/>
                  <a:pt x="2459935" y="66451"/>
                </a:cubicBezTo>
                <a:cubicBezTo>
                  <a:pt x="2465402" y="70095"/>
                  <a:pt x="2469046" y="73739"/>
                  <a:pt x="2476335" y="73739"/>
                </a:cubicBezTo>
                <a:cubicBezTo>
                  <a:pt x="2470868" y="66451"/>
                  <a:pt x="2476335" y="60984"/>
                  <a:pt x="2478157" y="53696"/>
                </a:cubicBezTo>
                <a:cubicBezTo>
                  <a:pt x="2467224" y="53696"/>
                  <a:pt x="2467224" y="40940"/>
                  <a:pt x="2465402" y="33652"/>
                </a:cubicBezTo>
                <a:cubicBezTo>
                  <a:pt x="2474513" y="35474"/>
                  <a:pt x="2476335" y="42763"/>
                  <a:pt x="2478157" y="50051"/>
                </a:cubicBezTo>
                <a:cubicBezTo>
                  <a:pt x="2479979" y="50051"/>
                  <a:pt x="2481801" y="51873"/>
                  <a:pt x="2483624" y="51873"/>
                </a:cubicBezTo>
                <a:cubicBezTo>
                  <a:pt x="2489090" y="44585"/>
                  <a:pt x="2485446" y="30007"/>
                  <a:pt x="2500023" y="30007"/>
                </a:cubicBezTo>
                <a:cubicBezTo>
                  <a:pt x="2501845" y="30007"/>
                  <a:pt x="2501845" y="26363"/>
                  <a:pt x="2501845" y="24541"/>
                </a:cubicBezTo>
                <a:cubicBezTo>
                  <a:pt x="2505490" y="22719"/>
                  <a:pt x="2505490" y="28185"/>
                  <a:pt x="2507312" y="30007"/>
                </a:cubicBezTo>
                <a:cubicBezTo>
                  <a:pt x="2509134" y="28185"/>
                  <a:pt x="2507312" y="24541"/>
                  <a:pt x="2509134" y="22719"/>
                </a:cubicBezTo>
                <a:cubicBezTo>
                  <a:pt x="2509134" y="24541"/>
                  <a:pt x="2512778" y="28185"/>
                  <a:pt x="2510956" y="31829"/>
                </a:cubicBezTo>
                <a:cubicBezTo>
                  <a:pt x="2510956" y="20896"/>
                  <a:pt x="2523711" y="17252"/>
                  <a:pt x="2531000" y="20896"/>
                </a:cubicBezTo>
                <a:cubicBezTo>
                  <a:pt x="2527356" y="22719"/>
                  <a:pt x="2527356" y="26363"/>
                  <a:pt x="2529178" y="26363"/>
                </a:cubicBezTo>
                <a:cubicBezTo>
                  <a:pt x="2534644" y="26363"/>
                  <a:pt x="2536466" y="35474"/>
                  <a:pt x="2536466" y="39118"/>
                </a:cubicBezTo>
                <a:cubicBezTo>
                  <a:pt x="2538289" y="30007"/>
                  <a:pt x="2551044" y="31829"/>
                  <a:pt x="2552866" y="24541"/>
                </a:cubicBezTo>
                <a:cubicBezTo>
                  <a:pt x="2549222" y="28185"/>
                  <a:pt x="2545577" y="28185"/>
                  <a:pt x="2541933" y="30007"/>
                </a:cubicBezTo>
                <a:cubicBezTo>
                  <a:pt x="2541933" y="28185"/>
                  <a:pt x="2545577" y="24541"/>
                  <a:pt x="2543755" y="22719"/>
                </a:cubicBezTo>
                <a:cubicBezTo>
                  <a:pt x="2552866" y="22719"/>
                  <a:pt x="2549222" y="17252"/>
                  <a:pt x="2551044" y="15430"/>
                </a:cubicBezTo>
                <a:cubicBezTo>
                  <a:pt x="2551044" y="13608"/>
                  <a:pt x="2551044" y="11786"/>
                  <a:pt x="2549222" y="11786"/>
                </a:cubicBezTo>
                <a:cubicBezTo>
                  <a:pt x="2547400" y="11786"/>
                  <a:pt x="2541933" y="15430"/>
                  <a:pt x="2540111" y="13608"/>
                </a:cubicBezTo>
                <a:cubicBezTo>
                  <a:pt x="2538289" y="9963"/>
                  <a:pt x="2540111" y="9963"/>
                  <a:pt x="2541933" y="8141"/>
                </a:cubicBezTo>
                <a:cubicBezTo>
                  <a:pt x="2541933" y="8141"/>
                  <a:pt x="2541933" y="9963"/>
                  <a:pt x="2540111" y="9963"/>
                </a:cubicBezTo>
                <a:cubicBezTo>
                  <a:pt x="2541933" y="8141"/>
                  <a:pt x="2541933" y="2675"/>
                  <a:pt x="2540111" y="853"/>
                </a:cubicBezTo>
                <a:close/>
              </a:path>
            </a:pathLst>
          </a:custGeom>
          <a:solidFill>
            <a:schemeClr val="bg1">
              <a:lumMod val="95000"/>
            </a:schemeClr>
          </a:solidFill>
        </p:spPr>
        <p:txBody>
          <a:bodyPr wrap="square" anchor="ctr">
            <a:noAutofit/>
          </a:bodyPr>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mp; Drop your photo</a:t>
            </a:r>
          </a:p>
        </p:txBody>
      </p:sp>
    </p:spTree>
    <p:extLst>
      <p:ext uri="{BB962C8B-B14F-4D97-AF65-F5344CB8AC3E}">
        <p14:creationId xmlns:p14="http://schemas.microsoft.com/office/powerpoint/2010/main" val="234922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174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291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6/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132433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hyperlink" Target="http://www.presentationgo.com/" TargetMode="Externa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63482"/>
            <a:ext cx="10515600" cy="739056"/>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838200" y="1219200"/>
            <a:ext cx="10515600" cy="49577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0" y="6305911"/>
            <a:ext cx="12192000" cy="552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50" normalizeH="0" baseline="0" noProof="0">
                <a:ln>
                  <a:noFill/>
                </a:ln>
                <a:solidFill>
                  <a:prstClr val="white">
                    <a:lumMod val="75000"/>
                  </a:prstClr>
                </a:solidFill>
                <a:effectLst/>
                <a:uLnTx/>
                <a:uFillTx/>
                <a:latin typeface="+mn-lt"/>
                <a:ea typeface="+mn-ea"/>
                <a:cs typeface="+mn-cs"/>
              </a:rPr>
              <a:t>www.</a:t>
            </a:r>
            <a:r>
              <a:rPr kumimoji="0" lang="en-US" sz="3200" b="0" i="0" u="none" strike="noStrike" kern="1200" cap="none" spc="150" normalizeH="0" baseline="0" noProof="0">
                <a:ln>
                  <a:noFill/>
                </a:ln>
                <a:solidFill>
                  <a:prstClr val="black">
                    <a:lumMod val="85000"/>
                    <a:lumOff val="15000"/>
                  </a:prstClr>
                </a:solidFill>
                <a:effectLst/>
                <a:uLnTx/>
                <a:uFillTx/>
                <a:latin typeface="+mn-lt"/>
                <a:ea typeface="+mn-ea"/>
                <a:cs typeface="+mn-cs"/>
              </a:rPr>
              <a:t>presentationgo</a:t>
            </a:r>
            <a:r>
              <a:rPr kumimoji="0" lang="en-US" sz="3200" b="0" i="0" u="none" strike="noStrike" kern="1200" cap="none" spc="150" normalizeH="0" baseline="0" noProof="0">
                <a:ln>
                  <a:noFill/>
                </a:ln>
                <a:solidFill>
                  <a:prstClr val="white">
                    <a:lumMod val="75000"/>
                  </a:prstClr>
                </a:solidFill>
                <a:effectLst/>
                <a:uLnTx/>
                <a:uFillTx/>
                <a:latin typeface="+mn-lt"/>
                <a:ea typeface="+mn-ea"/>
                <a:cs typeface="+mn-cs"/>
              </a:rPr>
              <a:t>.com</a:t>
            </a:r>
          </a:p>
        </p:txBody>
      </p:sp>
      <p:sp>
        <p:nvSpPr>
          <p:cNvPr id="7" name="Rectangle 6"/>
          <p:cNvSpPr/>
          <p:nvPr userDrawn="1"/>
        </p:nvSpPr>
        <p:spPr>
          <a:xfrm>
            <a:off x="-12701" y="6959601"/>
            <a:ext cx="1661032" cy="261610"/>
          </a:xfrm>
          <a:prstGeom prst="rect">
            <a:avLst/>
          </a:prstGeom>
        </p:spPr>
        <p:txBody>
          <a:bodyPr wrap="none">
            <a:spAutoFit/>
          </a:bodyPr>
          <a:lstStyle/>
          <a:p>
            <a:r>
              <a:rPr lang="en-US" sz="1100" b="0" i="0">
                <a:solidFill>
                  <a:srgbClr val="555555"/>
                </a:solidFill>
                <a:effectLst/>
                <a:latin typeface="Open Sans" panose="020B0606030504020204" pitchFamily="34" charset="0"/>
              </a:rPr>
              <a:t>© </a:t>
            </a:r>
            <a:r>
              <a:rPr lang="en-US" sz="1100" b="0" i="0" u="none" strike="noStrike">
                <a:solidFill>
                  <a:srgbClr val="A5CD28"/>
                </a:solidFill>
                <a:effectLst/>
                <a:latin typeface="Open Sans" panose="020B0606030504020204" pitchFamily="34" charset="0"/>
                <a:hlinkClick r:id="rId4" tooltip="PresentationGo!"/>
              </a:rPr>
              <a:t>presentationgo.com</a:t>
            </a:r>
            <a:endParaRPr lang="en-US" sz="1100"/>
          </a:p>
        </p:txBody>
      </p:sp>
      <p:sp>
        <p:nvSpPr>
          <p:cNvPr id="13" name="Freeform 12"/>
          <p:cNvSpPr/>
          <p:nvPr userDrawn="1"/>
        </p:nvSpPr>
        <p:spPr>
          <a:xfrm rot="5400000">
            <a:off x="91178" y="173588"/>
            <a:ext cx="369496" cy="570902"/>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14" name="Group 13"/>
          <p:cNvGrpSpPr/>
          <p:nvPr userDrawn="1"/>
        </p:nvGrpSpPr>
        <p:grpSpPr>
          <a:xfrm>
            <a:off x="-1654908" y="-16654"/>
            <a:ext cx="1569183" cy="612144"/>
            <a:chOff x="-2096383" y="21447"/>
            <a:chExt cx="1569183" cy="612144"/>
          </a:xfrm>
        </p:grpSpPr>
        <p:sp>
          <p:nvSpPr>
            <p:cNvPr id="15" name="TextBox 14"/>
            <p:cNvSpPr txBox="1"/>
            <p:nvPr userDrawn="1"/>
          </p:nvSpPr>
          <p:spPr>
            <a:xfrm>
              <a:off x="-2096383" y="21447"/>
              <a:ext cx="365806" cy="246221"/>
            </a:xfrm>
            <a:prstGeom prst="rect">
              <a:avLst/>
            </a:prstGeom>
            <a:noFill/>
          </p:spPr>
          <p:txBody>
            <a:bodyPr wrap="none" rtlCol="0">
              <a:spAutoFit/>
            </a:bodyPr>
            <a:lstStyle/>
            <a:p>
              <a:r>
                <a:rPr lang="en-US" sz="1000">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4810" cy="246221"/>
            </a:xfrm>
            <a:prstGeom prst="rect">
              <a:avLst/>
            </a:prstGeom>
            <a:noFill/>
          </p:spPr>
          <p:txBody>
            <a:bodyPr wrap="none" rtlCol="0">
              <a:spAutoFit/>
            </a:bodyPr>
            <a:lstStyle/>
            <a:p>
              <a:r>
                <a:rPr lang="en-US" sz="1000">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5"/>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2055134626"/>
      </p:ext>
    </p:extLst>
  </p:cSld>
  <p:clrMap bg1="lt1" tx1="dk1" bg2="lt2" tx2="dk2" accent1="accent1" accent2="accent2" accent3="accent3" accent4="accent4" accent5="accent5" accent6="accent6" hlink="hlink" folHlink="folHlink"/>
  <p:sldLayoutIdLst>
    <p:sldLayoutId id="2147483879" r:id="rId1"/>
    <p:sldLayoutId id="2147483688" r:id="rId2"/>
  </p:sldLayoutIdLst>
  <p:txStyles>
    <p:title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040F1C-5E71-4E09-9F76-E885A8F25B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2E507F-3029-4A9E-8E55-B49197637E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63AEF-023A-458D-BD00-7DD0C4CABC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7D4D07-2C4E-46CA-860E-E4A7D1249CC7}" type="datetimeFigureOut">
              <a:rPr lang="en-US" smtClean="0"/>
              <a:t>6/6/2024</a:t>
            </a:fld>
            <a:endParaRPr lang="en-US"/>
          </a:p>
        </p:txBody>
      </p:sp>
      <p:sp>
        <p:nvSpPr>
          <p:cNvPr id="5" name="Footer Placeholder 4">
            <a:extLst>
              <a:ext uri="{FF2B5EF4-FFF2-40B4-BE49-F238E27FC236}">
                <a16:creationId xmlns:a16="http://schemas.microsoft.com/office/drawing/2014/main" id="{57BBCC3A-D1B3-4B64-8069-94ED5428AC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C303CA1-F2E2-45C0-AC17-126CAC1632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BBDB18-2040-4A28-83EE-5394128CA59B}" type="slidenum">
              <a:rPr lang="en-US" smtClean="0"/>
              <a:t>‹#›</a:t>
            </a:fld>
            <a:endParaRPr lang="en-US"/>
          </a:p>
        </p:txBody>
      </p:sp>
    </p:spTree>
    <p:extLst>
      <p:ext uri="{BB962C8B-B14F-4D97-AF65-F5344CB8AC3E}">
        <p14:creationId xmlns:p14="http://schemas.microsoft.com/office/powerpoint/2010/main" val="1176591607"/>
      </p:ext>
    </p:extLst>
  </p:cSld>
  <p:clrMap bg1="lt1" tx1="dk1" bg2="lt2" tx2="dk2" accent1="accent1" accent2="accent2" accent3="accent3" accent4="accent4" accent5="accent5" accent6="accent6" hlink="hlink" folHlink="folHlink"/>
  <p:sldLayoutIdLst>
    <p:sldLayoutId id="2147483649" r:id="rId1"/>
    <p:sldLayoutId id="2147483893" r:id="rId2"/>
    <p:sldLayoutId id="2147483894" r:id="rId3"/>
    <p:sldLayoutId id="2147483895" r:id="rId4"/>
    <p:sldLayoutId id="2147483896" r:id="rId5"/>
    <p:sldLayoutId id="214748389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7B62F8-1EB9-4847-8A29-DB457DA12F92}"/>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Object 7" hidden="1">
                        <a:extLst>
                          <a:ext uri="{FF2B5EF4-FFF2-40B4-BE49-F238E27FC236}">
                            <a16:creationId xmlns:a16="http://schemas.microsoft.com/office/drawing/2014/main" id="{037B62F8-1EB9-4847-8A29-DB457DA12F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C997F2F-A5E5-42EA-8EB1-5F60BB52AFFD}"/>
              </a:ext>
            </a:extLst>
          </p:cNvPr>
          <p:cNvSpPr>
            <a:spLocks noGrp="1"/>
          </p:cNvSpPr>
          <p:nvPr>
            <p:ph type="title"/>
          </p:nvPr>
        </p:nvSpPr>
        <p:spPr>
          <a:xfrm>
            <a:off x="381000" y="605407"/>
            <a:ext cx="11430000" cy="387798"/>
          </a:xfrm>
          <a:prstGeom prst="rect">
            <a:avLst/>
          </a:prstGeom>
        </p:spPr>
        <p:txBody>
          <a:bodyPr vert="horz" wrap="square" lIns="0" tIns="0" rIns="0" bIns="0" rtlCol="0" anchor="ctr">
            <a:spAutoFit/>
          </a:bodyPr>
          <a:lstStyle/>
          <a:p>
            <a:r>
              <a:rPr lang="en-US"/>
              <a:t>Click to edit Master title style</a:t>
            </a:r>
          </a:p>
        </p:txBody>
      </p:sp>
      <p:sp>
        <p:nvSpPr>
          <p:cNvPr id="3" name="Text Placeholder 2">
            <a:extLst>
              <a:ext uri="{FF2B5EF4-FFF2-40B4-BE49-F238E27FC236}">
                <a16:creationId xmlns:a16="http://schemas.microsoft.com/office/drawing/2014/main" id="{92D9281B-84A4-4590-885B-5B6EE01EF3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5D728-943A-451C-96DD-FED4F1B7D7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370CD6-7466-4791-B1F3-50AC89E13B1C}" type="datetimeFigureOut">
              <a:rPr lang="en-US" smtClean="0"/>
              <a:t>6/6/2024</a:t>
            </a:fld>
            <a:endParaRPr lang="en-US"/>
          </a:p>
        </p:txBody>
      </p:sp>
      <p:sp>
        <p:nvSpPr>
          <p:cNvPr id="5" name="Footer Placeholder 4">
            <a:extLst>
              <a:ext uri="{FF2B5EF4-FFF2-40B4-BE49-F238E27FC236}">
                <a16:creationId xmlns:a16="http://schemas.microsoft.com/office/drawing/2014/main" id="{A8FD479E-F1BF-4E62-9423-50C7F386D4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EA7D312-D6BB-4575-8B3A-FB3394B390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8A9C9F-6529-47A5-933F-EFE9FB6CBA2B}" type="slidenum">
              <a:rPr lang="en-US" smtClean="0"/>
              <a:t>‹#›</a:t>
            </a:fld>
            <a:endParaRPr lang="en-US"/>
          </a:p>
        </p:txBody>
      </p:sp>
    </p:spTree>
    <p:extLst>
      <p:ext uri="{BB962C8B-B14F-4D97-AF65-F5344CB8AC3E}">
        <p14:creationId xmlns:p14="http://schemas.microsoft.com/office/powerpoint/2010/main" val="1650866753"/>
      </p:ext>
    </p:extLst>
  </p:cSld>
  <p:clrMap bg1="lt1" tx1="dk1" bg2="lt2" tx2="dk2" accent1="accent1" accent2="accent2" accent3="accent3" accent4="accent4" accent5="accent5" accent6="accent6" hlink="hlink" folHlink="folHlink"/>
  <p:sldLayoutIdLst>
    <p:sldLayoutId id="2147483791" r:id="rId1"/>
    <p:sldLayoutId id="2147483680" r:id="rId2"/>
    <p:sldLayoutId id="2147483678" r:id="rId3"/>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40">
          <p15:clr>
            <a:srgbClr val="F26B43"/>
          </p15:clr>
        </p15:guide>
        <p15:guide id="3" pos="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28066" y="52527"/>
            <a:ext cx="11535867" cy="1017269"/>
          </a:xfrm>
          <a:prstGeom prst="rect">
            <a:avLst/>
          </a:prstGeom>
        </p:spPr>
        <p:txBody>
          <a:bodyPr wrap="square" lIns="0" tIns="0" rIns="0" bIns="0">
            <a:spAutoFit/>
          </a:bodyPr>
          <a:lstStyle>
            <a:lvl1pPr>
              <a:defRPr sz="3200" b="1" i="0">
                <a:solidFill>
                  <a:schemeClr val="tx1"/>
                </a:solidFill>
                <a:latin typeface="Carlito"/>
                <a:cs typeface="Carlito"/>
              </a:defRPr>
            </a:lvl1pPr>
          </a:lstStyle>
          <a:p>
            <a:endParaRPr/>
          </a:p>
        </p:txBody>
      </p:sp>
      <p:sp>
        <p:nvSpPr>
          <p:cNvPr id="3" name="Holder 3"/>
          <p:cNvSpPr>
            <a:spLocks noGrp="1"/>
          </p:cNvSpPr>
          <p:nvPr>
            <p:ph type="body" idx="1"/>
          </p:nvPr>
        </p:nvSpPr>
        <p:spPr>
          <a:xfrm>
            <a:off x="149148" y="2000249"/>
            <a:ext cx="11893702" cy="18542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6/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733"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oleObject" Target="../embeddings/oleObject7.bin"/><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slideLayout" Target="../slideLayouts/slideLayout10.xml"/><Relationship Id="rId16" Type="http://schemas.openxmlformats.org/officeDocument/2006/relationships/image" Target="../media/image52.png"/><Relationship Id="rId20" Type="http://schemas.openxmlformats.org/officeDocument/2006/relationships/image" Target="../media/image56.svg"/><Relationship Id="rId1" Type="http://schemas.openxmlformats.org/officeDocument/2006/relationships/tags" Target="../tags/tag8.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hyperlink" Target="https://goo.gl/Vcjjyp" TargetMode="External"/><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3.emf"/><Relationship Id="rId9" Type="http://schemas.openxmlformats.org/officeDocument/2006/relationships/image" Target="../media/image45.svg"/><Relationship Id="rId14" Type="http://schemas.openxmlformats.org/officeDocument/2006/relationships/image" Target="../media/image50.pn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hyperlink" Target="https://www.researchgate.net/figure/Common-adverse-impacts-of-climate-change-on-the-environment_fig2_352196181" TargetMode="External"/><Relationship Id="rId2" Type="http://schemas.openxmlformats.org/officeDocument/2006/relationships/image" Target="../media/image34.png"/><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6.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39.jp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0.png"/><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8.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D7AA23-AFB5-4910-A91B-66D32160A2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F3D7AA23-AFB5-4910-A91B-66D32160A2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7F3BA61-E284-4A11-A7F1-56BC687F2037}"/>
              </a:ext>
            </a:extLst>
          </p:cNvPr>
          <p:cNvSpPr>
            <a:spLocks noGrp="1"/>
          </p:cNvSpPr>
          <p:nvPr>
            <p:ph type="subTitle" idx="1"/>
          </p:nvPr>
        </p:nvSpPr>
        <p:spPr>
          <a:xfrm>
            <a:off x="108489" y="4650143"/>
            <a:ext cx="4950495" cy="575312"/>
          </a:xfrm>
        </p:spPr>
        <p:txBody>
          <a:bodyPr/>
          <a:lstStyle/>
          <a:p>
            <a:r>
              <a:rPr lang="en-US" i="1"/>
              <a:t>Enabling 1 Million Artificial Intelligence talents in Africa</a:t>
            </a:r>
          </a:p>
        </p:txBody>
      </p:sp>
      <p:sp>
        <p:nvSpPr>
          <p:cNvPr id="4" name="Title 1">
            <a:extLst>
              <a:ext uri="{FF2B5EF4-FFF2-40B4-BE49-F238E27FC236}">
                <a16:creationId xmlns:a16="http://schemas.microsoft.com/office/drawing/2014/main" id="{9173154B-B940-46D2-99E5-F2F5BE141CCF}"/>
              </a:ext>
            </a:extLst>
          </p:cNvPr>
          <p:cNvSpPr txBox="1">
            <a:spLocks/>
          </p:cNvSpPr>
          <p:nvPr/>
        </p:nvSpPr>
        <p:spPr>
          <a:xfrm>
            <a:off x="1940188" y="125423"/>
            <a:ext cx="10421187" cy="7035772"/>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4800" b="1" kern="1200">
                <a:solidFill>
                  <a:schemeClr val="bg1"/>
                </a:solidFill>
                <a:latin typeface="Calibri" panose="020F0502020204030204" pitchFamily="34" charset="0"/>
                <a:ea typeface="+mj-ea"/>
                <a:cs typeface="Calibri" panose="020F0502020204030204" pitchFamily="34" charset="0"/>
              </a:defRPr>
            </a:lvl1pPr>
          </a:lstStyle>
          <a:p>
            <a:pPr algn="ctr"/>
            <a:r>
              <a:rPr lang="en-US" sz="3200" i="1" dirty="0">
                <a:latin typeface="Calibri"/>
                <a:cs typeface="Calibri"/>
              </a:rPr>
              <a:t>A Workshop </a:t>
            </a:r>
          </a:p>
          <a:p>
            <a:pPr algn="ctr"/>
            <a:endParaRPr lang="en-US" sz="3200" i="1" dirty="0">
              <a:latin typeface="Calibri"/>
              <a:cs typeface="Calibri"/>
            </a:endParaRPr>
          </a:p>
          <a:p>
            <a:pPr algn="ctr"/>
            <a:r>
              <a:rPr lang="en-US" sz="3200" i="1" dirty="0">
                <a:latin typeface="Calibri"/>
                <a:cs typeface="Calibri"/>
              </a:rPr>
              <a:t>On</a:t>
            </a:r>
          </a:p>
          <a:p>
            <a:pPr algn="ctr"/>
            <a:br>
              <a:rPr lang="en-US" sz="3200" i="1" dirty="0">
                <a:latin typeface="Calibri"/>
                <a:ea typeface="Calibri"/>
                <a:cs typeface="Calibri"/>
              </a:rPr>
            </a:br>
            <a:r>
              <a:rPr lang="en-US" b="0" dirty="0">
                <a:latin typeface="Calibri"/>
                <a:cs typeface="Calibri"/>
              </a:rPr>
              <a:t>Geospatial Artificial Intelligence for </a:t>
            </a:r>
            <a:r>
              <a:rPr lang="en-US" b="0">
                <a:latin typeface="Calibri"/>
                <a:cs typeface="Calibri"/>
              </a:rPr>
              <a:t>Climate Change Mitigation.</a:t>
            </a:r>
            <a:endParaRPr lang="en-US" sz="3200">
              <a:latin typeface="Calibri"/>
              <a:cs typeface="Calibri"/>
            </a:endParaRPr>
          </a:p>
          <a:p>
            <a:pPr algn="ctr"/>
            <a:endParaRPr lang="en-GB" sz="3200" b="1" dirty="0">
              <a:latin typeface="Calibri"/>
              <a:cs typeface="Calibri"/>
            </a:endParaRPr>
          </a:p>
          <a:p>
            <a:pPr algn="ctr"/>
            <a:endParaRPr lang="en-GB" sz="3200" dirty="0">
              <a:latin typeface="Calibri"/>
              <a:cs typeface="Calibri"/>
            </a:endParaRPr>
          </a:p>
          <a:p>
            <a:pPr algn="ctr"/>
            <a:r>
              <a:rPr lang="en-GB" sz="3200">
                <a:latin typeface="Calibri"/>
                <a:cs typeface="Calibri"/>
              </a:rPr>
              <a:t>By</a:t>
            </a:r>
            <a:endParaRPr lang="en-US" sz="3200">
              <a:latin typeface="Calibri"/>
              <a:cs typeface="Calibri"/>
            </a:endParaRPr>
          </a:p>
          <a:p>
            <a:pPr algn="ctr"/>
            <a:endParaRPr lang="en-GB" sz="3200" dirty="0">
              <a:latin typeface="Calibri"/>
              <a:cs typeface="Calibri"/>
            </a:endParaRPr>
          </a:p>
          <a:p>
            <a:pPr algn="ctr"/>
            <a:r>
              <a:rPr lang="en-GB" sz="3200" dirty="0">
                <a:latin typeface="Calibri"/>
                <a:cs typeface="Calibri"/>
              </a:rPr>
              <a:t>Serah </a:t>
            </a:r>
            <a:r>
              <a:rPr lang="en-GB" sz="3200" dirty="0" err="1">
                <a:latin typeface="Calibri"/>
                <a:cs typeface="Calibri"/>
              </a:rPr>
              <a:t>Akojenu</a:t>
            </a:r>
            <a:r>
              <a:rPr lang="en-GB" sz="3200" dirty="0">
                <a:latin typeface="Calibri"/>
                <a:cs typeface="Calibri"/>
              </a:rPr>
              <a:t> and Rashidat Sikiru</a:t>
            </a:r>
            <a:r>
              <a:rPr lang="en-US" sz="3200" i="1" dirty="0">
                <a:latin typeface="Calibri"/>
                <a:cs typeface="Calibri"/>
              </a:rPr>
              <a:t> </a:t>
            </a:r>
            <a:endParaRPr lang="en-US" dirty="0"/>
          </a:p>
          <a:p>
            <a:pPr algn="ctr"/>
            <a:endParaRPr lang="en-US" sz="3200" i="1" dirty="0">
              <a:ea typeface="Calibri"/>
            </a:endParaRPr>
          </a:p>
          <a:p>
            <a:pPr algn="ctr"/>
            <a:endParaRPr lang="en-US" sz="3200" i="1" dirty="0">
              <a:ea typeface="Calibri"/>
            </a:endParaRPr>
          </a:p>
          <a:p>
            <a:pPr algn="ctr"/>
            <a:r>
              <a:rPr lang="en-US" sz="2800" i="1" dirty="0">
                <a:latin typeface="Calibri"/>
                <a:ea typeface="Calibri"/>
                <a:cs typeface="Calibri"/>
              </a:rPr>
              <a:t>Date: 6th June, 2024</a:t>
            </a:r>
            <a:endParaRPr lang="en-US" sz="2800" i="1" dirty="0">
              <a:ea typeface="Calibri" panose="020F0502020204030204" pitchFamily="34" charset="0"/>
            </a:endParaRPr>
          </a:p>
          <a:p>
            <a:pPr algn="ctr"/>
            <a:endParaRPr lang="en-US" sz="3200" i="1" dirty="0">
              <a:ea typeface="Calibri" panose="020F0502020204030204" pitchFamily="34" charset="0"/>
            </a:endParaRPr>
          </a:p>
        </p:txBody>
      </p:sp>
    </p:spTree>
    <p:extLst>
      <p:ext uri="{BB962C8B-B14F-4D97-AF65-F5344CB8AC3E}">
        <p14:creationId xmlns:p14="http://schemas.microsoft.com/office/powerpoint/2010/main" val="31691397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A5AAD2-3D91-4892-BEB1-FE0EEC4FC8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09A5AAD2-3D91-4892-BEB1-FE0EEC4FC8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object 2">
            <a:extLst>
              <a:ext uri="{FF2B5EF4-FFF2-40B4-BE49-F238E27FC236}">
                <a16:creationId xmlns:a16="http://schemas.microsoft.com/office/drawing/2014/main" id="{7DFC6305-C34A-4719-A1A3-7CBA6B00E63A}"/>
              </a:ext>
            </a:extLst>
          </p:cNvPr>
          <p:cNvSpPr txBox="1"/>
          <p:nvPr/>
        </p:nvSpPr>
        <p:spPr>
          <a:xfrm>
            <a:off x="421148" y="2980730"/>
            <a:ext cx="4445001" cy="307777"/>
          </a:xfrm>
          <a:prstGeom prst="rect">
            <a:avLst/>
          </a:prstGeom>
        </p:spPr>
        <p:txBody>
          <a:bodyPr vert="horz" wrap="square" lIns="0" tIns="0" rIns="0" bIns="0" rtlCol="0" anchor="t">
            <a:spAutoFit/>
          </a:bodyPr>
          <a:lstStyle/>
          <a:p>
            <a:pPr marL="12700" marR="0" lvl="0" indent="0" algn="l" defTabSz="914400" rtl="0" eaLnBrk="1" fontAlgn="auto" latinLnBrk="0" hangingPunct="1">
              <a:lnSpc>
                <a:spcPct val="100000"/>
              </a:lnSpc>
              <a:spcBef>
                <a:spcPts val="2925"/>
              </a:spcBef>
              <a:spcAft>
                <a:spcPts val="0"/>
              </a:spcAft>
              <a:buClrTx/>
              <a:buSzTx/>
              <a:buFontTx/>
              <a:buNone/>
              <a:tabLst/>
              <a:defRPr/>
            </a:pPr>
            <a:r>
              <a:rPr kumimoji="0" lang="en-GB" sz="2000" b="1" i="0" u="none" strike="noStrike" kern="1200" cap="none" spc="-5" normalizeH="0" baseline="0" noProof="0">
                <a:ln>
                  <a:noFill/>
                </a:ln>
                <a:solidFill>
                  <a:prstClr val="black"/>
                </a:solidFill>
                <a:effectLst/>
                <a:uLnTx/>
                <a:uFillTx/>
                <a:latin typeface="Calibri"/>
                <a:ea typeface="+mn-ea"/>
                <a:cs typeface="Calibri"/>
              </a:rPr>
              <a:t>Data Scientists Network Foundation</a:t>
            </a:r>
          </a:p>
        </p:txBody>
      </p:sp>
      <p:sp>
        <p:nvSpPr>
          <p:cNvPr id="6" name="object 2">
            <a:extLst>
              <a:ext uri="{FF2B5EF4-FFF2-40B4-BE49-F238E27FC236}">
                <a16:creationId xmlns:a16="http://schemas.microsoft.com/office/drawing/2014/main" id="{DD5CFE5E-A4AE-49BC-A33A-FA81BF7C966D}"/>
              </a:ext>
            </a:extLst>
          </p:cNvPr>
          <p:cNvSpPr txBox="1"/>
          <p:nvPr/>
        </p:nvSpPr>
        <p:spPr>
          <a:xfrm>
            <a:off x="895862" y="3514603"/>
            <a:ext cx="4445001" cy="3075137"/>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rPr>
              <a:t>Website: www.datasciencenigeria.org</a:t>
            </a:r>
          </a:p>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rPr>
              <a:t>Twitter: dsn_ai_network</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Arial"/>
              <a:cs typeface="Calibri" panose="020F0502020204030204" pitchFamily="34" charset="0"/>
              <a:sym typeface="Arial"/>
            </a:endParaRPr>
          </a:p>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rPr>
              <a:t>Instagram: dsn_ai_network</a:t>
            </a:r>
          </a:p>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rPr>
              <a:t>Facebook: facebook.com/dsnailive</a:t>
            </a:r>
          </a:p>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rPr>
              <a:t>YouTube: </a:t>
            </a: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hlinkClick r:id="rId5"/>
              </a:rPr>
              <a:t>https://goo.gl/Vcjjyp</a:t>
            </a:r>
            <a:endParaRPr kumimoji="0" lang="en-US" sz="1400" b="0" i="0" u="none" strike="noStrike" kern="1200" cap="none" spc="0" normalizeH="0" baseline="0" noProof="0">
              <a:ln>
                <a:noFill/>
              </a:ln>
              <a:solidFill>
                <a:prstClr val="black"/>
              </a:solidFill>
              <a:effectLst/>
              <a:uLnTx/>
              <a:uFillTx/>
              <a:latin typeface="Calibri"/>
              <a:ea typeface="Arial"/>
              <a:cs typeface="Calibri"/>
              <a:sym typeface="Arial"/>
            </a:endParaRPr>
          </a:p>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rPr>
              <a:t>Linkedin: https:linkedin.com/company/dsnai/</a:t>
            </a:r>
          </a:p>
          <a:p>
            <a:pPr marL="0" marR="0" lvl="0" indent="0" algn="l" defTabSz="914400" rtl="0" eaLnBrk="1" fontAlgn="auto" latinLnBrk="0" hangingPunct="1">
              <a:lnSpc>
                <a:spcPct val="150000"/>
              </a:lnSpc>
              <a:spcBef>
                <a:spcPts val="1065"/>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Arial"/>
                <a:cs typeface="Calibri"/>
                <a:sym typeface="Arial"/>
              </a:rPr>
              <a:t>Annual Report: https://bit.ly/DSNAnnualreport-2021-2022</a:t>
            </a:r>
            <a:endParaRPr kumimoji="0" lang="en-US" sz="1400" b="0" i="0" u="none" strike="noStrike" kern="1200" cap="none" spc="0" normalizeH="0" baseline="0" noProof="0">
              <a:ln>
                <a:noFill/>
              </a:ln>
              <a:solidFill>
                <a:prstClr val="black"/>
              </a:solidFill>
              <a:effectLst/>
              <a:uLnTx/>
              <a:uFillTx/>
              <a:latin typeface="Calibri"/>
              <a:ea typeface="Arial"/>
              <a:cs typeface="Calibri"/>
            </a:endParaRPr>
          </a:p>
        </p:txBody>
      </p:sp>
      <p:pic>
        <p:nvPicPr>
          <p:cNvPr id="8" name="Graphic 7">
            <a:extLst>
              <a:ext uri="{FF2B5EF4-FFF2-40B4-BE49-F238E27FC236}">
                <a16:creationId xmlns:a16="http://schemas.microsoft.com/office/drawing/2014/main" id="{C5C1ECC6-5443-4799-8FFD-55B91B4184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0811" y="3544099"/>
            <a:ext cx="294968" cy="294968"/>
          </a:xfrm>
          <a:prstGeom prst="rect">
            <a:avLst/>
          </a:prstGeom>
        </p:spPr>
      </p:pic>
      <p:pic>
        <p:nvPicPr>
          <p:cNvPr id="10" name="Graphic 9">
            <a:extLst>
              <a:ext uri="{FF2B5EF4-FFF2-40B4-BE49-F238E27FC236}">
                <a16:creationId xmlns:a16="http://schemas.microsoft.com/office/drawing/2014/main" id="{74672B7A-F840-490F-9F44-8B06B14733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1148" y="3999866"/>
            <a:ext cx="334294" cy="334294"/>
          </a:xfrm>
          <a:prstGeom prst="rect">
            <a:avLst/>
          </a:prstGeom>
        </p:spPr>
      </p:pic>
      <p:pic>
        <p:nvPicPr>
          <p:cNvPr id="12" name="Graphic 11">
            <a:extLst>
              <a:ext uri="{FF2B5EF4-FFF2-40B4-BE49-F238E27FC236}">
                <a16:creationId xmlns:a16="http://schemas.microsoft.com/office/drawing/2014/main" id="{068B4F18-E082-445C-A507-5322D8C8330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3271" y="4445407"/>
            <a:ext cx="330200" cy="330200"/>
          </a:xfrm>
          <a:prstGeom prst="rect">
            <a:avLst/>
          </a:prstGeom>
        </p:spPr>
      </p:pic>
      <p:pic>
        <p:nvPicPr>
          <p:cNvPr id="14" name="Graphic 13">
            <a:extLst>
              <a:ext uri="{FF2B5EF4-FFF2-40B4-BE49-F238E27FC236}">
                <a16:creationId xmlns:a16="http://schemas.microsoft.com/office/drawing/2014/main" id="{4356F2FE-A517-42D7-B339-FD1409FB65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0734" y="4935416"/>
            <a:ext cx="295274" cy="295274"/>
          </a:xfrm>
          <a:prstGeom prst="rect">
            <a:avLst/>
          </a:prstGeom>
        </p:spPr>
      </p:pic>
      <p:pic>
        <p:nvPicPr>
          <p:cNvPr id="18" name="Graphic 17">
            <a:extLst>
              <a:ext uri="{FF2B5EF4-FFF2-40B4-BE49-F238E27FC236}">
                <a16:creationId xmlns:a16="http://schemas.microsoft.com/office/drawing/2014/main" id="{A30B0CBA-DC3D-42C9-80AD-49CAD70095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8745" y="6300425"/>
            <a:ext cx="209550" cy="209550"/>
          </a:xfrm>
          <a:prstGeom prst="rect">
            <a:avLst/>
          </a:prstGeom>
        </p:spPr>
      </p:pic>
      <p:pic>
        <p:nvPicPr>
          <p:cNvPr id="20" name="Graphic 19">
            <a:extLst>
              <a:ext uri="{FF2B5EF4-FFF2-40B4-BE49-F238E27FC236}">
                <a16:creationId xmlns:a16="http://schemas.microsoft.com/office/drawing/2014/main" id="{8D799193-DE91-4E10-B18D-E5C004FC1C1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5762" y="5395151"/>
            <a:ext cx="265218" cy="265218"/>
          </a:xfrm>
          <a:prstGeom prst="rect">
            <a:avLst/>
          </a:prstGeom>
        </p:spPr>
      </p:pic>
      <p:pic>
        <p:nvPicPr>
          <p:cNvPr id="15" name="object 5">
            <a:extLst>
              <a:ext uri="{FF2B5EF4-FFF2-40B4-BE49-F238E27FC236}">
                <a16:creationId xmlns:a16="http://schemas.microsoft.com/office/drawing/2014/main" id="{1717410A-FE48-947B-A84E-E77C32F45252}"/>
              </a:ext>
            </a:extLst>
          </p:cNvPr>
          <p:cNvPicPr/>
          <p:nvPr/>
        </p:nvPicPr>
        <p:blipFill>
          <a:blip r:embed="rId18" cstate="print"/>
          <a:stretch>
            <a:fillRect/>
          </a:stretch>
        </p:blipFill>
        <p:spPr>
          <a:xfrm>
            <a:off x="1858452" y="1466709"/>
            <a:ext cx="1570392" cy="1349779"/>
          </a:xfrm>
          <a:prstGeom prst="rect">
            <a:avLst/>
          </a:prstGeom>
        </p:spPr>
      </p:pic>
      <p:pic>
        <p:nvPicPr>
          <p:cNvPr id="3" name="Graphic 2" descr="Link outline">
            <a:extLst>
              <a:ext uri="{FF2B5EF4-FFF2-40B4-BE49-F238E27FC236}">
                <a16:creationId xmlns:a16="http://schemas.microsoft.com/office/drawing/2014/main" id="{15D4E410-C161-15DA-5C31-7234E7A7E9F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78745" y="5782308"/>
            <a:ext cx="396178" cy="396178"/>
          </a:xfrm>
          <a:prstGeom prst="rect">
            <a:avLst/>
          </a:prstGeom>
        </p:spPr>
      </p:pic>
    </p:spTree>
    <p:extLst>
      <p:ext uri="{BB962C8B-B14F-4D97-AF65-F5344CB8AC3E}">
        <p14:creationId xmlns:p14="http://schemas.microsoft.com/office/powerpoint/2010/main" val="175680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81000" y="6048755"/>
            <a:ext cx="1184148" cy="618744"/>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0" y="6781799"/>
            <a:ext cx="12192000" cy="76200"/>
          </a:xfrm>
          <a:custGeom>
            <a:avLst/>
            <a:gdLst/>
            <a:ahLst/>
            <a:cxnLst/>
            <a:rect l="l" t="t" r="r" b="b"/>
            <a:pathLst>
              <a:path w="12192000" h="76200">
                <a:moveTo>
                  <a:pt x="12192000" y="0"/>
                </a:moveTo>
                <a:lnTo>
                  <a:pt x="0" y="0"/>
                </a:lnTo>
                <a:lnTo>
                  <a:pt x="0" y="76200"/>
                </a:lnTo>
                <a:lnTo>
                  <a:pt x="12192000" y="76200"/>
                </a:lnTo>
                <a:lnTo>
                  <a:pt x="12192000" y="0"/>
                </a:lnTo>
                <a:close/>
              </a:path>
            </a:pathLst>
          </a:custGeom>
          <a:solidFill>
            <a:srgbClr val="097909"/>
          </a:solidFill>
        </p:spPr>
        <p:txBody>
          <a:bodyPr wrap="square" lIns="0" tIns="0" rIns="0" bIns="0" rtlCol="0"/>
          <a:lstStyle/>
          <a:p>
            <a:endParaRPr/>
          </a:p>
        </p:txBody>
      </p:sp>
      <p:grpSp>
        <p:nvGrpSpPr>
          <p:cNvPr id="4" name="object 4"/>
          <p:cNvGrpSpPr/>
          <p:nvPr/>
        </p:nvGrpSpPr>
        <p:grpSpPr>
          <a:xfrm>
            <a:off x="381000" y="1105280"/>
            <a:ext cx="1185545" cy="57150"/>
            <a:chOff x="381000" y="1105280"/>
            <a:chExt cx="1185545" cy="57150"/>
          </a:xfrm>
        </p:grpSpPr>
        <p:sp>
          <p:nvSpPr>
            <p:cNvPr id="5" name="object 5"/>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6" name="object 6"/>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
        <p:nvSpPr>
          <p:cNvPr id="8" name="object 8"/>
          <p:cNvSpPr txBox="1">
            <a:spLocks noGrp="1"/>
          </p:cNvSpPr>
          <p:nvPr>
            <p:ph type="title"/>
          </p:nvPr>
        </p:nvSpPr>
        <p:spPr>
          <a:xfrm>
            <a:off x="372679" y="501328"/>
            <a:ext cx="2449478" cy="505908"/>
          </a:xfrm>
          <a:prstGeom prst="rect">
            <a:avLst/>
          </a:prstGeom>
        </p:spPr>
        <p:txBody>
          <a:bodyPr vert="horz" wrap="square" lIns="0" tIns="13335" rIns="0" bIns="0" rtlCol="0">
            <a:spAutoFit/>
          </a:bodyPr>
          <a:lstStyle/>
          <a:p>
            <a:pPr marL="12700">
              <a:lnSpc>
                <a:spcPct val="100000"/>
              </a:lnSpc>
              <a:spcBef>
                <a:spcPts val="105"/>
              </a:spcBef>
            </a:pPr>
            <a:r>
              <a:rPr lang="en-US" dirty="0">
                <a:latin typeface="Calibri"/>
                <a:ea typeface="Calibri"/>
                <a:cs typeface="Calibri"/>
              </a:rPr>
              <a:t>Outline</a:t>
            </a:r>
            <a:endParaRPr lang="en-US" spc="-5" dirty="0">
              <a:latin typeface="Calibri"/>
              <a:ea typeface="Calibri"/>
              <a:cs typeface="Calibri"/>
            </a:endParaRPr>
          </a:p>
        </p:txBody>
      </p:sp>
      <p:sp>
        <p:nvSpPr>
          <p:cNvPr id="9" name="object 9"/>
          <p:cNvSpPr txBox="1"/>
          <p:nvPr/>
        </p:nvSpPr>
        <p:spPr>
          <a:xfrm>
            <a:off x="398261" y="1279565"/>
            <a:ext cx="5635255" cy="3864648"/>
          </a:xfrm>
          <a:prstGeom prst="rect">
            <a:avLst/>
          </a:prstGeom>
        </p:spPr>
        <p:txBody>
          <a:bodyPr vert="horz" wrap="square" lIns="0" tIns="12700" rIns="0" bIns="0" rtlCol="0" anchor="t">
            <a:spAutoFit/>
          </a:bodyPr>
          <a:lstStyle/>
          <a:p>
            <a:pPr marL="584200" marR="5080" indent="-571500">
              <a:lnSpc>
                <a:spcPct val="150000"/>
              </a:lnSpc>
              <a:spcBef>
                <a:spcPts val="100"/>
              </a:spcBef>
              <a:buFont typeface="Arial" panose="020B0604020202020204" pitchFamily="34" charset="0"/>
              <a:buChar char="•"/>
            </a:pPr>
            <a:r>
              <a:rPr lang="en-US" sz="2800" b="1" spc="-5" dirty="0">
                <a:latin typeface="Calibri"/>
                <a:cs typeface="Times New Roman"/>
              </a:rPr>
              <a:t>Overview of Climate change</a:t>
            </a:r>
          </a:p>
          <a:p>
            <a:pPr marL="584200" marR="5080" indent="-571500">
              <a:lnSpc>
                <a:spcPct val="150000"/>
              </a:lnSpc>
              <a:spcBef>
                <a:spcPts val="100"/>
              </a:spcBef>
              <a:buFont typeface="Arial" panose="020B0604020202020204" pitchFamily="34" charset="0"/>
              <a:buChar char="•"/>
            </a:pPr>
            <a:r>
              <a:rPr lang="en-US" sz="2800" b="1" spc="-5" dirty="0">
                <a:latin typeface="Calibri"/>
                <a:cs typeface="Times New Roman"/>
              </a:rPr>
              <a:t>Overview of geospatial science and its data types</a:t>
            </a:r>
            <a:endParaRPr lang="en-US" sz="2800" b="1" spc="-5" dirty="0">
              <a:latin typeface="Calibri"/>
              <a:cs typeface="Times New Roman" panose="02020603050405020304" pitchFamily="18" charset="0"/>
            </a:endParaRPr>
          </a:p>
          <a:p>
            <a:pPr marL="584200" marR="5080" indent="-571500">
              <a:lnSpc>
                <a:spcPct val="150000"/>
              </a:lnSpc>
              <a:spcBef>
                <a:spcPts val="100"/>
              </a:spcBef>
              <a:buFont typeface="Arial" panose="020B0604020202020204" pitchFamily="34" charset="0"/>
              <a:buChar char="•"/>
            </a:pPr>
            <a:r>
              <a:rPr lang="en-US" sz="2800" b="1" spc="-5" dirty="0">
                <a:latin typeface="Calibri"/>
                <a:cs typeface="Times New Roman"/>
              </a:rPr>
              <a:t>Geospatial AI and its relevance</a:t>
            </a:r>
          </a:p>
          <a:p>
            <a:pPr marL="584200" marR="5080" indent="-571500">
              <a:lnSpc>
                <a:spcPct val="150000"/>
              </a:lnSpc>
              <a:spcBef>
                <a:spcPts val="100"/>
              </a:spcBef>
              <a:buFont typeface="Arial" panose="020B0604020202020204" pitchFamily="34" charset="0"/>
              <a:buChar char="•"/>
            </a:pPr>
            <a:r>
              <a:rPr lang="en-US" sz="2800" b="1" spc="-5" dirty="0">
                <a:latin typeface="Calibri"/>
                <a:cs typeface="Times New Roman"/>
              </a:rPr>
              <a:t>Application of </a:t>
            </a:r>
            <a:r>
              <a:rPr lang="en-US" sz="2800" b="1" spc="-5" err="1">
                <a:latin typeface="Calibri"/>
                <a:cs typeface="Times New Roman"/>
              </a:rPr>
              <a:t>GeoAI</a:t>
            </a:r>
            <a:endParaRPr lang="en-US" sz="2800" b="1" spc="-5">
              <a:latin typeface="Calibri"/>
              <a:cs typeface="Times New Roman"/>
            </a:endParaRPr>
          </a:p>
          <a:p>
            <a:pPr marL="584200" marR="5080" indent="-571500">
              <a:lnSpc>
                <a:spcPct val="150000"/>
              </a:lnSpc>
              <a:spcBef>
                <a:spcPts val="100"/>
              </a:spcBef>
              <a:buFont typeface="Arial" panose="020B0604020202020204" pitchFamily="34" charset="0"/>
              <a:buChar char="•"/>
            </a:pPr>
            <a:r>
              <a:rPr lang="en-US" sz="2800" b="1" spc="-5" dirty="0">
                <a:latin typeface="Calibri"/>
                <a:cs typeface="Times New Roman"/>
              </a:rPr>
              <a:t>Hands-On Session.</a:t>
            </a:r>
          </a:p>
        </p:txBody>
      </p:sp>
      <p:grpSp>
        <p:nvGrpSpPr>
          <p:cNvPr id="10" name="object 10"/>
          <p:cNvGrpSpPr/>
          <p:nvPr/>
        </p:nvGrpSpPr>
        <p:grpSpPr>
          <a:xfrm>
            <a:off x="6430780" y="1133855"/>
            <a:ext cx="5761220" cy="5436490"/>
            <a:chOff x="5753100" y="525780"/>
            <a:chExt cx="6438900" cy="6044565"/>
          </a:xfrm>
        </p:grpSpPr>
        <p:sp>
          <p:nvSpPr>
            <p:cNvPr id="11" name="object 11"/>
            <p:cNvSpPr/>
            <p:nvPr/>
          </p:nvSpPr>
          <p:spPr>
            <a:xfrm>
              <a:off x="10466196" y="846836"/>
              <a:ext cx="117475" cy="72136"/>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10418064" y="564387"/>
              <a:ext cx="269875" cy="316865"/>
            </a:xfrm>
            <a:custGeom>
              <a:avLst/>
              <a:gdLst/>
              <a:ahLst/>
              <a:cxnLst/>
              <a:rect l="l" t="t" r="r" b="b"/>
              <a:pathLst>
                <a:path w="269875" h="316865">
                  <a:moveTo>
                    <a:pt x="130175" y="11811"/>
                  </a:moveTo>
                  <a:lnTo>
                    <a:pt x="129032" y="8890"/>
                  </a:lnTo>
                  <a:lnTo>
                    <a:pt x="128651" y="7366"/>
                  </a:lnTo>
                  <a:lnTo>
                    <a:pt x="127762" y="5842"/>
                  </a:lnTo>
                  <a:lnTo>
                    <a:pt x="122555" y="0"/>
                  </a:lnTo>
                  <a:lnTo>
                    <a:pt x="116205" y="0"/>
                  </a:lnTo>
                  <a:lnTo>
                    <a:pt x="112141" y="4445"/>
                  </a:lnTo>
                  <a:lnTo>
                    <a:pt x="85217" y="29464"/>
                  </a:lnTo>
                  <a:lnTo>
                    <a:pt x="80518" y="35306"/>
                  </a:lnTo>
                  <a:lnTo>
                    <a:pt x="78232" y="41148"/>
                  </a:lnTo>
                  <a:lnTo>
                    <a:pt x="78740" y="48514"/>
                  </a:lnTo>
                  <a:lnTo>
                    <a:pt x="82423" y="79502"/>
                  </a:lnTo>
                  <a:lnTo>
                    <a:pt x="81534" y="83820"/>
                  </a:lnTo>
                  <a:lnTo>
                    <a:pt x="79756" y="86868"/>
                  </a:lnTo>
                  <a:lnTo>
                    <a:pt x="75311" y="92710"/>
                  </a:lnTo>
                  <a:lnTo>
                    <a:pt x="70993" y="100076"/>
                  </a:lnTo>
                  <a:lnTo>
                    <a:pt x="67056" y="107442"/>
                  </a:lnTo>
                  <a:lnTo>
                    <a:pt x="65532" y="108839"/>
                  </a:lnTo>
                  <a:lnTo>
                    <a:pt x="62865" y="110363"/>
                  </a:lnTo>
                  <a:lnTo>
                    <a:pt x="41656" y="110363"/>
                  </a:lnTo>
                  <a:lnTo>
                    <a:pt x="34925" y="111887"/>
                  </a:lnTo>
                  <a:lnTo>
                    <a:pt x="28956" y="116205"/>
                  </a:lnTo>
                  <a:lnTo>
                    <a:pt x="26416" y="122174"/>
                  </a:lnTo>
                  <a:lnTo>
                    <a:pt x="11430" y="164846"/>
                  </a:lnTo>
                  <a:lnTo>
                    <a:pt x="10160" y="167767"/>
                  </a:lnTo>
                  <a:lnTo>
                    <a:pt x="34290" y="188341"/>
                  </a:lnTo>
                  <a:lnTo>
                    <a:pt x="35941" y="188341"/>
                  </a:lnTo>
                  <a:lnTo>
                    <a:pt x="36830" y="189865"/>
                  </a:lnTo>
                  <a:lnTo>
                    <a:pt x="35560" y="198628"/>
                  </a:lnTo>
                  <a:lnTo>
                    <a:pt x="34925" y="205994"/>
                  </a:lnTo>
                  <a:lnTo>
                    <a:pt x="2032" y="254508"/>
                  </a:lnTo>
                  <a:lnTo>
                    <a:pt x="0" y="260477"/>
                  </a:lnTo>
                  <a:lnTo>
                    <a:pt x="1143" y="267843"/>
                  </a:lnTo>
                  <a:lnTo>
                    <a:pt x="8001" y="298704"/>
                  </a:lnTo>
                  <a:lnTo>
                    <a:pt x="10033" y="301625"/>
                  </a:lnTo>
                  <a:lnTo>
                    <a:pt x="13716" y="306070"/>
                  </a:lnTo>
                  <a:lnTo>
                    <a:pt x="19939" y="307467"/>
                  </a:lnTo>
                  <a:lnTo>
                    <a:pt x="24130" y="303149"/>
                  </a:lnTo>
                  <a:lnTo>
                    <a:pt x="37338" y="292735"/>
                  </a:lnTo>
                  <a:lnTo>
                    <a:pt x="48514" y="283972"/>
                  </a:lnTo>
                  <a:lnTo>
                    <a:pt x="49657" y="282448"/>
                  </a:lnTo>
                  <a:lnTo>
                    <a:pt x="64897" y="282448"/>
                  </a:lnTo>
                  <a:lnTo>
                    <a:pt x="61468" y="279527"/>
                  </a:lnTo>
                  <a:lnTo>
                    <a:pt x="57531" y="273685"/>
                  </a:lnTo>
                  <a:lnTo>
                    <a:pt x="53721" y="272161"/>
                  </a:lnTo>
                  <a:lnTo>
                    <a:pt x="44577" y="272161"/>
                  </a:lnTo>
                  <a:lnTo>
                    <a:pt x="42418" y="273685"/>
                  </a:lnTo>
                  <a:lnTo>
                    <a:pt x="18542" y="292735"/>
                  </a:lnTo>
                  <a:lnTo>
                    <a:pt x="11811" y="264795"/>
                  </a:lnTo>
                  <a:lnTo>
                    <a:pt x="11303" y="261874"/>
                  </a:lnTo>
                  <a:lnTo>
                    <a:pt x="12065" y="258953"/>
                  </a:lnTo>
                  <a:lnTo>
                    <a:pt x="13843" y="256032"/>
                  </a:lnTo>
                  <a:lnTo>
                    <a:pt x="42037" y="225171"/>
                  </a:lnTo>
                  <a:lnTo>
                    <a:pt x="44577" y="219202"/>
                  </a:lnTo>
                  <a:lnTo>
                    <a:pt x="45847" y="200152"/>
                  </a:lnTo>
                  <a:lnTo>
                    <a:pt x="47752" y="186817"/>
                  </a:lnTo>
                  <a:lnTo>
                    <a:pt x="43942" y="179451"/>
                  </a:lnTo>
                  <a:lnTo>
                    <a:pt x="37465" y="176530"/>
                  </a:lnTo>
                  <a:lnTo>
                    <a:pt x="21971" y="170688"/>
                  </a:lnTo>
                  <a:lnTo>
                    <a:pt x="20701" y="170688"/>
                  </a:lnTo>
                  <a:lnTo>
                    <a:pt x="20701" y="167767"/>
                  </a:lnTo>
                  <a:lnTo>
                    <a:pt x="36703" y="123571"/>
                  </a:lnTo>
                  <a:lnTo>
                    <a:pt x="38608" y="122174"/>
                  </a:lnTo>
                  <a:lnTo>
                    <a:pt x="66167" y="122174"/>
                  </a:lnTo>
                  <a:lnTo>
                    <a:pt x="72009" y="117729"/>
                  </a:lnTo>
                  <a:lnTo>
                    <a:pt x="75438" y="111887"/>
                  </a:lnTo>
                  <a:lnTo>
                    <a:pt x="79248" y="105918"/>
                  </a:lnTo>
                  <a:lnTo>
                    <a:pt x="83312" y="98552"/>
                  </a:lnTo>
                  <a:lnTo>
                    <a:pt x="91059" y="88265"/>
                  </a:lnTo>
                  <a:lnTo>
                    <a:pt x="92710" y="80899"/>
                  </a:lnTo>
                  <a:lnTo>
                    <a:pt x="92202" y="75057"/>
                  </a:lnTo>
                  <a:lnTo>
                    <a:pt x="88646" y="47117"/>
                  </a:lnTo>
                  <a:lnTo>
                    <a:pt x="88519" y="42672"/>
                  </a:lnTo>
                  <a:lnTo>
                    <a:pt x="89662" y="39751"/>
                  </a:lnTo>
                  <a:lnTo>
                    <a:pt x="91567" y="38227"/>
                  </a:lnTo>
                  <a:lnTo>
                    <a:pt x="118491" y="11811"/>
                  </a:lnTo>
                  <a:lnTo>
                    <a:pt x="130175" y="11811"/>
                  </a:lnTo>
                  <a:close/>
                </a:path>
                <a:path w="269875" h="316865">
                  <a:moveTo>
                    <a:pt x="269367" y="66167"/>
                  </a:moveTo>
                  <a:lnTo>
                    <a:pt x="262128" y="33909"/>
                  </a:lnTo>
                  <a:lnTo>
                    <a:pt x="249936" y="33909"/>
                  </a:lnTo>
                  <a:lnTo>
                    <a:pt x="256667" y="63246"/>
                  </a:lnTo>
                  <a:lnTo>
                    <a:pt x="257048" y="66167"/>
                  </a:lnTo>
                  <a:lnTo>
                    <a:pt x="256286" y="69215"/>
                  </a:lnTo>
                  <a:lnTo>
                    <a:pt x="254508" y="72136"/>
                  </a:lnTo>
                  <a:lnTo>
                    <a:pt x="226314" y="102997"/>
                  </a:lnTo>
                  <a:lnTo>
                    <a:pt x="223901" y="108839"/>
                  </a:lnTo>
                  <a:lnTo>
                    <a:pt x="222504" y="128016"/>
                  </a:lnTo>
                  <a:lnTo>
                    <a:pt x="220599" y="142748"/>
                  </a:lnTo>
                  <a:lnTo>
                    <a:pt x="224536" y="148590"/>
                  </a:lnTo>
                  <a:lnTo>
                    <a:pt x="230886" y="151511"/>
                  </a:lnTo>
                  <a:lnTo>
                    <a:pt x="246380" y="157480"/>
                  </a:lnTo>
                  <a:lnTo>
                    <a:pt x="247396" y="157480"/>
                  </a:lnTo>
                  <a:lnTo>
                    <a:pt x="247650" y="158877"/>
                  </a:lnTo>
                  <a:lnTo>
                    <a:pt x="247904" y="158877"/>
                  </a:lnTo>
                  <a:lnTo>
                    <a:pt x="247650" y="160401"/>
                  </a:lnTo>
                  <a:lnTo>
                    <a:pt x="232664" y="203073"/>
                  </a:lnTo>
                  <a:lnTo>
                    <a:pt x="231648" y="204470"/>
                  </a:lnTo>
                  <a:lnTo>
                    <a:pt x="229743" y="205994"/>
                  </a:lnTo>
                  <a:lnTo>
                    <a:pt x="202311" y="205994"/>
                  </a:lnTo>
                  <a:lnTo>
                    <a:pt x="196342" y="210439"/>
                  </a:lnTo>
                  <a:lnTo>
                    <a:pt x="192913" y="216281"/>
                  </a:lnTo>
                  <a:lnTo>
                    <a:pt x="189103" y="222123"/>
                  </a:lnTo>
                  <a:lnTo>
                    <a:pt x="185039" y="229489"/>
                  </a:lnTo>
                  <a:lnTo>
                    <a:pt x="180848" y="235458"/>
                  </a:lnTo>
                  <a:lnTo>
                    <a:pt x="177419" y="241300"/>
                  </a:lnTo>
                  <a:lnTo>
                    <a:pt x="175768" y="247142"/>
                  </a:lnTo>
                  <a:lnTo>
                    <a:pt x="176276" y="253111"/>
                  </a:lnTo>
                  <a:lnTo>
                    <a:pt x="179832" y="281051"/>
                  </a:lnTo>
                  <a:lnTo>
                    <a:pt x="179832" y="285496"/>
                  </a:lnTo>
                  <a:lnTo>
                    <a:pt x="178943" y="288417"/>
                  </a:lnTo>
                  <a:lnTo>
                    <a:pt x="176911" y="289814"/>
                  </a:lnTo>
                  <a:lnTo>
                    <a:pt x="149987" y="316357"/>
                  </a:lnTo>
                  <a:lnTo>
                    <a:pt x="165608" y="316357"/>
                  </a:lnTo>
                  <a:lnTo>
                    <a:pt x="189357" y="292735"/>
                  </a:lnTo>
                  <a:lnTo>
                    <a:pt x="191643" y="286893"/>
                  </a:lnTo>
                  <a:lnTo>
                    <a:pt x="191135" y="279527"/>
                  </a:lnTo>
                  <a:lnTo>
                    <a:pt x="187579" y="251587"/>
                  </a:lnTo>
                  <a:lnTo>
                    <a:pt x="187452" y="247142"/>
                  </a:lnTo>
                  <a:lnTo>
                    <a:pt x="188468" y="244221"/>
                  </a:lnTo>
                  <a:lnTo>
                    <a:pt x="194564" y="235458"/>
                  </a:lnTo>
                  <a:lnTo>
                    <a:pt x="199009" y="228092"/>
                  </a:lnTo>
                  <a:lnTo>
                    <a:pt x="202819" y="220726"/>
                  </a:lnTo>
                  <a:lnTo>
                    <a:pt x="204470" y="219202"/>
                  </a:lnTo>
                  <a:lnTo>
                    <a:pt x="209677" y="216281"/>
                  </a:lnTo>
                  <a:lnTo>
                    <a:pt x="235077" y="216281"/>
                  </a:lnTo>
                  <a:lnTo>
                    <a:pt x="241046" y="211836"/>
                  </a:lnTo>
                  <a:lnTo>
                    <a:pt x="243459" y="205994"/>
                  </a:lnTo>
                  <a:lnTo>
                    <a:pt x="258445" y="163322"/>
                  </a:lnTo>
                  <a:lnTo>
                    <a:pt x="259715" y="160401"/>
                  </a:lnTo>
                  <a:lnTo>
                    <a:pt x="235458" y="139827"/>
                  </a:lnTo>
                  <a:lnTo>
                    <a:pt x="233934" y="139827"/>
                  </a:lnTo>
                  <a:lnTo>
                    <a:pt x="233045" y="138303"/>
                  </a:lnTo>
                  <a:lnTo>
                    <a:pt x="233299" y="135382"/>
                  </a:lnTo>
                  <a:lnTo>
                    <a:pt x="234315" y="129540"/>
                  </a:lnTo>
                  <a:lnTo>
                    <a:pt x="234950" y="122174"/>
                  </a:lnTo>
                  <a:lnTo>
                    <a:pt x="263398" y="79502"/>
                  </a:lnTo>
                  <a:lnTo>
                    <a:pt x="267716" y="73533"/>
                  </a:lnTo>
                  <a:lnTo>
                    <a:pt x="269367" y="66167"/>
                  </a:lnTo>
                  <a:close/>
                </a:path>
              </a:pathLst>
            </a:custGeom>
            <a:solidFill>
              <a:srgbClr val="097909"/>
            </a:solidFill>
          </p:spPr>
          <p:txBody>
            <a:bodyPr wrap="square" lIns="0" tIns="0" rIns="0" bIns="0" rtlCol="0"/>
            <a:lstStyle/>
            <a:p>
              <a:endParaRPr/>
            </a:p>
          </p:txBody>
        </p:sp>
        <p:sp>
          <p:nvSpPr>
            <p:cNvPr id="13" name="object 13"/>
            <p:cNvSpPr/>
            <p:nvPr/>
          </p:nvSpPr>
          <p:spPr>
            <a:xfrm>
              <a:off x="10491978" y="642366"/>
              <a:ext cx="120903" cy="170687"/>
            </a:xfrm>
            <a:prstGeom prst="rect">
              <a:avLst/>
            </a:prstGeom>
            <a:blipFill>
              <a:blip r:embed="rId4" cstate="print"/>
              <a:stretch>
                <a:fillRect/>
              </a:stretch>
            </a:blipFill>
          </p:spPr>
          <p:txBody>
            <a:bodyPr wrap="square" lIns="0" tIns="0" rIns="0" bIns="0" rtlCol="0"/>
            <a:lstStyle/>
            <a:p>
              <a:endParaRPr/>
            </a:p>
          </p:txBody>
        </p:sp>
        <p:sp>
          <p:nvSpPr>
            <p:cNvPr id="14" name="object 14"/>
            <p:cNvSpPr/>
            <p:nvPr/>
          </p:nvSpPr>
          <p:spPr>
            <a:xfrm>
              <a:off x="10536554" y="536448"/>
              <a:ext cx="143637" cy="86740"/>
            </a:xfrm>
            <a:prstGeom prst="rect">
              <a:avLst/>
            </a:prstGeom>
            <a:blipFill>
              <a:blip r:embed="rId5" cstate="print"/>
              <a:stretch>
                <a:fillRect/>
              </a:stretch>
            </a:blipFill>
          </p:spPr>
          <p:txBody>
            <a:bodyPr wrap="square" lIns="0" tIns="0" rIns="0" bIns="0" rtlCol="0"/>
            <a:lstStyle/>
            <a:p>
              <a:endParaRPr/>
            </a:p>
          </p:txBody>
        </p:sp>
        <p:sp>
          <p:nvSpPr>
            <p:cNvPr id="15" name="object 15"/>
            <p:cNvSpPr/>
            <p:nvPr/>
          </p:nvSpPr>
          <p:spPr>
            <a:xfrm>
              <a:off x="5753100" y="525780"/>
              <a:ext cx="6438900" cy="6044184"/>
            </a:xfrm>
            <a:prstGeom prst="rect">
              <a:avLst/>
            </a:prstGeom>
            <a:blipFill>
              <a:blip r:embed="rId6" cstate="print"/>
              <a:stretch>
                <a:fillRect/>
              </a:stretch>
            </a:blipFill>
          </p:spPr>
          <p:txBody>
            <a:bodyPr wrap="square" lIns="0" tIns="0" rIns="0" bIns="0" rtlCol="0"/>
            <a:lstStyle/>
            <a:p>
              <a:endParaRPr/>
            </a:p>
          </p:txBody>
        </p:sp>
        <p:sp>
          <p:nvSpPr>
            <p:cNvPr id="16" name="object 16"/>
            <p:cNvSpPr/>
            <p:nvPr/>
          </p:nvSpPr>
          <p:spPr>
            <a:xfrm>
              <a:off x="7223760" y="559308"/>
              <a:ext cx="2536825" cy="4192270"/>
            </a:xfrm>
            <a:custGeom>
              <a:avLst/>
              <a:gdLst/>
              <a:ahLst/>
              <a:cxnLst/>
              <a:rect l="l" t="t" r="r" b="b"/>
              <a:pathLst>
                <a:path w="2536825" h="4192270">
                  <a:moveTo>
                    <a:pt x="2536825" y="0"/>
                  </a:moveTo>
                  <a:lnTo>
                    <a:pt x="1947418" y="352170"/>
                  </a:lnTo>
                  <a:lnTo>
                    <a:pt x="770001" y="1062608"/>
                  </a:lnTo>
                  <a:lnTo>
                    <a:pt x="47117" y="1503552"/>
                  </a:lnTo>
                  <a:lnTo>
                    <a:pt x="10541" y="1554861"/>
                  </a:lnTo>
                  <a:lnTo>
                    <a:pt x="0" y="1601724"/>
                  </a:lnTo>
                  <a:lnTo>
                    <a:pt x="0" y="2048255"/>
                  </a:lnTo>
                  <a:lnTo>
                    <a:pt x="9017" y="4191761"/>
                  </a:lnTo>
                  <a:lnTo>
                    <a:pt x="17907" y="1601977"/>
                  </a:lnTo>
                  <a:lnTo>
                    <a:pt x="20955" y="1581657"/>
                  </a:lnTo>
                  <a:lnTo>
                    <a:pt x="27178" y="1562480"/>
                  </a:lnTo>
                  <a:lnTo>
                    <a:pt x="36575" y="1544574"/>
                  </a:lnTo>
                  <a:lnTo>
                    <a:pt x="53086" y="1523872"/>
                  </a:lnTo>
                  <a:lnTo>
                    <a:pt x="1951990" y="362203"/>
                  </a:lnTo>
                  <a:lnTo>
                    <a:pt x="2536825" y="0"/>
                  </a:lnTo>
                  <a:close/>
                </a:path>
              </a:pathLst>
            </a:custGeom>
            <a:solidFill>
              <a:srgbClr val="FFFFFF"/>
            </a:solidFill>
          </p:spPr>
          <p:txBody>
            <a:bodyPr wrap="square" lIns="0" tIns="0" rIns="0" bIns="0" rtlCol="0"/>
            <a:lstStyle/>
            <a:p>
              <a:endParaRPr/>
            </a:p>
          </p:txBody>
        </p:sp>
        <p:sp>
          <p:nvSpPr>
            <p:cNvPr id="17" name="object 17"/>
            <p:cNvSpPr/>
            <p:nvPr/>
          </p:nvSpPr>
          <p:spPr>
            <a:xfrm>
              <a:off x="7447788" y="2950463"/>
              <a:ext cx="1018031" cy="1380744"/>
            </a:xfrm>
            <a:prstGeom prst="rect">
              <a:avLst/>
            </a:prstGeom>
            <a:blipFill>
              <a:blip r:embed="rId7" cstate="print"/>
              <a:stretch>
                <a:fillRect/>
              </a:stretch>
            </a:blipFill>
          </p:spPr>
          <p:txBody>
            <a:bodyPr wrap="square" lIns="0" tIns="0" rIns="0" bIns="0" rtlCol="0"/>
            <a:lstStyle/>
            <a:p>
              <a:endParaRPr/>
            </a:p>
          </p:txBody>
        </p:sp>
        <p:sp>
          <p:nvSpPr>
            <p:cNvPr id="18" name="object 18"/>
            <p:cNvSpPr/>
            <p:nvPr/>
          </p:nvSpPr>
          <p:spPr>
            <a:xfrm>
              <a:off x="8827007" y="1266444"/>
              <a:ext cx="542925" cy="360680"/>
            </a:xfrm>
            <a:custGeom>
              <a:avLst/>
              <a:gdLst/>
              <a:ahLst/>
              <a:cxnLst/>
              <a:rect l="l" t="t" r="r" b="b"/>
              <a:pathLst>
                <a:path w="542925" h="360680">
                  <a:moveTo>
                    <a:pt x="534924" y="0"/>
                  </a:moveTo>
                  <a:lnTo>
                    <a:pt x="17145" y="315594"/>
                  </a:lnTo>
                  <a:lnTo>
                    <a:pt x="0" y="345693"/>
                  </a:lnTo>
                  <a:lnTo>
                    <a:pt x="0" y="356615"/>
                  </a:lnTo>
                  <a:lnTo>
                    <a:pt x="7747" y="360679"/>
                  </a:lnTo>
                  <a:lnTo>
                    <a:pt x="525526" y="45084"/>
                  </a:lnTo>
                  <a:lnTo>
                    <a:pt x="532257" y="39369"/>
                  </a:lnTo>
                  <a:lnTo>
                    <a:pt x="537464" y="32130"/>
                  </a:lnTo>
                  <a:lnTo>
                    <a:pt x="540893" y="23875"/>
                  </a:lnTo>
                  <a:lnTo>
                    <a:pt x="542417" y="14985"/>
                  </a:lnTo>
                  <a:lnTo>
                    <a:pt x="542417" y="4190"/>
                  </a:lnTo>
                  <a:lnTo>
                    <a:pt x="534924" y="0"/>
                  </a:lnTo>
                  <a:close/>
                </a:path>
              </a:pathLst>
            </a:custGeom>
            <a:solidFill>
              <a:srgbClr val="455A62"/>
            </a:solidFill>
          </p:spPr>
          <p:txBody>
            <a:bodyPr wrap="square" lIns="0" tIns="0" rIns="0" bIns="0" rtlCol="0"/>
            <a:lstStyle/>
            <a:p>
              <a:endParaRPr/>
            </a:p>
          </p:txBody>
        </p:sp>
        <p:sp>
          <p:nvSpPr>
            <p:cNvPr id="19" name="object 19"/>
            <p:cNvSpPr/>
            <p:nvPr/>
          </p:nvSpPr>
          <p:spPr>
            <a:xfrm>
              <a:off x="9427464" y="1097280"/>
              <a:ext cx="131064" cy="406908"/>
            </a:xfrm>
            <a:prstGeom prst="rect">
              <a:avLst/>
            </a:prstGeom>
            <a:blipFill>
              <a:blip r:embed="rId8" cstate="print"/>
              <a:stretch>
                <a:fillRect/>
              </a:stretch>
            </a:blipFill>
          </p:spPr>
          <p:txBody>
            <a:bodyPr wrap="square" lIns="0" tIns="0" rIns="0" bIns="0" rtlCol="0"/>
            <a:lstStyle/>
            <a:p>
              <a:endParaRPr/>
            </a:p>
          </p:txBody>
        </p:sp>
        <p:sp>
          <p:nvSpPr>
            <p:cNvPr id="20" name="object 20"/>
            <p:cNvSpPr/>
            <p:nvPr/>
          </p:nvSpPr>
          <p:spPr>
            <a:xfrm>
              <a:off x="8827007" y="1461516"/>
              <a:ext cx="542925" cy="360680"/>
            </a:xfrm>
            <a:custGeom>
              <a:avLst/>
              <a:gdLst/>
              <a:ahLst/>
              <a:cxnLst/>
              <a:rect l="l" t="t" r="r" b="b"/>
              <a:pathLst>
                <a:path w="542925" h="360680">
                  <a:moveTo>
                    <a:pt x="534924" y="0"/>
                  </a:moveTo>
                  <a:lnTo>
                    <a:pt x="17145" y="315468"/>
                  </a:lnTo>
                  <a:lnTo>
                    <a:pt x="0" y="345694"/>
                  </a:lnTo>
                  <a:lnTo>
                    <a:pt x="0" y="356488"/>
                  </a:lnTo>
                  <a:lnTo>
                    <a:pt x="7747" y="360680"/>
                  </a:lnTo>
                  <a:lnTo>
                    <a:pt x="525526" y="45085"/>
                  </a:lnTo>
                  <a:lnTo>
                    <a:pt x="532130" y="39370"/>
                  </a:lnTo>
                  <a:lnTo>
                    <a:pt x="537337" y="32131"/>
                  </a:lnTo>
                  <a:lnTo>
                    <a:pt x="540893" y="23875"/>
                  </a:lnTo>
                  <a:lnTo>
                    <a:pt x="542417" y="14986"/>
                  </a:lnTo>
                  <a:lnTo>
                    <a:pt x="542417" y="4063"/>
                  </a:lnTo>
                  <a:lnTo>
                    <a:pt x="534924" y="0"/>
                  </a:lnTo>
                  <a:close/>
                </a:path>
              </a:pathLst>
            </a:custGeom>
            <a:solidFill>
              <a:srgbClr val="455A62"/>
            </a:solidFill>
          </p:spPr>
          <p:txBody>
            <a:bodyPr wrap="square" lIns="0" tIns="0" rIns="0" bIns="0" rtlCol="0"/>
            <a:lstStyle/>
            <a:p>
              <a:endParaRPr/>
            </a:p>
          </p:txBody>
        </p:sp>
        <p:sp>
          <p:nvSpPr>
            <p:cNvPr id="21" name="object 21"/>
            <p:cNvSpPr/>
            <p:nvPr/>
          </p:nvSpPr>
          <p:spPr>
            <a:xfrm>
              <a:off x="7729727" y="1549908"/>
              <a:ext cx="818387" cy="1242060"/>
            </a:xfrm>
            <a:prstGeom prst="rect">
              <a:avLst/>
            </a:prstGeom>
            <a:blipFill>
              <a:blip r:embed="rId9" cstate="print"/>
              <a:stretch>
                <a:fillRect/>
              </a:stretch>
            </a:blipFill>
          </p:spPr>
          <p:txBody>
            <a:bodyPr wrap="square" lIns="0" tIns="0" rIns="0" bIns="0" rtlCol="0"/>
            <a:lstStyle/>
            <a:p>
              <a:endParaRPr/>
            </a:p>
          </p:txBody>
        </p:sp>
        <p:sp>
          <p:nvSpPr>
            <p:cNvPr id="22" name="object 22"/>
            <p:cNvSpPr/>
            <p:nvPr/>
          </p:nvSpPr>
          <p:spPr>
            <a:xfrm>
              <a:off x="8045195" y="2081783"/>
              <a:ext cx="181355" cy="195072"/>
            </a:xfrm>
            <a:prstGeom prst="rect">
              <a:avLst/>
            </a:prstGeom>
            <a:blipFill>
              <a:blip r:embed="rId10" cstate="print"/>
              <a:stretch>
                <a:fillRect/>
              </a:stretch>
            </a:blipFill>
          </p:spPr>
          <p:txBody>
            <a:bodyPr wrap="square" lIns="0" tIns="0" rIns="0" bIns="0" rtlCol="0"/>
            <a:lstStyle/>
            <a:p>
              <a:endParaRPr/>
            </a:p>
          </p:txBody>
        </p:sp>
        <p:sp>
          <p:nvSpPr>
            <p:cNvPr id="23" name="object 23"/>
            <p:cNvSpPr/>
            <p:nvPr/>
          </p:nvSpPr>
          <p:spPr>
            <a:xfrm>
              <a:off x="8135111" y="1866900"/>
              <a:ext cx="199644" cy="283463"/>
            </a:xfrm>
            <a:prstGeom prst="rect">
              <a:avLst/>
            </a:prstGeom>
            <a:blipFill>
              <a:blip r:embed="rId11" cstate="print"/>
              <a:stretch>
                <a:fillRect/>
              </a:stretch>
            </a:blipFill>
          </p:spPr>
          <p:txBody>
            <a:bodyPr wrap="square" lIns="0" tIns="0" rIns="0" bIns="0" rtlCol="0"/>
            <a:lstStyle/>
            <a:p>
              <a:endParaRPr/>
            </a:p>
          </p:txBody>
        </p:sp>
        <p:sp>
          <p:nvSpPr>
            <p:cNvPr id="24" name="object 24"/>
            <p:cNvSpPr/>
            <p:nvPr/>
          </p:nvSpPr>
          <p:spPr>
            <a:xfrm>
              <a:off x="7917179" y="1874519"/>
              <a:ext cx="416051" cy="621791"/>
            </a:xfrm>
            <a:prstGeom prst="rect">
              <a:avLst/>
            </a:prstGeom>
            <a:blipFill>
              <a:blip r:embed="rId12" cstate="print"/>
              <a:stretch>
                <a:fillRect/>
              </a:stretch>
            </a:blipFill>
          </p:spPr>
          <p:txBody>
            <a:bodyPr wrap="square" lIns="0" tIns="0" rIns="0" bIns="0" rtlCol="0"/>
            <a:lstStyle/>
            <a:p>
              <a:endParaRPr/>
            </a:p>
          </p:txBody>
        </p:sp>
        <p:sp>
          <p:nvSpPr>
            <p:cNvPr id="25" name="object 25"/>
            <p:cNvSpPr/>
            <p:nvPr/>
          </p:nvSpPr>
          <p:spPr>
            <a:xfrm>
              <a:off x="6784847" y="2135124"/>
              <a:ext cx="801624" cy="1231391"/>
            </a:xfrm>
            <a:prstGeom prst="rect">
              <a:avLst/>
            </a:prstGeom>
            <a:blipFill>
              <a:blip r:embed="rId13" cstate="print"/>
              <a:stretch>
                <a:fillRect/>
              </a:stretch>
            </a:blipFill>
          </p:spPr>
          <p:txBody>
            <a:bodyPr wrap="square" lIns="0" tIns="0" rIns="0" bIns="0" rtlCol="0"/>
            <a:lstStyle/>
            <a:p>
              <a:endParaRPr/>
            </a:p>
          </p:txBody>
        </p:sp>
        <p:sp>
          <p:nvSpPr>
            <p:cNvPr id="26" name="object 26"/>
            <p:cNvSpPr/>
            <p:nvPr/>
          </p:nvSpPr>
          <p:spPr>
            <a:xfrm>
              <a:off x="8011667" y="2467356"/>
              <a:ext cx="469392" cy="621791"/>
            </a:xfrm>
            <a:prstGeom prst="rect">
              <a:avLst/>
            </a:prstGeom>
            <a:blipFill>
              <a:blip r:embed="rId14" cstate="print"/>
              <a:stretch>
                <a:fillRect/>
              </a:stretch>
            </a:blipFill>
          </p:spPr>
          <p:txBody>
            <a:bodyPr wrap="square" lIns="0" tIns="0" rIns="0" bIns="0" rtlCol="0"/>
            <a:lstStyle/>
            <a:p>
              <a:endParaRPr/>
            </a:p>
          </p:txBody>
        </p:sp>
        <p:sp>
          <p:nvSpPr>
            <p:cNvPr id="27" name="object 27"/>
            <p:cNvSpPr/>
            <p:nvPr/>
          </p:nvSpPr>
          <p:spPr>
            <a:xfrm>
              <a:off x="8065007" y="2595372"/>
              <a:ext cx="362711" cy="367284"/>
            </a:xfrm>
            <a:prstGeom prst="rect">
              <a:avLst/>
            </a:prstGeom>
            <a:blipFill>
              <a:blip r:embed="rId15" cstate="print"/>
              <a:stretch>
                <a:fillRect/>
              </a:stretch>
            </a:blipFill>
          </p:spPr>
          <p:txBody>
            <a:bodyPr wrap="square" lIns="0" tIns="0" rIns="0" bIns="0" rtlCol="0"/>
            <a:lstStyle/>
            <a:p>
              <a:endParaRPr/>
            </a:p>
          </p:txBody>
        </p:sp>
        <p:sp>
          <p:nvSpPr>
            <p:cNvPr id="28" name="object 28"/>
            <p:cNvSpPr/>
            <p:nvPr/>
          </p:nvSpPr>
          <p:spPr>
            <a:xfrm>
              <a:off x="7421879" y="2834640"/>
              <a:ext cx="469392" cy="608076"/>
            </a:xfrm>
            <a:prstGeom prst="rect">
              <a:avLst/>
            </a:prstGeom>
            <a:blipFill>
              <a:blip r:embed="rId16" cstate="print"/>
              <a:stretch>
                <a:fillRect/>
              </a:stretch>
            </a:blipFill>
          </p:spPr>
          <p:txBody>
            <a:bodyPr wrap="square" lIns="0" tIns="0" rIns="0" bIns="0" rtlCol="0"/>
            <a:lstStyle/>
            <a:p>
              <a:endParaRPr/>
            </a:p>
          </p:txBody>
        </p:sp>
        <p:sp>
          <p:nvSpPr>
            <p:cNvPr id="29" name="object 29"/>
            <p:cNvSpPr/>
            <p:nvPr/>
          </p:nvSpPr>
          <p:spPr>
            <a:xfrm>
              <a:off x="7488935" y="2947415"/>
              <a:ext cx="361188" cy="381000"/>
            </a:xfrm>
            <a:prstGeom prst="rect">
              <a:avLst/>
            </a:prstGeom>
            <a:blipFill>
              <a:blip r:embed="rId17" cstate="print"/>
              <a:stretch>
                <a:fillRect/>
              </a:stretch>
            </a:blipFill>
          </p:spPr>
          <p:txBody>
            <a:bodyPr wrap="square" lIns="0" tIns="0" rIns="0" bIns="0" rtlCol="0"/>
            <a:lstStyle/>
            <a:p>
              <a:endParaRPr/>
            </a:p>
          </p:txBody>
        </p:sp>
        <p:sp>
          <p:nvSpPr>
            <p:cNvPr id="30" name="object 30"/>
            <p:cNvSpPr/>
            <p:nvPr/>
          </p:nvSpPr>
          <p:spPr>
            <a:xfrm>
              <a:off x="8744711" y="758952"/>
              <a:ext cx="2348865" cy="4216400"/>
            </a:xfrm>
            <a:custGeom>
              <a:avLst/>
              <a:gdLst/>
              <a:ahLst/>
              <a:cxnLst/>
              <a:rect l="l" t="t" r="r" b="b"/>
              <a:pathLst>
                <a:path w="2348865" h="4216400">
                  <a:moveTo>
                    <a:pt x="2269998" y="0"/>
                  </a:moveTo>
                  <a:lnTo>
                    <a:pt x="2260219" y="2286"/>
                  </a:lnTo>
                  <a:lnTo>
                    <a:pt x="53594" y="1343533"/>
                  </a:lnTo>
                  <a:lnTo>
                    <a:pt x="15494" y="1386077"/>
                  </a:lnTo>
                  <a:lnTo>
                    <a:pt x="0" y="1442339"/>
                  </a:lnTo>
                  <a:lnTo>
                    <a:pt x="0" y="4151376"/>
                  </a:lnTo>
                  <a:lnTo>
                    <a:pt x="55880" y="4212209"/>
                  </a:lnTo>
                  <a:lnTo>
                    <a:pt x="59309" y="4216273"/>
                  </a:lnTo>
                  <a:lnTo>
                    <a:pt x="2294636" y="2876550"/>
                  </a:lnTo>
                  <a:lnTo>
                    <a:pt x="2332609" y="2833878"/>
                  </a:lnTo>
                  <a:lnTo>
                    <a:pt x="2348230" y="2777617"/>
                  </a:lnTo>
                  <a:lnTo>
                    <a:pt x="2348484" y="2775585"/>
                  </a:lnTo>
                  <a:lnTo>
                    <a:pt x="2348357" y="66548"/>
                  </a:lnTo>
                  <a:lnTo>
                    <a:pt x="2332482" y="29590"/>
                  </a:lnTo>
                  <a:lnTo>
                    <a:pt x="2289810" y="3937"/>
                  </a:lnTo>
                  <a:lnTo>
                    <a:pt x="2280031" y="508"/>
                  </a:lnTo>
                  <a:lnTo>
                    <a:pt x="2269998" y="0"/>
                  </a:lnTo>
                  <a:close/>
                </a:path>
              </a:pathLst>
            </a:custGeom>
            <a:solidFill>
              <a:srgbClr val="097909">
                <a:alpha val="9803"/>
              </a:srgbClr>
            </a:solidFill>
          </p:spPr>
          <p:txBody>
            <a:bodyPr wrap="square" lIns="0" tIns="0" rIns="0" bIns="0" rtlCol="0"/>
            <a:lstStyle/>
            <a:p>
              <a:endParaRPr/>
            </a:p>
          </p:txBody>
        </p:sp>
        <p:sp>
          <p:nvSpPr>
            <p:cNvPr id="31" name="object 31"/>
            <p:cNvSpPr/>
            <p:nvPr/>
          </p:nvSpPr>
          <p:spPr>
            <a:xfrm>
              <a:off x="8787383" y="783336"/>
              <a:ext cx="2305685" cy="4193540"/>
            </a:xfrm>
            <a:custGeom>
              <a:avLst/>
              <a:gdLst/>
              <a:ahLst/>
              <a:cxnLst/>
              <a:rect l="l" t="t" r="r" b="b"/>
              <a:pathLst>
                <a:path w="2305684" h="4193540">
                  <a:moveTo>
                    <a:pt x="2278380" y="0"/>
                  </a:moveTo>
                  <a:lnTo>
                    <a:pt x="2260473" y="2286"/>
                  </a:lnTo>
                  <a:lnTo>
                    <a:pt x="2261362" y="2725039"/>
                  </a:lnTo>
                  <a:lnTo>
                    <a:pt x="2256663" y="2754249"/>
                  </a:lnTo>
                  <a:lnTo>
                    <a:pt x="2245741" y="2781173"/>
                  </a:lnTo>
                  <a:lnTo>
                    <a:pt x="2229231" y="2804794"/>
                  </a:lnTo>
                  <a:lnTo>
                    <a:pt x="2207641" y="2823845"/>
                  </a:lnTo>
                  <a:lnTo>
                    <a:pt x="0" y="4164965"/>
                  </a:lnTo>
                  <a:lnTo>
                    <a:pt x="6858" y="4182109"/>
                  </a:lnTo>
                  <a:lnTo>
                    <a:pt x="18669" y="4191889"/>
                  </a:lnTo>
                  <a:lnTo>
                    <a:pt x="34671" y="4193540"/>
                  </a:lnTo>
                  <a:lnTo>
                    <a:pt x="53594" y="4186174"/>
                  </a:lnTo>
                  <a:lnTo>
                    <a:pt x="2251837" y="2850896"/>
                  </a:lnTo>
                  <a:lnTo>
                    <a:pt x="2289937" y="2808224"/>
                  </a:lnTo>
                  <a:lnTo>
                    <a:pt x="2305431" y="2752090"/>
                  </a:lnTo>
                  <a:lnTo>
                    <a:pt x="2305431" y="40766"/>
                  </a:lnTo>
                  <a:lnTo>
                    <a:pt x="2302129" y="19812"/>
                  </a:lnTo>
                  <a:lnTo>
                    <a:pt x="2292731" y="6096"/>
                  </a:lnTo>
                  <a:lnTo>
                    <a:pt x="2278380" y="0"/>
                  </a:lnTo>
                  <a:close/>
                </a:path>
              </a:pathLst>
            </a:custGeom>
            <a:solidFill>
              <a:srgbClr val="097909">
                <a:alpha val="14901"/>
              </a:srgbClr>
            </a:solidFill>
          </p:spPr>
          <p:txBody>
            <a:bodyPr wrap="square" lIns="0" tIns="0" rIns="0" bIns="0" rtlCol="0"/>
            <a:lstStyle/>
            <a:p>
              <a:endParaRPr/>
            </a:p>
          </p:txBody>
        </p:sp>
        <p:sp>
          <p:nvSpPr>
            <p:cNvPr id="32" name="object 32"/>
            <p:cNvSpPr/>
            <p:nvPr/>
          </p:nvSpPr>
          <p:spPr>
            <a:xfrm>
              <a:off x="8779764" y="792480"/>
              <a:ext cx="2259965" cy="4143375"/>
            </a:xfrm>
            <a:custGeom>
              <a:avLst/>
              <a:gdLst/>
              <a:ahLst/>
              <a:cxnLst/>
              <a:rect l="l" t="t" r="r" b="b"/>
              <a:pathLst>
                <a:path w="2259965" h="4143375">
                  <a:moveTo>
                    <a:pt x="2259837" y="0"/>
                  </a:moveTo>
                  <a:lnTo>
                    <a:pt x="1691512" y="338455"/>
                  </a:lnTo>
                  <a:lnTo>
                    <a:pt x="1124330" y="679069"/>
                  </a:lnTo>
                  <a:lnTo>
                    <a:pt x="63372" y="1322451"/>
                  </a:lnTo>
                  <a:lnTo>
                    <a:pt x="17779" y="1370330"/>
                  </a:lnTo>
                  <a:lnTo>
                    <a:pt x="0" y="1424940"/>
                  </a:lnTo>
                  <a:lnTo>
                    <a:pt x="1524" y="2768600"/>
                  </a:lnTo>
                  <a:lnTo>
                    <a:pt x="8635" y="4143375"/>
                  </a:lnTo>
                  <a:lnTo>
                    <a:pt x="15747" y="2768600"/>
                  </a:lnTo>
                  <a:lnTo>
                    <a:pt x="17652" y="1436751"/>
                  </a:lnTo>
                  <a:lnTo>
                    <a:pt x="21716" y="1407922"/>
                  </a:lnTo>
                  <a:lnTo>
                    <a:pt x="44068" y="1364996"/>
                  </a:lnTo>
                  <a:lnTo>
                    <a:pt x="1133093" y="695071"/>
                  </a:lnTo>
                  <a:lnTo>
                    <a:pt x="2259837" y="0"/>
                  </a:lnTo>
                  <a:close/>
                </a:path>
              </a:pathLst>
            </a:custGeom>
            <a:solidFill>
              <a:srgbClr val="FFFFFF"/>
            </a:solidFill>
          </p:spPr>
          <p:txBody>
            <a:bodyPr wrap="square" lIns="0" tIns="0" rIns="0" bIns="0" rtlCol="0"/>
            <a:lstStyle/>
            <a:p>
              <a:endParaRPr/>
            </a:p>
          </p:txBody>
        </p:sp>
        <p:sp>
          <p:nvSpPr>
            <p:cNvPr id="33" name="object 33"/>
            <p:cNvSpPr/>
            <p:nvPr/>
          </p:nvSpPr>
          <p:spPr>
            <a:xfrm>
              <a:off x="9002267" y="1691640"/>
              <a:ext cx="1071372" cy="2906268"/>
            </a:xfrm>
            <a:prstGeom prst="rect">
              <a:avLst/>
            </a:prstGeom>
            <a:blipFill>
              <a:blip r:embed="rId18" cstate="print"/>
              <a:stretch>
                <a:fillRect/>
              </a:stretch>
            </a:blipFill>
          </p:spPr>
          <p:txBody>
            <a:bodyPr wrap="square" lIns="0" tIns="0" rIns="0" bIns="0" rtlCol="0"/>
            <a:lstStyle/>
            <a:p>
              <a:endParaRPr/>
            </a:p>
          </p:txBody>
        </p:sp>
        <p:sp>
          <p:nvSpPr>
            <p:cNvPr id="34" name="object 34"/>
            <p:cNvSpPr/>
            <p:nvPr/>
          </p:nvSpPr>
          <p:spPr>
            <a:xfrm>
              <a:off x="10229088" y="3174491"/>
              <a:ext cx="135635" cy="237743"/>
            </a:xfrm>
            <a:prstGeom prst="rect">
              <a:avLst/>
            </a:prstGeom>
            <a:blipFill>
              <a:blip r:embed="rId19" cstate="print"/>
              <a:stretch>
                <a:fillRect/>
              </a:stretch>
            </a:blipFill>
          </p:spPr>
          <p:txBody>
            <a:bodyPr wrap="square" lIns="0" tIns="0" rIns="0" bIns="0" rtlCol="0"/>
            <a:lstStyle/>
            <a:p>
              <a:endParaRPr/>
            </a:p>
          </p:txBody>
        </p:sp>
        <p:sp>
          <p:nvSpPr>
            <p:cNvPr id="35" name="object 35"/>
            <p:cNvSpPr/>
            <p:nvPr/>
          </p:nvSpPr>
          <p:spPr>
            <a:xfrm>
              <a:off x="10229088" y="3369563"/>
              <a:ext cx="135635" cy="239268"/>
            </a:xfrm>
            <a:prstGeom prst="rect">
              <a:avLst/>
            </a:prstGeom>
            <a:blipFill>
              <a:blip r:embed="rId20" cstate="print"/>
              <a:stretch>
                <a:fillRect/>
              </a:stretch>
            </a:blipFill>
          </p:spPr>
          <p:txBody>
            <a:bodyPr wrap="square" lIns="0" tIns="0" rIns="0" bIns="0" rtlCol="0"/>
            <a:lstStyle/>
            <a:p>
              <a:endParaRPr/>
            </a:p>
          </p:txBody>
        </p:sp>
        <p:sp>
          <p:nvSpPr>
            <p:cNvPr id="36" name="object 36"/>
            <p:cNvSpPr/>
            <p:nvPr/>
          </p:nvSpPr>
          <p:spPr>
            <a:xfrm>
              <a:off x="10229088" y="3566159"/>
              <a:ext cx="135635" cy="237744"/>
            </a:xfrm>
            <a:prstGeom prst="rect">
              <a:avLst/>
            </a:prstGeom>
            <a:blipFill>
              <a:blip r:embed="rId21" cstate="print"/>
              <a:stretch>
                <a:fillRect/>
              </a:stretch>
            </a:blipFill>
          </p:spPr>
          <p:txBody>
            <a:bodyPr wrap="square" lIns="0" tIns="0" rIns="0" bIns="0" rtlCol="0"/>
            <a:lstStyle/>
            <a:p>
              <a:endParaRPr/>
            </a:p>
          </p:txBody>
        </p:sp>
        <p:sp>
          <p:nvSpPr>
            <p:cNvPr id="37" name="object 37"/>
            <p:cNvSpPr/>
            <p:nvPr/>
          </p:nvSpPr>
          <p:spPr>
            <a:xfrm>
              <a:off x="7940040" y="588263"/>
              <a:ext cx="548005" cy="701040"/>
            </a:xfrm>
            <a:custGeom>
              <a:avLst/>
              <a:gdLst/>
              <a:ahLst/>
              <a:cxnLst/>
              <a:rect l="l" t="t" r="r" b="b"/>
              <a:pathLst>
                <a:path w="548004" h="701040">
                  <a:moveTo>
                    <a:pt x="548005" y="14986"/>
                  </a:moveTo>
                  <a:lnTo>
                    <a:pt x="543179" y="9144"/>
                  </a:lnTo>
                  <a:lnTo>
                    <a:pt x="534543" y="2540"/>
                  </a:lnTo>
                  <a:lnTo>
                    <a:pt x="524510" y="0"/>
                  </a:lnTo>
                  <a:lnTo>
                    <a:pt x="514350" y="1524"/>
                  </a:lnTo>
                  <a:lnTo>
                    <a:pt x="505206" y="7366"/>
                  </a:lnTo>
                  <a:lnTo>
                    <a:pt x="37592" y="291592"/>
                  </a:lnTo>
                  <a:lnTo>
                    <a:pt x="22479" y="304800"/>
                  </a:lnTo>
                  <a:lnTo>
                    <a:pt x="10922" y="321056"/>
                  </a:lnTo>
                  <a:lnTo>
                    <a:pt x="3302" y="339852"/>
                  </a:lnTo>
                  <a:lnTo>
                    <a:pt x="0" y="360172"/>
                  </a:lnTo>
                  <a:lnTo>
                    <a:pt x="0" y="667766"/>
                  </a:lnTo>
                  <a:lnTo>
                    <a:pt x="21336" y="700659"/>
                  </a:lnTo>
                  <a:lnTo>
                    <a:pt x="32385" y="700532"/>
                  </a:lnTo>
                  <a:lnTo>
                    <a:pt x="38989" y="698500"/>
                  </a:lnTo>
                  <a:lnTo>
                    <a:pt x="44704" y="694817"/>
                  </a:lnTo>
                  <a:lnTo>
                    <a:pt x="56515" y="687705"/>
                  </a:lnTo>
                  <a:lnTo>
                    <a:pt x="325501" y="523494"/>
                  </a:lnTo>
                  <a:lnTo>
                    <a:pt x="339852" y="523494"/>
                  </a:lnTo>
                  <a:lnTo>
                    <a:pt x="331978" y="504190"/>
                  </a:lnTo>
                  <a:lnTo>
                    <a:pt x="38100" y="682625"/>
                  </a:lnTo>
                  <a:lnTo>
                    <a:pt x="33147" y="686689"/>
                  </a:lnTo>
                  <a:lnTo>
                    <a:pt x="26543" y="687705"/>
                  </a:lnTo>
                  <a:lnTo>
                    <a:pt x="20574" y="685165"/>
                  </a:lnTo>
                  <a:lnTo>
                    <a:pt x="15494" y="681101"/>
                  </a:lnTo>
                  <a:lnTo>
                    <a:pt x="12954" y="674497"/>
                  </a:lnTo>
                  <a:lnTo>
                    <a:pt x="13716" y="667766"/>
                  </a:lnTo>
                  <a:lnTo>
                    <a:pt x="13716" y="360172"/>
                  </a:lnTo>
                  <a:lnTo>
                    <a:pt x="32385" y="314579"/>
                  </a:lnTo>
                  <a:lnTo>
                    <a:pt x="512064" y="19304"/>
                  </a:lnTo>
                  <a:lnTo>
                    <a:pt x="513080" y="19304"/>
                  </a:lnTo>
                  <a:lnTo>
                    <a:pt x="515874" y="16510"/>
                  </a:lnTo>
                  <a:lnTo>
                    <a:pt x="520827" y="14986"/>
                  </a:lnTo>
                  <a:lnTo>
                    <a:pt x="548005" y="14986"/>
                  </a:lnTo>
                  <a:close/>
                </a:path>
              </a:pathLst>
            </a:custGeom>
            <a:solidFill>
              <a:srgbClr val="097909"/>
            </a:solidFill>
          </p:spPr>
          <p:txBody>
            <a:bodyPr wrap="square" lIns="0" tIns="0" rIns="0" bIns="0" rtlCol="0"/>
            <a:lstStyle/>
            <a:p>
              <a:endParaRPr/>
            </a:p>
          </p:txBody>
        </p:sp>
        <p:sp>
          <p:nvSpPr>
            <p:cNvPr id="38" name="object 38"/>
            <p:cNvSpPr/>
            <p:nvPr/>
          </p:nvSpPr>
          <p:spPr>
            <a:xfrm>
              <a:off x="8265541" y="1111758"/>
              <a:ext cx="70484" cy="110870"/>
            </a:xfrm>
            <a:prstGeom prst="rect">
              <a:avLst/>
            </a:prstGeom>
            <a:blipFill>
              <a:blip r:embed="rId22" cstate="print"/>
              <a:stretch>
                <a:fillRect/>
              </a:stretch>
            </a:blipFill>
          </p:spPr>
          <p:txBody>
            <a:bodyPr wrap="square" lIns="0" tIns="0" rIns="0" bIns="0" rtlCol="0"/>
            <a:lstStyle/>
            <a:p>
              <a:endParaRPr/>
            </a:p>
          </p:txBody>
        </p:sp>
        <p:sp>
          <p:nvSpPr>
            <p:cNvPr id="39" name="object 39"/>
            <p:cNvSpPr/>
            <p:nvPr/>
          </p:nvSpPr>
          <p:spPr>
            <a:xfrm>
              <a:off x="8319897" y="603249"/>
              <a:ext cx="171450" cy="604520"/>
            </a:xfrm>
            <a:custGeom>
              <a:avLst/>
              <a:gdLst/>
              <a:ahLst/>
              <a:cxnLst/>
              <a:rect l="l" t="t" r="r" b="b"/>
              <a:pathLst>
                <a:path w="171450" h="604519">
                  <a:moveTo>
                    <a:pt x="133223" y="4318"/>
                  </a:moveTo>
                  <a:lnTo>
                    <a:pt x="132207" y="4318"/>
                  </a:lnTo>
                  <a:lnTo>
                    <a:pt x="132461" y="5080"/>
                  </a:lnTo>
                  <a:lnTo>
                    <a:pt x="133223" y="4318"/>
                  </a:lnTo>
                  <a:close/>
                </a:path>
                <a:path w="171450" h="604519">
                  <a:moveTo>
                    <a:pt x="171450" y="10160"/>
                  </a:moveTo>
                  <a:lnTo>
                    <a:pt x="169037" y="1016"/>
                  </a:lnTo>
                  <a:lnTo>
                    <a:pt x="168148" y="0"/>
                  </a:lnTo>
                  <a:lnTo>
                    <a:pt x="140970" y="0"/>
                  </a:lnTo>
                  <a:lnTo>
                    <a:pt x="153543" y="2794"/>
                  </a:lnTo>
                  <a:lnTo>
                    <a:pt x="158623" y="10922"/>
                  </a:lnTo>
                  <a:lnTo>
                    <a:pt x="156845" y="19177"/>
                  </a:lnTo>
                  <a:lnTo>
                    <a:pt x="156845" y="327533"/>
                  </a:lnTo>
                  <a:lnTo>
                    <a:pt x="153924" y="344170"/>
                  </a:lnTo>
                  <a:lnTo>
                    <a:pt x="147701" y="359537"/>
                  </a:lnTo>
                  <a:lnTo>
                    <a:pt x="138176" y="372999"/>
                  </a:lnTo>
                  <a:lnTo>
                    <a:pt x="125857" y="384048"/>
                  </a:lnTo>
                  <a:lnTo>
                    <a:pt x="51816" y="428879"/>
                  </a:lnTo>
                  <a:lnTo>
                    <a:pt x="3302" y="602996"/>
                  </a:lnTo>
                  <a:lnTo>
                    <a:pt x="2286" y="603885"/>
                  </a:lnTo>
                  <a:lnTo>
                    <a:pt x="0" y="604012"/>
                  </a:lnTo>
                  <a:lnTo>
                    <a:pt x="16129" y="604012"/>
                  </a:lnTo>
                  <a:lnTo>
                    <a:pt x="62611" y="437896"/>
                  </a:lnTo>
                  <a:lnTo>
                    <a:pt x="132080" y="395478"/>
                  </a:lnTo>
                  <a:lnTo>
                    <a:pt x="166370" y="347218"/>
                  </a:lnTo>
                  <a:lnTo>
                    <a:pt x="169672" y="19177"/>
                  </a:lnTo>
                  <a:lnTo>
                    <a:pt x="171450" y="10160"/>
                  </a:lnTo>
                  <a:close/>
                </a:path>
              </a:pathLst>
            </a:custGeom>
            <a:solidFill>
              <a:srgbClr val="097909"/>
            </a:solidFill>
          </p:spPr>
          <p:txBody>
            <a:bodyPr wrap="square" lIns="0" tIns="0" rIns="0" bIns="0" rtlCol="0"/>
            <a:lstStyle/>
            <a:p>
              <a:endParaRPr/>
            </a:p>
          </p:txBody>
        </p:sp>
        <p:sp>
          <p:nvSpPr>
            <p:cNvPr id="40" name="object 40"/>
            <p:cNvSpPr/>
            <p:nvPr/>
          </p:nvSpPr>
          <p:spPr>
            <a:xfrm>
              <a:off x="10280903" y="1133856"/>
              <a:ext cx="1749552" cy="4137660"/>
            </a:xfrm>
            <a:prstGeom prst="rect">
              <a:avLst/>
            </a:prstGeom>
            <a:blipFill>
              <a:blip r:embed="rId23" cstate="print"/>
              <a:stretch>
                <a:fillRect/>
              </a:stretch>
            </a:blipFill>
          </p:spPr>
          <p:txBody>
            <a:bodyPr wrap="square" lIns="0" tIns="0" rIns="0" bIns="0" rtlCol="0"/>
            <a:lstStyle/>
            <a:p>
              <a:endParaRPr/>
            </a:p>
          </p:txBody>
        </p:sp>
        <p:sp>
          <p:nvSpPr>
            <p:cNvPr id="41" name="object 41"/>
            <p:cNvSpPr/>
            <p:nvPr/>
          </p:nvSpPr>
          <p:spPr>
            <a:xfrm>
              <a:off x="7491984" y="573023"/>
              <a:ext cx="891540" cy="701040"/>
            </a:xfrm>
            <a:custGeom>
              <a:avLst/>
              <a:gdLst/>
              <a:ahLst/>
              <a:cxnLst/>
              <a:rect l="l" t="t" r="r" b="b"/>
              <a:pathLst>
                <a:path w="891540" h="701040">
                  <a:moveTo>
                    <a:pt x="408432" y="339090"/>
                  </a:moveTo>
                  <a:lnTo>
                    <a:pt x="404622" y="332232"/>
                  </a:lnTo>
                  <a:lnTo>
                    <a:pt x="400685" y="331343"/>
                  </a:lnTo>
                  <a:lnTo>
                    <a:pt x="108458" y="509651"/>
                  </a:lnTo>
                  <a:lnTo>
                    <a:pt x="107061" y="511937"/>
                  </a:lnTo>
                  <a:lnTo>
                    <a:pt x="107188" y="518287"/>
                  </a:lnTo>
                  <a:lnTo>
                    <a:pt x="110109" y="521335"/>
                  </a:lnTo>
                  <a:lnTo>
                    <a:pt x="114935" y="521335"/>
                  </a:lnTo>
                  <a:lnTo>
                    <a:pt x="116205" y="521081"/>
                  </a:lnTo>
                  <a:lnTo>
                    <a:pt x="407289" y="343281"/>
                  </a:lnTo>
                  <a:lnTo>
                    <a:pt x="408432" y="339090"/>
                  </a:lnTo>
                  <a:close/>
                </a:path>
                <a:path w="891540" h="701040">
                  <a:moveTo>
                    <a:pt x="442849" y="252603"/>
                  </a:moveTo>
                  <a:lnTo>
                    <a:pt x="441198" y="249174"/>
                  </a:lnTo>
                  <a:lnTo>
                    <a:pt x="439166" y="245745"/>
                  </a:lnTo>
                  <a:lnTo>
                    <a:pt x="435102" y="244729"/>
                  </a:lnTo>
                  <a:lnTo>
                    <a:pt x="432054" y="246761"/>
                  </a:lnTo>
                  <a:lnTo>
                    <a:pt x="108458" y="443357"/>
                  </a:lnTo>
                  <a:lnTo>
                    <a:pt x="107061" y="445770"/>
                  </a:lnTo>
                  <a:lnTo>
                    <a:pt x="107188" y="452120"/>
                  </a:lnTo>
                  <a:lnTo>
                    <a:pt x="110109" y="455168"/>
                  </a:lnTo>
                  <a:lnTo>
                    <a:pt x="113792" y="455168"/>
                  </a:lnTo>
                  <a:lnTo>
                    <a:pt x="114808" y="455422"/>
                  </a:lnTo>
                  <a:lnTo>
                    <a:pt x="116078" y="455422"/>
                  </a:lnTo>
                  <a:lnTo>
                    <a:pt x="117221" y="455168"/>
                  </a:lnTo>
                  <a:lnTo>
                    <a:pt x="438785" y="258699"/>
                  </a:lnTo>
                  <a:lnTo>
                    <a:pt x="441833" y="256667"/>
                  </a:lnTo>
                  <a:lnTo>
                    <a:pt x="442849" y="252603"/>
                  </a:lnTo>
                  <a:close/>
                </a:path>
                <a:path w="891540" h="701040">
                  <a:moveTo>
                    <a:pt x="442849" y="187325"/>
                  </a:moveTo>
                  <a:lnTo>
                    <a:pt x="439293" y="180848"/>
                  </a:lnTo>
                  <a:lnTo>
                    <a:pt x="435229" y="179705"/>
                  </a:lnTo>
                  <a:lnTo>
                    <a:pt x="108458" y="378333"/>
                  </a:lnTo>
                  <a:lnTo>
                    <a:pt x="107061" y="380746"/>
                  </a:lnTo>
                  <a:lnTo>
                    <a:pt x="107188" y="387096"/>
                  </a:lnTo>
                  <a:lnTo>
                    <a:pt x="110109" y="390144"/>
                  </a:lnTo>
                  <a:lnTo>
                    <a:pt x="114935" y="390144"/>
                  </a:lnTo>
                  <a:lnTo>
                    <a:pt x="441833" y="191643"/>
                  </a:lnTo>
                  <a:lnTo>
                    <a:pt x="442849" y="187325"/>
                  </a:lnTo>
                  <a:close/>
                </a:path>
                <a:path w="891540" h="701040">
                  <a:moveTo>
                    <a:pt x="550545" y="25146"/>
                  </a:moveTo>
                  <a:lnTo>
                    <a:pt x="548132" y="15875"/>
                  </a:lnTo>
                  <a:lnTo>
                    <a:pt x="542290" y="9144"/>
                  </a:lnTo>
                  <a:lnTo>
                    <a:pt x="533781" y="2540"/>
                  </a:lnTo>
                  <a:lnTo>
                    <a:pt x="523748" y="0"/>
                  </a:lnTo>
                  <a:lnTo>
                    <a:pt x="513588" y="1524"/>
                  </a:lnTo>
                  <a:lnTo>
                    <a:pt x="504444" y="7366"/>
                  </a:lnTo>
                  <a:lnTo>
                    <a:pt x="37465" y="291592"/>
                  </a:lnTo>
                  <a:lnTo>
                    <a:pt x="22352" y="304673"/>
                  </a:lnTo>
                  <a:lnTo>
                    <a:pt x="10795" y="320929"/>
                  </a:lnTo>
                  <a:lnTo>
                    <a:pt x="3175" y="339725"/>
                  </a:lnTo>
                  <a:lnTo>
                    <a:pt x="0" y="360045"/>
                  </a:lnTo>
                  <a:lnTo>
                    <a:pt x="0" y="667766"/>
                  </a:lnTo>
                  <a:lnTo>
                    <a:pt x="21336" y="700659"/>
                  </a:lnTo>
                  <a:lnTo>
                    <a:pt x="32131" y="700532"/>
                  </a:lnTo>
                  <a:lnTo>
                    <a:pt x="411226" y="471424"/>
                  </a:lnTo>
                  <a:lnTo>
                    <a:pt x="415417" y="465201"/>
                  </a:lnTo>
                  <a:lnTo>
                    <a:pt x="413766" y="461772"/>
                  </a:lnTo>
                  <a:lnTo>
                    <a:pt x="411734" y="458470"/>
                  </a:lnTo>
                  <a:lnTo>
                    <a:pt x="407670" y="457327"/>
                  </a:lnTo>
                  <a:lnTo>
                    <a:pt x="404622" y="459359"/>
                  </a:lnTo>
                  <a:lnTo>
                    <a:pt x="37592" y="681863"/>
                  </a:lnTo>
                  <a:lnTo>
                    <a:pt x="34163" y="685673"/>
                  </a:lnTo>
                  <a:lnTo>
                    <a:pt x="28956" y="687197"/>
                  </a:lnTo>
                  <a:lnTo>
                    <a:pt x="16383" y="684149"/>
                  </a:lnTo>
                  <a:lnTo>
                    <a:pt x="11557" y="676021"/>
                  </a:lnTo>
                  <a:lnTo>
                    <a:pt x="13335" y="667766"/>
                  </a:lnTo>
                  <a:lnTo>
                    <a:pt x="13335" y="360045"/>
                  </a:lnTo>
                  <a:lnTo>
                    <a:pt x="31877" y="314579"/>
                  </a:lnTo>
                  <a:lnTo>
                    <a:pt x="511048" y="19304"/>
                  </a:lnTo>
                  <a:lnTo>
                    <a:pt x="516255" y="15367"/>
                  </a:lnTo>
                  <a:lnTo>
                    <a:pt x="522859" y="14351"/>
                  </a:lnTo>
                  <a:lnTo>
                    <a:pt x="528701" y="16764"/>
                  </a:lnTo>
                  <a:lnTo>
                    <a:pt x="533781" y="20828"/>
                  </a:lnTo>
                  <a:lnTo>
                    <a:pt x="536194" y="27432"/>
                  </a:lnTo>
                  <a:lnTo>
                    <a:pt x="535432" y="34163"/>
                  </a:lnTo>
                  <a:lnTo>
                    <a:pt x="535559" y="233045"/>
                  </a:lnTo>
                  <a:lnTo>
                    <a:pt x="538480" y="236093"/>
                  </a:lnTo>
                  <a:lnTo>
                    <a:pt x="545719" y="236093"/>
                  </a:lnTo>
                  <a:lnTo>
                    <a:pt x="548640" y="233045"/>
                  </a:lnTo>
                  <a:lnTo>
                    <a:pt x="548640" y="34163"/>
                  </a:lnTo>
                  <a:lnTo>
                    <a:pt x="550545" y="25146"/>
                  </a:lnTo>
                  <a:close/>
                </a:path>
                <a:path w="891540" h="701040">
                  <a:moveTo>
                    <a:pt x="889889" y="204724"/>
                  </a:moveTo>
                  <a:lnTo>
                    <a:pt x="887095" y="198120"/>
                  </a:lnTo>
                  <a:lnTo>
                    <a:pt x="883158" y="196469"/>
                  </a:lnTo>
                  <a:lnTo>
                    <a:pt x="879729" y="198120"/>
                  </a:lnTo>
                  <a:lnTo>
                    <a:pt x="558165" y="393700"/>
                  </a:lnTo>
                  <a:lnTo>
                    <a:pt x="554990" y="395859"/>
                  </a:lnTo>
                  <a:lnTo>
                    <a:pt x="553974" y="400050"/>
                  </a:lnTo>
                  <a:lnTo>
                    <a:pt x="557022" y="405384"/>
                  </a:lnTo>
                  <a:lnTo>
                    <a:pt x="559181" y="406654"/>
                  </a:lnTo>
                  <a:lnTo>
                    <a:pt x="562737" y="406654"/>
                  </a:lnTo>
                  <a:lnTo>
                    <a:pt x="563880" y="406400"/>
                  </a:lnTo>
                  <a:lnTo>
                    <a:pt x="886333" y="210185"/>
                  </a:lnTo>
                  <a:lnTo>
                    <a:pt x="889000" y="208153"/>
                  </a:lnTo>
                  <a:lnTo>
                    <a:pt x="889889" y="204724"/>
                  </a:lnTo>
                  <a:close/>
                </a:path>
                <a:path w="891540" h="701040">
                  <a:moveTo>
                    <a:pt x="890651" y="269621"/>
                  </a:moveTo>
                  <a:lnTo>
                    <a:pt x="886841" y="262763"/>
                  </a:lnTo>
                  <a:lnTo>
                    <a:pt x="882777" y="261747"/>
                  </a:lnTo>
                  <a:lnTo>
                    <a:pt x="879729" y="263779"/>
                  </a:lnTo>
                  <a:lnTo>
                    <a:pt x="557911" y="459486"/>
                  </a:lnTo>
                  <a:lnTo>
                    <a:pt x="554990" y="461518"/>
                  </a:lnTo>
                  <a:lnTo>
                    <a:pt x="553974" y="465582"/>
                  </a:lnTo>
                  <a:lnTo>
                    <a:pt x="557022" y="470916"/>
                  </a:lnTo>
                  <a:lnTo>
                    <a:pt x="559181" y="472186"/>
                  </a:lnTo>
                  <a:lnTo>
                    <a:pt x="562737" y="472186"/>
                  </a:lnTo>
                  <a:lnTo>
                    <a:pt x="563880" y="471932"/>
                  </a:lnTo>
                  <a:lnTo>
                    <a:pt x="889508" y="273812"/>
                  </a:lnTo>
                  <a:lnTo>
                    <a:pt x="890651" y="269621"/>
                  </a:lnTo>
                  <a:close/>
                </a:path>
                <a:path w="891540" h="701040">
                  <a:moveTo>
                    <a:pt x="891286" y="334010"/>
                  </a:moveTo>
                  <a:lnTo>
                    <a:pt x="886968" y="327660"/>
                  </a:lnTo>
                  <a:lnTo>
                    <a:pt x="882777" y="326898"/>
                  </a:lnTo>
                  <a:lnTo>
                    <a:pt x="879729" y="329311"/>
                  </a:lnTo>
                  <a:lnTo>
                    <a:pt x="554990" y="526923"/>
                  </a:lnTo>
                  <a:lnTo>
                    <a:pt x="553974" y="531114"/>
                  </a:lnTo>
                  <a:lnTo>
                    <a:pt x="557022" y="536575"/>
                  </a:lnTo>
                  <a:lnTo>
                    <a:pt x="559181" y="537845"/>
                  </a:lnTo>
                  <a:lnTo>
                    <a:pt x="562737" y="537845"/>
                  </a:lnTo>
                  <a:lnTo>
                    <a:pt x="564007" y="537464"/>
                  </a:lnTo>
                  <a:lnTo>
                    <a:pt x="886333" y="341376"/>
                  </a:lnTo>
                  <a:lnTo>
                    <a:pt x="887603" y="340741"/>
                  </a:lnTo>
                  <a:lnTo>
                    <a:pt x="890651" y="338328"/>
                  </a:lnTo>
                  <a:lnTo>
                    <a:pt x="891286" y="334010"/>
                  </a:lnTo>
                  <a:close/>
                </a:path>
              </a:pathLst>
            </a:custGeom>
            <a:solidFill>
              <a:srgbClr val="097909"/>
            </a:solidFill>
          </p:spPr>
          <p:txBody>
            <a:bodyPr wrap="square" lIns="0" tIns="0" rIns="0" bIns="0" rtlCol="0"/>
            <a:lstStyle/>
            <a:p>
              <a:endParaRPr/>
            </a:p>
          </p:txBody>
        </p:sp>
        <p:sp>
          <p:nvSpPr>
            <p:cNvPr id="42" name="object 42"/>
            <p:cNvSpPr/>
            <p:nvPr/>
          </p:nvSpPr>
          <p:spPr>
            <a:xfrm>
              <a:off x="6361176" y="1443227"/>
              <a:ext cx="85342" cy="192024"/>
            </a:xfrm>
            <a:prstGeom prst="rect">
              <a:avLst/>
            </a:prstGeom>
            <a:blipFill>
              <a:blip r:embed="rId24" cstate="print"/>
              <a:stretch>
                <a:fillRect/>
              </a:stretch>
            </a:blipFill>
          </p:spPr>
          <p:txBody>
            <a:bodyPr wrap="square" lIns="0" tIns="0" rIns="0" bIns="0" rtlCol="0"/>
            <a:lstStyle/>
            <a:p>
              <a:endParaRPr/>
            </a:p>
          </p:txBody>
        </p:sp>
        <p:sp>
          <p:nvSpPr>
            <p:cNvPr id="43" name="object 43"/>
            <p:cNvSpPr/>
            <p:nvPr/>
          </p:nvSpPr>
          <p:spPr>
            <a:xfrm>
              <a:off x="6155436" y="1085088"/>
              <a:ext cx="498475" cy="591185"/>
            </a:xfrm>
            <a:custGeom>
              <a:avLst/>
              <a:gdLst/>
              <a:ahLst/>
              <a:cxnLst/>
              <a:rect l="l" t="t" r="r" b="b"/>
              <a:pathLst>
                <a:path w="498475" h="591185">
                  <a:moveTo>
                    <a:pt x="430530" y="0"/>
                  </a:moveTo>
                  <a:lnTo>
                    <a:pt x="24002" y="238378"/>
                  </a:lnTo>
                  <a:lnTo>
                    <a:pt x="0" y="282321"/>
                  </a:lnTo>
                  <a:lnTo>
                    <a:pt x="0" y="529336"/>
                  </a:lnTo>
                  <a:lnTo>
                    <a:pt x="24002" y="573277"/>
                  </a:lnTo>
                  <a:lnTo>
                    <a:pt x="67690" y="591185"/>
                  </a:lnTo>
                  <a:lnTo>
                    <a:pt x="79883" y="589661"/>
                  </a:lnTo>
                  <a:lnTo>
                    <a:pt x="91693" y="585088"/>
                  </a:lnTo>
                  <a:lnTo>
                    <a:pt x="254635" y="485266"/>
                  </a:lnTo>
                  <a:lnTo>
                    <a:pt x="290449" y="551688"/>
                  </a:lnTo>
                  <a:lnTo>
                    <a:pt x="293750" y="552576"/>
                  </a:lnTo>
                  <a:lnTo>
                    <a:pt x="297941" y="549401"/>
                  </a:lnTo>
                  <a:lnTo>
                    <a:pt x="334644" y="437514"/>
                  </a:lnTo>
                  <a:lnTo>
                    <a:pt x="474344" y="352806"/>
                  </a:lnTo>
                  <a:lnTo>
                    <a:pt x="483869" y="344297"/>
                  </a:lnTo>
                  <a:lnTo>
                    <a:pt x="491236" y="333883"/>
                  </a:lnTo>
                  <a:lnTo>
                    <a:pt x="496062" y="321945"/>
                  </a:lnTo>
                  <a:lnTo>
                    <a:pt x="498347" y="308990"/>
                  </a:lnTo>
                  <a:lnTo>
                    <a:pt x="498347" y="61849"/>
                  </a:lnTo>
                  <a:lnTo>
                    <a:pt x="474217" y="17907"/>
                  </a:lnTo>
                  <a:lnTo>
                    <a:pt x="442848" y="1524"/>
                  </a:lnTo>
                  <a:lnTo>
                    <a:pt x="430530" y="0"/>
                  </a:lnTo>
                  <a:close/>
                </a:path>
              </a:pathLst>
            </a:custGeom>
            <a:solidFill>
              <a:srgbClr val="097909"/>
            </a:solidFill>
          </p:spPr>
          <p:txBody>
            <a:bodyPr wrap="square" lIns="0" tIns="0" rIns="0" bIns="0" rtlCol="0"/>
            <a:lstStyle/>
            <a:p>
              <a:endParaRPr/>
            </a:p>
          </p:txBody>
        </p:sp>
        <p:sp>
          <p:nvSpPr>
            <p:cNvPr id="44" name="object 44"/>
            <p:cNvSpPr/>
            <p:nvPr/>
          </p:nvSpPr>
          <p:spPr>
            <a:xfrm>
              <a:off x="6155436" y="1342644"/>
              <a:ext cx="88265" cy="335280"/>
            </a:xfrm>
            <a:custGeom>
              <a:avLst/>
              <a:gdLst/>
              <a:ahLst/>
              <a:cxnLst/>
              <a:rect l="l" t="t" r="r" b="b"/>
              <a:pathLst>
                <a:path w="88264" h="335280">
                  <a:moveTo>
                    <a:pt x="6985" y="0"/>
                  </a:moveTo>
                  <a:lnTo>
                    <a:pt x="2666" y="7619"/>
                  </a:lnTo>
                  <a:lnTo>
                    <a:pt x="253" y="16255"/>
                  </a:lnTo>
                  <a:lnTo>
                    <a:pt x="0" y="273050"/>
                  </a:lnTo>
                  <a:lnTo>
                    <a:pt x="2159" y="286130"/>
                  </a:lnTo>
                  <a:lnTo>
                    <a:pt x="43687" y="328929"/>
                  </a:lnTo>
                  <a:lnTo>
                    <a:pt x="65531" y="335025"/>
                  </a:lnTo>
                  <a:lnTo>
                    <a:pt x="76835" y="334263"/>
                  </a:lnTo>
                  <a:lnTo>
                    <a:pt x="87756" y="331088"/>
                  </a:lnTo>
                  <a:lnTo>
                    <a:pt x="79883" y="332485"/>
                  </a:lnTo>
                  <a:lnTo>
                    <a:pt x="73533" y="329945"/>
                  </a:lnTo>
                  <a:lnTo>
                    <a:pt x="69341" y="323722"/>
                  </a:lnTo>
                  <a:lnTo>
                    <a:pt x="67690" y="314451"/>
                  </a:lnTo>
                  <a:lnTo>
                    <a:pt x="68072" y="57403"/>
                  </a:lnTo>
                  <a:lnTo>
                    <a:pt x="70485" y="48767"/>
                  </a:lnTo>
                  <a:lnTo>
                    <a:pt x="74802" y="41401"/>
                  </a:lnTo>
                  <a:lnTo>
                    <a:pt x="6985" y="0"/>
                  </a:lnTo>
                  <a:close/>
                </a:path>
              </a:pathLst>
            </a:custGeom>
            <a:solidFill>
              <a:srgbClr val="000000">
                <a:alpha val="19607"/>
              </a:srgbClr>
            </a:solidFill>
          </p:spPr>
          <p:txBody>
            <a:bodyPr wrap="square" lIns="0" tIns="0" rIns="0" bIns="0" rtlCol="0"/>
            <a:lstStyle/>
            <a:p>
              <a:endParaRPr/>
            </a:p>
          </p:txBody>
        </p:sp>
        <p:sp>
          <p:nvSpPr>
            <p:cNvPr id="45" name="object 45"/>
            <p:cNvSpPr/>
            <p:nvPr/>
          </p:nvSpPr>
          <p:spPr>
            <a:xfrm>
              <a:off x="6163055" y="1085088"/>
              <a:ext cx="490855" cy="299720"/>
            </a:xfrm>
            <a:custGeom>
              <a:avLst/>
              <a:gdLst/>
              <a:ahLst/>
              <a:cxnLst/>
              <a:rect l="l" t="t" r="r" b="b"/>
              <a:pathLst>
                <a:path w="490854" h="299719">
                  <a:moveTo>
                    <a:pt x="424179" y="0"/>
                  </a:moveTo>
                  <a:lnTo>
                    <a:pt x="9398" y="243966"/>
                  </a:lnTo>
                  <a:lnTo>
                    <a:pt x="0" y="258445"/>
                  </a:lnTo>
                  <a:lnTo>
                    <a:pt x="67183" y="299592"/>
                  </a:lnTo>
                  <a:lnTo>
                    <a:pt x="71120" y="291846"/>
                  </a:lnTo>
                  <a:lnTo>
                    <a:pt x="76962" y="285369"/>
                  </a:lnTo>
                  <a:lnTo>
                    <a:pt x="467360" y="47371"/>
                  </a:lnTo>
                  <a:lnTo>
                    <a:pt x="475361" y="44196"/>
                  </a:lnTo>
                  <a:lnTo>
                    <a:pt x="482092" y="44576"/>
                  </a:lnTo>
                  <a:lnTo>
                    <a:pt x="487425" y="48260"/>
                  </a:lnTo>
                  <a:lnTo>
                    <a:pt x="490600" y="54863"/>
                  </a:lnTo>
                  <a:lnTo>
                    <a:pt x="487679" y="43941"/>
                  </a:lnTo>
                  <a:lnTo>
                    <a:pt x="448310" y="5969"/>
                  </a:lnTo>
                  <a:lnTo>
                    <a:pt x="436499" y="1524"/>
                  </a:lnTo>
                  <a:lnTo>
                    <a:pt x="424179" y="0"/>
                  </a:lnTo>
                  <a:close/>
                </a:path>
              </a:pathLst>
            </a:custGeom>
            <a:solidFill>
              <a:srgbClr val="FFFFFF">
                <a:alpha val="39607"/>
              </a:srgbClr>
            </a:solidFill>
          </p:spPr>
          <p:txBody>
            <a:bodyPr wrap="square" lIns="0" tIns="0" rIns="0" bIns="0" rtlCol="0"/>
            <a:lstStyle/>
            <a:p>
              <a:endParaRPr/>
            </a:p>
          </p:txBody>
        </p:sp>
        <p:sp>
          <p:nvSpPr>
            <p:cNvPr id="46" name="object 46"/>
            <p:cNvSpPr/>
            <p:nvPr/>
          </p:nvSpPr>
          <p:spPr>
            <a:xfrm>
              <a:off x="6289548" y="1430019"/>
              <a:ext cx="63880" cy="87375"/>
            </a:xfrm>
            <a:prstGeom prst="rect">
              <a:avLst/>
            </a:prstGeom>
            <a:blipFill>
              <a:blip r:embed="rId25" cstate="print"/>
              <a:stretch>
                <a:fillRect/>
              </a:stretch>
            </a:blipFill>
          </p:spPr>
          <p:txBody>
            <a:bodyPr wrap="square" lIns="0" tIns="0" rIns="0" bIns="0" rtlCol="0"/>
            <a:lstStyle/>
            <a:p>
              <a:endParaRPr/>
            </a:p>
          </p:txBody>
        </p:sp>
        <p:sp>
          <p:nvSpPr>
            <p:cNvPr id="47" name="object 47"/>
            <p:cNvSpPr/>
            <p:nvPr/>
          </p:nvSpPr>
          <p:spPr>
            <a:xfrm>
              <a:off x="6407530" y="1358519"/>
              <a:ext cx="64008" cy="86613"/>
            </a:xfrm>
            <a:prstGeom prst="rect">
              <a:avLst/>
            </a:prstGeom>
            <a:blipFill>
              <a:blip r:embed="rId26" cstate="print"/>
              <a:stretch>
                <a:fillRect/>
              </a:stretch>
            </a:blipFill>
          </p:spPr>
          <p:txBody>
            <a:bodyPr wrap="square" lIns="0" tIns="0" rIns="0" bIns="0" rtlCol="0"/>
            <a:lstStyle/>
            <a:p>
              <a:endParaRPr/>
            </a:p>
          </p:txBody>
        </p:sp>
        <p:sp>
          <p:nvSpPr>
            <p:cNvPr id="48" name="object 48"/>
            <p:cNvSpPr/>
            <p:nvPr/>
          </p:nvSpPr>
          <p:spPr>
            <a:xfrm>
              <a:off x="6525641" y="1286256"/>
              <a:ext cx="63753" cy="86995"/>
            </a:xfrm>
            <a:prstGeom prst="rect">
              <a:avLst/>
            </a:prstGeom>
            <a:blipFill>
              <a:blip r:embed="rId27" cstate="print"/>
              <a:stretch>
                <a:fillRect/>
              </a:stretch>
            </a:blipFill>
          </p:spPr>
          <p:txBody>
            <a:bodyPr wrap="square" lIns="0" tIns="0" rIns="0" bIns="0" rtlCol="0"/>
            <a:lstStyle/>
            <a:p>
              <a:endParaRPr/>
            </a:p>
          </p:txBody>
        </p:sp>
      </p:grpSp>
    </p:spTree>
    <p:extLst>
      <p:ext uri="{BB962C8B-B14F-4D97-AF65-F5344CB8AC3E}">
        <p14:creationId xmlns:p14="http://schemas.microsoft.com/office/powerpoint/2010/main" val="1844297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EDCC8E5-1C2B-5385-9DF3-240265BAED1D}"/>
              </a:ext>
            </a:extLst>
          </p:cNvPr>
          <p:cNvSpPr txBox="1"/>
          <p:nvPr/>
        </p:nvSpPr>
        <p:spPr>
          <a:xfrm>
            <a:off x="171921" y="1399244"/>
            <a:ext cx="5156616" cy="40626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400" b="1" dirty="0"/>
              <a:t>Climate change</a:t>
            </a:r>
            <a:r>
              <a:rPr lang="en-US" sz="2400" dirty="0"/>
              <a:t> </a:t>
            </a:r>
            <a:r>
              <a:rPr lang="en-US" sz="2400" dirty="0">
                <a:ea typeface="+mn-lt"/>
                <a:cs typeface="+mn-lt"/>
              </a:rPr>
              <a:t>is a long-term alteration in weather patterns caused by natural processes and human activities, affecting the global atmosphere and affecting the planet's climate. Mitigation is crucial due to its potentially irreversible effects on the environment, human health, and global economies.</a:t>
            </a:r>
            <a:endParaRPr lang="en-US" sz="2400" b="1">
              <a:cs typeface="Calibri"/>
            </a:endParaRPr>
          </a:p>
          <a:p>
            <a:pPr algn="just"/>
            <a:endParaRPr lang="en-US" sz="2400" dirty="0">
              <a:ea typeface="Calibri"/>
              <a:cs typeface="Calibri"/>
            </a:endParaRPr>
          </a:p>
          <a:p>
            <a:pPr algn="just"/>
            <a:endParaRPr lang="en-US" dirty="0"/>
          </a:p>
        </p:txBody>
      </p:sp>
      <p:sp>
        <p:nvSpPr>
          <p:cNvPr id="5" name="TextBox 4">
            <a:extLst>
              <a:ext uri="{FF2B5EF4-FFF2-40B4-BE49-F238E27FC236}">
                <a16:creationId xmlns:a16="http://schemas.microsoft.com/office/drawing/2014/main" id="{5AF953F3-0FEB-E6B9-8DD6-3F32B6721431}"/>
              </a:ext>
            </a:extLst>
          </p:cNvPr>
          <p:cNvSpPr txBox="1"/>
          <p:nvPr/>
        </p:nvSpPr>
        <p:spPr>
          <a:xfrm>
            <a:off x="343436" y="126851"/>
            <a:ext cx="6513310" cy="505908"/>
          </a:xfrm>
          <a:prstGeom prst="rect">
            <a:avLst/>
          </a:prstGeom>
        </p:spPr>
        <p:txBody>
          <a:bodyPr vert="horz" wrap="square" lIns="0" tIns="13335" rIns="0" bIns="0" rtlCol="0" anchor="b">
            <a:spAutoFit/>
          </a:bodyPr>
          <a:lstStyle/>
          <a:p>
            <a:pPr marL="12700" marR="5080">
              <a:spcBef>
                <a:spcPts val="105"/>
              </a:spcBef>
            </a:pPr>
            <a:r>
              <a:rPr lang="en-US" sz="3200" b="1" dirty="0">
                <a:latin typeface="Calibri"/>
                <a:ea typeface="Calibri"/>
                <a:cs typeface="Calibri"/>
              </a:rPr>
              <a:t>What is Climate Change?</a:t>
            </a:r>
          </a:p>
        </p:txBody>
      </p:sp>
      <p:pic>
        <p:nvPicPr>
          <p:cNvPr id="2" name="Picture 1" descr="A diagram of climate change impacts&#10;&#10;Description automatically generated">
            <a:extLst>
              <a:ext uri="{FF2B5EF4-FFF2-40B4-BE49-F238E27FC236}">
                <a16:creationId xmlns:a16="http://schemas.microsoft.com/office/drawing/2014/main" id="{4A068367-AA62-1DF1-4B12-75840D4FE4A0}"/>
              </a:ext>
            </a:extLst>
          </p:cNvPr>
          <p:cNvPicPr>
            <a:picLocks noChangeAspect="1"/>
          </p:cNvPicPr>
          <p:nvPr/>
        </p:nvPicPr>
        <p:blipFill>
          <a:blip r:embed="rId2"/>
          <a:stretch>
            <a:fillRect/>
          </a:stretch>
        </p:blipFill>
        <p:spPr>
          <a:xfrm>
            <a:off x="5985131" y="388941"/>
            <a:ext cx="5750442" cy="4718409"/>
          </a:xfrm>
          <a:prstGeom prst="rect">
            <a:avLst/>
          </a:prstGeom>
        </p:spPr>
      </p:pic>
      <p:sp>
        <p:nvSpPr>
          <p:cNvPr id="7" name="TextBox 6">
            <a:extLst>
              <a:ext uri="{FF2B5EF4-FFF2-40B4-BE49-F238E27FC236}">
                <a16:creationId xmlns:a16="http://schemas.microsoft.com/office/drawing/2014/main" id="{4EE8FF4F-6BC6-FB1B-C348-CA08E2B75805}"/>
              </a:ext>
            </a:extLst>
          </p:cNvPr>
          <p:cNvSpPr txBox="1"/>
          <p:nvPr/>
        </p:nvSpPr>
        <p:spPr>
          <a:xfrm>
            <a:off x="7254592" y="5096357"/>
            <a:ext cx="30168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Source: </a:t>
            </a:r>
            <a:r>
              <a:rPr lang="en-US" dirty="0">
                <a:cs typeface="Calibri"/>
                <a:hlinkClick r:id="rId3"/>
              </a:rPr>
              <a:t>Research Gate</a:t>
            </a:r>
            <a:endParaRPr lang="en-US" dirty="0"/>
          </a:p>
        </p:txBody>
      </p:sp>
      <p:sp>
        <p:nvSpPr>
          <p:cNvPr id="8" name="object 2">
            <a:extLst>
              <a:ext uri="{FF2B5EF4-FFF2-40B4-BE49-F238E27FC236}">
                <a16:creationId xmlns:a16="http://schemas.microsoft.com/office/drawing/2014/main" id="{BA2CA541-722E-3E64-F8D2-9B391A8C2FCF}"/>
              </a:ext>
            </a:extLst>
          </p:cNvPr>
          <p:cNvSpPr/>
          <p:nvPr/>
        </p:nvSpPr>
        <p:spPr>
          <a:xfrm>
            <a:off x="166352" y="5834107"/>
            <a:ext cx="1184148" cy="618744"/>
          </a:xfrm>
          <a:prstGeom prst="rect">
            <a:avLst/>
          </a:prstGeom>
          <a:blipFill>
            <a:blip r:embed="rId4" cstate="print"/>
            <a:stretch>
              <a:fillRect/>
            </a:stretch>
          </a:blipFill>
        </p:spPr>
        <p:txBody>
          <a:bodyPr wrap="square" lIns="0" tIns="0" rIns="0" bIns="0" rtlCol="0"/>
          <a:lstStyle/>
          <a:p>
            <a:endParaRPr/>
          </a:p>
        </p:txBody>
      </p:sp>
      <p:grpSp>
        <p:nvGrpSpPr>
          <p:cNvPr id="12" name="object 4">
            <a:extLst>
              <a:ext uri="{FF2B5EF4-FFF2-40B4-BE49-F238E27FC236}">
                <a16:creationId xmlns:a16="http://schemas.microsoft.com/office/drawing/2014/main" id="{32042136-C3F7-CBC0-FE5B-97A5CFC28657}"/>
              </a:ext>
            </a:extLst>
          </p:cNvPr>
          <p:cNvGrpSpPr/>
          <p:nvPr/>
        </p:nvGrpSpPr>
        <p:grpSpPr>
          <a:xfrm>
            <a:off x="348803" y="607967"/>
            <a:ext cx="1185291" cy="0"/>
            <a:chOff x="381000" y="1133855"/>
            <a:chExt cx="1185291" cy="0"/>
          </a:xfrm>
        </p:grpSpPr>
        <p:sp>
          <p:nvSpPr>
            <p:cNvPr id="10" name="object 5">
              <a:extLst>
                <a:ext uri="{FF2B5EF4-FFF2-40B4-BE49-F238E27FC236}">
                  <a16:creationId xmlns:a16="http://schemas.microsoft.com/office/drawing/2014/main" id="{2B8331D5-9286-40B9-CD9A-F8DDCBA56235}"/>
                </a:ext>
              </a:extLst>
            </p:cNvPr>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11" name="object 6">
              <a:extLst>
                <a:ext uri="{FF2B5EF4-FFF2-40B4-BE49-F238E27FC236}">
                  <a16:creationId xmlns:a16="http://schemas.microsoft.com/office/drawing/2014/main" id="{55EA8DD1-F915-54B3-235F-9CD02A8E5EB8}"/>
                </a:ext>
              </a:extLst>
            </p:cNvPr>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Tree>
    <p:extLst>
      <p:ext uri="{BB962C8B-B14F-4D97-AF65-F5344CB8AC3E}">
        <p14:creationId xmlns:p14="http://schemas.microsoft.com/office/powerpoint/2010/main" val="40367417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EDCC8E5-1C2B-5385-9DF3-240265BAED1D}"/>
              </a:ext>
            </a:extLst>
          </p:cNvPr>
          <p:cNvSpPr txBox="1"/>
          <p:nvPr/>
        </p:nvSpPr>
        <p:spPr>
          <a:xfrm>
            <a:off x="134795" y="977228"/>
            <a:ext cx="5021394" cy="54476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Climate change is driven by both human activities and natural processes. Here is a summary of the primary causes:</a:t>
            </a:r>
          </a:p>
          <a:p>
            <a:endParaRPr lang="en-US" b="1" dirty="0"/>
          </a:p>
          <a:p>
            <a:r>
              <a:rPr lang="en-US" b="1" dirty="0"/>
              <a:t>Anthropogenic (Human-Induced) Causes</a:t>
            </a:r>
          </a:p>
          <a:p>
            <a:endParaRPr lang="en-US" b="1" dirty="0"/>
          </a:p>
          <a:p>
            <a:pPr marL="285750" indent="-285750">
              <a:buFont typeface="Arial" panose="020B0604020202020204" pitchFamily="34" charset="0"/>
              <a:buChar char="•"/>
            </a:pPr>
            <a:r>
              <a:rPr lang="en-US" dirty="0"/>
              <a:t>Fossil Fuel Combustion</a:t>
            </a:r>
            <a:endParaRPr lang="en-US" dirty="0">
              <a:ea typeface="Calibri"/>
              <a:cs typeface="Calibri"/>
            </a:endParaRPr>
          </a:p>
          <a:p>
            <a:pPr marL="285750" indent="-285750">
              <a:buFont typeface="Arial" panose="020B0604020202020204" pitchFamily="34" charset="0"/>
              <a:buChar char="•"/>
            </a:pPr>
            <a:r>
              <a:rPr lang="en-US" dirty="0"/>
              <a:t>Deforestation</a:t>
            </a:r>
            <a:endParaRPr lang="en-US" dirty="0">
              <a:ea typeface="Calibri"/>
              <a:cs typeface="Calibri"/>
            </a:endParaRPr>
          </a:p>
          <a:p>
            <a:pPr marL="285750" indent="-285750">
              <a:buFont typeface="Arial" panose="020B0604020202020204" pitchFamily="34" charset="0"/>
              <a:buChar char="•"/>
            </a:pPr>
            <a:r>
              <a:rPr lang="en-US" dirty="0"/>
              <a:t>Industrial Processes</a:t>
            </a:r>
            <a:endParaRPr lang="en-US" dirty="0">
              <a:ea typeface="Calibri"/>
              <a:cs typeface="Calibri"/>
            </a:endParaRPr>
          </a:p>
          <a:p>
            <a:pPr marL="285750" indent="-285750">
              <a:buFont typeface="Arial" panose="020B0604020202020204" pitchFamily="34" charset="0"/>
              <a:buChar char="•"/>
            </a:pPr>
            <a:r>
              <a:rPr lang="en-US" dirty="0"/>
              <a:t>Agriculture</a:t>
            </a:r>
          </a:p>
          <a:p>
            <a:pPr marL="285750" indent="-285750">
              <a:buFont typeface="Arial" panose="020B0604020202020204" pitchFamily="34" charset="0"/>
              <a:buChar char="•"/>
            </a:pPr>
            <a:r>
              <a:rPr lang="en-US" dirty="0"/>
              <a:t>Waste Management.</a:t>
            </a:r>
          </a:p>
          <a:p>
            <a:pPr marL="285750" indent="-285750">
              <a:buFont typeface="Arial" panose="020B0604020202020204" pitchFamily="34" charset="0"/>
              <a:buChar char="•"/>
            </a:pPr>
            <a:endParaRPr lang="en-US" dirty="0"/>
          </a:p>
          <a:p>
            <a:r>
              <a:rPr lang="en-US" b="1" dirty="0"/>
              <a:t>Natural Causes</a:t>
            </a:r>
          </a:p>
          <a:p>
            <a:endParaRPr lang="en-US" b="1" dirty="0"/>
          </a:p>
          <a:p>
            <a:pPr marL="285750" indent="-285750">
              <a:buFont typeface="Arial" panose="020B0604020202020204" pitchFamily="34" charset="0"/>
              <a:buChar char="•"/>
            </a:pPr>
            <a:r>
              <a:rPr lang="en-US" dirty="0"/>
              <a:t>Volcanic Activity</a:t>
            </a:r>
          </a:p>
          <a:p>
            <a:pPr marL="285750" indent="-285750">
              <a:buFont typeface="Arial" panose="020B0604020202020204" pitchFamily="34" charset="0"/>
              <a:buChar char="•"/>
            </a:pPr>
            <a:r>
              <a:rPr lang="en-US" dirty="0"/>
              <a:t>Solar Variability</a:t>
            </a:r>
            <a:endParaRPr lang="en-US" dirty="0">
              <a:ea typeface="Calibri"/>
              <a:cs typeface="Calibri"/>
            </a:endParaRPr>
          </a:p>
          <a:p>
            <a:pPr marL="285750" indent="-285750">
              <a:buFont typeface="Arial" panose="020B0604020202020204" pitchFamily="34" charset="0"/>
              <a:buChar char="•"/>
            </a:pPr>
            <a:r>
              <a:rPr lang="en-US" dirty="0"/>
              <a:t>Natural Climate Cycles</a:t>
            </a:r>
          </a:p>
          <a:p>
            <a:pPr algn="just"/>
            <a:endParaRPr lang="en-US" sz="2400" dirty="0">
              <a:ea typeface="Calibri"/>
              <a:cs typeface="Calibri"/>
            </a:endParaRPr>
          </a:p>
          <a:p>
            <a:endParaRPr lang="en-US" dirty="0">
              <a:ea typeface="Calibri"/>
              <a:cs typeface="Calibri"/>
            </a:endParaRPr>
          </a:p>
        </p:txBody>
      </p:sp>
      <p:sp>
        <p:nvSpPr>
          <p:cNvPr id="5" name="TextBox 4">
            <a:extLst>
              <a:ext uri="{FF2B5EF4-FFF2-40B4-BE49-F238E27FC236}">
                <a16:creationId xmlns:a16="http://schemas.microsoft.com/office/drawing/2014/main" id="{5AF953F3-0FEB-E6B9-8DD6-3F32B6721431}"/>
              </a:ext>
            </a:extLst>
          </p:cNvPr>
          <p:cNvSpPr txBox="1"/>
          <p:nvPr/>
        </p:nvSpPr>
        <p:spPr>
          <a:xfrm>
            <a:off x="0" y="-171719"/>
            <a:ext cx="6727958" cy="7546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700" marR="5080">
              <a:lnSpc>
                <a:spcPct val="150000"/>
              </a:lnSpc>
              <a:spcBef>
                <a:spcPts val="100"/>
              </a:spcBef>
            </a:pPr>
            <a:r>
              <a:rPr lang="en-US" sz="3200" b="1" dirty="0"/>
              <a:t>Causes of Climate Change</a:t>
            </a:r>
          </a:p>
        </p:txBody>
      </p:sp>
      <p:pic>
        <p:nvPicPr>
          <p:cNvPr id="2" name="Picture 1" descr="Causes Climate Change: Over 679 Royalty-Free Licensable Stock Vectors &amp;  Vector Art | Shutterstock">
            <a:extLst>
              <a:ext uri="{FF2B5EF4-FFF2-40B4-BE49-F238E27FC236}">
                <a16:creationId xmlns:a16="http://schemas.microsoft.com/office/drawing/2014/main" id="{F9FA1863-E4FB-FA52-9776-7857F4C84B43}"/>
              </a:ext>
            </a:extLst>
          </p:cNvPr>
          <p:cNvPicPr>
            <a:picLocks noChangeAspect="1"/>
          </p:cNvPicPr>
          <p:nvPr/>
        </p:nvPicPr>
        <p:blipFill rotWithShape="1">
          <a:blip r:embed="rId2"/>
          <a:srcRect t="17391" r="-156" b="-167"/>
          <a:stretch/>
        </p:blipFill>
        <p:spPr>
          <a:xfrm>
            <a:off x="4718124" y="3220"/>
            <a:ext cx="7471740" cy="6425577"/>
          </a:xfrm>
          <a:prstGeom prst="rect">
            <a:avLst/>
          </a:prstGeom>
        </p:spPr>
      </p:pic>
      <p:sp>
        <p:nvSpPr>
          <p:cNvPr id="6" name="TextBox 5">
            <a:extLst>
              <a:ext uri="{FF2B5EF4-FFF2-40B4-BE49-F238E27FC236}">
                <a16:creationId xmlns:a16="http://schemas.microsoft.com/office/drawing/2014/main" id="{86A72423-74A8-6565-A54F-8ABDB9DB357C}"/>
              </a:ext>
            </a:extLst>
          </p:cNvPr>
          <p:cNvSpPr txBox="1"/>
          <p:nvPr/>
        </p:nvSpPr>
        <p:spPr>
          <a:xfrm>
            <a:off x="-2866" y="6608254"/>
            <a:ext cx="9815506" cy="24622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FF0000"/>
                </a:solidFill>
                <a:cs typeface="Calibri"/>
              </a:rPr>
              <a:t>Source: </a:t>
            </a:r>
            <a:r>
              <a:rPr lang="en-US" sz="1000" dirty="0">
                <a:solidFill>
                  <a:srgbClr val="FF0000"/>
                </a:solidFill>
                <a:ea typeface="+mn-lt"/>
                <a:cs typeface="+mn-lt"/>
              </a:rPr>
              <a:t>https://www.shutterstock.com/search/causes-climate-change?image_type=vector</a:t>
            </a:r>
            <a:endParaRPr lang="en-US" sz="1000" dirty="0">
              <a:solidFill>
                <a:srgbClr val="FF0000"/>
              </a:solidFill>
            </a:endParaRPr>
          </a:p>
        </p:txBody>
      </p:sp>
      <p:sp>
        <p:nvSpPr>
          <p:cNvPr id="8" name="object 2">
            <a:extLst>
              <a:ext uri="{FF2B5EF4-FFF2-40B4-BE49-F238E27FC236}">
                <a16:creationId xmlns:a16="http://schemas.microsoft.com/office/drawing/2014/main" id="{BCE23D88-8FE1-DC04-CB34-5810139C75B2}"/>
              </a:ext>
            </a:extLst>
          </p:cNvPr>
          <p:cNvSpPr/>
          <p:nvPr/>
        </p:nvSpPr>
        <p:spPr>
          <a:xfrm>
            <a:off x="316606" y="5812642"/>
            <a:ext cx="1184148" cy="618744"/>
          </a:xfrm>
          <a:prstGeom prst="rect">
            <a:avLst/>
          </a:prstGeom>
          <a:blipFill>
            <a:blip r:embed="rId3" cstate="print"/>
            <a:stretch>
              <a:fillRect/>
            </a:stretch>
          </a:blipFill>
        </p:spPr>
        <p:txBody>
          <a:bodyPr wrap="square" lIns="0" tIns="0" rIns="0" bIns="0" rtlCol="0"/>
          <a:lstStyle/>
          <a:p>
            <a:endParaRPr/>
          </a:p>
        </p:txBody>
      </p:sp>
      <p:grpSp>
        <p:nvGrpSpPr>
          <p:cNvPr id="16" name="object 4">
            <a:extLst>
              <a:ext uri="{FF2B5EF4-FFF2-40B4-BE49-F238E27FC236}">
                <a16:creationId xmlns:a16="http://schemas.microsoft.com/office/drawing/2014/main" id="{E20EF9EC-87AD-EED0-0740-5507455FF65E}"/>
              </a:ext>
            </a:extLst>
          </p:cNvPr>
          <p:cNvGrpSpPr/>
          <p:nvPr/>
        </p:nvGrpSpPr>
        <p:grpSpPr>
          <a:xfrm>
            <a:off x="316606" y="565038"/>
            <a:ext cx="1185291" cy="0"/>
            <a:chOff x="381000" y="1133855"/>
            <a:chExt cx="1185291" cy="0"/>
          </a:xfrm>
        </p:grpSpPr>
        <p:sp>
          <p:nvSpPr>
            <p:cNvPr id="14" name="object 5">
              <a:extLst>
                <a:ext uri="{FF2B5EF4-FFF2-40B4-BE49-F238E27FC236}">
                  <a16:creationId xmlns:a16="http://schemas.microsoft.com/office/drawing/2014/main" id="{A95C80A3-FF50-55A6-C8B6-F6CCB8552368}"/>
                </a:ext>
              </a:extLst>
            </p:cNvPr>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15" name="object 6">
              <a:extLst>
                <a:ext uri="{FF2B5EF4-FFF2-40B4-BE49-F238E27FC236}">
                  <a16:creationId xmlns:a16="http://schemas.microsoft.com/office/drawing/2014/main" id="{19476E36-B8B4-4377-DA04-01B2A4E81643}"/>
                </a:ext>
              </a:extLst>
            </p:cNvPr>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Tree>
    <p:extLst>
      <p:ext uri="{BB962C8B-B14F-4D97-AF65-F5344CB8AC3E}">
        <p14:creationId xmlns:p14="http://schemas.microsoft.com/office/powerpoint/2010/main" val="27319032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pic>
        <p:nvPicPr>
          <p:cNvPr id="6" name="Picture 5" descr="What is GIS? | Geographic Information System Mapping Technology">
            <a:extLst>
              <a:ext uri="{FF2B5EF4-FFF2-40B4-BE49-F238E27FC236}">
                <a16:creationId xmlns:a16="http://schemas.microsoft.com/office/drawing/2014/main" id="{D6791556-1608-6D4D-CA77-F7662DBDACDF}"/>
              </a:ext>
            </a:extLst>
          </p:cNvPr>
          <p:cNvPicPr>
            <a:picLocks noChangeAspect="1"/>
          </p:cNvPicPr>
          <p:nvPr/>
        </p:nvPicPr>
        <p:blipFill rotWithShape="1">
          <a:blip r:embed="rId2">
            <a:alphaModFix amt="84000"/>
          </a:blip>
          <a:srcRect r="-174" b="588"/>
          <a:stretch/>
        </p:blipFill>
        <p:spPr>
          <a:xfrm>
            <a:off x="5440923" y="10466"/>
            <a:ext cx="6746657" cy="6452444"/>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6EDCC8E5-1C2B-5385-9DF3-240265BAED1D}"/>
              </a:ext>
            </a:extLst>
          </p:cNvPr>
          <p:cNvSpPr txBox="1"/>
          <p:nvPr/>
        </p:nvSpPr>
        <p:spPr>
          <a:xfrm>
            <a:off x="-2177" y="743728"/>
            <a:ext cx="5270534"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a:buChar char="•"/>
            </a:pPr>
            <a:r>
              <a:rPr lang="en-US" sz="2400" b="1" dirty="0"/>
              <a:t>GIS</a:t>
            </a:r>
            <a:r>
              <a:rPr lang="en-US" sz="2400" dirty="0">
                <a:solidFill>
                  <a:srgbClr val="000000"/>
                </a:solidFill>
                <a:ea typeface="+mn-lt"/>
                <a:cs typeface="+mn-lt"/>
              </a:rPr>
              <a:t> is a system that creates, manages, analyzes, and maps all types of data.</a:t>
            </a:r>
            <a:endParaRPr lang="en-US" sz="2400" b="1" dirty="0">
              <a:solidFill>
                <a:srgbClr val="000000"/>
              </a:solidFill>
              <a:ea typeface="+mn-lt"/>
              <a:cs typeface="+mn-lt"/>
            </a:endParaRPr>
          </a:p>
          <a:p>
            <a:endParaRPr lang="en-US" sz="2400" dirty="0">
              <a:solidFill>
                <a:srgbClr val="000000"/>
              </a:solidFill>
              <a:ea typeface="+mn-lt"/>
              <a:cs typeface="+mn-lt"/>
            </a:endParaRPr>
          </a:p>
          <a:p>
            <a:pPr marL="285750" indent="-285750">
              <a:buFont typeface="Arial"/>
              <a:buChar char="•"/>
            </a:pPr>
            <a:r>
              <a:rPr lang="en-US" sz="2400" dirty="0">
                <a:solidFill>
                  <a:srgbClr val="000000"/>
                </a:solidFill>
                <a:ea typeface="+mn-lt"/>
                <a:cs typeface="+mn-lt"/>
              </a:rPr>
              <a:t>It connects data to a map, integrating location data (where things are) with all types of descriptive information (what things are like there)</a:t>
            </a:r>
          </a:p>
          <a:p>
            <a:pPr marL="285750" indent="-285750">
              <a:buFont typeface="Arial"/>
              <a:buChar char="•"/>
            </a:pPr>
            <a:endParaRPr lang="en-US" sz="2400" dirty="0">
              <a:solidFill>
                <a:srgbClr val="000000"/>
              </a:solidFill>
              <a:ea typeface="+mn-lt"/>
              <a:cs typeface="+mn-lt"/>
            </a:endParaRPr>
          </a:p>
          <a:p>
            <a:pPr marL="285750" indent="-285750">
              <a:buFont typeface="Arial"/>
              <a:buChar char="•"/>
            </a:pPr>
            <a:r>
              <a:rPr lang="en-US" sz="2400" dirty="0">
                <a:solidFill>
                  <a:srgbClr val="000000"/>
                </a:solidFill>
                <a:ea typeface="+mn-lt"/>
                <a:cs typeface="+mn-lt"/>
              </a:rPr>
              <a:t>GIS helps users understand patterns, relationships, and geographic context.</a:t>
            </a:r>
          </a:p>
        </p:txBody>
      </p:sp>
      <p:sp>
        <p:nvSpPr>
          <p:cNvPr id="5" name="TextBox 4">
            <a:extLst>
              <a:ext uri="{FF2B5EF4-FFF2-40B4-BE49-F238E27FC236}">
                <a16:creationId xmlns:a16="http://schemas.microsoft.com/office/drawing/2014/main" id="{5AF953F3-0FEB-E6B9-8DD6-3F32B6721431}"/>
              </a:ext>
            </a:extLst>
          </p:cNvPr>
          <p:cNvSpPr txBox="1"/>
          <p:nvPr/>
        </p:nvSpPr>
        <p:spPr>
          <a:xfrm>
            <a:off x="0" y="8766"/>
            <a:ext cx="4947289" cy="5890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700" marR="5080">
              <a:lnSpc>
                <a:spcPct val="150000"/>
              </a:lnSpc>
              <a:spcBef>
                <a:spcPts val="100"/>
              </a:spcBef>
            </a:pPr>
            <a:r>
              <a:rPr lang="en-US" sz="2400" b="1" dirty="0"/>
              <a:t>GEOGRAPHIC INFROMATION SYSTEM</a:t>
            </a:r>
            <a:endParaRPr lang="en-US" sz="2400" b="1" dirty="0">
              <a:cs typeface="Calibri"/>
            </a:endParaRPr>
          </a:p>
        </p:txBody>
      </p:sp>
      <p:grpSp>
        <p:nvGrpSpPr>
          <p:cNvPr id="9" name="object 4">
            <a:extLst>
              <a:ext uri="{FF2B5EF4-FFF2-40B4-BE49-F238E27FC236}">
                <a16:creationId xmlns:a16="http://schemas.microsoft.com/office/drawing/2014/main" id="{33BD51AF-541F-3E63-84B1-AF64D5B8861D}"/>
              </a:ext>
            </a:extLst>
          </p:cNvPr>
          <p:cNvGrpSpPr/>
          <p:nvPr/>
        </p:nvGrpSpPr>
        <p:grpSpPr>
          <a:xfrm>
            <a:off x="166352" y="597235"/>
            <a:ext cx="1185291" cy="0"/>
            <a:chOff x="381000" y="1133855"/>
            <a:chExt cx="1185291" cy="0"/>
          </a:xfrm>
        </p:grpSpPr>
        <p:sp>
          <p:nvSpPr>
            <p:cNvPr id="7" name="object 5">
              <a:extLst>
                <a:ext uri="{FF2B5EF4-FFF2-40B4-BE49-F238E27FC236}">
                  <a16:creationId xmlns:a16="http://schemas.microsoft.com/office/drawing/2014/main" id="{993F28AB-830C-A030-B35F-18343DE817F3}"/>
                </a:ext>
              </a:extLst>
            </p:cNvPr>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8" name="object 6">
              <a:extLst>
                <a:ext uri="{FF2B5EF4-FFF2-40B4-BE49-F238E27FC236}">
                  <a16:creationId xmlns:a16="http://schemas.microsoft.com/office/drawing/2014/main" id="{B5475DF5-D0DC-BA52-BD77-DE0173BB1C9F}"/>
                </a:ext>
              </a:extLst>
            </p:cNvPr>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
        <p:nvSpPr>
          <p:cNvPr id="11" name="object 2">
            <a:extLst>
              <a:ext uri="{FF2B5EF4-FFF2-40B4-BE49-F238E27FC236}">
                <a16:creationId xmlns:a16="http://schemas.microsoft.com/office/drawing/2014/main" id="{AA02DD3D-0AF1-62C1-EB80-88FA42A07829}"/>
              </a:ext>
            </a:extLst>
          </p:cNvPr>
          <p:cNvSpPr/>
          <p:nvPr/>
        </p:nvSpPr>
        <p:spPr>
          <a:xfrm>
            <a:off x="177085" y="5844839"/>
            <a:ext cx="1184148" cy="618744"/>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9570807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EDCC8E5-1C2B-5385-9DF3-240265BAED1D}"/>
              </a:ext>
            </a:extLst>
          </p:cNvPr>
          <p:cNvSpPr txBox="1"/>
          <p:nvPr/>
        </p:nvSpPr>
        <p:spPr>
          <a:xfrm>
            <a:off x="6135197" y="796699"/>
            <a:ext cx="6055549" cy="48936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Calibri"/>
                <a:cs typeface="Calibri"/>
              </a:rPr>
              <a:t>Geospatial data</a:t>
            </a:r>
            <a:r>
              <a:rPr lang="en-US" sz="2400" dirty="0">
                <a:latin typeface="Calibri"/>
                <a:cs typeface="Calibri"/>
              </a:rPr>
              <a:t> is information that describes objects, events or other features with a location on or near the surface of the earth.</a:t>
            </a:r>
            <a:endParaRPr lang="en-US" sz="2400" dirty="0">
              <a:solidFill>
                <a:srgbClr val="000000"/>
              </a:solidFill>
              <a:latin typeface="Calibri"/>
              <a:cs typeface="Calibri"/>
            </a:endParaRPr>
          </a:p>
          <a:p>
            <a:endParaRPr lang="en-US" sz="2400" dirty="0">
              <a:solidFill>
                <a:srgbClr val="000000"/>
              </a:solidFill>
              <a:latin typeface="Calibri"/>
              <a:cs typeface="Calibri"/>
            </a:endParaRPr>
          </a:p>
          <a:p>
            <a:r>
              <a:rPr lang="en-US" sz="2400" b="1" dirty="0">
                <a:solidFill>
                  <a:srgbClr val="212529"/>
                </a:solidFill>
                <a:latin typeface="Calibri"/>
                <a:cs typeface="Calibri"/>
              </a:rPr>
              <a:t>Types of Geospatial Data</a:t>
            </a:r>
            <a:endParaRPr lang="en-US" sz="2400">
              <a:solidFill>
                <a:srgbClr val="FF0000"/>
              </a:solidFill>
              <a:latin typeface="Calibri"/>
              <a:cs typeface="Calibri"/>
            </a:endParaRPr>
          </a:p>
          <a:p>
            <a:endParaRPr lang="en-US" sz="2400" b="1" dirty="0">
              <a:solidFill>
                <a:srgbClr val="212529"/>
              </a:solidFill>
              <a:latin typeface="Calibri"/>
              <a:cs typeface="Calibri"/>
            </a:endParaRPr>
          </a:p>
          <a:p>
            <a:r>
              <a:rPr lang="en-US" sz="2400" dirty="0">
                <a:solidFill>
                  <a:srgbClr val="212529"/>
                </a:solidFill>
                <a:latin typeface="Calibri"/>
                <a:cs typeface="Calibri"/>
              </a:rPr>
              <a:t>The two main types of geospatial data are </a:t>
            </a:r>
            <a:endParaRPr lang="en-US" sz="2400">
              <a:cs typeface="Calibri"/>
            </a:endParaRPr>
          </a:p>
          <a:p>
            <a:endParaRPr lang="en-US" sz="2400" dirty="0">
              <a:solidFill>
                <a:srgbClr val="212529"/>
              </a:solidFill>
              <a:latin typeface="Calibri"/>
              <a:cs typeface="Calibri"/>
            </a:endParaRPr>
          </a:p>
          <a:p>
            <a:pPr marL="342900" indent="-342900">
              <a:buFont typeface="Arial"/>
              <a:buChar char="•"/>
            </a:pPr>
            <a:r>
              <a:rPr lang="en-US" sz="2400" b="1" dirty="0">
                <a:solidFill>
                  <a:srgbClr val="212529"/>
                </a:solidFill>
                <a:latin typeface="Calibri"/>
                <a:cs typeface="Calibri"/>
              </a:rPr>
              <a:t>Vector data: </a:t>
            </a:r>
            <a:r>
              <a:rPr lang="en-US" sz="2400" dirty="0">
                <a:solidFill>
                  <a:srgbClr val="212529"/>
                </a:solidFill>
                <a:latin typeface="Calibri"/>
                <a:cs typeface="Calibri"/>
              </a:rPr>
              <a:t> lines, point and polygon(e.g. Administrative boundaries )</a:t>
            </a:r>
            <a:endParaRPr lang="en-US" sz="2400">
              <a:cs typeface="Calibri"/>
            </a:endParaRPr>
          </a:p>
          <a:p>
            <a:endParaRPr lang="en-US" sz="2400" dirty="0">
              <a:solidFill>
                <a:srgbClr val="212529"/>
              </a:solidFill>
              <a:latin typeface="Calibri"/>
              <a:cs typeface="Calibri"/>
            </a:endParaRPr>
          </a:p>
          <a:p>
            <a:pPr marL="342900" indent="-342900">
              <a:buFont typeface="Arial"/>
              <a:buChar char="•"/>
            </a:pPr>
            <a:r>
              <a:rPr lang="en-US" sz="2400" b="1" dirty="0">
                <a:solidFill>
                  <a:srgbClr val="212529"/>
                </a:solidFill>
                <a:latin typeface="Calibri"/>
                <a:cs typeface="Calibri"/>
              </a:rPr>
              <a:t>Raster data:</a:t>
            </a:r>
            <a:r>
              <a:rPr lang="en-US" sz="2400" dirty="0">
                <a:solidFill>
                  <a:srgbClr val="212529"/>
                </a:solidFill>
                <a:latin typeface="Calibri"/>
                <a:cs typeface="Calibri"/>
              </a:rPr>
              <a:t> rows and columns matrix (e.g. Satellite Images)</a:t>
            </a:r>
            <a:endParaRPr lang="en-US" sz="2400" b="1" dirty="0">
              <a:solidFill>
                <a:srgbClr val="000000"/>
              </a:solidFill>
              <a:latin typeface="Calibri"/>
              <a:ea typeface="Calibri"/>
              <a:cs typeface="Calibri"/>
            </a:endParaRPr>
          </a:p>
        </p:txBody>
      </p:sp>
      <p:sp>
        <p:nvSpPr>
          <p:cNvPr id="5" name="TextBox 4">
            <a:extLst>
              <a:ext uri="{FF2B5EF4-FFF2-40B4-BE49-F238E27FC236}">
                <a16:creationId xmlns:a16="http://schemas.microsoft.com/office/drawing/2014/main" id="{5AF953F3-0FEB-E6B9-8DD6-3F32B6721431}"/>
              </a:ext>
            </a:extLst>
          </p:cNvPr>
          <p:cNvSpPr txBox="1"/>
          <p:nvPr/>
        </p:nvSpPr>
        <p:spPr>
          <a:xfrm>
            <a:off x="0" y="-137304"/>
            <a:ext cx="6910408" cy="7546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700" marR="5080">
              <a:lnSpc>
                <a:spcPct val="150000"/>
              </a:lnSpc>
              <a:spcBef>
                <a:spcPts val="100"/>
              </a:spcBef>
            </a:pPr>
            <a:r>
              <a:rPr lang="en-US" sz="3200" b="1" dirty="0"/>
              <a:t>Geospatial And Geospatial Data</a:t>
            </a:r>
          </a:p>
        </p:txBody>
      </p:sp>
      <p:pic>
        <p:nvPicPr>
          <p:cNvPr id="6" name="Picture 5" descr="A map of a pond&#10;&#10;Description automatically generated">
            <a:extLst>
              <a:ext uri="{FF2B5EF4-FFF2-40B4-BE49-F238E27FC236}">
                <a16:creationId xmlns:a16="http://schemas.microsoft.com/office/drawing/2014/main" id="{F71FE384-D6C6-4821-69E4-60A229810F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7536" y="650808"/>
            <a:ext cx="4160163" cy="1518095"/>
          </a:xfrm>
          <a:prstGeom prst="rect">
            <a:avLst/>
          </a:prstGeom>
        </p:spPr>
      </p:pic>
      <p:pic>
        <p:nvPicPr>
          <p:cNvPr id="8" name="Picture 7" descr="A map of land with text&#10;&#10;Description automatically generated">
            <a:extLst>
              <a:ext uri="{FF2B5EF4-FFF2-40B4-BE49-F238E27FC236}">
                <a16:creationId xmlns:a16="http://schemas.microsoft.com/office/drawing/2014/main" id="{407473CA-DB06-A8B1-D902-FB884B5312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050" y="2604389"/>
            <a:ext cx="4371102" cy="1297650"/>
          </a:xfrm>
          <a:prstGeom prst="rect">
            <a:avLst/>
          </a:prstGeom>
        </p:spPr>
      </p:pic>
      <p:pic>
        <p:nvPicPr>
          <p:cNvPr id="10" name="Picture 9" descr="A game board with a blue star and green squares&#10;&#10;Description automatically generated">
            <a:extLst>
              <a:ext uri="{FF2B5EF4-FFF2-40B4-BE49-F238E27FC236}">
                <a16:creationId xmlns:a16="http://schemas.microsoft.com/office/drawing/2014/main" id="{49B41EA2-3024-8521-F449-CF5672D7BD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9320" y="4500257"/>
            <a:ext cx="4151557" cy="1438848"/>
          </a:xfrm>
          <a:prstGeom prst="rect">
            <a:avLst/>
          </a:prstGeom>
        </p:spPr>
      </p:pic>
      <p:grpSp>
        <p:nvGrpSpPr>
          <p:cNvPr id="11" name="object 4">
            <a:extLst>
              <a:ext uri="{FF2B5EF4-FFF2-40B4-BE49-F238E27FC236}">
                <a16:creationId xmlns:a16="http://schemas.microsoft.com/office/drawing/2014/main" id="{1FB2FA2A-64C2-7858-91AE-49EC1D9F8344}"/>
              </a:ext>
            </a:extLst>
          </p:cNvPr>
          <p:cNvGrpSpPr/>
          <p:nvPr/>
        </p:nvGrpSpPr>
        <p:grpSpPr>
          <a:xfrm>
            <a:off x="166352" y="629432"/>
            <a:ext cx="1185291" cy="0"/>
            <a:chOff x="381000" y="1133855"/>
            <a:chExt cx="1185291" cy="0"/>
          </a:xfrm>
        </p:grpSpPr>
        <p:sp>
          <p:nvSpPr>
            <p:cNvPr id="7" name="object 5">
              <a:extLst>
                <a:ext uri="{FF2B5EF4-FFF2-40B4-BE49-F238E27FC236}">
                  <a16:creationId xmlns:a16="http://schemas.microsoft.com/office/drawing/2014/main" id="{5CC794BD-5AB9-CD7F-47CA-3682DD0789D2}"/>
                </a:ext>
              </a:extLst>
            </p:cNvPr>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9" name="object 6">
              <a:extLst>
                <a:ext uri="{FF2B5EF4-FFF2-40B4-BE49-F238E27FC236}">
                  <a16:creationId xmlns:a16="http://schemas.microsoft.com/office/drawing/2014/main" id="{4BCA9CD7-46E9-6A0D-7714-37C3DCF095E1}"/>
                </a:ext>
              </a:extLst>
            </p:cNvPr>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
        <p:nvSpPr>
          <p:cNvPr id="22" name="object 2">
            <a:extLst>
              <a:ext uri="{FF2B5EF4-FFF2-40B4-BE49-F238E27FC236}">
                <a16:creationId xmlns:a16="http://schemas.microsoft.com/office/drawing/2014/main" id="{DAEDEF10-7988-07FA-DAB5-C9B86041F6B2}"/>
              </a:ext>
            </a:extLst>
          </p:cNvPr>
          <p:cNvSpPr/>
          <p:nvPr/>
        </p:nvSpPr>
        <p:spPr>
          <a:xfrm>
            <a:off x="316606" y="5812642"/>
            <a:ext cx="1184148" cy="618744"/>
          </a:xfrm>
          <a:prstGeom prst="rect">
            <a:avLst/>
          </a:prstGeom>
          <a:blipFill>
            <a:blip r:embed="rId5"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7376193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AF953F3-0FEB-E6B9-8DD6-3F32B6721431}"/>
              </a:ext>
            </a:extLst>
          </p:cNvPr>
          <p:cNvSpPr txBox="1"/>
          <p:nvPr/>
        </p:nvSpPr>
        <p:spPr>
          <a:xfrm>
            <a:off x="0" y="-280939"/>
            <a:ext cx="6910408" cy="7546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700" marR="5080">
              <a:lnSpc>
                <a:spcPct val="150000"/>
              </a:lnSpc>
              <a:spcBef>
                <a:spcPts val="100"/>
              </a:spcBef>
            </a:pPr>
            <a:r>
              <a:rPr lang="en-US" sz="3200" b="1" dirty="0"/>
              <a:t>Geospatial AI Use Cases</a:t>
            </a:r>
          </a:p>
        </p:txBody>
      </p:sp>
      <p:pic>
        <p:nvPicPr>
          <p:cNvPr id="38" name="Picture 37" descr="Geographic Information Systems (GIS) - Integral GIS">
            <a:extLst>
              <a:ext uri="{FF2B5EF4-FFF2-40B4-BE49-F238E27FC236}">
                <a16:creationId xmlns:a16="http://schemas.microsoft.com/office/drawing/2014/main" id="{6DDBF6DD-46C7-0B17-770E-630C8A68FCBB}"/>
              </a:ext>
            </a:extLst>
          </p:cNvPr>
          <p:cNvPicPr>
            <a:picLocks noChangeAspect="1"/>
          </p:cNvPicPr>
          <p:nvPr/>
        </p:nvPicPr>
        <p:blipFill>
          <a:blip r:embed="rId2"/>
          <a:stretch>
            <a:fillRect/>
          </a:stretch>
        </p:blipFill>
        <p:spPr>
          <a:xfrm>
            <a:off x="703182" y="955437"/>
            <a:ext cx="4777381" cy="4777381"/>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graphicFrame>
        <p:nvGraphicFramePr>
          <p:cNvPr id="40" name="Diagram 39">
            <a:extLst>
              <a:ext uri="{FF2B5EF4-FFF2-40B4-BE49-F238E27FC236}">
                <a16:creationId xmlns:a16="http://schemas.microsoft.com/office/drawing/2014/main" id="{1ED8D9EE-2C2F-44D8-65A8-AB2B737385B0}"/>
              </a:ext>
            </a:extLst>
          </p:cNvPr>
          <p:cNvGraphicFramePr/>
          <p:nvPr>
            <p:extLst>
              <p:ext uri="{D42A27DB-BD31-4B8C-83A1-F6EECF244321}">
                <p14:modId xmlns:p14="http://schemas.microsoft.com/office/powerpoint/2010/main" val="4197184200"/>
              </p:ext>
            </p:extLst>
          </p:nvPr>
        </p:nvGraphicFramePr>
        <p:xfrm>
          <a:off x="5869562" y="1539943"/>
          <a:ext cx="5458838" cy="4192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77" name="TextBox 776">
            <a:extLst>
              <a:ext uri="{FF2B5EF4-FFF2-40B4-BE49-F238E27FC236}">
                <a16:creationId xmlns:a16="http://schemas.microsoft.com/office/drawing/2014/main" id="{F68237DD-F306-435D-53CE-5CC0C8DA666F}"/>
              </a:ext>
            </a:extLst>
          </p:cNvPr>
          <p:cNvSpPr txBox="1"/>
          <p:nvPr/>
        </p:nvSpPr>
        <p:spPr>
          <a:xfrm>
            <a:off x="4330" y="6585531"/>
            <a:ext cx="831038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FF0000"/>
                </a:solidFill>
                <a:cs typeface="Calibri"/>
              </a:rPr>
              <a:t>Source: </a:t>
            </a:r>
            <a:r>
              <a:rPr lang="en-US" sz="1000" dirty="0">
                <a:solidFill>
                  <a:srgbClr val="FF0000"/>
                </a:solidFill>
                <a:ea typeface="+mn-lt"/>
                <a:cs typeface="+mn-lt"/>
              </a:rPr>
              <a:t>https://integralgis.com/capabilities/geographic-information-systems-gis/</a:t>
            </a:r>
            <a:endParaRPr lang="en-US" sz="1000" dirty="0">
              <a:solidFill>
                <a:srgbClr val="FF0000"/>
              </a:solidFill>
            </a:endParaRPr>
          </a:p>
        </p:txBody>
      </p:sp>
      <p:grpSp>
        <p:nvGrpSpPr>
          <p:cNvPr id="798" name="object 4">
            <a:extLst>
              <a:ext uri="{FF2B5EF4-FFF2-40B4-BE49-F238E27FC236}">
                <a16:creationId xmlns:a16="http://schemas.microsoft.com/office/drawing/2014/main" id="{78F52D4C-0C72-DBFE-0C52-1BBA47B3FC8D}"/>
              </a:ext>
            </a:extLst>
          </p:cNvPr>
          <p:cNvGrpSpPr/>
          <p:nvPr/>
        </p:nvGrpSpPr>
        <p:grpSpPr>
          <a:xfrm>
            <a:off x="114300" y="460755"/>
            <a:ext cx="1185291" cy="0"/>
            <a:chOff x="381000" y="1133855"/>
            <a:chExt cx="1185291" cy="0"/>
          </a:xfrm>
        </p:grpSpPr>
        <p:sp>
          <p:nvSpPr>
            <p:cNvPr id="796" name="object 5">
              <a:extLst>
                <a:ext uri="{FF2B5EF4-FFF2-40B4-BE49-F238E27FC236}">
                  <a16:creationId xmlns:a16="http://schemas.microsoft.com/office/drawing/2014/main" id="{E5C4DEFF-274F-5B64-E30D-ED3295D7A1FC}"/>
                </a:ext>
              </a:extLst>
            </p:cNvPr>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797" name="object 6">
              <a:extLst>
                <a:ext uri="{FF2B5EF4-FFF2-40B4-BE49-F238E27FC236}">
                  <a16:creationId xmlns:a16="http://schemas.microsoft.com/office/drawing/2014/main" id="{346E2AD3-5466-E168-7253-B31ADE0D77E6}"/>
                </a:ext>
              </a:extLst>
            </p:cNvPr>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
        <p:nvSpPr>
          <p:cNvPr id="800" name="object 2">
            <a:extLst>
              <a:ext uri="{FF2B5EF4-FFF2-40B4-BE49-F238E27FC236}">
                <a16:creationId xmlns:a16="http://schemas.microsoft.com/office/drawing/2014/main" id="{0DE63583-C2D0-127A-119F-5926191C612F}"/>
              </a:ext>
            </a:extLst>
          </p:cNvPr>
          <p:cNvSpPr/>
          <p:nvPr/>
        </p:nvSpPr>
        <p:spPr>
          <a:xfrm>
            <a:off x="316606" y="5812642"/>
            <a:ext cx="1184148" cy="618744"/>
          </a:xfrm>
          <a:prstGeom prst="rect">
            <a:avLst/>
          </a:prstGeom>
          <a:blipFill>
            <a:blip r:embed="rId8"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0662858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cxnSp>
        <p:nvCxnSpPr>
          <p:cNvPr id="3" name="Straight Arrow Connector 2">
            <a:extLst>
              <a:ext uri="{FF2B5EF4-FFF2-40B4-BE49-F238E27FC236}">
                <a16:creationId xmlns:a16="http://schemas.microsoft.com/office/drawing/2014/main" id="{99BF31C5-BD99-B20A-8C82-9EF8A8258FBE}"/>
              </a:ext>
            </a:extLst>
          </p:cNvPr>
          <p:cNvCxnSpPr/>
          <p:nvPr/>
        </p:nvCxnSpPr>
        <p:spPr>
          <a:xfrm flipV="1">
            <a:off x="-5339" y="632371"/>
            <a:ext cx="3731193" cy="9776"/>
          </a:xfrm>
          <a:prstGeom prst="straightConnector1">
            <a:avLst/>
          </a:prstGeom>
          <a:ln>
            <a:solidFill>
              <a:srgbClr val="C00000"/>
            </a:solidFill>
          </a:ln>
        </p:spPr>
        <p:style>
          <a:lnRef idx="3">
            <a:schemeClr val="accent6"/>
          </a:lnRef>
          <a:fillRef idx="0">
            <a:schemeClr val="accent6"/>
          </a:fillRef>
          <a:effectRef idx="2">
            <a:schemeClr val="accent6"/>
          </a:effectRef>
          <a:fontRef idx="minor">
            <a:schemeClr val="tx1"/>
          </a:fontRef>
        </p:style>
      </p:cxnSp>
      <p:sp>
        <p:nvSpPr>
          <p:cNvPr id="5" name="TextBox 4">
            <a:extLst>
              <a:ext uri="{FF2B5EF4-FFF2-40B4-BE49-F238E27FC236}">
                <a16:creationId xmlns:a16="http://schemas.microsoft.com/office/drawing/2014/main" id="{5AF953F3-0FEB-E6B9-8DD6-3F32B6721431}"/>
              </a:ext>
            </a:extLst>
          </p:cNvPr>
          <p:cNvSpPr txBox="1"/>
          <p:nvPr/>
        </p:nvSpPr>
        <p:spPr>
          <a:xfrm>
            <a:off x="0" y="-29980"/>
            <a:ext cx="6910408" cy="6718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700" marR="5080">
              <a:lnSpc>
                <a:spcPct val="150000"/>
              </a:lnSpc>
              <a:spcBef>
                <a:spcPts val="100"/>
              </a:spcBef>
            </a:pPr>
            <a:r>
              <a:rPr lang="en-US" sz="2800" b="1" dirty="0"/>
              <a:t>Geospatial AI Use Cases</a:t>
            </a:r>
            <a:endParaRPr lang="en-US" sz="4400" b="1" dirty="0"/>
          </a:p>
        </p:txBody>
      </p:sp>
      <p:graphicFrame>
        <p:nvGraphicFramePr>
          <p:cNvPr id="807" name="Diagram 806">
            <a:extLst>
              <a:ext uri="{FF2B5EF4-FFF2-40B4-BE49-F238E27FC236}">
                <a16:creationId xmlns:a16="http://schemas.microsoft.com/office/drawing/2014/main" id="{73780371-50C8-162C-CE2A-D1E8657F5934}"/>
              </a:ext>
            </a:extLst>
          </p:cNvPr>
          <p:cNvGraphicFramePr/>
          <p:nvPr>
            <p:extLst>
              <p:ext uri="{D42A27DB-BD31-4B8C-83A1-F6EECF244321}">
                <p14:modId xmlns:p14="http://schemas.microsoft.com/office/powerpoint/2010/main" val="2671710842"/>
              </p:ext>
            </p:extLst>
          </p:nvPr>
        </p:nvGraphicFramePr>
        <p:xfrm>
          <a:off x="958626" y="917176"/>
          <a:ext cx="9220746" cy="53869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063276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BD1A9-E1B0-7C49-680D-0B0803FBAB3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6EDCC8E5-1C2B-5385-9DF3-240265BAED1D}"/>
              </a:ext>
            </a:extLst>
          </p:cNvPr>
          <p:cNvSpPr txBox="1"/>
          <p:nvPr/>
        </p:nvSpPr>
        <p:spPr>
          <a:xfrm>
            <a:off x="285711" y="817325"/>
            <a:ext cx="6306269" cy="4985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t>Exploring Temperature, and Precipitation Using </a:t>
            </a:r>
            <a:r>
              <a:rPr lang="en-US" sz="2000" b="1" dirty="0" err="1"/>
              <a:t>GeoAI</a:t>
            </a:r>
            <a:endParaRPr lang="en-US" sz="2000" b="1" dirty="0">
              <a:cs typeface="Calibri"/>
            </a:endParaRPr>
          </a:p>
          <a:p>
            <a:endParaRPr lang="en-US" sz="2000" b="1" dirty="0">
              <a:cs typeface="Calibri"/>
            </a:endParaRPr>
          </a:p>
          <a:p>
            <a:r>
              <a:rPr lang="en-US" sz="2000" b="1" dirty="0"/>
              <a:t>Objective</a:t>
            </a:r>
            <a:endParaRPr lang="en-US" sz="2000" b="1" dirty="0">
              <a:cs typeface="Calibri"/>
            </a:endParaRPr>
          </a:p>
          <a:p>
            <a:r>
              <a:rPr lang="en-US" sz="2000" dirty="0"/>
              <a:t>To analyze temperature, and precipitation patterns using Geospatial Artificial Intelligence </a:t>
            </a:r>
            <a:endParaRPr lang="en-US" sz="2000">
              <a:ea typeface="Calibri"/>
              <a:cs typeface="Calibri"/>
            </a:endParaRPr>
          </a:p>
          <a:p>
            <a:endParaRPr lang="en-US" sz="2000" dirty="0"/>
          </a:p>
          <a:p>
            <a:r>
              <a:rPr lang="en-US" sz="2000" b="1" dirty="0"/>
              <a:t>Data Sources</a:t>
            </a:r>
            <a:endParaRPr lang="en-US" sz="2000" b="1" dirty="0">
              <a:cs typeface="Calibri"/>
            </a:endParaRPr>
          </a:p>
          <a:p>
            <a:r>
              <a:rPr lang="en-US" sz="2000" b="1" dirty="0"/>
              <a:t>Satellite Imagery</a:t>
            </a:r>
            <a:r>
              <a:rPr lang="en-US" sz="2000" dirty="0"/>
              <a:t>: Using data from satellites such as Chirps and </a:t>
            </a:r>
            <a:r>
              <a:rPr lang="en-US" sz="2000" err="1"/>
              <a:t>TerraClimate</a:t>
            </a:r>
            <a:r>
              <a:rPr lang="en-US" sz="2000" dirty="0"/>
              <a:t> data.</a:t>
            </a:r>
            <a:endParaRPr lang="en-US" sz="2000" dirty="0">
              <a:cs typeface="Calibri"/>
            </a:endParaRPr>
          </a:p>
          <a:p>
            <a:endParaRPr lang="en-US" sz="2000" b="1" dirty="0">
              <a:cs typeface="Calibri"/>
            </a:endParaRPr>
          </a:p>
          <a:p>
            <a:r>
              <a:rPr lang="en-US" sz="2000" b="1" dirty="0"/>
              <a:t>Tools and Libraries</a:t>
            </a:r>
            <a:endParaRPr lang="en-US" sz="2000" b="1" dirty="0">
              <a:cs typeface="Calibri"/>
            </a:endParaRPr>
          </a:p>
          <a:p>
            <a:r>
              <a:rPr lang="en-US" sz="2000" b="1" dirty="0"/>
              <a:t>Google Earth Engine (GEE)</a:t>
            </a:r>
            <a:r>
              <a:rPr lang="en-US" sz="2000" dirty="0"/>
              <a:t>: For processing large-scale geospatial data.</a:t>
            </a:r>
            <a:endParaRPr lang="en-US" sz="2000" dirty="0">
              <a:cs typeface="Calibri"/>
            </a:endParaRPr>
          </a:p>
          <a:p>
            <a:endParaRPr lang="en-US" sz="2000" dirty="0">
              <a:cs typeface="Calibri"/>
            </a:endParaRPr>
          </a:p>
          <a:p>
            <a:r>
              <a:rPr lang="en-US" sz="2000" b="1" dirty="0"/>
              <a:t>Python Libraries</a:t>
            </a:r>
            <a:r>
              <a:rPr lang="en-US" sz="2000" dirty="0"/>
              <a:t>: Pandas, NumPy, Matplotlib</a:t>
            </a:r>
            <a:endParaRPr lang="en-US" sz="2000" dirty="0">
              <a:cs typeface="Calibri"/>
            </a:endParaRPr>
          </a:p>
          <a:p>
            <a:endParaRPr lang="en-US" dirty="0"/>
          </a:p>
        </p:txBody>
      </p:sp>
      <p:sp>
        <p:nvSpPr>
          <p:cNvPr id="5" name="TextBox 4">
            <a:extLst>
              <a:ext uri="{FF2B5EF4-FFF2-40B4-BE49-F238E27FC236}">
                <a16:creationId xmlns:a16="http://schemas.microsoft.com/office/drawing/2014/main" id="{5AF953F3-0FEB-E6B9-8DD6-3F32B6721431}"/>
              </a:ext>
            </a:extLst>
          </p:cNvPr>
          <p:cNvSpPr txBox="1"/>
          <p:nvPr/>
        </p:nvSpPr>
        <p:spPr>
          <a:xfrm>
            <a:off x="101600" y="-203200"/>
            <a:ext cx="6910408" cy="6718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700" marR="5080">
              <a:lnSpc>
                <a:spcPct val="150000"/>
              </a:lnSpc>
              <a:spcBef>
                <a:spcPts val="100"/>
              </a:spcBef>
            </a:pPr>
            <a:r>
              <a:rPr lang="en-US" sz="2800" b="1" dirty="0"/>
              <a:t>Case Study </a:t>
            </a:r>
            <a:r>
              <a:rPr lang="en-US" sz="2800" b="1" dirty="0" err="1"/>
              <a:t>Demostration</a:t>
            </a:r>
            <a:endParaRPr lang="en-US" sz="4400" b="1" dirty="0" err="1"/>
          </a:p>
        </p:txBody>
      </p:sp>
      <p:grpSp>
        <p:nvGrpSpPr>
          <p:cNvPr id="8" name="object 4">
            <a:extLst>
              <a:ext uri="{FF2B5EF4-FFF2-40B4-BE49-F238E27FC236}">
                <a16:creationId xmlns:a16="http://schemas.microsoft.com/office/drawing/2014/main" id="{EEEF81D6-EBB7-1433-EBB8-29B55BCC0479}"/>
              </a:ext>
            </a:extLst>
          </p:cNvPr>
          <p:cNvGrpSpPr/>
          <p:nvPr/>
        </p:nvGrpSpPr>
        <p:grpSpPr>
          <a:xfrm>
            <a:off x="292100" y="460755"/>
            <a:ext cx="1185291" cy="0"/>
            <a:chOff x="381000" y="1133855"/>
            <a:chExt cx="1185291" cy="0"/>
          </a:xfrm>
        </p:grpSpPr>
        <p:sp>
          <p:nvSpPr>
            <p:cNvPr id="6" name="object 5">
              <a:extLst>
                <a:ext uri="{FF2B5EF4-FFF2-40B4-BE49-F238E27FC236}">
                  <a16:creationId xmlns:a16="http://schemas.microsoft.com/office/drawing/2014/main" id="{B58459D3-5626-E583-A6C6-9FADE5F0DBBE}"/>
                </a:ext>
              </a:extLst>
            </p:cNvPr>
            <p:cNvSpPr/>
            <p:nvPr/>
          </p:nvSpPr>
          <p:spPr>
            <a:xfrm>
              <a:off x="381000" y="1133855"/>
              <a:ext cx="592455" cy="0"/>
            </a:xfrm>
            <a:custGeom>
              <a:avLst/>
              <a:gdLst/>
              <a:ahLst/>
              <a:cxnLst/>
              <a:rect l="l" t="t" r="r" b="b"/>
              <a:pathLst>
                <a:path w="592455">
                  <a:moveTo>
                    <a:pt x="0" y="0"/>
                  </a:moveTo>
                  <a:lnTo>
                    <a:pt x="592455" y="0"/>
                  </a:lnTo>
                </a:path>
              </a:pathLst>
            </a:custGeom>
            <a:ln w="57150">
              <a:solidFill>
                <a:srgbClr val="FF0000"/>
              </a:solidFill>
            </a:ln>
          </p:spPr>
          <p:txBody>
            <a:bodyPr wrap="square" lIns="0" tIns="0" rIns="0" bIns="0" rtlCol="0"/>
            <a:lstStyle/>
            <a:p>
              <a:endParaRPr/>
            </a:p>
          </p:txBody>
        </p:sp>
        <p:sp>
          <p:nvSpPr>
            <p:cNvPr id="7" name="object 6">
              <a:extLst>
                <a:ext uri="{FF2B5EF4-FFF2-40B4-BE49-F238E27FC236}">
                  <a16:creationId xmlns:a16="http://schemas.microsoft.com/office/drawing/2014/main" id="{CD1EF5ED-6097-F06E-AE39-A212BCDDEC7C}"/>
                </a:ext>
              </a:extLst>
            </p:cNvPr>
            <p:cNvSpPr/>
            <p:nvPr/>
          </p:nvSpPr>
          <p:spPr>
            <a:xfrm>
              <a:off x="973836" y="1133855"/>
              <a:ext cx="592455" cy="0"/>
            </a:xfrm>
            <a:custGeom>
              <a:avLst/>
              <a:gdLst/>
              <a:ahLst/>
              <a:cxnLst/>
              <a:rect l="l" t="t" r="r" b="b"/>
              <a:pathLst>
                <a:path w="592455">
                  <a:moveTo>
                    <a:pt x="0" y="0"/>
                  </a:moveTo>
                  <a:lnTo>
                    <a:pt x="592454" y="0"/>
                  </a:lnTo>
                </a:path>
              </a:pathLst>
            </a:custGeom>
            <a:ln w="57150">
              <a:solidFill>
                <a:srgbClr val="097909"/>
              </a:solidFill>
            </a:ln>
          </p:spPr>
          <p:txBody>
            <a:bodyPr wrap="square" lIns="0" tIns="0" rIns="0" bIns="0" rtlCol="0"/>
            <a:lstStyle/>
            <a:p>
              <a:endParaRPr/>
            </a:p>
          </p:txBody>
        </p:sp>
      </p:grpSp>
      <p:sp>
        <p:nvSpPr>
          <p:cNvPr id="10" name="object 2">
            <a:extLst>
              <a:ext uri="{FF2B5EF4-FFF2-40B4-BE49-F238E27FC236}">
                <a16:creationId xmlns:a16="http://schemas.microsoft.com/office/drawing/2014/main" id="{87400525-1C00-9539-9B01-2EE0EB9B1341}"/>
              </a:ext>
            </a:extLst>
          </p:cNvPr>
          <p:cNvSpPr/>
          <p:nvPr/>
        </p:nvSpPr>
        <p:spPr>
          <a:xfrm>
            <a:off x="316606" y="5812642"/>
            <a:ext cx="1184148" cy="618744"/>
          </a:xfrm>
          <a:prstGeom prst="rect">
            <a:avLst/>
          </a:prstGeom>
          <a:blipFill>
            <a:blip r:embed="rId2" cstate="print"/>
            <a:stretch>
              <a:fillRect/>
            </a:stretch>
          </a:blipFill>
        </p:spPr>
        <p:txBody>
          <a:bodyPr wrap="square" lIns="0" tIns="0" rIns="0" bIns="0" rtlCol="0"/>
          <a:lstStyle/>
          <a:p>
            <a:endParaRPr/>
          </a:p>
        </p:txBody>
      </p:sp>
      <p:pic>
        <p:nvPicPr>
          <p:cNvPr id="2" name="Picture 1" descr="A cartoon of a child holding a large arrow&#10;&#10;Description automatically generated">
            <a:extLst>
              <a:ext uri="{FF2B5EF4-FFF2-40B4-BE49-F238E27FC236}">
                <a16:creationId xmlns:a16="http://schemas.microsoft.com/office/drawing/2014/main" id="{1BC1B48C-E9E9-047F-ABCF-B313E0C961C7}"/>
              </a:ext>
            </a:extLst>
          </p:cNvPr>
          <p:cNvPicPr>
            <a:picLocks noChangeAspect="1"/>
          </p:cNvPicPr>
          <p:nvPr/>
        </p:nvPicPr>
        <p:blipFill>
          <a:blip r:embed="rId3"/>
          <a:stretch>
            <a:fillRect/>
          </a:stretch>
        </p:blipFill>
        <p:spPr>
          <a:xfrm>
            <a:off x="6930270" y="600204"/>
            <a:ext cx="5113930" cy="4879595"/>
          </a:xfrm>
          <a:prstGeom prst="rect">
            <a:avLst/>
          </a:prstGeom>
        </p:spPr>
      </p:pic>
    </p:spTree>
    <p:extLst>
      <p:ext uri="{BB962C8B-B14F-4D97-AF65-F5344CB8AC3E}">
        <p14:creationId xmlns:p14="http://schemas.microsoft.com/office/powerpoint/2010/main" val="10292498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24">
      <a:dk1>
        <a:sysClr val="windowText" lastClr="000000"/>
      </a:dk1>
      <a:lt1>
        <a:sysClr val="window" lastClr="FFFFFF"/>
      </a:lt1>
      <a:dk2>
        <a:srgbClr val="44546A"/>
      </a:dk2>
      <a:lt2>
        <a:srgbClr val="E7E6E6"/>
      </a:lt2>
      <a:accent1>
        <a:srgbClr val="FF0000"/>
      </a:accent1>
      <a:accent2>
        <a:srgbClr val="0A7A0A"/>
      </a:accent2>
      <a:accent3>
        <a:srgbClr val="393185"/>
      </a:accent3>
      <a:accent4>
        <a:srgbClr val="3EA2E0"/>
      </a:accent4>
      <a:accent5>
        <a:srgbClr val="7F7F7F"/>
      </a:accent5>
      <a:accent6>
        <a:srgbClr val="70AD47"/>
      </a:accent6>
      <a:hlink>
        <a:srgbClr val="0563C1"/>
      </a:hlink>
      <a:folHlink>
        <a:srgbClr val="954F72"/>
      </a:folHlink>
    </a:clrScheme>
    <a:fontScheme name="Custom 29">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A3401F7BA05D488B85F3B0FE4AE835" ma:contentTypeVersion="14" ma:contentTypeDescription="Create a new document." ma:contentTypeScope="" ma:versionID="b9f4ec28fb37575bd705a3fce4118e1e">
  <xsd:schema xmlns:xsd="http://www.w3.org/2001/XMLSchema" xmlns:xs="http://www.w3.org/2001/XMLSchema" xmlns:p="http://schemas.microsoft.com/office/2006/metadata/properties" xmlns:ns2="adb83e23-2584-4166-a7f0-7ba33eb4581c" xmlns:ns3="a35650ff-2ddc-4b0b-b81d-cd3fd301dd46" targetNamespace="http://schemas.microsoft.com/office/2006/metadata/properties" ma:root="true" ma:fieldsID="d8d2460904d1845e0eed5de5ef6f738c" ns2:_="" ns3:_="">
    <xsd:import namespace="adb83e23-2584-4166-a7f0-7ba33eb4581c"/>
    <xsd:import namespace="a35650ff-2ddc-4b0b-b81d-cd3fd301dd4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b83e23-2584-4166-a7f0-7ba33eb458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06d58ad-f71d-4181-a183-e1ce6e0282c1"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35650ff-2ddc-4b0b-b81d-cd3fd301dd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bcce523-57d4-41d4-9848-98742b4c0317}" ma:internalName="TaxCatchAll" ma:showField="CatchAllData" ma:web="a35650ff-2ddc-4b0b-b81d-cd3fd301dd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35650ff-2ddc-4b0b-b81d-cd3fd301dd46" xsi:nil="true"/>
    <lcf76f155ced4ddcb4097134ff3c332f xmlns="adb83e23-2584-4166-a7f0-7ba33eb4581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39FA7FD-50F8-447F-B8B5-8F494B0EA7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b83e23-2584-4166-a7f0-7ba33eb4581c"/>
    <ds:schemaRef ds:uri="a35650ff-2ddc-4b0b-b81d-cd3fd301dd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3F79C6-3311-4291-923D-3718C8CAA27D}">
  <ds:schemaRefs>
    <ds:schemaRef ds:uri="http://schemas.microsoft.com/sharepoint/v3/contenttype/forms"/>
  </ds:schemaRefs>
</ds:datastoreItem>
</file>

<file path=customXml/itemProps3.xml><?xml version="1.0" encoding="utf-8"?>
<ds:datastoreItem xmlns:ds="http://schemas.openxmlformats.org/officeDocument/2006/customXml" ds:itemID="{B45C94B3-2A99-47CE-A6BB-588D36560094}">
  <ds:schemaRefs>
    <ds:schemaRef ds:uri="adb83e23-2584-4166-a7f0-7ba33eb4581c"/>
    <ds:schemaRef ds:uri="http://schemas.microsoft.com/office/2006/documentManagement/types"/>
    <ds:schemaRef ds:uri="http://purl.org/dc/elements/1.1/"/>
    <ds:schemaRef ds:uri="http://schemas.openxmlformats.org/package/2006/metadata/core-properties"/>
    <ds:schemaRef ds:uri="http://purl.org/dc/dcmitype/"/>
    <ds:schemaRef ds:uri="http://www.w3.org/XML/1998/namespace"/>
    <ds:schemaRef ds:uri="http://schemas.microsoft.com/office/2006/metadata/properties"/>
    <ds:schemaRef ds:uri="http://schemas.microsoft.com/office/infopath/2007/PartnerControls"/>
    <ds:schemaRef ds:uri="a35650ff-2ddc-4b0b-b81d-cd3fd301dd46"/>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122</TotalTime>
  <Words>2219</Words>
  <Application>Microsoft Office PowerPoint</Application>
  <PresentationFormat>Widescreen</PresentationFormat>
  <Paragraphs>254</Paragraphs>
  <Slides>10</Slides>
  <Notes>0</Notes>
  <HiddenSlides>1</HiddenSlides>
  <MMClips>0</MMClips>
  <ScaleCrop>false</ScaleCrop>
  <HeadingPairs>
    <vt:vector size="4" baseType="variant">
      <vt:variant>
        <vt:lpstr>Theme</vt:lpstr>
      </vt:variant>
      <vt:variant>
        <vt:i4>4</vt:i4>
      </vt:variant>
      <vt:variant>
        <vt:lpstr>Slide Titles</vt:lpstr>
      </vt:variant>
      <vt:variant>
        <vt:i4>10</vt:i4>
      </vt:variant>
    </vt:vector>
  </HeadingPairs>
  <TitlesOfParts>
    <vt:vector size="14" baseType="lpstr">
      <vt:lpstr>Template PresentationGO</vt:lpstr>
      <vt:lpstr>Office Theme</vt:lpstr>
      <vt:lpstr>Office Theme</vt:lpstr>
      <vt:lpstr>Office Theme</vt:lpstr>
      <vt:lpstr>PowerPoint Presentation</vt:lpstr>
      <vt:lpstr>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gnesh Sathyamoorthy</dc:creator>
  <cp:lastModifiedBy>Serah Peter-Adeoye</cp:lastModifiedBy>
  <cp:revision>826</cp:revision>
  <dcterms:created xsi:type="dcterms:W3CDTF">2021-11-26T15:36:47Z</dcterms:created>
  <dcterms:modified xsi:type="dcterms:W3CDTF">2024-06-06T08:3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DA3401F7BA05D488B85F3B0FE4AE835</vt:lpwstr>
  </property>
</Properties>
</file>